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mp4" ContentType="video/mp4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Override1.xml" ContentType="application/vnd.openxmlformats-officedocument.themeOverride+xml"/>
  <Override PartName="/ppt/tags/tag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7.xml" ContentType="application/vnd.openxmlformats-officedocument.presentationml.tags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drawings/drawing1.xml" ContentType="application/vnd.openxmlformats-officedocument.drawingml.chartshape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drawings/drawing2.xml" ContentType="application/vnd.openxmlformats-officedocument.drawingml.chartshapes+xml"/>
  <Override PartName="/ppt/tags/tag8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Override4.xml" ContentType="application/vnd.openxmlformats-officedocument.themeOverr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70" r:id="rId2"/>
  </p:sldMasterIdLst>
  <p:notesMasterIdLst>
    <p:notesMasterId r:id="rId28"/>
  </p:notesMasterIdLst>
  <p:sldIdLst>
    <p:sldId id="297" r:id="rId3"/>
    <p:sldId id="520" r:id="rId4"/>
    <p:sldId id="518" r:id="rId5"/>
    <p:sldId id="288" r:id="rId6"/>
    <p:sldId id="311" r:id="rId7"/>
    <p:sldId id="289" r:id="rId8"/>
    <p:sldId id="309" r:id="rId9"/>
    <p:sldId id="312" r:id="rId10"/>
    <p:sldId id="308" r:id="rId11"/>
    <p:sldId id="315" r:id="rId12"/>
    <p:sldId id="313" r:id="rId13"/>
    <p:sldId id="317" r:id="rId14"/>
    <p:sldId id="319" r:id="rId15"/>
    <p:sldId id="318" r:id="rId16"/>
    <p:sldId id="514" r:id="rId17"/>
    <p:sldId id="316" r:id="rId18"/>
    <p:sldId id="517" r:id="rId19"/>
    <p:sldId id="515" r:id="rId20"/>
    <p:sldId id="292" r:id="rId21"/>
    <p:sldId id="295" r:id="rId22"/>
    <p:sldId id="298" r:id="rId23"/>
    <p:sldId id="300" r:id="rId24"/>
    <p:sldId id="412" r:id="rId25"/>
    <p:sldId id="411" r:id="rId26"/>
    <p:sldId id="261" r:id="rId27"/>
  </p:sldIdLst>
  <p:sldSz cx="12192000" cy="6858000"/>
  <p:notesSz cx="6858000" cy="9144000"/>
  <p:custDataLst>
    <p:tags r:id="rId29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202B5"/>
    <a:srgbClr val="D5498F"/>
    <a:srgbClr val="00BEB9"/>
    <a:srgbClr val="2028C2"/>
    <a:srgbClr val="0066FF"/>
    <a:srgbClr val="D9E8FF"/>
    <a:srgbClr val="593EEB"/>
    <a:srgbClr val="37359B"/>
    <a:srgbClr val="D47AF6"/>
    <a:srgbClr val="41416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89" autoAdjust="0"/>
    <p:restoredTop sz="96196" autoAdjust="0"/>
  </p:normalViewPr>
  <p:slideViewPr>
    <p:cSldViewPr snapToGrid="0">
      <p:cViewPr>
        <p:scale>
          <a:sx n="75" d="100"/>
          <a:sy n="75" d="100"/>
        </p:scale>
        <p:origin x="834" y="31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presProps" Target="presProps.xml"/><Relationship Id="rId8" Type="http://schemas.openxmlformats.org/officeDocument/2006/relationships/slide" Target="slides/slide6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&#20048;&#20048;\Desktop\&#22823;&#25968;&#25454;&#20225;&#21010;\&#20154;&#21592;&#23433;&#25490;2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chartUserShapes" Target="../drawings/drawing1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chartUserShapes" Target="../drawings/drawing2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en-US" dirty="0"/>
              <a:t>目前每个小时的人员分布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lineChart>
        <c:grouping val="standard"/>
        <c:varyColors val="0"/>
        <c:ser>
          <c:idx val="5"/>
          <c:order val="0"/>
          <c:tx>
            <c:strRef>
              <c:f>日规律!$A$99</c:f>
              <c:strCache>
                <c:ptCount val="1"/>
                <c:pt idx="0">
                  <c:v>目前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日规律!$B$94:$P$94</c:f>
              <c:strCache>
                <c:ptCount val="15"/>
                <c:pt idx="0">
                  <c:v>9.00 </c:v>
                </c:pt>
                <c:pt idx="1">
                  <c:v>10.00 </c:v>
                </c:pt>
                <c:pt idx="2">
                  <c:v>11.00 </c:v>
                </c:pt>
                <c:pt idx="3">
                  <c:v>12</c:v>
                </c:pt>
                <c:pt idx="4">
                  <c:v>13.00 </c:v>
                </c:pt>
                <c:pt idx="5">
                  <c:v>14.00 </c:v>
                </c:pt>
                <c:pt idx="6">
                  <c:v>15.00 </c:v>
                </c:pt>
                <c:pt idx="7">
                  <c:v>16.00 </c:v>
                </c:pt>
                <c:pt idx="8">
                  <c:v>17.00 </c:v>
                </c:pt>
                <c:pt idx="9">
                  <c:v>18.00 </c:v>
                </c:pt>
                <c:pt idx="10">
                  <c:v>19.00 </c:v>
                </c:pt>
                <c:pt idx="11">
                  <c:v>20.00 </c:v>
                </c:pt>
                <c:pt idx="12">
                  <c:v>21.00 </c:v>
                </c:pt>
                <c:pt idx="13">
                  <c:v>22.00 </c:v>
                </c:pt>
                <c:pt idx="14">
                  <c:v>23.00 </c:v>
                </c:pt>
              </c:strCache>
            </c:strRef>
          </c:cat>
          <c:val>
            <c:numRef>
              <c:f>日规律!$B$99:$P$99</c:f>
              <c:numCache>
                <c:formatCode>0.00_);[Red]\(0.00\)</c:formatCode>
                <c:ptCount val="15"/>
                <c:pt idx="0">
                  <c:v>6.3218390804597707E-2</c:v>
                </c:pt>
                <c:pt idx="1">
                  <c:v>6.3218390804597707E-2</c:v>
                </c:pt>
                <c:pt idx="2">
                  <c:v>6.3218390804597707E-2</c:v>
                </c:pt>
                <c:pt idx="3">
                  <c:v>6.3218390804597707E-2</c:v>
                </c:pt>
                <c:pt idx="4">
                  <c:v>6.3218390804597707E-2</c:v>
                </c:pt>
                <c:pt idx="5">
                  <c:v>6.3218390804597707E-2</c:v>
                </c:pt>
                <c:pt idx="6">
                  <c:v>6.8965517241379309E-2</c:v>
                </c:pt>
                <c:pt idx="7">
                  <c:v>6.8965517241379309E-2</c:v>
                </c:pt>
                <c:pt idx="8">
                  <c:v>6.8965517241379309E-2</c:v>
                </c:pt>
                <c:pt idx="9">
                  <c:v>6.8965517241379309E-2</c:v>
                </c:pt>
                <c:pt idx="10">
                  <c:v>6.8965517241379309E-2</c:v>
                </c:pt>
                <c:pt idx="11">
                  <c:v>6.8965517241379309E-2</c:v>
                </c:pt>
                <c:pt idx="12">
                  <c:v>6.8965517241379309E-2</c:v>
                </c:pt>
                <c:pt idx="13">
                  <c:v>6.8965517241379309E-2</c:v>
                </c:pt>
                <c:pt idx="14">
                  <c:v>6.896551724137930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0C2-444C-B857-657BAE1DC0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92940207"/>
        <c:axId val="790172559"/>
      </c:lineChart>
      <c:catAx>
        <c:axId val="7929402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90172559"/>
        <c:crosses val="autoZero"/>
        <c:auto val="1"/>
        <c:lblAlgn val="ctr"/>
        <c:lblOffset val="100"/>
        <c:noMultiLvlLbl val="0"/>
      </c:catAx>
      <c:valAx>
        <c:axId val="790172559"/>
        <c:scaling>
          <c:orientation val="minMax"/>
          <c:max val="0.1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_);[Red]\(0.00\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9294020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en-US"/>
              <a:t>周一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lineChart>
        <c:grouping val="standard"/>
        <c:varyColors val="0"/>
        <c:ser>
          <c:idx val="2"/>
          <c:order val="0"/>
          <c:tx>
            <c:v>原有方式</c:v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日规律!$A$30:$A$44</c:f>
              <c:numCache>
                <c:formatCode>General</c:formatCode>
                <c:ptCount val="15"/>
                <c:pt idx="0">
                  <c:v>9</c:v>
                </c:pt>
                <c:pt idx="1">
                  <c:v>10</c:v>
                </c:pt>
                <c:pt idx="2">
                  <c:v>11</c:v>
                </c:pt>
                <c:pt idx="3">
                  <c:v>12</c:v>
                </c:pt>
                <c:pt idx="4">
                  <c:v>13</c:v>
                </c:pt>
                <c:pt idx="5">
                  <c:v>14</c:v>
                </c:pt>
                <c:pt idx="6">
                  <c:v>15</c:v>
                </c:pt>
                <c:pt idx="7">
                  <c:v>16</c:v>
                </c:pt>
                <c:pt idx="8">
                  <c:v>17</c:v>
                </c:pt>
                <c:pt idx="9">
                  <c:v>18</c:v>
                </c:pt>
                <c:pt idx="10">
                  <c:v>19</c:v>
                </c:pt>
                <c:pt idx="11">
                  <c:v>20</c:v>
                </c:pt>
                <c:pt idx="12">
                  <c:v>21</c:v>
                </c:pt>
                <c:pt idx="13">
                  <c:v>22</c:v>
                </c:pt>
                <c:pt idx="14">
                  <c:v>23</c:v>
                </c:pt>
              </c:numCache>
            </c:numRef>
          </c:cat>
          <c:val>
            <c:numRef>
              <c:f>日规律!$D$30:$D$44</c:f>
              <c:numCache>
                <c:formatCode>General</c:formatCode>
                <c:ptCount val="15"/>
                <c:pt idx="0">
                  <c:v>6.3218390804597707E-2</c:v>
                </c:pt>
                <c:pt idx="1">
                  <c:v>6.3218390804597707E-2</c:v>
                </c:pt>
                <c:pt idx="2">
                  <c:v>6.3218390804597707E-2</c:v>
                </c:pt>
                <c:pt idx="3">
                  <c:v>6.3218390804597707E-2</c:v>
                </c:pt>
                <c:pt idx="4">
                  <c:v>6.3218390804597707E-2</c:v>
                </c:pt>
                <c:pt idx="5">
                  <c:v>6.3218390804597707E-2</c:v>
                </c:pt>
                <c:pt idx="6">
                  <c:v>6.8965517241379309E-2</c:v>
                </c:pt>
                <c:pt idx="7">
                  <c:v>6.8965517241379309E-2</c:v>
                </c:pt>
                <c:pt idx="8">
                  <c:v>6.8965517241379309E-2</c:v>
                </c:pt>
                <c:pt idx="9">
                  <c:v>6.8965517241379309E-2</c:v>
                </c:pt>
                <c:pt idx="10">
                  <c:v>6.8965517241379309E-2</c:v>
                </c:pt>
                <c:pt idx="11">
                  <c:v>6.8965517241379309E-2</c:v>
                </c:pt>
                <c:pt idx="12">
                  <c:v>6.8965517241379309E-2</c:v>
                </c:pt>
                <c:pt idx="13">
                  <c:v>6.8965517241379309E-2</c:v>
                </c:pt>
                <c:pt idx="14">
                  <c:v>6.896551724137930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AA1-434E-8E1E-97078946E2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27581008"/>
        <c:axId val="644762496"/>
      </c:lineChart>
      <c:catAx>
        <c:axId val="727581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44762496"/>
        <c:crosses val="autoZero"/>
        <c:auto val="1"/>
        <c:lblAlgn val="ctr"/>
        <c:lblOffset val="100"/>
        <c:noMultiLvlLbl val="0"/>
      </c:catAx>
      <c:valAx>
        <c:axId val="644762496"/>
        <c:scaling>
          <c:orientation val="minMax"/>
          <c:max val="9.0000000000000024E-2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75810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en-US"/>
              <a:t>周一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零售金额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日规律!$A$30:$A$44</c:f>
              <c:numCache>
                <c:formatCode>General</c:formatCode>
                <c:ptCount val="15"/>
                <c:pt idx="0">
                  <c:v>9</c:v>
                </c:pt>
                <c:pt idx="1">
                  <c:v>10</c:v>
                </c:pt>
                <c:pt idx="2">
                  <c:v>11</c:v>
                </c:pt>
                <c:pt idx="3">
                  <c:v>12</c:v>
                </c:pt>
                <c:pt idx="4">
                  <c:v>13</c:v>
                </c:pt>
                <c:pt idx="5">
                  <c:v>14</c:v>
                </c:pt>
                <c:pt idx="6">
                  <c:v>15</c:v>
                </c:pt>
                <c:pt idx="7">
                  <c:v>16</c:v>
                </c:pt>
                <c:pt idx="8">
                  <c:v>17</c:v>
                </c:pt>
                <c:pt idx="9">
                  <c:v>18</c:v>
                </c:pt>
                <c:pt idx="10">
                  <c:v>19</c:v>
                </c:pt>
                <c:pt idx="11">
                  <c:v>20</c:v>
                </c:pt>
                <c:pt idx="12">
                  <c:v>21</c:v>
                </c:pt>
                <c:pt idx="13">
                  <c:v>22</c:v>
                </c:pt>
                <c:pt idx="14">
                  <c:v>23</c:v>
                </c:pt>
              </c:numCache>
            </c:numRef>
          </c:cat>
          <c:val>
            <c:numRef>
              <c:f>日规律!$B$30:$B$44</c:f>
              <c:numCache>
                <c:formatCode>General</c:formatCode>
                <c:ptCount val="15"/>
                <c:pt idx="0">
                  <c:v>4.9914943532714294E-3</c:v>
                </c:pt>
                <c:pt idx="1">
                  <c:v>2.1383090198258341E-2</c:v>
                </c:pt>
                <c:pt idx="2">
                  <c:v>4.1352521120105505E-2</c:v>
                </c:pt>
                <c:pt idx="3">
                  <c:v>5.5328732937335603E-2</c:v>
                </c:pt>
                <c:pt idx="4">
                  <c:v>6.1485579287070082E-2</c:v>
                </c:pt>
                <c:pt idx="5">
                  <c:v>8.2781917345240846E-2</c:v>
                </c:pt>
                <c:pt idx="6">
                  <c:v>9.731435128358977E-2</c:v>
                </c:pt>
                <c:pt idx="7">
                  <c:v>0.10940978222933523</c:v>
                </c:pt>
                <c:pt idx="8">
                  <c:v>0.11071140968152501</c:v>
                </c:pt>
                <c:pt idx="9">
                  <c:v>9.5926869603590384E-2</c:v>
                </c:pt>
                <c:pt idx="10">
                  <c:v>9.4571436484897214E-2</c:v>
                </c:pt>
                <c:pt idx="11">
                  <c:v>9.7742033808607506E-2</c:v>
                </c:pt>
                <c:pt idx="12">
                  <c:v>8.4785366847932128E-2</c:v>
                </c:pt>
                <c:pt idx="13">
                  <c:v>3.9148077407497942E-2</c:v>
                </c:pt>
                <c:pt idx="14">
                  <c:v>2.7637739916117035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E7-4FB9-BB31-E2523D95D9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17052816"/>
        <c:axId val="651674544"/>
      </c:barChart>
      <c:lineChart>
        <c:grouping val="standard"/>
        <c:varyColors val="0"/>
        <c:ser>
          <c:idx val="2"/>
          <c:order val="1"/>
          <c:tx>
            <c:v>原有方式</c:v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日规律!$A$30:$A$44</c:f>
              <c:numCache>
                <c:formatCode>General</c:formatCode>
                <c:ptCount val="15"/>
                <c:pt idx="0">
                  <c:v>9</c:v>
                </c:pt>
                <c:pt idx="1">
                  <c:v>10</c:v>
                </c:pt>
                <c:pt idx="2">
                  <c:v>11</c:v>
                </c:pt>
                <c:pt idx="3">
                  <c:v>12</c:v>
                </c:pt>
                <c:pt idx="4">
                  <c:v>13</c:v>
                </c:pt>
                <c:pt idx="5">
                  <c:v>14</c:v>
                </c:pt>
                <c:pt idx="6">
                  <c:v>15</c:v>
                </c:pt>
                <c:pt idx="7">
                  <c:v>16</c:v>
                </c:pt>
                <c:pt idx="8">
                  <c:v>17</c:v>
                </c:pt>
                <c:pt idx="9">
                  <c:v>18</c:v>
                </c:pt>
                <c:pt idx="10">
                  <c:v>19</c:v>
                </c:pt>
                <c:pt idx="11">
                  <c:v>20</c:v>
                </c:pt>
                <c:pt idx="12">
                  <c:v>21</c:v>
                </c:pt>
                <c:pt idx="13">
                  <c:v>22</c:v>
                </c:pt>
                <c:pt idx="14">
                  <c:v>23</c:v>
                </c:pt>
              </c:numCache>
            </c:numRef>
          </c:cat>
          <c:val>
            <c:numRef>
              <c:f>日规律!$D$30:$D$44</c:f>
              <c:numCache>
                <c:formatCode>General</c:formatCode>
                <c:ptCount val="15"/>
                <c:pt idx="0">
                  <c:v>6.3218390804597707E-2</c:v>
                </c:pt>
                <c:pt idx="1">
                  <c:v>6.3218390804597707E-2</c:v>
                </c:pt>
                <c:pt idx="2">
                  <c:v>6.3218390804597707E-2</c:v>
                </c:pt>
                <c:pt idx="3">
                  <c:v>6.3218390804597707E-2</c:v>
                </c:pt>
                <c:pt idx="4">
                  <c:v>6.3218390804597707E-2</c:v>
                </c:pt>
                <c:pt idx="5">
                  <c:v>6.3218390804597707E-2</c:v>
                </c:pt>
                <c:pt idx="6">
                  <c:v>6.8965517241379309E-2</c:v>
                </c:pt>
                <c:pt idx="7">
                  <c:v>6.8965517241379309E-2</c:v>
                </c:pt>
                <c:pt idx="8">
                  <c:v>6.8965517241379309E-2</c:v>
                </c:pt>
                <c:pt idx="9">
                  <c:v>6.8965517241379309E-2</c:v>
                </c:pt>
                <c:pt idx="10">
                  <c:v>6.8965517241379309E-2</c:v>
                </c:pt>
                <c:pt idx="11">
                  <c:v>6.8965517241379309E-2</c:v>
                </c:pt>
                <c:pt idx="12">
                  <c:v>6.8965517241379309E-2</c:v>
                </c:pt>
                <c:pt idx="13">
                  <c:v>6.8965517241379309E-2</c:v>
                </c:pt>
                <c:pt idx="14">
                  <c:v>6.896551724137930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2E7-4FB9-BB31-E2523D95D9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27581008"/>
        <c:axId val="644762496"/>
      </c:lineChart>
      <c:catAx>
        <c:axId val="727581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44762496"/>
        <c:crosses val="autoZero"/>
        <c:auto val="1"/>
        <c:lblAlgn val="ctr"/>
        <c:lblOffset val="100"/>
        <c:noMultiLvlLbl val="0"/>
      </c:catAx>
      <c:valAx>
        <c:axId val="644762496"/>
        <c:scaling>
          <c:orientation val="minMax"/>
          <c:max val="9.0000000000000024E-2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7581008"/>
        <c:crosses val="autoZero"/>
        <c:crossBetween val="between"/>
      </c:valAx>
      <c:valAx>
        <c:axId val="651674544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17052816"/>
        <c:crosses val="max"/>
        <c:crossBetween val="between"/>
      </c:valAx>
      <c:catAx>
        <c:axId val="61705281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5167454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en-US"/>
              <a:t>周一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零售金额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日规律!$A$30:$A$44</c:f>
              <c:numCache>
                <c:formatCode>General</c:formatCode>
                <c:ptCount val="15"/>
                <c:pt idx="0">
                  <c:v>9</c:v>
                </c:pt>
                <c:pt idx="1">
                  <c:v>10</c:v>
                </c:pt>
                <c:pt idx="2">
                  <c:v>11</c:v>
                </c:pt>
                <c:pt idx="3">
                  <c:v>12</c:v>
                </c:pt>
                <c:pt idx="4">
                  <c:v>13</c:v>
                </c:pt>
                <c:pt idx="5">
                  <c:v>14</c:v>
                </c:pt>
                <c:pt idx="6">
                  <c:v>15</c:v>
                </c:pt>
                <c:pt idx="7">
                  <c:v>16</c:v>
                </c:pt>
                <c:pt idx="8">
                  <c:v>17</c:v>
                </c:pt>
                <c:pt idx="9">
                  <c:v>18</c:v>
                </c:pt>
                <c:pt idx="10">
                  <c:v>19</c:v>
                </c:pt>
                <c:pt idx="11">
                  <c:v>20</c:v>
                </c:pt>
                <c:pt idx="12">
                  <c:v>21</c:v>
                </c:pt>
                <c:pt idx="13">
                  <c:v>22</c:v>
                </c:pt>
                <c:pt idx="14">
                  <c:v>23</c:v>
                </c:pt>
              </c:numCache>
            </c:numRef>
          </c:cat>
          <c:val>
            <c:numRef>
              <c:f>日规律!$B$30:$B$44</c:f>
              <c:numCache>
                <c:formatCode>General</c:formatCode>
                <c:ptCount val="15"/>
                <c:pt idx="0">
                  <c:v>4.9914943532714294E-3</c:v>
                </c:pt>
                <c:pt idx="1">
                  <c:v>2.1383090198258341E-2</c:v>
                </c:pt>
                <c:pt idx="2">
                  <c:v>4.1352521120105505E-2</c:v>
                </c:pt>
                <c:pt idx="3">
                  <c:v>5.5328732937335603E-2</c:v>
                </c:pt>
                <c:pt idx="4">
                  <c:v>6.1485579287070082E-2</c:v>
                </c:pt>
                <c:pt idx="5">
                  <c:v>8.2781917345240846E-2</c:v>
                </c:pt>
                <c:pt idx="6">
                  <c:v>9.731435128358977E-2</c:v>
                </c:pt>
                <c:pt idx="7">
                  <c:v>0.10940978222933523</c:v>
                </c:pt>
                <c:pt idx="8">
                  <c:v>0.11071140968152501</c:v>
                </c:pt>
                <c:pt idx="9">
                  <c:v>9.5926869603590384E-2</c:v>
                </c:pt>
                <c:pt idx="10">
                  <c:v>9.4571436484897214E-2</c:v>
                </c:pt>
                <c:pt idx="11">
                  <c:v>9.7742033808607506E-2</c:v>
                </c:pt>
                <c:pt idx="12">
                  <c:v>8.4785366847932128E-2</c:v>
                </c:pt>
                <c:pt idx="13">
                  <c:v>3.9148077407497942E-2</c:v>
                </c:pt>
                <c:pt idx="14">
                  <c:v>2.7637739916117035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21-4E19-9AE3-25C8308DD9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17052816"/>
        <c:axId val="651674544"/>
      </c:barChart>
      <c:lineChart>
        <c:grouping val="standard"/>
        <c:varyColors val="0"/>
        <c:ser>
          <c:idx val="2"/>
          <c:order val="1"/>
          <c:tx>
            <c:v>原有方式</c:v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日规律!$A$30:$A$44</c:f>
              <c:numCache>
                <c:formatCode>General</c:formatCode>
                <c:ptCount val="15"/>
                <c:pt idx="0">
                  <c:v>9</c:v>
                </c:pt>
                <c:pt idx="1">
                  <c:v>10</c:v>
                </c:pt>
                <c:pt idx="2">
                  <c:v>11</c:v>
                </c:pt>
                <c:pt idx="3">
                  <c:v>12</c:v>
                </c:pt>
                <c:pt idx="4">
                  <c:v>13</c:v>
                </c:pt>
                <c:pt idx="5">
                  <c:v>14</c:v>
                </c:pt>
                <c:pt idx="6">
                  <c:v>15</c:v>
                </c:pt>
                <c:pt idx="7">
                  <c:v>16</c:v>
                </c:pt>
                <c:pt idx="8">
                  <c:v>17</c:v>
                </c:pt>
                <c:pt idx="9">
                  <c:v>18</c:v>
                </c:pt>
                <c:pt idx="10">
                  <c:v>19</c:v>
                </c:pt>
                <c:pt idx="11">
                  <c:v>20</c:v>
                </c:pt>
                <c:pt idx="12">
                  <c:v>21</c:v>
                </c:pt>
                <c:pt idx="13">
                  <c:v>22</c:v>
                </c:pt>
                <c:pt idx="14">
                  <c:v>23</c:v>
                </c:pt>
              </c:numCache>
            </c:numRef>
          </c:cat>
          <c:val>
            <c:numRef>
              <c:f>日规律!$D$30:$D$44</c:f>
              <c:numCache>
                <c:formatCode>General</c:formatCode>
                <c:ptCount val="15"/>
                <c:pt idx="0">
                  <c:v>6.3218390804597707E-2</c:v>
                </c:pt>
                <c:pt idx="1">
                  <c:v>6.3218390804597707E-2</c:v>
                </c:pt>
                <c:pt idx="2">
                  <c:v>6.3218390804597707E-2</c:v>
                </c:pt>
                <c:pt idx="3">
                  <c:v>6.3218390804597707E-2</c:v>
                </c:pt>
                <c:pt idx="4">
                  <c:v>6.3218390804597707E-2</c:v>
                </c:pt>
                <c:pt idx="5">
                  <c:v>6.3218390804597707E-2</c:v>
                </c:pt>
                <c:pt idx="6">
                  <c:v>6.8965517241379309E-2</c:v>
                </c:pt>
                <c:pt idx="7">
                  <c:v>6.8965517241379309E-2</c:v>
                </c:pt>
                <c:pt idx="8">
                  <c:v>6.8965517241379309E-2</c:v>
                </c:pt>
                <c:pt idx="9">
                  <c:v>6.8965517241379309E-2</c:v>
                </c:pt>
                <c:pt idx="10">
                  <c:v>6.8965517241379309E-2</c:v>
                </c:pt>
                <c:pt idx="11">
                  <c:v>6.8965517241379309E-2</c:v>
                </c:pt>
                <c:pt idx="12">
                  <c:v>6.8965517241379309E-2</c:v>
                </c:pt>
                <c:pt idx="13">
                  <c:v>6.8965517241379309E-2</c:v>
                </c:pt>
                <c:pt idx="14">
                  <c:v>6.896551724137930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E21-4E19-9AE3-25C8308DD9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27581008"/>
        <c:axId val="644762496"/>
      </c:lineChart>
      <c:catAx>
        <c:axId val="727581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44762496"/>
        <c:crosses val="autoZero"/>
        <c:auto val="1"/>
        <c:lblAlgn val="ctr"/>
        <c:lblOffset val="100"/>
        <c:noMultiLvlLbl val="0"/>
      </c:catAx>
      <c:valAx>
        <c:axId val="644762496"/>
        <c:scaling>
          <c:orientation val="minMax"/>
          <c:max val="9.0000000000000024E-2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7581008"/>
        <c:crosses val="autoZero"/>
        <c:crossBetween val="between"/>
      </c:valAx>
      <c:valAx>
        <c:axId val="651674544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17052816"/>
        <c:crosses val="max"/>
        <c:crossBetween val="between"/>
      </c:valAx>
      <c:catAx>
        <c:axId val="61705281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5167454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en-US" dirty="0"/>
              <a:t>周末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2"/>
          <c:order val="0"/>
          <c:tx>
            <c:strRef>
              <c:f>日规律!$A$96</c:f>
              <c:strCache>
                <c:ptCount val="1"/>
                <c:pt idx="0">
                  <c:v>周末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日规律!$B$94:$P$94</c:f>
              <c:strCache>
                <c:ptCount val="15"/>
                <c:pt idx="0">
                  <c:v>9.00 </c:v>
                </c:pt>
                <c:pt idx="1">
                  <c:v>10.00 </c:v>
                </c:pt>
                <c:pt idx="2">
                  <c:v>11.00 </c:v>
                </c:pt>
                <c:pt idx="3">
                  <c:v>12</c:v>
                </c:pt>
                <c:pt idx="4">
                  <c:v>13.00 </c:v>
                </c:pt>
                <c:pt idx="5">
                  <c:v>14.00 </c:v>
                </c:pt>
                <c:pt idx="6">
                  <c:v>15.00 </c:v>
                </c:pt>
                <c:pt idx="7">
                  <c:v>16.00 </c:v>
                </c:pt>
                <c:pt idx="8">
                  <c:v>17.00 </c:v>
                </c:pt>
                <c:pt idx="9">
                  <c:v>18.00 </c:v>
                </c:pt>
                <c:pt idx="10">
                  <c:v>19.00 </c:v>
                </c:pt>
                <c:pt idx="11">
                  <c:v>20.00 </c:v>
                </c:pt>
                <c:pt idx="12">
                  <c:v>21.00 </c:v>
                </c:pt>
                <c:pt idx="13">
                  <c:v>22.00 </c:v>
                </c:pt>
                <c:pt idx="14">
                  <c:v>23.00 </c:v>
                </c:pt>
              </c:strCache>
            </c:strRef>
          </c:cat>
          <c:val>
            <c:numRef>
              <c:f>日规律!$B$96:$P$96</c:f>
              <c:numCache>
                <c:formatCode>0.00_);[Red]\(0.00\)</c:formatCode>
                <c:ptCount val="15"/>
                <c:pt idx="0">
                  <c:v>3.4940656271817546E-3</c:v>
                </c:pt>
                <c:pt idx="1">
                  <c:v>1.8801023970211776E-2</c:v>
                </c:pt>
                <c:pt idx="2">
                  <c:v>4.4439996897059963E-2</c:v>
                </c:pt>
                <c:pt idx="3">
                  <c:v>5.9758280971220233E-2</c:v>
                </c:pt>
                <c:pt idx="4">
                  <c:v>7.2649057481964166E-2</c:v>
                </c:pt>
                <c:pt idx="5">
                  <c:v>9.6142657668140563E-2</c:v>
                </c:pt>
                <c:pt idx="6">
                  <c:v>0.10724164145527888</c:v>
                </c:pt>
                <c:pt idx="7">
                  <c:v>0.12328702195330075</c:v>
                </c:pt>
                <c:pt idx="8">
                  <c:v>0.11548964393763091</c:v>
                </c:pt>
                <c:pt idx="9">
                  <c:v>0.10366302071212474</c:v>
                </c:pt>
                <c:pt idx="10">
                  <c:v>8.6508106430843223E-2</c:v>
                </c:pt>
                <c:pt idx="11">
                  <c:v>7.0457993949266925E-2</c:v>
                </c:pt>
                <c:pt idx="12">
                  <c:v>5.6830657047552559E-2</c:v>
                </c:pt>
                <c:pt idx="13">
                  <c:v>3.1394383678535413E-2</c:v>
                </c:pt>
                <c:pt idx="14">
                  <c:v>9.842448219688155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007-4F38-A944-164E9B0AA8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85020319"/>
        <c:axId val="993742575"/>
      </c:barChart>
      <c:lineChart>
        <c:grouping val="standard"/>
        <c:varyColors val="0"/>
        <c:ser>
          <c:idx val="5"/>
          <c:order val="1"/>
          <c:tx>
            <c:strRef>
              <c:f>日规律!$A$99</c:f>
              <c:strCache>
                <c:ptCount val="1"/>
                <c:pt idx="0">
                  <c:v>目前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日规律!$B$94:$P$94</c:f>
              <c:strCache>
                <c:ptCount val="15"/>
                <c:pt idx="0">
                  <c:v>9.00 </c:v>
                </c:pt>
                <c:pt idx="1">
                  <c:v>10.00 </c:v>
                </c:pt>
                <c:pt idx="2">
                  <c:v>11.00 </c:v>
                </c:pt>
                <c:pt idx="3">
                  <c:v>12</c:v>
                </c:pt>
                <c:pt idx="4">
                  <c:v>13.00 </c:v>
                </c:pt>
                <c:pt idx="5">
                  <c:v>14.00 </c:v>
                </c:pt>
                <c:pt idx="6">
                  <c:v>15.00 </c:v>
                </c:pt>
                <c:pt idx="7">
                  <c:v>16.00 </c:v>
                </c:pt>
                <c:pt idx="8">
                  <c:v>17.00 </c:v>
                </c:pt>
                <c:pt idx="9">
                  <c:v>18.00 </c:v>
                </c:pt>
                <c:pt idx="10">
                  <c:v>19.00 </c:v>
                </c:pt>
                <c:pt idx="11">
                  <c:v>20.00 </c:v>
                </c:pt>
                <c:pt idx="12">
                  <c:v>21.00 </c:v>
                </c:pt>
                <c:pt idx="13">
                  <c:v>22.00 </c:v>
                </c:pt>
                <c:pt idx="14">
                  <c:v>23.00 </c:v>
                </c:pt>
              </c:strCache>
            </c:strRef>
          </c:cat>
          <c:val>
            <c:numRef>
              <c:f>日规律!$B$99:$P$99</c:f>
              <c:numCache>
                <c:formatCode>0.00_);[Red]\(0.00\)</c:formatCode>
                <c:ptCount val="15"/>
                <c:pt idx="0">
                  <c:v>6.3218390804597707E-2</c:v>
                </c:pt>
                <c:pt idx="1">
                  <c:v>6.3218390804597707E-2</c:v>
                </c:pt>
                <c:pt idx="2">
                  <c:v>6.3218390804597707E-2</c:v>
                </c:pt>
                <c:pt idx="3">
                  <c:v>6.3218390804597707E-2</c:v>
                </c:pt>
                <c:pt idx="4">
                  <c:v>6.3218390804597707E-2</c:v>
                </c:pt>
                <c:pt idx="5">
                  <c:v>6.3218390804597707E-2</c:v>
                </c:pt>
                <c:pt idx="6">
                  <c:v>6.8965517241379309E-2</c:v>
                </c:pt>
                <c:pt idx="7">
                  <c:v>6.8965517241379309E-2</c:v>
                </c:pt>
                <c:pt idx="8">
                  <c:v>6.8965517241379309E-2</c:v>
                </c:pt>
                <c:pt idx="9">
                  <c:v>6.8965517241379309E-2</c:v>
                </c:pt>
                <c:pt idx="10">
                  <c:v>6.8965517241379309E-2</c:v>
                </c:pt>
                <c:pt idx="11">
                  <c:v>6.8965517241379309E-2</c:v>
                </c:pt>
                <c:pt idx="12">
                  <c:v>6.8965517241379309E-2</c:v>
                </c:pt>
                <c:pt idx="13">
                  <c:v>6.8965517241379309E-2</c:v>
                </c:pt>
                <c:pt idx="14">
                  <c:v>6.896551724137930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007-4F38-A944-164E9B0AA8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92940207"/>
        <c:axId val="790172559"/>
      </c:lineChart>
      <c:catAx>
        <c:axId val="7929402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90172559"/>
        <c:crosses val="autoZero"/>
        <c:auto val="1"/>
        <c:lblAlgn val="ctr"/>
        <c:lblOffset val="100"/>
        <c:noMultiLvlLbl val="0"/>
      </c:catAx>
      <c:valAx>
        <c:axId val="790172559"/>
        <c:scaling>
          <c:orientation val="minMax"/>
          <c:max val="9.0000000000000024E-2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_);[Red]\(0.00\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92940207"/>
        <c:crosses val="autoZero"/>
        <c:crossBetween val="between"/>
      </c:valAx>
      <c:valAx>
        <c:axId val="993742575"/>
        <c:scaling>
          <c:orientation val="minMax"/>
        </c:scaling>
        <c:delete val="0"/>
        <c:axPos val="r"/>
        <c:numFmt formatCode="0.00_);[Red]\(0.00\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85020319"/>
        <c:crosses val="max"/>
        <c:crossBetween val="between"/>
      </c:valAx>
      <c:catAx>
        <c:axId val="78502031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993742575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en-US" dirty="0"/>
              <a:t>权重指数</a:t>
            </a:r>
          </a:p>
        </c:rich>
      </c:tx>
      <c:layout>
        <c:manualLayout>
          <c:xMode val="edge"/>
          <c:yMode val="edge"/>
          <c:x val="0.44846044992952822"/>
          <c:y val="1.481481481481481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3"/>
          <c:order val="0"/>
          <c:tx>
            <c:strRef>
              <c:f>Sheet1!$V$70</c:f>
              <c:strCache>
                <c:ptCount val="1"/>
                <c:pt idx="0">
                  <c:v>整体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numFmt formatCode="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W$70:$AC$70</c:f>
              <c:numCache>
                <c:formatCode>General</c:formatCode>
                <c:ptCount val="7"/>
                <c:pt idx="0">
                  <c:v>1.013639671003312</c:v>
                </c:pt>
                <c:pt idx="1">
                  <c:v>1.0098404400071248</c:v>
                </c:pt>
                <c:pt idx="2">
                  <c:v>1.0182865012855222</c:v>
                </c:pt>
                <c:pt idx="3">
                  <c:v>1.0143110052205015</c:v>
                </c:pt>
                <c:pt idx="4">
                  <c:v>1.1970200638230615</c:v>
                </c:pt>
                <c:pt idx="5">
                  <c:v>1.9262702547697308</c:v>
                </c:pt>
                <c:pt idx="6">
                  <c:v>2.19173765752328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70C-4D36-A4B1-447F689BB3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79147360"/>
        <c:axId val="633254800"/>
      </c:barChart>
      <c:catAx>
        <c:axId val="20791473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33254800"/>
        <c:crosses val="autoZero"/>
        <c:auto val="1"/>
        <c:lblAlgn val="ctr"/>
        <c:lblOffset val="100"/>
        <c:noMultiLvlLbl val="0"/>
      </c:catAx>
      <c:valAx>
        <c:axId val="6332548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791473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zh-CN" altLang="en-US"/>
              <a:t>工作日</a:t>
            </a:r>
            <a:endParaRPr lang="zh-CN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1"/>
          <c:order val="0"/>
          <c:tx>
            <c:strRef>
              <c:f>'曲线-store'!$D$2</c:f>
              <c:strCache>
                <c:ptCount val="1"/>
                <c:pt idx="0">
                  <c:v>工作日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'曲线-store'!$B$3:$B$17</c:f>
              <c:numCache>
                <c:formatCode>General</c:formatCode>
                <c:ptCount val="15"/>
                <c:pt idx="0">
                  <c:v>9</c:v>
                </c:pt>
                <c:pt idx="1">
                  <c:v>10</c:v>
                </c:pt>
                <c:pt idx="2">
                  <c:v>11</c:v>
                </c:pt>
                <c:pt idx="3">
                  <c:v>12</c:v>
                </c:pt>
                <c:pt idx="4">
                  <c:v>13</c:v>
                </c:pt>
                <c:pt idx="5">
                  <c:v>14</c:v>
                </c:pt>
                <c:pt idx="6">
                  <c:v>15</c:v>
                </c:pt>
                <c:pt idx="7">
                  <c:v>16</c:v>
                </c:pt>
                <c:pt idx="8">
                  <c:v>17</c:v>
                </c:pt>
                <c:pt idx="9">
                  <c:v>18</c:v>
                </c:pt>
                <c:pt idx="10">
                  <c:v>19</c:v>
                </c:pt>
                <c:pt idx="11">
                  <c:v>20</c:v>
                </c:pt>
                <c:pt idx="12">
                  <c:v>21</c:v>
                </c:pt>
                <c:pt idx="13">
                  <c:v>22</c:v>
                </c:pt>
                <c:pt idx="14">
                  <c:v>23</c:v>
                </c:pt>
              </c:numCache>
            </c:numRef>
          </c:cat>
          <c:val>
            <c:numRef>
              <c:f>'曲线-store'!$D$3:$D$17</c:f>
              <c:numCache>
                <c:formatCode>General</c:formatCode>
                <c:ptCount val="15"/>
                <c:pt idx="0">
                  <c:v>4.9929469192542602E-3</c:v>
                </c:pt>
                <c:pt idx="1">
                  <c:v>2.1389312853686102E-2</c:v>
                </c:pt>
                <c:pt idx="2">
                  <c:v>4.1364555044464103E-2</c:v>
                </c:pt>
                <c:pt idx="3">
                  <c:v>5.5344834054486099E-2</c:v>
                </c:pt>
                <c:pt idx="4">
                  <c:v>6.1503472097236001E-2</c:v>
                </c:pt>
                <c:pt idx="5">
                  <c:v>8.2806007565247003E-2</c:v>
                </c:pt>
                <c:pt idx="6">
                  <c:v>9.7342670561607905E-2</c:v>
                </c:pt>
                <c:pt idx="7">
                  <c:v>0.109441621377416</c:v>
                </c:pt>
                <c:pt idx="8">
                  <c:v>0.110743627613918</c:v>
                </c:pt>
                <c:pt idx="9">
                  <c:v>9.5954785113007895E-2</c:v>
                </c:pt>
                <c:pt idx="10">
                  <c:v>9.4598957552109397E-2</c:v>
                </c:pt>
                <c:pt idx="11">
                  <c:v>9.7770477545764206E-2</c:v>
                </c:pt>
                <c:pt idx="12">
                  <c:v>8.4810040088250396E-2</c:v>
                </c:pt>
                <c:pt idx="13">
                  <c:v>3.9159469820573202E-2</c:v>
                </c:pt>
                <c:pt idx="14">
                  <c:v>2.7645782726146099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6A-4241-8B55-E152BE5B62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47"/>
        <c:overlap val="-27"/>
        <c:axId val="593160144"/>
        <c:axId val="600569856"/>
      </c:barChart>
      <c:lineChart>
        <c:grouping val="standard"/>
        <c:varyColors val="0"/>
        <c:ser>
          <c:idx val="2"/>
          <c:order val="1"/>
          <c:tx>
            <c:strRef>
              <c:f>'曲线-store'!$E$2</c:f>
              <c:strCache>
                <c:ptCount val="1"/>
                <c:pt idx="0">
                  <c:v>目前</c:v>
                </c:pt>
              </c:strCache>
            </c:strRef>
          </c:tx>
          <c:spPr>
            <a:ln w="31750" cap="rnd">
              <a:solidFill>
                <a:schemeClr val="bg2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曲线-store'!$B$3:$B$17</c:f>
              <c:numCache>
                <c:formatCode>General</c:formatCode>
                <c:ptCount val="15"/>
                <c:pt idx="0">
                  <c:v>9</c:v>
                </c:pt>
                <c:pt idx="1">
                  <c:v>10</c:v>
                </c:pt>
                <c:pt idx="2">
                  <c:v>11</c:v>
                </c:pt>
                <c:pt idx="3">
                  <c:v>12</c:v>
                </c:pt>
                <c:pt idx="4">
                  <c:v>13</c:v>
                </c:pt>
                <c:pt idx="5">
                  <c:v>14</c:v>
                </c:pt>
                <c:pt idx="6">
                  <c:v>15</c:v>
                </c:pt>
                <c:pt idx="7">
                  <c:v>16</c:v>
                </c:pt>
                <c:pt idx="8">
                  <c:v>17</c:v>
                </c:pt>
                <c:pt idx="9">
                  <c:v>18</c:v>
                </c:pt>
                <c:pt idx="10">
                  <c:v>19</c:v>
                </c:pt>
                <c:pt idx="11">
                  <c:v>20</c:v>
                </c:pt>
                <c:pt idx="12">
                  <c:v>21</c:v>
                </c:pt>
                <c:pt idx="13">
                  <c:v>22</c:v>
                </c:pt>
                <c:pt idx="14">
                  <c:v>23</c:v>
                </c:pt>
              </c:numCache>
            </c:numRef>
          </c:cat>
          <c:val>
            <c:numRef>
              <c:f>'曲线-store'!$E$3:$E$17</c:f>
              <c:numCache>
                <c:formatCode>General</c:formatCode>
                <c:ptCount val="15"/>
                <c:pt idx="0">
                  <c:v>4.1198501872659173E-2</c:v>
                </c:pt>
                <c:pt idx="1">
                  <c:v>4.1198501872659173E-2</c:v>
                </c:pt>
                <c:pt idx="2">
                  <c:v>4.1198501872659173E-2</c:v>
                </c:pt>
                <c:pt idx="3">
                  <c:v>4.1198501872659173E-2</c:v>
                </c:pt>
                <c:pt idx="4">
                  <c:v>4.1198501872659173E-2</c:v>
                </c:pt>
                <c:pt idx="5">
                  <c:v>4.1198501872659173E-2</c:v>
                </c:pt>
                <c:pt idx="6">
                  <c:v>0.10486891385767791</c:v>
                </c:pt>
                <c:pt idx="7">
                  <c:v>0.10486891385767791</c:v>
                </c:pt>
                <c:pt idx="8">
                  <c:v>0.10486891385767791</c:v>
                </c:pt>
                <c:pt idx="9">
                  <c:v>0.10486891385767791</c:v>
                </c:pt>
                <c:pt idx="10">
                  <c:v>0.10486891385767791</c:v>
                </c:pt>
                <c:pt idx="11">
                  <c:v>0.10486891385767791</c:v>
                </c:pt>
                <c:pt idx="12">
                  <c:v>4.1198501872659173E-2</c:v>
                </c:pt>
                <c:pt idx="13">
                  <c:v>4.1198501872659173E-2</c:v>
                </c:pt>
                <c:pt idx="14">
                  <c:v>4.119850187265917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06A-4241-8B55-E152BE5B62AC}"/>
            </c:ext>
          </c:extLst>
        </c:ser>
        <c:ser>
          <c:idx val="3"/>
          <c:order val="2"/>
          <c:tx>
            <c:strRef>
              <c:f>'曲线-store'!$F$2</c:f>
              <c:strCache>
                <c:ptCount val="1"/>
                <c:pt idx="0">
                  <c:v>模型优化</c:v>
                </c:pt>
              </c:strCache>
            </c:strRef>
          </c:tx>
          <c:spPr>
            <a:ln w="31750" cap="rnd">
              <a:solidFill>
                <a:schemeClr val="accent6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曲线-store'!$B$3:$B$17</c:f>
              <c:numCache>
                <c:formatCode>General</c:formatCode>
                <c:ptCount val="15"/>
                <c:pt idx="0">
                  <c:v>9</c:v>
                </c:pt>
                <c:pt idx="1">
                  <c:v>10</c:v>
                </c:pt>
                <c:pt idx="2">
                  <c:v>11</c:v>
                </c:pt>
                <c:pt idx="3">
                  <c:v>12</c:v>
                </c:pt>
                <c:pt idx="4">
                  <c:v>13</c:v>
                </c:pt>
                <c:pt idx="5">
                  <c:v>14</c:v>
                </c:pt>
                <c:pt idx="6">
                  <c:v>15</c:v>
                </c:pt>
                <c:pt idx="7">
                  <c:v>16</c:v>
                </c:pt>
                <c:pt idx="8">
                  <c:v>17</c:v>
                </c:pt>
                <c:pt idx="9">
                  <c:v>18</c:v>
                </c:pt>
                <c:pt idx="10">
                  <c:v>19</c:v>
                </c:pt>
                <c:pt idx="11">
                  <c:v>20</c:v>
                </c:pt>
                <c:pt idx="12">
                  <c:v>21</c:v>
                </c:pt>
                <c:pt idx="13">
                  <c:v>22</c:v>
                </c:pt>
                <c:pt idx="14">
                  <c:v>23</c:v>
                </c:pt>
              </c:numCache>
            </c:numRef>
          </c:cat>
          <c:val>
            <c:numRef>
              <c:f>'曲线-store'!$F$3:$F$17</c:f>
              <c:numCache>
                <c:formatCode>General</c:formatCode>
                <c:ptCount val="15"/>
                <c:pt idx="0">
                  <c:v>4.1860465116279069E-2</c:v>
                </c:pt>
                <c:pt idx="1">
                  <c:v>4.1860465116279069E-2</c:v>
                </c:pt>
                <c:pt idx="2">
                  <c:v>4.1860465116279069E-2</c:v>
                </c:pt>
                <c:pt idx="3">
                  <c:v>4.1860465116279069E-2</c:v>
                </c:pt>
                <c:pt idx="4">
                  <c:v>7.441860465116279E-2</c:v>
                </c:pt>
                <c:pt idx="5">
                  <c:v>7.441860465116279E-2</c:v>
                </c:pt>
                <c:pt idx="6">
                  <c:v>0.11162790697674418</c:v>
                </c:pt>
                <c:pt idx="7">
                  <c:v>0.11162790697674418</c:v>
                </c:pt>
                <c:pt idx="8">
                  <c:v>0.11162790697674418</c:v>
                </c:pt>
                <c:pt idx="9">
                  <c:v>7.9069767441860464E-2</c:v>
                </c:pt>
                <c:pt idx="10">
                  <c:v>7.9069767441860464E-2</c:v>
                </c:pt>
                <c:pt idx="11">
                  <c:v>7.9069767441860464E-2</c:v>
                </c:pt>
                <c:pt idx="12">
                  <c:v>3.7209302325581395E-2</c:v>
                </c:pt>
                <c:pt idx="13">
                  <c:v>3.7209302325581395E-2</c:v>
                </c:pt>
                <c:pt idx="14">
                  <c:v>3.720930232558139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06A-4241-8B55-E152BE5B62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00478896"/>
        <c:axId val="600570688"/>
      </c:lineChart>
      <c:catAx>
        <c:axId val="5931601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00569856"/>
        <c:crosses val="autoZero"/>
        <c:auto val="1"/>
        <c:lblAlgn val="ctr"/>
        <c:lblOffset val="100"/>
        <c:noMultiLvlLbl val="0"/>
      </c:catAx>
      <c:valAx>
        <c:axId val="600569856"/>
        <c:scaling>
          <c:orientation val="minMax"/>
          <c:max val="0.14000000000000001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93160144"/>
        <c:crosses val="autoZero"/>
        <c:crossBetween val="between"/>
      </c:valAx>
      <c:valAx>
        <c:axId val="600570688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00478896"/>
        <c:crosses val="max"/>
        <c:crossBetween val="between"/>
      </c:valAx>
      <c:catAx>
        <c:axId val="60047889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60057068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  <c:userShapes r:id="rId4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lang="zh-CN" altLang="en-US" sz="1600" b="1" i="0" u="none" strike="noStrike" kern="1200" baseline="0">
                <a:solidFill>
                  <a:srgbClr val="44546A"/>
                </a:solidFill>
                <a:latin typeface="+mn-lt"/>
                <a:ea typeface="+mn-ea"/>
                <a:cs typeface="+mn-cs"/>
              </a:defRPr>
            </a:pPr>
            <a:r>
              <a:rPr lang="zh-CN" sz="1600" b="1" i="0" u="none" strike="noStrike" kern="1200" baseline="0">
                <a:solidFill>
                  <a:srgbClr val="44546A"/>
                </a:solidFill>
                <a:latin typeface="+mn-lt"/>
                <a:ea typeface="+mn-ea"/>
                <a:cs typeface="+mn-cs"/>
              </a:rPr>
              <a:t>周末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zh-CN" altLang="en-US" sz="1600" b="1" i="0" u="none" strike="noStrike" kern="1200" baseline="0">
              <a:solidFill>
                <a:srgbClr val="44546A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7.5338358505898512E-2"/>
          <c:y val="0.1500759493670886"/>
          <c:w val="0.84932328298820303"/>
          <c:h val="0.7050142529652148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'曲线-store'!$R$2</c:f>
              <c:strCache>
                <c:ptCount val="1"/>
                <c:pt idx="0">
                  <c:v>周末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>
                  <a:lumMod val="50000"/>
                </a:schemeClr>
              </a:solidFill>
            </a:ln>
            <a:effectLst/>
          </c:spPr>
          <c:invertIfNegative val="0"/>
          <c:cat>
            <c:numRef>
              <c:f>'曲线-store'!$B$3:$B$17</c:f>
              <c:numCache>
                <c:formatCode>General</c:formatCode>
                <c:ptCount val="15"/>
                <c:pt idx="0">
                  <c:v>9</c:v>
                </c:pt>
                <c:pt idx="1">
                  <c:v>10</c:v>
                </c:pt>
                <c:pt idx="2">
                  <c:v>11</c:v>
                </c:pt>
                <c:pt idx="3">
                  <c:v>12</c:v>
                </c:pt>
                <c:pt idx="4">
                  <c:v>13</c:v>
                </c:pt>
                <c:pt idx="5">
                  <c:v>14</c:v>
                </c:pt>
                <c:pt idx="6">
                  <c:v>15</c:v>
                </c:pt>
                <c:pt idx="7">
                  <c:v>16</c:v>
                </c:pt>
                <c:pt idx="8">
                  <c:v>17</c:v>
                </c:pt>
                <c:pt idx="9">
                  <c:v>18</c:v>
                </c:pt>
                <c:pt idx="10">
                  <c:v>19</c:v>
                </c:pt>
                <c:pt idx="11">
                  <c:v>20</c:v>
                </c:pt>
                <c:pt idx="12">
                  <c:v>21</c:v>
                </c:pt>
                <c:pt idx="13">
                  <c:v>22</c:v>
                </c:pt>
                <c:pt idx="14">
                  <c:v>23</c:v>
                </c:pt>
              </c:numCache>
            </c:numRef>
          </c:cat>
          <c:val>
            <c:numRef>
              <c:f>'曲线-store'!$R$3:$R$17</c:f>
              <c:numCache>
                <c:formatCode>General</c:formatCode>
                <c:ptCount val="15"/>
                <c:pt idx="0">
                  <c:v>3.4940387937444301E-3</c:v>
                </c:pt>
                <c:pt idx="1">
                  <c:v>1.88008795836569E-2</c:v>
                </c:pt>
                <c:pt idx="2">
                  <c:v>4.4439655610433199E-2</c:v>
                </c:pt>
                <c:pt idx="3">
                  <c:v>5.9757822044497498E-2</c:v>
                </c:pt>
                <c:pt idx="4">
                  <c:v>7.2648499557718099E-2</c:v>
                </c:pt>
                <c:pt idx="5">
                  <c:v>9.61419193196794E-2</c:v>
                </c:pt>
                <c:pt idx="6">
                  <c:v>0.10724081786975601</c:v>
                </c:pt>
                <c:pt idx="7">
                  <c:v>0.12328607514378701</c:v>
                </c:pt>
                <c:pt idx="8">
                  <c:v>0.11548875700977899</c:v>
                </c:pt>
                <c:pt idx="9">
                  <c:v>0.103662224609399</c:v>
                </c:pt>
                <c:pt idx="10">
                  <c:v>8.6507442073014904E-2</c:v>
                </c:pt>
                <c:pt idx="11">
                  <c:v>7.0457452851770005E-2</c:v>
                </c:pt>
                <c:pt idx="12">
                  <c:v>5.68302206041549E-2</c:v>
                </c:pt>
                <c:pt idx="13">
                  <c:v>3.13941425785342E-2</c:v>
                </c:pt>
                <c:pt idx="14">
                  <c:v>9.842372632465240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F27-4E05-ADF9-5ECB8EAE79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47"/>
        <c:overlap val="-27"/>
        <c:axId val="593160144"/>
        <c:axId val="600569856"/>
      </c:barChart>
      <c:lineChart>
        <c:grouping val="standard"/>
        <c:varyColors val="0"/>
        <c:ser>
          <c:idx val="2"/>
          <c:order val="1"/>
          <c:tx>
            <c:strRef>
              <c:f>'曲线-store'!$S$2</c:f>
              <c:strCache>
                <c:ptCount val="1"/>
                <c:pt idx="0">
                  <c:v>目前</c:v>
                </c:pt>
              </c:strCache>
            </c:strRef>
          </c:tx>
          <c:spPr>
            <a:ln w="31750" cap="rnd">
              <a:solidFill>
                <a:schemeClr val="bg2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曲线-store'!$B$3:$B$17</c:f>
              <c:numCache>
                <c:formatCode>General</c:formatCode>
                <c:ptCount val="15"/>
                <c:pt idx="0">
                  <c:v>9</c:v>
                </c:pt>
                <c:pt idx="1">
                  <c:v>10</c:v>
                </c:pt>
                <c:pt idx="2">
                  <c:v>11</c:v>
                </c:pt>
                <c:pt idx="3">
                  <c:v>12</c:v>
                </c:pt>
                <c:pt idx="4">
                  <c:v>13</c:v>
                </c:pt>
                <c:pt idx="5">
                  <c:v>14</c:v>
                </c:pt>
                <c:pt idx="6">
                  <c:v>15</c:v>
                </c:pt>
                <c:pt idx="7">
                  <c:v>16</c:v>
                </c:pt>
                <c:pt idx="8">
                  <c:v>17</c:v>
                </c:pt>
                <c:pt idx="9">
                  <c:v>18</c:v>
                </c:pt>
                <c:pt idx="10">
                  <c:v>19</c:v>
                </c:pt>
                <c:pt idx="11">
                  <c:v>20</c:v>
                </c:pt>
                <c:pt idx="12">
                  <c:v>21</c:v>
                </c:pt>
                <c:pt idx="13">
                  <c:v>22</c:v>
                </c:pt>
                <c:pt idx="14">
                  <c:v>23</c:v>
                </c:pt>
              </c:numCache>
            </c:numRef>
          </c:cat>
          <c:val>
            <c:numRef>
              <c:f>'曲线-store'!$S$3:$S$17</c:f>
              <c:numCache>
                <c:formatCode>General</c:formatCode>
                <c:ptCount val="15"/>
                <c:pt idx="0">
                  <c:v>4.1198501872659173E-2</c:v>
                </c:pt>
                <c:pt idx="1">
                  <c:v>4.1198501872659173E-2</c:v>
                </c:pt>
                <c:pt idx="2">
                  <c:v>4.1198501872659173E-2</c:v>
                </c:pt>
                <c:pt idx="3">
                  <c:v>4.1198501872659173E-2</c:v>
                </c:pt>
                <c:pt idx="4">
                  <c:v>4.1198501872659173E-2</c:v>
                </c:pt>
                <c:pt idx="5">
                  <c:v>4.1198501872659173E-2</c:v>
                </c:pt>
                <c:pt idx="6">
                  <c:v>0.10486891385767791</c:v>
                </c:pt>
                <c:pt idx="7">
                  <c:v>0.10486891385767791</c:v>
                </c:pt>
                <c:pt idx="8">
                  <c:v>0.10486891385767791</c:v>
                </c:pt>
                <c:pt idx="9">
                  <c:v>0.10486891385767791</c:v>
                </c:pt>
                <c:pt idx="10">
                  <c:v>0.10486891385767791</c:v>
                </c:pt>
                <c:pt idx="11">
                  <c:v>0.10486891385767791</c:v>
                </c:pt>
                <c:pt idx="12">
                  <c:v>4.1198501872659173E-2</c:v>
                </c:pt>
                <c:pt idx="13">
                  <c:v>4.1198501872659173E-2</c:v>
                </c:pt>
                <c:pt idx="14">
                  <c:v>4.119850187265917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F27-4E05-ADF9-5ECB8EAE79F6}"/>
            </c:ext>
          </c:extLst>
        </c:ser>
        <c:ser>
          <c:idx val="3"/>
          <c:order val="2"/>
          <c:tx>
            <c:strRef>
              <c:f>'曲线-store'!$T$2</c:f>
              <c:strCache>
                <c:ptCount val="1"/>
                <c:pt idx="0">
                  <c:v>模型优化</c:v>
                </c:pt>
              </c:strCache>
            </c:strRef>
          </c:tx>
          <c:spPr>
            <a:ln w="31750" cap="rnd">
              <a:solidFill>
                <a:schemeClr val="accent6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曲线-store'!$B$3:$B$17</c:f>
              <c:numCache>
                <c:formatCode>General</c:formatCode>
                <c:ptCount val="15"/>
                <c:pt idx="0">
                  <c:v>9</c:v>
                </c:pt>
                <c:pt idx="1">
                  <c:v>10</c:v>
                </c:pt>
                <c:pt idx="2">
                  <c:v>11</c:v>
                </c:pt>
                <c:pt idx="3">
                  <c:v>12</c:v>
                </c:pt>
                <c:pt idx="4">
                  <c:v>13</c:v>
                </c:pt>
                <c:pt idx="5">
                  <c:v>14</c:v>
                </c:pt>
                <c:pt idx="6">
                  <c:v>15</c:v>
                </c:pt>
                <c:pt idx="7">
                  <c:v>16</c:v>
                </c:pt>
                <c:pt idx="8">
                  <c:v>17</c:v>
                </c:pt>
                <c:pt idx="9">
                  <c:v>18</c:v>
                </c:pt>
                <c:pt idx="10">
                  <c:v>19</c:v>
                </c:pt>
                <c:pt idx="11">
                  <c:v>20</c:v>
                </c:pt>
                <c:pt idx="12">
                  <c:v>21</c:v>
                </c:pt>
                <c:pt idx="13">
                  <c:v>22</c:v>
                </c:pt>
                <c:pt idx="14">
                  <c:v>23</c:v>
                </c:pt>
              </c:numCache>
            </c:numRef>
          </c:cat>
          <c:val>
            <c:numRef>
              <c:f>'曲线-store'!$T$3:$T$17</c:f>
              <c:numCache>
                <c:formatCode>General</c:formatCode>
                <c:ptCount val="15"/>
                <c:pt idx="0">
                  <c:v>3.3898305084745763E-2</c:v>
                </c:pt>
                <c:pt idx="1">
                  <c:v>3.3898305084745763E-2</c:v>
                </c:pt>
                <c:pt idx="2">
                  <c:v>3.3898305084745763E-2</c:v>
                </c:pt>
                <c:pt idx="3">
                  <c:v>3.3898305084745763E-2</c:v>
                </c:pt>
                <c:pt idx="4">
                  <c:v>7.6271186440677971E-2</c:v>
                </c:pt>
                <c:pt idx="5">
                  <c:v>7.6271186440677971E-2</c:v>
                </c:pt>
                <c:pt idx="6">
                  <c:v>0.11864406779661017</c:v>
                </c:pt>
                <c:pt idx="7">
                  <c:v>0.11864406779661017</c:v>
                </c:pt>
                <c:pt idx="8">
                  <c:v>0.11864406779661017</c:v>
                </c:pt>
                <c:pt idx="9">
                  <c:v>7.6271186440677971E-2</c:v>
                </c:pt>
                <c:pt idx="10">
                  <c:v>7.6271186440677971E-2</c:v>
                </c:pt>
                <c:pt idx="11">
                  <c:v>7.6271186440677971E-2</c:v>
                </c:pt>
                <c:pt idx="12">
                  <c:v>4.2372881355932202E-2</c:v>
                </c:pt>
                <c:pt idx="13">
                  <c:v>4.2372881355932202E-2</c:v>
                </c:pt>
                <c:pt idx="14">
                  <c:v>4.237288135593220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F27-4E05-ADF9-5ECB8EAE79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00478896"/>
        <c:axId val="600570688"/>
      </c:lineChart>
      <c:catAx>
        <c:axId val="5931601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altLang="en-US" sz="9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00569856"/>
        <c:crosses val="autoZero"/>
        <c:auto val="1"/>
        <c:lblAlgn val="ctr"/>
        <c:lblOffset val="100"/>
        <c:noMultiLvlLbl val="0"/>
      </c:catAx>
      <c:valAx>
        <c:axId val="600569856"/>
        <c:scaling>
          <c:orientation val="minMax"/>
          <c:max val="0.14000000000000001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altLang="en-US" sz="9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93160144"/>
        <c:crosses val="autoZero"/>
        <c:crossBetween val="between"/>
      </c:valAx>
      <c:valAx>
        <c:axId val="600570688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altLang="en-US" sz="9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00478896"/>
        <c:crosses val="max"/>
        <c:crossBetween val="between"/>
      </c:valAx>
      <c:catAx>
        <c:axId val="60047889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60057068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altLang="en-US" sz="9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lang="zh-CN" altLang="en-US" sz="900" b="0" i="0" u="none" strike="noStrike" kern="1200" baseline="0">
          <a:solidFill>
            <a:schemeClr val="tx2"/>
          </a:solidFill>
          <a:latin typeface="+mn-lt"/>
          <a:ea typeface="+mn-ea"/>
          <a:cs typeface="+mn-cs"/>
        </a:defRPr>
      </a:pPr>
      <a:endParaRPr lang="zh-CN"/>
    </a:p>
  </c:txPr>
  <c:externalData r:id="rId3">
    <c:autoUpdate val="0"/>
  </c:externalData>
  <c:userShapes r:id="rId4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en-US" dirty="0"/>
              <a:t>周需求规律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2"/>
          <c:tx>
            <c:strRef>
              <c:f>班次安排!$B$15</c:f>
              <c:strCache>
                <c:ptCount val="1"/>
                <c:pt idx="0">
                  <c:v>实际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班次安排!$C$15:$I$15</c:f>
              <c:numCache>
                <c:formatCode>0.00</c:formatCode>
                <c:ptCount val="7"/>
                <c:pt idx="0">
                  <c:v>0.12852311161217586</c:v>
                </c:pt>
                <c:pt idx="1">
                  <c:v>0.12401352874859076</c:v>
                </c:pt>
                <c:pt idx="2">
                  <c:v>0.11273957158962794</c:v>
                </c:pt>
                <c:pt idx="3">
                  <c:v>0.11724915445321307</c:v>
                </c:pt>
                <c:pt idx="4">
                  <c:v>0.12739571589627957</c:v>
                </c:pt>
                <c:pt idx="5">
                  <c:v>0.18714768883878238</c:v>
                </c:pt>
                <c:pt idx="6">
                  <c:v>0.20293122886133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CA3-47B2-8A1E-88DC4A8A66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161136480"/>
        <c:axId val="2121438288"/>
      </c:barChart>
      <c:lineChart>
        <c:grouping val="standard"/>
        <c:varyColors val="0"/>
        <c:ser>
          <c:idx val="2"/>
          <c:order val="0"/>
          <c:tx>
            <c:strRef>
              <c:f>班次安排!$B$13</c:f>
              <c:strCache>
                <c:ptCount val="1"/>
                <c:pt idx="0">
                  <c:v>优化前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val>
            <c:numRef>
              <c:f>班次安排!$C$13:$I$13</c:f>
              <c:numCache>
                <c:formatCode>General</c:formatCode>
                <c:ptCount val="7"/>
                <c:pt idx="0">
                  <c:v>0.14285714285714285</c:v>
                </c:pt>
                <c:pt idx="1">
                  <c:v>0.14285714285714285</c:v>
                </c:pt>
                <c:pt idx="2">
                  <c:v>0.14285714285714285</c:v>
                </c:pt>
                <c:pt idx="3">
                  <c:v>0.14285714285714285</c:v>
                </c:pt>
                <c:pt idx="4">
                  <c:v>0.14285714285714285</c:v>
                </c:pt>
                <c:pt idx="5">
                  <c:v>0.14285714285714285</c:v>
                </c:pt>
                <c:pt idx="6">
                  <c:v>0.142857142857142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CA3-47B2-8A1E-88DC4A8A66EF}"/>
            </c:ext>
          </c:extLst>
        </c:ser>
        <c:ser>
          <c:idx val="3"/>
          <c:order val="1"/>
          <c:tx>
            <c:strRef>
              <c:f>班次安排!$B$14</c:f>
              <c:strCache>
                <c:ptCount val="1"/>
                <c:pt idx="0">
                  <c:v>模型输出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val>
            <c:numRef>
              <c:f>班次安排!$C$14:$I$14</c:f>
              <c:numCache>
                <c:formatCode>General</c:formatCode>
                <c:ptCount val="7"/>
                <c:pt idx="0">
                  <c:v>0.13259668508287292</c:v>
                </c:pt>
                <c:pt idx="1">
                  <c:v>0.13259668508287292</c:v>
                </c:pt>
                <c:pt idx="2">
                  <c:v>0.12154696132596685</c:v>
                </c:pt>
                <c:pt idx="3">
                  <c:v>0.13259668508287292</c:v>
                </c:pt>
                <c:pt idx="4">
                  <c:v>0.13812154696132597</c:v>
                </c:pt>
                <c:pt idx="5">
                  <c:v>0.17127071823204421</c:v>
                </c:pt>
                <c:pt idx="6">
                  <c:v>0.171270718232044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CA3-47B2-8A1E-88DC4A8A66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1136480"/>
        <c:axId val="2121438288"/>
      </c:lineChart>
      <c:catAx>
        <c:axId val="161136480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21438288"/>
        <c:crosses val="autoZero"/>
        <c:auto val="1"/>
        <c:lblAlgn val="ctr"/>
        <c:lblOffset val="100"/>
        <c:noMultiLvlLbl val="0"/>
      </c:catAx>
      <c:valAx>
        <c:axId val="2121438288"/>
        <c:scaling>
          <c:orientation val="minMax"/>
          <c:max val="0.22000000000000003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611364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326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326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1613</cdr:x>
      <cdr:y>0.25633</cdr:y>
    </cdr:from>
    <cdr:to>
      <cdr:x>0.69532</cdr:x>
      <cdr:y>0.39054</cdr:y>
    </cdr:to>
    <cdr:sp macro="" textlink="">
      <cdr:nvSpPr>
        <cdr:cNvPr id="2" name="箭头: 下 1">
          <a:extLst xmlns:a="http://schemas.openxmlformats.org/drawingml/2006/main">
            <a:ext uri="{FF2B5EF4-FFF2-40B4-BE49-F238E27FC236}">
              <a16:creationId xmlns:a16="http://schemas.microsoft.com/office/drawing/2014/main" id="{5C597405-2568-4875-8514-EC610E9AA89B}"/>
            </a:ext>
          </a:extLst>
        </cdr:cNvPr>
        <cdr:cNvSpPr/>
      </cdr:nvSpPr>
      <cdr:spPr>
        <a:xfrm xmlns:a="http://schemas.openxmlformats.org/drawingml/2006/main">
          <a:off x="3497731" y="976615"/>
          <a:ext cx="449522" cy="511342"/>
        </a:xfrm>
        <a:prstGeom xmlns:a="http://schemas.openxmlformats.org/drawingml/2006/main" prst="downArrow">
          <a:avLst/>
        </a:prstGeom>
        <a:solidFill xmlns:a="http://schemas.openxmlformats.org/drawingml/2006/main">
          <a:schemeClr val="accent6">
            <a:lumMod val="50000"/>
          </a:schemeClr>
        </a:solidFill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vert="horz" anchor="ctr"/>
        <a:lstStyle xmlns:a="http://schemas.openxmlformats.org/drawingml/2006/main"/>
        <a:p xmlns:a="http://schemas.openxmlformats.org/drawingml/2006/main">
          <a:pPr algn="ctr"/>
          <a:r>
            <a:rPr lang="zh-CN" altLang="en-US" sz="1000" b="1" dirty="0"/>
            <a:t>浪费</a:t>
          </a:r>
          <a:endParaRPr lang="zh-CN" sz="1000" b="1" dirty="0"/>
        </a:p>
      </cdr:txBody>
    </cdr:sp>
  </cdr:relSizeAnchor>
  <cdr:relSizeAnchor xmlns:cdr="http://schemas.openxmlformats.org/drawingml/2006/chartDrawing">
    <cdr:from>
      <cdr:x>0.31402</cdr:x>
      <cdr:y>0.43001</cdr:y>
    </cdr:from>
    <cdr:to>
      <cdr:x>0.39939</cdr:x>
      <cdr:y>0.60686</cdr:y>
    </cdr:to>
    <cdr:sp macro="" textlink="">
      <cdr:nvSpPr>
        <cdr:cNvPr id="6" name="箭头: 上 5">
          <a:extLst xmlns:a="http://schemas.openxmlformats.org/drawingml/2006/main">
            <a:ext uri="{FF2B5EF4-FFF2-40B4-BE49-F238E27FC236}">
              <a16:creationId xmlns:a16="http://schemas.microsoft.com/office/drawing/2014/main" id="{B560482A-64F7-48D4-BD58-6F239AC93369}"/>
            </a:ext>
          </a:extLst>
        </cdr:cNvPr>
        <cdr:cNvSpPr/>
      </cdr:nvSpPr>
      <cdr:spPr>
        <a:xfrm xmlns:a="http://schemas.openxmlformats.org/drawingml/2006/main">
          <a:off x="1782652" y="1638353"/>
          <a:ext cx="484637" cy="673768"/>
        </a:xfrm>
        <a:prstGeom xmlns:a="http://schemas.openxmlformats.org/drawingml/2006/main" prst="upArrow">
          <a:avLst/>
        </a:prstGeom>
        <a:solidFill xmlns:a="http://schemas.openxmlformats.org/drawingml/2006/main">
          <a:schemeClr val="accent6">
            <a:lumMod val="50000"/>
          </a:schemeClr>
        </a:solidFill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anchor="ctr"/>
        <a:lstStyle xmlns:a="http://schemas.openxmlformats.org/drawingml/2006/main"/>
        <a:p xmlns:a="http://schemas.openxmlformats.org/drawingml/2006/main">
          <a:pPr marL="0" marR="0" lvl="0" indent="0" algn="ctr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zh-CN" altLang="zh-CN" sz="1100">
              <a:solidFill>
                <a:schemeClr val="lt1"/>
              </a:solidFill>
              <a:effectLst/>
              <a:latin typeface="+mn-lt"/>
              <a:ea typeface="+mn-ea"/>
              <a:cs typeface="+mn-cs"/>
            </a:rPr>
            <a:t>不足</a:t>
          </a:r>
          <a:endParaRPr lang="zh-CN" altLang="zh-CN">
            <a:effectLst/>
          </a:endParaRPr>
        </a:p>
        <a:p xmlns:a="http://schemas.openxmlformats.org/drawingml/2006/main">
          <a:pPr algn="ctr"/>
          <a:endParaRPr lang="zh-CN">
            <a:ln>
              <a:solidFill>
                <a:schemeClr val="accent6">
                  <a:lumMod val="50000"/>
                </a:schemeClr>
              </a:solidFill>
            </a:ln>
            <a:solidFill>
              <a:schemeClr val="accent6">
                <a:lumMod val="50000"/>
              </a:schemeClr>
            </a:solidFill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31715</cdr:x>
      <cdr:y>0.48643</cdr:y>
    </cdr:from>
    <cdr:to>
      <cdr:x>0.40252</cdr:x>
      <cdr:y>0.63605</cdr:y>
    </cdr:to>
    <cdr:sp macro="" textlink="">
      <cdr:nvSpPr>
        <cdr:cNvPr id="2" name="箭头: 上 1">
          <a:extLst xmlns:a="http://schemas.openxmlformats.org/drawingml/2006/main">
            <a:ext uri="{FF2B5EF4-FFF2-40B4-BE49-F238E27FC236}">
              <a16:creationId xmlns:a16="http://schemas.microsoft.com/office/drawing/2014/main" id="{96CAEA14-7EDA-4BEE-858A-C360E2DF9A59}"/>
            </a:ext>
          </a:extLst>
        </cdr:cNvPr>
        <cdr:cNvSpPr/>
      </cdr:nvSpPr>
      <cdr:spPr>
        <a:xfrm xmlns:a="http://schemas.openxmlformats.org/drawingml/2006/main">
          <a:off x="1697702" y="1830136"/>
          <a:ext cx="456990" cy="562913"/>
        </a:xfrm>
        <a:prstGeom xmlns:a="http://schemas.openxmlformats.org/drawingml/2006/main" prst="upArrow">
          <a:avLst/>
        </a:prstGeom>
        <a:solidFill xmlns:a="http://schemas.openxmlformats.org/drawingml/2006/main">
          <a:schemeClr val="accent6">
            <a:lumMod val="50000"/>
          </a:schemeClr>
        </a:solidFill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marR="0" lvl="0" indent="0" algn="ctr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zh-CN" altLang="zh-CN" sz="1100" dirty="0">
              <a:solidFill>
                <a:schemeClr val="lt1"/>
              </a:solidFill>
              <a:effectLst/>
              <a:latin typeface="+mn-lt"/>
              <a:ea typeface="+mn-ea"/>
              <a:cs typeface="+mn-cs"/>
            </a:rPr>
            <a:t>不足</a:t>
          </a:r>
          <a:endParaRPr lang="zh-CN" altLang="zh-CN" dirty="0">
            <a:effectLst/>
          </a:endParaRPr>
        </a:p>
        <a:p xmlns:a="http://schemas.openxmlformats.org/drawingml/2006/main">
          <a:pPr algn="ctr"/>
          <a:endParaRPr lang="zh-CN" dirty="0">
            <a:ln>
              <a:solidFill>
                <a:schemeClr val="accent6">
                  <a:lumMod val="50000"/>
                </a:schemeClr>
              </a:solidFill>
            </a:ln>
            <a:solidFill>
              <a:schemeClr val="accent6">
                <a:lumMod val="50000"/>
              </a:schemeClr>
            </a:solidFill>
          </a:endParaRPr>
        </a:p>
      </cdr:txBody>
    </cdr:sp>
  </cdr:relSizeAnchor>
  <cdr:relSizeAnchor xmlns:cdr="http://schemas.openxmlformats.org/drawingml/2006/chartDrawing">
    <cdr:from>
      <cdr:x>0.64098</cdr:x>
      <cdr:y>0.33933</cdr:y>
    </cdr:from>
    <cdr:to>
      <cdr:x>0.69843</cdr:x>
      <cdr:y>0.45822</cdr:y>
    </cdr:to>
    <cdr:sp macro="" textlink="">
      <cdr:nvSpPr>
        <cdr:cNvPr id="3" name="箭头: 下 2">
          <a:extLst xmlns:a="http://schemas.openxmlformats.org/drawingml/2006/main">
            <a:ext uri="{FF2B5EF4-FFF2-40B4-BE49-F238E27FC236}">
              <a16:creationId xmlns:a16="http://schemas.microsoft.com/office/drawing/2014/main" id="{67548994-0003-4BEC-83DD-BBDE7D3BBCF5}"/>
            </a:ext>
          </a:extLst>
        </cdr:cNvPr>
        <cdr:cNvSpPr/>
      </cdr:nvSpPr>
      <cdr:spPr>
        <a:xfrm xmlns:a="http://schemas.openxmlformats.org/drawingml/2006/main">
          <a:off x="3431181" y="1276684"/>
          <a:ext cx="307526" cy="447312"/>
        </a:xfrm>
        <a:prstGeom xmlns:a="http://schemas.openxmlformats.org/drawingml/2006/main" prst="downArrow">
          <a:avLst>
            <a:gd name="adj1" fmla="val 54166"/>
            <a:gd name="adj2" fmla="val 50000"/>
          </a:avLst>
        </a:prstGeom>
        <a:solidFill xmlns:a="http://schemas.openxmlformats.org/drawingml/2006/main">
          <a:schemeClr val="accent6">
            <a:lumMod val="50000"/>
          </a:schemeClr>
        </a:solidFill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="eaVert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zh-CN" altLang="en-US" sz="900" b="1" dirty="0"/>
            <a:t>浪费</a:t>
          </a:r>
          <a:endParaRPr lang="zh-CN" sz="900" b="1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9/6/2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图形 7">
            <a:extLst>
              <a:ext uri="{FF2B5EF4-FFF2-40B4-BE49-F238E27FC236}">
                <a16:creationId xmlns:a16="http://schemas.microsoft.com/office/drawing/2014/main" id="{9888ACE0-167C-460B-8CF2-50A4BA8C6C3F}"/>
              </a:ext>
            </a:extLst>
          </p:cNvPr>
          <p:cNvGrpSpPr/>
          <p:nvPr userDrawn="1"/>
        </p:nvGrpSpPr>
        <p:grpSpPr>
          <a:xfrm>
            <a:off x="-14514" y="-31228"/>
            <a:ext cx="12206514" cy="6908212"/>
            <a:chOff x="3707607" y="1040606"/>
            <a:chExt cx="4772026" cy="4772026"/>
          </a:xfrm>
        </p:grpSpPr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39F015AB-4956-4173-AF78-5C478F6F012F}"/>
                </a:ext>
              </a:extLst>
            </p:cNvPr>
            <p:cNvSpPr/>
            <p:nvPr/>
          </p:nvSpPr>
          <p:spPr>
            <a:xfrm>
              <a:off x="3707607" y="1040606"/>
              <a:ext cx="4772026" cy="4772026"/>
            </a:xfrm>
            <a:custGeom>
              <a:avLst/>
              <a:gdLst>
                <a:gd name="connsiteX0" fmla="*/ 7144 w 4772025"/>
                <a:gd name="connsiteY0" fmla="*/ 7144 h 4772025"/>
                <a:gd name="connsiteX1" fmla="*/ 4769644 w 4772025"/>
                <a:gd name="connsiteY1" fmla="*/ 7144 h 4772025"/>
                <a:gd name="connsiteX2" fmla="*/ 4769644 w 4772025"/>
                <a:gd name="connsiteY2" fmla="*/ 4769644 h 4772025"/>
                <a:gd name="connsiteX3" fmla="*/ 7144 w 4772025"/>
                <a:gd name="connsiteY3" fmla="*/ 4769644 h 4772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72025" h="4772025">
                  <a:moveTo>
                    <a:pt x="7144" y="7144"/>
                  </a:moveTo>
                  <a:lnTo>
                    <a:pt x="4769644" y="7144"/>
                  </a:lnTo>
                  <a:lnTo>
                    <a:pt x="4769644" y="4769644"/>
                  </a:lnTo>
                  <a:lnTo>
                    <a:pt x="7144" y="4769644"/>
                  </a:lnTo>
                  <a:close/>
                </a:path>
              </a:pathLst>
            </a:custGeom>
            <a:solidFill>
              <a:srgbClr val="3E03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93606D7B-A247-493C-B695-1C4F92D4CEC4}"/>
                </a:ext>
              </a:extLst>
            </p:cNvPr>
            <p:cNvSpPr/>
            <p:nvPr/>
          </p:nvSpPr>
          <p:spPr>
            <a:xfrm>
              <a:off x="3707607" y="1040606"/>
              <a:ext cx="4562476" cy="4772026"/>
            </a:xfrm>
            <a:custGeom>
              <a:avLst/>
              <a:gdLst>
                <a:gd name="connsiteX0" fmla="*/ 7144 w 4562475"/>
                <a:gd name="connsiteY0" fmla="*/ 4769644 h 4772025"/>
                <a:gd name="connsiteX1" fmla="*/ 7144 w 4562475"/>
                <a:gd name="connsiteY1" fmla="*/ 7144 h 4772025"/>
                <a:gd name="connsiteX2" fmla="*/ 4558189 w 4562475"/>
                <a:gd name="connsiteY2" fmla="*/ 7144 h 4772025"/>
                <a:gd name="connsiteX3" fmla="*/ 4442937 w 4562475"/>
                <a:gd name="connsiteY3" fmla="*/ 383381 h 4772025"/>
                <a:gd name="connsiteX4" fmla="*/ 3372326 w 4562475"/>
                <a:gd name="connsiteY4" fmla="*/ 1448276 h 4772025"/>
                <a:gd name="connsiteX5" fmla="*/ 2239804 w 4562475"/>
                <a:gd name="connsiteY5" fmla="*/ 2457926 h 4772025"/>
                <a:gd name="connsiteX6" fmla="*/ 2011204 w 4562475"/>
                <a:gd name="connsiteY6" fmla="*/ 3777139 h 4772025"/>
                <a:gd name="connsiteX7" fmla="*/ 2411254 w 4562475"/>
                <a:gd name="connsiteY7" fmla="*/ 4729639 h 4772025"/>
                <a:gd name="connsiteX8" fmla="*/ 2447449 w 4562475"/>
                <a:gd name="connsiteY8" fmla="*/ 4769644 h 4772025"/>
                <a:gd name="connsiteX9" fmla="*/ 7144 w 4562475"/>
                <a:gd name="connsiteY9" fmla="*/ 4769644 h 4772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562475" h="4772025">
                  <a:moveTo>
                    <a:pt x="7144" y="4769644"/>
                  </a:moveTo>
                  <a:lnTo>
                    <a:pt x="7144" y="7144"/>
                  </a:lnTo>
                  <a:lnTo>
                    <a:pt x="4558189" y="7144"/>
                  </a:lnTo>
                  <a:cubicBezTo>
                    <a:pt x="4535329" y="136684"/>
                    <a:pt x="4498181" y="263366"/>
                    <a:pt x="4442937" y="383381"/>
                  </a:cubicBezTo>
                  <a:cubicBezTo>
                    <a:pt x="4231481" y="847249"/>
                    <a:pt x="3796189" y="1164431"/>
                    <a:pt x="3372326" y="1448276"/>
                  </a:cubicBezTo>
                  <a:cubicBezTo>
                    <a:pt x="2948464" y="1732121"/>
                    <a:pt x="2500789" y="2019776"/>
                    <a:pt x="2239804" y="2457926"/>
                  </a:cubicBezTo>
                  <a:cubicBezTo>
                    <a:pt x="2006441" y="2848451"/>
                    <a:pt x="1947386" y="3326606"/>
                    <a:pt x="2011204" y="3777139"/>
                  </a:cubicBezTo>
                  <a:cubicBezTo>
                    <a:pt x="2059781" y="4122896"/>
                    <a:pt x="2182654" y="4465797"/>
                    <a:pt x="2411254" y="4729639"/>
                  </a:cubicBezTo>
                  <a:cubicBezTo>
                    <a:pt x="2422684" y="4742974"/>
                    <a:pt x="2435066" y="4756309"/>
                    <a:pt x="2447449" y="4769644"/>
                  </a:cubicBezTo>
                  <a:lnTo>
                    <a:pt x="7144" y="4769644"/>
                  </a:lnTo>
                  <a:close/>
                </a:path>
              </a:pathLst>
            </a:custGeom>
            <a:solidFill>
              <a:srgbClr val="5202B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141C765F-364F-4A56-8894-24E82D8DA361}"/>
                </a:ext>
              </a:extLst>
            </p:cNvPr>
            <p:cNvSpPr/>
            <p:nvPr/>
          </p:nvSpPr>
          <p:spPr>
            <a:xfrm>
              <a:off x="3707607" y="1040606"/>
              <a:ext cx="2409825" cy="1133476"/>
            </a:xfrm>
            <a:custGeom>
              <a:avLst/>
              <a:gdLst>
                <a:gd name="connsiteX0" fmla="*/ 7144 w 2409825"/>
                <a:gd name="connsiteY0" fmla="*/ 1127284 h 1133475"/>
                <a:gd name="connsiteX1" fmla="*/ 7144 w 2409825"/>
                <a:gd name="connsiteY1" fmla="*/ 7144 h 1133475"/>
                <a:gd name="connsiteX2" fmla="*/ 2410301 w 2409825"/>
                <a:gd name="connsiteY2" fmla="*/ 7144 h 1133475"/>
                <a:gd name="connsiteX3" fmla="*/ 1560671 w 2409825"/>
                <a:gd name="connsiteY3" fmla="*/ 809149 h 1133475"/>
                <a:gd name="connsiteX4" fmla="*/ 74771 w 2409825"/>
                <a:gd name="connsiteY4" fmla="*/ 1126331 h 1133475"/>
                <a:gd name="connsiteX5" fmla="*/ 7144 w 2409825"/>
                <a:gd name="connsiteY5" fmla="*/ 1127284 h 1133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09825" h="1133475">
                  <a:moveTo>
                    <a:pt x="7144" y="1127284"/>
                  </a:moveTo>
                  <a:lnTo>
                    <a:pt x="7144" y="7144"/>
                  </a:lnTo>
                  <a:lnTo>
                    <a:pt x="2410301" y="7144"/>
                  </a:lnTo>
                  <a:cubicBezTo>
                    <a:pt x="2225516" y="352901"/>
                    <a:pt x="1913096" y="631031"/>
                    <a:pt x="1560671" y="809149"/>
                  </a:cubicBezTo>
                  <a:cubicBezTo>
                    <a:pt x="1104424" y="1039654"/>
                    <a:pt x="585311" y="1116806"/>
                    <a:pt x="74771" y="1126331"/>
                  </a:cubicBezTo>
                  <a:cubicBezTo>
                    <a:pt x="51911" y="1127284"/>
                    <a:pt x="30004" y="1127284"/>
                    <a:pt x="7144" y="1127284"/>
                  </a:cubicBezTo>
                  <a:close/>
                </a:path>
              </a:pathLst>
            </a:custGeom>
            <a:solidFill>
              <a:srgbClr val="3E03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CD9A4EFD-C12D-4A9E-B8B0-087875A2BF29}"/>
                </a:ext>
              </a:extLst>
            </p:cNvPr>
            <p:cNvSpPr/>
            <p:nvPr/>
          </p:nvSpPr>
          <p:spPr>
            <a:xfrm>
              <a:off x="4041999" y="3991553"/>
              <a:ext cx="703694" cy="1243397"/>
            </a:xfrm>
            <a:custGeom>
              <a:avLst/>
              <a:gdLst>
                <a:gd name="connsiteX0" fmla="*/ 7144 w 1095375"/>
                <a:gd name="connsiteY0" fmla="*/ 550069 h 1095375"/>
                <a:gd name="connsiteX1" fmla="*/ 550069 w 1095375"/>
                <a:gd name="connsiteY1" fmla="*/ 7144 h 1095375"/>
                <a:gd name="connsiteX2" fmla="*/ 1092994 w 1095375"/>
                <a:gd name="connsiteY2" fmla="*/ 550069 h 1095375"/>
                <a:gd name="connsiteX3" fmla="*/ 550069 w 1095375"/>
                <a:gd name="connsiteY3" fmla="*/ 1092994 h 1095375"/>
                <a:gd name="connsiteX4" fmla="*/ 7144 w 1095375"/>
                <a:gd name="connsiteY4" fmla="*/ 550069 h 1095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5375" h="1095375">
                  <a:moveTo>
                    <a:pt x="7144" y="550069"/>
                  </a:moveTo>
                  <a:cubicBezTo>
                    <a:pt x="7144" y="250031"/>
                    <a:pt x="250031" y="7144"/>
                    <a:pt x="550069" y="7144"/>
                  </a:cubicBezTo>
                  <a:cubicBezTo>
                    <a:pt x="850106" y="7144"/>
                    <a:pt x="1092994" y="250031"/>
                    <a:pt x="1092994" y="550069"/>
                  </a:cubicBezTo>
                  <a:cubicBezTo>
                    <a:pt x="1092994" y="850106"/>
                    <a:pt x="850106" y="1092994"/>
                    <a:pt x="550069" y="1092994"/>
                  </a:cubicBezTo>
                  <a:cubicBezTo>
                    <a:pt x="250984" y="1092994"/>
                    <a:pt x="7144" y="850106"/>
                    <a:pt x="7144" y="550069"/>
                  </a:cubicBezTo>
                  <a:close/>
                </a:path>
              </a:pathLst>
            </a:custGeom>
            <a:solidFill>
              <a:srgbClr val="3E03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61FEFC23-E3A9-4D0A-8C3C-272C1025E5E5}"/>
                </a:ext>
              </a:extLst>
            </p:cNvPr>
            <p:cNvSpPr/>
            <p:nvPr/>
          </p:nvSpPr>
          <p:spPr>
            <a:xfrm>
              <a:off x="7959318" y="4897916"/>
              <a:ext cx="492993" cy="871097"/>
            </a:xfrm>
            <a:custGeom>
              <a:avLst/>
              <a:gdLst>
                <a:gd name="connsiteX0" fmla="*/ 788194 w 790575"/>
                <a:gd name="connsiteY0" fmla="*/ 397669 h 790575"/>
                <a:gd name="connsiteX1" fmla="*/ 397669 w 790575"/>
                <a:gd name="connsiteY1" fmla="*/ 788194 h 790575"/>
                <a:gd name="connsiteX2" fmla="*/ 7144 w 790575"/>
                <a:gd name="connsiteY2" fmla="*/ 397669 h 790575"/>
                <a:gd name="connsiteX3" fmla="*/ 397669 w 790575"/>
                <a:gd name="connsiteY3" fmla="*/ 7144 h 790575"/>
                <a:gd name="connsiteX4" fmla="*/ 788194 w 790575"/>
                <a:gd name="connsiteY4" fmla="*/ 397669 h 790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0575" h="790575">
                  <a:moveTo>
                    <a:pt x="788194" y="397669"/>
                  </a:moveTo>
                  <a:cubicBezTo>
                    <a:pt x="788194" y="613350"/>
                    <a:pt x="613350" y="788194"/>
                    <a:pt x="397669" y="788194"/>
                  </a:cubicBezTo>
                  <a:cubicBezTo>
                    <a:pt x="181988" y="788194"/>
                    <a:pt x="7144" y="613350"/>
                    <a:pt x="7144" y="397669"/>
                  </a:cubicBezTo>
                  <a:cubicBezTo>
                    <a:pt x="7144" y="181988"/>
                    <a:pt x="181988" y="7144"/>
                    <a:pt x="397669" y="7144"/>
                  </a:cubicBezTo>
                  <a:cubicBezTo>
                    <a:pt x="613350" y="7144"/>
                    <a:pt x="788194" y="181988"/>
                    <a:pt x="788194" y="397669"/>
                  </a:cubicBezTo>
                  <a:close/>
                </a:path>
              </a:pathLst>
            </a:custGeom>
            <a:solidFill>
              <a:srgbClr val="5202B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18" name="矩形: 圆角 17">
            <a:extLst>
              <a:ext uri="{FF2B5EF4-FFF2-40B4-BE49-F238E27FC236}">
                <a16:creationId xmlns:a16="http://schemas.microsoft.com/office/drawing/2014/main" id="{F227876A-847A-4617-AD75-4679EB9887F0}"/>
              </a:ext>
            </a:extLst>
          </p:cNvPr>
          <p:cNvSpPr/>
          <p:nvPr userDrawn="1"/>
        </p:nvSpPr>
        <p:spPr>
          <a:xfrm>
            <a:off x="453105" y="486175"/>
            <a:ext cx="11285791" cy="5885651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9" name="图形 7">
            <a:extLst>
              <a:ext uri="{FF2B5EF4-FFF2-40B4-BE49-F238E27FC236}">
                <a16:creationId xmlns:a16="http://schemas.microsoft.com/office/drawing/2014/main" id="{9A9A3490-2578-4ED0-BEE5-4D263E8F669A}"/>
              </a:ext>
            </a:extLst>
          </p:cNvPr>
          <p:cNvGrpSpPr/>
          <p:nvPr userDrawn="1"/>
        </p:nvGrpSpPr>
        <p:grpSpPr>
          <a:xfrm>
            <a:off x="5766001" y="452438"/>
            <a:ext cx="5972894" cy="5919387"/>
            <a:chOff x="5419906" y="2058752"/>
            <a:chExt cx="2543175" cy="2520392"/>
          </a:xfrm>
        </p:grpSpPr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BE5CEA97-7BCC-41B7-B32A-6C6E317495EE}"/>
                </a:ext>
              </a:extLst>
            </p:cNvPr>
            <p:cNvSpPr/>
            <p:nvPr/>
          </p:nvSpPr>
          <p:spPr>
            <a:xfrm>
              <a:off x="5419906" y="2058752"/>
              <a:ext cx="2543175" cy="2520392"/>
            </a:xfrm>
            <a:custGeom>
              <a:avLst/>
              <a:gdLst>
                <a:gd name="connsiteX0" fmla="*/ 2541089 w 2543175"/>
                <a:gd name="connsiteY0" fmla="*/ 1159669 h 2505075"/>
                <a:gd name="connsiteX1" fmla="*/ 2541089 w 2543175"/>
                <a:gd name="connsiteY1" fmla="*/ 2503646 h 2505075"/>
                <a:gd name="connsiteX2" fmla="*/ 2152469 w 2543175"/>
                <a:gd name="connsiteY2" fmla="*/ 2503646 h 2505075"/>
                <a:gd name="connsiteX3" fmla="*/ 2097224 w 2543175"/>
                <a:gd name="connsiteY3" fmla="*/ 2245519 h 2505075"/>
                <a:gd name="connsiteX4" fmla="*/ 1790519 w 2543175"/>
                <a:gd name="connsiteY4" fmla="*/ 2019776 h 2505075"/>
                <a:gd name="connsiteX5" fmla="*/ 1376182 w 2543175"/>
                <a:gd name="connsiteY5" fmla="*/ 1947386 h 2505075"/>
                <a:gd name="connsiteX6" fmla="*/ 1254262 w 2543175"/>
                <a:gd name="connsiteY6" fmla="*/ 1821656 h 2505075"/>
                <a:gd name="connsiteX7" fmla="*/ 1259024 w 2543175"/>
                <a:gd name="connsiteY7" fmla="*/ 1654969 h 2505075"/>
                <a:gd name="connsiteX8" fmla="*/ 1212352 w 2543175"/>
                <a:gd name="connsiteY8" fmla="*/ 1501616 h 2505075"/>
                <a:gd name="connsiteX9" fmla="*/ 1045664 w 2543175"/>
                <a:gd name="connsiteY9" fmla="*/ 1495901 h 2505075"/>
                <a:gd name="connsiteX10" fmla="*/ 696097 w 2543175"/>
                <a:gd name="connsiteY10" fmla="*/ 1493044 h 2505075"/>
                <a:gd name="connsiteX11" fmla="*/ 778012 w 2543175"/>
                <a:gd name="connsiteY11" fmla="*/ 1231106 h 2505075"/>
                <a:gd name="connsiteX12" fmla="*/ 677999 w 2543175"/>
                <a:gd name="connsiteY12" fmla="*/ 963454 h 2505075"/>
                <a:gd name="connsiteX13" fmla="*/ 393202 w 2543175"/>
                <a:gd name="connsiteY13" fmla="*/ 868204 h 2505075"/>
                <a:gd name="connsiteX14" fmla="*/ 165554 w 2543175"/>
                <a:gd name="connsiteY14" fmla="*/ 833914 h 2505075"/>
                <a:gd name="connsiteX15" fmla="*/ 10297 w 2543175"/>
                <a:gd name="connsiteY15" fmla="*/ 677704 h 2505075"/>
                <a:gd name="connsiteX16" fmla="*/ 202702 w 2543175"/>
                <a:gd name="connsiteY16" fmla="*/ 267176 h 2505075"/>
                <a:gd name="connsiteX17" fmla="*/ 110309 w 2543175"/>
                <a:gd name="connsiteY17" fmla="*/ 7144 h 2505075"/>
                <a:gd name="connsiteX18" fmla="*/ 568462 w 2543175"/>
                <a:gd name="connsiteY18" fmla="*/ 7144 h 2505075"/>
                <a:gd name="connsiteX19" fmla="*/ 742769 w 2543175"/>
                <a:gd name="connsiteY19" fmla="*/ 408146 h 2505075"/>
                <a:gd name="connsiteX20" fmla="*/ 1323794 w 2543175"/>
                <a:gd name="connsiteY20" fmla="*/ 427196 h 2505075"/>
                <a:gd name="connsiteX21" fmla="*/ 1476194 w 2543175"/>
                <a:gd name="connsiteY21" fmla="*/ 874871 h 2505075"/>
                <a:gd name="connsiteX22" fmla="*/ 2133419 w 2543175"/>
                <a:gd name="connsiteY22" fmla="*/ 865346 h 2505075"/>
                <a:gd name="connsiteX23" fmla="*/ 2135324 w 2543175"/>
                <a:gd name="connsiteY23" fmla="*/ 865346 h 2505075"/>
                <a:gd name="connsiteX24" fmla="*/ 2293439 w 2543175"/>
                <a:gd name="connsiteY24" fmla="*/ 985361 h 2505075"/>
                <a:gd name="connsiteX25" fmla="*/ 2541089 w 2543175"/>
                <a:gd name="connsiteY25" fmla="*/ 1159669 h 2505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543175" h="2505075">
                  <a:moveTo>
                    <a:pt x="2541089" y="1159669"/>
                  </a:moveTo>
                  <a:lnTo>
                    <a:pt x="2541089" y="2503646"/>
                  </a:lnTo>
                  <a:lnTo>
                    <a:pt x="2152469" y="2503646"/>
                  </a:lnTo>
                  <a:cubicBezTo>
                    <a:pt x="2158184" y="2413159"/>
                    <a:pt x="2141992" y="2323624"/>
                    <a:pt x="2097224" y="2245519"/>
                  </a:cubicBezTo>
                  <a:cubicBezTo>
                    <a:pt x="2030549" y="2131219"/>
                    <a:pt x="1913392" y="2059781"/>
                    <a:pt x="1790519" y="2019776"/>
                  </a:cubicBezTo>
                  <a:cubicBezTo>
                    <a:pt x="1656217" y="1975961"/>
                    <a:pt x="1504769" y="2001679"/>
                    <a:pt x="1376182" y="1947386"/>
                  </a:cubicBezTo>
                  <a:cubicBezTo>
                    <a:pt x="1319984" y="1924526"/>
                    <a:pt x="1270454" y="1879759"/>
                    <a:pt x="1254262" y="1821656"/>
                  </a:cubicBezTo>
                  <a:cubicBezTo>
                    <a:pt x="1239022" y="1767364"/>
                    <a:pt x="1253309" y="1711166"/>
                    <a:pt x="1259024" y="1654969"/>
                  </a:cubicBezTo>
                  <a:cubicBezTo>
                    <a:pt x="1264739" y="1599724"/>
                    <a:pt x="1257119" y="1534954"/>
                    <a:pt x="1212352" y="1501616"/>
                  </a:cubicBezTo>
                  <a:cubicBezTo>
                    <a:pt x="1165679" y="1467326"/>
                    <a:pt x="1100909" y="1480661"/>
                    <a:pt x="1045664" y="1495901"/>
                  </a:cubicBezTo>
                  <a:cubicBezTo>
                    <a:pt x="954224" y="1520666"/>
                    <a:pt x="758962" y="1616869"/>
                    <a:pt x="696097" y="1493044"/>
                  </a:cubicBezTo>
                  <a:cubicBezTo>
                    <a:pt x="653234" y="1408271"/>
                    <a:pt x="748484" y="1321594"/>
                    <a:pt x="778012" y="1231106"/>
                  </a:cubicBezTo>
                  <a:cubicBezTo>
                    <a:pt x="809444" y="1134904"/>
                    <a:pt x="758962" y="1025366"/>
                    <a:pt x="677999" y="963454"/>
                  </a:cubicBezTo>
                  <a:cubicBezTo>
                    <a:pt x="597989" y="901541"/>
                    <a:pt x="494167" y="877729"/>
                    <a:pt x="393202" y="868204"/>
                  </a:cubicBezTo>
                  <a:cubicBezTo>
                    <a:pt x="317002" y="860584"/>
                    <a:pt x="237944" y="858679"/>
                    <a:pt x="165554" y="833914"/>
                  </a:cubicBezTo>
                  <a:cubicBezTo>
                    <a:pt x="93164" y="808196"/>
                    <a:pt x="25537" y="752951"/>
                    <a:pt x="10297" y="677704"/>
                  </a:cubicBezTo>
                  <a:cubicBezTo>
                    <a:pt x="-19231" y="525304"/>
                    <a:pt x="167459" y="417671"/>
                    <a:pt x="202702" y="267176"/>
                  </a:cubicBezTo>
                  <a:cubicBezTo>
                    <a:pt x="224609" y="172879"/>
                    <a:pt x="181747" y="72866"/>
                    <a:pt x="110309" y="7144"/>
                  </a:cubicBezTo>
                  <a:lnTo>
                    <a:pt x="568462" y="7144"/>
                  </a:lnTo>
                  <a:cubicBezTo>
                    <a:pt x="518932" y="168116"/>
                    <a:pt x="547507" y="382429"/>
                    <a:pt x="742769" y="408146"/>
                  </a:cubicBezTo>
                  <a:cubicBezTo>
                    <a:pt x="942794" y="436721"/>
                    <a:pt x="1171394" y="246221"/>
                    <a:pt x="1323794" y="427196"/>
                  </a:cubicBezTo>
                  <a:cubicBezTo>
                    <a:pt x="1438094" y="560546"/>
                    <a:pt x="1295219" y="779621"/>
                    <a:pt x="1476194" y="874871"/>
                  </a:cubicBezTo>
                  <a:cubicBezTo>
                    <a:pt x="1695269" y="979646"/>
                    <a:pt x="1914344" y="855821"/>
                    <a:pt x="2133419" y="865346"/>
                  </a:cubicBezTo>
                  <a:cubicBezTo>
                    <a:pt x="2133419" y="865346"/>
                    <a:pt x="2134372" y="865346"/>
                    <a:pt x="2135324" y="865346"/>
                  </a:cubicBezTo>
                  <a:cubicBezTo>
                    <a:pt x="2208667" y="865346"/>
                    <a:pt x="2272484" y="914876"/>
                    <a:pt x="2293439" y="985361"/>
                  </a:cubicBezTo>
                  <a:cubicBezTo>
                    <a:pt x="2348684" y="1170146"/>
                    <a:pt x="2446792" y="1113949"/>
                    <a:pt x="2541089" y="1159669"/>
                  </a:cubicBezTo>
                  <a:close/>
                </a:path>
              </a:pathLst>
            </a:custGeom>
            <a:solidFill>
              <a:srgbClr val="F065A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3C12D04E-81A6-4A29-B957-3C2F3EC107CB}"/>
                </a:ext>
              </a:extLst>
            </p:cNvPr>
            <p:cNvSpPr/>
            <p:nvPr/>
          </p:nvSpPr>
          <p:spPr>
            <a:xfrm>
              <a:off x="5419906" y="2058752"/>
              <a:ext cx="2543175" cy="2519439"/>
            </a:xfrm>
            <a:custGeom>
              <a:avLst/>
              <a:gdLst>
                <a:gd name="connsiteX0" fmla="*/ 2541089 w 2543175"/>
                <a:gd name="connsiteY0" fmla="*/ 1920716 h 2505075"/>
                <a:gd name="connsiteX1" fmla="*/ 2541089 w 2543175"/>
                <a:gd name="connsiteY1" fmla="*/ 2503646 h 2505075"/>
                <a:gd name="connsiteX2" fmla="*/ 2152469 w 2543175"/>
                <a:gd name="connsiteY2" fmla="*/ 2503646 h 2505075"/>
                <a:gd name="connsiteX3" fmla="*/ 2097224 w 2543175"/>
                <a:gd name="connsiteY3" fmla="*/ 2245519 h 2505075"/>
                <a:gd name="connsiteX4" fmla="*/ 1790519 w 2543175"/>
                <a:gd name="connsiteY4" fmla="*/ 2019776 h 2505075"/>
                <a:gd name="connsiteX5" fmla="*/ 1376182 w 2543175"/>
                <a:gd name="connsiteY5" fmla="*/ 1947386 h 2505075"/>
                <a:gd name="connsiteX6" fmla="*/ 1254262 w 2543175"/>
                <a:gd name="connsiteY6" fmla="*/ 1821656 h 2505075"/>
                <a:gd name="connsiteX7" fmla="*/ 1259024 w 2543175"/>
                <a:gd name="connsiteY7" fmla="*/ 1654969 h 2505075"/>
                <a:gd name="connsiteX8" fmla="*/ 1212352 w 2543175"/>
                <a:gd name="connsiteY8" fmla="*/ 1501616 h 2505075"/>
                <a:gd name="connsiteX9" fmla="*/ 1045664 w 2543175"/>
                <a:gd name="connsiteY9" fmla="*/ 1495901 h 2505075"/>
                <a:gd name="connsiteX10" fmla="*/ 696097 w 2543175"/>
                <a:gd name="connsiteY10" fmla="*/ 1493044 h 2505075"/>
                <a:gd name="connsiteX11" fmla="*/ 778012 w 2543175"/>
                <a:gd name="connsiteY11" fmla="*/ 1231106 h 2505075"/>
                <a:gd name="connsiteX12" fmla="*/ 677999 w 2543175"/>
                <a:gd name="connsiteY12" fmla="*/ 963454 h 2505075"/>
                <a:gd name="connsiteX13" fmla="*/ 393202 w 2543175"/>
                <a:gd name="connsiteY13" fmla="*/ 868204 h 2505075"/>
                <a:gd name="connsiteX14" fmla="*/ 165554 w 2543175"/>
                <a:gd name="connsiteY14" fmla="*/ 833914 h 2505075"/>
                <a:gd name="connsiteX15" fmla="*/ 10297 w 2543175"/>
                <a:gd name="connsiteY15" fmla="*/ 677704 h 2505075"/>
                <a:gd name="connsiteX16" fmla="*/ 202702 w 2543175"/>
                <a:gd name="connsiteY16" fmla="*/ 267176 h 2505075"/>
                <a:gd name="connsiteX17" fmla="*/ 110309 w 2543175"/>
                <a:gd name="connsiteY17" fmla="*/ 7144 h 2505075"/>
                <a:gd name="connsiteX18" fmla="*/ 367484 w 2543175"/>
                <a:gd name="connsiteY18" fmla="*/ 7144 h 2505075"/>
                <a:gd name="connsiteX19" fmla="*/ 358912 w 2543175"/>
                <a:gd name="connsiteY19" fmla="*/ 260509 h 2505075"/>
                <a:gd name="connsiteX20" fmla="*/ 290332 w 2543175"/>
                <a:gd name="connsiteY20" fmla="*/ 564356 h 2505075"/>
                <a:gd name="connsiteX21" fmla="*/ 571319 w 2543175"/>
                <a:gd name="connsiteY21" fmla="*/ 734854 h 2505075"/>
                <a:gd name="connsiteX22" fmla="*/ 922792 w 2543175"/>
                <a:gd name="connsiteY22" fmla="*/ 694849 h 2505075"/>
                <a:gd name="connsiteX23" fmla="*/ 1159964 w 2543175"/>
                <a:gd name="connsiteY23" fmla="*/ 812959 h 2505075"/>
                <a:gd name="connsiteX24" fmla="*/ 1086622 w 2543175"/>
                <a:gd name="connsiteY24" fmla="*/ 1273016 h 2505075"/>
                <a:gd name="connsiteX25" fmla="*/ 1426664 w 2543175"/>
                <a:gd name="connsiteY25" fmla="*/ 1516856 h 2505075"/>
                <a:gd name="connsiteX26" fmla="*/ 1881007 w 2543175"/>
                <a:gd name="connsiteY26" fmla="*/ 1463516 h 2505075"/>
                <a:gd name="connsiteX27" fmla="*/ 2172472 w 2543175"/>
                <a:gd name="connsiteY27" fmla="*/ 1605439 h 2505075"/>
                <a:gd name="connsiteX28" fmla="*/ 2214382 w 2543175"/>
                <a:gd name="connsiteY28" fmla="*/ 1748314 h 2505075"/>
                <a:gd name="connsiteX29" fmla="*/ 2434409 w 2543175"/>
                <a:gd name="connsiteY29" fmla="*/ 1900714 h 2505075"/>
                <a:gd name="connsiteX30" fmla="*/ 2541089 w 2543175"/>
                <a:gd name="connsiteY30" fmla="*/ 1920716 h 2505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543175" h="2505075">
                  <a:moveTo>
                    <a:pt x="2541089" y="1920716"/>
                  </a:moveTo>
                  <a:lnTo>
                    <a:pt x="2541089" y="2503646"/>
                  </a:lnTo>
                  <a:lnTo>
                    <a:pt x="2152469" y="2503646"/>
                  </a:lnTo>
                  <a:cubicBezTo>
                    <a:pt x="2158184" y="2413159"/>
                    <a:pt x="2141992" y="2323624"/>
                    <a:pt x="2097224" y="2245519"/>
                  </a:cubicBezTo>
                  <a:cubicBezTo>
                    <a:pt x="2030549" y="2131219"/>
                    <a:pt x="1913392" y="2059781"/>
                    <a:pt x="1790519" y="2019776"/>
                  </a:cubicBezTo>
                  <a:cubicBezTo>
                    <a:pt x="1656217" y="1975961"/>
                    <a:pt x="1504769" y="2001679"/>
                    <a:pt x="1376182" y="1947386"/>
                  </a:cubicBezTo>
                  <a:cubicBezTo>
                    <a:pt x="1319984" y="1924526"/>
                    <a:pt x="1270454" y="1879759"/>
                    <a:pt x="1254262" y="1821656"/>
                  </a:cubicBezTo>
                  <a:cubicBezTo>
                    <a:pt x="1239022" y="1767364"/>
                    <a:pt x="1253309" y="1711166"/>
                    <a:pt x="1259024" y="1654969"/>
                  </a:cubicBezTo>
                  <a:cubicBezTo>
                    <a:pt x="1264739" y="1599724"/>
                    <a:pt x="1257119" y="1534954"/>
                    <a:pt x="1212352" y="1501616"/>
                  </a:cubicBezTo>
                  <a:cubicBezTo>
                    <a:pt x="1165679" y="1467326"/>
                    <a:pt x="1100909" y="1480661"/>
                    <a:pt x="1045664" y="1495901"/>
                  </a:cubicBezTo>
                  <a:cubicBezTo>
                    <a:pt x="954224" y="1520666"/>
                    <a:pt x="758962" y="1616869"/>
                    <a:pt x="696097" y="1493044"/>
                  </a:cubicBezTo>
                  <a:cubicBezTo>
                    <a:pt x="653234" y="1408271"/>
                    <a:pt x="748484" y="1321594"/>
                    <a:pt x="778012" y="1231106"/>
                  </a:cubicBezTo>
                  <a:cubicBezTo>
                    <a:pt x="809444" y="1134904"/>
                    <a:pt x="758962" y="1025366"/>
                    <a:pt x="677999" y="963454"/>
                  </a:cubicBezTo>
                  <a:cubicBezTo>
                    <a:pt x="597989" y="901541"/>
                    <a:pt x="494167" y="877729"/>
                    <a:pt x="393202" y="868204"/>
                  </a:cubicBezTo>
                  <a:cubicBezTo>
                    <a:pt x="317002" y="860584"/>
                    <a:pt x="237944" y="858679"/>
                    <a:pt x="165554" y="833914"/>
                  </a:cubicBezTo>
                  <a:cubicBezTo>
                    <a:pt x="93164" y="808196"/>
                    <a:pt x="25537" y="752951"/>
                    <a:pt x="10297" y="677704"/>
                  </a:cubicBezTo>
                  <a:cubicBezTo>
                    <a:pt x="-19231" y="525304"/>
                    <a:pt x="167459" y="417671"/>
                    <a:pt x="202702" y="267176"/>
                  </a:cubicBezTo>
                  <a:cubicBezTo>
                    <a:pt x="224609" y="172879"/>
                    <a:pt x="181747" y="72866"/>
                    <a:pt x="110309" y="7144"/>
                  </a:cubicBezTo>
                  <a:lnTo>
                    <a:pt x="367484" y="7144"/>
                  </a:lnTo>
                  <a:cubicBezTo>
                    <a:pt x="379867" y="102394"/>
                    <a:pt x="374152" y="204311"/>
                    <a:pt x="358912" y="260509"/>
                  </a:cubicBezTo>
                  <a:cubicBezTo>
                    <a:pt x="331289" y="362426"/>
                    <a:pt x="264614" y="461486"/>
                    <a:pt x="290332" y="564356"/>
                  </a:cubicBezTo>
                  <a:cubicBezTo>
                    <a:pt x="318907" y="678656"/>
                    <a:pt x="453209" y="735806"/>
                    <a:pt x="571319" y="734854"/>
                  </a:cubicBezTo>
                  <a:cubicBezTo>
                    <a:pt x="689429" y="733901"/>
                    <a:pt x="804682" y="694849"/>
                    <a:pt x="922792" y="694849"/>
                  </a:cubicBezTo>
                  <a:cubicBezTo>
                    <a:pt x="1016137" y="694849"/>
                    <a:pt x="1119007" y="728186"/>
                    <a:pt x="1159964" y="812959"/>
                  </a:cubicBezTo>
                  <a:cubicBezTo>
                    <a:pt x="1228544" y="956786"/>
                    <a:pt x="1070429" y="1114901"/>
                    <a:pt x="1086622" y="1273016"/>
                  </a:cubicBezTo>
                  <a:cubicBezTo>
                    <a:pt x="1101862" y="1425416"/>
                    <a:pt x="1274264" y="1513999"/>
                    <a:pt x="1426664" y="1516856"/>
                  </a:cubicBezTo>
                  <a:cubicBezTo>
                    <a:pt x="1579064" y="1519714"/>
                    <a:pt x="1728607" y="1466374"/>
                    <a:pt x="1881007" y="1463516"/>
                  </a:cubicBezTo>
                  <a:cubicBezTo>
                    <a:pt x="1995307" y="1461611"/>
                    <a:pt x="2125799" y="1500664"/>
                    <a:pt x="2172472" y="1605439"/>
                  </a:cubicBezTo>
                  <a:cubicBezTo>
                    <a:pt x="2192474" y="1651159"/>
                    <a:pt x="2194379" y="1702594"/>
                    <a:pt x="2214382" y="1748314"/>
                  </a:cubicBezTo>
                  <a:cubicBezTo>
                    <a:pt x="2251529" y="1833086"/>
                    <a:pt x="2344874" y="1878806"/>
                    <a:pt x="2434409" y="1900714"/>
                  </a:cubicBezTo>
                  <a:cubicBezTo>
                    <a:pt x="2468699" y="1908334"/>
                    <a:pt x="2504894" y="1915001"/>
                    <a:pt x="2541089" y="1920716"/>
                  </a:cubicBezTo>
                  <a:close/>
                </a:path>
              </a:pathLst>
            </a:custGeom>
            <a:solidFill>
              <a:srgbClr val="D5498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D2C65CEE-1FBB-443E-B52B-CCAC5C2B0110}"/>
                </a:ext>
              </a:extLst>
            </p:cNvPr>
            <p:cNvSpPr/>
            <p:nvPr/>
          </p:nvSpPr>
          <p:spPr>
            <a:xfrm>
              <a:off x="5492591" y="4048601"/>
              <a:ext cx="1343025" cy="47625"/>
            </a:xfrm>
            <a:custGeom>
              <a:avLst/>
              <a:gdLst>
                <a:gd name="connsiteX0" fmla="*/ 1340644 w 1343025"/>
                <a:gd name="connsiteY0" fmla="*/ 28099 h 47625"/>
                <a:gd name="connsiteX1" fmla="*/ 673894 w 1343025"/>
                <a:gd name="connsiteY1" fmla="*/ 49054 h 47625"/>
                <a:gd name="connsiteX2" fmla="*/ 7144 w 1343025"/>
                <a:gd name="connsiteY2" fmla="*/ 28099 h 47625"/>
                <a:gd name="connsiteX3" fmla="*/ 673894 w 1343025"/>
                <a:gd name="connsiteY3" fmla="*/ 7144 h 47625"/>
                <a:gd name="connsiteX4" fmla="*/ 1340644 w 1343025"/>
                <a:gd name="connsiteY4" fmla="*/ 28099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43025" h="47625">
                  <a:moveTo>
                    <a:pt x="1340644" y="28099"/>
                  </a:moveTo>
                  <a:cubicBezTo>
                    <a:pt x="1340644" y="28099"/>
                    <a:pt x="1042511" y="49054"/>
                    <a:pt x="673894" y="49054"/>
                  </a:cubicBezTo>
                  <a:cubicBezTo>
                    <a:pt x="305276" y="49054"/>
                    <a:pt x="7144" y="28099"/>
                    <a:pt x="7144" y="28099"/>
                  </a:cubicBezTo>
                  <a:cubicBezTo>
                    <a:pt x="7144" y="28099"/>
                    <a:pt x="305276" y="7144"/>
                    <a:pt x="673894" y="7144"/>
                  </a:cubicBezTo>
                  <a:cubicBezTo>
                    <a:pt x="1042511" y="7144"/>
                    <a:pt x="1340644" y="28099"/>
                    <a:pt x="1340644" y="28099"/>
                  </a:cubicBezTo>
                  <a:close/>
                </a:path>
              </a:pathLst>
            </a:custGeom>
            <a:solidFill>
              <a:srgbClr val="F065A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308A7327-6FD2-419A-91AE-0119F80E6CE4}"/>
                </a:ext>
              </a:extLst>
            </p:cNvPr>
            <p:cNvSpPr/>
            <p:nvPr/>
          </p:nvSpPr>
          <p:spPr>
            <a:xfrm>
              <a:off x="6487001" y="2746533"/>
              <a:ext cx="885825" cy="552450"/>
            </a:xfrm>
            <a:custGeom>
              <a:avLst/>
              <a:gdLst>
                <a:gd name="connsiteX0" fmla="*/ 7144 w 885825"/>
                <a:gd name="connsiteY0" fmla="*/ 7144 h 552450"/>
                <a:gd name="connsiteX1" fmla="*/ 881539 w 885825"/>
                <a:gd name="connsiteY1" fmla="*/ 7144 h 552450"/>
                <a:gd name="connsiteX2" fmla="*/ 881539 w 885825"/>
                <a:gd name="connsiteY2" fmla="*/ 547211 h 552450"/>
                <a:gd name="connsiteX3" fmla="*/ 7144 w 885825"/>
                <a:gd name="connsiteY3" fmla="*/ 547211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5825" h="552450">
                  <a:moveTo>
                    <a:pt x="7144" y="7144"/>
                  </a:moveTo>
                  <a:lnTo>
                    <a:pt x="881539" y="7144"/>
                  </a:lnTo>
                  <a:lnTo>
                    <a:pt x="881539" y="547211"/>
                  </a:lnTo>
                  <a:lnTo>
                    <a:pt x="7144" y="547211"/>
                  </a:lnTo>
                  <a:close/>
                </a:path>
              </a:pathLst>
            </a:custGeom>
            <a:solidFill>
              <a:srgbClr val="00BEB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CDBBAE57-FBDD-4AF1-8790-E306A63D90B3}"/>
                </a:ext>
              </a:extLst>
            </p:cNvPr>
            <p:cNvSpPr/>
            <p:nvPr/>
          </p:nvSpPr>
          <p:spPr>
            <a:xfrm>
              <a:off x="6523196" y="2779871"/>
              <a:ext cx="809625" cy="485775"/>
            </a:xfrm>
            <a:custGeom>
              <a:avLst/>
              <a:gdLst>
                <a:gd name="connsiteX0" fmla="*/ 7144 w 809625"/>
                <a:gd name="connsiteY0" fmla="*/ 7144 h 485775"/>
                <a:gd name="connsiteX1" fmla="*/ 808196 w 809625"/>
                <a:gd name="connsiteY1" fmla="*/ 7144 h 485775"/>
                <a:gd name="connsiteX2" fmla="*/ 808196 w 809625"/>
                <a:gd name="connsiteY2" fmla="*/ 481489 h 485775"/>
                <a:gd name="connsiteX3" fmla="*/ 7144 w 809625"/>
                <a:gd name="connsiteY3" fmla="*/ 481489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9625" h="485775">
                  <a:moveTo>
                    <a:pt x="7144" y="7144"/>
                  </a:moveTo>
                  <a:lnTo>
                    <a:pt x="808196" y="7144"/>
                  </a:lnTo>
                  <a:lnTo>
                    <a:pt x="808196" y="481489"/>
                  </a:lnTo>
                  <a:lnTo>
                    <a:pt x="7144" y="481489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A7FE5C79-2396-4252-840C-F54883CEA740}"/>
                </a:ext>
              </a:extLst>
            </p:cNvPr>
            <p:cNvSpPr/>
            <p:nvPr/>
          </p:nvSpPr>
          <p:spPr>
            <a:xfrm>
              <a:off x="6880384" y="2884646"/>
              <a:ext cx="419100" cy="323850"/>
            </a:xfrm>
            <a:custGeom>
              <a:avLst/>
              <a:gdLst>
                <a:gd name="connsiteX0" fmla="*/ 385286 w 419100"/>
                <a:gd name="connsiteY0" fmla="*/ 312896 h 323850"/>
                <a:gd name="connsiteX1" fmla="*/ 385286 w 419100"/>
                <a:gd name="connsiteY1" fmla="*/ 89059 h 323850"/>
                <a:gd name="connsiteX2" fmla="*/ 340519 w 419100"/>
                <a:gd name="connsiteY2" fmla="*/ 89059 h 323850"/>
                <a:gd name="connsiteX3" fmla="*/ 340519 w 419100"/>
                <a:gd name="connsiteY3" fmla="*/ 312896 h 323850"/>
                <a:gd name="connsiteX4" fmla="*/ 312896 w 419100"/>
                <a:gd name="connsiteY4" fmla="*/ 312896 h 323850"/>
                <a:gd name="connsiteX5" fmla="*/ 312896 w 419100"/>
                <a:gd name="connsiteY5" fmla="*/ 150019 h 323850"/>
                <a:gd name="connsiteX6" fmla="*/ 268129 w 419100"/>
                <a:gd name="connsiteY6" fmla="*/ 150019 h 323850"/>
                <a:gd name="connsiteX7" fmla="*/ 268129 w 419100"/>
                <a:gd name="connsiteY7" fmla="*/ 312896 h 323850"/>
                <a:gd name="connsiteX8" fmla="*/ 239554 w 419100"/>
                <a:gd name="connsiteY8" fmla="*/ 312896 h 323850"/>
                <a:gd name="connsiteX9" fmla="*/ 239554 w 419100"/>
                <a:gd name="connsiteY9" fmla="*/ 76676 h 323850"/>
                <a:gd name="connsiteX10" fmla="*/ 195739 w 419100"/>
                <a:gd name="connsiteY10" fmla="*/ 76676 h 323850"/>
                <a:gd name="connsiteX11" fmla="*/ 195739 w 419100"/>
                <a:gd name="connsiteY11" fmla="*/ 312896 h 323850"/>
                <a:gd name="connsiteX12" fmla="*/ 167164 w 419100"/>
                <a:gd name="connsiteY12" fmla="*/ 312896 h 323850"/>
                <a:gd name="connsiteX13" fmla="*/ 167164 w 419100"/>
                <a:gd name="connsiteY13" fmla="*/ 41434 h 323850"/>
                <a:gd name="connsiteX14" fmla="*/ 123349 w 419100"/>
                <a:gd name="connsiteY14" fmla="*/ 41434 h 323850"/>
                <a:gd name="connsiteX15" fmla="*/ 123349 w 419100"/>
                <a:gd name="connsiteY15" fmla="*/ 312896 h 323850"/>
                <a:gd name="connsiteX16" fmla="*/ 94774 w 419100"/>
                <a:gd name="connsiteY16" fmla="*/ 312896 h 323850"/>
                <a:gd name="connsiteX17" fmla="*/ 94774 w 419100"/>
                <a:gd name="connsiteY17" fmla="*/ 150019 h 323850"/>
                <a:gd name="connsiteX18" fmla="*/ 50959 w 419100"/>
                <a:gd name="connsiteY18" fmla="*/ 150019 h 323850"/>
                <a:gd name="connsiteX19" fmla="*/ 50959 w 419100"/>
                <a:gd name="connsiteY19" fmla="*/ 312896 h 323850"/>
                <a:gd name="connsiteX20" fmla="*/ 16669 w 419100"/>
                <a:gd name="connsiteY20" fmla="*/ 312896 h 323850"/>
                <a:gd name="connsiteX21" fmla="*/ 16669 w 419100"/>
                <a:gd name="connsiteY21" fmla="*/ 7144 h 323850"/>
                <a:gd name="connsiteX22" fmla="*/ 7144 w 419100"/>
                <a:gd name="connsiteY22" fmla="*/ 7144 h 323850"/>
                <a:gd name="connsiteX23" fmla="*/ 7144 w 419100"/>
                <a:gd name="connsiteY23" fmla="*/ 322421 h 323850"/>
                <a:gd name="connsiteX24" fmla="*/ 417671 w 419100"/>
                <a:gd name="connsiteY24" fmla="*/ 322421 h 323850"/>
                <a:gd name="connsiteX25" fmla="*/ 417671 w 419100"/>
                <a:gd name="connsiteY25" fmla="*/ 312896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19100" h="323850">
                  <a:moveTo>
                    <a:pt x="385286" y="312896"/>
                  </a:moveTo>
                  <a:lnTo>
                    <a:pt x="385286" y="89059"/>
                  </a:lnTo>
                  <a:lnTo>
                    <a:pt x="340519" y="89059"/>
                  </a:lnTo>
                  <a:lnTo>
                    <a:pt x="340519" y="312896"/>
                  </a:lnTo>
                  <a:lnTo>
                    <a:pt x="312896" y="312896"/>
                  </a:lnTo>
                  <a:lnTo>
                    <a:pt x="312896" y="150019"/>
                  </a:lnTo>
                  <a:lnTo>
                    <a:pt x="268129" y="150019"/>
                  </a:lnTo>
                  <a:lnTo>
                    <a:pt x="268129" y="312896"/>
                  </a:lnTo>
                  <a:lnTo>
                    <a:pt x="239554" y="312896"/>
                  </a:lnTo>
                  <a:lnTo>
                    <a:pt x="239554" y="76676"/>
                  </a:lnTo>
                  <a:lnTo>
                    <a:pt x="195739" y="76676"/>
                  </a:lnTo>
                  <a:lnTo>
                    <a:pt x="195739" y="312896"/>
                  </a:lnTo>
                  <a:lnTo>
                    <a:pt x="167164" y="312896"/>
                  </a:lnTo>
                  <a:lnTo>
                    <a:pt x="167164" y="41434"/>
                  </a:lnTo>
                  <a:lnTo>
                    <a:pt x="123349" y="41434"/>
                  </a:lnTo>
                  <a:lnTo>
                    <a:pt x="123349" y="312896"/>
                  </a:lnTo>
                  <a:lnTo>
                    <a:pt x="94774" y="312896"/>
                  </a:lnTo>
                  <a:lnTo>
                    <a:pt x="94774" y="150019"/>
                  </a:lnTo>
                  <a:lnTo>
                    <a:pt x="50959" y="150019"/>
                  </a:lnTo>
                  <a:lnTo>
                    <a:pt x="50959" y="312896"/>
                  </a:lnTo>
                  <a:lnTo>
                    <a:pt x="16669" y="312896"/>
                  </a:lnTo>
                  <a:lnTo>
                    <a:pt x="16669" y="7144"/>
                  </a:lnTo>
                  <a:lnTo>
                    <a:pt x="7144" y="7144"/>
                  </a:lnTo>
                  <a:lnTo>
                    <a:pt x="7144" y="322421"/>
                  </a:lnTo>
                  <a:lnTo>
                    <a:pt x="417671" y="322421"/>
                  </a:lnTo>
                  <a:lnTo>
                    <a:pt x="417671" y="312896"/>
                  </a:ln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6EEC2BB3-8605-4521-BBA5-8CDF47A6D200}"/>
                </a:ext>
              </a:extLst>
            </p:cNvPr>
            <p:cNvSpPr/>
            <p:nvPr/>
          </p:nvSpPr>
          <p:spPr>
            <a:xfrm>
              <a:off x="6567964" y="2855118"/>
              <a:ext cx="257175" cy="28575"/>
            </a:xfrm>
            <a:custGeom>
              <a:avLst/>
              <a:gdLst>
                <a:gd name="connsiteX0" fmla="*/ 7144 w 257175"/>
                <a:gd name="connsiteY0" fmla="*/ 7144 h 28575"/>
                <a:gd name="connsiteX1" fmla="*/ 256699 w 257175"/>
                <a:gd name="connsiteY1" fmla="*/ 7144 h 28575"/>
                <a:gd name="connsiteX2" fmla="*/ 256699 w 257175"/>
                <a:gd name="connsiteY2" fmla="*/ 22384 h 28575"/>
                <a:gd name="connsiteX3" fmla="*/ 7144 w 257175"/>
                <a:gd name="connsiteY3" fmla="*/ 2238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175" h="28575">
                  <a:moveTo>
                    <a:pt x="7144" y="7144"/>
                  </a:moveTo>
                  <a:lnTo>
                    <a:pt x="256699" y="7144"/>
                  </a:lnTo>
                  <a:lnTo>
                    <a:pt x="256699" y="22384"/>
                  </a:lnTo>
                  <a:lnTo>
                    <a:pt x="7144" y="22384"/>
                  </a:lnTo>
                  <a:close/>
                </a:path>
              </a:pathLst>
            </a:custGeom>
            <a:solidFill>
              <a:srgbClr val="00BEB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33F40183-5DB0-4092-BB6C-FCB6A1473596}"/>
                </a:ext>
              </a:extLst>
            </p:cNvPr>
            <p:cNvSpPr/>
            <p:nvPr/>
          </p:nvSpPr>
          <p:spPr>
            <a:xfrm>
              <a:off x="6567964" y="2897981"/>
              <a:ext cx="257175" cy="28575"/>
            </a:xfrm>
            <a:custGeom>
              <a:avLst/>
              <a:gdLst>
                <a:gd name="connsiteX0" fmla="*/ 7144 w 257175"/>
                <a:gd name="connsiteY0" fmla="*/ 7144 h 28575"/>
                <a:gd name="connsiteX1" fmla="*/ 256699 w 257175"/>
                <a:gd name="connsiteY1" fmla="*/ 7144 h 28575"/>
                <a:gd name="connsiteX2" fmla="*/ 256699 w 257175"/>
                <a:gd name="connsiteY2" fmla="*/ 22384 h 28575"/>
                <a:gd name="connsiteX3" fmla="*/ 7144 w 257175"/>
                <a:gd name="connsiteY3" fmla="*/ 2238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175" h="28575">
                  <a:moveTo>
                    <a:pt x="7144" y="7144"/>
                  </a:moveTo>
                  <a:lnTo>
                    <a:pt x="256699" y="7144"/>
                  </a:lnTo>
                  <a:lnTo>
                    <a:pt x="256699" y="22384"/>
                  </a:lnTo>
                  <a:lnTo>
                    <a:pt x="7144" y="22384"/>
                  </a:lnTo>
                  <a:close/>
                </a:path>
              </a:pathLst>
            </a:custGeom>
            <a:solidFill>
              <a:srgbClr val="00BEB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E3A598C4-3084-4DEB-AE02-A72E21AD1736}"/>
                </a:ext>
              </a:extLst>
            </p:cNvPr>
            <p:cNvSpPr/>
            <p:nvPr/>
          </p:nvSpPr>
          <p:spPr>
            <a:xfrm>
              <a:off x="6567964" y="2940843"/>
              <a:ext cx="133350" cy="28575"/>
            </a:xfrm>
            <a:custGeom>
              <a:avLst/>
              <a:gdLst>
                <a:gd name="connsiteX0" fmla="*/ 7144 w 133350"/>
                <a:gd name="connsiteY0" fmla="*/ 7144 h 28575"/>
                <a:gd name="connsiteX1" fmla="*/ 130016 w 133350"/>
                <a:gd name="connsiteY1" fmla="*/ 7144 h 28575"/>
                <a:gd name="connsiteX2" fmla="*/ 130016 w 133350"/>
                <a:gd name="connsiteY2" fmla="*/ 22384 h 28575"/>
                <a:gd name="connsiteX3" fmla="*/ 7144 w 133350"/>
                <a:gd name="connsiteY3" fmla="*/ 2238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350" h="28575">
                  <a:moveTo>
                    <a:pt x="7144" y="7144"/>
                  </a:moveTo>
                  <a:lnTo>
                    <a:pt x="130016" y="7144"/>
                  </a:lnTo>
                  <a:lnTo>
                    <a:pt x="130016" y="22384"/>
                  </a:lnTo>
                  <a:lnTo>
                    <a:pt x="7144" y="22384"/>
                  </a:lnTo>
                  <a:close/>
                </a:path>
              </a:pathLst>
            </a:custGeom>
            <a:solidFill>
              <a:srgbClr val="00BEB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3EC7341D-3C44-4015-87A8-3F214E304B33}"/>
                </a:ext>
              </a:extLst>
            </p:cNvPr>
            <p:cNvSpPr/>
            <p:nvPr/>
          </p:nvSpPr>
          <p:spPr>
            <a:xfrm>
              <a:off x="6663214" y="3129438"/>
              <a:ext cx="76200" cy="76200"/>
            </a:xfrm>
            <a:custGeom>
              <a:avLst/>
              <a:gdLst>
                <a:gd name="connsiteX0" fmla="*/ 72866 w 76200"/>
                <a:gd name="connsiteY0" fmla="*/ 7144 h 76200"/>
                <a:gd name="connsiteX1" fmla="*/ 72866 w 76200"/>
                <a:gd name="connsiteY1" fmla="*/ 50006 h 76200"/>
                <a:gd name="connsiteX2" fmla="*/ 50006 w 76200"/>
                <a:gd name="connsiteY2" fmla="*/ 71914 h 76200"/>
                <a:gd name="connsiteX3" fmla="*/ 7144 w 76200"/>
                <a:gd name="connsiteY3" fmla="*/ 71914 h 76200"/>
                <a:gd name="connsiteX4" fmla="*/ 7144 w 76200"/>
                <a:gd name="connsiteY4" fmla="*/ 7144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76200">
                  <a:moveTo>
                    <a:pt x="72866" y="7144"/>
                  </a:moveTo>
                  <a:lnTo>
                    <a:pt x="72866" y="50006"/>
                  </a:lnTo>
                  <a:lnTo>
                    <a:pt x="50006" y="71914"/>
                  </a:lnTo>
                  <a:lnTo>
                    <a:pt x="7144" y="71914"/>
                  </a:lnTo>
                  <a:lnTo>
                    <a:pt x="7144" y="7144"/>
                  </a:lnTo>
                  <a:close/>
                </a:path>
              </a:pathLst>
            </a:custGeom>
            <a:solidFill>
              <a:srgbClr val="00BEB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12A264F5-5EBC-42BC-B225-4169AED5837D}"/>
                </a:ext>
              </a:extLst>
            </p:cNvPr>
            <p:cNvSpPr/>
            <p:nvPr/>
          </p:nvSpPr>
          <p:spPr>
            <a:xfrm>
              <a:off x="6706076" y="3172301"/>
              <a:ext cx="28575" cy="28575"/>
            </a:xfrm>
            <a:custGeom>
              <a:avLst/>
              <a:gdLst>
                <a:gd name="connsiteX0" fmla="*/ 30004 w 28575"/>
                <a:gd name="connsiteY0" fmla="*/ 7144 h 28575"/>
                <a:gd name="connsiteX1" fmla="*/ 7144 w 28575"/>
                <a:gd name="connsiteY1" fmla="*/ 29051 h 28575"/>
                <a:gd name="connsiteX2" fmla="*/ 7144 w 28575"/>
                <a:gd name="connsiteY2" fmla="*/ 714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575" h="28575">
                  <a:moveTo>
                    <a:pt x="30004" y="7144"/>
                  </a:moveTo>
                  <a:lnTo>
                    <a:pt x="7144" y="29051"/>
                  </a:lnTo>
                  <a:lnTo>
                    <a:pt x="7144" y="7144"/>
                  </a:lnTo>
                  <a:close/>
                </a:path>
              </a:pathLst>
            </a:custGeom>
            <a:solidFill>
              <a:srgbClr val="00A49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FDD6B613-0BAB-42D8-9D7D-06658A9063C0}"/>
                </a:ext>
              </a:extLst>
            </p:cNvPr>
            <p:cNvSpPr/>
            <p:nvPr/>
          </p:nvSpPr>
          <p:spPr>
            <a:xfrm>
              <a:off x="6569869" y="3129438"/>
              <a:ext cx="76200" cy="76200"/>
            </a:xfrm>
            <a:custGeom>
              <a:avLst/>
              <a:gdLst>
                <a:gd name="connsiteX0" fmla="*/ 7144 w 76200"/>
                <a:gd name="connsiteY0" fmla="*/ 7144 h 76200"/>
                <a:gd name="connsiteX1" fmla="*/ 71914 w 76200"/>
                <a:gd name="connsiteY1" fmla="*/ 7144 h 76200"/>
                <a:gd name="connsiteX2" fmla="*/ 71914 w 76200"/>
                <a:gd name="connsiteY2" fmla="*/ 71914 h 76200"/>
                <a:gd name="connsiteX3" fmla="*/ 7144 w 76200"/>
                <a:gd name="connsiteY3" fmla="*/ 71914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200" h="76200">
                  <a:moveTo>
                    <a:pt x="7144" y="7144"/>
                  </a:moveTo>
                  <a:lnTo>
                    <a:pt x="71914" y="7144"/>
                  </a:lnTo>
                  <a:lnTo>
                    <a:pt x="71914" y="71914"/>
                  </a:lnTo>
                  <a:lnTo>
                    <a:pt x="7144" y="71914"/>
                  </a:lnTo>
                  <a:close/>
                </a:path>
              </a:pathLst>
            </a:custGeom>
            <a:solidFill>
              <a:srgbClr val="F065A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09E48203-3545-42FF-BC99-1A2371A04C7B}"/>
                </a:ext>
              </a:extLst>
            </p:cNvPr>
            <p:cNvSpPr/>
            <p:nvPr/>
          </p:nvSpPr>
          <p:spPr>
            <a:xfrm>
              <a:off x="6930866" y="2849403"/>
              <a:ext cx="314325" cy="142875"/>
            </a:xfrm>
            <a:custGeom>
              <a:avLst/>
              <a:gdLst>
                <a:gd name="connsiteX0" fmla="*/ 312896 w 314325"/>
                <a:gd name="connsiteY0" fmla="*/ 63341 h 142875"/>
                <a:gd name="connsiteX1" fmla="*/ 274796 w 314325"/>
                <a:gd name="connsiteY1" fmla="*/ 72866 h 142875"/>
                <a:gd name="connsiteX2" fmla="*/ 285274 w 314325"/>
                <a:gd name="connsiteY2" fmla="*/ 83344 h 142875"/>
                <a:gd name="connsiteX3" fmla="*/ 239554 w 314325"/>
                <a:gd name="connsiteY3" fmla="*/ 128111 h 142875"/>
                <a:gd name="connsiteX4" fmla="*/ 84296 w 314325"/>
                <a:gd name="connsiteY4" fmla="*/ 7144 h 142875"/>
                <a:gd name="connsiteX5" fmla="*/ 7144 w 314325"/>
                <a:gd name="connsiteY5" fmla="*/ 64294 h 142875"/>
                <a:gd name="connsiteX6" fmla="*/ 12859 w 314325"/>
                <a:gd name="connsiteY6" fmla="*/ 72866 h 142875"/>
                <a:gd name="connsiteX7" fmla="*/ 84296 w 314325"/>
                <a:gd name="connsiteY7" fmla="*/ 18574 h 142875"/>
                <a:gd name="connsiteX8" fmla="*/ 240506 w 314325"/>
                <a:gd name="connsiteY8" fmla="*/ 140494 h 142875"/>
                <a:gd name="connsiteX9" fmla="*/ 291941 w 314325"/>
                <a:gd name="connsiteY9" fmla="*/ 90964 h 142875"/>
                <a:gd name="connsiteX10" fmla="*/ 301466 w 314325"/>
                <a:gd name="connsiteY10" fmla="*/ 101441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14325" h="142875">
                  <a:moveTo>
                    <a:pt x="312896" y="63341"/>
                  </a:moveTo>
                  <a:lnTo>
                    <a:pt x="274796" y="72866"/>
                  </a:lnTo>
                  <a:lnTo>
                    <a:pt x="285274" y="83344"/>
                  </a:lnTo>
                  <a:lnTo>
                    <a:pt x="239554" y="128111"/>
                  </a:lnTo>
                  <a:lnTo>
                    <a:pt x="84296" y="7144"/>
                  </a:lnTo>
                  <a:lnTo>
                    <a:pt x="7144" y="64294"/>
                  </a:lnTo>
                  <a:lnTo>
                    <a:pt x="12859" y="72866"/>
                  </a:lnTo>
                  <a:lnTo>
                    <a:pt x="84296" y="18574"/>
                  </a:lnTo>
                  <a:lnTo>
                    <a:pt x="240506" y="140494"/>
                  </a:lnTo>
                  <a:lnTo>
                    <a:pt x="291941" y="90964"/>
                  </a:lnTo>
                  <a:lnTo>
                    <a:pt x="301466" y="101441"/>
                  </a:lnTo>
                  <a:close/>
                </a:path>
              </a:pathLst>
            </a:custGeom>
            <a:solidFill>
              <a:srgbClr val="00BEB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A62F2753-B941-4FDB-A766-3C10E0806D9A}"/>
                </a:ext>
              </a:extLst>
            </p:cNvPr>
            <p:cNvSpPr/>
            <p:nvPr/>
          </p:nvSpPr>
          <p:spPr>
            <a:xfrm>
              <a:off x="6567011" y="3000851"/>
              <a:ext cx="95250" cy="95250"/>
            </a:xfrm>
            <a:custGeom>
              <a:avLst/>
              <a:gdLst>
                <a:gd name="connsiteX0" fmla="*/ 96679 w 95250"/>
                <a:gd name="connsiteY0" fmla="*/ 51911 h 95250"/>
                <a:gd name="connsiteX1" fmla="*/ 51911 w 95250"/>
                <a:gd name="connsiteY1" fmla="*/ 96679 h 95250"/>
                <a:gd name="connsiteX2" fmla="*/ 7144 w 95250"/>
                <a:gd name="connsiteY2" fmla="*/ 51911 h 95250"/>
                <a:gd name="connsiteX3" fmla="*/ 51911 w 95250"/>
                <a:gd name="connsiteY3" fmla="*/ 7144 h 95250"/>
                <a:gd name="connsiteX4" fmla="*/ 96679 w 95250"/>
                <a:gd name="connsiteY4" fmla="*/ 51911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96679" y="51911"/>
                  </a:moveTo>
                  <a:cubicBezTo>
                    <a:pt x="96679" y="76676"/>
                    <a:pt x="76676" y="96679"/>
                    <a:pt x="51911" y="96679"/>
                  </a:cubicBezTo>
                  <a:cubicBezTo>
                    <a:pt x="27146" y="96679"/>
                    <a:pt x="7144" y="76676"/>
                    <a:pt x="7144" y="51911"/>
                  </a:cubicBezTo>
                  <a:cubicBezTo>
                    <a:pt x="7144" y="27146"/>
                    <a:pt x="27146" y="7144"/>
                    <a:pt x="51911" y="7144"/>
                  </a:cubicBezTo>
                  <a:cubicBezTo>
                    <a:pt x="76676" y="7144"/>
                    <a:pt x="96679" y="27146"/>
                    <a:pt x="96679" y="51911"/>
                  </a:cubicBezTo>
                  <a:close/>
                </a:path>
              </a:pathLst>
            </a:custGeom>
            <a:solidFill>
              <a:srgbClr val="5202B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B04C8C37-5DB7-499C-9D35-9CFE7FF2C420}"/>
                </a:ext>
              </a:extLst>
            </p:cNvPr>
            <p:cNvSpPr/>
            <p:nvPr/>
          </p:nvSpPr>
          <p:spPr>
            <a:xfrm>
              <a:off x="6580346" y="3014186"/>
              <a:ext cx="76200" cy="76200"/>
            </a:xfrm>
            <a:custGeom>
              <a:avLst/>
              <a:gdLst>
                <a:gd name="connsiteX0" fmla="*/ 38576 w 76200"/>
                <a:gd name="connsiteY0" fmla="*/ 7144 h 76200"/>
                <a:gd name="connsiteX1" fmla="*/ 7144 w 76200"/>
                <a:gd name="connsiteY1" fmla="*/ 38576 h 76200"/>
                <a:gd name="connsiteX2" fmla="*/ 38576 w 76200"/>
                <a:gd name="connsiteY2" fmla="*/ 70009 h 76200"/>
                <a:gd name="connsiteX3" fmla="*/ 70009 w 76200"/>
                <a:gd name="connsiteY3" fmla="*/ 38576 h 76200"/>
                <a:gd name="connsiteX4" fmla="*/ 38576 w 76200"/>
                <a:gd name="connsiteY4" fmla="*/ 7144 h 76200"/>
                <a:gd name="connsiteX5" fmla="*/ 32861 w 76200"/>
                <a:gd name="connsiteY5" fmla="*/ 11906 h 76200"/>
                <a:gd name="connsiteX6" fmla="*/ 26194 w 76200"/>
                <a:gd name="connsiteY6" fmla="*/ 23336 h 76200"/>
                <a:gd name="connsiteX7" fmla="*/ 19526 w 76200"/>
                <a:gd name="connsiteY7" fmla="*/ 19526 h 76200"/>
                <a:gd name="connsiteX8" fmla="*/ 32861 w 76200"/>
                <a:gd name="connsiteY8" fmla="*/ 11906 h 76200"/>
                <a:gd name="connsiteX9" fmla="*/ 17621 w 76200"/>
                <a:gd name="connsiteY9" fmla="*/ 21431 h 76200"/>
                <a:gd name="connsiteX10" fmla="*/ 26194 w 76200"/>
                <a:gd name="connsiteY10" fmla="*/ 26194 h 76200"/>
                <a:gd name="connsiteX11" fmla="*/ 25241 w 76200"/>
                <a:gd name="connsiteY11" fmla="*/ 36671 h 76200"/>
                <a:gd name="connsiteX12" fmla="*/ 12859 w 76200"/>
                <a:gd name="connsiteY12" fmla="*/ 36671 h 76200"/>
                <a:gd name="connsiteX13" fmla="*/ 17621 w 76200"/>
                <a:gd name="connsiteY13" fmla="*/ 21431 h 76200"/>
                <a:gd name="connsiteX14" fmla="*/ 11906 w 76200"/>
                <a:gd name="connsiteY14" fmla="*/ 40481 h 76200"/>
                <a:gd name="connsiteX15" fmla="*/ 24289 w 76200"/>
                <a:gd name="connsiteY15" fmla="*/ 40481 h 76200"/>
                <a:gd name="connsiteX16" fmla="*/ 26194 w 76200"/>
                <a:gd name="connsiteY16" fmla="*/ 51911 h 76200"/>
                <a:gd name="connsiteX17" fmla="*/ 17621 w 76200"/>
                <a:gd name="connsiteY17" fmla="*/ 55721 h 76200"/>
                <a:gd name="connsiteX18" fmla="*/ 11906 w 76200"/>
                <a:gd name="connsiteY18" fmla="*/ 40481 h 76200"/>
                <a:gd name="connsiteX19" fmla="*/ 19526 w 76200"/>
                <a:gd name="connsiteY19" fmla="*/ 57626 h 76200"/>
                <a:gd name="connsiteX20" fmla="*/ 26194 w 76200"/>
                <a:gd name="connsiteY20" fmla="*/ 53816 h 76200"/>
                <a:gd name="connsiteX21" fmla="*/ 32861 w 76200"/>
                <a:gd name="connsiteY21" fmla="*/ 65246 h 76200"/>
                <a:gd name="connsiteX22" fmla="*/ 19526 w 76200"/>
                <a:gd name="connsiteY22" fmla="*/ 57626 h 76200"/>
                <a:gd name="connsiteX23" fmla="*/ 37624 w 76200"/>
                <a:gd name="connsiteY23" fmla="*/ 64294 h 76200"/>
                <a:gd name="connsiteX24" fmla="*/ 30004 w 76200"/>
                <a:gd name="connsiteY24" fmla="*/ 53816 h 76200"/>
                <a:gd name="connsiteX25" fmla="*/ 37624 w 76200"/>
                <a:gd name="connsiteY25" fmla="*/ 52864 h 76200"/>
                <a:gd name="connsiteX26" fmla="*/ 37624 w 76200"/>
                <a:gd name="connsiteY26" fmla="*/ 64294 h 76200"/>
                <a:gd name="connsiteX27" fmla="*/ 37624 w 76200"/>
                <a:gd name="connsiteY27" fmla="*/ 49054 h 76200"/>
                <a:gd name="connsiteX28" fmla="*/ 29051 w 76200"/>
                <a:gd name="connsiteY28" fmla="*/ 50006 h 76200"/>
                <a:gd name="connsiteX29" fmla="*/ 28099 w 76200"/>
                <a:gd name="connsiteY29" fmla="*/ 39529 h 76200"/>
                <a:gd name="connsiteX30" fmla="*/ 38576 w 76200"/>
                <a:gd name="connsiteY30" fmla="*/ 39529 h 76200"/>
                <a:gd name="connsiteX31" fmla="*/ 38576 w 76200"/>
                <a:gd name="connsiteY31" fmla="*/ 49054 h 76200"/>
                <a:gd name="connsiteX32" fmla="*/ 37624 w 76200"/>
                <a:gd name="connsiteY32" fmla="*/ 36671 h 76200"/>
                <a:gd name="connsiteX33" fmla="*/ 27146 w 76200"/>
                <a:gd name="connsiteY33" fmla="*/ 36671 h 76200"/>
                <a:gd name="connsiteX34" fmla="*/ 28099 w 76200"/>
                <a:gd name="connsiteY34" fmla="*/ 26194 h 76200"/>
                <a:gd name="connsiteX35" fmla="*/ 36671 w 76200"/>
                <a:gd name="connsiteY35" fmla="*/ 27146 h 76200"/>
                <a:gd name="connsiteX36" fmla="*/ 36671 w 76200"/>
                <a:gd name="connsiteY36" fmla="*/ 36671 h 76200"/>
                <a:gd name="connsiteX37" fmla="*/ 37624 w 76200"/>
                <a:gd name="connsiteY37" fmla="*/ 25241 h 76200"/>
                <a:gd name="connsiteX38" fmla="*/ 30004 w 76200"/>
                <a:gd name="connsiteY38" fmla="*/ 24289 h 76200"/>
                <a:gd name="connsiteX39" fmla="*/ 37624 w 76200"/>
                <a:gd name="connsiteY39" fmla="*/ 12859 h 76200"/>
                <a:gd name="connsiteX40" fmla="*/ 37624 w 76200"/>
                <a:gd name="connsiteY40" fmla="*/ 25241 h 76200"/>
                <a:gd name="connsiteX41" fmla="*/ 66199 w 76200"/>
                <a:gd name="connsiteY41" fmla="*/ 36671 h 76200"/>
                <a:gd name="connsiteX42" fmla="*/ 53816 w 76200"/>
                <a:gd name="connsiteY42" fmla="*/ 36671 h 76200"/>
                <a:gd name="connsiteX43" fmla="*/ 52864 w 76200"/>
                <a:gd name="connsiteY43" fmla="*/ 26194 h 76200"/>
                <a:gd name="connsiteX44" fmla="*/ 61436 w 76200"/>
                <a:gd name="connsiteY44" fmla="*/ 21431 h 76200"/>
                <a:gd name="connsiteX45" fmla="*/ 66199 w 76200"/>
                <a:gd name="connsiteY45" fmla="*/ 36671 h 76200"/>
                <a:gd name="connsiteX46" fmla="*/ 58579 w 76200"/>
                <a:gd name="connsiteY46" fmla="*/ 19526 h 76200"/>
                <a:gd name="connsiteX47" fmla="*/ 51911 w 76200"/>
                <a:gd name="connsiteY47" fmla="*/ 23336 h 76200"/>
                <a:gd name="connsiteX48" fmla="*/ 45244 w 76200"/>
                <a:gd name="connsiteY48" fmla="*/ 11906 h 76200"/>
                <a:gd name="connsiteX49" fmla="*/ 58579 w 76200"/>
                <a:gd name="connsiteY49" fmla="*/ 19526 h 76200"/>
                <a:gd name="connsiteX50" fmla="*/ 40481 w 76200"/>
                <a:gd name="connsiteY50" fmla="*/ 12859 h 76200"/>
                <a:gd name="connsiteX51" fmla="*/ 48101 w 76200"/>
                <a:gd name="connsiteY51" fmla="*/ 24289 h 76200"/>
                <a:gd name="connsiteX52" fmla="*/ 40481 w 76200"/>
                <a:gd name="connsiteY52" fmla="*/ 25241 h 76200"/>
                <a:gd name="connsiteX53" fmla="*/ 40481 w 76200"/>
                <a:gd name="connsiteY53" fmla="*/ 12859 h 76200"/>
                <a:gd name="connsiteX54" fmla="*/ 40481 w 76200"/>
                <a:gd name="connsiteY54" fmla="*/ 28099 h 76200"/>
                <a:gd name="connsiteX55" fmla="*/ 49054 w 76200"/>
                <a:gd name="connsiteY55" fmla="*/ 27146 h 76200"/>
                <a:gd name="connsiteX56" fmla="*/ 50006 w 76200"/>
                <a:gd name="connsiteY56" fmla="*/ 37624 h 76200"/>
                <a:gd name="connsiteX57" fmla="*/ 39529 w 76200"/>
                <a:gd name="connsiteY57" fmla="*/ 37624 h 76200"/>
                <a:gd name="connsiteX58" fmla="*/ 39529 w 76200"/>
                <a:gd name="connsiteY58" fmla="*/ 28099 h 76200"/>
                <a:gd name="connsiteX59" fmla="*/ 40481 w 76200"/>
                <a:gd name="connsiteY59" fmla="*/ 40481 h 76200"/>
                <a:gd name="connsiteX60" fmla="*/ 50959 w 76200"/>
                <a:gd name="connsiteY60" fmla="*/ 40481 h 76200"/>
                <a:gd name="connsiteX61" fmla="*/ 50006 w 76200"/>
                <a:gd name="connsiteY61" fmla="*/ 50959 h 76200"/>
                <a:gd name="connsiteX62" fmla="*/ 41434 w 76200"/>
                <a:gd name="connsiteY62" fmla="*/ 50006 h 76200"/>
                <a:gd name="connsiteX63" fmla="*/ 41434 w 76200"/>
                <a:gd name="connsiteY63" fmla="*/ 40481 h 76200"/>
                <a:gd name="connsiteX64" fmla="*/ 40481 w 76200"/>
                <a:gd name="connsiteY64" fmla="*/ 64294 h 76200"/>
                <a:gd name="connsiteX65" fmla="*/ 40481 w 76200"/>
                <a:gd name="connsiteY65" fmla="*/ 51911 h 76200"/>
                <a:gd name="connsiteX66" fmla="*/ 48101 w 76200"/>
                <a:gd name="connsiteY66" fmla="*/ 52864 h 76200"/>
                <a:gd name="connsiteX67" fmla="*/ 40481 w 76200"/>
                <a:gd name="connsiteY67" fmla="*/ 64294 h 76200"/>
                <a:gd name="connsiteX68" fmla="*/ 44291 w 76200"/>
                <a:gd name="connsiteY68" fmla="*/ 65246 h 76200"/>
                <a:gd name="connsiteX69" fmla="*/ 50959 w 76200"/>
                <a:gd name="connsiteY69" fmla="*/ 53816 h 76200"/>
                <a:gd name="connsiteX70" fmla="*/ 57626 w 76200"/>
                <a:gd name="connsiteY70" fmla="*/ 57626 h 76200"/>
                <a:gd name="connsiteX71" fmla="*/ 44291 w 76200"/>
                <a:gd name="connsiteY71" fmla="*/ 65246 h 76200"/>
                <a:gd name="connsiteX72" fmla="*/ 60484 w 76200"/>
                <a:gd name="connsiteY72" fmla="*/ 55721 h 76200"/>
                <a:gd name="connsiteX73" fmla="*/ 51911 w 76200"/>
                <a:gd name="connsiteY73" fmla="*/ 51911 h 76200"/>
                <a:gd name="connsiteX74" fmla="*/ 53816 w 76200"/>
                <a:gd name="connsiteY74" fmla="*/ 40481 h 76200"/>
                <a:gd name="connsiteX75" fmla="*/ 66199 w 76200"/>
                <a:gd name="connsiteY75" fmla="*/ 40481 h 76200"/>
                <a:gd name="connsiteX76" fmla="*/ 60484 w 76200"/>
                <a:gd name="connsiteY76" fmla="*/ 55721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76200" h="76200">
                  <a:moveTo>
                    <a:pt x="38576" y="7144"/>
                  </a:moveTo>
                  <a:cubicBezTo>
                    <a:pt x="21431" y="7144"/>
                    <a:pt x="7144" y="21431"/>
                    <a:pt x="7144" y="38576"/>
                  </a:cubicBezTo>
                  <a:cubicBezTo>
                    <a:pt x="7144" y="55721"/>
                    <a:pt x="21431" y="70009"/>
                    <a:pt x="38576" y="70009"/>
                  </a:cubicBezTo>
                  <a:cubicBezTo>
                    <a:pt x="55721" y="70009"/>
                    <a:pt x="70009" y="55721"/>
                    <a:pt x="70009" y="38576"/>
                  </a:cubicBezTo>
                  <a:cubicBezTo>
                    <a:pt x="70009" y="21431"/>
                    <a:pt x="55721" y="7144"/>
                    <a:pt x="38576" y="7144"/>
                  </a:cubicBezTo>
                  <a:close/>
                  <a:moveTo>
                    <a:pt x="32861" y="11906"/>
                  </a:moveTo>
                  <a:cubicBezTo>
                    <a:pt x="30004" y="13811"/>
                    <a:pt x="27146" y="18574"/>
                    <a:pt x="26194" y="23336"/>
                  </a:cubicBezTo>
                  <a:cubicBezTo>
                    <a:pt x="23336" y="22384"/>
                    <a:pt x="21431" y="21431"/>
                    <a:pt x="19526" y="19526"/>
                  </a:cubicBezTo>
                  <a:cubicBezTo>
                    <a:pt x="23336" y="15716"/>
                    <a:pt x="28099" y="12859"/>
                    <a:pt x="32861" y="11906"/>
                  </a:cubicBezTo>
                  <a:close/>
                  <a:moveTo>
                    <a:pt x="17621" y="21431"/>
                  </a:moveTo>
                  <a:cubicBezTo>
                    <a:pt x="19526" y="23336"/>
                    <a:pt x="22384" y="24289"/>
                    <a:pt x="26194" y="26194"/>
                  </a:cubicBezTo>
                  <a:cubicBezTo>
                    <a:pt x="25241" y="29051"/>
                    <a:pt x="25241" y="32861"/>
                    <a:pt x="25241" y="36671"/>
                  </a:cubicBezTo>
                  <a:lnTo>
                    <a:pt x="12859" y="36671"/>
                  </a:lnTo>
                  <a:cubicBezTo>
                    <a:pt x="11906" y="30956"/>
                    <a:pt x="13811" y="26194"/>
                    <a:pt x="17621" y="21431"/>
                  </a:cubicBezTo>
                  <a:close/>
                  <a:moveTo>
                    <a:pt x="11906" y="40481"/>
                  </a:moveTo>
                  <a:lnTo>
                    <a:pt x="24289" y="40481"/>
                  </a:lnTo>
                  <a:cubicBezTo>
                    <a:pt x="24289" y="44291"/>
                    <a:pt x="25241" y="48101"/>
                    <a:pt x="26194" y="51911"/>
                  </a:cubicBezTo>
                  <a:cubicBezTo>
                    <a:pt x="23336" y="52864"/>
                    <a:pt x="20479" y="54769"/>
                    <a:pt x="17621" y="55721"/>
                  </a:cubicBezTo>
                  <a:cubicBezTo>
                    <a:pt x="13811" y="50959"/>
                    <a:pt x="11906" y="46196"/>
                    <a:pt x="11906" y="40481"/>
                  </a:cubicBezTo>
                  <a:close/>
                  <a:moveTo>
                    <a:pt x="19526" y="57626"/>
                  </a:moveTo>
                  <a:cubicBezTo>
                    <a:pt x="21431" y="55721"/>
                    <a:pt x="24289" y="54769"/>
                    <a:pt x="26194" y="53816"/>
                  </a:cubicBezTo>
                  <a:cubicBezTo>
                    <a:pt x="28099" y="58579"/>
                    <a:pt x="30004" y="62389"/>
                    <a:pt x="32861" y="65246"/>
                  </a:cubicBezTo>
                  <a:cubicBezTo>
                    <a:pt x="28099" y="64294"/>
                    <a:pt x="23336" y="61436"/>
                    <a:pt x="19526" y="57626"/>
                  </a:cubicBezTo>
                  <a:close/>
                  <a:moveTo>
                    <a:pt x="37624" y="64294"/>
                  </a:moveTo>
                  <a:cubicBezTo>
                    <a:pt x="34766" y="63341"/>
                    <a:pt x="31909" y="59531"/>
                    <a:pt x="30004" y="53816"/>
                  </a:cubicBezTo>
                  <a:cubicBezTo>
                    <a:pt x="32861" y="52864"/>
                    <a:pt x="34766" y="52864"/>
                    <a:pt x="37624" y="52864"/>
                  </a:cubicBezTo>
                  <a:lnTo>
                    <a:pt x="37624" y="64294"/>
                  </a:lnTo>
                  <a:close/>
                  <a:moveTo>
                    <a:pt x="37624" y="49054"/>
                  </a:moveTo>
                  <a:cubicBezTo>
                    <a:pt x="34766" y="49054"/>
                    <a:pt x="31909" y="50006"/>
                    <a:pt x="29051" y="50006"/>
                  </a:cubicBezTo>
                  <a:cubicBezTo>
                    <a:pt x="28099" y="47149"/>
                    <a:pt x="28099" y="43339"/>
                    <a:pt x="28099" y="39529"/>
                  </a:cubicBezTo>
                  <a:lnTo>
                    <a:pt x="38576" y="39529"/>
                  </a:lnTo>
                  <a:lnTo>
                    <a:pt x="38576" y="49054"/>
                  </a:lnTo>
                  <a:close/>
                  <a:moveTo>
                    <a:pt x="37624" y="36671"/>
                  </a:moveTo>
                  <a:lnTo>
                    <a:pt x="27146" y="36671"/>
                  </a:lnTo>
                  <a:cubicBezTo>
                    <a:pt x="27146" y="32861"/>
                    <a:pt x="28099" y="30004"/>
                    <a:pt x="28099" y="26194"/>
                  </a:cubicBezTo>
                  <a:cubicBezTo>
                    <a:pt x="30956" y="27146"/>
                    <a:pt x="33814" y="27146"/>
                    <a:pt x="36671" y="27146"/>
                  </a:cubicBezTo>
                  <a:lnTo>
                    <a:pt x="36671" y="36671"/>
                  </a:lnTo>
                  <a:close/>
                  <a:moveTo>
                    <a:pt x="37624" y="25241"/>
                  </a:moveTo>
                  <a:cubicBezTo>
                    <a:pt x="34766" y="25241"/>
                    <a:pt x="31909" y="24289"/>
                    <a:pt x="30004" y="24289"/>
                  </a:cubicBezTo>
                  <a:cubicBezTo>
                    <a:pt x="31909" y="18574"/>
                    <a:pt x="34766" y="13811"/>
                    <a:pt x="37624" y="12859"/>
                  </a:cubicBezTo>
                  <a:lnTo>
                    <a:pt x="37624" y="25241"/>
                  </a:lnTo>
                  <a:close/>
                  <a:moveTo>
                    <a:pt x="66199" y="36671"/>
                  </a:moveTo>
                  <a:lnTo>
                    <a:pt x="53816" y="36671"/>
                  </a:lnTo>
                  <a:cubicBezTo>
                    <a:pt x="53816" y="32861"/>
                    <a:pt x="52864" y="29051"/>
                    <a:pt x="52864" y="26194"/>
                  </a:cubicBezTo>
                  <a:cubicBezTo>
                    <a:pt x="55721" y="25241"/>
                    <a:pt x="58579" y="23336"/>
                    <a:pt x="61436" y="21431"/>
                  </a:cubicBezTo>
                  <a:cubicBezTo>
                    <a:pt x="63341" y="26194"/>
                    <a:pt x="66199" y="30956"/>
                    <a:pt x="66199" y="36671"/>
                  </a:cubicBezTo>
                  <a:close/>
                  <a:moveTo>
                    <a:pt x="58579" y="19526"/>
                  </a:moveTo>
                  <a:cubicBezTo>
                    <a:pt x="56674" y="21431"/>
                    <a:pt x="53816" y="22384"/>
                    <a:pt x="51911" y="23336"/>
                  </a:cubicBezTo>
                  <a:cubicBezTo>
                    <a:pt x="50006" y="18574"/>
                    <a:pt x="48101" y="13811"/>
                    <a:pt x="45244" y="11906"/>
                  </a:cubicBezTo>
                  <a:cubicBezTo>
                    <a:pt x="50006" y="12859"/>
                    <a:pt x="54769" y="15716"/>
                    <a:pt x="58579" y="19526"/>
                  </a:cubicBezTo>
                  <a:close/>
                  <a:moveTo>
                    <a:pt x="40481" y="12859"/>
                  </a:moveTo>
                  <a:cubicBezTo>
                    <a:pt x="43339" y="13811"/>
                    <a:pt x="47149" y="17621"/>
                    <a:pt x="48101" y="24289"/>
                  </a:cubicBezTo>
                  <a:cubicBezTo>
                    <a:pt x="45244" y="25241"/>
                    <a:pt x="42386" y="25241"/>
                    <a:pt x="40481" y="25241"/>
                  </a:cubicBezTo>
                  <a:lnTo>
                    <a:pt x="40481" y="12859"/>
                  </a:lnTo>
                  <a:close/>
                  <a:moveTo>
                    <a:pt x="40481" y="28099"/>
                  </a:moveTo>
                  <a:cubicBezTo>
                    <a:pt x="43339" y="28099"/>
                    <a:pt x="46196" y="27146"/>
                    <a:pt x="49054" y="27146"/>
                  </a:cubicBezTo>
                  <a:cubicBezTo>
                    <a:pt x="50006" y="30004"/>
                    <a:pt x="50006" y="33814"/>
                    <a:pt x="50006" y="37624"/>
                  </a:cubicBezTo>
                  <a:lnTo>
                    <a:pt x="39529" y="37624"/>
                  </a:lnTo>
                  <a:lnTo>
                    <a:pt x="39529" y="28099"/>
                  </a:lnTo>
                  <a:close/>
                  <a:moveTo>
                    <a:pt x="40481" y="40481"/>
                  </a:moveTo>
                  <a:lnTo>
                    <a:pt x="50959" y="40481"/>
                  </a:lnTo>
                  <a:cubicBezTo>
                    <a:pt x="50959" y="44291"/>
                    <a:pt x="50006" y="48101"/>
                    <a:pt x="50006" y="50959"/>
                  </a:cubicBezTo>
                  <a:cubicBezTo>
                    <a:pt x="47149" y="50006"/>
                    <a:pt x="44291" y="50006"/>
                    <a:pt x="41434" y="50006"/>
                  </a:cubicBezTo>
                  <a:lnTo>
                    <a:pt x="41434" y="40481"/>
                  </a:lnTo>
                  <a:close/>
                  <a:moveTo>
                    <a:pt x="40481" y="64294"/>
                  </a:moveTo>
                  <a:lnTo>
                    <a:pt x="40481" y="51911"/>
                  </a:lnTo>
                  <a:cubicBezTo>
                    <a:pt x="43339" y="51911"/>
                    <a:pt x="46196" y="52864"/>
                    <a:pt x="48101" y="52864"/>
                  </a:cubicBezTo>
                  <a:cubicBezTo>
                    <a:pt x="46196" y="58579"/>
                    <a:pt x="43339" y="63341"/>
                    <a:pt x="40481" y="64294"/>
                  </a:cubicBezTo>
                  <a:close/>
                  <a:moveTo>
                    <a:pt x="44291" y="65246"/>
                  </a:moveTo>
                  <a:cubicBezTo>
                    <a:pt x="47149" y="63341"/>
                    <a:pt x="49054" y="59531"/>
                    <a:pt x="50959" y="53816"/>
                  </a:cubicBezTo>
                  <a:cubicBezTo>
                    <a:pt x="53816" y="54769"/>
                    <a:pt x="55721" y="55721"/>
                    <a:pt x="57626" y="57626"/>
                  </a:cubicBezTo>
                  <a:cubicBezTo>
                    <a:pt x="54769" y="61436"/>
                    <a:pt x="50006" y="64294"/>
                    <a:pt x="44291" y="65246"/>
                  </a:cubicBezTo>
                  <a:close/>
                  <a:moveTo>
                    <a:pt x="60484" y="55721"/>
                  </a:moveTo>
                  <a:cubicBezTo>
                    <a:pt x="58579" y="53816"/>
                    <a:pt x="55721" y="52864"/>
                    <a:pt x="51911" y="51911"/>
                  </a:cubicBezTo>
                  <a:cubicBezTo>
                    <a:pt x="52864" y="48101"/>
                    <a:pt x="52864" y="44291"/>
                    <a:pt x="53816" y="40481"/>
                  </a:cubicBezTo>
                  <a:lnTo>
                    <a:pt x="66199" y="40481"/>
                  </a:lnTo>
                  <a:cubicBezTo>
                    <a:pt x="66199" y="46196"/>
                    <a:pt x="63341" y="50959"/>
                    <a:pt x="60484" y="5572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F6ED7A66-3C30-4E32-BA64-3EEBDB11558A}"/>
                </a:ext>
              </a:extLst>
            </p:cNvPr>
            <p:cNvSpPr/>
            <p:nvPr/>
          </p:nvSpPr>
          <p:spPr>
            <a:xfrm>
              <a:off x="6675596" y="3001803"/>
              <a:ext cx="95250" cy="95250"/>
            </a:xfrm>
            <a:custGeom>
              <a:avLst/>
              <a:gdLst>
                <a:gd name="connsiteX0" fmla="*/ 94774 w 95250"/>
                <a:gd name="connsiteY0" fmla="*/ 50959 h 95250"/>
                <a:gd name="connsiteX1" fmla="*/ 50959 w 95250"/>
                <a:gd name="connsiteY1" fmla="*/ 94774 h 95250"/>
                <a:gd name="connsiteX2" fmla="*/ 7144 w 95250"/>
                <a:gd name="connsiteY2" fmla="*/ 50959 h 95250"/>
                <a:gd name="connsiteX3" fmla="*/ 50959 w 95250"/>
                <a:gd name="connsiteY3" fmla="*/ 7144 h 95250"/>
                <a:gd name="connsiteX4" fmla="*/ 94774 w 95250"/>
                <a:gd name="connsiteY4" fmla="*/ 50959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94774" y="50959"/>
                  </a:moveTo>
                  <a:cubicBezTo>
                    <a:pt x="94774" y="75157"/>
                    <a:pt x="75157" y="94774"/>
                    <a:pt x="50959" y="94774"/>
                  </a:cubicBezTo>
                  <a:cubicBezTo>
                    <a:pt x="26760" y="94774"/>
                    <a:pt x="7144" y="75157"/>
                    <a:pt x="7144" y="50959"/>
                  </a:cubicBezTo>
                  <a:cubicBezTo>
                    <a:pt x="7144" y="26760"/>
                    <a:pt x="26760" y="7144"/>
                    <a:pt x="50959" y="7144"/>
                  </a:cubicBezTo>
                  <a:cubicBezTo>
                    <a:pt x="75157" y="7144"/>
                    <a:pt x="94774" y="26760"/>
                    <a:pt x="94774" y="50959"/>
                  </a:cubicBezTo>
                  <a:close/>
                </a:path>
              </a:pathLst>
            </a:custGeom>
            <a:solidFill>
              <a:srgbClr val="E3493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33A73FA8-1EF7-41C1-9892-C88338A16666}"/>
                </a:ext>
              </a:extLst>
            </p:cNvPr>
            <p:cNvSpPr/>
            <p:nvPr/>
          </p:nvSpPr>
          <p:spPr>
            <a:xfrm>
              <a:off x="6690836" y="3017043"/>
              <a:ext cx="66675" cy="66675"/>
            </a:xfrm>
            <a:custGeom>
              <a:avLst/>
              <a:gdLst>
                <a:gd name="connsiteX0" fmla="*/ 62389 w 66675"/>
                <a:gd name="connsiteY0" fmla="*/ 30004 h 66675"/>
                <a:gd name="connsiteX1" fmla="*/ 56674 w 66675"/>
                <a:gd name="connsiteY1" fmla="*/ 30004 h 66675"/>
                <a:gd name="connsiteX2" fmla="*/ 54769 w 66675"/>
                <a:gd name="connsiteY2" fmla="*/ 26194 h 66675"/>
                <a:gd name="connsiteX3" fmla="*/ 58579 w 66675"/>
                <a:gd name="connsiteY3" fmla="*/ 22384 h 66675"/>
                <a:gd name="connsiteX4" fmla="*/ 58579 w 66675"/>
                <a:gd name="connsiteY4" fmla="*/ 18574 h 66675"/>
                <a:gd name="connsiteX5" fmla="*/ 53816 w 66675"/>
                <a:gd name="connsiteY5" fmla="*/ 13811 h 66675"/>
                <a:gd name="connsiteX6" fmla="*/ 50006 w 66675"/>
                <a:gd name="connsiteY6" fmla="*/ 13811 h 66675"/>
                <a:gd name="connsiteX7" fmla="*/ 46196 w 66675"/>
                <a:gd name="connsiteY7" fmla="*/ 17621 h 66675"/>
                <a:gd name="connsiteX8" fmla="*/ 42386 w 66675"/>
                <a:gd name="connsiteY8" fmla="*/ 15716 h 66675"/>
                <a:gd name="connsiteX9" fmla="*/ 42386 w 66675"/>
                <a:gd name="connsiteY9" fmla="*/ 10001 h 66675"/>
                <a:gd name="connsiteX10" fmla="*/ 39529 w 66675"/>
                <a:gd name="connsiteY10" fmla="*/ 7144 h 66675"/>
                <a:gd name="connsiteX11" fmla="*/ 32861 w 66675"/>
                <a:gd name="connsiteY11" fmla="*/ 7144 h 66675"/>
                <a:gd name="connsiteX12" fmla="*/ 30004 w 66675"/>
                <a:gd name="connsiteY12" fmla="*/ 10001 h 66675"/>
                <a:gd name="connsiteX13" fmla="*/ 30004 w 66675"/>
                <a:gd name="connsiteY13" fmla="*/ 15716 h 66675"/>
                <a:gd name="connsiteX14" fmla="*/ 26194 w 66675"/>
                <a:gd name="connsiteY14" fmla="*/ 17621 h 66675"/>
                <a:gd name="connsiteX15" fmla="*/ 22384 w 66675"/>
                <a:gd name="connsiteY15" fmla="*/ 13811 h 66675"/>
                <a:gd name="connsiteX16" fmla="*/ 18574 w 66675"/>
                <a:gd name="connsiteY16" fmla="*/ 13811 h 66675"/>
                <a:gd name="connsiteX17" fmla="*/ 13811 w 66675"/>
                <a:gd name="connsiteY17" fmla="*/ 18574 h 66675"/>
                <a:gd name="connsiteX18" fmla="*/ 13811 w 66675"/>
                <a:gd name="connsiteY18" fmla="*/ 22384 h 66675"/>
                <a:gd name="connsiteX19" fmla="*/ 17621 w 66675"/>
                <a:gd name="connsiteY19" fmla="*/ 26194 h 66675"/>
                <a:gd name="connsiteX20" fmla="*/ 15716 w 66675"/>
                <a:gd name="connsiteY20" fmla="*/ 30004 h 66675"/>
                <a:gd name="connsiteX21" fmla="*/ 10001 w 66675"/>
                <a:gd name="connsiteY21" fmla="*/ 30004 h 66675"/>
                <a:gd name="connsiteX22" fmla="*/ 7144 w 66675"/>
                <a:gd name="connsiteY22" fmla="*/ 32861 h 66675"/>
                <a:gd name="connsiteX23" fmla="*/ 7144 w 66675"/>
                <a:gd name="connsiteY23" fmla="*/ 39529 h 66675"/>
                <a:gd name="connsiteX24" fmla="*/ 10001 w 66675"/>
                <a:gd name="connsiteY24" fmla="*/ 42386 h 66675"/>
                <a:gd name="connsiteX25" fmla="*/ 15716 w 66675"/>
                <a:gd name="connsiteY25" fmla="*/ 42386 h 66675"/>
                <a:gd name="connsiteX26" fmla="*/ 17621 w 66675"/>
                <a:gd name="connsiteY26" fmla="*/ 46196 h 66675"/>
                <a:gd name="connsiteX27" fmla="*/ 13811 w 66675"/>
                <a:gd name="connsiteY27" fmla="*/ 50006 h 66675"/>
                <a:gd name="connsiteX28" fmla="*/ 13811 w 66675"/>
                <a:gd name="connsiteY28" fmla="*/ 53816 h 66675"/>
                <a:gd name="connsiteX29" fmla="*/ 18574 w 66675"/>
                <a:gd name="connsiteY29" fmla="*/ 58579 h 66675"/>
                <a:gd name="connsiteX30" fmla="*/ 22384 w 66675"/>
                <a:gd name="connsiteY30" fmla="*/ 58579 h 66675"/>
                <a:gd name="connsiteX31" fmla="*/ 26194 w 66675"/>
                <a:gd name="connsiteY31" fmla="*/ 54769 h 66675"/>
                <a:gd name="connsiteX32" fmla="*/ 30004 w 66675"/>
                <a:gd name="connsiteY32" fmla="*/ 56674 h 66675"/>
                <a:gd name="connsiteX33" fmla="*/ 30004 w 66675"/>
                <a:gd name="connsiteY33" fmla="*/ 62389 h 66675"/>
                <a:gd name="connsiteX34" fmla="*/ 32861 w 66675"/>
                <a:gd name="connsiteY34" fmla="*/ 65246 h 66675"/>
                <a:gd name="connsiteX35" fmla="*/ 39529 w 66675"/>
                <a:gd name="connsiteY35" fmla="*/ 65246 h 66675"/>
                <a:gd name="connsiteX36" fmla="*/ 42386 w 66675"/>
                <a:gd name="connsiteY36" fmla="*/ 62389 h 66675"/>
                <a:gd name="connsiteX37" fmla="*/ 42386 w 66675"/>
                <a:gd name="connsiteY37" fmla="*/ 56674 h 66675"/>
                <a:gd name="connsiteX38" fmla="*/ 46196 w 66675"/>
                <a:gd name="connsiteY38" fmla="*/ 54769 h 66675"/>
                <a:gd name="connsiteX39" fmla="*/ 50006 w 66675"/>
                <a:gd name="connsiteY39" fmla="*/ 58579 h 66675"/>
                <a:gd name="connsiteX40" fmla="*/ 53816 w 66675"/>
                <a:gd name="connsiteY40" fmla="*/ 58579 h 66675"/>
                <a:gd name="connsiteX41" fmla="*/ 58579 w 66675"/>
                <a:gd name="connsiteY41" fmla="*/ 53816 h 66675"/>
                <a:gd name="connsiteX42" fmla="*/ 58579 w 66675"/>
                <a:gd name="connsiteY42" fmla="*/ 50006 h 66675"/>
                <a:gd name="connsiteX43" fmla="*/ 54769 w 66675"/>
                <a:gd name="connsiteY43" fmla="*/ 46196 h 66675"/>
                <a:gd name="connsiteX44" fmla="*/ 56674 w 66675"/>
                <a:gd name="connsiteY44" fmla="*/ 42386 h 66675"/>
                <a:gd name="connsiteX45" fmla="*/ 62389 w 66675"/>
                <a:gd name="connsiteY45" fmla="*/ 42386 h 66675"/>
                <a:gd name="connsiteX46" fmla="*/ 65246 w 66675"/>
                <a:gd name="connsiteY46" fmla="*/ 39529 h 66675"/>
                <a:gd name="connsiteX47" fmla="*/ 65246 w 66675"/>
                <a:gd name="connsiteY47" fmla="*/ 32861 h 66675"/>
                <a:gd name="connsiteX48" fmla="*/ 62389 w 66675"/>
                <a:gd name="connsiteY48" fmla="*/ 30004 h 66675"/>
                <a:gd name="connsiteX49" fmla="*/ 35719 w 66675"/>
                <a:gd name="connsiteY49" fmla="*/ 47149 h 66675"/>
                <a:gd name="connsiteX50" fmla="*/ 24289 w 66675"/>
                <a:gd name="connsiteY50" fmla="*/ 35719 h 66675"/>
                <a:gd name="connsiteX51" fmla="*/ 35719 w 66675"/>
                <a:gd name="connsiteY51" fmla="*/ 24289 h 66675"/>
                <a:gd name="connsiteX52" fmla="*/ 47149 w 66675"/>
                <a:gd name="connsiteY52" fmla="*/ 35719 h 66675"/>
                <a:gd name="connsiteX53" fmla="*/ 35719 w 66675"/>
                <a:gd name="connsiteY53" fmla="*/ 47149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66675" h="66675">
                  <a:moveTo>
                    <a:pt x="62389" y="30004"/>
                  </a:moveTo>
                  <a:lnTo>
                    <a:pt x="56674" y="30004"/>
                  </a:lnTo>
                  <a:cubicBezTo>
                    <a:pt x="56674" y="28099"/>
                    <a:pt x="55721" y="27146"/>
                    <a:pt x="54769" y="26194"/>
                  </a:cubicBezTo>
                  <a:lnTo>
                    <a:pt x="58579" y="22384"/>
                  </a:lnTo>
                  <a:cubicBezTo>
                    <a:pt x="59531" y="21431"/>
                    <a:pt x="59531" y="19526"/>
                    <a:pt x="58579" y="18574"/>
                  </a:cubicBezTo>
                  <a:lnTo>
                    <a:pt x="53816" y="13811"/>
                  </a:lnTo>
                  <a:cubicBezTo>
                    <a:pt x="52864" y="12859"/>
                    <a:pt x="50959" y="12859"/>
                    <a:pt x="50006" y="13811"/>
                  </a:cubicBezTo>
                  <a:lnTo>
                    <a:pt x="46196" y="17621"/>
                  </a:lnTo>
                  <a:cubicBezTo>
                    <a:pt x="45244" y="16669"/>
                    <a:pt x="43339" y="16669"/>
                    <a:pt x="42386" y="15716"/>
                  </a:cubicBezTo>
                  <a:lnTo>
                    <a:pt x="42386" y="10001"/>
                  </a:lnTo>
                  <a:cubicBezTo>
                    <a:pt x="42386" y="8096"/>
                    <a:pt x="41434" y="7144"/>
                    <a:pt x="39529" y="7144"/>
                  </a:cubicBezTo>
                  <a:lnTo>
                    <a:pt x="32861" y="7144"/>
                  </a:lnTo>
                  <a:cubicBezTo>
                    <a:pt x="30956" y="7144"/>
                    <a:pt x="30004" y="8096"/>
                    <a:pt x="30004" y="10001"/>
                  </a:cubicBezTo>
                  <a:lnTo>
                    <a:pt x="30004" y="15716"/>
                  </a:lnTo>
                  <a:cubicBezTo>
                    <a:pt x="28099" y="15716"/>
                    <a:pt x="27146" y="16669"/>
                    <a:pt x="26194" y="17621"/>
                  </a:cubicBezTo>
                  <a:lnTo>
                    <a:pt x="22384" y="13811"/>
                  </a:lnTo>
                  <a:cubicBezTo>
                    <a:pt x="21431" y="12859"/>
                    <a:pt x="19526" y="12859"/>
                    <a:pt x="18574" y="13811"/>
                  </a:cubicBezTo>
                  <a:lnTo>
                    <a:pt x="13811" y="18574"/>
                  </a:lnTo>
                  <a:cubicBezTo>
                    <a:pt x="12859" y="19526"/>
                    <a:pt x="12859" y="21431"/>
                    <a:pt x="13811" y="22384"/>
                  </a:cubicBezTo>
                  <a:lnTo>
                    <a:pt x="17621" y="26194"/>
                  </a:lnTo>
                  <a:cubicBezTo>
                    <a:pt x="16669" y="27146"/>
                    <a:pt x="16669" y="29051"/>
                    <a:pt x="15716" y="30004"/>
                  </a:cubicBezTo>
                  <a:lnTo>
                    <a:pt x="10001" y="30004"/>
                  </a:lnTo>
                  <a:cubicBezTo>
                    <a:pt x="8096" y="30004"/>
                    <a:pt x="7144" y="30956"/>
                    <a:pt x="7144" y="32861"/>
                  </a:cubicBezTo>
                  <a:lnTo>
                    <a:pt x="7144" y="39529"/>
                  </a:lnTo>
                  <a:cubicBezTo>
                    <a:pt x="7144" y="41434"/>
                    <a:pt x="8096" y="42386"/>
                    <a:pt x="10001" y="42386"/>
                  </a:cubicBezTo>
                  <a:lnTo>
                    <a:pt x="15716" y="42386"/>
                  </a:lnTo>
                  <a:cubicBezTo>
                    <a:pt x="15716" y="44291"/>
                    <a:pt x="16669" y="45244"/>
                    <a:pt x="17621" y="46196"/>
                  </a:cubicBezTo>
                  <a:lnTo>
                    <a:pt x="13811" y="50006"/>
                  </a:lnTo>
                  <a:cubicBezTo>
                    <a:pt x="12859" y="50959"/>
                    <a:pt x="12859" y="52864"/>
                    <a:pt x="13811" y="53816"/>
                  </a:cubicBezTo>
                  <a:lnTo>
                    <a:pt x="18574" y="58579"/>
                  </a:lnTo>
                  <a:cubicBezTo>
                    <a:pt x="19526" y="59531"/>
                    <a:pt x="21431" y="59531"/>
                    <a:pt x="22384" y="58579"/>
                  </a:cubicBezTo>
                  <a:lnTo>
                    <a:pt x="26194" y="54769"/>
                  </a:lnTo>
                  <a:cubicBezTo>
                    <a:pt x="27146" y="55721"/>
                    <a:pt x="29051" y="55721"/>
                    <a:pt x="30004" y="56674"/>
                  </a:cubicBezTo>
                  <a:lnTo>
                    <a:pt x="30004" y="62389"/>
                  </a:lnTo>
                  <a:cubicBezTo>
                    <a:pt x="30004" y="64294"/>
                    <a:pt x="30956" y="65246"/>
                    <a:pt x="32861" y="65246"/>
                  </a:cubicBezTo>
                  <a:lnTo>
                    <a:pt x="39529" y="65246"/>
                  </a:lnTo>
                  <a:cubicBezTo>
                    <a:pt x="41434" y="65246"/>
                    <a:pt x="42386" y="64294"/>
                    <a:pt x="42386" y="62389"/>
                  </a:cubicBezTo>
                  <a:lnTo>
                    <a:pt x="42386" y="56674"/>
                  </a:lnTo>
                  <a:cubicBezTo>
                    <a:pt x="44291" y="56674"/>
                    <a:pt x="45244" y="55721"/>
                    <a:pt x="46196" y="54769"/>
                  </a:cubicBezTo>
                  <a:lnTo>
                    <a:pt x="50006" y="58579"/>
                  </a:lnTo>
                  <a:cubicBezTo>
                    <a:pt x="50959" y="59531"/>
                    <a:pt x="52864" y="59531"/>
                    <a:pt x="53816" y="58579"/>
                  </a:cubicBezTo>
                  <a:lnTo>
                    <a:pt x="58579" y="53816"/>
                  </a:lnTo>
                  <a:cubicBezTo>
                    <a:pt x="59531" y="52864"/>
                    <a:pt x="59531" y="50959"/>
                    <a:pt x="58579" y="50006"/>
                  </a:cubicBezTo>
                  <a:lnTo>
                    <a:pt x="54769" y="46196"/>
                  </a:lnTo>
                  <a:cubicBezTo>
                    <a:pt x="55721" y="45244"/>
                    <a:pt x="55721" y="43339"/>
                    <a:pt x="56674" y="42386"/>
                  </a:cubicBezTo>
                  <a:lnTo>
                    <a:pt x="62389" y="42386"/>
                  </a:lnTo>
                  <a:cubicBezTo>
                    <a:pt x="64294" y="42386"/>
                    <a:pt x="65246" y="41434"/>
                    <a:pt x="65246" y="39529"/>
                  </a:cubicBezTo>
                  <a:lnTo>
                    <a:pt x="65246" y="32861"/>
                  </a:lnTo>
                  <a:cubicBezTo>
                    <a:pt x="64294" y="30956"/>
                    <a:pt x="63341" y="30004"/>
                    <a:pt x="62389" y="30004"/>
                  </a:cubicBezTo>
                  <a:close/>
                  <a:moveTo>
                    <a:pt x="35719" y="47149"/>
                  </a:moveTo>
                  <a:cubicBezTo>
                    <a:pt x="29051" y="47149"/>
                    <a:pt x="24289" y="42386"/>
                    <a:pt x="24289" y="35719"/>
                  </a:cubicBezTo>
                  <a:cubicBezTo>
                    <a:pt x="24289" y="29051"/>
                    <a:pt x="29051" y="24289"/>
                    <a:pt x="35719" y="24289"/>
                  </a:cubicBezTo>
                  <a:cubicBezTo>
                    <a:pt x="42386" y="24289"/>
                    <a:pt x="47149" y="29051"/>
                    <a:pt x="47149" y="35719"/>
                  </a:cubicBezTo>
                  <a:cubicBezTo>
                    <a:pt x="47149" y="42386"/>
                    <a:pt x="42386" y="47149"/>
                    <a:pt x="35719" y="4714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C2D90E98-AF99-4B1C-82AF-19F93524B229}"/>
                </a:ext>
              </a:extLst>
            </p:cNvPr>
            <p:cNvSpPr/>
            <p:nvPr/>
          </p:nvSpPr>
          <p:spPr>
            <a:xfrm>
              <a:off x="6795611" y="3008471"/>
              <a:ext cx="28575" cy="28575"/>
            </a:xfrm>
            <a:custGeom>
              <a:avLst/>
              <a:gdLst>
                <a:gd name="connsiteX0" fmla="*/ 7144 w 28575"/>
                <a:gd name="connsiteY0" fmla="*/ 7144 h 28575"/>
                <a:gd name="connsiteX1" fmla="*/ 25241 w 28575"/>
                <a:gd name="connsiteY1" fmla="*/ 7144 h 28575"/>
                <a:gd name="connsiteX2" fmla="*/ 25241 w 28575"/>
                <a:gd name="connsiteY2" fmla="*/ 25241 h 28575"/>
                <a:gd name="connsiteX3" fmla="*/ 7144 w 28575"/>
                <a:gd name="connsiteY3" fmla="*/ 25241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28575">
                  <a:moveTo>
                    <a:pt x="7144" y="7144"/>
                  </a:moveTo>
                  <a:lnTo>
                    <a:pt x="25241" y="7144"/>
                  </a:lnTo>
                  <a:lnTo>
                    <a:pt x="25241" y="25241"/>
                  </a:lnTo>
                  <a:lnTo>
                    <a:pt x="7144" y="25241"/>
                  </a:ln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10DBE914-A77E-480E-A4A8-65CD18FDE07D}"/>
                </a:ext>
              </a:extLst>
            </p:cNvPr>
            <p:cNvSpPr/>
            <p:nvPr/>
          </p:nvSpPr>
          <p:spPr>
            <a:xfrm>
              <a:off x="6825139" y="3008471"/>
              <a:ext cx="28575" cy="28575"/>
            </a:xfrm>
            <a:custGeom>
              <a:avLst/>
              <a:gdLst>
                <a:gd name="connsiteX0" fmla="*/ 7144 w 28575"/>
                <a:gd name="connsiteY0" fmla="*/ 7144 h 28575"/>
                <a:gd name="connsiteX1" fmla="*/ 25241 w 28575"/>
                <a:gd name="connsiteY1" fmla="*/ 7144 h 28575"/>
                <a:gd name="connsiteX2" fmla="*/ 25241 w 28575"/>
                <a:gd name="connsiteY2" fmla="*/ 25241 h 28575"/>
                <a:gd name="connsiteX3" fmla="*/ 7144 w 28575"/>
                <a:gd name="connsiteY3" fmla="*/ 25241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28575">
                  <a:moveTo>
                    <a:pt x="7144" y="7144"/>
                  </a:moveTo>
                  <a:lnTo>
                    <a:pt x="25241" y="7144"/>
                  </a:lnTo>
                  <a:lnTo>
                    <a:pt x="25241" y="25241"/>
                  </a:lnTo>
                  <a:lnTo>
                    <a:pt x="7144" y="25241"/>
                  </a:ln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33C75B3E-608D-49F2-A6BA-3E9F064CA18E}"/>
                </a:ext>
              </a:extLst>
            </p:cNvPr>
            <p:cNvSpPr/>
            <p:nvPr/>
          </p:nvSpPr>
          <p:spPr>
            <a:xfrm>
              <a:off x="6795611" y="3036093"/>
              <a:ext cx="28575" cy="28575"/>
            </a:xfrm>
            <a:custGeom>
              <a:avLst/>
              <a:gdLst>
                <a:gd name="connsiteX0" fmla="*/ 7144 w 28575"/>
                <a:gd name="connsiteY0" fmla="*/ 7144 h 28575"/>
                <a:gd name="connsiteX1" fmla="*/ 25241 w 28575"/>
                <a:gd name="connsiteY1" fmla="*/ 7144 h 28575"/>
                <a:gd name="connsiteX2" fmla="*/ 25241 w 28575"/>
                <a:gd name="connsiteY2" fmla="*/ 25241 h 28575"/>
                <a:gd name="connsiteX3" fmla="*/ 7144 w 28575"/>
                <a:gd name="connsiteY3" fmla="*/ 25241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28575">
                  <a:moveTo>
                    <a:pt x="7144" y="7144"/>
                  </a:moveTo>
                  <a:lnTo>
                    <a:pt x="25241" y="7144"/>
                  </a:lnTo>
                  <a:lnTo>
                    <a:pt x="25241" y="25241"/>
                  </a:lnTo>
                  <a:lnTo>
                    <a:pt x="7144" y="25241"/>
                  </a:ln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CD78F926-1630-406C-B953-74DE7AB14D3A}"/>
                </a:ext>
              </a:extLst>
            </p:cNvPr>
            <p:cNvSpPr/>
            <p:nvPr/>
          </p:nvSpPr>
          <p:spPr>
            <a:xfrm>
              <a:off x="6825139" y="3036093"/>
              <a:ext cx="28575" cy="28575"/>
            </a:xfrm>
            <a:custGeom>
              <a:avLst/>
              <a:gdLst>
                <a:gd name="connsiteX0" fmla="*/ 7144 w 28575"/>
                <a:gd name="connsiteY0" fmla="*/ 7144 h 28575"/>
                <a:gd name="connsiteX1" fmla="*/ 25241 w 28575"/>
                <a:gd name="connsiteY1" fmla="*/ 7144 h 28575"/>
                <a:gd name="connsiteX2" fmla="*/ 25241 w 28575"/>
                <a:gd name="connsiteY2" fmla="*/ 25241 h 28575"/>
                <a:gd name="connsiteX3" fmla="*/ 7144 w 28575"/>
                <a:gd name="connsiteY3" fmla="*/ 25241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28575">
                  <a:moveTo>
                    <a:pt x="7144" y="7144"/>
                  </a:moveTo>
                  <a:lnTo>
                    <a:pt x="25241" y="7144"/>
                  </a:lnTo>
                  <a:lnTo>
                    <a:pt x="25241" y="25241"/>
                  </a:lnTo>
                  <a:lnTo>
                    <a:pt x="7144" y="25241"/>
                  </a:lnTo>
                  <a:close/>
                </a:path>
              </a:pathLst>
            </a:custGeom>
            <a:solidFill>
              <a:srgbClr val="F065A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21D49315-5E23-4C05-8878-059B95BAD179}"/>
                </a:ext>
              </a:extLst>
            </p:cNvPr>
            <p:cNvSpPr/>
            <p:nvPr/>
          </p:nvSpPr>
          <p:spPr>
            <a:xfrm>
              <a:off x="6795611" y="3064668"/>
              <a:ext cx="28575" cy="28575"/>
            </a:xfrm>
            <a:custGeom>
              <a:avLst/>
              <a:gdLst>
                <a:gd name="connsiteX0" fmla="*/ 7144 w 28575"/>
                <a:gd name="connsiteY0" fmla="*/ 7144 h 28575"/>
                <a:gd name="connsiteX1" fmla="*/ 25241 w 28575"/>
                <a:gd name="connsiteY1" fmla="*/ 7144 h 28575"/>
                <a:gd name="connsiteX2" fmla="*/ 25241 w 28575"/>
                <a:gd name="connsiteY2" fmla="*/ 25241 h 28575"/>
                <a:gd name="connsiteX3" fmla="*/ 7144 w 28575"/>
                <a:gd name="connsiteY3" fmla="*/ 25241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28575">
                  <a:moveTo>
                    <a:pt x="7144" y="7144"/>
                  </a:moveTo>
                  <a:lnTo>
                    <a:pt x="25241" y="7144"/>
                  </a:lnTo>
                  <a:lnTo>
                    <a:pt x="25241" y="25241"/>
                  </a:lnTo>
                  <a:lnTo>
                    <a:pt x="7144" y="25241"/>
                  </a:lnTo>
                  <a:close/>
                </a:path>
              </a:pathLst>
            </a:custGeom>
            <a:solidFill>
              <a:srgbClr val="F065A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0BB6339A-314F-4527-9B6B-D8B668B1DA7D}"/>
                </a:ext>
              </a:extLst>
            </p:cNvPr>
            <p:cNvSpPr/>
            <p:nvPr/>
          </p:nvSpPr>
          <p:spPr>
            <a:xfrm>
              <a:off x="6825139" y="3064668"/>
              <a:ext cx="28575" cy="28575"/>
            </a:xfrm>
            <a:custGeom>
              <a:avLst/>
              <a:gdLst>
                <a:gd name="connsiteX0" fmla="*/ 7144 w 28575"/>
                <a:gd name="connsiteY0" fmla="*/ 7144 h 28575"/>
                <a:gd name="connsiteX1" fmla="*/ 25241 w 28575"/>
                <a:gd name="connsiteY1" fmla="*/ 7144 h 28575"/>
                <a:gd name="connsiteX2" fmla="*/ 25241 w 28575"/>
                <a:gd name="connsiteY2" fmla="*/ 25241 h 28575"/>
                <a:gd name="connsiteX3" fmla="*/ 7144 w 28575"/>
                <a:gd name="connsiteY3" fmla="*/ 25241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28575">
                  <a:moveTo>
                    <a:pt x="7144" y="7144"/>
                  </a:moveTo>
                  <a:lnTo>
                    <a:pt x="25241" y="7144"/>
                  </a:lnTo>
                  <a:lnTo>
                    <a:pt x="25241" y="25241"/>
                  </a:lnTo>
                  <a:lnTo>
                    <a:pt x="7144" y="25241"/>
                  </a:lnTo>
                  <a:close/>
                </a:path>
              </a:pathLst>
            </a:custGeom>
            <a:solidFill>
              <a:srgbClr val="F065A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4C662FD0-B0CB-4FB9-9939-11C829D8A3E6}"/>
                </a:ext>
              </a:extLst>
            </p:cNvPr>
            <p:cNvSpPr/>
            <p:nvPr/>
          </p:nvSpPr>
          <p:spPr>
            <a:xfrm>
              <a:off x="7174159" y="3001668"/>
              <a:ext cx="314325" cy="314325"/>
            </a:xfrm>
            <a:custGeom>
              <a:avLst/>
              <a:gdLst>
                <a:gd name="connsiteX0" fmla="*/ 305823 w 314325"/>
                <a:gd name="connsiteY0" fmla="*/ 176824 h 314325"/>
                <a:gd name="connsiteX1" fmla="*/ 156281 w 314325"/>
                <a:gd name="connsiteY1" fmla="*/ 218734 h 314325"/>
                <a:gd name="connsiteX2" fmla="*/ 61031 w 314325"/>
                <a:gd name="connsiteY2" fmla="*/ 66334 h 314325"/>
                <a:gd name="connsiteX3" fmla="*/ 61031 w 314325"/>
                <a:gd name="connsiteY3" fmla="*/ 31091 h 314325"/>
                <a:gd name="connsiteX4" fmla="*/ 48648 w 314325"/>
                <a:gd name="connsiteY4" fmla="*/ 7279 h 314325"/>
                <a:gd name="connsiteX5" fmla="*/ 34361 w 314325"/>
                <a:gd name="connsiteY5" fmla="*/ 71096 h 314325"/>
                <a:gd name="connsiteX6" fmla="*/ 184856 w 314325"/>
                <a:gd name="connsiteY6" fmla="*/ 313031 h 314325"/>
                <a:gd name="connsiteX7" fmla="*/ 316301 w 314325"/>
                <a:gd name="connsiteY7" fmla="*/ 288266 h 314325"/>
                <a:gd name="connsiteX8" fmla="*/ 305823 w 314325"/>
                <a:gd name="connsiteY8" fmla="*/ 176824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4325" h="314325">
                  <a:moveTo>
                    <a:pt x="305823" y="176824"/>
                  </a:moveTo>
                  <a:cubicBezTo>
                    <a:pt x="305823" y="176824"/>
                    <a:pt x="225813" y="241594"/>
                    <a:pt x="156281" y="218734"/>
                  </a:cubicBezTo>
                  <a:cubicBezTo>
                    <a:pt x="87701" y="195874"/>
                    <a:pt x="61031" y="66334"/>
                    <a:pt x="61031" y="66334"/>
                  </a:cubicBezTo>
                  <a:cubicBezTo>
                    <a:pt x="61031" y="66334"/>
                    <a:pt x="76271" y="39664"/>
                    <a:pt x="61031" y="31091"/>
                  </a:cubicBezTo>
                  <a:cubicBezTo>
                    <a:pt x="61031" y="31091"/>
                    <a:pt x="63888" y="9184"/>
                    <a:pt x="48648" y="7279"/>
                  </a:cubicBezTo>
                  <a:cubicBezTo>
                    <a:pt x="33409" y="5374"/>
                    <a:pt x="-27552" y="23471"/>
                    <a:pt x="34361" y="71096"/>
                  </a:cubicBezTo>
                  <a:cubicBezTo>
                    <a:pt x="34361" y="71096"/>
                    <a:pt x="51506" y="305411"/>
                    <a:pt x="184856" y="313031"/>
                  </a:cubicBezTo>
                  <a:cubicBezTo>
                    <a:pt x="317253" y="321604"/>
                    <a:pt x="316301" y="288266"/>
                    <a:pt x="316301" y="288266"/>
                  </a:cubicBezTo>
                  <a:lnTo>
                    <a:pt x="305823" y="176824"/>
                  </a:lnTo>
                  <a:close/>
                </a:path>
              </a:pathLst>
            </a:custGeom>
            <a:solidFill>
              <a:srgbClr val="5202B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E0DCE2C7-2C62-4722-AD07-3432952A7768}"/>
                </a:ext>
              </a:extLst>
            </p:cNvPr>
            <p:cNvSpPr/>
            <p:nvPr/>
          </p:nvSpPr>
          <p:spPr>
            <a:xfrm>
              <a:off x="7173981" y="2966383"/>
              <a:ext cx="76200" cy="171450"/>
            </a:xfrm>
            <a:custGeom>
              <a:avLst/>
              <a:gdLst>
                <a:gd name="connsiteX0" fmla="*/ 60257 w 76200"/>
                <a:gd name="connsiteY0" fmla="*/ 101619 h 171450"/>
                <a:gd name="connsiteX1" fmla="*/ 65972 w 76200"/>
                <a:gd name="connsiteY1" fmla="*/ 89237 h 171450"/>
                <a:gd name="connsiteX2" fmla="*/ 65972 w 76200"/>
                <a:gd name="connsiteY2" fmla="*/ 89237 h 171450"/>
                <a:gd name="connsiteX3" fmla="*/ 66924 w 76200"/>
                <a:gd name="connsiteY3" fmla="*/ 42564 h 171450"/>
                <a:gd name="connsiteX4" fmla="*/ 52637 w 76200"/>
                <a:gd name="connsiteY4" fmla="*/ 42564 h 171450"/>
                <a:gd name="connsiteX5" fmla="*/ 23109 w 76200"/>
                <a:gd name="connsiteY5" fmla="*/ 7322 h 171450"/>
                <a:gd name="connsiteX6" fmla="*/ 28824 w 76200"/>
                <a:gd name="connsiteY6" fmla="*/ 45422 h 171450"/>
                <a:gd name="connsiteX7" fmla="*/ 34539 w 76200"/>
                <a:gd name="connsiteY7" fmla="*/ 106382 h 171450"/>
                <a:gd name="connsiteX8" fmla="*/ 44064 w 76200"/>
                <a:gd name="connsiteY8" fmla="*/ 166389 h 171450"/>
                <a:gd name="connsiteX9" fmla="*/ 78354 w 76200"/>
                <a:gd name="connsiteY9" fmla="*/ 155912 h 171450"/>
                <a:gd name="connsiteX10" fmla="*/ 60257 w 76200"/>
                <a:gd name="connsiteY10" fmla="*/ 101619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6200" h="171450">
                  <a:moveTo>
                    <a:pt x="60257" y="101619"/>
                  </a:moveTo>
                  <a:cubicBezTo>
                    <a:pt x="60257" y="101619"/>
                    <a:pt x="63114" y="95904"/>
                    <a:pt x="65972" y="89237"/>
                  </a:cubicBezTo>
                  <a:cubicBezTo>
                    <a:pt x="65972" y="89237"/>
                    <a:pt x="65972" y="89237"/>
                    <a:pt x="65972" y="89237"/>
                  </a:cubicBezTo>
                  <a:cubicBezTo>
                    <a:pt x="80259" y="84474"/>
                    <a:pt x="72639" y="48279"/>
                    <a:pt x="66924" y="42564"/>
                  </a:cubicBezTo>
                  <a:cubicBezTo>
                    <a:pt x="62162" y="37802"/>
                    <a:pt x="55494" y="40659"/>
                    <a:pt x="52637" y="42564"/>
                  </a:cubicBezTo>
                  <a:cubicBezTo>
                    <a:pt x="49779" y="36849"/>
                    <a:pt x="32634" y="4464"/>
                    <a:pt x="23109" y="7322"/>
                  </a:cubicBezTo>
                  <a:cubicBezTo>
                    <a:pt x="16442" y="9227"/>
                    <a:pt x="23109" y="31134"/>
                    <a:pt x="28824" y="45422"/>
                  </a:cubicBezTo>
                  <a:cubicBezTo>
                    <a:pt x="8822" y="53042"/>
                    <a:pt x="-10228" y="72092"/>
                    <a:pt x="34539" y="106382"/>
                  </a:cubicBezTo>
                  <a:cubicBezTo>
                    <a:pt x="34539" y="106382"/>
                    <a:pt x="36444" y="132099"/>
                    <a:pt x="44064" y="166389"/>
                  </a:cubicBezTo>
                  <a:cubicBezTo>
                    <a:pt x="55494" y="163532"/>
                    <a:pt x="66924" y="160674"/>
                    <a:pt x="78354" y="155912"/>
                  </a:cubicBezTo>
                  <a:cubicBezTo>
                    <a:pt x="65972" y="125432"/>
                    <a:pt x="60257" y="101619"/>
                    <a:pt x="60257" y="101619"/>
                  </a:cubicBez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5E9CCEA1-2281-458B-89CD-AF9CC1ECBB5E}"/>
                </a:ext>
              </a:extLst>
            </p:cNvPr>
            <p:cNvSpPr/>
            <p:nvPr/>
          </p:nvSpPr>
          <p:spPr>
            <a:xfrm>
              <a:off x="7569994" y="3412331"/>
              <a:ext cx="95250" cy="95250"/>
            </a:xfrm>
            <a:custGeom>
              <a:avLst/>
              <a:gdLst>
                <a:gd name="connsiteX0" fmla="*/ 65246 w 95250"/>
                <a:gd name="connsiteY0" fmla="*/ 7144 h 95250"/>
                <a:gd name="connsiteX1" fmla="*/ 7144 w 95250"/>
                <a:gd name="connsiteY1" fmla="*/ 81439 h 95250"/>
                <a:gd name="connsiteX2" fmla="*/ 19526 w 95250"/>
                <a:gd name="connsiteY2" fmla="*/ 95726 h 95250"/>
                <a:gd name="connsiteX3" fmla="*/ 95726 w 95250"/>
                <a:gd name="connsiteY3" fmla="*/ 34766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250" h="95250">
                  <a:moveTo>
                    <a:pt x="65246" y="7144"/>
                  </a:moveTo>
                  <a:lnTo>
                    <a:pt x="7144" y="81439"/>
                  </a:lnTo>
                  <a:lnTo>
                    <a:pt x="19526" y="95726"/>
                  </a:lnTo>
                  <a:lnTo>
                    <a:pt x="95726" y="34766"/>
                  </a:ln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F189EACF-9C2D-4009-8172-106D477B5A67}"/>
                </a:ext>
              </a:extLst>
            </p:cNvPr>
            <p:cNvSpPr/>
            <p:nvPr/>
          </p:nvSpPr>
          <p:spPr>
            <a:xfrm>
              <a:off x="7512844" y="3153251"/>
              <a:ext cx="209550" cy="304800"/>
            </a:xfrm>
            <a:custGeom>
              <a:avLst/>
              <a:gdLst>
                <a:gd name="connsiteX0" fmla="*/ 7144 w 209550"/>
                <a:gd name="connsiteY0" fmla="*/ 7144 h 304800"/>
                <a:gd name="connsiteX1" fmla="*/ 121444 w 209550"/>
                <a:gd name="connsiteY1" fmla="*/ 47149 h 304800"/>
                <a:gd name="connsiteX2" fmla="*/ 210026 w 209550"/>
                <a:gd name="connsiteY2" fmla="*/ 223361 h 304800"/>
                <a:gd name="connsiteX3" fmla="*/ 166211 w 209550"/>
                <a:gd name="connsiteY3" fmla="*/ 305276 h 304800"/>
                <a:gd name="connsiteX4" fmla="*/ 121444 w 209550"/>
                <a:gd name="connsiteY4" fmla="*/ 266224 h 304800"/>
                <a:gd name="connsiteX5" fmla="*/ 145256 w 209550"/>
                <a:gd name="connsiteY5" fmla="*/ 219551 h 304800"/>
                <a:gd name="connsiteX6" fmla="*/ 75724 w 209550"/>
                <a:gd name="connsiteY6" fmla="*/ 133826 h 304800"/>
                <a:gd name="connsiteX7" fmla="*/ 25241 w 209550"/>
                <a:gd name="connsiteY7" fmla="*/ 31909 h 304800"/>
                <a:gd name="connsiteX8" fmla="*/ 7144 w 209550"/>
                <a:gd name="connsiteY8" fmla="*/ 7144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550" h="304800">
                  <a:moveTo>
                    <a:pt x="7144" y="7144"/>
                  </a:moveTo>
                  <a:cubicBezTo>
                    <a:pt x="7144" y="7144"/>
                    <a:pt x="100489" y="16669"/>
                    <a:pt x="121444" y="47149"/>
                  </a:cubicBezTo>
                  <a:cubicBezTo>
                    <a:pt x="142399" y="77629"/>
                    <a:pt x="218599" y="160496"/>
                    <a:pt x="210026" y="223361"/>
                  </a:cubicBezTo>
                  <a:cubicBezTo>
                    <a:pt x="202406" y="286226"/>
                    <a:pt x="166211" y="305276"/>
                    <a:pt x="166211" y="305276"/>
                  </a:cubicBezTo>
                  <a:lnTo>
                    <a:pt x="121444" y="266224"/>
                  </a:lnTo>
                  <a:cubicBezTo>
                    <a:pt x="121444" y="266224"/>
                    <a:pt x="150971" y="242411"/>
                    <a:pt x="145256" y="219551"/>
                  </a:cubicBezTo>
                  <a:cubicBezTo>
                    <a:pt x="140494" y="195739"/>
                    <a:pt x="75724" y="133826"/>
                    <a:pt x="75724" y="133826"/>
                  </a:cubicBezTo>
                  <a:lnTo>
                    <a:pt x="25241" y="31909"/>
                  </a:lnTo>
                  <a:lnTo>
                    <a:pt x="7144" y="7144"/>
                  </a:lnTo>
                  <a:close/>
                </a:path>
              </a:pathLst>
            </a:custGeom>
            <a:solidFill>
              <a:srgbClr val="5202B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D16D5E41-D7E2-4A33-8E76-4D8F4DDF74EE}"/>
                </a:ext>
              </a:extLst>
            </p:cNvPr>
            <p:cNvSpPr/>
            <p:nvPr/>
          </p:nvSpPr>
          <p:spPr>
            <a:xfrm>
              <a:off x="7169944" y="4039039"/>
              <a:ext cx="552450" cy="47625"/>
            </a:xfrm>
            <a:custGeom>
              <a:avLst/>
              <a:gdLst>
                <a:gd name="connsiteX0" fmla="*/ 553879 w 552450"/>
                <a:gd name="connsiteY0" fmla="*/ 24325 h 47625"/>
                <a:gd name="connsiteX1" fmla="*/ 280511 w 552450"/>
                <a:gd name="connsiteY1" fmla="*/ 41470 h 47625"/>
                <a:gd name="connsiteX2" fmla="*/ 7144 w 552450"/>
                <a:gd name="connsiteY2" fmla="*/ 24325 h 47625"/>
                <a:gd name="connsiteX3" fmla="*/ 280511 w 552450"/>
                <a:gd name="connsiteY3" fmla="*/ 7180 h 47625"/>
                <a:gd name="connsiteX4" fmla="*/ 553879 w 552450"/>
                <a:gd name="connsiteY4" fmla="*/ 243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2450" h="47625">
                  <a:moveTo>
                    <a:pt x="553879" y="24325"/>
                  </a:moveTo>
                  <a:cubicBezTo>
                    <a:pt x="553879" y="24325"/>
                    <a:pt x="431006" y="41470"/>
                    <a:pt x="280511" y="41470"/>
                  </a:cubicBezTo>
                  <a:cubicBezTo>
                    <a:pt x="129064" y="41470"/>
                    <a:pt x="7144" y="24325"/>
                    <a:pt x="7144" y="24325"/>
                  </a:cubicBezTo>
                  <a:cubicBezTo>
                    <a:pt x="7144" y="24325"/>
                    <a:pt x="130016" y="7180"/>
                    <a:pt x="280511" y="7180"/>
                  </a:cubicBezTo>
                  <a:cubicBezTo>
                    <a:pt x="431006" y="6228"/>
                    <a:pt x="553879" y="24325"/>
                    <a:pt x="553879" y="24325"/>
                  </a:cubicBezTo>
                  <a:close/>
                </a:path>
              </a:pathLst>
            </a:custGeom>
            <a:solidFill>
              <a:srgbClr val="F065A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55528F5D-E0F5-479B-802E-67B9BD8844A8}"/>
                </a:ext>
              </a:extLst>
            </p:cNvPr>
            <p:cNvSpPr/>
            <p:nvPr/>
          </p:nvSpPr>
          <p:spPr>
            <a:xfrm>
              <a:off x="7473760" y="4014311"/>
              <a:ext cx="104775" cy="66675"/>
            </a:xfrm>
            <a:custGeom>
              <a:avLst/>
              <a:gdLst>
                <a:gd name="connsiteX0" fmla="*/ 91948 w 104775"/>
                <a:gd name="connsiteY0" fmla="*/ 7144 h 66675"/>
                <a:gd name="connsiteX1" fmla="*/ 94806 w 104775"/>
                <a:gd name="connsiteY1" fmla="*/ 22384 h 66675"/>
                <a:gd name="connsiteX2" fmla="*/ 98615 w 104775"/>
                <a:gd name="connsiteY2" fmla="*/ 42386 h 66675"/>
                <a:gd name="connsiteX3" fmla="*/ 13843 w 104775"/>
                <a:gd name="connsiteY3" fmla="*/ 63341 h 66675"/>
                <a:gd name="connsiteX4" fmla="*/ 8128 w 104775"/>
                <a:gd name="connsiteY4" fmla="*/ 54769 h 66675"/>
                <a:gd name="connsiteX5" fmla="*/ 24321 w 104775"/>
                <a:gd name="connsiteY5" fmla="*/ 38576 h 66675"/>
                <a:gd name="connsiteX6" fmla="*/ 56706 w 104775"/>
                <a:gd name="connsiteY6" fmla="*/ 15716 h 66675"/>
                <a:gd name="connsiteX7" fmla="*/ 91948 w 104775"/>
                <a:gd name="connsiteY7" fmla="*/ 714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775" h="66675">
                  <a:moveTo>
                    <a:pt x="91948" y="7144"/>
                  </a:moveTo>
                  <a:lnTo>
                    <a:pt x="94806" y="22384"/>
                  </a:lnTo>
                  <a:lnTo>
                    <a:pt x="98615" y="42386"/>
                  </a:lnTo>
                  <a:lnTo>
                    <a:pt x="13843" y="63341"/>
                  </a:lnTo>
                  <a:cubicBezTo>
                    <a:pt x="9081" y="64294"/>
                    <a:pt x="5271" y="59531"/>
                    <a:pt x="8128" y="54769"/>
                  </a:cubicBezTo>
                  <a:cubicBezTo>
                    <a:pt x="11938" y="49054"/>
                    <a:pt x="17653" y="43339"/>
                    <a:pt x="24321" y="38576"/>
                  </a:cubicBezTo>
                  <a:cubicBezTo>
                    <a:pt x="39560" y="26194"/>
                    <a:pt x="56706" y="15716"/>
                    <a:pt x="56706" y="15716"/>
                  </a:cubicBezTo>
                  <a:lnTo>
                    <a:pt x="91948" y="714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5AFF2A1F-D0E9-4B3D-8A76-BF5A7F24EF28}"/>
                </a:ext>
              </a:extLst>
            </p:cNvPr>
            <p:cNvSpPr/>
            <p:nvPr/>
          </p:nvSpPr>
          <p:spPr>
            <a:xfrm>
              <a:off x="7318673" y="4014311"/>
              <a:ext cx="104775" cy="47625"/>
            </a:xfrm>
            <a:custGeom>
              <a:avLst/>
              <a:gdLst>
                <a:gd name="connsiteX0" fmla="*/ 101302 w 104775"/>
                <a:gd name="connsiteY0" fmla="*/ 7144 h 47625"/>
                <a:gd name="connsiteX1" fmla="*/ 100349 w 104775"/>
                <a:gd name="connsiteY1" fmla="*/ 22384 h 47625"/>
                <a:gd name="connsiteX2" fmla="*/ 99397 w 104775"/>
                <a:gd name="connsiteY2" fmla="*/ 42386 h 47625"/>
                <a:gd name="connsiteX3" fmla="*/ 12719 w 104775"/>
                <a:gd name="connsiteY3" fmla="*/ 44291 h 47625"/>
                <a:gd name="connsiteX4" fmla="*/ 8909 w 104775"/>
                <a:gd name="connsiteY4" fmla="*/ 34766 h 47625"/>
                <a:gd name="connsiteX5" fmla="*/ 27959 w 104775"/>
                <a:gd name="connsiteY5" fmla="*/ 22384 h 47625"/>
                <a:gd name="connsiteX6" fmla="*/ 64154 w 104775"/>
                <a:gd name="connsiteY6" fmla="*/ 8096 h 47625"/>
                <a:gd name="connsiteX7" fmla="*/ 101302 w 104775"/>
                <a:gd name="connsiteY7" fmla="*/ 7144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775" h="47625">
                  <a:moveTo>
                    <a:pt x="101302" y="7144"/>
                  </a:moveTo>
                  <a:lnTo>
                    <a:pt x="100349" y="22384"/>
                  </a:lnTo>
                  <a:lnTo>
                    <a:pt x="99397" y="42386"/>
                  </a:lnTo>
                  <a:lnTo>
                    <a:pt x="12719" y="44291"/>
                  </a:lnTo>
                  <a:cubicBezTo>
                    <a:pt x="7957" y="44291"/>
                    <a:pt x="5099" y="38576"/>
                    <a:pt x="8909" y="34766"/>
                  </a:cubicBezTo>
                  <a:cubicBezTo>
                    <a:pt x="13672" y="30004"/>
                    <a:pt x="21292" y="26194"/>
                    <a:pt x="27959" y="22384"/>
                  </a:cubicBezTo>
                  <a:cubicBezTo>
                    <a:pt x="45104" y="13811"/>
                    <a:pt x="64154" y="8096"/>
                    <a:pt x="64154" y="8096"/>
                  </a:cubicBezTo>
                  <a:lnTo>
                    <a:pt x="101302" y="714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391CD263-5678-4A4D-B088-44050AF555C6}"/>
                </a:ext>
              </a:extLst>
            </p:cNvPr>
            <p:cNvSpPr/>
            <p:nvPr/>
          </p:nvSpPr>
          <p:spPr>
            <a:xfrm>
              <a:off x="7343299" y="3460908"/>
              <a:ext cx="238125" cy="571500"/>
            </a:xfrm>
            <a:custGeom>
              <a:avLst/>
              <a:gdLst>
                <a:gd name="connsiteX0" fmla="*/ 236696 w 238125"/>
                <a:gd name="connsiteY0" fmla="*/ 37624 h 571500"/>
                <a:gd name="connsiteX1" fmla="*/ 196691 w 238125"/>
                <a:gd name="connsiteY1" fmla="*/ 289084 h 571500"/>
                <a:gd name="connsiteX2" fmla="*/ 226219 w 238125"/>
                <a:gd name="connsiteY2" fmla="*/ 566261 h 571500"/>
                <a:gd name="connsiteX3" fmla="*/ 179546 w 238125"/>
                <a:gd name="connsiteY3" fmla="*/ 571024 h 571500"/>
                <a:gd name="connsiteX4" fmla="*/ 117634 w 238125"/>
                <a:gd name="connsiteY4" fmla="*/ 346234 h 571500"/>
                <a:gd name="connsiteX5" fmla="*/ 117634 w 238125"/>
                <a:gd name="connsiteY5" fmla="*/ 179546 h 571500"/>
                <a:gd name="connsiteX6" fmla="*/ 76676 w 238125"/>
                <a:gd name="connsiteY6" fmla="*/ 314801 h 571500"/>
                <a:gd name="connsiteX7" fmla="*/ 81439 w 238125"/>
                <a:gd name="connsiteY7" fmla="*/ 561499 h 571500"/>
                <a:gd name="connsiteX8" fmla="*/ 34766 w 238125"/>
                <a:gd name="connsiteY8" fmla="*/ 561499 h 571500"/>
                <a:gd name="connsiteX9" fmla="*/ 7144 w 238125"/>
                <a:gd name="connsiteY9" fmla="*/ 290989 h 571500"/>
                <a:gd name="connsiteX10" fmla="*/ 68104 w 238125"/>
                <a:gd name="connsiteY10" fmla="*/ 7144 h 571500"/>
                <a:gd name="connsiteX11" fmla="*/ 236696 w 238125"/>
                <a:gd name="connsiteY11" fmla="*/ 37624 h 571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8125" h="571500">
                  <a:moveTo>
                    <a:pt x="236696" y="37624"/>
                  </a:moveTo>
                  <a:cubicBezTo>
                    <a:pt x="236696" y="37624"/>
                    <a:pt x="226219" y="170974"/>
                    <a:pt x="196691" y="289084"/>
                  </a:cubicBezTo>
                  <a:lnTo>
                    <a:pt x="226219" y="566261"/>
                  </a:lnTo>
                  <a:lnTo>
                    <a:pt x="179546" y="571024"/>
                  </a:lnTo>
                  <a:cubicBezTo>
                    <a:pt x="179546" y="571024"/>
                    <a:pt x="130969" y="389096"/>
                    <a:pt x="117634" y="346234"/>
                  </a:cubicBezTo>
                  <a:cubicBezTo>
                    <a:pt x="102394" y="298609"/>
                    <a:pt x="117634" y="179546"/>
                    <a:pt x="117634" y="179546"/>
                  </a:cubicBezTo>
                  <a:cubicBezTo>
                    <a:pt x="117634" y="179546"/>
                    <a:pt x="76676" y="270986"/>
                    <a:pt x="76676" y="314801"/>
                  </a:cubicBezTo>
                  <a:cubicBezTo>
                    <a:pt x="76676" y="358616"/>
                    <a:pt x="81439" y="561499"/>
                    <a:pt x="81439" y="561499"/>
                  </a:cubicBezTo>
                  <a:cubicBezTo>
                    <a:pt x="81439" y="561499"/>
                    <a:pt x="50006" y="570071"/>
                    <a:pt x="34766" y="561499"/>
                  </a:cubicBezTo>
                  <a:cubicBezTo>
                    <a:pt x="19526" y="552926"/>
                    <a:pt x="7144" y="290989"/>
                    <a:pt x="7144" y="290989"/>
                  </a:cubicBezTo>
                  <a:lnTo>
                    <a:pt x="68104" y="7144"/>
                  </a:lnTo>
                  <a:cubicBezTo>
                    <a:pt x="67151" y="7144"/>
                    <a:pt x="148114" y="29051"/>
                    <a:pt x="236696" y="37624"/>
                  </a:cubicBezTo>
                  <a:close/>
                </a:path>
              </a:pathLst>
            </a:custGeom>
            <a:solidFill>
              <a:srgbClr val="0E0E1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5F7AA807-BC31-4549-9CEB-E301CC8E2792}"/>
                </a:ext>
              </a:extLst>
            </p:cNvPr>
            <p:cNvSpPr/>
            <p:nvPr/>
          </p:nvSpPr>
          <p:spPr>
            <a:xfrm>
              <a:off x="7383304" y="3153241"/>
              <a:ext cx="228600" cy="371475"/>
            </a:xfrm>
            <a:custGeom>
              <a:avLst/>
              <a:gdLst>
                <a:gd name="connsiteX0" fmla="*/ 218599 w 228600"/>
                <a:gd name="connsiteY0" fmla="*/ 354816 h 371475"/>
                <a:gd name="connsiteX1" fmla="*/ 217646 w 228600"/>
                <a:gd name="connsiteY1" fmla="*/ 97641 h 371475"/>
                <a:gd name="connsiteX2" fmla="*/ 135731 w 228600"/>
                <a:gd name="connsiteY2" fmla="*/ 7153 h 371475"/>
                <a:gd name="connsiteX3" fmla="*/ 83344 w 228600"/>
                <a:gd name="connsiteY3" fmla="*/ 19536 h 371475"/>
                <a:gd name="connsiteX4" fmla="*/ 41434 w 228600"/>
                <a:gd name="connsiteY4" fmla="*/ 161458 h 371475"/>
                <a:gd name="connsiteX5" fmla="*/ 7144 w 228600"/>
                <a:gd name="connsiteY5" fmla="*/ 325288 h 371475"/>
                <a:gd name="connsiteX6" fmla="*/ 218599 w 228600"/>
                <a:gd name="connsiteY6" fmla="*/ 354816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8600" h="371475">
                  <a:moveTo>
                    <a:pt x="218599" y="354816"/>
                  </a:moveTo>
                  <a:cubicBezTo>
                    <a:pt x="221456" y="327193"/>
                    <a:pt x="230029" y="139551"/>
                    <a:pt x="217646" y="97641"/>
                  </a:cubicBezTo>
                  <a:cubicBezTo>
                    <a:pt x="191929" y="4296"/>
                    <a:pt x="135731" y="7153"/>
                    <a:pt x="135731" y="7153"/>
                  </a:cubicBezTo>
                  <a:cubicBezTo>
                    <a:pt x="118586" y="47158"/>
                    <a:pt x="83344" y="19536"/>
                    <a:pt x="83344" y="19536"/>
                  </a:cubicBezTo>
                  <a:cubicBezTo>
                    <a:pt x="83344" y="19536"/>
                    <a:pt x="20479" y="57636"/>
                    <a:pt x="41434" y="161458"/>
                  </a:cubicBezTo>
                  <a:cubicBezTo>
                    <a:pt x="54769" y="228133"/>
                    <a:pt x="28099" y="290046"/>
                    <a:pt x="7144" y="325288"/>
                  </a:cubicBezTo>
                  <a:cubicBezTo>
                    <a:pt x="68104" y="368151"/>
                    <a:pt x="148114" y="378628"/>
                    <a:pt x="218599" y="354816"/>
                  </a:cubicBezTo>
                  <a:close/>
                </a:path>
              </a:pathLst>
            </a:custGeom>
            <a:solidFill>
              <a:srgbClr val="5202B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26F99D87-4B70-4CC3-909D-6BBFA41CC955}"/>
                </a:ext>
              </a:extLst>
            </p:cNvPr>
            <p:cNvSpPr/>
            <p:nvPr/>
          </p:nvSpPr>
          <p:spPr>
            <a:xfrm>
              <a:off x="7432834" y="3139608"/>
              <a:ext cx="104775" cy="104775"/>
            </a:xfrm>
            <a:custGeom>
              <a:avLst/>
              <a:gdLst>
                <a:gd name="connsiteX0" fmla="*/ 30004 w 104775"/>
                <a:gd name="connsiteY0" fmla="*/ 36979 h 104775"/>
                <a:gd name="connsiteX1" fmla="*/ 7144 w 104775"/>
                <a:gd name="connsiteY1" fmla="*/ 62696 h 104775"/>
                <a:gd name="connsiteX2" fmla="*/ 22384 w 104775"/>
                <a:gd name="connsiteY2" fmla="*/ 93176 h 104775"/>
                <a:gd name="connsiteX3" fmla="*/ 44291 w 104775"/>
                <a:gd name="connsiteY3" fmla="*/ 67459 h 104775"/>
                <a:gd name="connsiteX4" fmla="*/ 65246 w 104775"/>
                <a:gd name="connsiteY4" fmla="*/ 97939 h 104775"/>
                <a:gd name="connsiteX5" fmla="*/ 89059 w 104775"/>
                <a:gd name="connsiteY5" fmla="*/ 16024 h 104775"/>
                <a:gd name="connsiteX6" fmla="*/ 30004 w 104775"/>
                <a:gd name="connsiteY6" fmla="*/ 3697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775" h="104775">
                  <a:moveTo>
                    <a:pt x="30004" y="36979"/>
                  </a:moveTo>
                  <a:cubicBezTo>
                    <a:pt x="30004" y="36979"/>
                    <a:pt x="7144" y="50314"/>
                    <a:pt x="7144" y="62696"/>
                  </a:cubicBezTo>
                  <a:cubicBezTo>
                    <a:pt x="7144" y="75079"/>
                    <a:pt x="22384" y="93176"/>
                    <a:pt x="22384" y="93176"/>
                  </a:cubicBezTo>
                  <a:lnTo>
                    <a:pt x="44291" y="67459"/>
                  </a:lnTo>
                  <a:lnTo>
                    <a:pt x="65246" y="97939"/>
                  </a:lnTo>
                  <a:cubicBezTo>
                    <a:pt x="65246" y="97939"/>
                    <a:pt x="133826" y="45551"/>
                    <a:pt x="89059" y="16024"/>
                  </a:cubicBezTo>
                  <a:cubicBezTo>
                    <a:pt x="44291" y="-12551"/>
                    <a:pt x="30004" y="36979"/>
                    <a:pt x="30004" y="3697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E64C7184-4F2A-49A7-9DEF-F768F501D430}"/>
                </a:ext>
              </a:extLst>
            </p:cNvPr>
            <p:cNvSpPr/>
            <p:nvPr/>
          </p:nvSpPr>
          <p:spPr>
            <a:xfrm>
              <a:off x="7411993" y="3023207"/>
              <a:ext cx="114300" cy="142875"/>
            </a:xfrm>
            <a:custGeom>
              <a:avLst/>
              <a:gdLst>
                <a:gd name="connsiteX0" fmla="*/ 9887 w 114300"/>
                <a:gd name="connsiteY0" fmla="*/ 46700 h 142875"/>
                <a:gd name="connsiteX1" fmla="*/ 44177 w 114300"/>
                <a:gd name="connsiteY1" fmla="*/ 139093 h 142875"/>
                <a:gd name="connsiteX2" fmla="*/ 110852 w 114300"/>
                <a:gd name="connsiteY2" fmla="*/ 79085 h 142875"/>
                <a:gd name="connsiteX3" fmla="*/ 60369 w 114300"/>
                <a:gd name="connsiteY3" fmla="*/ 7648 h 142875"/>
                <a:gd name="connsiteX4" fmla="*/ 9887 w 114300"/>
                <a:gd name="connsiteY4" fmla="*/ 46700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0" h="142875">
                  <a:moveTo>
                    <a:pt x="9887" y="46700"/>
                  </a:moveTo>
                  <a:cubicBezTo>
                    <a:pt x="9887" y="46700"/>
                    <a:pt x="-7258" y="140045"/>
                    <a:pt x="44177" y="139093"/>
                  </a:cubicBezTo>
                  <a:cubicBezTo>
                    <a:pt x="95612" y="138140"/>
                    <a:pt x="114662" y="100993"/>
                    <a:pt x="110852" y="79085"/>
                  </a:cubicBezTo>
                  <a:cubicBezTo>
                    <a:pt x="107042" y="57178"/>
                    <a:pt x="104184" y="13363"/>
                    <a:pt x="60369" y="7648"/>
                  </a:cubicBezTo>
                  <a:cubicBezTo>
                    <a:pt x="16554" y="1933"/>
                    <a:pt x="9887" y="46700"/>
                    <a:pt x="9887" y="46700"/>
                  </a:cubicBez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FE8A6270-741A-4F28-B7E9-695A6C3510E0}"/>
                </a:ext>
              </a:extLst>
            </p:cNvPr>
            <p:cNvSpPr/>
            <p:nvPr/>
          </p:nvSpPr>
          <p:spPr>
            <a:xfrm>
              <a:off x="7417289" y="2985611"/>
              <a:ext cx="152400" cy="133350"/>
            </a:xfrm>
            <a:custGeom>
              <a:avLst/>
              <a:gdLst>
                <a:gd name="connsiteX0" fmla="*/ 150323 w 152400"/>
                <a:gd name="connsiteY0" fmla="*/ 63341 h 133350"/>
                <a:gd name="connsiteX1" fmla="*/ 134130 w 152400"/>
                <a:gd name="connsiteY1" fmla="*/ 48101 h 133350"/>
                <a:gd name="connsiteX2" fmla="*/ 134130 w 152400"/>
                <a:gd name="connsiteY2" fmla="*/ 48101 h 133350"/>
                <a:gd name="connsiteX3" fmla="*/ 132226 w 152400"/>
                <a:gd name="connsiteY3" fmla="*/ 35719 h 133350"/>
                <a:gd name="connsiteX4" fmla="*/ 124605 w 152400"/>
                <a:gd name="connsiteY4" fmla="*/ 24289 h 133350"/>
                <a:gd name="connsiteX5" fmla="*/ 124605 w 152400"/>
                <a:gd name="connsiteY5" fmla="*/ 40481 h 133350"/>
                <a:gd name="connsiteX6" fmla="*/ 116033 w 152400"/>
                <a:gd name="connsiteY6" fmla="*/ 26194 h 133350"/>
                <a:gd name="connsiteX7" fmla="*/ 106508 w 152400"/>
                <a:gd name="connsiteY7" fmla="*/ 19526 h 133350"/>
                <a:gd name="connsiteX8" fmla="*/ 54121 w 152400"/>
                <a:gd name="connsiteY8" fmla="*/ 10954 h 133350"/>
                <a:gd name="connsiteX9" fmla="*/ 41738 w 152400"/>
                <a:gd name="connsiteY9" fmla="*/ 11906 h 133350"/>
                <a:gd name="connsiteX10" fmla="*/ 30308 w 152400"/>
                <a:gd name="connsiteY10" fmla="*/ 7144 h 133350"/>
                <a:gd name="connsiteX11" fmla="*/ 39833 w 152400"/>
                <a:gd name="connsiteY11" fmla="*/ 22384 h 133350"/>
                <a:gd name="connsiteX12" fmla="*/ 7448 w 152400"/>
                <a:gd name="connsiteY12" fmla="*/ 71914 h 133350"/>
                <a:gd name="connsiteX13" fmla="*/ 33166 w 152400"/>
                <a:gd name="connsiteY13" fmla="*/ 73819 h 133350"/>
                <a:gd name="connsiteX14" fmla="*/ 95078 w 152400"/>
                <a:gd name="connsiteY14" fmla="*/ 124301 h 133350"/>
                <a:gd name="connsiteX15" fmla="*/ 116986 w 152400"/>
                <a:gd name="connsiteY15" fmla="*/ 120491 h 133350"/>
                <a:gd name="connsiteX16" fmla="*/ 124605 w 152400"/>
                <a:gd name="connsiteY16" fmla="*/ 131921 h 133350"/>
                <a:gd name="connsiteX17" fmla="*/ 142703 w 152400"/>
                <a:gd name="connsiteY17" fmla="*/ 69056 h 133350"/>
                <a:gd name="connsiteX18" fmla="*/ 154133 w 152400"/>
                <a:gd name="connsiteY18" fmla="*/ 70009 h 133350"/>
                <a:gd name="connsiteX19" fmla="*/ 150323 w 152400"/>
                <a:gd name="connsiteY19" fmla="*/ 63341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2400" h="133350">
                  <a:moveTo>
                    <a:pt x="150323" y="63341"/>
                  </a:moveTo>
                  <a:cubicBezTo>
                    <a:pt x="146513" y="56674"/>
                    <a:pt x="140798" y="51911"/>
                    <a:pt x="134130" y="48101"/>
                  </a:cubicBezTo>
                  <a:cubicBezTo>
                    <a:pt x="134130" y="48101"/>
                    <a:pt x="134130" y="48101"/>
                    <a:pt x="134130" y="48101"/>
                  </a:cubicBezTo>
                  <a:cubicBezTo>
                    <a:pt x="134130" y="44291"/>
                    <a:pt x="133178" y="39529"/>
                    <a:pt x="132226" y="35719"/>
                  </a:cubicBezTo>
                  <a:cubicBezTo>
                    <a:pt x="130321" y="31909"/>
                    <a:pt x="127463" y="28099"/>
                    <a:pt x="124605" y="24289"/>
                  </a:cubicBezTo>
                  <a:cubicBezTo>
                    <a:pt x="125558" y="29051"/>
                    <a:pt x="125558" y="35719"/>
                    <a:pt x="124605" y="40481"/>
                  </a:cubicBezTo>
                  <a:cubicBezTo>
                    <a:pt x="122701" y="35719"/>
                    <a:pt x="119843" y="30004"/>
                    <a:pt x="116033" y="26194"/>
                  </a:cubicBezTo>
                  <a:cubicBezTo>
                    <a:pt x="113176" y="23336"/>
                    <a:pt x="109366" y="21431"/>
                    <a:pt x="106508" y="19526"/>
                  </a:cubicBezTo>
                  <a:cubicBezTo>
                    <a:pt x="90316" y="11906"/>
                    <a:pt x="72218" y="9049"/>
                    <a:pt x="54121" y="10954"/>
                  </a:cubicBezTo>
                  <a:cubicBezTo>
                    <a:pt x="50311" y="10954"/>
                    <a:pt x="45548" y="11906"/>
                    <a:pt x="41738" y="11906"/>
                  </a:cubicBezTo>
                  <a:cubicBezTo>
                    <a:pt x="37928" y="11906"/>
                    <a:pt x="33166" y="10001"/>
                    <a:pt x="30308" y="7144"/>
                  </a:cubicBezTo>
                  <a:cubicBezTo>
                    <a:pt x="32213" y="12859"/>
                    <a:pt x="36023" y="18574"/>
                    <a:pt x="39833" y="22384"/>
                  </a:cubicBezTo>
                  <a:cubicBezTo>
                    <a:pt x="1733" y="35719"/>
                    <a:pt x="7448" y="71914"/>
                    <a:pt x="7448" y="71914"/>
                  </a:cubicBezTo>
                  <a:cubicBezTo>
                    <a:pt x="19830" y="67151"/>
                    <a:pt x="33166" y="73819"/>
                    <a:pt x="33166" y="73819"/>
                  </a:cubicBezTo>
                  <a:cubicBezTo>
                    <a:pt x="32213" y="108109"/>
                    <a:pt x="95078" y="124301"/>
                    <a:pt x="95078" y="124301"/>
                  </a:cubicBezTo>
                  <a:cubicBezTo>
                    <a:pt x="104603" y="115729"/>
                    <a:pt x="116986" y="120491"/>
                    <a:pt x="116986" y="120491"/>
                  </a:cubicBezTo>
                  <a:cubicBezTo>
                    <a:pt x="124605" y="125254"/>
                    <a:pt x="124605" y="131921"/>
                    <a:pt x="124605" y="131921"/>
                  </a:cubicBezTo>
                  <a:cubicBezTo>
                    <a:pt x="138893" y="121444"/>
                    <a:pt x="142703" y="69056"/>
                    <a:pt x="142703" y="69056"/>
                  </a:cubicBezTo>
                  <a:cubicBezTo>
                    <a:pt x="146513" y="68104"/>
                    <a:pt x="150323" y="68104"/>
                    <a:pt x="154133" y="70009"/>
                  </a:cubicBezTo>
                  <a:cubicBezTo>
                    <a:pt x="152228" y="68104"/>
                    <a:pt x="151276" y="65246"/>
                    <a:pt x="150323" y="63341"/>
                  </a:cubicBezTo>
                  <a:close/>
                </a:path>
              </a:pathLst>
            </a:custGeom>
            <a:solidFill>
              <a:srgbClr val="0E0E1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01F547ED-B499-4F5C-87CC-F7997B527778}"/>
                </a:ext>
              </a:extLst>
            </p:cNvPr>
            <p:cNvSpPr/>
            <p:nvPr/>
          </p:nvSpPr>
          <p:spPr>
            <a:xfrm>
              <a:off x="7501311" y="3096950"/>
              <a:ext cx="47625" cy="47625"/>
            </a:xfrm>
            <a:custGeom>
              <a:avLst/>
              <a:gdLst>
                <a:gd name="connsiteX0" fmla="*/ 7247 w 47625"/>
                <a:gd name="connsiteY0" fmla="*/ 26297 h 47625"/>
                <a:gd name="connsiteX1" fmla="*/ 26297 w 47625"/>
                <a:gd name="connsiteY1" fmla="*/ 40584 h 47625"/>
                <a:gd name="connsiteX2" fmla="*/ 40584 w 47625"/>
                <a:gd name="connsiteY2" fmla="*/ 21534 h 47625"/>
                <a:gd name="connsiteX3" fmla="*/ 21534 w 47625"/>
                <a:gd name="connsiteY3" fmla="*/ 7247 h 47625"/>
                <a:gd name="connsiteX4" fmla="*/ 7247 w 47625"/>
                <a:gd name="connsiteY4" fmla="*/ 26297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25" h="47625">
                  <a:moveTo>
                    <a:pt x="7247" y="26297"/>
                  </a:moveTo>
                  <a:cubicBezTo>
                    <a:pt x="9152" y="35822"/>
                    <a:pt x="17724" y="41537"/>
                    <a:pt x="26297" y="40584"/>
                  </a:cubicBezTo>
                  <a:cubicBezTo>
                    <a:pt x="35822" y="38679"/>
                    <a:pt x="41537" y="30107"/>
                    <a:pt x="40584" y="21534"/>
                  </a:cubicBezTo>
                  <a:cubicBezTo>
                    <a:pt x="38680" y="12009"/>
                    <a:pt x="30107" y="6294"/>
                    <a:pt x="21534" y="7247"/>
                  </a:cubicBezTo>
                  <a:cubicBezTo>
                    <a:pt x="12009" y="8199"/>
                    <a:pt x="6295" y="16772"/>
                    <a:pt x="7247" y="26297"/>
                  </a:cubicBez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DE27DB3D-170C-498C-9261-F3FBA565A6DE}"/>
                </a:ext>
              </a:extLst>
            </p:cNvPr>
            <p:cNvSpPr/>
            <p:nvPr/>
          </p:nvSpPr>
          <p:spPr>
            <a:xfrm>
              <a:off x="7456646" y="3110388"/>
              <a:ext cx="66675" cy="85725"/>
            </a:xfrm>
            <a:custGeom>
              <a:avLst/>
              <a:gdLst>
                <a:gd name="connsiteX0" fmla="*/ 62389 w 66675"/>
                <a:gd name="connsiteY0" fmla="*/ 7144 h 85725"/>
                <a:gd name="connsiteX1" fmla="*/ 64294 w 66675"/>
                <a:gd name="connsiteY1" fmla="*/ 19526 h 85725"/>
                <a:gd name="connsiteX2" fmla="*/ 65246 w 66675"/>
                <a:gd name="connsiteY2" fmla="*/ 25241 h 85725"/>
                <a:gd name="connsiteX3" fmla="*/ 66199 w 66675"/>
                <a:gd name="connsiteY3" fmla="*/ 45244 h 85725"/>
                <a:gd name="connsiteX4" fmla="*/ 60484 w 66675"/>
                <a:gd name="connsiteY4" fmla="*/ 72866 h 85725"/>
                <a:gd name="connsiteX5" fmla="*/ 10001 w 66675"/>
                <a:gd name="connsiteY5" fmla="*/ 81439 h 85725"/>
                <a:gd name="connsiteX6" fmla="*/ 7144 w 66675"/>
                <a:gd name="connsiteY6" fmla="*/ 66199 h 85725"/>
                <a:gd name="connsiteX7" fmla="*/ 7144 w 66675"/>
                <a:gd name="connsiteY7" fmla="*/ 50959 h 85725"/>
                <a:gd name="connsiteX8" fmla="*/ 7144 w 66675"/>
                <a:gd name="connsiteY8" fmla="*/ 50959 h 85725"/>
                <a:gd name="connsiteX9" fmla="*/ 8096 w 66675"/>
                <a:gd name="connsiteY9" fmla="*/ 19526 h 85725"/>
                <a:gd name="connsiteX10" fmla="*/ 62389 w 66675"/>
                <a:gd name="connsiteY10" fmla="*/ 7144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75" h="85725">
                  <a:moveTo>
                    <a:pt x="62389" y="7144"/>
                  </a:moveTo>
                  <a:lnTo>
                    <a:pt x="64294" y="19526"/>
                  </a:lnTo>
                  <a:cubicBezTo>
                    <a:pt x="64294" y="19526"/>
                    <a:pt x="64294" y="21431"/>
                    <a:pt x="65246" y="25241"/>
                  </a:cubicBezTo>
                  <a:cubicBezTo>
                    <a:pt x="65246" y="30004"/>
                    <a:pt x="66199" y="37624"/>
                    <a:pt x="66199" y="45244"/>
                  </a:cubicBezTo>
                  <a:cubicBezTo>
                    <a:pt x="66199" y="56674"/>
                    <a:pt x="65246" y="69056"/>
                    <a:pt x="60484" y="72866"/>
                  </a:cubicBezTo>
                  <a:cubicBezTo>
                    <a:pt x="50959" y="81439"/>
                    <a:pt x="14764" y="83344"/>
                    <a:pt x="10001" y="81439"/>
                  </a:cubicBezTo>
                  <a:cubicBezTo>
                    <a:pt x="8096" y="80486"/>
                    <a:pt x="7144" y="73819"/>
                    <a:pt x="7144" y="66199"/>
                  </a:cubicBezTo>
                  <a:cubicBezTo>
                    <a:pt x="7144" y="61436"/>
                    <a:pt x="7144" y="56674"/>
                    <a:pt x="7144" y="50959"/>
                  </a:cubicBezTo>
                  <a:cubicBezTo>
                    <a:pt x="7144" y="50959"/>
                    <a:pt x="7144" y="50959"/>
                    <a:pt x="7144" y="50959"/>
                  </a:cubicBezTo>
                  <a:cubicBezTo>
                    <a:pt x="7144" y="35719"/>
                    <a:pt x="8096" y="19526"/>
                    <a:pt x="8096" y="19526"/>
                  </a:cubicBezTo>
                  <a:lnTo>
                    <a:pt x="62389" y="7144"/>
                  </a:ln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BA5FA5CD-7EE3-4ED9-AF6A-4C810E9DAFC0}"/>
                </a:ext>
              </a:extLst>
            </p:cNvPr>
            <p:cNvSpPr/>
            <p:nvPr/>
          </p:nvSpPr>
          <p:spPr>
            <a:xfrm>
              <a:off x="7456646" y="3129438"/>
              <a:ext cx="66675" cy="47625"/>
            </a:xfrm>
            <a:custGeom>
              <a:avLst/>
              <a:gdLst>
                <a:gd name="connsiteX0" fmla="*/ 65246 w 66675"/>
                <a:gd name="connsiteY0" fmla="*/ 7144 h 47625"/>
                <a:gd name="connsiteX1" fmla="*/ 66199 w 66675"/>
                <a:gd name="connsiteY1" fmla="*/ 27146 h 47625"/>
                <a:gd name="connsiteX2" fmla="*/ 7144 w 66675"/>
                <a:gd name="connsiteY2" fmla="*/ 47149 h 47625"/>
                <a:gd name="connsiteX3" fmla="*/ 7144 w 66675"/>
                <a:gd name="connsiteY3" fmla="*/ 31909 h 47625"/>
                <a:gd name="connsiteX4" fmla="*/ 7144 w 66675"/>
                <a:gd name="connsiteY4" fmla="*/ 31909 h 47625"/>
                <a:gd name="connsiteX5" fmla="*/ 65246 w 66675"/>
                <a:gd name="connsiteY5" fmla="*/ 7144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675" h="47625">
                  <a:moveTo>
                    <a:pt x="65246" y="7144"/>
                  </a:moveTo>
                  <a:cubicBezTo>
                    <a:pt x="65246" y="11906"/>
                    <a:pt x="66199" y="19526"/>
                    <a:pt x="66199" y="27146"/>
                  </a:cubicBezTo>
                  <a:cubicBezTo>
                    <a:pt x="51911" y="33814"/>
                    <a:pt x="23336" y="46196"/>
                    <a:pt x="7144" y="47149"/>
                  </a:cubicBezTo>
                  <a:cubicBezTo>
                    <a:pt x="7144" y="42386"/>
                    <a:pt x="7144" y="37624"/>
                    <a:pt x="7144" y="31909"/>
                  </a:cubicBezTo>
                  <a:cubicBezTo>
                    <a:pt x="7144" y="31909"/>
                    <a:pt x="7144" y="31909"/>
                    <a:pt x="7144" y="31909"/>
                  </a:cubicBezTo>
                  <a:cubicBezTo>
                    <a:pt x="7144" y="31909"/>
                    <a:pt x="58579" y="21431"/>
                    <a:pt x="65246" y="7144"/>
                  </a:cubicBezTo>
                  <a:close/>
                </a:path>
              </a:pathLst>
            </a:custGeom>
            <a:solidFill>
              <a:srgbClr val="EBE0B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089C2269-D97E-4711-A58B-8B459C8FFA37}"/>
                </a:ext>
              </a:extLst>
            </p:cNvPr>
            <p:cNvSpPr/>
            <p:nvPr/>
          </p:nvSpPr>
          <p:spPr>
            <a:xfrm>
              <a:off x="7455694" y="2746533"/>
              <a:ext cx="238125" cy="228600"/>
            </a:xfrm>
            <a:custGeom>
              <a:avLst/>
              <a:gdLst>
                <a:gd name="connsiteX0" fmla="*/ 216694 w 238125"/>
                <a:gd name="connsiteY0" fmla="*/ 7144 h 228600"/>
                <a:gd name="connsiteX1" fmla="*/ 26194 w 238125"/>
                <a:gd name="connsiteY1" fmla="*/ 7144 h 228600"/>
                <a:gd name="connsiteX2" fmla="*/ 7144 w 238125"/>
                <a:gd name="connsiteY2" fmla="*/ 26194 h 228600"/>
                <a:gd name="connsiteX3" fmla="*/ 7144 w 238125"/>
                <a:gd name="connsiteY3" fmla="*/ 162401 h 228600"/>
                <a:gd name="connsiteX4" fmla="*/ 26194 w 238125"/>
                <a:gd name="connsiteY4" fmla="*/ 181451 h 228600"/>
                <a:gd name="connsiteX5" fmla="*/ 36671 w 238125"/>
                <a:gd name="connsiteY5" fmla="*/ 181451 h 228600"/>
                <a:gd name="connsiteX6" fmla="*/ 36671 w 238125"/>
                <a:gd name="connsiteY6" fmla="*/ 228124 h 228600"/>
                <a:gd name="connsiteX7" fmla="*/ 83344 w 238125"/>
                <a:gd name="connsiteY7" fmla="*/ 181451 h 228600"/>
                <a:gd name="connsiteX8" fmla="*/ 216694 w 238125"/>
                <a:gd name="connsiteY8" fmla="*/ 181451 h 228600"/>
                <a:gd name="connsiteX9" fmla="*/ 235744 w 238125"/>
                <a:gd name="connsiteY9" fmla="*/ 162401 h 228600"/>
                <a:gd name="connsiteX10" fmla="*/ 235744 w 238125"/>
                <a:gd name="connsiteY10" fmla="*/ 25241 h 228600"/>
                <a:gd name="connsiteX11" fmla="*/ 216694 w 238125"/>
                <a:gd name="connsiteY11" fmla="*/ 7144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8125" h="228600">
                  <a:moveTo>
                    <a:pt x="216694" y="7144"/>
                  </a:moveTo>
                  <a:lnTo>
                    <a:pt x="26194" y="7144"/>
                  </a:lnTo>
                  <a:cubicBezTo>
                    <a:pt x="15716" y="7144"/>
                    <a:pt x="7144" y="15716"/>
                    <a:pt x="7144" y="26194"/>
                  </a:cubicBezTo>
                  <a:lnTo>
                    <a:pt x="7144" y="162401"/>
                  </a:lnTo>
                  <a:cubicBezTo>
                    <a:pt x="7144" y="172879"/>
                    <a:pt x="15716" y="181451"/>
                    <a:pt x="26194" y="181451"/>
                  </a:cubicBezTo>
                  <a:lnTo>
                    <a:pt x="36671" y="181451"/>
                  </a:lnTo>
                  <a:lnTo>
                    <a:pt x="36671" y="228124"/>
                  </a:lnTo>
                  <a:lnTo>
                    <a:pt x="83344" y="181451"/>
                  </a:lnTo>
                  <a:lnTo>
                    <a:pt x="216694" y="181451"/>
                  </a:lnTo>
                  <a:cubicBezTo>
                    <a:pt x="227171" y="181451"/>
                    <a:pt x="235744" y="172879"/>
                    <a:pt x="235744" y="162401"/>
                  </a:cubicBezTo>
                  <a:lnTo>
                    <a:pt x="235744" y="25241"/>
                  </a:lnTo>
                  <a:cubicBezTo>
                    <a:pt x="235744" y="14764"/>
                    <a:pt x="227171" y="7144"/>
                    <a:pt x="216694" y="7144"/>
                  </a:cubicBezTo>
                  <a:close/>
                </a:path>
              </a:pathLst>
            </a:custGeom>
            <a:solidFill>
              <a:srgbClr val="00BEB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35FE4D9D-D814-4914-A616-844C64FBA810}"/>
                </a:ext>
              </a:extLst>
            </p:cNvPr>
            <p:cNvSpPr/>
            <p:nvPr/>
          </p:nvSpPr>
          <p:spPr>
            <a:xfrm>
              <a:off x="7482364" y="2773203"/>
              <a:ext cx="180975" cy="28575"/>
            </a:xfrm>
            <a:custGeom>
              <a:avLst/>
              <a:gdLst>
                <a:gd name="connsiteX0" fmla="*/ 7144 w 180975"/>
                <a:gd name="connsiteY0" fmla="*/ 7144 h 28575"/>
                <a:gd name="connsiteX1" fmla="*/ 182404 w 180975"/>
                <a:gd name="connsiteY1" fmla="*/ 7144 h 28575"/>
                <a:gd name="connsiteX2" fmla="*/ 182404 w 180975"/>
                <a:gd name="connsiteY2" fmla="*/ 22384 h 28575"/>
                <a:gd name="connsiteX3" fmla="*/ 7144 w 180975"/>
                <a:gd name="connsiteY3" fmla="*/ 2238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975" h="28575">
                  <a:moveTo>
                    <a:pt x="7144" y="7144"/>
                  </a:moveTo>
                  <a:lnTo>
                    <a:pt x="182404" y="7144"/>
                  </a:lnTo>
                  <a:lnTo>
                    <a:pt x="182404" y="22384"/>
                  </a:lnTo>
                  <a:lnTo>
                    <a:pt x="7144" y="2238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DEC74F83-D2FD-41E2-A47D-795D8B1F2A44}"/>
                </a:ext>
              </a:extLst>
            </p:cNvPr>
            <p:cNvSpPr/>
            <p:nvPr/>
          </p:nvSpPr>
          <p:spPr>
            <a:xfrm>
              <a:off x="7482364" y="2807493"/>
              <a:ext cx="180975" cy="28575"/>
            </a:xfrm>
            <a:custGeom>
              <a:avLst/>
              <a:gdLst>
                <a:gd name="connsiteX0" fmla="*/ 7144 w 180975"/>
                <a:gd name="connsiteY0" fmla="*/ 7144 h 28575"/>
                <a:gd name="connsiteX1" fmla="*/ 182404 w 180975"/>
                <a:gd name="connsiteY1" fmla="*/ 7144 h 28575"/>
                <a:gd name="connsiteX2" fmla="*/ 182404 w 180975"/>
                <a:gd name="connsiteY2" fmla="*/ 22384 h 28575"/>
                <a:gd name="connsiteX3" fmla="*/ 7144 w 180975"/>
                <a:gd name="connsiteY3" fmla="*/ 2238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975" h="28575">
                  <a:moveTo>
                    <a:pt x="7144" y="7144"/>
                  </a:moveTo>
                  <a:lnTo>
                    <a:pt x="182404" y="7144"/>
                  </a:lnTo>
                  <a:lnTo>
                    <a:pt x="182404" y="22384"/>
                  </a:lnTo>
                  <a:lnTo>
                    <a:pt x="7144" y="2238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D8449592-AA60-4B4D-863A-ED34D40C07E9}"/>
                </a:ext>
              </a:extLst>
            </p:cNvPr>
            <p:cNvSpPr/>
            <p:nvPr/>
          </p:nvSpPr>
          <p:spPr>
            <a:xfrm>
              <a:off x="7482364" y="2842736"/>
              <a:ext cx="180975" cy="28575"/>
            </a:xfrm>
            <a:custGeom>
              <a:avLst/>
              <a:gdLst>
                <a:gd name="connsiteX0" fmla="*/ 7144 w 180975"/>
                <a:gd name="connsiteY0" fmla="*/ 7144 h 28575"/>
                <a:gd name="connsiteX1" fmla="*/ 182404 w 180975"/>
                <a:gd name="connsiteY1" fmla="*/ 7144 h 28575"/>
                <a:gd name="connsiteX2" fmla="*/ 182404 w 180975"/>
                <a:gd name="connsiteY2" fmla="*/ 22384 h 28575"/>
                <a:gd name="connsiteX3" fmla="*/ 7144 w 180975"/>
                <a:gd name="connsiteY3" fmla="*/ 2238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975" h="28575">
                  <a:moveTo>
                    <a:pt x="7144" y="7144"/>
                  </a:moveTo>
                  <a:lnTo>
                    <a:pt x="182404" y="7144"/>
                  </a:lnTo>
                  <a:lnTo>
                    <a:pt x="182404" y="22384"/>
                  </a:lnTo>
                  <a:lnTo>
                    <a:pt x="7144" y="2238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747A68C4-AB93-454F-8160-E7AFC78EFFE6}"/>
                </a:ext>
              </a:extLst>
            </p:cNvPr>
            <p:cNvSpPr/>
            <p:nvPr/>
          </p:nvSpPr>
          <p:spPr>
            <a:xfrm>
              <a:off x="7482364" y="2877026"/>
              <a:ext cx="104775" cy="28575"/>
            </a:xfrm>
            <a:custGeom>
              <a:avLst/>
              <a:gdLst>
                <a:gd name="connsiteX0" fmla="*/ 7144 w 104775"/>
                <a:gd name="connsiteY0" fmla="*/ 7144 h 28575"/>
                <a:gd name="connsiteX1" fmla="*/ 101441 w 104775"/>
                <a:gd name="connsiteY1" fmla="*/ 7144 h 28575"/>
                <a:gd name="connsiteX2" fmla="*/ 101441 w 104775"/>
                <a:gd name="connsiteY2" fmla="*/ 22384 h 28575"/>
                <a:gd name="connsiteX3" fmla="*/ 7144 w 104775"/>
                <a:gd name="connsiteY3" fmla="*/ 2238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775" h="28575">
                  <a:moveTo>
                    <a:pt x="7144" y="7144"/>
                  </a:moveTo>
                  <a:lnTo>
                    <a:pt x="101441" y="7144"/>
                  </a:lnTo>
                  <a:lnTo>
                    <a:pt x="101441" y="22384"/>
                  </a:lnTo>
                  <a:lnTo>
                    <a:pt x="7144" y="2238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CD5AD8E4-3E43-47C5-A88F-DA96A5EBC83E}"/>
                </a:ext>
              </a:extLst>
            </p:cNvPr>
            <p:cNvSpPr/>
            <p:nvPr/>
          </p:nvSpPr>
          <p:spPr>
            <a:xfrm>
              <a:off x="6386036" y="3787616"/>
              <a:ext cx="257175" cy="38100"/>
            </a:xfrm>
            <a:custGeom>
              <a:avLst/>
              <a:gdLst>
                <a:gd name="connsiteX0" fmla="*/ 239554 w 257175"/>
                <a:gd name="connsiteY0" fmla="*/ 37624 h 38100"/>
                <a:gd name="connsiteX1" fmla="*/ 22384 w 257175"/>
                <a:gd name="connsiteY1" fmla="*/ 37624 h 38100"/>
                <a:gd name="connsiteX2" fmla="*/ 7144 w 257175"/>
                <a:gd name="connsiteY2" fmla="*/ 22384 h 38100"/>
                <a:gd name="connsiteX3" fmla="*/ 7144 w 257175"/>
                <a:gd name="connsiteY3" fmla="*/ 22384 h 38100"/>
                <a:gd name="connsiteX4" fmla="*/ 22384 w 257175"/>
                <a:gd name="connsiteY4" fmla="*/ 7144 h 38100"/>
                <a:gd name="connsiteX5" fmla="*/ 239554 w 257175"/>
                <a:gd name="connsiteY5" fmla="*/ 7144 h 38100"/>
                <a:gd name="connsiteX6" fmla="*/ 254794 w 257175"/>
                <a:gd name="connsiteY6" fmla="*/ 22384 h 38100"/>
                <a:gd name="connsiteX7" fmla="*/ 254794 w 257175"/>
                <a:gd name="connsiteY7" fmla="*/ 22384 h 38100"/>
                <a:gd name="connsiteX8" fmla="*/ 239554 w 257175"/>
                <a:gd name="connsiteY8" fmla="*/ 37624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7175" h="38100">
                  <a:moveTo>
                    <a:pt x="239554" y="37624"/>
                  </a:moveTo>
                  <a:lnTo>
                    <a:pt x="22384" y="37624"/>
                  </a:lnTo>
                  <a:cubicBezTo>
                    <a:pt x="13811" y="37624"/>
                    <a:pt x="7144" y="30956"/>
                    <a:pt x="7144" y="22384"/>
                  </a:cubicBezTo>
                  <a:lnTo>
                    <a:pt x="7144" y="22384"/>
                  </a:lnTo>
                  <a:cubicBezTo>
                    <a:pt x="7144" y="13811"/>
                    <a:pt x="13811" y="7144"/>
                    <a:pt x="22384" y="7144"/>
                  </a:cubicBezTo>
                  <a:lnTo>
                    <a:pt x="239554" y="7144"/>
                  </a:lnTo>
                  <a:cubicBezTo>
                    <a:pt x="248126" y="7144"/>
                    <a:pt x="254794" y="13811"/>
                    <a:pt x="254794" y="22384"/>
                  </a:cubicBezTo>
                  <a:lnTo>
                    <a:pt x="254794" y="22384"/>
                  </a:lnTo>
                  <a:cubicBezTo>
                    <a:pt x="254794" y="30004"/>
                    <a:pt x="248126" y="37624"/>
                    <a:pt x="239554" y="37624"/>
                  </a:cubicBez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EBD2C7E4-613A-43BC-A7E4-1BEEBCA8DD1A}"/>
                </a:ext>
              </a:extLst>
            </p:cNvPr>
            <p:cNvSpPr/>
            <p:nvPr/>
          </p:nvSpPr>
          <p:spPr>
            <a:xfrm>
              <a:off x="6494621" y="3841908"/>
              <a:ext cx="38100" cy="161925"/>
            </a:xfrm>
            <a:custGeom>
              <a:avLst/>
              <a:gdLst>
                <a:gd name="connsiteX0" fmla="*/ 7144 w 38100"/>
                <a:gd name="connsiteY0" fmla="*/ 7144 h 161925"/>
                <a:gd name="connsiteX1" fmla="*/ 36671 w 38100"/>
                <a:gd name="connsiteY1" fmla="*/ 7144 h 161925"/>
                <a:gd name="connsiteX2" fmla="*/ 36671 w 38100"/>
                <a:gd name="connsiteY2" fmla="*/ 156686 h 161925"/>
                <a:gd name="connsiteX3" fmla="*/ 7144 w 38100"/>
                <a:gd name="connsiteY3" fmla="*/ 156686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00" h="161925">
                  <a:moveTo>
                    <a:pt x="7144" y="7144"/>
                  </a:moveTo>
                  <a:lnTo>
                    <a:pt x="36671" y="7144"/>
                  </a:lnTo>
                  <a:lnTo>
                    <a:pt x="36671" y="156686"/>
                  </a:lnTo>
                  <a:lnTo>
                    <a:pt x="7144" y="156686"/>
                  </a:lnTo>
                  <a:close/>
                </a:path>
              </a:pathLst>
            </a:custGeom>
            <a:solidFill>
              <a:srgbClr val="EBE0B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910CDB9C-4EC5-4189-B120-18B37B3BDBB2}"/>
                </a:ext>
              </a:extLst>
            </p:cNvPr>
            <p:cNvSpPr/>
            <p:nvPr/>
          </p:nvSpPr>
          <p:spPr>
            <a:xfrm>
              <a:off x="6487001" y="3818096"/>
              <a:ext cx="57150" cy="66675"/>
            </a:xfrm>
            <a:custGeom>
              <a:avLst/>
              <a:gdLst>
                <a:gd name="connsiteX0" fmla="*/ 7144 w 57150"/>
                <a:gd name="connsiteY0" fmla="*/ 7144 h 66675"/>
                <a:gd name="connsiteX1" fmla="*/ 52864 w 57150"/>
                <a:gd name="connsiteY1" fmla="*/ 7144 h 66675"/>
                <a:gd name="connsiteX2" fmla="*/ 52864 w 57150"/>
                <a:gd name="connsiteY2" fmla="*/ 65246 h 66675"/>
                <a:gd name="connsiteX3" fmla="*/ 7144 w 57150"/>
                <a:gd name="connsiteY3" fmla="*/ 65246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150" h="66675">
                  <a:moveTo>
                    <a:pt x="7144" y="7144"/>
                  </a:moveTo>
                  <a:lnTo>
                    <a:pt x="52864" y="7144"/>
                  </a:lnTo>
                  <a:lnTo>
                    <a:pt x="52864" y="65246"/>
                  </a:lnTo>
                  <a:lnTo>
                    <a:pt x="7144" y="65246"/>
                  </a:ln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BEAF74A5-D065-424C-B14B-D1F168049E68}"/>
                </a:ext>
              </a:extLst>
            </p:cNvPr>
            <p:cNvSpPr/>
            <p:nvPr/>
          </p:nvSpPr>
          <p:spPr>
            <a:xfrm>
              <a:off x="6420326" y="3983831"/>
              <a:ext cx="190500" cy="28575"/>
            </a:xfrm>
            <a:custGeom>
              <a:avLst/>
              <a:gdLst>
                <a:gd name="connsiteX0" fmla="*/ 7144 w 190500"/>
                <a:gd name="connsiteY0" fmla="*/ 7144 h 28575"/>
                <a:gd name="connsiteX1" fmla="*/ 185261 w 190500"/>
                <a:gd name="connsiteY1" fmla="*/ 7144 h 28575"/>
                <a:gd name="connsiteX2" fmla="*/ 185261 w 190500"/>
                <a:gd name="connsiteY2" fmla="*/ 26194 h 28575"/>
                <a:gd name="connsiteX3" fmla="*/ 7144 w 190500"/>
                <a:gd name="connsiteY3" fmla="*/ 2619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28575">
                  <a:moveTo>
                    <a:pt x="7144" y="7144"/>
                  </a:moveTo>
                  <a:lnTo>
                    <a:pt x="185261" y="7144"/>
                  </a:lnTo>
                  <a:lnTo>
                    <a:pt x="185261" y="26194"/>
                  </a:lnTo>
                  <a:lnTo>
                    <a:pt x="7144" y="26194"/>
                  </a:ln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87D88521-D858-41F5-878B-F54706D6D0E6}"/>
                </a:ext>
              </a:extLst>
            </p:cNvPr>
            <p:cNvSpPr/>
            <p:nvPr/>
          </p:nvSpPr>
          <p:spPr>
            <a:xfrm>
              <a:off x="6413659" y="4002881"/>
              <a:ext cx="38100" cy="38100"/>
            </a:xfrm>
            <a:custGeom>
              <a:avLst/>
              <a:gdLst>
                <a:gd name="connsiteX0" fmla="*/ 39529 w 38100"/>
                <a:gd name="connsiteY0" fmla="*/ 23336 h 38100"/>
                <a:gd name="connsiteX1" fmla="*/ 23336 w 38100"/>
                <a:gd name="connsiteY1" fmla="*/ 39529 h 38100"/>
                <a:gd name="connsiteX2" fmla="*/ 7144 w 38100"/>
                <a:gd name="connsiteY2" fmla="*/ 23336 h 38100"/>
                <a:gd name="connsiteX3" fmla="*/ 23336 w 38100"/>
                <a:gd name="connsiteY3" fmla="*/ 7144 h 38100"/>
                <a:gd name="connsiteX4" fmla="*/ 39529 w 38100"/>
                <a:gd name="connsiteY4" fmla="*/ 23336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9529" y="23336"/>
                  </a:moveTo>
                  <a:cubicBezTo>
                    <a:pt x="39529" y="31909"/>
                    <a:pt x="31909" y="39529"/>
                    <a:pt x="23336" y="39529"/>
                  </a:cubicBezTo>
                  <a:cubicBezTo>
                    <a:pt x="14764" y="39529"/>
                    <a:pt x="7144" y="31909"/>
                    <a:pt x="7144" y="23336"/>
                  </a:cubicBezTo>
                  <a:cubicBezTo>
                    <a:pt x="7144" y="14764"/>
                    <a:pt x="14764" y="7144"/>
                    <a:pt x="23336" y="7144"/>
                  </a:cubicBezTo>
                  <a:cubicBezTo>
                    <a:pt x="32861" y="7144"/>
                    <a:pt x="39529" y="14764"/>
                    <a:pt x="39529" y="23336"/>
                  </a:cubicBezTo>
                  <a:close/>
                </a:path>
              </a:pathLst>
            </a:custGeom>
            <a:solidFill>
              <a:srgbClr val="EBE0B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6DDDBA03-D1CC-4268-BA31-384B86F4834F}"/>
                </a:ext>
              </a:extLst>
            </p:cNvPr>
            <p:cNvSpPr/>
            <p:nvPr/>
          </p:nvSpPr>
          <p:spPr>
            <a:xfrm>
              <a:off x="6572726" y="4002881"/>
              <a:ext cx="38100" cy="38100"/>
            </a:xfrm>
            <a:custGeom>
              <a:avLst/>
              <a:gdLst>
                <a:gd name="connsiteX0" fmla="*/ 39529 w 38100"/>
                <a:gd name="connsiteY0" fmla="*/ 23336 h 38100"/>
                <a:gd name="connsiteX1" fmla="*/ 23336 w 38100"/>
                <a:gd name="connsiteY1" fmla="*/ 39529 h 38100"/>
                <a:gd name="connsiteX2" fmla="*/ 7144 w 38100"/>
                <a:gd name="connsiteY2" fmla="*/ 23336 h 38100"/>
                <a:gd name="connsiteX3" fmla="*/ 23336 w 38100"/>
                <a:gd name="connsiteY3" fmla="*/ 7144 h 38100"/>
                <a:gd name="connsiteX4" fmla="*/ 39529 w 38100"/>
                <a:gd name="connsiteY4" fmla="*/ 23336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9529" y="23336"/>
                  </a:moveTo>
                  <a:cubicBezTo>
                    <a:pt x="39529" y="31909"/>
                    <a:pt x="31909" y="39529"/>
                    <a:pt x="23336" y="39529"/>
                  </a:cubicBezTo>
                  <a:cubicBezTo>
                    <a:pt x="14764" y="39529"/>
                    <a:pt x="7144" y="31909"/>
                    <a:pt x="7144" y="23336"/>
                  </a:cubicBezTo>
                  <a:cubicBezTo>
                    <a:pt x="7144" y="14764"/>
                    <a:pt x="14764" y="7144"/>
                    <a:pt x="23336" y="7144"/>
                  </a:cubicBezTo>
                  <a:cubicBezTo>
                    <a:pt x="31909" y="7144"/>
                    <a:pt x="39529" y="14764"/>
                    <a:pt x="39529" y="23336"/>
                  </a:cubicBezTo>
                  <a:close/>
                </a:path>
              </a:pathLst>
            </a:custGeom>
            <a:solidFill>
              <a:srgbClr val="EBE0B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49DE86DD-C1AA-44A1-AFC9-8ACEB1EF2E8B}"/>
                </a:ext>
              </a:extLst>
            </p:cNvPr>
            <p:cNvSpPr/>
            <p:nvPr/>
          </p:nvSpPr>
          <p:spPr>
            <a:xfrm>
              <a:off x="6293600" y="3700938"/>
              <a:ext cx="428625" cy="342900"/>
            </a:xfrm>
            <a:custGeom>
              <a:avLst/>
              <a:gdLst>
                <a:gd name="connsiteX0" fmla="*/ 430097 w 428625"/>
                <a:gd name="connsiteY0" fmla="*/ 63341 h 342900"/>
                <a:gd name="connsiteX1" fmla="*/ 311988 w 428625"/>
                <a:gd name="connsiteY1" fmla="*/ 7144 h 342900"/>
                <a:gd name="connsiteX2" fmla="*/ 218643 w 428625"/>
                <a:gd name="connsiteY2" fmla="*/ 8096 h 342900"/>
                <a:gd name="connsiteX3" fmla="*/ 125297 w 428625"/>
                <a:gd name="connsiteY3" fmla="*/ 7144 h 342900"/>
                <a:gd name="connsiteX4" fmla="*/ 7187 w 428625"/>
                <a:gd name="connsiteY4" fmla="*/ 63341 h 342900"/>
                <a:gd name="connsiteX5" fmla="*/ 66243 w 428625"/>
                <a:gd name="connsiteY5" fmla="*/ 344329 h 342900"/>
                <a:gd name="connsiteX6" fmla="*/ 116725 w 428625"/>
                <a:gd name="connsiteY6" fmla="*/ 344329 h 342900"/>
                <a:gd name="connsiteX7" fmla="*/ 108153 w 428625"/>
                <a:gd name="connsiteY7" fmla="*/ 99536 h 342900"/>
                <a:gd name="connsiteX8" fmla="*/ 218643 w 428625"/>
                <a:gd name="connsiteY8" fmla="*/ 94774 h 342900"/>
                <a:gd name="connsiteX9" fmla="*/ 329132 w 428625"/>
                <a:gd name="connsiteY9" fmla="*/ 99536 h 342900"/>
                <a:gd name="connsiteX10" fmla="*/ 320560 w 428625"/>
                <a:gd name="connsiteY10" fmla="*/ 344329 h 342900"/>
                <a:gd name="connsiteX11" fmla="*/ 371043 w 428625"/>
                <a:gd name="connsiteY11" fmla="*/ 344329 h 342900"/>
                <a:gd name="connsiteX12" fmla="*/ 430097 w 428625"/>
                <a:gd name="connsiteY12" fmla="*/ 63341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8625" h="342900">
                  <a:moveTo>
                    <a:pt x="430097" y="63341"/>
                  </a:moveTo>
                  <a:cubicBezTo>
                    <a:pt x="428193" y="17621"/>
                    <a:pt x="311988" y="7144"/>
                    <a:pt x="311988" y="7144"/>
                  </a:cubicBezTo>
                  <a:cubicBezTo>
                    <a:pt x="307225" y="7144"/>
                    <a:pt x="257695" y="7144"/>
                    <a:pt x="218643" y="8096"/>
                  </a:cubicBezTo>
                  <a:cubicBezTo>
                    <a:pt x="179590" y="8096"/>
                    <a:pt x="131012" y="7144"/>
                    <a:pt x="125297" y="7144"/>
                  </a:cubicBezTo>
                  <a:cubicBezTo>
                    <a:pt x="125297" y="7144"/>
                    <a:pt x="9093" y="17621"/>
                    <a:pt x="7187" y="63341"/>
                  </a:cubicBezTo>
                  <a:cubicBezTo>
                    <a:pt x="5282" y="109061"/>
                    <a:pt x="66243" y="344329"/>
                    <a:pt x="66243" y="344329"/>
                  </a:cubicBezTo>
                  <a:lnTo>
                    <a:pt x="116725" y="344329"/>
                  </a:lnTo>
                  <a:cubicBezTo>
                    <a:pt x="116725" y="344329"/>
                    <a:pt x="121487" y="108109"/>
                    <a:pt x="108153" y="99536"/>
                  </a:cubicBezTo>
                  <a:cubicBezTo>
                    <a:pt x="108153" y="99536"/>
                    <a:pt x="171018" y="98584"/>
                    <a:pt x="218643" y="94774"/>
                  </a:cubicBezTo>
                  <a:cubicBezTo>
                    <a:pt x="266268" y="98584"/>
                    <a:pt x="329132" y="99536"/>
                    <a:pt x="329132" y="99536"/>
                  </a:cubicBezTo>
                  <a:cubicBezTo>
                    <a:pt x="315797" y="108109"/>
                    <a:pt x="320560" y="344329"/>
                    <a:pt x="320560" y="344329"/>
                  </a:cubicBezTo>
                  <a:lnTo>
                    <a:pt x="371043" y="344329"/>
                  </a:lnTo>
                  <a:cubicBezTo>
                    <a:pt x="370090" y="344329"/>
                    <a:pt x="432003" y="108109"/>
                    <a:pt x="430097" y="63341"/>
                  </a:cubicBezTo>
                  <a:close/>
                </a:path>
              </a:pathLst>
            </a:custGeom>
            <a:solidFill>
              <a:srgbClr val="5202B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BB82AF5D-0F64-493E-A0F0-F890DF29433F}"/>
                </a:ext>
              </a:extLst>
            </p:cNvPr>
            <p:cNvSpPr/>
            <p:nvPr/>
          </p:nvSpPr>
          <p:spPr>
            <a:xfrm>
              <a:off x="6309714" y="4037171"/>
              <a:ext cx="95250" cy="38100"/>
            </a:xfrm>
            <a:custGeom>
              <a:avLst/>
              <a:gdLst>
                <a:gd name="connsiteX0" fmla="*/ 93943 w 95250"/>
                <a:gd name="connsiteY0" fmla="*/ 8096 h 38100"/>
                <a:gd name="connsiteX1" fmla="*/ 92991 w 95250"/>
                <a:gd name="connsiteY1" fmla="*/ 21431 h 38100"/>
                <a:gd name="connsiteX2" fmla="*/ 92991 w 95250"/>
                <a:gd name="connsiteY2" fmla="*/ 25241 h 38100"/>
                <a:gd name="connsiteX3" fmla="*/ 92038 w 95250"/>
                <a:gd name="connsiteY3" fmla="*/ 39529 h 38100"/>
                <a:gd name="connsiteX4" fmla="*/ 12028 w 95250"/>
                <a:gd name="connsiteY4" fmla="*/ 39529 h 38100"/>
                <a:gd name="connsiteX5" fmla="*/ 9170 w 95250"/>
                <a:gd name="connsiteY5" fmla="*/ 30956 h 38100"/>
                <a:gd name="connsiteX6" fmla="*/ 12980 w 95250"/>
                <a:gd name="connsiteY6" fmla="*/ 28099 h 38100"/>
                <a:gd name="connsiteX7" fmla="*/ 27268 w 95250"/>
                <a:gd name="connsiteY7" fmla="*/ 19526 h 38100"/>
                <a:gd name="connsiteX8" fmla="*/ 60605 w 95250"/>
                <a:gd name="connsiteY8" fmla="*/ 7144 h 38100"/>
                <a:gd name="connsiteX9" fmla="*/ 93943 w 95250"/>
                <a:gd name="connsiteY9" fmla="*/ 7144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5250" h="38100">
                  <a:moveTo>
                    <a:pt x="93943" y="8096"/>
                  </a:moveTo>
                  <a:lnTo>
                    <a:pt x="92991" y="21431"/>
                  </a:lnTo>
                  <a:lnTo>
                    <a:pt x="92991" y="25241"/>
                  </a:lnTo>
                  <a:lnTo>
                    <a:pt x="92038" y="39529"/>
                  </a:lnTo>
                  <a:lnTo>
                    <a:pt x="12028" y="39529"/>
                  </a:lnTo>
                  <a:cubicBezTo>
                    <a:pt x="7266" y="39529"/>
                    <a:pt x="5361" y="33814"/>
                    <a:pt x="9170" y="30956"/>
                  </a:cubicBezTo>
                  <a:cubicBezTo>
                    <a:pt x="10123" y="30004"/>
                    <a:pt x="11076" y="29051"/>
                    <a:pt x="12980" y="28099"/>
                  </a:cubicBezTo>
                  <a:cubicBezTo>
                    <a:pt x="16791" y="25241"/>
                    <a:pt x="22505" y="22384"/>
                    <a:pt x="27268" y="19526"/>
                  </a:cubicBezTo>
                  <a:cubicBezTo>
                    <a:pt x="43461" y="11906"/>
                    <a:pt x="60605" y="7144"/>
                    <a:pt x="60605" y="7144"/>
                  </a:cubicBezTo>
                  <a:lnTo>
                    <a:pt x="93943" y="7144"/>
                  </a:ln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133A5BCA-6268-4EF9-B388-43001B6608C1}"/>
                </a:ext>
              </a:extLst>
            </p:cNvPr>
            <p:cNvSpPr/>
            <p:nvPr/>
          </p:nvSpPr>
          <p:spPr>
            <a:xfrm>
              <a:off x="6309714" y="4056221"/>
              <a:ext cx="95250" cy="28575"/>
            </a:xfrm>
            <a:custGeom>
              <a:avLst/>
              <a:gdLst>
                <a:gd name="connsiteX0" fmla="*/ 92991 w 95250"/>
                <a:gd name="connsiteY0" fmla="*/ 7144 h 28575"/>
                <a:gd name="connsiteX1" fmla="*/ 92038 w 95250"/>
                <a:gd name="connsiteY1" fmla="*/ 21431 h 28575"/>
                <a:gd name="connsiteX2" fmla="*/ 12028 w 95250"/>
                <a:gd name="connsiteY2" fmla="*/ 21431 h 28575"/>
                <a:gd name="connsiteX3" fmla="*/ 9170 w 95250"/>
                <a:gd name="connsiteY3" fmla="*/ 12859 h 28575"/>
                <a:gd name="connsiteX4" fmla="*/ 12980 w 95250"/>
                <a:gd name="connsiteY4" fmla="*/ 10001 h 28575"/>
                <a:gd name="connsiteX5" fmla="*/ 92991 w 95250"/>
                <a:gd name="connsiteY5" fmla="*/ 714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250" h="28575">
                  <a:moveTo>
                    <a:pt x="92991" y="7144"/>
                  </a:moveTo>
                  <a:lnTo>
                    <a:pt x="92038" y="21431"/>
                  </a:lnTo>
                  <a:lnTo>
                    <a:pt x="12028" y="21431"/>
                  </a:lnTo>
                  <a:cubicBezTo>
                    <a:pt x="7266" y="21431"/>
                    <a:pt x="5361" y="15716"/>
                    <a:pt x="9170" y="12859"/>
                  </a:cubicBezTo>
                  <a:cubicBezTo>
                    <a:pt x="10123" y="11906"/>
                    <a:pt x="11076" y="10954"/>
                    <a:pt x="12980" y="10001"/>
                  </a:cubicBezTo>
                  <a:cubicBezTo>
                    <a:pt x="30126" y="10954"/>
                    <a:pt x="57748" y="10954"/>
                    <a:pt x="92991" y="714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FE6BFD11-6928-420F-A2AA-5DD00B95C484}"/>
                </a:ext>
              </a:extLst>
            </p:cNvPr>
            <p:cNvSpPr/>
            <p:nvPr/>
          </p:nvSpPr>
          <p:spPr>
            <a:xfrm>
              <a:off x="6616541" y="4037171"/>
              <a:ext cx="95250" cy="38100"/>
            </a:xfrm>
            <a:custGeom>
              <a:avLst/>
              <a:gdLst>
                <a:gd name="connsiteX0" fmla="*/ 7144 w 95250"/>
                <a:gd name="connsiteY0" fmla="*/ 8096 h 38100"/>
                <a:gd name="connsiteX1" fmla="*/ 8096 w 95250"/>
                <a:gd name="connsiteY1" fmla="*/ 21431 h 38100"/>
                <a:gd name="connsiteX2" fmla="*/ 8096 w 95250"/>
                <a:gd name="connsiteY2" fmla="*/ 25241 h 38100"/>
                <a:gd name="connsiteX3" fmla="*/ 9049 w 95250"/>
                <a:gd name="connsiteY3" fmla="*/ 39529 h 38100"/>
                <a:gd name="connsiteX4" fmla="*/ 89059 w 95250"/>
                <a:gd name="connsiteY4" fmla="*/ 39529 h 38100"/>
                <a:gd name="connsiteX5" fmla="*/ 91916 w 95250"/>
                <a:gd name="connsiteY5" fmla="*/ 30956 h 38100"/>
                <a:gd name="connsiteX6" fmla="*/ 88106 w 95250"/>
                <a:gd name="connsiteY6" fmla="*/ 28099 h 38100"/>
                <a:gd name="connsiteX7" fmla="*/ 73819 w 95250"/>
                <a:gd name="connsiteY7" fmla="*/ 19526 h 38100"/>
                <a:gd name="connsiteX8" fmla="*/ 40481 w 95250"/>
                <a:gd name="connsiteY8" fmla="*/ 7144 h 38100"/>
                <a:gd name="connsiteX9" fmla="*/ 7144 w 95250"/>
                <a:gd name="connsiteY9" fmla="*/ 7144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5250" h="38100">
                  <a:moveTo>
                    <a:pt x="7144" y="8096"/>
                  </a:moveTo>
                  <a:lnTo>
                    <a:pt x="8096" y="21431"/>
                  </a:lnTo>
                  <a:lnTo>
                    <a:pt x="8096" y="25241"/>
                  </a:lnTo>
                  <a:lnTo>
                    <a:pt x="9049" y="39529"/>
                  </a:lnTo>
                  <a:lnTo>
                    <a:pt x="89059" y="39529"/>
                  </a:lnTo>
                  <a:cubicBezTo>
                    <a:pt x="93821" y="39529"/>
                    <a:pt x="95726" y="33814"/>
                    <a:pt x="91916" y="30956"/>
                  </a:cubicBezTo>
                  <a:cubicBezTo>
                    <a:pt x="90964" y="30004"/>
                    <a:pt x="90011" y="29051"/>
                    <a:pt x="88106" y="28099"/>
                  </a:cubicBezTo>
                  <a:cubicBezTo>
                    <a:pt x="84296" y="25241"/>
                    <a:pt x="78581" y="22384"/>
                    <a:pt x="73819" y="19526"/>
                  </a:cubicBezTo>
                  <a:cubicBezTo>
                    <a:pt x="57626" y="11906"/>
                    <a:pt x="40481" y="7144"/>
                    <a:pt x="40481" y="7144"/>
                  </a:cubicBezTo>
                  <a:lnTo>
                    <a:pt x="7144" y="7144"/>
                  </a:ln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F57BAE68-463B-4FAE-B013-AFC247A780B5}"/>
                </a:ext>
              </a:extLst>
            </p:cNvPr>
            <p:cNvSpPr/>
            <p:nvPr/>
          </p:nvSpPr>
          <p:spPr>
            <a:xfrm>
              <a:off x="6618446" y="4056221"/>
              <a:ext cx="95250" cy="28575"/>
            </a:xfrm>
            <a:custGeom>
              <a:avLst/>
              <a:gdLst>
                <a:gd name="connsiteX0" fmla="*/ 7144 w 95250"/>
                <a:gd name="connsiteY0" fmla="*/ 7144 h 28575"/>
                <a:gd name="connsiteX1" fmla="*/ 8096 w 95250"/>
                <a:gd name="connsiteY1" fmla="*/ 21431 h 28575"/>
                <a:gd name="connsiteX2" fmla="*/ 88106 w 95250"/>
                <a:gd name="connsiteY2" fmla="*/ 21431 h 28575"/>
                <a:gd name="connsiteX3" fmla="*/ 90964 w 95250"/>
                <a:gd name="connsiteY3" fmla="*/ 12859 h 28575"/>
                <a:gd name="connsiteX4" fmla="*/ 87154 w 95250"/>
                <a:gd name="connsiteY4" fmla="*/ 10001 h 28575"/>
                <a:gd name="connsiteX5" fmla="*/ 7144 w 95250"/>
                <a:gd name="connsiteY5" fmla="*/ 714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250" h="28575">
                  <a:moveTo>
                    <a:pt x="7144" y="7144"/>
                  </a:moveTo>
                  <a:lnTo>
                    <a:pt x="8096" y="21431"/>
                  </a:lnTo>
                  <a:lnTo>
                    <a:pt x="88106" y="21431"/>
                  </a:lnTo>
                  <a:cubicBezTo>
                    <a:pt x="92869" y="21431"/>
                    <a:pt x="94774" y="15716"/>
                    <a:pt x="90964" y="12859"/>
                  </a:cubicBezTo>
                  <a:cubicBezTo>
                    <a:pt x="90011" y="11906"/>
                    <a:pt x="89059" y="10954"/>
                    <a:pt x="87154" y="10001"/>
                  </a:cubicBezTo>
                  <a:cubicBezTo>
                    <a:pt x="70009" y="10954"/>
                    <a:pt x="42386" y="10954"/>
                    <a:pt x="7144" y="714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0DC195D3-CEB8-40F1-8CC7-75DC560EC7E5}"/>
                </a:ext>
              </a:extLst>
            </p:cNvPr>
            <p:cNvSpPr/>
            <p:nvPr/>
          </p:nvSpPr>
          <p:spPr>
            <a:xfrm>
              <a:off x="6377464" y="3369706"/>
              <a:ext cx="247650" cy="371475"/>
            </a:xfrm>
            <a:custGeom>
              <a:avLst/>
              <a:gdLst>
                <a:gd name="connsiteX0" fmla="*/ 248126 w 247650"/>
                <a:gd name="connsiteY0" fmla="*/ 339328 h 371475"/>
                <a:gd name="connsiteX1" fmla="*/ 246221 w 247650"/>
                <a:gd name="connsiteY1" fmla="*/ 340281 h 371475"/>
                <a:gd name="connsiteX2" fmla="*/ 7144 w 247650"/>
                <a:gd name="connsiteY2" fmla="*/ 344091 h 371475"/>
                <a:gd name="connsiteX3" fmla="*/ 30004 w 247650"/>
                <a:gd name="connsiteY3" fmla="*/ 157401 h 371475"/>
                <a:gd name="connsiteX4" fmla="*/ 60484 w 247650"/>
                <a:gd name="connsiteY4" fmla="*/ 19288 h 371475"/>
                <a:gd name="connsiteX5" fmla="*/ 60484 w 247650"/>
                <a:gd name="connsiteY5" fmla="*/ 19288 h 371475"/>
                <a:gd name="connsiteX6" fmla="*/ 60484 w 247650"/>
                <a:gd name="connsiteY6" fmla="*/ 19288 h 371475"/>
                <a:gd name="connsiteX7" fmla="*/ 69056 w 247650"/>
                <a:gd name="connsiteY7" fmla="*/ 16431 h 371475"/>
                <a:gd name="connsiteX8" fmla="*/ 179546 w 247650"/>
                <a:gd name="connsiteY8" fmla="*/ 16431 h 371475"/>
                <a:gd name="connsiteX9" fmla="*/ 189071 w 247650"/>
                <a:gd name="connsiteY9" fmla="*/ 19288 h 371475"/>
                <a:gd name="connsiteX10" fmla="*/ 248126 w 247650"/>
                <a:gd name="connsiteY10" fmla="*/ 339328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7650" h="371475">
                  <a:moveTo>
                    <a:pt x="248126" y="339328"/>
                  </a:moveTo>
                  <a:lnTo>
                    <a:pt x="246221" y="340281"/>
                  </a:lnTo>
                  <a:cubicBezTo>
                    <a:pt x="170974" y="376476"/>
                    <a:pt x="83344" y="378381"/>
                    <a:pt x="7144" y="344091"/>
                  </a:cubicBezTo>
                  <a:cubicBezTo>
                    <a:pt x="7144" y="344091"/>
                    <a:pt x="12859" y="259318"/>
                    <a:pt x="30004" y="157401"/>
                  </a:cubicBezTo>
                  <a:cubicBezTo>
                    <a:pt x="37624" y="112633"/>
                    <a:pt x="47149" y="65008"/>
                    <a:pt x="60484" y="19288"/>
                  </a:cubicBezTo>
                  <a:lnTo>
                    <a:pt x="60484" y="19288"/>
                  </a:lnTo>
                  <a:cubicBezTo>
                    <a:pt x="60484" y="19288"/>
                    <a:pt x="60484" y="19288"/>
                    <a:pt x="60484" y="19288"/>
                  </a:cubicBezTo>
                  <a:cubicBezTo>
                    <a:pt x="63341" y="18336"/>
                    <a:pt x="66199" y="17383"/>
                    <a:pt x="69056" y="16431"/>
                  </a:cubicBezTo>
                  <a:cubicBezTo>
                    <a:pt x="105251" y="4048"/>
                    <a:pt x="143351" y="4048"/>
                    <a:pt x="179546" y="16431"/>
                  </a:cubicBezTo>
                  <a:cubicBezTo>
                    <a:pt x="182404" y="17383"/>
                    <a:pt x="185261" y="18336"/>
                    <a:pt x="189071" y="19288"/>
                  </a:cubicBezTo>
                  <a:cubicBezTo>
                    <a:pt x="230029" y="166926"/>
                    <a:pt x="248126" y="339328"/>
                    <a:pt x="248126" y="339328"/>
                  </a:cubicBezTo>
                  <a:close/>
                </a:path>
              </a:pathLst>
            </a:custGeom>
            <a:solidFill>
              <a:srgbClr val="00BEB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74758AB0-EADE-4BD8-BF99-BEE7DA415654}"/>
                </a:ext>
              </a:extLst>
            </p:cNvPr>
            <p:cNvSpPr/>
            <p:nvPr/>
          </p:nvSpPr>
          <p:spPr>
            <a:xfrm>
              <a:off x="6281079" y="3381851"/>
              <a:ext cx="161925" cy="257175"/>
            </a:xfrm>
            <a:custGeom>
              <a:avLst/>
              <a:gdLst>
                <a:gd name="connsiteX0" fmla="*/ 156868 w 161925"/>
                <a:gd name="connsiteY0" fmla="*/ 7144 h 257175"/>
                <a:gd name="connsiteX1" fmla="*/ 156868 w 161925"/>
                <a:gd name="connsiteY1" fmla="*/ 7144 h 257175"/>
                <a:gd name="connsiteX2" fmla="*/ 126389 w 161925"/>
                <a:gd name="connsiteY2" fmla="*/ 145256 h 257175"/>
                <a:gd name="connsiteX3" fmla="*/ 79716 w 161925"/>
                <a:gd name="connsiteY3" fmla="*/ 194786 h 257175"/>
                <a:gd name="connsiteX4" fmla="*/ 99718 w 161925"/>
                <a:gd name="connsiteY4" fmla="*/ 215741 h 257175"/>
                <a:gd name="connsiteX5" fmla="*/ 87336 w 161925"/>
                <a:gd name="connsiteY5" fmla="*/ 257651 h 257175"/>
                <a:gd name="connsiteX6" fmla="*/ 60666 w 161925"/>
                <a:gd name="connsiteY6" fmla="*/ 257651 h 257175"/>
                <a:gd name="connsiteX7" fmla="*/ 7326 w 161925"/>
                <a:gd name="connsiteY7" fmla="*/ 193834 h 257175"/>
                <a:gd name="connsiteX8" fmla="*/ 112101 w 161925"/>
                <a:gd name="connsiteY8" fmla="*/ 28099 h 257175"/>
                <a:gd name="connsiteX9" fmla="*/ 156868 w 161925"/>
                <a:gd name="connsiteY9" fmla="*/ 7144 h 257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1925" h="257175">
                  <a:moveTo>
                    <a:pt x="156868" y="7144"/>
                  </a:moveTo>
                  <a:lnTo>
                    <a:pt x="156868" y="7144"/>
                  </a:lnTo>
                  <a:cubicBezTo>
                    <a:pt x="144486" y="52864"/>
                    <a:pt x="134009" y="100489"/>
                    <a:pt x="126389" y="145256"/>
                  </a:cubicBezTo>
                  <a:cubicBezTo>
                    <a:pt x="107339" y="159544"/>
                    <a:pt x="83526" y="179546"/>
                    <a:pt x="79716" y="194786"/>
                  </a:cubicBezTo>
                  <a:cubicBezTo>
                    <a:pt x="77811" y="203359"/>
                    <a:pt x="86384" y="210026"/>
                    <a:pt x="99718" y="215741"/>
                  </a:cubicBezTo>
                  <a:lnTo>
                    <a:pt x="87336" y="257651"/>
                  </a:lnTo>
                  <a:lnTo>
                    <a:pt x="60666" y="257651"/>
                  </a:lnTo>
                  <a:cubicBezTo>
                    <a:pt x="60666" y="257651"/>
                    <a:pt x="3516" y="240506"/>
                    <a:pt x="7326" y="193834"/>
                  </a:cubicBezTo>
                  <a:cubicBezTo>
                    <a:pt x="10184" y="147161"/>
                    <a:pt x="99718" y="46196"/>
                    <a:pt x="112101" y="28099"/>
                  </a:cubicBezTo>
                  <a:cubicBezTo>
                    <a:pt x="117816" y="19526"/>
                    <a:pt x="137818" y="11906"/>
                    <a:pt x="156868" y="7144"/>
                  </a:cubicBezTo>
                  <a:close/>
                </a:path>
              </a:pathLst>
            </a:custGeom>
            <a:solidFill>
              <a:srgbClr val="00A49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590B61B8-D42F-4F27-8EEC-C01BBBF305D0}"/>
                </a:ext>
              </a:extLst>
            </p:cNvPr>
            <p:cNvSpPr/>
            <p:nvPr/>
          </p:nvSpPr>
          <p:spPr>
            <a:xfrm>
              <a:off x="6360319" y="3589496"/>
              <a:ext cx="95250" cy="57150"/>
            </a:xfrm>
            <a:custGeom>
              <a:avLst/>
              <a:gdLst>
                <a:gd name="connsiteX0" fmla="*/ 92869 w 95250"/>
                <a:gd name="connsiteY0" fmla="*/ 50006 h 57150"/>
                <a:gd name="connsiteX1" fmla="*/ 92869 w 95250"/>
                <a:gd name="connsiteY1" fmla="*/ 25241 h 57150"/>
                <a:gd name="connsiteX2" fmla="*/ 19526 w 95250"/>
                <a:gd name="connsiteY2" fmla="*/ 7144 h 57150"/>
                <a:gd name="connsiteX3" fmla="*/ 7144 w 95250"/>
                <a:gd name="connsiteY3" fmla="*/ 49054 h 57150"/>
                <a:gd name="connsiteX4" fmla="*/ 92869 w 95250"/>
                <a:gd name="connsiteY4" fmla="*/ 49054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57150">
                  <a:moveTo>
                    <a:pt x="92869" y="50006"/>
                  </a:moveTo>
                  <a:lnTo>
                    <a:pt x="92869" y="25241"/>
                  </a:lnTo>
                  <a:cubicBezTo>
                    <a:pt x="92869" y="25241"/>
                    <a:pt x="47149" y="19526"/>
                    <a:pt x="19526" y="7144"/>
                  </a:cubicBezTo>
                  <a:lnTo>
                    <a:pt x="7144" y="49054"/>
                  </a:lnTo>
                  <a:lnTo>
                    <a:pt x="92869" y="49054"/>
                  </a:ln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55F0B5FA-A205-4B94-A23F-9009139A5BE2}"/>
                </a:ext>
              </a:extLst>
            </p:cNvPr>
            <p:cNvSpPr/>
            <p:nvPr/>
          </p:nvSpPr>
          <p:spPr>
            <a:xfrm>
              <a:off x="6557486" y="3381851"/>
              <a:ext cx="161925" cy="257175"/>
            </a:xfrm>
            <a:custGeom>
              <a:avLst/>
              <a:gdLst>
                <a:gd name="connsiteX0" fmla="*/ 7144 w 161925"/>
                <a:gd name="connsiteY0" fmla="*/ 7144 h 257175"/>
                <a:gd name="connsiteX1" fmla="*/ 8096 w 161925"/>
                <a:gd name="connsiteY1" fmla="*/ 7144 h 257175"/>
                <a:gd name="connsiteX2" fmla="*/ 37624 w 161925"/>
                <a:gd name="connsiteY2" fmla="*/ 145256 h 257175"/>
                <a:gd name="connsiteX3" fmla="*/ 84296 w 161925"/>
                <a:gd name="connsiteY3" fmla="*/ 194786 h 257175"/>
                <a:gd name="connsiteX4" fmla="*/ 64294 w 161925"/>
                <a:gd name="connsiteY4" fmla="*/ 215741 h 257175"/>
                <a:gd name="connsiteX5" fmla="*/ 76676 w 161925"/>
                <a:gd name="connsiteY5" fmla="*/ 257651 h 257175"/>
                <a:gd name="connsiteX6" fmla="*/ 103346 w 161925"/>
                <a:gd name="connsiteY6" fmla="*/ 257651 h 257175"/>
                <a:gd name="connsiteX7" fmla="*/ 156686 w 161925"/>
                <a:gd name="connsiteY7" fmla="*/ 193834 h 257175"/>
                <a:gd name="connsiteX8" fmla="*/ 51911 w 161925"/>
                <a:gd name="connsiteY8" fmla="*/ 28099 h 257175"/>
                <a:gd name="connsiteX9" fmla="*/ 7144 w 161925"/>
                <a:gd name="connsiteY9" fmla="*/ 7144 h 257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1925" h="257175">
                  <a:moveTo>
                    <a:pt x="7144" y="7144"/>
                  </a:moveTo>
                  <a:lnTo>
                    <a:pt x="8096" y="7144"/>
                  </a:lnTo>
                  <a:cubicBezTo>
                    <a:pt x="20479" y="52864"/>
                    <a:pt x="30004" y="100489"/>
                    <a:pt x="37624" y="145256"/>
                  </a:cubicBezTo>
                  <a:cubicBezTo>
                    <a:pt x="56674" y="159544"/>
                    <a:pt x="80486" y="179546"/>
                    <a:pt x="84296" y="194786"/>
                  </a:cubicBezTo>
                  <a:cubicBezTo>
                    <a:pt x="86201" y="203359"/>
                    <a:pt x="77629" y="210026"/>
                    <a:pt x="64294" y="215741"/>
                  </a:cubicBezTo>
                  <a:lnTo>
                    <a:pt x="76676" y="257651"/>
                  </a:lnTo>
                  <a:lnTo>
                    <a:pt x="103346" y="257651"/>
                  </a:lnTo>
                  <a:cubicBezTo>
                    <a:pt x="103346" y="257651"/>
                    <a:pt x="160496" y="240506"/>
                    <a:pt x="156686" y="193834"/>
                  </a:cubicBezTo>
                  <a:cubicBezTo>
                    <a:pt x="153829" y="147161"/>
                    <a:pt x="64294" y="46196"/>
                    <a:pt x="51911" y="28099"/>
                  </a:cubicBezTo>
                  <a:cubicBezTo>
                    <a:pt x="46196" y="19526"/>
                    <a:pt x="26194" y="11906"/>
                    <a:pt x="7144" y="7144"/>
                  </a:cubicBezTo>
                  <a:close/>
                </a:path>
              </a:pathLst>
            </a:custGeom>
            <a:solidFill>
              <a:srgbClr val="00A49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7F551EF6-E7EE-41B6-BA6E-D4987A6DD889}"/>
                </a:ext>
              </a:extLst>
            </p:cNvPr>
            <p:cNvSpPr/>
            <p:nvPr/>
          </p:nvSpPr>
          <p:spPr>
            <a:xfrm>
              <a:off x="6541294" y="3589496"/>
              <a:ext cx="95250" cy="57150"/>
            </a:xfrm>
            <a:custGeom>
              <a:avLst/>
              <a:gdLst>
                <a:gd name="connsiteX0" fmla="*/ 7144 w 95250"/>
                <a:gd name="connsiteY0" fmla="*/ 50006 h 57150"/>
                <a:gd name="connsiteX1" fmla="*/ 7144 w 95250"/>
                <a:gd name="connsiteY1" fmla="*/ 25241 h 57150"/>
                <a:gd name="connsiteX2" fmla="*/ 80486 w 95250"/>
                <a:gd name="connsiteY2" fmla="*/ 7144 h 57150"/>
                <a:gd name="connsiteX3" fmla="*/ 92869 w 95250"/>
                <a:gd name="connsiteY3" fmla="*/ 49054 h 57150"/>
                <a:gd name="connsiteX4" fmla="*/ 7144 w 95250"/>
                <a:gd name="connsiteY4" fmla="*/ 49054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57150">
                  <a:moveTo>
                    <a:pt x="7144" y="50006"/>
                  </a:moveTo>
                  <a:lnTo>
                    <a:pt x="7144" y="25241"/>
                  </a:lnTo>
                  <a:cubicBezTo>
                    <a:pt x="7144" y="25241"/>
                    <a:pt x="52864" y="19526"/>
                    <a:pt x="80486" y="7144"/>
                  </a:cubicBezTo>
                  <a:lnTo>
                    <a:pt x="92869" y="49054"/>
                  </a:lnTo>
                  <a:lnTo>
                    <a:pt x="7144" y="49054"/>
                  </a:ln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AD3190AA-0798-4B4D-A3C6-B8F9BDEF304C}"/>
                </a:ext>
              </a:extLst>
            </p:cNvPr>
            <p:cNvSpPr/>
            <p:nvPr/>
          </p:nvSpPr>
          <p:spPr>
            <a:xfrm>
              <a:off x="6392704" y="3484721"/>
              <a:ext cx="238125" cy="161925"/>
            </a:xfrm>
            <a:custGeom>
              <a:avLst/>
              <a:gdLst>
                <a:gd name="connsiteX0" fmla="*/ 7144 w 238125"/>
                <a:gd name="connsiteY0" fmla="*/ 7144 h 161925"/>
                <a:gd name="connsiteX1" fmla="*/ 231934 w 238125"/>
                <a:gd name="connsiteY1" fmla="*/ 7144 h 161925"/>
                <a:gd name="connsiteX2" fmla="*/ 231934 w 238125"/>
                <a:gd name="connsiteY2" fmla="*/ 154781 h 161925"/>
                <a:gd name="connsiteX3" fmla="*/ 7144 w 238125"/>
                <a:gd name="connsiteY3" fmla="*/ 154781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8125" h="161925">
                  <a:moveTo>
                    <a:pt x="7144" y="7144"/>
                  </a:moveTo>
                  <a:lnTo>
                    <a:pt x="231934" y="7144"/>
                  </a:lnTo>
                  <a:lnTo>
                    <a:pt x="231934" y="154781"/>
                  </a:lnTo>
                  <a:lnTo>
                    <a:pt x="7144" y="154781"/>
                  </a:ln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F20479F9-CCE2-4A96-BAC4-57C384519E93}"/>
                </a:ext>
              </a:extLst>
            </p:cNvPr>
            <p:cNvSpPr/>
            <p:nvPr/>
          </p:nvSpPr>
          <p:spPr>
            <a:xfrm>
              <a:off x="6439376" y="3370421"/>
              <a:ext cx="123825" cy="66675"/>
            </a:xfrm>
            <a:custGeom>
              <a:avLst/>
              <a:gdLst>
                <a:gd name="connsiteX0" fmla="*/ 117634 w 123825"/>
                <a:gd name="connsiteY0" fmla="*/ 14764 h 66675"/>
                <a:gd name="connsiteX1" fmla="*/ 66199 w 123825"/>
                <a:gd name="connsiteY1" fmla="*/ 60484 h 66675"/>
                <a:gd name="connsiteX2" fmla="*/ 7144 w 123825"/>
                <a:gd name="connsiteY2" fmla="*/ 15716 h 66675"/>
                <a:gd name="connsiteX3" fmla="*/ 17621 w 123825"/>
                <a:gd name="connsiteY3" fmla="*/ 12859 h 66675"/>
                <a:gd name="connsiteX4" fmla="*/ 109061 w 123825"/>
                <a:gd name="connsiteY4" fmla="*/ 12859 h 66675"/>
                <a:gd name="connsiteX5" fmla="*/ 117634 w 123825"/>
                <a:gd name="connsiteY5" fmla="*/ 1476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3825" h="66675">
                  <a:moveTo>
                    <a:pt x="117634" y="14764"/>
                  </a:moveTo>
                  <a:cubicBezTo>
                    <a:pt x="114776" y="30004"/>
                    <a:pt x="105251" y="60484"/>
                    <a:pt x="66199" y="60484"/>
                  </a:cubicBezTo>
                  <a:cubicBezTo>
                    <a:pt x="27146" y="60484"/>
                    <a:pt x="11906" y="30956"/>
                    <a:pt x="7144" y="15716"/>
                  </a:cubicBezTo>
                  <a:cubicBezTo>
                    <a:pt x="10954" y="14764"/>
                    <a:pt x="13811" y="13811"/>
                    <a:pt x="17621" y="12859"/>
                  </a:cubicBezTo>
                  <a:cubicBezTo>
                    <a:pt x="47149" y="5239"/>
                    <a:pt x="78581" y="5239"/>
                    <a:pt x="109061" y="12859"/>
                  </a:cubicBezTo>
                  <a:cubicBezTo>
                    <a:pt x="110966" y="12859"/>
                    <a:pt x="113824" y="13811"/>
                    <a:pt x="117634" y="14764"/>
                  </a:cubicBez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E8C567F6-675A-4EE3-9A86-270280EA8B5D}"/>
                </a:ext>
              </a:extLst>
            </p:cNvPr>
            <p:cNvSpPr/>
            <p:nvPr/>
          </p:nvSpPr>
          <p:spPr>
            <a:xfrm>
              <a:off x="6449854" y="3369706"/>
              <a:ext cx="104775" cy="47625"/>
            </a:xfrm>
            <a:custGeom>
              <a:avLst/>
              <a:gdLst>
                <a:gd name="connsiteX0" fmla="*/ 97631 w 104775"/>
                <a:gd name="connsiteY0" fmla="*/ 13573 h 47625"/>
                <a:gd name="connsiteX1" fmla="*/ 49054 w 104775"/>
                <a:gd name="connsiteY1" fmla="*/ 41196 h 47625"/>
                <a:gd name="connsiteX2" fmla="*/ 7144 w 104775"/>
                <a:gd name="connsiteY2" fmla="*/ 13573 h 47625"/>
                <a:gd name="connsiteX3" fmla="*/ 97631 w 104775"/>
                <a:gd name="connsiteY3" fmla="*/ 13573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775" h="47625">
                  <a:moveTo>
                    <a:pt x="97631" y="13573"/>
                  </a:moveTo>
                  <a:cubicBezTo>
                    <a:pt x="87154" y="25003"/>
                    <a:pt x="69056" y="41196"/>
                    <a:pt x="49054" y="41196"/>
                  </a:cubicBezTo>
                  <a:cubicBezTo>
                    <a:pt x="25241" y="42148"/>
                    <a:pt x="11906" y="23098"/>
                    <a:pt x="7144" y="13573"/>
                  </a:cubicBezTo>
                  <a:cubicBezTo>
                    <a:pt x="36671" y="5001"/>
                    <a:pt x="68104" y="5001"/>
                    <a:pt x="97631" y="13573"/>
                  </a:cubicBezTo>
                  <a:close/>
                </a:path>
              </a:pathLst>
            </a:custGeom>
            <a:solidFill>
              <a:srgbClr val="EBE0B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15C2C8DB-477C-4FDE-BED8-C8ADA9CCFE72}"/>
                </a:ext>
              </a:extLst>
            </p:cNvPr>
            <p:cNvSpPr/>
            <p:nvPr/>
          </p:nvSpPr>
          <p:spPr>
            <a:xfrm>
              <a:off x="6436519" y="3252290"/>
              <a:ext cx="123825" cy="152400"/>
            </a:xfrm>
            <a:custGeom>
              <a:avLst/>
              <a:gdLst>
                <a:gd name="connsiteX0" fmla="*/ 121444 w 123825"/>
                <a:gd name="connsiteY0" fmla="*/ 78602 h 152400"/>
                <a:gd name="connsiteX1" fmla="*/ 64294 w 123825"/>
                <a:gd name="connsiteY1" fmla="*/ 150039 h 152400"/>
                <a:gd name="connsiteX2" fmla="*/ 7144 w 123825"/>
                <a:gd name="connsiteY2" fmla="*/ 78602 h 152400"/>
                <a:gd name="connsiteX3" fmla="*/ 64294 w 123825"/>
                <a:gd name="connsiteY3" fmla="*/ 7164 h 152400"/>
                <a:gd name="connsiteX4" fmla="*/ 121444 w 123825"/>
                <a:gd name="connsiteY4" fmla="*/ 78602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825" h="152400">
                  <a:moveTo>
                    <a:pt x="121444" y="78602"/>
                  </a:moveTo>
                  <a:cubicBezTo>
                    <a:pt x="121444" y="118607"/>
                    <a:pt x="95726" y="150039"/>
                    <a:pt x="64294" y="150039"/>
                  </a:cubicBezTo>
                  <a:cubicBezTo>
                    <a:pt x="32861" y="150039"/>
                    <a:pt x="7144" y="117654"/>
                    <a:pt x="7144" y="78602"/>
                  </a:cubicBezTo>
                  <a:cubicBezTo>
                    <a:pt x="7144" y="38597"/>
                    <a:pt x="32861" y="7164"/>
                    <a:pt x="64294" y="7164"/>
                  </a:cubicBezTo>
                  <a:cubicBezTo>
                    <a:pt x="95726" y="6212"/>
                    <a:pt x="121444" y="38597"/>
                    <a:pt x="121444" y="78602"/>
                  </a:cubicBez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780E4070-6FEA-47CC-8D1D-2C54B2EFD7B3}"/>
                </a:ext>
              </a:extLst>
            </p:cNvPr>
            <p:cNvSpPr/>
            <p:nvPr/>
          </p:nvSpPr>
          <p:spPr>
            <a:xfrm>
              <a:off x="6421279" y="3319938"/>
              <a:ext cx="47625" cy="47625"/>
            </a:xfrm>
            <a:custGeom>
              <a:avLst/>
              <a:gdLst>
                <a:gd name="connsiteX0" fmla="*/ 41434 w 47625"/>
                <a:gd name="connsiteY0" fmla="*/ 24289 h 47625"/>
                <a:gd name="connsiteX1" fmla="*/ 24289 w 47625"/>
                <a:gd name="connsiteY1" fmla="*/ 41434 h 47625"/>
                <a:gd name="connsiteX2" fmla="*/ 7144 w 47625"/>
                <a:gd name="connsiteY2" fmla="*/ 24289 h 47625"/>
                <a:gd name="connsiteX3" fmla="*/ 24289 w 47625"/>
                <a:gd name="connsiteY3" fmla="*/ 7144 h 47625"/>
                <a:gd name="connsiteX4" fmla="*/ 41434 w 47625"/>
                <a:gd name="connsiteY4" fmla="*/ 24289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25" h="47625">
                  <a:moveTo>
                    <a:pt x="41434" y="24289"/>
                  </a:moveTo>
                  <a:cubicBezTo>
                    <a:pt x="41434" y="33814"/>
                    <a:pt x="33814" y="41434"/>
                    <a:pt x="24289" y="41434"/>
                  </a:cubicBezTo>
                  <a:cubicBezTo>
                    <a:pt x="14764" y="41434"/>
                    <a:pt x="7144" y="33814"/>
                    <a:pt x="7144" y="24289"/>
                  </a:cubicBezTo>
                  <a:cubicBezTo>
                    <a:pt x="7144" y="14764"/>
                    <a:pt x="14764" y="7144"/>
                    <a:pt x="24289" y="7144"/>
                  </a:cubicBezTo>
                  <a:cubicBezTo>
                    <a:pt x="33814" y="7144"/>
                    <a:pt x="41434" y="14764"/>
                    <a:pt x="41434" y="24289"/>
                  </a:cubicBez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C783EC87-DDBA-4339-B2D6-0ED68646427E}"/>
                </a:ext>
              </a:extLst>
            </p:cNvPr>
            <p:cNvSpPr/>
            <p:nvPr/>
          </p:nvSpPr>
          <p:spPr>
            <a:xfrm>
              <a:off x="6533674" y="3319938"/>
              <a:ext cx="47625" cy="47625"/>
            </a:xfrm>
            <a:custGeom>
              <a:avLst/>
              <a:gdLst>
                <a:gd name="connsiteX0" fmla="*/ 41434 w 47625"/>
                <a:gd name="connsiteY0" fmla="*/ 24289 h 47625"/>
                <a:gd name="connsiteX1" fmla="*/ 24289 w 47625"/>
                <a:gd name="connsiteY1" fmla="*/ 41434 h 47625"/>
                <a:gd name="connsiteX2" fmla="*/ 7144 w 47625"/>
                <a:gd name="connsiteY2" fmla="*/ 24289 h 47625"/>
                <a:gd name="connsiteX3" fmla="*/ 24289 w 47625"/>
                <a:gd name="connsiteY3" fmla="*/ 7144 h 47625"/>
                <a:gd name="connsiteX4" fmla="*/ 41434 w 47625"/>
                <a:gd name="connsiteY4" fmla="*/ 24289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25" h="47625">
                  <a:moveTo>
                    <a:pt x="41434" y="24289"/>
                  </a:moveTo>
                  <a:cubicBezTo>
                    <a:pt x="41434" y="33814"/>
                    <a:pt x="33814" y="41434"/>
                    <a:pt x="24289" y="41434"/>
                  </a:cubicBezTo>
                  <a:cubicBezTo>
                    <a:pt x="14764" y="41434"/>
                    <a:pt x="7144" y="33814"/>
                    <a:pt x="7144" y="24289"/>
                  </a:cubicBezTo>
                  <a:cubicBezTo>
                    <a:pt x="7144" y="14764"/>
                    <a:pt x="14764" y="7144"/>
                    <a:pt x="24289" y="7144"/>
                  </a:cubicBezTo>
                  <a:cubicBezTo>
                    <a:pt x="33814" y="7144"/>
                    <a:pt x="41434" y="14764"/>
                    <a:pt x="41434" y="24289"/>
                  </a:cubicBez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1EAE6B4F-43FD-4751-998E-87F5CDDDB4D5}"/>
                </a:ext>
              </a:extLst>
            </p:cNvPr>
            <p:cNvSpPr/>
            <p:nvPr/>
          </p:nvSpPr>
          <p:spPr>
            <a:xfrm>
              <a:off x="6423755" y="3229451"/>
              <a:ext cx="142875" cy="114300"/>
            </a:xfrm>
            <a:custGeom>
              <a:avLst/>
              <a:gdLst>
                <a:gd name="connsiteX0" fmla="*/ 139922 w 142875"/>
                <a:gd name="connsiteY0" fmla="*/ 98584 h 114300"/>
                <a:gd name="connsiteX1" fmla="*/ 131350 w 142875"/>
                <a:gd name="connsiteY1" fmla="*/ 110014 h 114300"/>
                <a:gd name="connsiteX2" fmla="*/ 123730 w 142875"/>
                <a:gd name="connsiteY2" fmla="*/ 95726 h 114300"/>
                <a:gd name="connsiteX3" fmla="*/ 101822 w 142875"/>
                <a:gd name="connsiteY3" fmla="*/ 69056 h 114300"/>
                <a:gd name="connsiteX4" fmla="*/ 74200 w 142875"/>
                <a:gd name="connsiteY4" fmla="*/ 69056 h 114300"/>
                <a:gd name="connsiteX5" fmla="*/ 45625 w 142875"/>
                <a:gd name="connsiteY5" fmla="*/ 55721 h 114300"/>
                <a:gd name="connsiteX6" fmla="*/ 22765 w 142875"/>
                <a:gd name="connsiteY6" fmla="*/ 110966 h 114300"/>
                <a:gd name="connsiteX7" fmla="*/ 12287 w 142875"/>
                <a:gd name="connsiteY7" fmla="*/ 100489 h 114300"/>
                <a:gd name="connsiteX8" fmla="*/ 17050 w 142875"/>
                <a:gd name="connsiteY8" fmla="*/ 45244 h 114300"/>
                <a:gd name="connsiteX9" fmla="*/ 39910 w 142875"/>
                <a:gd name="connsiteY9" fmla="*/ 17621 h 114300"/>
                <a:gd name="connsiteX10" fmla="*/ 133255 w 142875"/>
                <a:gd name="connsiteY10" fmla="*/ 7144 h 114300"/>
                <a:gd name="connsiteX11" fmla="*/ 133255 w 142875"/>
                <a:gd name="connsiteY11" fmla="*/ 48101 h 114300"/>
                <a:gd name="connsiteX12" fmla="*/ 139922 w 142875"/>
                <a:gd name="connsiteY12" fmla="*/ 98584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2875" h="114300">
                  <a:moveTo>
                    <a:pt x="139922" y="98584"/>
                  </a:moveTo>
                  <a:cubicBezTo>
                    <a:pt x="138970" y="104299"/>
                    <a:pt x="130397" y="104299"/>
                    <a:pt x="131350" y="110014"/>
                  </a:cubicBezTo>
                  <a:cubicBezTo>
                    <a:pt x="129445" y="105251"/>
                    <a:pt x="127540" y="99536"/>
                    <a:pt x="123730" y="95726"/>
                  </a:cubicBezTo>
                  <a:cubicBezTo>
                    <a:pt x="123730" y="83344"/>
                    <a:pt x="114205" y="70961"/>
                    <a:pt x="101822" y="69056"/>
                  </a:cubicBezTo>
                  <a:cubicBezTo>
                    <a:pt x="93250" y="67151"/>
                    <a:pt x="83725" y="70009"/>
                    <a:pt x="74200" y="69056"/>
                  </a:cubicBezTo>
                  <a:cubicBezTo>
                    <a:pt x="63722" y="68104"/>
                    <a:pt x="53245" y="63341"/>
                    <a:pt x="45625" y="55721"/>
                  </a:cubicBezTo>
                  <a:cubicBezTo>
                    <a:pt x="33242" y="70961"/>
                    <a:pt x="23717" y="90964"/>
                    <a:pt x="22765" y="110966"/>
                  </a:cubicBezTo>
                  <a:cubicBezTo>
                    <a:pt x="20860" y="106204"/>
                    <a:pt x="17050" y="102394"/>
                    <a:pt x="12287" y="100489"/>
                  </a:cubicBezTo>
                  <a:cubicBezTo>
                    <a:pt x="12287" y="100489"/>
                    <a:pt x="-2000" y="53816"/>
                    <a:pt x="17050" y="45244"/>
                  </a:cubicBezTo>
                  <a:cubicBezTo>
                    <a:pt x="17050" y="45244"/>
                    <a:pt x="9430" y="22384"/>
                    <a:pt x="39910" y="17621"/>
                  </a:cubicBezTo>
                  <a:cubicBezTo>
                    <a:pt x="70390" y="12859"/>
                    <a:pt x="124682" y="27146"/>
                    <a:pt x="133255" y="7144"/>
                  </a:cubicBezTo>
                  <a:cubicBezTo>
                    <a:pt x="133255" y="7144"/>
                    <a:pt x="145637" y="39529"/>
                    <a:pt x="133255" y="48101"/>
                  </a:cubicBezTo>
                  <a:cubicBezTo>
                    <a:pt x="134207" y="48101"/>
                    <a:pt x="147542" y="47149"/>
                    <a:pt x="139922" y="98584"/>
                  </a:cubicBezTo>
                  <a:close/>
                </a:path>
              </a:pathLst>
            </a:custGeom>
            <a:solidFill>
              <a:srgbClr val="5202B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2FE15A27-31EF-4F91-AAB2-872749692FC3}"/>
                </a:ext>
              </a:extLst>
            </p:cNvPr>
            <p:cNvSpPr/>
            <p:nvPr/>
          </p:nvSpPr>
          <p:spPr>
            <a:xfrm>
              <a:off x="5727836" y="3195222"/>
              <a:ext cx="219075" cy="295275"/>
            </a:xfrm>
            <a:custGeom>
              <a:avLst/>
              <a:gdLst>
                <a:gd name="connsiteX0" fmla="*/ 204334 w 219075"/>
                <a:gd name="connsiteY0" fmla="*/ 129002 h 295275"/>
                <a:gd name="connsiteX1" fmla="*/ 215764 w 219075"/>
                <a:gd name="connsiteY1" fmla="*/ 63280 h 295275"/>
                <a:gd name="connsiteX2" fmla="*/ 116704 w 219075"/>
                <a:gd name="connsiteY2" fmla="*/ 9940 h 295275"/>
                <a:gd name="connsiteX3" fmla="*/ 88129 w 219075"/>
                <a:gd name="connsiteY3" fmla="*/ 34705 h 295275"/>
                <a:gd name="connsiteX4" fmla="*/ 66221 w 219075"/>
                <a:gd name="connsiteY4" fmla="*/ 74710 h 295275"/>
                <a:gd name="connsiteX5" fmla="*/ 65269 w 219075"/>
                <a:gd name="connsiteY5" fmla="*/ 118525 h 295275"/>
                <a:gd name="connsiteX6" fmla="*/ 64316 w 219075"/>
                <a:gd name="connsiteY6" fmla="*/ 132812 h 295275"/>
                <a:gd name="connsiteX7" fmla="*/ 55744 w 219075"/>
                <a:gd name="connsiteY7" fmla="*/ 145195 h 295275"/>
                <a:gd name="connsiteX8" fmla="*/ 34789 w 219075"/>
                <a:gd name="connsiteY8" fmla="*/ 164245 h 295275"/>
                <a:gd name="connsiteX9" fmla="*/ 15739 w 219075"/>
                <a:gd name="connsiteY9" fmla="*/ 194725 h 295275"/>
                <a:gd name="connsiteX10" fmla="*/ 9071 w 219075"/>
                <a:gd name="connsiteY10" fmla="*/ 244255 h 295275"/>
                <a:gd name="connsiteX11" fmla="*/ 43361 w 219075"/>
                <a:gd name="connsiteY11" fmla="*/ 279497 h 295275"/>
                <a:gd name="connsiteX12" fmla="*/ 135754 w 219075"/>
                <a:gd name="connsiteY12" fmla="*/ 295690 h 295275"/>
                <a:gd name="connsiteX13" fmla="*/ 189094 w 219075"/>
                <a:gd name="connsiteY13" fmla="*/ 271877 h 295275"/>
                <a:gd name="connsiteX14" fmla="*/ 211954 w 219075"/>
                <a:gd name="connsiteY14" fmla="*/ 219490 h 295275"/>
                <a:gd name="connsiteX15" fmla="*/ 207191 w 219075"/>
                <a:gd name="connsiteY15" fmla="*/ 162340 h 295275"/>
                <a:gd name="connsiteX16" fmla="*/ 204334 w 219075"/>
                <a:gd name="connsiteY16" fmla="*/ 129002 h 295275"/>
                <a:gd name="connsiteX17" fmla="*/ 70031 w 219075"/>
                <a:gd name="connsiteY17" fmla="*/ 121382 h 295275"/>
                <a:gd name="connsiteX18" fmla="*/ 69079 w 219075"/>
                <a:gd name="connsiteY18" fmla="*/ 100427 h 295275"/>
                <a:gd name="connsiteX19" fmla="*/ 83366 w 219075"/>
                <a:gd name="connsiteY19" fmla="*/ 47087 h 295275"/>
                <a:gd name="connsiteX20" fmla="*/ 82414 w 219075"/>
                <a:gd name="connsiteY20" fmla="*/ 50897 h 295275"/>
                <a:gd name="connsiteX21" fmla="*/ 70031 w 219075"/>
                <a:gd name="connsiteY21" fmla="*/ 121382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19075" h="295275">
                  <a:moveTo>
                    <a:pt x="204334" y="129002"/>
                  </a:moveTo>
                  <a:cubicBezTo>
                    <a:pt x="205286" y="106142"/>
                    <a:pt x="218621" y="85187"/>
                    <a:pt x="215764" y="63280"/>
                  </a:cubicBezTo>
                  <a:cubicBezTo>
                    <a:pt x="210049" y="23275"/>
                    <a:pt x="152899" y="-1490"/>
                    <a:pt x="116704" y="9940"/>
                  </a:cubicBezTo>
                  <a:cubicBezTo>
                    <a:pt x="104321" y="13750"/>
                    <a:pt x="94796" y="23275"/>
                    <a:pt x="88129" y="34705"/>
                  </a:cubicBezTo>
                  <a:cubicBezTo>
                    <a:pt x="77651" y="46135"/>
                    <a:pt x="70031" y="59470"/>
                    <a:pt x="66221" y="74710"/>
                  </a:cubicBezTo>
                  <a:cubicBezTo>
                    <a:pt x="62411" y="88997"/>
                    <a:pt x="65269" y="103285"/>
                    <a:pt x="65269" y="118525"/>
                  </a:cubicBezTo>
                  <a:cubicBezTo>
                    <a:pt x="65269" y="123287"/>
                    <a:pt x="65269" y="128050"/>
                    <a:pt x="64316" y="132812"/>
                  </a:cubicBezTo>
                  <a:cubicBezTo>
                    <a:pt x="62411" y="137575"/>
                    <a:pt x="59554" y="141385"/>
                    <a:pt x="55744" y="145195"/>
                  </a:cubicBezTo>
                  <a:cubicBezTo>
                    <a:pt x="49076" y="151862"/>
                    <a:pt x="41456" y="157577"/>
                    <a:pt x="34789" y="164245"/>
                  </a:cubicBezTo>
                  <a:cubicBezTo>
                    <a:pt x="26216" y="172817"/>
                    <a:pt x="20501" y="183295"/>
                    <a:pt x="15739" y="194725"/>
                  </a:cubicBezTo>
                  <a:cubicBezTo>
                    <a:pt x="9071" y="210917"/>
                    <a:pt x="4309" y="228062"/>
                    <a:pt x="9071" y="244255"/>
                  </a:cubicBezTo>
                  <a:cubicBezTo>
                    <a:pt x="14786" y="260447"/>
                    <a:pt x="29074" y="271877"/>
                    <a:pt x="43361" y="279497"/>
                  </a:cubicBezTo>
                  <a:cubicBezTo>
                    <a:pt x="71936" y="294737"/>
                    <a:pt x="104321" y="300452"/>
                    <a:pt x="135754" y="295690"/>
                  </a:cubicBezTo>
                  <a:cubicBezTo>
                    <a:pt x="155756" y="292832"/>
                    <a:pt x="174806" y="286165"/>
                    <a:pt x="189094" y="271877"/>
                  </a:cubicBezTo>
                  <a:cubicBezTo>
                    <a:pt x="202429" y="258542"/>
                    <a:pt x="210049" y="238540"/>
                    <a:pt x="211954" y="219490"/>
                  </a:cubicBezTo>
                  <a:cubicBezTo>
                    <a:pt x="213859" y="200440"/>
                    <a:pt x="211001" y="180437"/>
                    <a:pt x="207191" y="162340"/>
                  </a:cubicBezTo>
                  <a:cubicBezTo>
                    <a:pt x="207191" y="151862"/>
                    <a:pt x="204334" y="140432"/>
                    <a:pt x="204334" y="129002"/>
                  </a:cubicBezTo>
                  <a:close/>
                  <a:moveTo>
                    <a:pt x="70031" y="121382"/>
                  </a:moveTo>
                  <a:cubicBezTo>
                    <a:pt x="70031" y="114715"/>
                    <a:pt x="70031" y="108047"/>
                    <a:pt x="69079" y="100427"/>
                  </a:cubicBezTo>
                  <a:cubicBezTo>
                    <a:pt x="68126" y="79472"/>
                    <a:pt x="72889" y="62327"/>
                    <a:pt x="83366" y="47087"/>
                  </a:cubicBezTo>
                  <a:cubicBezTo>
                    <a:pt x="83366" y="48040"/>
                    <a:pt x="82414" y="48992"/>
                    <a:pt x="82414" y="50897"/>
                  </a:cubicBezTo>
                  <a:cubicBezTo>
                    <a:pt x="75746" y="73757"/>
                    <a:pt x="77651" y="99475"/>
                    <a:pt x="70031" y="121382"/>
                  </a:cubicBezTo>
                  <a:close/>
                </a:path>
              </a:pathLst>
            </a:custGeom>
            <a:solidFill>
              <a:srgbClr val="FF674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EA73F183-295A-4410-BA7B-94F45FEC0BCD}"/>
                </a:ext>
              </a:extLst>
            </p:cNvPr>
            <p:cNvSpPr/>
            <p:nvPr/>
          </p:nvSpPr>
          <p:spPr>
            <a:xfrm>
              <a:off x="5594875" y="3521868"/>
              <a:ext cx="114300" cy="333375"/>
            </a:xfrm>
            <a:custGeom>
              <a:avLst/>
              <a:gdLst>
                <a:gd name="connsiteX0" fmla="*/ 108695 w 114300"/>
                <a:gd name="connsiteY0" fmla="*/ 330041 h 333375"/>
                <a:gd name="connsiteX1" fmla="*/ 16302 w 114300"/>
                <a:gd name="connsiteY1" fmla="*/ 273844 h 333375"/>
                <a:gd name="connsiteX2" fmla="*/ 94407 w 114300"/>
                <a:gd name="connsiteY2" fmla="*/ 7144 h 333375"/>
                <a:gd name="connsiteX3" fmla="*/ 107742 w 114300"/>
                <a:gd name="connsiteY3" fmla="*/ 16669 h 333375"/>
                <a:gd name="connsiteX4" fmla="*/ 30590 w 114300"/>
                <a:gd name="connsiteY4" fmla="*/ 267176 h 333375"/>
                <a:gd name="connsiteX5" fmla="*/ 109647 w 114300"/>
                <a:gd name="connsiteY5" fmla="*/ 313849 h 333375"/>
                <a:gd name="connsiteX6" fmla="*/ 108695 w 114300"/>
                <a:gd name="connsiteY6" fmla="*/ 330041 h 333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300" h="333375">
                  <a:moveTo>
                    <a:pt x="108695" y="330041"/>
                  </a:moveTo>
                  <a:cubicBezTo>
                    <a:pt x="62022" y="324326"/>
                    <a:pt x="30590" y="306229"/>
                    <a:pt x="16302" y="273844"/>
                  </a:cubicBezTo>
                  <a:cubicBezTo>
                    <a:pt x="-25608" y="182404"/>
                    <a:pt x="89645" y="14764"/>
                    <a:pt x="94407" y="7144"/>
                  </a:cubicBezTo>
                  <a:lnTo>
                    <a:pt x="107742" y="16669"/>
                  </a:lnTo>
                  <a:cubicBezTo>
                    <a:pt x="106790" y="18574"/>
                    <a:pt x="-7510" y="183356"/>
                    <a:pt x="30590" y="267176"/>
                  </a:cubicBezTo>
                  <a:cubicBezTo>
                    <a:pt x="42020" y="293846"/>
                    <a:pt x="68690" y="309086"/>
                    <a:pt x="109647" y="313849"/>
                  </a:cubicBezTo>
                  <a:lnTo>
                    <a:pt x="108695" y="330041"/>
                  </a:ln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94946B45-AF29-48A6-9D90-96B6835F2FB0}"/>
                </a:ext>
              </a:extLst>
            </p:cNvPr>
            <p:cNvSpPr/>
            <p:nvPr/>
          </p:nvSpPr>
          <p:spPr>
            <a:xfrm>
              <a:off x="5638324" y="3458051"/>
              <a:ext cx="180975" cy="180975"/>
            </a:xfrm>
            <a:custGeom>
              <a:avLst/>
              <a:gdLst>
                <a:gd name="connsiteX0" fmla="*/ 176689 w 180975"/>
                <a:gd name="connsiteY0" fmla="*/ 176689 h 180975"/>
                <a:gd name="connsiteX1" fmla="*/ 48101 w 180975"/>
                <a:gd name="connsiteY1" fmla="*/ 176689 h 180975"/>
                <a:gd name="connsiteX2" fmla="*/ 7144 w 180975"/>
                <a:gd name="connsiteY2" fmla="*/ 135731 h 180975"/>
                <a:gd name="connsiteX3" fmla="*/ 7144 w 180975"/>
                <a:gd name="connsiteY3" fmla="*/ 48101 h 180975"/>
                <a:gd name="connsiteX4" fmla="*/ 48101 w 180975"/>
                <a:gd name="connsiteY4" fmla="*/ 7144 h 180975"/>
                <a:gd name="connsiteX5" fmla="*/ 176689 w 180975"/>
                <a:gd name="connsiteY5" fmla="*/ 7144 h 180975"/>
                <a:gd name="connsiteX6" fmla="*/ 176689 w 180975"/>
                <a:gd name="connsiteY6" fmla="*/ 176689 h 180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0975" h="180975">
                  <a:moveTo>
                    <a:pt x="176689" y="176689"/>
                  </a:moveTo>
                  <a:lnTo>
                    <a:pt x="48101" y="176689"/>
                  </a:lnTo>
                  <a:cubicBezTo>
                    <a:pt x="25241" y="176689"/>
                    <a:pt x="7144" y="158591"/>
                    <a:pt x="7144" y="135731"/>
                  </a:cubicBezTo>
                  <a:lnTo>
                    <a:pt x="7144" y="48101"/>
                  </a:lnTo>
                  <a:cubicBezTo>
                    <a:pt x="7144" y="25241"/>
                    <a:pt x="25241" y="7144"/>
                    <a:pt x="48101" y="7144"/>
                  </a:cubicBezTo>
                  <a:lnTo>
                    <a:pt x="176689" y="7144"/>
                  </a:lnTo>
                  <a:lnTo>
                    <a:pt x="176689" y="176689"/>
                  </a:ln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A3926878-021B-4D56-AC8F-76B5949D37F4}"/>
                </a:ext>
              </a:extLst>
            </p:cNvPr>
            <p:cNvSpPr/>
            <p:nvPr/>
          </p:nvSpPr>
          <p:spPr>
            <a:xfrm>
              <a:off x="5638324" y="3822858"/>
              <a:ext cx="257175" cy="38100"/>
            </a:xfrm>
            <a:custGeom>
              <a:avLst/>
              <a:gdLst>
                <a:gd name="connsiteX0" fmla="*/ 239554 w 257175"/>
                <a:gd name="connsiteY0" fmla="*/ 37624 h 38100"/>
                <a:gd name="connsiteX1" fmla="*/ 22384 w 257175"/>
                <a:gd name="connsiteY1" fmla="*/ 37624 h 38100"/>
                <a:gd name="connsiteX2" fmla="*/ 7144 w 257175"/>
                <a:gd name="connsiteY2" fmla="*/ 22384 h 38100"/>
                <a:gd name="connsiteX3" fmla="*/ 7144 w 257175"/>
                <a:gd name="connsiteY3" fmla="*/ 22384 h 38100"/>
                <a:gd name="connsiteX4" fmla="*/ 22384 w 257175"/>
                <a:gd name="connsiteY4" fmla="*/ 7144 h 38100"/>
                <a:gd name="connsiteX5" fmla="*/ 239554 w 257175"/>
                <a:gd name="connsiteY5" fmla="*/ 7144 h 38100"/>
                <a:gd name="connsiteX6" fmla="*/ 254794 w 257175"/>
                <a:gd name="connsiteY6" fmla="*/ 22384 h 38100"/>
                <a:gd name="connsiteX7" fmla="*/ 254794 w 257175"/>
                <a:gd name="connsiteY7" fmla="*/ 22384 h 38100"/>
                <a:gd name="connsiteX8" fmla="*/ 239554 w 257175"/>
                <a:gd name="connsiteY8" fmla="*/ 37624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7175" h="38100">
                  <a:moveTo>
                    <a:pt x="239554" y="37624"/>
                  </a:moveTo>
                  <a:lnTo>
                    <a:pt x="22384" y="37624"/>
                  </a:lnTo>
                  <a:cubicBezTo>
                    <a:pt x="13811" y="37624"/>
                    <a:pt x="7144" y="30956"/>
                    <a:pt x="7144" y="22384"/>
                  </a:cubicBezTo>
                  <a:lnTo>
                    <a:pt x="7144" y="22384"/>
                  </a:lnTo>
                  <a:cubicBezTo>
                    <a:pt x="7144" y="13811"/>
                    <a:pt x="13811" y="7144"/>
                    <a:pt x="22384" y="7144"/>
                  </a:cubicBezTo>
                  <a:lnTo>
                    <a:pt x="239554" y="7144"/>
                  </a:lnTo>
                  <a:cubicBezTo>
                    <a:pt x="248126" y="7144"/>
                    <a:pt x="254794" y="13811"/>
                    <a:pt x="254794" y="22384"/>
                  </a:cubicBezTo>
                  <a:lnTo>
                    <a:pt x="254794" y="22384"/>
                  </a:lnTo>
                  <a:cubicBezTo>
                    <a:pt x="254794" y="30004"/>
                    <a:pt x="248126" y="37624"/>
                    <a:pt x="239554" y="37624"/>
                  </a:cubicBez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2038A079-2B13-4750-938C-6E0262E0605C}"/>
                </a:ext>
              </a:extLst>
            </p:cNvPr>
            <p:cNvSpPr/>
            <p:nvPr/>
          </p:nvSpPr>
          <p:spPr>
            <a:xfrm>
              <a:off x="5757386" y="3716040"/>
              <a:ext cx="247650" cy="333375"/>
            </a:xfrm>
            <a:custGeom>
              <a:avLst/>
              <a:gdLst>
                <a:gd name="connsiteX0" fmla="*/ 13811 w 247650"/>
                <a:gd name="connsiteY0" fmla="*/ 112057 h 333375"/>
                <a:gd name="connsiteX1" fmla="*/ 162401 w 247650"/>
                <a:gd name="connsiteY1" fmla="*/ 112057 h 333375"/>
                <a:gd name="connsiteX2" fmla="*/ 128111 w 247650"/>
                <a:gd name="connsiteY2" fmla="*/ 329227 h 333375"/>
                <a:gd name="connsiteX3" fmla="*/ 171926 w 247650"/>
                <a:gd name="connsiteY3" fmla="*/ 329227 h 333375"/>
                <a:gd name="connsiteX4" fmla="*/ 234791 w 247650"/>
                <a:gd name="connsiteY4" fmla="*/ 35857 h 333375"/>
                <a:gd name="connsiteX5" fmla="*/ 100489 w 247650"/>
                <a:gd name="connsiteY5" fmla="*/ 7282 h 333375"/>
                <a:gd name="connsiteX6" fmla="*/ 7144 w 247650"/>
                <a:gd name="connsiteY6" fmla="*/ 55860 h 333375"/>
                <a:gd name="connsiteX7" fmla="*/ 13811 w 247650"/>
                <a:gd name="connsiteY7" fmla="*/ 112057 h 333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7650" h="333375">
                  <a:moveTo>
                    <a:pt x="13811" y="112057"/>
                  </a:moveTo>
                  <a:cubicBezTo>
                    <a:pt x="13811" y="112057"/>
                    <a:pt x="127159" y="116819"/>
                    <a:pt x="162401" y="112057"/>
                  </a:cubicBezTo>
                  <a:lnTo>
                    <a:pt x="128111" y="329227"/>
                  </a:lnTo>
                  <a:lnTo>
                    <a:pt x="171926" y="329227"/>
                  </a:lnTo>
                  <a:cubicBezTo>
                    <a:pt x="171926" y="329227"/>
                    <a:pt x="267176" y="68242"/>
                    <a:pt x="234791" y="35857"/>
                  </a:cubicBezTo>
                  <a:cubicBezTo>
                    <a:pt x="202406" y="3472"/>
                    <a:pt x="100489" y="7282"/>
                    <a:pt x="100489" y="7282"/>
                  </a:cubicBezTo>
                  <a:lnTo>
                    <a:pt x="7144" y="55860"/>
                  </a:lnTo>
                  <a:lnTo>
                    <a:pt x="13811" y="112057"/>
                  </a:lnTo>
                  <a:close/>
                </a:path>
              </a:pathLst>
            </a:custGeom>
            <a:solidFill>
              <a:srgbClr val="5202B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35F58838-6866-4060-8DD1-9EF33008810D}"/>
                </a:ext>
              </a:extLst>
            </p:cNvPr>
            <p:cNvSpPr/>
            <p:nvPr/>
          </p:nvSpPr>
          <p:spPr>
            <a:xfrm>
              <a:off x="5885974" y="4038123"/>
              <a:ext cx="95250" cy="38100"/>
            </a:xfrm>
            <a:custGeom>
              <a:avLst/>
              <a:gdLst>
                <a:gd name="connsiteX0" fmla="*/ 7144 w 95250"/>
                <a:gd name="connsiteY0" fmla="*/ 7144 h 38100"/>
                <a:gd name="connsiteX1" fmla="*/ 8096 w 95250"/>
                <a:gd name="connsiteY1" fmla="*/ 20479 h 38100"/>
                <a:gd name="connsiteX2" fmla="*/ 10001 w 95250"/>
                <a:gd name="connsiteY2" fmla="*/ 39529 h 38100"/>
                <a:gd name="connsiteX3" fmla="*/ 90011 w 95250"/>
                <a:gd name="connsiteY3" fmla="*/ 39529 h 38100"/>
                <a:gd name="connsiteX4" fmla="*/ 92869 w 95250"/>
                <a:gd name="connsiteY4" fmla="*/ 30956 h 38100"/>
                <a:gd name="connsiteX5" fmla="*/ 74771 w 95250"/>
                <a:gd name="connsiteY5" fmla="*/ 19526 h 38100"/>
                <a:gd name="connsiteX6" fmla="*/ 41434 w 95250"/>
                <a:gd name="connsiteY6" fmla="*/ 7144 h 38100"/>
                <a:gd name="connsiteX7" fmla="*/ 7144 w 95250"/>
                <a:gd name="connsiteY7" fmla="*/ 7144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250" h="38100">
                  <a:moveTo>
                    <a:pt x="7144" y="7144"/>
                  </a:moveTo>
                  <a:lnTo>
                    <a:pt x="8096" y="20479"/>
                  </a:lnTo>
                  <a:lnTo>
                    <a:pt x="10001" y="39529"/>
                  </a:lnTo>
                  <a:lnTo>
                    <a:pt x="90011" y="39529"/>
                  </a:lnTo>
                  <a:cubicBezTo>
                    <a:pt x="94774" y="39529"/>
                    <a:pt x="96679" y="33814"/>
                    <a:pt x="92869" y="30956"/>
                  </a:cubicBezTo>
                  <a:cubicBezTo>
                    <a:pt x="88106" y="27146"/>
                    <a:pt x="81439" y="23336"/>
                    <a:pt x="74771" y="19526"/>
                  </a:cubicBezTo>
                  <a:cubicBezTo>
                    <a:pt x="58579" y="11906"/>
                    <a:pt x="41434" y="7144"/>
                    <a:pt x="41434" y="7144"/>
                  </a:cubicBezTo>
                  <a:lnTo>
                    <a:pt x="7144" y="7144"/>
                  </a:ln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AA0460CB-DB2D-4FB7-A398-05BAD9D5A95E}"/>
                </a:ext>
              </a:extLst>
            </p:cNvPr>
            <p:cNvSpPr/>
            <p:nvPr/>
          </p:nvSpPr>
          <p:spPr>
            <a:xfrm>
              <a:off x="5885974" y="4038123"/>
              <a:ext cx="76200" cy="28575"/>
            </a:xfrm>
            <a:custGeom>
              <a:avLst/>
              <a:gdLst>
                <a:gd name="connsiteX0" fmla="*/ 7144 w 76200"/>
                <a:gd name="connsiteY0" fmla="*/ 7144 h 28575"/>
                <a:gd name="connsiteX1" fmla="*/ 8096 w 76200"/>
                <a:gd name="connsiteY1" fmla="*/ 20479 h 28575"/>
                <a:gd name="connsiteX2" fmla="*/ 24289 w 76200"/>
                <a:gd name="connsiteY2" fmla="*/ 26194 h 28575"/>
                <a:gd name="connsiteX3" fmla="*/ 51911 w 76200"/>
                <a:gd name="connsiteY3" fmla="*/ 28099 h 28575"/>
                <a:gd name="connsiteX4" fmla="*/ 73819 w 76200"/>
                <a:gd name="connsiteY4" fmla="*/ 19526 h 28575"/>
                <a:gd name="connsiteX5" fmla="*/ 40481 w 76200"/>
                <a:gd name="connsiteY5" fmla="*/ 7144 h 28575"/>
                <a:gd name="connsiteX6" fmla="*/ 7144 w 76200"/>
                <a:gd name="connsiteY6" fmla="*/ 714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200" h="28575">
                  <a:moveTo>
                    <a:pt x="7144" y="7144"/>
                  </a:moveTo>
                  <a:lnTo>
                    <a:pt x="8096" y="20479"/>
                  </a:lnTo>
                  <a:cubicBezTo>
                    <a:pt x="12859" y="23336"/>
                    <a:pt x="18574" y="25241"/>
                    <a:pt x="24289" y="26194"/>
                  </a:cubicBezTo>
                  <a:cubicBezTo>
                    <a:pt x="33814" y="28099"/>
                    <a:pt x="43339" y="28099"/>
                    <a:pt x="51911" y="28099"/>
                  </a:cubicBezTo>
                  <a:cubicBezTo>
                    <a:pt x="60484" y="28099"/>
                    <a:pt x="69056" y="26194"/>
                    <a:pt x="73819" y="19526"/>
                  </a:cubicBezTo>
                  <a:cubicBezTo>
                    <a:pt x="57626" y="11906"/>
                    <a:pt x="40481" y="7144"/>
                    <a:pt x="40481" y="7144"/>
                  </a:cubicBezTo>
                  <a:lnTo>
                    <a:pt x="7144" y="7144"/>
                  </a:ln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C6E967A4-BE6A-47A3-8007-14951D366474}"/>
                </a:ext>
              </a:extLst>
            </p:cNvPr>
            <p:cNvSpPr/>
            <p:nvPr/>
          </p:nvSpPr>
          <p:spPr>
            <a:xfrm>
              <a:off x="5878354" y="3339941"/>
              <a:ext cx="171450" cy="295275"/>
            </a:xfrm>
            <a:custGeom>
              <a:avLst/>
              <a:gdLst>
                <a:gd name="connsiteX0" fmla="*/ 33814 w 171450"/>
                <a:gd name="connsiteY0" fmla="*/ 7144 h 295275"/>
                <a:gd name="connsiteX1" fmla="*/ 69056 w 171450"/>
                <a:gd name="connsiteY1" fmla="*/ 64294 h 295275"/>
                <a:gd name="connsiteX2" fmla="*/ 88106 w 171450"/>
                <a:gd name="connsiteY2" fmla="*/ 226219 h 295275"/>
                <a:gd name="connsiteX3" fmla="*/ 168116 w 171450"/>
                <a:gd name="connsiteY3" fmla="*/ 251936 h 295275"/>
                <a:gd name="connsiteX4" fmla="*/ 169069 w 171450"/>
                <a:gd name="connsiteY4" fmla="*/ 288131 h 295275"/>
                <a:gd name="connsiteX5" fmla="*/ 7144 w 171450"/>
                <a:gd name="connsiteY5" fmla="*/ 295751 h 295275"/>
                <a:gd name="connsiteX6" fmla="*/ 11906 w 171450"/>
                <a:gd name="connsiteY6" fmla="*/ 154781 h 295275"/>
                <a:gd name="connsiteX7" fmla="*/ 33814 w 171450"/>
                <a:gd name="connsiteY7" fmla="*/ 7144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450" h="295275">
                  <a:moveTo>
                    <a:pt x="33814" y="7144"/>
                  </a:moveTo>
                  <a:cubicBezTo>
                    <a:pt x="33814" y="7144"/>
                    <a:pt x="57626" y="17621"/>
                    <a:pt x="69056" y="64294"/>
                  </a:cubicBezTo>
                  <a:cubicBezTo>
                    <a:pt x="79534" y="111919"/>
                    <a:pt x="88106" y="226219"/>
                    <a:pt x="88106" y="226219"/>
                  </a:cubicBezTo>
                  <a:lnTo>
                    <a:pt x="168116" y="251936"/>
                  </a:lnTo>
                  <a:lnTo>
                    <a:pt x="169069" y="288131"/>
                  </a:lnTo>
                  <a:lnTo>
                    <a:pt x="7144" y="295751"/>
                  </a:lnTo>
                  <a:lnTo>
                    <a:pt x="11906" y="154781"/>
                  </a:lnTo>
                  <a:lnTo>
                    <a:pt x="33814" y="7144"/>
                  </a:lnTo>
                  <a:close/>
                </a:path>
              </a:pathLst>
            </a:custGeom>
            <a:solidFill>
              <a:srgbClr val="00A49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BC6127FF-9069-4A1A-9D34-F7D1EF6F29F8}"/>
                </a:ext>
              </a:extLst>
            </p:cNvPr>
            <p:cNvSpPr/>
            <p:nvPr/>
          </p:nvSpPr>
          <p:spPr>
            <a:xfrm>
              <a:off x="6110764" y="3966533"/>
              <a:ext cx="104775" cy="47625"/>
            </a:xfrm>
            <a:custGeom>
              <a:avLst/>
              <a:gdLst>
                <a:gd name="connsiteX0" fmla="*/ 7144 w 104775"/>
                <a:gd name="connsiteY0" fmla="*/ 18726 h 47625"/>
                <a:gd name="connsiteX1" fmla="*/ 11906 w 104775"/>
                <a:gd name="connsiteY1" fmla="*/ 31109 h 47625"/>
                <a:gd name="connsiteX2" fmla="*/ 18574 w 104775"/>
                <a:gd name="connsiteY2" fmla="*/ 48254 h 47625"/>
                <a:gd name="connsiteX3" fmla="*/ 94774 w 104775"/>
                <a:gd name="connsiteY3" fmla="*/ 24441 h 47625"/>
                <a:gd name="connsiteX4" fmla="*/ 95726 w 104775"/>
                <a:gd name="connsiteY4" fmla="*/ 14916 h 47625"/>
                <a:gd name="connsiteX5" fmla="*/ 75724 w 104775"/>
                <a:gd name="connsiteY5" fmla="*/ 9201 h 47625"/>
                <a:gd name="connsiteX6" fmla="*/ 39529 w 104775"/>
                <a:gd name="connsiteY6" fmla="*/ 7296 h 47625"/>
                <a:gd name="connsiteX7" fmla="*/ 7144 w 104775"/>
                <a:gd name="connsiteY7" fmla="*/ 18726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775" h="47625">
                  <a:moveTo>
                    <a:pt x="7144" y="18726"/>
                  </a:moveTo>
                  <a:lnTo>
                    <a:pt x="11906" y="31109"/>
                  </a:lnTo>
                  <a:lnTo>
                    <a:pt x="18574" y="48254"/>
                  </a:lnTo>
                  <a:lnTo>
                    <a:pt x="94774" y="24441"/>
                  </a:lnTo>
                  <a:cubicBezTo>
                    <a:pt x="99536" y="23489"/>
                    <a:pt x="99536" y="16821"/>
                    <a:pt x="95726" y="14916"/>
                  </a:cubicBezTo>
                  <a:cubicBezTo>
                    <a:pt x="90011" y="12059"/>
                    <a:pt x="82391" y="11106"/>
                    <a:pt x="75724" y="9201"/>
                  </a:cubicBezTo>
                  <a:cubicBezTo>
                    <a:pt x="58579" y="6344"/>
                    <a:pt x="39529" y="7296"/>
                    <a:pt x="39529" y="7296"/>
                  </a:cubicBezTo>
                  <a:lnTo>
                    <a:pt x="7144" y="18726"/>
                  </a:ln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2C05E2CB-72DD-4FA6-A944-30615E07B833}"/>
                </a:ext>
              </a:extLst>
            </p:cNvPr>
            <p:cNvSpPr/>
            <p:nvPr/>
          </p:nvSpPr>
          <p:spPr>
            <a:xfrm>
              <a:off x="6110764" y="3967486"/>
              <a:ext cx="76200" cy="38100"/>
            </a:xfrm>
            <a:custGeom>
              <a:avLst/>
              <a:gdLst>
                <a:gd name="connsiteX0" fmla="*/ 7144 w 76200"/>
                <a:gd name="connsiteY0" fmla="*/ 17774 h 38100"/>
                <a:gd name="connsiteX1" fmla="*/ 11906 w 76200"/>
                <a:gd name="connsiteY1" fmla="*/ 30156 h 38100"/>
                <a:gd name="connsiteX2" fmla="*/ 29051 w 76200"/>
                <a:gd name="connsiteY2" fmla="*/ 31109 h 38100"/>
                <a:gd name="connsiteX3" fmla="*/ 56674 w 76200"/>
                <a:gd name="connsiteY3" fmla="*/ 24441 h 38100"/>
                <a:gd name="connsiteX4" fmla="*/ 74771 w 76200"/>
                <a:gd name="connsiteY4" fmla="*/ 9201 h 38100"/>
                <a:gd name="connsiteX5" fmla="*/ 38576 w 76200"/>
                <a:gd name="connsiteY5" fmla="*/ 7296 h 38100"/>
                <a:gd name="connsiteX6" fmla="*/ 7144 w 76200"/>
                <a:gd name="connsiteY6" fmla="*/ 17774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200" h="38100">
                  <a:moveTo>
                    <a:pt x="7144" y="17774"/>
                  </a:moveTo>
                  <a:lnTo>
                    <a:pt x="11906" y="30156"/>
                  </a:lnTo>
                  <a:cubicBezTo>
                    <a:pt x="17621" y="31109"/>
                    <a:pt x="23336" y="31109"/>
                    <a:pt x="29051" y="31109"/>
                  </a:cubicBezTo>
                  <a:cubicBezTo>
                    <a:pt x="38576" y="30156"/>
                    <a:pt x="47149" y="27299"/>
                    <a:pt x="56674" y="24441"/>
                  </a:cubicBezTo>
                  <a:cubicBezTo>
                    <a:pt x="64294" y="21584"/>
                    <a:pt x="71914" y="17774"/>
                    <a:pt x="74771" y="9201"/>
                  </a:cubicBezTo>
                  <a:cubicBezTo>
                    <a:pt x="57626" y="6344"/>
                    <a:pt x="38576" y="7296"/>
                    <a:pt x="38576" y="7296"/>
                  </a:cubicBezTo>
                  <a:lnTo>
                    <a:pt x="7144" y="17774"/>
                  </a:ln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E1798F97-7A62-4AAF-B5FB-C2D829DB45E9}"/>
                </a:ext>
              </a:extLst>
            </p:cNvPr>
            <p:cNvSpPr/>
            <p:nvPr/>
          </p:nvSpPr>
          <p:spPr>
            <a:xfrm>
              <a:off x="5694421" y="3673527"/>
              <a:ext cx="466725" cy="314325"/>
            </a:xfrm>
            <a:custGeom>
              <a:avLst/>
              <a:gdLst>
                <a:gd name="connsiteX0" fmla="*/ 12959 w 466725"/>
                <a:gd name="connsiteY0" fmla="*/ 9790 h 314325"/>
                <a:gd name="connsiteX1" fmla="*/ 53917 w 466725"/>
                <a:gd name="connsiteY1" fmla="*/ 150760 h 314325"/>
                <a:gd name="connsiteX2" fmla="*/ 317759 w 466725"/>
                <a:gd name="connsiteY2" fmla="*/ 87895 h 314325"/>
                <a:gd name="connsiteX3" fmla="*/ 415867 w 466725"/>
                <a:gd name="connsiteY3" fmla="*/ 313637 h 314325"/>
                <a:gd name="connsiteX4" fmla="*/ 463492 w 466725"/>
                <a:gd name="connsiteY4" fmla="*/ 300302 h 314325"/>
                <a:gd name="connsiteX5" fmla="*/ 371099 w 466725"/>
                <a:gd name="connsiteY5" fmla="*/ 8837 h 314325"/>
                <a:gd name="connsiteX6" fmla="*/ 217747 w 466725"/>
                <a:gd name="connsiteY6" fmla="*/ 8837 h 314325"/>
                <a:gd name="connsiteX7" fmla="*/ 12959 w 466725"/>
                <a:gd name="connsiteY7" fmla="*/ 8837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6725" h="314325">
                  <a:moveTo>
                    <a:pt x="12959" y="9790"/>
                  </a:moveTo>
                  <a:cubicBezTo>
                    <a:pt x="12959" y="9790"/>
                    <a:pt x="-15616" y="128852"/>
                    <a:pt x="53917" y="150760"/>
                  </a:cubicBezTo>
                  <a:cubicBezTo>
                    <a:pt x="122497" y="172667"/>
                    <a:pt x="317759" y="87895"/>
                    <a:pt x="317759" y="87895"/>
                  </a:cubicBezTo>
                  <a:lnTo>
                    <a:pt x="415867" y="313637"/>
                  </a:lnTo>
                  <a:lnTo>
                    <a:pt x="463492" y="300302"/>
                  </a:lnTo>
                  <a:cubicBezTo>
                    <a:pt x="463492" y="300302"/>
                    <a:pt x="407294" y="12647"/>
                    <a:pt x="371099" y="8837"/>
                  </a:cubicBezTo>
                  <a:cubicBezTo>
                    <a:pt x="334904" y="5027"/>
                    <a:pt x="217747" y="8837"/>
                    <a:pt x="217747" y="8837"/>
                  </a:cubicBezTo>
                  <a:lnTo>
                    <a:pt x="12959" y="8837"/>
                  </a:lnTo>
                  <a:close/>
                </a:path>
              </a:pathLst>
            </a:custGeom>
            <a:solidFill>
              <a:srgbClr val="6D26D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ED1B3D69-3D99-4D72-985D-16064B2A038E}"/>
                </a:ext>
              </a:extLst>
            </p:cNvPr>
            <p:cNvSpPr/>
            <p:nvPr/>
          </p:nvSpPr>
          <p:spPr>
            <a:xfrm>
              <a:off x="5684044" y="3339941"/>
              <a:ext cx="257175" cy="390525"/>
            </a:xfrm>
            <a:custGeom>
              <a:avLst/>
              <a:gdLst>
                <a:gd name="connsiteX0" fmla="*/ 228124 w 257175"/>
                <a:gd name="connsiteY0" fmla="*/ 343376 h 390525"/>
                <a:gd name="connsiteX1" fmla="*/ 210026 w 257175"/>
                <a:gd name="connsiteY1" fmla="*/ 346234 h 390525"/>
                <a:gd name="connsiteX2" fmla="*/ 158591 w 257175"/>
                <a:gd name="connsiteY2" fmla="*/ 355759 h 390525"/>
                <a:gd name="connsiteX3" fmla="*/ 7144 w 257175"/>
                <a:gd name="connsiteY3" fmla="*/ 383381 h 390525"/>
                <a:gd name="connsiteX4" fmla="*/ 73819 w 257175"/>
                <a:gd name="connsiteY4" fmla="*/ 187166 h 390525"/>
                <a:gd name="connsiteX5" fmla="*/ 73819 w 257175"/>
                <a:gd name="connsiteY5" fmla="*/ 71914 h 390525"/>
                <a:gd name="connsiteX6" fmla="*/ 117634 w 257175"/>
                <a:gd name="connsiteY6" fmla="*/ 7144 h 390525"/>
                <a:gd name="connsiteX7" fmla="*/ 227171 w 257175"/>
                <a:gd name="connsiteY7" fmla="*/ 7144 h 390525"/>
                <a:gd name="connsiteX8" fmla="*/ 228124 w 257175"/>
                <a:gd name="connsiteY8" fmla="*/ 8096 h 390525"/>
                <a:gd name="connsiteX9" fmla="*/ 228124 w 257175"/>
                <a:gd name="connsiteY9" fmla="*/ 343376 h 39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7175" h="390525">
                  <a:moveTo>
                    <a:pt x="228124" y="343376"/>
                  </a:moveTo>
                  <a:lnTo>
                    <a:pt x="210026" y="346234"/>
                  </a:lnTo>
                  <a:lnTo>
                    <a:pt x="158591" y="355759"/>
                  </a:lnTo>
                  <a:lnTo>
                    <a:pt x="7144" y="383381"/>
                  </a:lnTo>
                  <a:cubicBezTo>
                    <a:pt x="7144" y="383381"/>
                    <a:pt x="70009" y="210026"/>
                    <a:pt x="73819" y="187166"/>
                  </a:cubicBezTo>
                  <a:cubicBezTo>
                    <a:pt x="77629" y="164306"/>
                    <a:pt x="78581" y="102394"/>
                    <a:pt x="73819" y="71914"/>
                  </a:cubicBezTo>
                  <a:cubicBezTo>
                    <a:pt x="69056" y="41434"/>
                    <a:pt x="117634" y="7144"/>
                    <a:pt x="117634" y="7144"/>
                  </a:cubicBezTo>
                  <a:lnTo>
                    <a:pt x="227171" y="7144"/>
                  </a:lnTo>
                  <a:cubicBezTo>
                    <a:pt x="227171" y="7144"/>
                    <a:pt x="228124" y="8096"/>
                    <a:pt x="228124" y="8096"/>
                  </a:cubicBezTo>
                  <a:cubicBezTo>
                    <a:pt x="286226" y="74771"/>
                    <a:pt x="228124" y="343376"/>
                    <a:pt x="228124" y="343376"/>
                  </a:cubicBezTo>
                  <a:close/>
                </a:path>
              </a:pathLst>
            </a:custGeom>
            <a:solidFill>
              <a:srgbClr val="00BEB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799325D5-5AF6-449D-A601-B1834F042577}"/>
                </a:ext>
              </a:extLst>
            </p:cNvPr>
            <p:cNvSpPr/>
            <p:nvPr/>
          </p:nvSpPr>
          <p:spPr>
            <a:xfrm>
              <a:off x="5815489" y="3339941"/>
              <a:ext cx="114300" cy="361950"/>
            </a:xfrm>
            <a:custGeom>
              <a:avLst/>
              <a:gdLst>
                <a:gd name="connsiteX0" fmla="*/ 78581 w 114300"/>
                <a:gd name="connsiteY0" fmla="*/ 346234 h 361950"/>
                <a:gd name="connsiteX1" fmla="*/ 27146 w 114300"/>
                <a:gd name="connsiteY1" fmla="*/ 355759 h 361950"/>
                <a:gd name="connsiteX2" fmla="*/ 7144 w 114300"/>
                <a:gd name="connsiteY2" fmla="*/ 7144 h 361950"/>
                <a:gd name="connsiteX3" fmla="*/ 95726 w 114300"/>
                <a:gd name="connsiteY3" fmla="*/ 7144 h 361950"/>
                <a:gd name="connsiteX4" fmla="*/ 96679 w 114300"/>
                <a:gd name="connsiteY4" fmla="*/ 8096 h 361950"/>
                <a:gd name="connsiteX5" fmla="*/ 78581 w 114300"/>
                <a:gd name="connsiteY5" fmla="*/ 346234 h 361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4300" h="361950">
                  <a:moveTo>
                    <a:pt x="78581" y="346234"/>
                  </a:moveTo>
                  <a:lnTo>
                    <a:pt x="27146" y="355759"/>
                  </a:lnTo>
                  <a:cubicBezTo>
                    <a:pt x="60484" y="132874"/>
                    <a:pt x="7144" y="7144"/>
                    <a:pt x="7144" y="7144"/>
                  </a:cubicBezTo>
                  <a:lnTo>
                    <a:pt x="95726" y="7144"/>
                  </a:lnTo>
                  <a:cubicBezTo>
                    <a:pt x="95726" y="7144"/>
                    <a:pt x="96679" y="8096"/>
                    <a:pt x="96679" y="8096"/>
                  </a:cubicBezTo>
                  <a:cubicBezTo>
                    <a:pt x="130969" y="50006"/>
                    <a:pt x="87154" y="300514"/>
                    <a:pt x="78581" y="346234"/>
                  </a:cubicBezTo>
                  <a:close/>
                </a:path>
              </a:pathLst>
            </a:custGeom>
            <a:solidFill>
              <a:srgbClr val="5202B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FDE68C76-D928-4568-87FA-2E9E773E7396}"/>
                </a:ext>
              </a:extLst>
            </p:cNvPr>
            <p:cNvSpPr/>
            <p:nvPr/>
          </p:nvSpPr>
          <p:spPr>
            <a:xfrm>
              <a:off x="5816441" y="3339941"/>
              <a:ext cx="104775" cy="47625"/>
            </a:xfrm>
            <a:custGeom>
              <a:avLst/>
              <a:gdLst>
                <a:gd name="connsiteX0" fmla="*/ 7144 w 104775"/>
                <a:gd name="connsiteY0" fmla="*/ 7144 h 47625"/>
                <a:gd name="connsiteX1" fmla="*/ 73819 w 104775"/>
                <a:gd name="connsiteY1" fmla="*/ 45244 h 47625"/>
                <a:gd name="connsiteX2" fmla="*/ 96679 w 104775"/>
                <a:gd name="connsiteY2" fmla="*/ 7144 h 47625"/>
                <a:gd name="connsiteX3" fmla="*/ 7144 w 104775"/>
                <a:gd name="connsiteY3" fmla="*/ 7144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775" h="47625">
                  <a:moveTo>
                    <a:pt x="7144" y="7144"/>
                  </a:moveTo>
                  <a:cubicBezTo>
                    <a:pt x="7144" y="7144"/>
                    <a:pt x="38576" y="55721"/>
                    <a:pt x="73819" y="45244"/>
                  </a:cubicBezTo>
                  <a:cubicBezTo>
                    <a:pt x="108109" y="34766"/>
                    <a:pt x="96679" y="7144"/>
                    <a:pt x="96679" y="7144"/>
                  </a:cubicBezTo>
                  <a:lnTo>
                    <a:pt x="7144" y="7144"/>
                  </a:ln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41B78109-90C5-4E9D-8A82-15C9D2D88E02}"/>
                </a:ext>
              </a:extLst>
            </p:cNvPr>
            <p:cNvSpPr/>
            <p:nvPr/>
          </p:nvSpPr>
          <p:spPr>
            <a:xfrm>
              <a:off x="5863114" y="3585643"/>
              <a:ext cx="228600" cy="57150"/>
            </a:xfrm>
            <a:custGeom>
              <a:avLst/>
              <a:gdLst>
                <a:gd name="connsiteX0" fmla="*/ 219551 w 228600"/>
                <a:gd name="connsiteY0" fmla="*/ 35762 h 57150"/>
                <a:gd name="connsiteX1" fmla="*/ 182404 w 228600"/>
                <a:gd name="connsiteY1" fmla="*/ 7187 h 57150"/>
                <a:gd name="connsiteX2" fmla="*/ 137636 w 228600"/>
                <a:gd name="connsiteY2" fmla="*/ 21474 h 57150"/>
                <a:gd name="connsiteX3" fmla="*/ 10001 w 228600"/>
                <a:gd name="connsiteY3" fmla="*/ 13854 h 57150"/>
                <a:gd name="connsiteX4" fmla="*/ 7144 w 228600"/>
                <a:gd name="connsiteY4" fmla="*/ 51002 h 57150"/>
                <a:gd name="connsiteX5" fmla="*/ 140494 w 228600"/>
                <a:gd name="connsiteY5" fmla="*/ 48144 h 57150"/>
                <a:gd name="connsiteX6" fmla="*/ 217646 w 228600"/>
                <a:gd name="connsiteY6" fmla="*/ 44334 h 57150"/>
                <a:gd name="connsiteX7" fmla="*/ 219551 w 228600"/>
                <a:gd name="connsiteY7" fmla="*/ 35762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8600" h="57150">
                  <a:moveTo>
                    <a:pt x="219551" y="35762"/>
                  </a:moveTo>
                  <a:cubicBezTo>
                    <a:pt x="211931" y="29094"/>
                    <a:pt x="195739" y="9092"/>
                    <a:pt x="182404" y="7187"/>
                  </a:cubicBezTo>
                  <a:cubicBezTo>
                    <a:pt x="176689" y="6234"/>
                    <a:pt x="137636" y="21474"/>
                    <a:pt x="137636" y="21474"/>
                  </a:cubicBezTo>
                  <a:cubicBezTo>
                    <a:pt x="137636" y="21474"/>
                    <a:pt x="70961" y="18617"/>
                    <a:pt x="10001" y="13854"/>
                  </a:cubicBezTo>
                  <a:lnTo>
                    <a:pt x="7144" y="51002"/>
                  </a:lnTo>
                  <a:cubicBezTo>
                    <a:pt x="50006" y="50049"/>
                    <a:pt x="99536" y="49097"/>
                    <a:pt x="140494" y="48144"/>
                  </a:cubicBezTo>
                  <a:cubicBezTo>
                    <a:pt x="170974" y="56717"/>
                    <a:pt x="202406" y="49097"/>
                    <a:pt x="217646" y="44334"/>
                  </a:cubicBezTo>
                  <a:cubicBezTo>
                    <a:pt x="222409" y="43382"/>
                    <a:pt x="223361" y="38619"/>
                    <a:pt x="219551" y="35762"/>
                  </a:cubicBez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05E976A2-1EB0-4F91-88B0-34EC1D60EA1B}"/>
                </a:ext>
              </a:extLst>
            </p:cNvPr>
            <p:cNvSpPr/>
            <p:nvPr/>
          </p:nvSpPr>
          <p:spPr>
            <a:xfrm>
              <a:off x="5722986" y="3339941"/>
              <a:ext cx="161925" cy="323850"/>
            </a:xfrm>
            <a:custGeom>
              <a:avLst/>
              <a:gdLst>
                <a:gd name="connsiteX0" fmla="*/ 79644 w 161925"/>
                <a:gd name="connsiteY0" fmla="*/ 7144 h 323850"/>
                <a:gd name="connsiteX1" fmla="*/ 12969 w 161925"/>
                <a:gd name="connsiteY1" fmla="*/ 89059 h 323850"/>
                <a:gd name="connsiteX2" fmla="*/ 27257 w 161925"/>
                <a:gd name="connsiteY2" fmla="*/ 315754 h 323850"/>
                <a:gd name="connsiteX3" fmla="*/ 163464 w 161925"/>
                <a:gd name="connsiteY3" fmla="*/ 310039 h 323850"/>
                <a:gd name="connsiteX4" fmla="*/ 163464 w 161925"/>
                <a:gd name="connsiteY4" fmla="*/ 257651 h 323850"/>
                <a:gd name="connsiteX5" fmla="*/ 85359 w 161925"/>
                <a:gd name="connsiteY5" fmla="*/ 252889 h 323850"/>
                <a:gd name="connsiteX6" fmla="*/ 79644 w 161925"/>
                <a:gd name="connsiteY6" fmla="*/ 7144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1925" h="323850">
                  <a:moveTo>
                    <a:pt x="79644" y="7144"/>
                  </a:moveTo>
                  <a:cubicBezTo>
                    <a:pt x="79644" y="7144"/>
                    <a:pt x="24399" y="25241"/>
                    <a:pt x="12969" y="89059"/>
                  </a:cubicBezTo>
                  <a:cubicBezTo>
                    <a:pt x="1539" y="153829"/>
                    <a:pt x="7254" y="304324"/>
                    <a:pt x="27257" y="315754"/>
                  </a:cubicBezTo>
                  <a:cubicBezTo>
                    <a:pt x="46307" y="326231"/>
                    <a:pt x="163464" y="310039"/>
                    <a:pt x="163464" y="310039"/>
                  </a:cubicBezTo>
                  <a:lnTo>
                    <a:pt x="163464" y="257651"/>
                  </a:lnTo>
                  <a:lnTo>
                    <a:pt x="85359" y="252889"/>
                  </a:lnTo>
                  <a:cubicBezTo>
                    <a:pt x="85359" y="253841"/>
                    <a:pt x="129174" y="47149"/>
                    <a:pt x="79644" y="7144"/>
                  </a:cubicBezTo>
                  <a:close/>
                </a:path>
              </a:pathLst>
            </a:custGeom>
            <a:solidFill>
              <a:srgbClr val="00A49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2851A311-DE7F-4963-80E0-24B8EF664644}"/>
                </a:ext>
              </a:extLst>
            </p:cNvPr>
            <p:cNvSpPr/>
            <p:nvPr/>
          </p:nvSpPr>
          <p:spPr>
            <a:xfrm>
              <a:off x="5746909" y="3877151"/>
              <a:ext cx="38100" cy="161925"/>
            </a:xfrm>
            <a:custGeom>
              <a:avLst/>
              <a:gdLst>
                <a:gd name="connsiteX0" fmla="*/ 7144 w 38100"/>
                <a:gd name="connsiteY0" fmla="*/ 7144 h 161925"/>
                <a:gd name="connsiteX1" fmla="*/ 36671 w 38100"/>
                <a:gd name="connsiteY1" fmla="*/ 7144 h 161925"/>
                <a:gd name="connsiteX2" fmla="*/ 36671 w 38100"/>
                <a:gd name="connsiteY2" fmla="*/ 156686 h 161925"/>
                <a:gd name="connsiteX3" fmla="*/ 7144 w 38100"/>
                <a:gd name="connsiteY3" fmla="*/ 156686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00" h="161925">
                  <a:moveTo>
                    <a:pt x="7144" y="7144"/>
                  </a:moveTo>
                  <a:lnTo>
                    <a:pt x="36671" y="7144"/>
                  </a:lnTo>
                  <a:lnTo>
                    <a:pt x="36671" y="156686"/>
                  </a:lnTo>
                  <a:lnTo>
                    <a:pt x="7144" y="156686"/>
                  </a:lnTo>
                  <a:close/>
                </a:path>
              </a:pathLst>
            </a:custGeom>
            <a:solidFill>
              <a:srgbClr val="EBE0B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C0F4CB5A-4A1D-4203-8926-1E75A772B8F5}"/>
                </a:ext>
              </a:extLst>
            </p:cNvPr>
            <p:cNvSpPr/>
            <p:nvPr/>
          </p:nvSpPr>
          <p:spPr>
            <a:xfrm>
              <a:off x="5739289" y="3853338"/>
              <a:ext cx="57150" cy="66675"/>
            </a:xfrm>
            <a:custGeom>
              <a:avLst/>
              <a:gdLst>
                <a:gd name="connsiteX0" fmla="*/ 7144 w 57150"/>
                <a:gd name="connsiteY0" fmla="*/ 7144 h 66675"/>
                <a:gd name="connsiteX1" fmla="*/ 52864 w 57150"/>
                <a:gd name="connsiteY1" fmla="*/ 7144 h 66675"/>
                <a:gd name="connsiteX2" fmla="*/ 52864 w 57150"/>
                <a:gd name="connsiteY2" fmla="*/ 65246 h 66675"/>
                <a:gd name="connsiteX3" fmla="*/ 7144 w 57150"/>
                <a:gd name="connsiteY3" fmla="*/ 65246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150" h="66675">
                  <a:moveTo>
                    <a:pt x="7144" y="7144"/>
                  </a:moveTo>
                  <a:lnTo>
                    <a:pt x="52864" y="7144"/>
                  </a:lnTo>
                  <a:lnTo>
                    <a:pt x="52864" y="65246"/>
                  </a:lnTo>
                  <a:lnTo>
                    <a:pt x="7144" y="65246"/>
                  </a:ln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A5097D19-B295-4630-84E1-DB48AEB19A79}"/>
                </a:ext>
              </a:extLst>
            </p:cNvPr>
            <p:cNvSpPr/>
            <p:nvPr/>
          </p:nvSpPr>
          <p:spPr>
            <a:xfrm>
              <a:off x="5672614" y="4019073"/>
              <a:ext cx="190500" cy="28575"/>
            </a:xfrm>
            <a:custGeom>
              <a:avLst/>
              <a:gdLst>
                <a:gd name="connsiteX0" fmla="*/ 7144 w 190500"/>
                <a:gd name="connsiteY0" fmla="*/ 7144 h 28575"/>
                <a:gd name="connsiteX1" fmla="*/ 185261 w 190500"/>
                <a:gd name="connsiteY1" fmla="*/ 7144 h 28575"/>
                <a:gd name="connsiteX2" fmla="*/ 185261 w 190500"/>
                <a:gd name="connsiteY2" fmla="*/ 26194 h 28575"/>
                <a:gd name="connsiteX3" fmla="*/ 7144 w 190500"/>
                <a:gd name="connsiteY3" fmla="*/ 2619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28575">
                  <a:moveTo>
                    <a:pt x="7144" y="7144"/>
                  </a:moveTo>
                  <a:lnTo>
                    <a:pt x="185261" y="7144"/>
                  </a:lnTo>
                  <a:lnTo>
                    <a:pt x="185261" y="26194"/>
                  </a:lnTo>
                  <a:lnTo>
                    <a:pt x="7144" y="26194"/>
                  </a:ln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E2D9A861-CE02-4ADD-9C84-250F50A4F5EC}"/>
                </a:ext>
              </a:extLst>
            </p:cNvPr>
            <p:cNvSpPr/>
            <p:nvPr/>
          </p:nvSpPr>
          <p:spPr>
            <a:xfrm>
              <a:off x="5666899" y="4038123"/>
              <a:ext cx="38100" cy="38100"/>
            </a:xfrm>
            <a:custGeom>
              <a:avLst/>
              <a:gdLst>
                <a:gd name="connsiteX0" fmla="*/ 39529 w 38100"/>
                <a:gd name="connsiteY0" fmla="*/ 23336 h 38100"/>
                <a:gd name="connsiteX1" fmla="*/ 23336 w 38100"/>
                <a:gd name="connsiteY1" fmla="*/ 39529 h 38100"/>
                <a:gd name="connsiteX2" fmla="*/ 7144 w 38100"/>
                <a:gd name="connsiteY2" fmla="*/ 23336 h 38100"/>
                <a:gd name="connsiteX3" fmla="*/ 23336 w 38100"/>
                <a:gd name="connsiteY3" fmla="*/ 7144 h 38100"/>
                <a:gd name="connsiteX4" fmla="*/ 39529 w 38100"/>
                <a:gd name="connsiteY4" fmla="*/ 23336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9529" y="23336"/>
                  </a:moveTo>
                  <a:cubicBezTo>
                    <a:pt x="39529" y="31909"/>
                    <a:pt x="31909" y="39529"/>
                    <a:pt x="23336" y="39529"/>
                  </a:cubicBezTo>
                  <a:cubicBezTo>
                    <a:pt x="14764" y="39529"/>
                    <a:pt x="7144" y="31909"/>
                    <a:pt x="7144" y="23336"/>
                  </a:cubicBezTo>
                  <a:cubicBezTo>
                    <a:pt x="7144" y="14764"/>
                    <a:pt x="14764" y="7144"/>
                    <a:pt x="23336" y="7144"/>
                  </a:cubicBezTo>
                  <a:cubicBezTo>
                    <a:pt x="31909" y="7144"/>
                    <a:pt x="39529" y="14764"/>
                    <a:pt x="39529" y="23336"/>
                  </a:cubicBezTo>
                  <a:close/>
                </a:path>
              </a:pathLst>
            </a:custGeom>
            <a:solidFill>
              <a:srgbClr val="EBE0B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8C83E0DB-58D2-4832-9D28-C9BC18597779}"/>
                </a:ext>
              </a:extLst>
            </p:cNvPr>
            <p:cNvSpPr/>
            <p:nvPr/>
          </p:nvSpPr>
          <p:spPr>
            <a:xfrm>
              <a:off x="5825014" y="4038123"/>
              <a:ext cx="38100" cy="38100"/>
            </a:xfrm>
            <a:custGeom>
              <a:avLst/>
              <a:gdLst>
                <a:gd name="connsiteX0" fmla="*/ 39529 w 38100"/>
                <a:gd name="connsiteY0" fmla="*/ 23336 h 38100"/>
                <a:gd name="connsiteX1" fmla="*/ 23336 w 38100"/>
                <a:gd name="connsiteY1" fmla="*/ 39529 h 38100"/>
                <a:gd name="connsiteX2" fmla="*/ 7144 w 38100"/>
                <a:gd name="connsiteY2" fmla="*/ 23336 h 38100"/>
                <a:gd name="connsiteX3" fmla="*/ 23336 w 38100"/>
                <a:gd name="connsiteY3" fmla="*/ 7144 h 38100"/>
                <a:gd name="connsiteX4" fmla="*/ 39529 w 38100"/>
                <a:gd name="connsiteY4" fmla="*/ 23336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9529" y="23336"/>
                  </a:moveTo>
                  <a:cubicBezTo>
                    <a:pt x="39529" y="31909"/>
                    <a:pt x="31909" y="39529"/>
                    <a:pt x="23336" y="39529"/>
                  </a:cubicBezTo>
                  <a:cubicBezTo>
                    <a:pt x="14764" y="39529"/>
                    <a:pt x="7144" y="31909"/>
                    <a:pt x="7144" y="23336"/>
                  </a:cubicBezTo>
                  <a:cubicBezTo>
                    <a:pt x="7144" y="14764"/>
                    <a:pt x="14764" y="7144"/>
                    <a:pt x="23336" y="7144"/>
                  </a:cubicBezTo>
                  <a:cubicBezTo>
                    <a:pt x="31909" y="7144"/>
                    <a:pt x="39529" y="14764"/>
                    <a:pt x="39529" y="23336"/>
                  </a:cubicBezTo>
                  <a:close/>
                </a:path>
              </a:pathLst>
            </a:custGeom>
            <a:solidFill>
              <a:srgbClr val="EBE0B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D21F3C68-E846-4295-A9C2-753AE9B6559B}"/>
                </a:ext>
              </a:extLst>
            </p:cNvPr>
            <p:cNvSpPr/>
            <p:nvPr/>
          </p:nvSpPr>
          <p:spPr>
            <a:xfrm>
              <a:off x="5893594" y="3632358"/>
              <a:ext cx="1085850" cy="38100"/>
            </a:xfrm>
            <a:custGeom>
              <a:avLst/>
              <a:gdLst>
                <a:gd name="connsiteX0" fmla="*/ 7144 w 1085850"/>
                <a:gd name="connsiteY0" fmla="*/ 7144 h 38100"/>
                <a:gd name="connsiteX1" fmla="*/ 1085374 w 1085850"/>
                <a:gd name="connsiteY1" fmla="*/ 7144 h 38100"/>
                <a:gd name="connsiteX2" fmla="*/ 1085374 w 1085850"/>
                <a:gd name="connsiteY2" fmla="*/ 30956 h 38100"/>
                <a:gd name="connsiteX3" fmla="*/ 7144 w 1085850"/>
                <a:gd name="connsiteY3" fmla="*/ 30956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5850" h="38100">
                  <a:moveTo>
                    <a:pt x="7144" y="7144"/>
                  </a:moveTo>
                  <a:lnTo>
                    <a:pt x="1085374" y="7144"/>
                  </a:lnTo>
                  <a:lnTo>
                    <a:pt x="1085374" y="30956"/>
                  </a:lnTo>
                  <a:lnTo>
                    <a:pt x="7144" y="30956"/>
                  </a:lnTo>
                  <a:close/>
                </a:path>
              </a:pathLst>
            </a:custGeom>
            <a:solidFill>
              <a:srgbClr val="FF674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044C1824-9666-4DF3-A168-FCA0ECE453FF}"/>
                </a:ext>
              </a:extLst>
            </p:cNvPr>
            <p:cNvSpPr/>
            <p:nvPr/>
          </p:nvSpPr>
          <p:spPr>
            <a:xfrm>
              <a:off x="5924074" y="3656171"/>
              <a:ext cx="1028700" cy="38100"/>
            </a:xfrm>
            <a:custGeom>
              <a:avLst/>
              <a:gdLst>
                <a:gd name="connsiteX0" fmla="*/ 7144 w 1028700"/>
                <a:gd name="connsiteY0" fmla="*/ 7144 h 38100"/>
                <a:gd name="connsiteX1" fmla="*/ 1025366 w 1028700"/>
                <a:gd name="connsiteY1" fmla="*/ 7144 h 38100"/>
                <a:gd name="connsiteX2" fmla="*/ 1025366 w 1028700"/>
                <a:gd name="connsiteY2" fmla="*/ 33814 h 38100"/>
                <a:gd name="connsiteX3" fmla="*/ 7144 w 1028700"/>
                <a:gd name="connsiteY3" fmla="*/ 33814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8700" h="38100">
                  <a:moveTo>
                    <a:pt x="7144" y="7144"/>
                  </a:moveTo>
                  <a:lnTo>
                    <a:pt x="1025366" y="7144"/>
                  </a:lnTo>
                  <a:lnTo>
                    <a:pt x="1025366" y="33814"/>
                  </a:lnTo>
                  <a:lnTo>
                    <a:pt x="7144" y="33814"/>
                  </a:lnTo>
                  <a:close/>
                </a:path>
              </a:pathLst>
            </a:custGeom>
            <a:solidFill>
              <a:srgbClr val="E3493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3A371A4B-9CBF-4CCE-A2E4-AE0CA3FE9951}"/>
                </a:ext>
              </a:extLst>
            </p:cNvPr>
            <p:cNvSpPr/>
            <p:nvPr/>
          </p:nvSpPr>
          <p:spPr>
            <a:xfrm>
              <a:off x="5948839" y="3681888"/>
              <a:ext cx="76200" cy="419100"/>
            </a:xfrm>
            <a:custGeom>
              <a:avLst/>
              <a:gdLst>
                <a:gd name="connsiteX0" fmla="*/ 27146 w 76200"/>
                <a:gd name="connsiteY0" fmla="*/ 416719 h 419100"/>
                <a:gd name="connsiteX1" fmla="*/ 70961 w 76200"/>
                <a:gd name="connsiteY1" fmla="*/ 7144 h 419100"/>
                <a:gd name="connsiteX2" fmla="*/ 38576 w 76200"/>
                <a:gd name="connsiteY2" fmla="*/ 7144 h 419100"/>
                <a:gd name="connsiteX3" fmla="*/ 7144 w 76200"/>
                <a:gd name="connsiteY3" fmla="*/ 416719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200" h="419100">
                  <a:moveTo>
                    <a:pt x="27146" y="416719"/>
                  </a:moveTo>
                  <a:lnTo>
                    <a:pt x="70961" y="7144"/>
                  </a:lnTo>
                  <a:lnTo>
                    <a:pt x="38576" y="7144"/>
                  </a:lnTo>
                  <a:lnTo>
                    <a:pt x="7144" y="416719"/>
                  </a:ln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84EA0544-F8D8-4E98-A4BB-168AF2DDC53C}"/>
                </a:ext>
              </a:extLst>
            </p:cNvPr>
            <p:cNvSpPr/>
            <p:nvPr/>
          </p:nvSpPr>
          <p:spPr>
            <a:xfrm>
              <a:off x="6853714" y="3681888"/>
              <a:ext cx="76200" cy="419100"/>
            </a:xfrm>
            <a:custGeom>
              <a:avLst/>
              <a:gdLst>
                <a:gd name="connsiteX0" fmla="*/ 70009 w 76200"/>
                <a:gd name="connsiteY0" fmla="*/ 416719 h 419100"/>
                <a:gd name="connsiteX1" fmla="*/ 38576 w 76200"/>
                <a:gd name="connsiteY1" fmla="*/ 7144 h 419100"/>
                <a:gd name="connsiteX2" fmla="*/ 7144 w 76200"/>
                <a:gd name="connsiteY2" fmla="*/ 7144 h 419100"/>
                <a:gd name="connsiteX3" fmla="*/ 50006 w 76200"/>
                <a:gd name="connsiteY3" fmla="*/ 416719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200" h="419100">
                  <a:moveTo>
                    <a:pt x="70009" y="416719"/>
                  </a:moveTo>
                  <a:lnTo>
                    <a:pt x="38576" y="7144"/>
                  </a:lnTo>
                  <a:lnTo>
                    <a:pt x="7144" y="7144"/>
                  </a:lnTo>
                  <a:lnTo>
                    <a:pt x="50006" y="416719"/>
                  </a:ln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B16F4BD1-3DF1-4DBE-90B9-EE0EEF10199C}"/>
                </a:ext>
              </a:extLst>
            </p:cNvPr>
            <p:cNvSpPr/>
            <p:nvPr/>
          </p:nvSpPr>
          <p:spPr>
            <a:xfrm>
              <a:off x="5945981" y="3616166"/>
              <a:ext cx="133350" cy="28575"/>
            </a:xfrm>
            <a:custGeom>
              <a:avLst/>
              <a:gdLst>
                <a:gd name="connsiteX0" fmla="*/ 7144 w 133350"/>
                <a:gd name="connsiteY0" fmla="*/ 7144 h 28575"/>
                <a:gd name="connsiteX1" fmla="*/ 133826 w 133350"/>
                <a:gd name="connsiteY1" fmla="*/ 7144 h 28575"/>
                <a:gd name="connsiteX2" fmla="*/ 133826 w 133350"/>
                <a:gd name="connsiteY2" fmla="*/ 23336 h 28575"/>
                <a:gd name="connsiteX3" fmla="*/ 7144 w 133350"/>
                <a:gd name="connsiteY3" fmla="*/ 23336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350" h="28575">
                  <a:moveTo>
                    <a:pt x="7144" y="7144"/>
                  </a:moveTo>
                  <a:lnTo>
                    <a:pt x="133826" y="7144"/>
                  </a:lnTo>
                  <a:lnTo>
                    <a:pt x="133826" y="23336"/>
                  </a:lnTo>
                  <a:lnTo>
                    <a:pt x="7144" y="23336"/>
                  </a:ln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" name="任意多边形: 形状 111">
              <a:extLst>
                <a:ext uri="{FF2B5EF4-FFF2-40B4-BE49-F238E27FC236}">
                  <a16:creationId xmlns:a16="http://schemas.microsoft.com/office/drawing/2014/main" id="{531B69AE-0974-4FFE-8CB3-B77178D4018E}"/>
                </a:ext>
              </a:extLst>
            </p:cNvPr>
            <p:cNvSpPr/>
            <p:nvPr/>
          </p:nvSpPr>
          <p:spPr>
            <a:xfrm>
              <a:off x="6028849" y="3484721"/>
              <a:ext cx="247650" cy="161925"/>
            </a:xfrm>
            <a:custGeom>
              <a:avLst/>
              <a:gdLst>
                <a:gd name="connsiteX0" fmla="*/ 210979 w 247650"/>
                <a:gd name="connsiteY0" fmla="*/ 154781 h 161925"/>
                <a:gd name="connsiteX1" fmla="*/ 7144 w 247650"/>
                <a:gd name="connsiteY1" fmla="*/ 154781 h 161925"/>
                <a:gd name="connsiteX2" fmla="*/ 39529 w 247650"/>
                <a:gd name="connsiteY2" fmla="*/ 7144 h 161925"/>
                <a:gd name="connsiteX3" fmla="*/ 243364 w 247650"/>
                <a:gd name="connsiteY3" fmla="*/ 7144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650" h="161925">
                  <a:moveTo>
                    <a:pt x="210979" y="154781"/>
                  </a:moveTo>
                  <a:lnTo>
                    <a:pt x="7144" y="154781"/>
                  </a:lnTo>
                  <a:lnTo>
                    <a:pt x="39529" y="7144"/>
                  </a:lnTo>
                  <a:lnTo>
                    <a:pt x="243364" y="7144"/>
                  </a:ln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" name="任意多边形: 形状 112">
              <a:extLst>
                <a:ext uri="{FF2B5EF4-FFF2-40B4-BE49-F238E27FC236}">
                  <a16:creationId xmlns:a16="http://schemas.microsoft.com/office/drawing/2014/main" id="{DCC7E434-F23E-4913-86A3-65E8063DA112}"/>
                </a:ext>
              </a:extLst>
            </p:cNvPr>
            <p:cNvSpPr/>
            <p:nvPr/>
          </p:nvSpPr>
          <p:spPr>
            <a:xfrm>
              <a:off x="5835881" y="3224414"/>
              <a:ext cx="95250" cy="123825"/>
            </a:xfrm>
            <a:custGeom>
              <a:avLst/>
              <a:gdLst>
                <a:gd name="connsiteX0" fmla="*/ 92479 w 95250"/>
                <a:gd name="connsiteY0" fmla="*/ 40756 h 123825"/>
                <a:gd name="connsiteX1" fmla="*/ 61999 w 95250"/>
                <a:gd name="connsiteY1" fmla="*/ 117908 h 123825"/>
                <a:gd name="connsiteX2" fmla="*/ 7707 w 95250"/>
                <a:gd name="connsiteY2" fmla="*/ 66473 h 123825"/>
                <a:gd name="connsiteX3" fmla="*/ 51522 w 95250"/>
                <a:gd name="connsiteY3" fmla="*/ 7418 h 123825"/>
                <a:gd name="connsiteX4" fmla="*/ 92479 w 95250"/>
                <a:gd name="connsiteY4" fmla="*/ 40756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23825">
                  <a:moveTo>
                    <a:pt x="92479" y="40756"/>
                  </a:moveTo>
                  <a:cubicBezTo>
                    <a:pt x="92479" y="40756"/>
                    <a:pt x="104862" y="118860"/>
                    <a:pt x="61999" y="117908"/>
                  </a:cubicBezTo>
                  <a:cubicBezTo>
                    <a:pt x="19137" y="116003"/>
                    <a:pt x="3897" y="85523"/>
                    <a:pt x="7707" y="66473"/>
                  </a:cubicBezTo>
                  <a:cubicBezTo>
                    <a:pt x="11517" y="48376"/>
                    <a:pt x="14374" y="11228"/>
                    <a:pt x="51522" y="7418"/>
                  </a:cubicBezTo>
                  <a:cubicBezTo>
                    <a:pt x="87717" y="3608"/>
                    <a:pt x="92479" y="40756"/>
                    <a:pt x="92479" y="40756"/>
                  </a:cubicBez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" name="任意多边形: 形状 113">
              <a:extLst>
                <a:ext uri="{FF2B5EF4-FFF2-40B4-BE49-F238E27FC236}">
                  <a16:creationId xmlns:a16="http://schemas.microsoft.com/office/drawing/2014/main" id="{5FCB8993-1984-48FB-A0FD-B104C233333B}"/>
                </a:ext>
              </a:extLst>
            </p:cNvPr>
            <p:cNvSpPr/>
            <p:nvPr/>
          </p:nvSpPr>
          <p:spPr>
            <a:xfrm>
              <a:off x="5820130" y="3284575"/>
              <a:ext cx="38100" cy="38100"/>
            </a:xfrm>
            <a:custGeom>
              <a:avLst/>
              <a:gdLst>
                <a:gd name="connsiteX0" fmla="*/ 34887 w 38100"/>
                <a:gd name="connsiteY0" fmla="*/ 23457 h 38100"/>
                <a:gd name="connsiteX1" fmla="*/ 18695 w 38100"/>
                <a:gd name="connsiteY1" fmla="*/ 34887 h 38100"/>
                <a:gd name="connsiteX2" fmla="*/ 7265 w 38100"/>
                <a:gd name="connsiteY2" fmla="*/ 18695 h 38100"/>
                <a:gd name="connsiteX3" fmla="*/ 23457 w 38100"/>
                <a:gd name="connsiteY3" fmla="*/ 7265 h 38100"/>
                <a:gd name="connsiteX4" fmla="*/ 34887 w 38100"/>
                <a:gd name="connsiteY4" fmla="*/ 2345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4887" y="23457"/>
                  </a:moveTo>
                  <a:cubicBezTo>
                    <a:pt x="33935" y="31077"/>
                    <a:pt x="26315" y="35840"/>
                    <a:pt x="18695" y="34887"/>
                  </a:cubicBezTo>
                  <a:cubicBezTo>
                    <a:pt x="11074" y="33934"/>
                    <a:pt x="6312" y="26315"/>
                    <a:pt x="7265" y="18695"/>
                  </a:cubicBezTo>
                  <a:cubicBezTo>
                    <a:pt x="8217" y="11074"/>
                    <a:pt x="15837" y="6312"/>
                    <a:pt x="23457" y="7265"/>
                  </a:cubicBezTo>
                  <a:cubicBezTo>
                    <a:pt x="31077" y="8217"/>
                    <a:pt x="35840" y="15837"/>
                    <a:pt x="34887" y="23457"/>
                  </a:cubicBez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5" name="任意多边形: 形状 114">
              <a:extLst>
                <a:ext uri="{FF2B5EF4-FFF2-40B4-BE49-F238E27FC236}">
                  <a16:creationId xmlns:a16="http://schemas.microsoft.com/office/drawing/2014/main" id="{891B3F28-90B6-417C-8715-5240C461841F}"/>
                </a:ext>
              </a:extLst>
            </p:cNvPr>
            <p:cNvSpPr/>
            <p:nvPr/>
          </p:nvSpPr>
          <p:spPr>
            <a:xfrm>
              <a:off x="5810704" y="3213710"/>
              <a:ext cx="114300" cy="95250"/>
            </a:xfrm>
            <a:custGeom>
              <a:avLst/>
              <a:gdLst>
                <a:gd name="connsiteX0" fmla="*/ 22406 w 114300"/>
                <a:gd name="connsiteY0" fmla="*/ 80034 h 95250"/>
                <a:gd name="connsiteX1" fmla="*/ 41456 w 114300"/>
                <a:gd name="connsiteY1" fmla="*/ 83844 h 95250"/>
                <a:gd name="connsiteX2" fmla="*/ 93843 w 114300"/>
                <a:gd name="connsiteY2" fmla="*/ 42887 h 95250"/>
                <a:gd name="connsiteX3" fmla="*/ 114798 w 114300"/>
                <a:gd name="connsiteY3" fmla="*/ 41934 h 95250"/>
                <a:gd name="connsiteX4" fmla="*/ 44313 w 114300"/>
                <a:gd name="connsiteY4" fmla="*/ 10502 h 95250"/>
                <a:gd name="connsiteX5" fmla="*/ 15738 w 114300"/>
                <a:gd name="connsiteY5" fmla="*/ 89559 h 95250"/>
                <a:gd name="connsiteX6" fmla="*/ 22406 w 114300"/>
                <a:gd name="connsiteY6" fmla="*/ 80034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300" h="95250">
                  <a:moveTo>
                    <a:pt x="22406" y="80034"/>
                  </a:moveTo>
                  <a:cubicBezTo>
                    <a:pt x="22406" y="80034"/>
                    <a:pt x="32883" y="76224"/>
                    <a:pt x="41456" y="83844"/>
                  </a:cubicBezTo>
                  <a:cubicBezTo>
                    <a:pt x="41456" y="83844"/>
                    <a:pt x="94796" y="71462"/>
                    <a:pt x="93843" y="42887"/>
                  </a:cubicBezTo>
                  <a:cubicBezTo>
                    <a:pt x="93843" y="42887"/>
                    <a:pt x="104321" y="38124"/>
                    <a:pt x="114798" y="41934"/>
                  </a:cubicBezTo>
                  <a:cubicBezTo>
                    <a:pt x="114798" y="41934"/>
                    <a:pt x="105273" y="-5691"/>
                    <a:pt x="44313" y="10502"/>
                  </a:cubicBezTo>
                  <a:cubicBezTo>
                    <a:pt x="-16647" y="26694"/>
                    <a:pt x="15738" y="89559"/>
                    <a:pt x="15738" y="89559"/>
                  </a:cubicBezTo>
                  <a:cubicBezTo>
                    <a:pt x="15738" y="89559"/>
                    <a:pt x="16691" y="83844"/>
                    <a:pt x="22406" y="80034"/>
                  </a:cubicBezTo>
                  <a:close/>
                </a:path>
              </a:pathLst>
            </a:custGeom>
            <a:solidFill>
              <a:srgbClr val="FF674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6" name="任意多边形: 形状 115">
              <a:extLst>
                <a:ext uri="{FF2B5EF4-FFF2-40B4-BE49-F238E27FC236}">
                  <a16:creationId xmlns:a16="http://schemas.microsoft.com/office/drawing/2014/main" id="{B37F09F5-5836-4D60-931F-C89C9E6E45F1}"/>
                </a:ext>
              </a:extLst>
            </p:cNvPr>
            <p:cNvSpPr/>
            <p:nvPr/>
          </p:nvSpPr>
          <p:spPr>
            <a:xfrm>
              <a:off x="5835491" y="3296126"/>
              <a:ext cx="57150" cy="76200"/>
            </a:xfrm>
            <a:custGeom>
              <a:avLst/>
              <a:gdLst>
                <a:gd name="connsiteX0" fmla="*/ 10954 w 57150"/>
                <a:gd name="connsiteY0" fmla="*/ 7144 h 76200"/>
                <a:gd name="connsiteX1" fmla="*/ 9049 w 57150"/>
                <a:gd name="connsiteY1" fmla="*/ 17621 h 76200"/>
                <a:gd name="connsiteX2" fmla="*/ 8096 w 57150"/>
                <a:gd name="connsiteY2" fmla="*/ 22384 h 76200"/>
                <a:gd name="connsiteX3" fmla="*/ 7144 w 57150"/>
                <a:gd name="connsiteY3" fmla="*/ 38576 h 76200"/>
                <a:gd name="connsiteX4" fmla="*/ 11906 w 57150"/>
                <a:gd name="connsiteY4" fmla="*/ 61436 h 76200"/>
                <a:gd name="connsiteX5" fmla="*/ 53816 w 57150"/>
                <a:gd name="connsiteY5" fmla="*/ 69056 h 76200"/>
                <a:gd name="connsiteX6" fmla="*/ 56674 w 57150"/>
                <a:gd name="connsiteY6" fmla="*/ 55721 h 76200"/>
                <a:gd name="connsiteX7" fmla="*/ 57626 w 57150"/>
                <a:gd name="connsiteY7" fmla="*/ 43339 h 76200"/>
                <a:gd name="connsiteX8" fmla="*/ 57626 w 57150"/>
                <a:gd name="connsiteY8" fmla="*/ 43339 h 76200"/>
                <a:gd name="connsiteX9" fmla="*/ 57626 w 57150"/>
                <a:gd name="connsiteY9" fmla="*/ 17621 h 76200"/>
                <a:gd name="connsiteX10" fmla="*/ 10954 w 57150"/>
                <a:gd name="connsiteY10" fmla="*/ 7144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7150" h="76200">
                  <a:moveTo>
                    <a:pt x="10954" y="7144"/>
                  </a:moveTo>
                  <a:lnTo>
                    <a:pt x="9049" y="17621"/>
                  </a:lnTo>
                  <a:cubicBezTo>
                    <a:pt x="9049" y="17621"/>
                    <a:pt x="9049" y="19526"/>
                    <a:pt x="8096" y="22384"/>
                  </a:cubicBezTo>
                  <a:cubicBezTo>
                    <a:pt x="8096" y="26194"/>
                    <a:pt x="7144" y="32861"/>
                    <a:pt x="7144" y="38576"/>
                  </a:cubicBezTo>
                  <a:cubicBezTo>
                    <a:pt x="7144" y="48101"/>
                    <a:pt x="8096" y="58579"/>
                    <a:pt x="11906" y="61436"/>
                  </a:cubicBezTo>
                  <a:cubicBezTo>
                    <a:pt x="19526" y="69056"/>
                    <a:pt x="50006" y="70961"/>
                    <a:pt x="53816" y="69056"/>
                  </a:cubicBezTo>
                  <a:cubicBezTo>
                    <a:pt x="54769" y="68104"/>
                    <a:pt x="55721" y="63341"/>
                    <a:pt x="56674" y="55721"/>
                  </a:cubicBezTo>
                  <a:cubicBezTo>
                    <a:pt x="56674" y="51911"/>
                    <a:pt x="56674" y="48101"/>
                    <a:pt x="57626" y="43339"/>
                  </a:cubicBezTo>
                  <a:cubicBezTo>
                    <a:pt x="57626" y="43339"/>
                    <a:pt x="57626" y="43339"/>
                    <a:pt x="57626" y="43339"/>
                  </a:cubicBezTo>
                  <a:cubicBezTo>
                    <a:pt x="57626" y="30004"/>
                    <a:pt x="57626" y="17621"/>
                    <a:pt x="57626" y="17621"/>
                  </a:cubicBezTo>
                  <a:lnTo>
                    <a:pt x="10954" y="7144"/>
                  </a:ln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7" name="任意多边形: 形状 116">
              <a:extLst>
                <a:ext uri="{FF2B5EF4-FFF2-40B4-BE49-F238E27FC236}">
                  <a16:creationId xmlns:a16="http://schemas.microsoft.com/office/drawing/2014/main" id="{460509C7-317A-4DCA-A0A0-FFA1C0AE57EF}"/>
                </a:ext>
              </a:extLst>
            </p:cNvPr>
            <p:cNvSpPr/>
            <p:nvPr/>
          </p:nvSpPr>
          <p:spPr>
            <a:xfrm>
              <a:off x="5835491" y="3312318"/>
              <a:ext cx="57150" cy="47625"/>
            </a:xfrm>
            <a:custGeom>
              <a:avLst/>
              <a:gdLst>
                <a:gd name="connsiteX0" fmla="*/ 8096 w 57150"/>
                <a:gd name="connsiteY0" fmla="*/ 7144 h 47625"/>
                <a:gd name="connsiteX1" fmla="*/ 7144 w 57150"/>
                <a:gd name="connsiteY1" fmla="*/ 23336 h 47625"/>
                <a:gd name="connsiteX2" fmla="*/ 56674 w 57150"/>
                <a:gd name="connsiteY2" fmla="*/ 41434 h 47625"/>
                <a:gd name="connsiteX3" fmla="*/ 57626 w 57150"/>
                <a:gd name="connsiteY3" fmla="*/ 29051 h 47625"/>
                <a:gd name="connsiteX4" fmla="*/ 57626 w 57150"/>
                <a:gd name="connsiteY4" fmla="*/ 29051 h 47625"/>
                <a:gd name="connsiteX5" fmla="*/ 8096 w 57150"/>
                <a:gd name="connsiteY5" fmla="*/ 7144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150" h="47625">
                  <a:moveTo>
                    <a:pt x="8096" y="7144"/>
                  </a:moveTo>
                  <a:cubicBezTo>
                    <a:pt x="8096" y="10954"/>
                    <a:pt x="7144" y="17621"/>
                    <a:pt x="7144" y="23336"/>
                  </a:cubicBezTo>
                  <a:cubicBezTo>
                    <a:pt x="18574" y="29051"/>
                    <a:pt x="43339" y="40481"/>
                    <a:pt x="56674" y="41434"/>
                  </a:cubicBezTo>
                  <a:cubicBezTo>
                    <a:pt x="56674" y="37624"/>
                    <a:pt x="56674" y="33814"/>
                    <a:pt x="57626" y="29051"/>
                  </a:cubicBezTo>
                  <a:cubicBezTo>
                    <a:pt x="57626" y="29051"/>
                    <a:pt x="57626" y="29051"/>
                    <a:pt x="57626" y="29051"/>
                  </a:cubicBezTo>
                  <a:cubicBezTo>
                    <a:pt x="55721" y="28099"/>
                    <a:pt x="13811" y="18574"/>
                    <a:pt x="8096" y="7144"/>
                  </a:cubicBezTo>
                  <a:close/>
                </a:path>
              </a:pathLst>
            </a:custGeom>
            <a:solidFill>
              <a:srgbClr val="EBE0B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8" name="任意多边形: 形状 117">
              <a:extLst>
                <a:ext uri="{FF2B5EF4-FFF2-40B4-BE49-F238E27FC236}">
                  <a16:creationId xmlns:a16="http://schemas.microsoft.com/office/drawing/2014/main" id="{22620E89-EC60-4066-AE72-C877F94B9276}"/>
                </a:ext>
              </a:extLst>
            </p:cNvPr>
            <p:cNvSpPr/>
            <p:nvPr/>
          </p:nvSpPr>
          <p:spPr>
            <a:xfrm>
              <a:off x="5911691" y="2966561"/>
              <a:ext cx="238125" cy="228600"/>
            </a:xfrm>
            <a:custGeom>
              <a:avLst/>
              <a:gdLst>
                <a:gd name="connsiteX0" fmla="*/ 216694 w 238125"/>
                <a:gd name="connsiteY0" fmla="*/ 7144 h 228600"/>
                <a:gd name="connsiteX1" fmla="*/ 26194 w 238125"/>
                <a:gd name="connsiteY1" fmla="*/ 7144 h 228600"/>
                <a:gd name="connsiteX2" fmla="*/ 7144 w 238125"/>
                <a:gd name="connsiteY2" fmla="*/ 26194 h 228600"/>
                <a:gd name="connsiteX3" fmla="*/ 7144 w 238125"/>
                <a:gd name="connsiteY3" fmla="*/ 162401 h 228600"/>
                <a:gd name="connsiteX4" fmla="*/ 26194 w 238125"/>
                <a:gd name="connsiteY4" fmla="*/ 181451 h 228600"/>
                <a:gd name="connsiteX5" fmla="*/ 36671 w 238125"/>
                <a:gd name="connsiteY5" fmla="*/ 181451 h 228600"/>
                <a:gd name="connsiteX6" fmla="*/ 36671 w 238125"/>
                <a:gd name="connsiteY6" fmla="*/ 228124 h 228600"/>
                <a:gd name="connsiteX7" fmla="*/ 83344 w 238125"/>
                <a:gd name="connsiteY7" fmla="*/ 181451 h 228600"/>
                <a:gd name="connsiteX8" fmla="*/ 216694 w 238125"/>
                <a:gd name="connsiteY8" fmla="*/ 181451 h 228600"/>
                <a:gd name="connsiteX9" fmla="*/ 235744 w 238125"/>
                <a:gd name="connsiteY9" fmla="*/ 162401 h 228600"/>
                <a:gd name="connsiteX10" fmla="*/ 235744 w 238125"/>
                <a:gd name="connsiteY10" fmla="*/ 26194 h 228600"/>
                <a:gd name="connsiteX11" fmla="*/ 216694 w 238125"/>
                <a:gd name="connsiteY11" fmla="*/ 7144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8125" h="228600">
                  <a:moveTo>
                    <a:pt x="216694" y="7144"/>
                  </a:moveTo>
                  <a:lnTo>
                    <a:pt x="26194" y="7144"/>
                  </a:lnTo>
                  <a:cubicBezTo>
                    <a:pt x="15716" y="7144"/>
                    <a:pt x="7144" y="15716"/>
                    <a:pt x="7144" y="26194"/>
                  </a:cubicBezTo>
                  <a:lnTo>
                    <a:pt x="7144" y="162401"/>
                  </a:lnTo>
                  <a:cubicBezTo>
                    <a:pt x="7144" y="172879"/>
                    <a:pt x="15716" y="181451"/>
                    <a:pt x="26194" y="181451"/>
                  </a:cubicBezTo>
                  <a:lnTo>
                    <a:pt x="36671" y="181451"/>
                  </a:lnTo>
                  <a:lnTo>
                    <a:pt x="36671" y="228124"/>
                  </a:lnTo>
                  <a:lnTo>
                    <a:pt x="83344" y="181451"/>
                  </a:lnTo>
                  <a:lnTo>
                    <a:pt x="216694" y="181451"/>
                  </a:lnTo>
                  <a:cubicBezTo>
                    <a:pt x="227171" y="181451"/>
                    <a:pt x="235744" y="172879"/>
                    <a:pt x="235744" y="162401"/>
                  </a:cubicBezTo>
                  <a:lnTo>
                    <a:pt x="235744" y="26194"/>
                  </a:lnTo>
                  <a:cubicBezTo>
                    <a:pt x="235744" y="15716"/>
                    <a:pt x="227171" y="7144"/>
                    <a:pt x="216694" y="7144"/>
                  </a:cubicBezTo>
                  <a:close/>
                </a:path>
              </a:pathLst>
            </a:custGeom>
            <a:solidFill>
              <a:srgbClr val="5202B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9" name="任意多边形: 形状 118">
              <a:extLst>
                <a:ext uri="{FF2B5EF4-FFF2-40B4-BE49-F238E27FC236}">
                  <a16:creationId xmlns:a16="http://schemas.microsoft.com/office/drawing/2014/main" id="{CAED0241-86FE-4145-AD74-4ACB802A19A7}"/>
                </a:ext>
              </a:extLst>
            </p:cNvPr>
            <p:cNvSpPr/>
            <p:nvPr/>
          </p:nvSpPr>
          <p:spPr>
            <a:xfrm>
              <a:off x="5941219" y="3006566"/>
              <a:ext cx="180975" cy="95250"/>
            </a:xfrm>
            <a:custGeom>
              <a:avLst/>
              <a:gdLst>
                <a:gd name="connsiteX0" fmla="*/ 179546 w 180975"/>
                <a:gd name="connsiteY0" fmla="*/ 7144 h 95250"/>
                <a:gd name="connsiteX1" fmla="*/ 130016 w 180975"/>
                <a:gd name="connsiteY1" fmla="*/ 20479 h 95250"/>
                <a:gd name="connsiteX2" fmla="*/ 143351 w 180975"/>
                <a:gd name="connsiteY2" fmla="*/ 34766 h 95250"/>
                <a:gd name="connsiteX3" fmla="*/ 117634 w 180975"/>
                <a:gd name="connsiteY3" fmla="*/ 60484 h 95250"/>
                <a:gd name="connsiteX4" fmla="*/ 66199 w 180975"/>
                <a:gd name="connsiteY4" fmla="*/ 23336 h 95250"/>
                <a:gd name="connsiteX5" fmla="*/ 7144 w 180975"/>
                <a:gd name="connsiteY5" fmla="*/ 85249 h 95250"/>
                <a:gd name="connsiteX6" fmla="*/ 16669 w 180975"/>
                <a:gd name="connsiteY6" fmla="*/ 94774 h 95250"/>
                <a:gd name="connsiteX7" fmla="*/ 68104 w 180975"/>
                <a:gd name="connsiteY7" fmla="*/ 40481 h 95250"/>
                <a:gd name="connsiteX8" fmla="*/ 119539 w 180975"/>
                <a:gd name="connsiteY8" fmla="*/ 77629 h 95250"/>
                <a:gd name="connsiteX9" fmla="*/ 152876 w 180975"/>
                <a:gd name="connsiteY9" fmla="*/ 43339 h 95250"/>
                <a:gd name="connsiteX10" fmla="*/ 167164 w 180975"/>
                <a:gd name="connsiteY10" fmla="*/ 56674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0975" h="95250">
                  <a:moveTo>
                    <a:pt x="179546" y="7144"/>
                  </a:moveTo>
                  <a:lnTo>
                    <a:pt x="130016" y="20479"/>
                  </a:lnTo>
                  <a:lnTo>
                    <a:pt x="143351" y="34766"/>
                  </a:lnTo>
                  <a:lnTo>
                    <a:pt x="117634" y="60484"/>
                  </a:lnTo>
                  <a:lnTo>
                    <a:pt x="66199" y="23336"/>
                  </a:lnTo>
                  <a:lnTo>
                    <a:pt x="7144" y="85249"/>
                  </a:lnTo>
                  <a:lnTo>
                    <a:pt x="16669" y="94774"/>
                  </a:lnTo>
                  <a:lnTo>
                    <a:pt x="68104" y="40481"/>
                  </a:lnTo>
                  <a:lnTo>
                    <a:pt x="119539" y="77629"/>
                  </a:lnTo>
                  <a:lnTo>
                    <a:pt x="152876" y="43339"/>
                  </a:lnTo>
                  <a:lnTo>
                    <a:pt x="167164" y="5667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0" name="任意多边形: 形状 119">
              <a:extLst>
                <a:ext uri="{FF2B5EF4-FFF2-40B4-BE49-F238E27FC236}">
                  <a16:creationId xmlns:a16="http://schemas.microsoft.com/office/drawing/2014/main" id="{7E17F7A8-8115-4B2D-B0C9-60E4D3568EF3}"/>
                </a:ext>
              </a:extLst>
            </p:cNvPr>
            <p:cNvSpPr/>
            <p:nvPr/>
          </p:nvSpPr>
          <p:spPr>
            <a:xfrm>
              <a:off x="6186011" y="2713196"/>
              <a:ext cx="200025" cy="200025"/>
            </a:xfrm>
            <a:custGeom>
              <a:avLst/>
              <a:gdLst>
                <a:gd name="connsiteX0" fmla="*/ 195739 w 200025"/>
                <a:gd name="connsiteY0" fmla="*/ 101441 h 200025"/>
                <a:gd name="connsiteX1" fmla="*/ 101441 w 200025"/>
                <a:gd name="connsiteY1" fmla="*/ 195739 h 200025"/>
                <a:gd name="connsiteX2" fmla="*/ 7144 w 200025"/>
                <a:gd name="connsiteY2" fmla="*/ 101441 h 200025"/>
                <a:gd name="connsiteX3" fmla="*/ 101441 w 200025"/>
                <a:gd name="connsiteY3" fmla="*/ 7144 h 200025"/>
                <a:gd name="connsiteX4" fmla="*/ 195739 w 200025"/>
                <a:gd name="connsiteY4" fmla="*/ 101441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025" h="200025">
                  <a:moveTo>
                    <a:pt x="195739" y="101441"/>
                  </a:moveTo>
                  <a:cubicBezTo>
                    <a:pt x="195739" y="152876"/>
                    <a:pt x="153829" y="195739"/>
                    <a:pt x="101441" y="195739"/>
                  </a:cubicBezTo>
                  <a:cubicBezTo>
                    <a:pt x="50006" y="195739"/>
                    <a:pt x="7144" y="153829"/>
                    <a:pt x="7144" y="101441"/>
                  </a:cubicBezTo>
                  <a:cubicBezTo>
                    <a:pt x="7144" y="50006"/>
                    <a:pt x="49054" y="7144"/>
                    <a:pt x="101441" y="7144"/>
                  </a:cubicBezTo>
                  <a:cubicBezTo>
                    <a:pt x="153829" y="8096"/>
                    <a:pt x="195739" y="50006"/>
                    <a:pt x="195739" y="10144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1" name="任意多边形: 形状 120">
              <a:extLst>
                <a:ext uri="{FF2B5EF4-FFF2-40B4-BE49-F238E27FC236}">
                  <a16:creationId xmlns:a16="http://schemas.microsoft.com/office/drawing/2014/main" id="{AC9D9A75-A641-4F01-9D49-D187FDAC4EB1}"/>
                </a:ext>
              </a:extLst>
            </p:cNvPr>
            <p:cNvSpPr/>
            <p:nvPr/>
          </p:nvSpPr>
          <p:spPr>
            <a:xfrm>
              <a:off x="6200299" y="2727483"/>
              <a:ext cx="171450" cy="171450"/>
            </a:xfrm>
            <a:custGeom>
              <a:avLst/>
              <a:gdLst>
                <a:gd name="connsiteX0" fmla="*/ 87154 w 171450"/>
                <a:gd name="connsiteY0" fmla="*/ 168116 h 171450"/>
                <a:gd name="connsiteX1" fmla="*/ 77629 w 171450"/>
                <a:gd name="connsiteY1" fmla="*/ 167164 h 171450"/>
                <a:gd name="connsiteX2" fmla="*/ 78581 w 171450"/>
                <a:gd name="connsiteY2" fmla="*/ 160496 h 171450"/>
                <a:gd name="connsiteX3" fmla="*/ 96679 w 171450"/>
                <a:gd name="connsiteY3" fmla="*/ 160496 h 171450"/>
                <a:gd name="connsiteX4" fmla="*/ 97631 w 171450"/>
                <a:gd name="connsiteY4" fmla="*/ 167164 h 171450"/>
                <a:gd name="connsiteX5" fmla="*/ 87154 w 171450"/>
                <a:gd name="connsiteY5" fmla="*/ 168116 h 171450"/>
                <a:gd name="connsiteX6" fmla="*/ 58579 w 171450"/>
                <a:gd name="connsiteY6" fmla="*/ 163354 h 171450"/>
                <a:gd name="connsiteX7" fmla="*/ 41434 w 171450"/>
                <a:gd name="connsiteY7" fmla="*/ 153829 h 171450"/>
                <a:gd name="connsiteX8" fmla="*/ 45244 w 171450"/>
                <a:gd name="connsiteY8" fmla="*/ 148114 h 171450"/>
                <a:gd name="connsiteX9" fmla="*/ 61436 w 171450"/>
                <a:gd name="connsiteY9" fmla="*/ 156686 h 171450"/>
                <a:gd name="connsiteX10" fmla="*/ 58579 w 171450"/>
                <a:gd name="connsiteY10" fmla="*/ 163354 h 171450"/>
                <a:gd name="connsiteX11" fmla="*/ 115729 w 171450"/>
                <a:gd name="connsiteY11" fmla="*/ 163354 h 171450"/>
                <a:gd name="connsiteX12" fmla="*/ 113824 w 171450"/>
                <a:gd name="connsiteY12" fmla="*/ 157639 h 171450"/>
                <a:gd name="connsiteX13" fmla="*/ 130016 w 171450"/>
                <a:gd name="connsiteY13" fmla="*/ 149066 h 171450"/>
                <a:gd name="connsiteX14" fmla="*/ 133826 w 171450"/>
                <a:gd name="connsiteY14" fmla="*/ 154781 h 171450"/>
                <a:gd name="connsiteX15" fmla="*/ 115729 w 171450"/>
                <a:gd name="connsiteY15" fmla="*/ 163354 h 171450"/>
                <a:gd name="connsiteX16" fmla="*/ 27146 w 171450"/>
                <a:gd name="connsiteY16" fmla="*/ 141446 h 171450"/>
                <a:gd name="connsiteX17" fmla="*/ 15716 w 171450"/>
                <a:gd name="connsiteY17" fmla="*/ 125254 h 171450"/>
                <a:gd name="connsiteX18" fmla="*/ 21431 w 171450"/>
                <a:gd name="connsiteY18" fmla="*/ 122396 h 171450"/>
                <a:gd name="connsiteX19" fmla="*/ 31909 w 171450"/>
                <a:gd name="connsiteY19" fmla="*/ 136684 h 171450"/>
                <a:gd name="connsiteX20" fmla="*/ 27146 w 171450"/>
                <a:gd name="connsiteY20" fmla="*/ 141446 h 171450"/>
                <a:gd name="connsiteX21" fmla="*/ 148114 w 171450"/>
                <a:gd name="connsiteY21" fmla="*/ 141446 h 171450"/>
                <a:gd name="connsiteX22" fmla="*/ 143351 w 171450"/>
                <a:gd name="connsiteY22" fmla="*/ 136684 h 171450"/>
                <a:gd name="connsiteX23" fmla="*/ 153829 w 171450"/>
                <a:gd name="connsiteY23" fmla="*/ 121444 h 171450"/>
                <a:gd name="connsiteX24" fmla="*/ 159544 w 171450"/>
                <a:gd name="connsiteY24" fmla="*/ 124301 h 171450"/>
                <a:gd name="connsiteX25" fmla="*/ 148114 w 171450"/>
                <a:gd name="connsiteY25" fmla="*/ 141446 h 171450"/>
                <a:gd name="connsiteX26" fmla="*/ 9049 w 171450"/>
                <a:gd name="connsiteY26" fmla="*/ 107156 h 171450"/>
                <a:gd name="connsiteX27" fmla="*/ 7144 w 171450"/>
                <a:gd name="connsiteY27" fmla="*/ 88106 h 171450"/>
                <a:gd name="connsiteX28" fmla="*/ 13811 w 171450"/>
                <a:gd name="connsiteY28" fmla="*/ 88106 h 171450"/>
                <a:gd name="connsiteX29" fmla="*/ 15716 w 171450"/>
                <a:gd name="connsiteY29" fmla="*/ 106204 h 171450"/>
                <a:gd name="connsiteX30" fmla="*/ 9049 w 171450"/>
                <a:gd name="connsiteY30" fmla="*/ 107156 h 171450"/>
                <a:gd name="connsiteX31" fmla="*/ 166211 w 171450"/>
                <a:gd name="connsiteY31" fmla="*/ 107156 h 171450"/>
                <a:gd name="connsiteX32" fmla="*/ 159544 w 171450"/>
                <a:gd name="connsiteY32" fmla="*/ 105251 h 171450"/>
                <a:gd name="connsiteX33" fmla="*/ 161449 w 171450"/>
                <a:gd name="connsiteY33" fmla="*/ 87154 h 171450"/>
                <a:gd name="connsiteX34" fmla="*/ 168116 w 171450"/>
                <a:gd name="connsiteY34" fmla="*/ 87154 h 171450"/>
                <a:gd name="connsiteX35" fmla="*/ 168116 w 171450"/>
                <a:gd name="connsiteY35" fmla="*/ 87154 h 171450"/>
                <a:gd name="connsiteX36" fmla="*/ 166211 w 171450"/>
                <a:gd name="connsiteY36" fmla="*/ 107156 h 171450"/>
                <a:gd name="connsiteX37" fmla="*/ 14764 w 171450"/>
                <a:gd name="connsiteY37" fmla="*/ 70009 h 171450"/>
                <a:gd name="connsiteX38" fmla="*/ 8096 w 171450"/>
                <a:gd name="connsiteY38" fmla="*/ 68104 h 171450"/>
                <a:gd name="connsiteX39" fmla="*/ 14764 w 171450"/>
                <a:gd name="connsiteY39" fmla="*/ 50006 h 171450"/>
                <a:gd name="connsiteX40" fmla="*/ 20479 w 171450"/>
                <a:gd name="connsiteY40" fmla="*/ 52864 h 171450"/>
                <a:gd name="connsiteX41" fmla="*/ 14764 w 171450"/>
                <a:gd name="connsiteY41" fmla="*/ 70009 h 171450"/>
                <a:gd name="connsiteX42" fmla="*/ 159544 w 171450"/>
                <a:gd name="connsiteY42" fmla="*/ 69056 h 171450"/>
                <a:gd name="connsiteX43" fmla="*/ 152876 w 171450"/>
                <a:gd name="connsiteY43" fmla="*/ 51911 h 171450"/>
                <a:gd name="connsiteX44" fmla="*/ 158591 w 171450"/>
                <a:gd name="connsiteY44" fmla="*/ 49054 h 171450"/>
                <a:gd name="connsiteX45" fmla="*/ 165259 w 171450"/>
                <a:gd name="connsiteY45" fmla="*/ 67151 h 171450"/>
                <a:gd name="connsiteX46" fmla="*/ 159544 w 171450"/>
                <a:gd name="connsiteY46" fmla="*/ 69056 h 171450"/>
                <a:gd name="connsiteX47" fmla="*/ 30956 w 171450"/>
                <a:gd name="connsiteY47" fmla="*/ 38576 h 171450"/>
                <a:gd name="connsiteX48" fmla="*/ 26194 w 171450"/>
                <a:gd name="connsiteY48" fmla="*/ 34766 h 171450"/>
                <a:gd name="connsiteX49" fmla="*/ 40481 w 171450"/>
                <a:gd name="connsiteY49" fmla="*/ 21431 h 171450"/>
                <a:gd name="connsiteX50" fmla="*/ 44291 w 171450"/>
                <a:gd name="connsiteY50" fmla="*/ 27146 h 171450"/>
                <a:gd name="connsiteX51" fmla="*/ 30956 w 171450"/>
                <a:gd name="connsiteY51" fmla="*/ 38576 h 171450"/>
                <a:gd name="connsiteX52" fmla="*/ 143351 w 171450"/>
                <a:gd name="connsiteY52" fmla="*/ 37624 h 171450"/>
                <a:gd name="connsiteX53" fmla="*/ 130016 w 171450"/>
                <a:gd name="connsiteY53" fmla="*/ 26194 h 171450"/>
                <a:gd name="connsiteX54" fmla="*/ 133826 w 171450"/>
                <a:gd name="connsiteY54" fmla="*/ 20479 h 171450"/>
                <a:gd name="connsiteX55" fmla="*/ 148114 w 171450"/>
                <a:gd name="connsiteY55" fmla="*/ 33814 h 171450"/>
                <a:gd name="connsiteX56" fmla="*/ 143351 w 171450"/>
                <a:gd name="connsiteY56" fmla="*/ 37624 h 171450"/>
                <a:gd name="connsiteX57" fmla="*/ 60484 w 171450"/>
                <a:gd name="connsiteY57" fmla="*/ 17621 h 171450"/>
                <a:gd name="connsiteX58" fmla="*/ 58579 w 171450"/>
                <a:gd name="connsiteY58" fmla="*/ 11906 h 171450"/>
                <a:gd name="connsiteX59" fmla="*/ 77629 w 171450"/>
                <a:gd name="connsiteY59" fmla="*/ 7144 h 171450"/>
                <a:gd name="connsiteX60" fmla="*/ 78581 w 171450"/>
                <a:gd name="connsiteY60" fmla="*/ 13811 h 171450"/>
                <a:gd name="connsiteX61" fmla="*/ 60484 w 171450"/>
                <a:gd name="connsiteY61" fmla="*/ 17621 h 171450"/>
                <a:gd name="connsiteX62" fmla="*/ 113824 w 171450"/>
                <a:gd name="connsiteY62" fmla="*/ 17621 h 171450"/>
                <a:gd name="connsiteX63" fmla="*/ 96679 w 171450"/>
                <a:gd name="connsiteY63" fmla="*/ 13811 h 171450"/>
                <a:gd name="connsiteX64" fmla="*/ 97631 w 171450"/>
                <a:gd name="connsiteY64" fmla="*/ 7144 h 171450"/>
                <a:gd name="connsiteX65" fmla="*/ 116681 w 171450"/>
                <a:gd name="connsiteY65" fmla="*/ 11906 h 171450"/>
                <a:gd name="connsiteX66" fmla="*/ 113824 w 171450"/>
                <a:gd name="connsiteY66" fmla="*/ 1762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71450" h="171450">
                  <a:moveTo>
                    <a:pt x="87154" y="168116"/>
                  </a:moveTo>
                  <a:cubicBezTo>
                    <a:pt x="84296" y="168116"/>
                    <a:pt x="80486" y="168116"/>
                    <a:pt x="77629" y="167164"/>
                  </a:cubicBezTo>
                  <a:lnTo>
                    <a:pt x="78581" y="160496"/>
                  </a:lnTo>
                  <a:cubicBezTo>
                    <a:pt x="84296" y="161449"/>
                    <a:pt x="90964" y="161449"/>
                    <a:pt x="96679" y="160496"/>
                  </a:cubicBezTo>
                  <a:lnTo>
                    <a:pt x="97631" y="167164"/>
                  </a:lnTo>
                  <a:cubicBezTo>
                    <a:pt x="93821" y="168116"/>
                    <a:pt x="90964" y="168116"/>
                    <a:pt x="87154" y="168116"/>
                  </a:cubicBezTo>
                  <a:close/>
                  <a:moveTo>
                    <a:pt x="58579" y="163354"/>
                  </a:moveTo>
                  <a:cubicBezTo>
                    <a:pt x="52864" y="161449"/>
                    <a:pt x="46196" y="157639"/>
                    <a:pt x="41434" y="153829"/>
                  </a:cubicBezTo>
                  <a:lnTo>
                    <a:pt x="45244" y="148114"/>
                  </a:lnTo>
                  <a:cubicBezTo>
                    <a:pt x="50006" y="151924"/>
                    <a:pt x="55721" y="154781"/>
                    <a:pt x="61436" y="156686"/>
                  </a:cubicBezTo>
                  <a:lnTo>
                    <a:pt x="58579" y="163354"/>
                  </a:lnTo>
                  <a:close/>
                  <a:moveTo>
                    <a:pt x="115729" y="163354"/>
                  </a:moveTo>
                  <a:lnTo>
                    <a:pt x="113824" y="157639"/>
                  </a:lnTo>
                  <a:cubicBezTo>
                    <a:pt x="119539" y="155734"/>
                    <a:pt x="124301" y="152876"/>
                    <a:pt x="130016" y="149066"/>
                  </a:cubicBezTo>
                  <a:lnTo>
                    <a:pt x="133826" y="154781"/>
                  </a:lnTo>
                  <a:cubicBezTo>
                    <a:pt x="128111" y="157639"/>
                    <a:pt x="122396" y="160496"/>
                    <a:pt x="115729" y="163354"/>
                  </a:cubicBezTo>
                  <a:close/>
                  <a:moveTo>
                    <a:pt x="27146" y="141446"/>
                  </a:moveTo>
                  <a:cubicBezTo>
                    <a:pt x="22384" y="136684"/>
                    <a:pt x="19526" y="130969"/>
                    <a:pt x="15716" y="125254"/>
                  </a:cubicBezTo>
                  <a:lnTo>
                    <a:pt x="21431" y="122396"/>
                  </a:lnTo>
                  <a:cubicBezTo>
                    <a:pt x="24289" y="128111"/>
                    <a:pt x="28099" y="132874"/>
                    <a:pt x="31909" y="136684"/>
                  </a:cubicBezTo>
                  <a:lnTo>
                    <a:pt x="27146" y="141446"/>
                  </a:lnTo>
                  <a:close/>
                  <a:moveTo>
                    <a:pt x="148114" y="141446"/>
                  </a:moveTo>
                  <a:lnTo>
                    <a:pt x="143351" y="136684"/>
                  </a:lnTo>
                  <a:cubicBezTo>
                    <a:pt x="147161" y="131921"/>
                    <a:pt x="150971" y="127159"/>
                    <a:pt x="153829" y="121444"/>
                  </a:cubicBezTo>
                  <a:lnTo>
                    <a:pt x="159544" y="124301"/>
                  </a:lnTo>
                  <a:cubicBezTo>
                    <a:pt x="155734" y="130969"/>
                    <a:pt x="151924" y="136684"/>
                    <a:pt x="148114" y="141446"/>
                  </a:cubicBezTo>
                  <a:close/>
                  <a:moveTo>
                    <a:pt x="9049" y="107156"/>
                  </a:moveTo>
                  <a:cubicBezTo>
                    <a:pt x="7144" y="100489"/>
                    <a:pt x="7144" y="94774"/>
                    <a:pt x="7144" y="88106"/>
                  </a:cubicBezTo>
                  <a:lnTo>
                    <a:pt x="13811" y="88106"/>
                  </a:lnTo>
                  <a:cubicBezTo>
                    <a:pt x="13811" y="93821"/>
                    <a:pt x="14764" y="100489"/>
                    <a:pt x="15716" y="106204"/>
                  </a:cubicBezTo>
                  <a:lnTo>
                    <a:pt x="9049" y="107156"/>
                  </a:lnTo>
                  <a:close/>
                  <a:moveTo>
                    <a:pt x="166211" y="107156"/>
                  </a:moveTo>
                  <a:lnTo>
                    <a:pt x="159544" y="105251"/>
                  </a:lnTo>
                  <a:cubicBezTo>
                    <a:pt x="160496" y="99536"/>
                    <a:pt x="161449" y="93821"/>
                    <a:pt x="161449" y="87154"/>
                  </a:cubicBezTo>
                  <a:lnTo>
                    <a:pt x="168116" y="87154"/>
                  </a:lnTo>
                  <a:lnTo>
                    <a:pt x="168116" y="87154"/>
                  </a:lnTo>
                  <a:cubicBezTo>
                    <a:pt x="168116" y="93821"/>
                    <a:pt x="167164" y="100489"/>
                    <a:pt x="166211" y="107156"/>
                  </a:cubicBezTo>
                  <a:close/>
                  <a:moveTo>
                    <a:pt x="14764" y="70009"/>
                  </a:moveTo>
                  <a:lnTo>
                    <a:pt x="8096" y="68104"/>
                  </a:lnTo>
                  <a:cubicBezTo>
                    <a:pt x="10001" y="61436"/>
                    <a:pt x="11906" y="55721"/>
                    <a:pt x="14764" y="50006"/>
                  </a:cubicBezTo>
                  <a:lnTo>
                    <a:pt x="20479" y="52864"/>
                  </a:lnTo>
                  <a:cubicBezTo>
                    <a:pt x="18574" y="58579"/>
                    <a:pt x="16669" y="64294"/>
                    <a:pt x="14764" y="70009"/>
                  </a:cubicBezTo>
                  <a:close/>
                  <a:moveTo>
                    <a:pt x="159544" y="69056"/>
                  </a:moveTo>
                  <a:cubicBezTo>
                    <a:pt x="157639" y="63341"/>
                    <a:pt x="155734" y="57626"/>
                    <a:pt x="152876" y="51911"/>
                  </a:cubicBezTo>
                  <a:lnTo>
                    <a:pt x="158591" y="49054"/>
                  </a:lnTo>
                  <a:cubicBezTo>
                    <a:pt x="161449" y="54769"/>
                    <a:pt x="164306" y="60484"/>
                    <a:pt x="165259" y="67151"/>
                  </a:cubicBezTo>
                  <a:lnTo>
                    <a:pt x="159544" y="69056"/>
                  </a:lnTo>
                  <a:close/>
                  <a:moveTo>
                    <a:pt x="30956" y="38576"/>
                  </a:moveTo>
                  <a:lnTo>
                    <a:pt x="26194" y="34766"/>
                  </a:lnTo>
                  <a:cubicBezTo>
                    <a:pt x="30956" y="30004"/>
                    <a:pt x="35719" y="25241"/>
                    <a:pt x="40481" y="21431"/>
                  </a:cubicBezTo>
                  <a:lnTo>
                    <a:pt x="44291" y="27146"/>
                  </a:lnTo>
                  <a:cubicBezTo>
                    <a:pt x="39529" y="30004"/>
                    <a:pt x="35719" y="33814"/>
                    <a:pt x="30956" y="38576"/>
                  </a:cubicBezTo>
                  <a:close/>
                  <a:moveTo>
                    <a:pt x="143351" y="37624"/>
                  </a:moveTo>
                  <a:cubicBezTo>
                    <a:pt x="139541" y="32861"/>
                    <a:pt x="134779" y="29051"/>
                    <a:pt x="130016" y="26194"/>
                  </a:cubicBezTo>
                  <a:lnTo>
                    <a:pt x="133826" y="20479"/>
                  </a:lnTo>
                  <a:cubicBezTo>
                    <a:pt x="139541" y="24289"/>
                    <a:pt x="144304" y="28099"/>
                    <a:pt x="148114" y="33814"/>
                  </a:cubicBezTo>
                  <a:lnTo>
                    <a:pt x="143351" y="37624"/>
                  </a:lnTo>
                  <a:close/>
                  <a:moveTo>
                    <a:pt x="60484" y="17621"/>
                  </a:moveTo>
                  <a:lnTo>
                    <a:pt x="58579" y="11906"/>
                  </a:lnTo>
                  <a:cubicBezTo>
                    <a:pt x="64294" y="10001"/>
                    <a:pt x="70961" y="8096"/>
                    <a:pt x="77629" y="7144"/>
                  </a:cubicBezTo>
                  <a:lnTo>
                    <a:pt x="78581" y="13811"/>
                  </a:lnTo>
                  <a:cubicBezTo>
                    <a:pt x="71914" y="14764"/>
                    <a:pt x="66199" y="15716"/>
                    <a:pt x="60484" y="17621"/>
                  </a:cubicBezTo>
                  <a:close/>
                  <a:moveTo>
                    <a:pt x="113824" y="17621"/>
                  </a:moveTo>
                  <a:cubicBezTo>
                    <a:pt x="108109" y="15716"/>
                    <a:pt x="102394" y="13811"/>
                    <a:pt x="96679" y="13811"/>
                  </a:cubicBezTo>
                  <a:lnTo>
                    <a:pt x="97631" y="7144"/>
                  </a:lnTo>
                  <a:cubicBezTo>
                    <a:pt x="104299" y="8096"/>
                    <a:pt x="110966" y="9049"/>
                    <a:pt x="116681" y="11906"/>
                  </a:cubicBezTo>
                  <a:lnTo>
                    <a:pt x="113824" y="17621"/>
                  </a:lnTo>
                  <a:close/>
                </a:path>
              </a:pathLst>
            </a:custGeom>
            <a:solidFill>
              <a:srgbClr val="5202B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2" name="任意多边形: 形状 121">
              <a:extLst>
                <a:ext uri="{FF2B5EF4-FFF2-40B4-BE49-F238E27FC236}">
                  <a16:creationId xmlns:a16="http://schemas.microsoft.com/office/drawing/2014/main" id="{D4202A4A-1640-4CDD-B9C2-2EA87296FE24}"/>
                </a:ext>
              </a:extLst>
            </p:cNvPr>
            <p:cNvSpPr/>
            <p:nvPr/>
          </p:nvSpPr>
          <p:spPr>
            <a:xfrm>
              <a:off x="6273641" y="2757963"/>
              <a:ext cx="47625" cy="104775"/>
            </a:xfrm>
            <a:custGeom>
              <a:avLst/>
              <a:gdLst>
                <a:gd name="connsiteX0" fmla="*/ 34766 w 47625"/>
                <a:gd name="connsiteY0" fmla="*/ 99536 h 104775"/>
                <a:gd name="connsiteX1" fmla="*/ 7144 w 47625"/>
                <a:gd name="connsiteY1" fmla="*/ 72866 h 104775"/>
                <a:gd name="connsiteX2" fmla="*/ 7144 w 47625"/>
                <a:gd name="connsiteY2" fmla="*/ 7144 h 104775"/>
                <a:gd name="connsiteX3" fmla="*/ 20479 w 47625"/>
                <a:gd name="connsiteY3" fmla="*/ 7144 h 104775"/>
                <a:gd name="connsiteX4" fmla="*/ 20479 w 47625"/>
                <a:gd name="connsiteY4" fmla="*/ 68104 h 104775"/>
                <a:gd name="connsiteX5" fmla="*/ 43339 w 47625"/>
                <a:gd name="connsiteY5" fmla="*/ 90964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625" h="104775">
                  <a:moveTo>
                    <a:pt x="34766" y="99536"/>
                  </a:moveTo>
                  <a:lnTo>
                    <a:pt x="7144" y="72866"/>
                  </a:lnTo>
                  <a:lnTo>
                    <a:pt x="7144" y="7144"/>
                  </a:lnTo>
                  <a:lnTo>
                    <a:pt x="20479" y="7144"/>
                  </a:lnTo>
                  <a:lnTo>
                    <a:pt x="20479" y="68104"/>
                  </a:lnTo>
                  <a:lnTo>
                    <a:pt x="43339" y="90964"/>
                  </a:lnTo>
                  <a:close/>
                </a:path>
              </a:pathLst>
            </a:custGeom>
            <a:solidFill>
              <a:srgbClr val="5202B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3" name="任意多边形: 形状 122">
              <a:extLst>
                <a:ext uri="{FF2B5EF4-FFF2-40B4-BE49-F238E27FC236}">
                  <a16:creationId xmlns:a16="http://schemas.microsoft.com/office/drawing/2014/main" id="{270AAB46-327B-4A9B-85D6-B1422DA3C857}"/>
                </a:ext>
              </a:extLst>
            </p:cNvPr>
            <p:cNvSpPr/>
            <p:nvPr/>
          </p:nvSpPr>
          <p:spPr>
            <a:xfrm>
              <a:off x="6360319" y="3107531"/>
              <a:ext cx="76200" cy="76200"/>
            </a:xfrm>
            <a:custGeom>
              <a:avLst/>
              <a:gdLst>
                <a:gd name="connsiteX0" fmla="*/ 71914 w 76200"/>
                <a:gd name="connsiteY0" fmla="*/ 7144 h 76200"/>
                <a:gd name="connsiteX1" fmla="*/ 71914 w 76200"/>
                <a:gd name="connsiteY1" fmla="*/ 50006 h 76200"/>
                <a:gd name="connsiteX2" fmla="*/ 50006 w 76200"/>
                <a:gd name="connsiteY2" fmla="*/ 71914 h 76200"/>
                <a:gd name="connsiteX3" fmla="*/ 7144 w 76200"/>
                <a:gd name="connsiteY3" fmla="*/ 71914 h 76200"/>
                <a:gd name="connsiteX4" fmla="*/ 7144 w 76200"/>
                <a:gd name="connsiteY4" fmla="*/ 7144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76200">
                  <a:moveTo>
                    <a:pt x="71914" y="7144"/>
                  </a:moveTo>
                  <a:lnTo>
                    <a:pt x="71914" y="50006"/>
                  </a:lnTo>
                  <a:lnTo>
                    <a:pt x="50006" y="71914"/>
                  </a:lnTo>
                  <a:lnTo>
                    <a:pt x="7144" y="71914"/>
                  </a:lnTo>
                  <a:lnTo>
                    <a:pt x="7144" y="7144"/>
                  </a:ln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4" name="任意多边形: 形状 123">
              <a:extLst>
                <a:ext uri="{FF2B5EF4-FFF2-40B4-BE49-F238E27FC236}">
                  <a16:creationId xmlns:a16="http://schemas.microsoft.com/office/drawing/2014/main" id="{004CC58A-3F4D-4B09-B21C-751E4FC519D3}"/>
                </a:ext>
              </a:extLst>
            </p:cNvPr>
            <p:cNvSpPr/>
            <p:nvPr/>
          </p:nvSpPr>
          <p:spPr>
            <a:xfrm>
              <a:off x="6403181" y="3150393"/>
              <a:ext cx="28575" cy="28575"/>
            </a:xfrm>
            <a:custGeom>
              <a:avLst/>
              <a:gdLst>
                <a:gd name="connsiteX0" fmla="*/ 29051 w 28575"/>
                <a:gd name="connsiteY0" fmla="*/ 7144 h 28575"/>
                <a:gd name="connsiteX1" fmla="*/ 7144 w 28575"/>
                <a:gd name="connsiteY1" fmla="*/ 29051 h 28575"/>
                <a:gd name="connsiteX2" fmla="*/ 7144 w 28575"/>
                <a:gd name="connsiteY2" fmla="*/ 714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575" h="28575">
                  <a:moveTo>
                    <a:pt x="29051" y="7144"/>
                  </a:moveTo>
                  <a:lnTo>
                    <a:pt x="7144" y="29051"/>
                  </a:lnTo>
                  <a:lnTo>
                    <a:pt x="7144" y="7144"/>
                  </a:lnTo>
                  <a:close/>
                </a:path>
              </a:pathLst>
            </a:custGeom>
            <a:solidFill>
              <a:srgbClr val="EBE0B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5" name="任意多边形: 形状 124">
              <a:extLst>
                <a:ext uri="{FF2B5EF4-FFF2-40B4-BE49-F238E27FC236}">
                  <a16:creationId xmlns:a16="http://schemas.microsoft.com/office/drawing/2014/main" id="{BF5557A6-FA32-401F-B088-B5C36F83074A}"/>
                </a:ext>
              </a:extLst>
            </p:cNvPr>
            <p:cNvSpPr/>
            <p:nvPr/>
          </p:nvSpPr>
          <p:spPr>
            <a:xfrm>
              <a:off x="6266974" y="3044666"/>
              <a:ext cx="76200" cy="76200"/>
            </a:xfrm>
            <a:custGeom>
              <a:avLst/>
              <a:gdLst>
                <a:gd name="connsiteX0" fmla="*/ 7144 w 76200"/>
                <a:gd name="connsiteY0" fmla="*/ 7144 h 76200"/>
                <a:gd name="connsiteX1" fmla="*/ 71914 w 76200"/>
                <a:gd name="connsiteY1" fmla="*/ 7144 h 76200"/>
                <a:gd name="connsiteX2" fmla="*/ 71914 w 76200"/>
                <a:gd name="connsiteY2" fmla="*/ 71914 h 76200"/>
                <a:gd name="connsiteX3" fmla="*/ 7144 w 76200"/>
                <a:gd name="connsiteY3" fmla="*/ 71914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200" h="76200">
                  <a:moveTo>
                    <a:pt x="7144" y="7144"/>
                  </a:moveTo>
                  <a:lnTo>
                    <a:pt x="71914" y="7144"/>
                  </a:lnTo>
                  <a:lnTo>
                    <a:pt x="71914" y="71914"/>
                  </a:lnTo>
                  <a:lnTo>
                    <a:pt x="7144" y="7191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6" name="任意多边形: 形状 125">
              <a:extLst>
                <a:ext uri="{FF2B5EF4-FFF2-40B4-BE49-F238E27FC236}">
                  <a16:creationId xmlns:a16="http://schemas.microsoft.com/office/drawing/2014/main" id="{D44CB47F-F1E4-4B05-B7FA-F4BB6EBF105A}"/>
                </a:ext>
              </a:extLst>
            </p:cNvPr>
            <p:cNvSpPr/>
            <p:nvPr/>
          </p:nvSpPr>
          <p:spPr>
            <a:xfrm>
              <a:off x="6879431" y="2583656"/>
              <a:ext cx="123825" cy="123825"/>
            </a:xfrm>
            <a:custGeom>
              <a:avLst/>
              <a:gdLst>
                <a:gd name="connsiteX0" fmla="*/ 119539 w 123825"/>
                <a:gd name="connsiteY0" fmla="*/ 63341 h 123825"/>
                <a:gd name="connsiteX1" fmla="*/ 63341 w 123825"/>
                <a:gd name="connsiteY1" fmla="*/ 119539 h 123825"/>
                <a:gd name="connsiteX2" fmla="*/ 7144 w 123825"/>
                <a:gd name="connsiteY2" fmla="*/ 63341 h 123825"/>
                <a:gd name="connsiteX3" fmla="*/ 63341 w 123825"/>
                <a:gd name="connsiteY3" fmla="*/ 7144 h 123825"/>
                <a:gd name="connsiteX4" fmla="*/ 119539 w 123825"/>
                <a:gd name="connsiteY4" fmla="*/ 63341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825" h="123825">
                  <a:moveTo>
                    <a:pt x="119539" y="63341"/>
                  </a:moveTo>
                  <a:cubicBezTo>
                    <a:pt x="119539" y="93821"/>
                    <a:pt x="94774" y="119539"/>
                    <a:pt x="63341" y="119539"/>
                  </a:cubicBezTo>
                  <a:cubicBezTo>
                    <a:pt x="32861" y="119539"/>
                    <a:pt x="7144" y="94774"/>
                    <a:pt x="7144" y="63341"/>
                  </a:cubicBezTo>
                  <a:cubicBezTo>
                    <a:pt x="7144" y="32861"/>
                    <a:pt x="31909" y="7144"/>
                    <a:pt x="63341" y="7144"/>
                  </a:cubicBezTo>
                  <a:cubicBezTo>
                    <a:pt x="94774" y="7144"/>
                    <a:pt x="119539" y="31909"/>
                    <a:pt x="119539" y="63341"/>
                  </a:cubicBezTo>
                  <a:close/>
                </a:path>
              </a:pathLst>
            </a:custGeom>
            <a:solidFill>
              <a:srgbClr val="F065A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7" name="任意多边形: 形状 126">
              <a:extLst>
                <a:ext uri="{FF2B5EF4-FFF2-40B4-BE49-F238E27FC236}">
                  <a16:creationId xmlns:a16="http://schemas.microsoft.com/office/drawing/2014/main" id="{779BAA6C-9D61-4AE0-B184-C30200413216}"/>
                </a:ext>
              </a:extLst>
            </p:cNvPr>
            <p:cNvSpPr/>
            <p:nvPr/>
          </p:nvSpPr>
          <p:spPr>
            <a:xfrm>
              <a:off x="7151846" y="4197191"/>
              <a:ext cx="123825" cy="123825"/>
            </a:xfrm>
            <a:custGeom>
              <a:avLst/>
              <a:gdLst>
                <a:gd name="connsiteX0" fmla="*/ 119539 w 123825"/>
                <a:gd name="connsiteY0" fmla="*/ 63341 h 123825"/>
                <a:gd name="connsiteX1" fmla="*/ 63341 w 123825"/>
                <a:gd name="connsiteY1" fmla="*/ 119539 h 123825"/>
                <a:gd name="connsiteX2" fmla="*/ 7144 w 123825"/>
                <a:gd name="connsiteY2" fmla="*/ 63341 h 123825"/>
                <a:gd name="connsiteX3" fmla="*/ 63341 w 123825"/>
                <a:gd name="connsiteY3" fmla="*/ 7144 h 123825"/>
                <a:gd name="connsiteX4" fmla="*/ 119539 w 123825"/>
                <a:gd name="connsiteY4" fmla="*/ 63341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825" h="123825">
                  <a:moveTo>
                    <a:pt x="119539" y="63341"/>
                  </a:moveTo>
                  <a:cubicBezTo>
                    <a:pt x="119539" y="93821"/>
                    <a:pt x="94774" y="119539"/>
                    <a:pt x="63341" y="119539"/>
                  </a:cubicBezTo>
                  <a:cubicBezTo>
                    <a:pt x="32861" y="119539"/>
                    <a:pt x="7144" y="94774"/>
                    <a:pt x="7144" y="63341"/>
                  </a:cubicBezTo>
                  <a:cubicBezTo>
                    <a:pt x="7144" y="32861"/>
                    <a:pt x="31909" y="7144"/>
                    <a:pt x="63341" y="7144"/>
                  </a:cubicBezTo>
                  <a:cubicBezTo>
                    <a:pt x="94774" y="7144"/>
                    <a:pt x="119539" y="32861"/>
                    <a:pt x="119539" y="63341"/>
                  </a:cubicBezTo>
                  <a:close/>
                </a:path>
              </a:pathLst>
            </a:custGeom>
            <a:solidFill>
              <a:srgbClr val="D5498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8" name="任意多边形: 形状 127">
              <a:extLst>
                <a:ext uri="{FF2B5EF4-FFF2-40B4-BE49-F238E27FC236}">
                  <a16:creationId xmlns:a16="http://schemas.microsoft.com/office/drawing/2014/main" id="{9A50119A-8E2E-4281-AB6D-BE2EBA6432F2}"/>
                </a:ext>
              </a:extLst>
            </p:cNvPr>
            <p:cNvSpPr/>
            <p:nvPr/>
          </p:nvSpPr>
          <p:spPr>
            <a:xfrm>
              <a:off x="6828949" y="2486501"/>
              <a:ext cx="76200" cy="76200"/>
            </a:xfrm>
            <a:custGeom>
              <a:avLst/>
              <a:gdLst>
                <a:gd name="connsiteX0" fmla="*/ 75724 w 76200"/>
                <a:gd name="connsiteY0" fmla="*/ 41434 h 76200"/>
                <a:gd name="connsiteX1" fmla="*/ 41434 w 76200"/>
                <a:gd name="connsiteY1" fmla="*/ 75724 h 76200"/>
                <a:gd name="connsiteX2" fmla="*/ 7144 w 76200"/>
                <a:gd name="connsiteY2" fmla="*/ 41434 h 76200"/>
                <a:gd name="connsiteX3" fmla="*/ 41434 w 76200"/>
                <a:gd name="connsiteY3" fmla="*/ 7144 h 76200"/>
                <a:gd name="connsiteX4" fmla="*/ 75724 w 76200"/>
                <a:gd name="connsiteY4" fmla="*/ 41434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76200">
                  <a:moveTo>
                    <a:pt x="75724" y="41434"/>
                  </a:moveTo>
                  <a:cubicBezTo>
                    <a:pt x="75724" y="60484"/>
                    <a:pt x="60484" y="75724"/>
                    <a:pt x="41434" y="75724"/>
                  </a:cubicBezTo>
                  <a:cubicBezTo>
                    <a:pt x="22384" y="75724"/>
                    <a:pt x="7144" y="60484"/>
                    <a:pt x="7144" y="41434"/>
                  </a:cubicBezTo>
                  <a:cubicBezTo>
                    <a:pt x="7144" y="22384"/>
                    <a:pt x="22384" y="7144"/>
                    <a:pt x="41434" y="7144"/>
                  </a:cubicBezTo>
                  <a:cubicBezTo>
                    <a:pt x="60484" y="7144"/>
                    <a:pt x="75724" y="22384"/>
                    <a:pt x="75724" y="41434"/>
                  </a:cubicBezTo>
                  <a:close/>
                </a:path>
              </a:pathLst>
            </a:custGeom>
            <a:solidFill>
              <a:srgbClr val="F065A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9" name="任意多边形: 形状 128">
              <a:extLst>
                <a:ext uri="{FF2B5EF4-FFF2-40B4-BE49-F238E27FC236}">
                  <a16:creationId xmlns:a16="http://schemas.microsoft.com/office/drawing/2014/main" id="{1B9ACA2C-9420-4CCB-8EED-0738F27ABC66}"/>
                </a:ext>
              </a:extLst>
            </p:cNvPr>
            <p:cNvSpPr/>
            <p:nvPr/>
          </p:nvSpPr>
          <p:spPr>
            <a:xfrm>
              <a:off x="7050881" y="4132421"/>
              <a:ext cx="76200" cy="76200"/>
            </a:xfrm>
            <a:custGeom>
              <a:avLst/>
              <a:gdLst>
                <a:gd name="connsiteX0" fmla="*/ 75724 w 76200"/>
                <a:gd name="connsiteY0" fmla="*/ 41434 h 76200"/>
                <a:gd name="connsiteX1" fmla="*/ 41434 w 76200"/>
                <a:gd name="connsiteY1" fmla="*/ 75724 h 76200"/>
                <a:gd name="connsiteX2" fmla="*/ 7144 w 76200"/>
                <a:gd name="connsiteY2" fmla="*/ 41434 h 76200"/>
                <a:gd name="connsiteX3" fmla="*/ 41434 w 76200"/>
                <a:gd name="connsiteY3" fmla="*/ 7144 h 76200"/>
                <a:gd name="connsiteX4" fmla="*/ 75724 w 76200"/>
                <a:gd name="connsiteY4" fmla="*/ 41434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76200">
                  <a:moveTo>
                    <a:pt x="75724" y="41434"/>
                  </a:moveTo>
                  <a:cubicBezTo>
                    <a:pt x="75724" y="60484"/>
                    <a:pt x="60484" y="75724"/>
                    <a:pt x="41434" y="75724"/>
                  </a:cubicBezTo>
                  <a:cubicBezTo>
                    <a:pt x="22384" y="75724"/>
                    <a:pt x="7144" y="60484"/>
                    <a:pt x="7144" y="41434"/>
                  </a:cubicBezTo>
                  <a:cubicBezTo>
                    <a:pt x="7144" y="22384"/>
                    <a:pt x="22384" y="7144"/>
                    <a:pt x="41434" y="7144"/>
                  </a:cubicBezTo>
                  <a:cubicBezTo>
                    <a:pt x="60484" y="7144"/>
                    <a:pt x="75724" y="22384"/>
                    <a:pt x="75724" y="41434"/>
                  </a:cubicBezTo>
                  <a:close/>
                </a:path>
              </a:pathLst>
            </a:custGeom>
            <a:solidFill>
              <a:srgbClr val="D5498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0" name="任意多边形: 形状 129">
              <a:extLst>
                <a:ext uri="{FF2B5EF4-FFF2-40B4-BE49-F238E27FC236}">
                  <a16:creationId xmlns:a16="http://schemas.microsoft.com/office/drawing/2014/main" id="{CEB88612-3A9E-4835-8F82-057EE0473EB4}"/>
                </a:ext>
              </a:extLst>
            </p:cNvPr>
            <p:cNvSpPr/>
            <p:nvPr/>
          </p:nvSpPr>
          <p:spPr>
            <a:xfrm>
              <a:off x="6354604" y="3277076"/>
              <a:ext cx="47625" cy="66675"/>
            </a:xfrm>
            <a:custGeom>
              <a:avLst/>
              <a:gdLst>
                <a:gd name="connsiteX0" fmla="*/ 22384 w 47625"/>
                <a:gd name="connsiteY0" fmla="*/ 52864 h 66675"/>
                <a:gd name="connsiteX1" fmla="*/ 25241 w 47625"/>
                <a:gd name="connsiteY1" fmla="*/ 62389 h 66675"/>
                <a:gd name="connsiteX2" fmla="*/ 28099 w 47625"/>
                <a:gd name="connsiteY2" fmla="*/ 52864 h 66675"/>
                <a:gd name="connsiteX3" fmla="*/ 43339 w 47625"/>
                <a:gd name="connsiteY3" fmla="*/ 34766 h 66675"/>
                <a:gd name="connsiteX4" fmla="*/ 43339 w 47625"/>
                <a:gd name="connsiteY4" fmla="*/ 34766 h 66675"/>
                <a:gd name="connsiteX5" fmla="*/ 43339 w 47625"/>
                <a:gd name="connsiteY5" fmla="*/ 34766 h 66675"/>
                <a:gd name="connsiteX6" fmla="*/ 28099 w 47625"/>
                <a:gd name="connsiteY6" fmla="*/ 16669 h 66675"/>
                <a:gd name="connsiteX7" fmla="*/ 25241 w 47625"/>
                <a:gd name="connsiteY7" fmla="*/ 7144 h 66675"/>
                <a:gd name="connsiteX8" fmla="*/ 22384 w 47625"/>
                <a:gd name="connsiteY8" fmla="*/ 16669 h 66675"/>
                <a:gd name="connsiteX9" fmla="*/ 7144 w 47625"/>
                <a:gd name="connsiteY9" fmla="*/ 34766 h 66675"/>
                <a:gd name="connsiteX10" fmla="*/ 7144 w 47625"/>
                <a:gd name="connsiteY10" fmla="*/ 34766 h 66675"/>
                <a:gd name="connsiteX11" fmla="*/ 7144 w 47625"/>
                <a:gd name="connsiteY11" fmla="*/ 34766 h 66675"/>
                <a:gd name="connsiteX12" fmla="*/ 22384 w 47625"/>
                <a:gd name="connsiteY12" fmla="*/ 5286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7625" h="66675">
                  <a:moveTo>
                    <a:pt x="22384" y="52864"/>
                  </a:moveTo>
                  <a:lnTo>
                    <a:pt x="25241" y="62389"/>
                  </a:lnTo>
                  <a:lnTo>
                    <a:pt x="28099" y="52864"/>
                  </a:lnTo>
                  <a:cubicBezTo>
                    <a:pt x="30004" y="45244"/>
                    <a:pt x="35719" y="38576"/>
                    <a:pt x="43339" y="34766"/>
                  </a:cubicBezTo>
                  <a:lnTo>
                    <a:pt x="43339" y="34766"/>
                  </a:lnTo>
                  <a:lnTo>
                    <a:pt x="43339" y="34766"/>
                  </a:lnTo>
                  <a:cubicBezTo>
                    <a:pt x="35719" y="30956"/>
                    <a:pt x="30956" y="24289"/>
                    <a:pt x="28099" y="16669"/>
                  </a:cubicBezTo>
                  <a:lnTo>
                    <a:pt x="25241" y="7144"/>
                  </a:lnTo>
                  <a:lnTo>
                    <a:pt x="22384" y="16669"/>
                  </a:lnTo>
                  <a:cubicBezTo>
                    <a:pt x="20479" y="24289"/>
                    <a:pt x="14764" y="30956"/>
                    <a:pt x="7144" y="34766"/>
                  </a:cubicBezTo>
                  <a:lnTo>
                    <a:pt x="7144" y="34766"/>
                  </a:lnTo>
                  <a:lnTo>
                    <a:pt x="7144" y="34766"/>
                  </a:lnTo>
                  <a:cubicBezTo>
                    <a:pt x="14764" y="37624"/>
                    <a:pt x="19526" y="44291"/>
                    <a:pt x="22384" y="5286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1" name="任意多边形: 形状 130">
              <a:extLst>
                <a:ext uri="{FF2B5EF4-FFF2-40B4-BE49-F238E27FC236}">
                  <a16:creationId xmlns:a16="http://schemas.microsoft.com/office/drawing/2014/main" id="{FAA27BCE-E027-4AF5-828F-1770B81C2A6A}"/>
                </a:ext>
              </a:extLst>
            </p:cNvPr>
            <p:cNvSpPr/>
            <p:nvPr/>
          </p:nvSpPr>
          <p:spPr>
            <a:xfrm>
              <a:off x="6333649" y="3324701"/>
              <a:ext cx="38100" cy="57150"/>
            </a:xfrm>
            <a:custGeom>
              <a:avLst/>
              <a:gdLst>
                <a:gd name="connsiteX0" fmla="*/ 18574 w 38100"/>
                <a:gd name="connsiteY0" fmla="*/ 43339 h 57150"/>
                <a:gd name="connsiteX1" fmla="*/ 20479 w 38100"/>
                <a:gd name="connsiteY1" fmla="*/ 50959 h 57150"/>
                <a:gd name="connsiteX2" fmla="*/ 22384 w 38100"/>
                <a:gd name="connsiteY2" fmla="*/ 43339 h 57150"/>
                <a:gd name="connsiteX3" fmla="*/ 33814 w 38100"/>
                <a:gd name="connsiteY3" fmla="*/ 29051 h 57150"/>
                <a:gd name="connsiteX4" fmla="*/ 33814 w 38100"/>
                <a:gd name="connsiteY4" fmla="*/ 29051 h 57150"/>
                <a:gd name="connsiteX5" fmla="*/ 33814 w 38100"/>
                <a:gd name="connsiteY5" fmla="*/ 29051 h 57150"/>
                <a:gd name="connsiteX6" fmla="*/ 22384 w 38100"/>
                <a:gd name="connsiteY6" fmla="*/ 14764 h 57150"/>
                <a:gd name="connsiteX7" fmla="*/ 20479 w 38100"/>
                <a:gd name="connsiteY7" fmla="*/ 7144 h 57150"/>
                <a:gd name="connsiteX8" fmla="*/ 18574 w 38100"/>
                <a:gd name="connsiteY8" fmla="*/ 14764 h 57150"/>
                <a:gd name="connsiteX9" fmla="*/ 7144 w 38100"/>
                <a:gd name="connsiteY9" fmla="*/ 29051 h 57150"/>
                <a:gd name="connsiteX10" fmla="*/ 7144 w 38100"/>
                <a:gd name="connsiteY10" fmla="*/ 29051 h 57150"/>
                <a:gd name="connsiteX11" fmla="*/ 7144 w 38100"/>
                <a:gd name="connsiteY11" fmla="*/ 29051 h 57150"/>
                <a:gd name="connsiteX12" fmla="*/ 18574 w 38100"/>
                <a:gd name="connsiteY12" fmla="*/ 43339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100" h="57150">
                  <a:moveTo>
                    <a:pt x="18574" y="43339"/>
                  </a:moveTo>
                  <a:lnTo>
                    <a:pt x="20479" y="50959"/>
                  </a:lnTo>
                  <a:lnTo>
                    <a:pt x="22384" y="43339"/>
                  </a:lnTo>
                  <a:cubicBezTo>
                    <a:pt x="24289" y="37624"/>
                    <a:pt x="28099" y="31909"/>
                    <a:pt x="33814" y="29051"/>
                  </a:cubicBezTo>
                  <a:lnTo>
                    <a:pt x="33814" y="29051"/>
                  </a:lnTo>
                  <a:lnTo>
                    <a:pt x="33814" y="29051"/>
                  </a:lnTo>
                  <a:cubicBezTo>
                    <a:pt x="28099" y="26194"/>
                    <a:pt x="24289" y="20479"/>
                    <a:pt x="22384" y="14764"/>
                  </a:cubicBezTo>
                  <a:lnTo>
                    <a:pt x="20479" y="7144"/>
                  </a:lnTo>
                  <a:lnTo>
                    <a:pt x="18574" y="14764"/>
                  </a:lnTo>
                  <a:cubicBezTo>
                    <a:pt x="16669" y="20479"/>
                    <a:pt x="12859" y="26194"/>
                    <a:pt x="7144" y="29051"/>
                  </a:cubicBezTo>
                  <a:lnTo>
                    <a:pt x="7144" y="29051"/>
                  </a:lnTo>
                  <a:lnTo>
                    <a:pt x="7144" y="29051"/>
                  </a:lnTo>
                  <a:cubicBezTo>
                    <a:pt x="11906" y="31909"/>
                    <a:pt x="16669" y="36671"/>
                    <a:pt x="18574" y="4333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2" name="任意多边形: 形状 131">
              <a:extLst>
                <a:ext uri="{FF2B5EF4-FFF2-40B4-BE49-F238E27FC236}">
                  <a16:creationId xmlns:a16="http://schemas.microsoft.com/office/drawing/2014/main" id="{87D948BD-2DA2-4209-B8CE-D76993A4C593}"/>
                </a:ext>
              </a:extLst>
            </p:cNvPr>
            <p:cNvSpPr/>
            <p:nvPr/>
          </p:nvSpPr>
          <p:spPr>
            <a:xfrm>
              <a:off x="7620476" y="3031331"/>
              <a:ext cx="47625" cy="66675"/>
            </a:xfrm>
            <a:custGeom>
              <a:avLst/>
              <a:gdLst>
                <a:gd name="connsiteX0" fmla="*/ 22384 w 47625"/>
                <a:gd name="connsiteY0" fmla="*/ 52864 h 66675"/>
                <a:gd name="connsiteX1" fmla="*/ 25241 w 47625"/>
                <a:gd name="connsiteY1" fmla="*/ 62389 h 66675"/>
                <a:gd name="connsiteX2" fmla="*/ 28099 w 47625"/>
                <a:gd name="connsiteY2" fmla="*/ 52864 h 66675"/>
                <a:gd name="connsiteX3" fmla="*/ 43339 w 47625"/>
                <a:gd name="connsiteY3" fmla="*/ 34766 h 66675"/>
                <a:gd name="connsiteX4" fmla="*/ 43339 w 47625"/>
                <a:gd name="connsiteY4" fmla="*/ 34766 h 66675"/>
                <a:gd name="connsiteX5" fmla="*/ 43339 w 47625"/>
                <a:gd name="connsiteY5" fmla="*/ 34766 h 66675"/>
                <a:gd name="connsiteX6" fmla="*/ 28099 w 47625"/>
                <a:gd name="connsiteY6" fmla="*/ 16669 h 66675"/>
                <a:gd name="connsiteX7" fmla="*/ 25241 w 47625"/>
                <a:gd name="connsiteY7" fmla="*/ 7144 h 66675"/>
                <a:gd name="connsiteX8" fmla="*/ 22384 w 47625"/>
                <a:gd name="connsiteY8" fmla="*/ 16669 h 66675"/>
                <a:gd name="connsiteX9" fmla="*/ 7144 w 47625"/>
                <a:gd name="connsiteY9" fmla="*/ 34766 h 66675"/>
                <a:gd name="connsiteX10" fmla="*/ 7144 w 47625"/>
                <a:gd name="connsiteY10" fmla="*/ 34766 h 66675"/>
                <a:gd name="connsiteX11" fmla="*/ 7144 w 47625"/>
                <a:gd name="connsiteY11" fmla="*/ 34766 h 66675"/>
                <a:gd name="connsiteX12" fmla="*/ 22384 w 47625"/>
                <a:gd name="connsiteY12" fmla="*/ 5286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7625" h="66675">
                  <a:moveTo>
                    <a:pt x="22384" y="52864"/>
                  </a:moveTo>
                  <a:lnTo>
                    <a:pt x="25241" y="62389"/>
                  </a:lnTo>
                  <a:lnTo>
                    <a:pt x="28099" y="52864"/>
                  </a:lnTo>
                  <a:cubicBezTo>
                    <a:pt x="30004" y="45244"/>
                    <a:pt x="35719" y="38576"/>
                    <a:pt x="43339" y="34766"/>
                  </a:cubicBezTo>
                  <a:lnTo>
                    <a:pt x="43339" y="34766"/>
                  </a:lnTo>
                  <a:lnTo>
                    <a:pt x="43339" y="34766"/>
                  </a:lnTo>
                  <a:cubicBezTo>
                    <a:pt x="35719" y="30956"/>
                    <a:pt x="30956" y="24289"/>
                    <a:pt x="28099" y="16669"/>
                  </a:cubicBezTo>
                  <a:lnTo>
                    <a:pt x="25241" y="7144"/>
                  </a:lnTo>
                  <a:lnTo>
                    <a:pt x="22384" y="16669"/>
                  </a:lnTo>
                  <a:cubicBezTo>
                    <a:pt x="20479" y="24289"/>
                    <a:pt x="14764" y="30956"/>
                    <a:pt x="7144" y="34766"/>
                  </a:cubicBezTo>
                  <a:lnTo>
                    <a:pt x="7144" y="34766"/>
                  </a:lnTo>
                  <a:lnTo>
                    <a:pt x="7144" y="34766"/>
                  </a:lnTo>
                  <a:cubicBezTo>
                    <a:pt x="14764" y="38576"/>
                    <a:pt x="20479" y="45244"/>
                    <a:pt x="22384" y="5286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3" name="任意多边形: 形状 132">
              <a:extLst>
                <a:ext uri="{FF2B5EF4-FFF2-40B4-BE49-F238E27FC236}">
                  <a16:creationId xmlns:a16="http://schemas.microsoft.com/office/drawing/2014/main" id="{C8CA12B4-5D06-4DA1-AA82-21772D7027D0}"/>
                </a:ext>
              </a:extLst>
            </p:cNvPr>
            <p:cNvSpPr/>
            <p:nvPr/>
          </p:nvSpPr>
          <p:spPr>
            <a:xfrm>
              <a:off x="7599521" y="3078956"/>
              <a:ext cx="38100" cy="57150"/>
            </a:xfrm>
            <a:custGeom>
              <a:avLst/>
              <a:gdLst>
                <a:gd name="connsiteX0" fmla="*/ 18574 w 38100"/>
                <a:gd name="connsiteY0" fmla="*/ 43339 h 57150"/>
                <a:gd name="connsiteX1" fmla="*/ 20479 w 38100"/>
                <a:gd name="connsiteY1" fmla="*/ 50959 h 57150"/>
                <a:gd name="connsiteX2" fmla="*/ 22384 w 38100"/>
                <a:gd name="connsiteY2" fmla="*/ 43339 h 57150"/>
                <a:gd name="connsiteX3" fmla="*/ 33814 w 38100"/>
                <a:gd name="connsiteY3" fmla="*/ 29051 h 57150"/>
                <a:gd name="connsiteX4" fmla="*/ 33814 w 38100"/>
                <a:gd name="connsiteY4" fmla="*/ 29051 h 57150"/>
                <a:gd name="connsiteX5" fmla="*/ 33814 w 38100"/>
                <a:gd name="connsiteY5" fmla="*/ 29051 h 57150"/>
                <a:gd name="connsiteX6" fmla="*/ 22384 w 38100"/>
                <a:gd name="connsiteY6" fmla="*/ 14764 h 57150"/>
                <a:gd name="connsiteX7" fmla="*/ 20479 w 38100"/>
                <a:gd name="connsiteY7" fmla="*/ 7144 h 57150"/>
                <a:gd name="connsiteX8" fmla="*/ 18574 w 38100"/>
                <a:gd name="connsiteY8" fmla="*/ 14764 h 57150"/>
                <a:gd name="connsiteX9" fmla="*/ 7144 w 38100"/>
                <a:gd name="connsiteY9" fmla="*/ 29051 h 57150"/>
                <a:gd name="connsiteX10" fmla="*/ 7144 w 38100"/>
                <a:gd name="connsiteY10" fmla="*/ 29051 h 57150"/>
                <a:gd name="connsiteX11" fmla="*/ 7144 w 38100"/>
                <a:gd name="connsiteY11" fmla="*/ 29051 h 57150"/>
                <a:gd name="connsiteX12" fmla="*/ 18574 w 38100"/>
                <a:gd name="connsiteY12" fmla="*/ 43339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100" h="57150">
                  <a:moveTo>
                    <a:pt x="18574" y="43339"/>
                  </a:moveTo>
                  <a:lnTo>
                    <a:pt x="20479" y="50959"/>
                  </a:lnTo>
                  <a:lnTo>
                    <a:pt x="22384" y="43339"/>
                  </a:lnTo>
                  <a:cubicBezTo>
                    <a:pt x="24289" y="37624"/>
                    <a:pt x="28099" y="31909"/>
                    <a:pt x="33814" y="29051"/>
                  </a:cubicBezTo>
                  <a:lnTo>
                    <a:pt x="33814" y="29051"/>
                  </a:lnTo>
                  <a:lnTo>
                    <a:pt x="33814" y="29051"/>
                  </a:lnTo>
                  <a:cubicBezTo>
                    <a:pt x="28099" y="26194"/>
                    <a:pt x="24289" y="20479"/>
                    <a:pt x="22384" y="14764"/>
                  </a:cubicBezTo>
                  <a:lnTo>
                    <a:pt x="20479" y="7144"/>
                  </a:lnTo>
                  <a:lnTo>
                    <a:pt x="18574" y="14764"/>
                  </a:lnTo>
                  <a:cubicBezTo>
                    <a:pt x="16669" y="20479"/>
                    <a:pt x="12859" y="26194"/>
                    <a:pt x="7144" y="29051"/>
                  </a:cubicBezTo>
                  <a:lnTo>
                    <a:pt x="7144" y="29051"/>
                  </a:lnTo>
                  <a:lnTo>
                    <a:pt x="7144" y="29051"/>
                  </a:lnTo>
                  <a:cubicBezTo>
                    <a:pt x="12859" y="32861"/>
                    <a:pt x="17621" y="37624"/>
                    <a:pt x="18574" y="4333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4" name="任意多边形: 形状 133">
              <a:extLst>
                <a:ext uri="{FF2B5EF4-FFF2-40B4-BE49-F238E27FC236}">
                  <a16:creationId xmlns:a16="http://schemas.microsoft.com/office/drawing/2014/main" id="{FEF8294C-1BDA-4370-B130-A35FA3523696}"/>
                </a:ext>
              </a:extLst>
            </p:cNvPr>
            <p:cNvSpPr/>
            <p:nvPr/>
          </p:nvSpPr>
          <p:spPr>
            <a:xfrm>
              <a:off x="7250906" y="3366611"/>
              <a:ext cx="57150" cy="85725"/>
            </a:xfrm>
            <a:custGeom>
              <a:avLst/>
              <a:gdLst>
                <a:gd name="connsiteX0" fmla="*/ 33814 w 57150"/>
                <a:gd name="connsiteY0" fmla="*/ 67151 h 85725"/>
                <a:gd name="connsiteX1" fmla="*/ 30004 w 57150"/>
                <a:gd name="connsiteY1" fmla="*/ 79534 h 85725"/>
                <a:gd name="connsiteX2" fmla="*/ 26194 w 57150"/>
                <a:gd name="connsiteY2" fmla="*/ 67151 h 85725"/>
                <a:gd name="connsiteX3" fmla="*/ 7144 w 57150"/>
                <a:gd name="connsiteY3" fmla="*/ 43339 h 85725"/>
                <a:gd name="connsiteX4" fmla="*/ 7144 w 57150"/>
                <a:gd name="connsiteY4" fmla="*/ 43339 h 85725"/>
                <a:gd name="connsiteX5" fmla="*/ 7144 w 57150"/>
                <a:gd name="connsiteY5" fmla="*/ 43339 h 85725"/>
                <a:gd name="connsiteX6" fmla="*/ 26194 w 57150"/>
                <a:gd name="connsiteY6" fmla="*/ 19526 h 85725"/>
                <a:gd name="connsiteX7" fmla="*/ 30004 w 57150"/>
                <a:gd name="connsiteY7" fmla="*/ 7144 h 85725"/>
                <a:gd name="connsiteX8" fmla="*/ 33814 w 57150"/>
                <a:gd name="connsiteY8" fmla="*/ 19526 h 85725"/>
                <a:gd name="connsiteX9" fmla="*/ 52864 w 57150"/>
                <a:gd name="connsiteY9" fmla="*/ 43339 h 85725"/>
                <a:gd name="connsiteX10" fmla="*/ 52864 w 57150"/>
                <a:gd name="connsiteY10" fmla="*/ 43339 h 85725"/>
                <a:gd name="connsiteX11" fmla="*/ 52864 w 57150"/>
                <a:gd name="connsiteY11" fmla="*/ 43339 h 85725"/>
                <a:gd name="connsiteX12" fmla="*/ 33814 w 57150"/>
                <a:gd name="connsiteY12" fmla="*/ 67151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150" h="85725">
                  <a:moveTo>
                    <a:pt x="33814" y="67151"/>
                  </a:moveTo>
                  <a:lnTo>
                    <a:pt x="30004" y="79534"/>
                  </a:lnTo>
                  <a:lnTo>
                    <a:pt x="26194" y="67151"/>
                  </a:lnTo>
                  <a:cubicBezTo>
                    <a:pt x="23336" y="56674"/>
                    <a:pt x="16669" y="48101"/>
                    <a:pt x="7144" y="43339"/>
                  </a:cubicBezTo>
                  <a:lnTo>
                    <a:pt x="7144" y="43339"/>
                  </a:lnTo>
                  <a:lnTo>
                    <a:pt x="7144" y="43339"/>
                  </a:lnTo>
                  <a:cubicBezTo>
                    <a:pt x="16669" y="38576"/>
                    <a:pt x="23336" y="30004"/>
                    <a:pt x="26194" y="19526"/>
                  </a:cubicBezTo>
                  <a:lnTo>
                    <a:pt x="30004" y="7144"/>
                  </a:lnTo>
                  <a:lnTo>
                    <a:pt x="33814" y="19526"/>
                  </a:lnTo>
                  <a:cubicBezTo>
                    <a:pt x="36671" y="30004"/>
                    <a:pt x="43339" y="38576"/>
                    <a:pt x="52864" y="43339"/>
                  </a:cubicBezTo>
                  <a:lnTo>
                    <a:pt x="52864" y="43339"/>
                  </a:lnTo>
                  <a:lnTo>
                    <a:pt x="52864" y="43339"/>
                  </a:lnTo>
                  <a:cubicBezTo>
                    <a:pt x="44291" y="48101"/>
                    <a:pt x="36671" y="56674"/>
                    <a:pt x="33814" y="6715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5" name="任意多边形: 形状 134">
              <a:extLst>
                <a:ext uri="{FF2B5EF4-FFF2-40B4-BE49-F238E27FC236}">
                  <a16:creationId xmlns:a16="http://schemas.microsoft.com/office/drawing/2014/main" id="{5EFBFC0B-7928-44C2-BDB1-4E47EBFE9B65}"/>
                </a:ext>
              </a:extLst>
            </p:cNvPr>
            <p:cNvSpPr/>
            <p:nvPr/>
          </p:nvSpPr>
          <p:spPr>
            <a:xfrm>
              <a:off x="7289959" y="3429476"/>
              <a:ext cx="47625" cy="66675"/>
            </a:xfrm>
            <a:custGeom>
              <a:avLst/>
              <a:gdLst>
                <a:gd name="connsiteX0" fmla="*/ 27146 w 47625"/>
                <a:gd name="connsiteY0" fmla="*/ 52864 h 66675"/>
                <a:gd name="connsiteX1" fmla="*/ 24289 w 47625"/>
                <a:gd name="connsiteY1" fmla="*/ 62389 h 66675"/>
                <a:gd name="connsiteX2" fmla="*/ 21431 w 47625"/>
                <a:gd name="connsiteY2" fmla="*/ 52864 h 66675"/>
                <a:gd name="connsiteX3" fmla="*/ 7144 w 47625"/>
                <a:gd name="connsiteY3" fmla="*/ 34766 h 66675"/>
                <a:gd name="connsiteX4" fmla="*/ 7144 w 47625"/>
                <a:gd name="connsiteY4" fmla="*/ 34766 h 66675"/>
                <a:gd name="connsiteX5" fmla="*/ 7144 w 47625"/>
                <a:gd name="connsiteY5" fmla="*/ 34766 h 66675"/>
                <a:gd name="connsiteX6" fmla="*/ 21431 w 47625"/>
                <a:gd name="connsiteY6" fmla="*/ 16669 h 66675"/>
                <a:gd name="connsiteX7" fmla="*/ 24289 w 47625"/>
                <a:gd name="connsiteY7" fmla="*/ 7144 h 66675"/>
                <a:gd name="connsiteX8" fmla="*/ 27146 w 47625"/>
                <a:gd name="connsiteY8" fmla="*/ 16669 h 66675"/>
                <a:gd name="connsiteX9" fmla="*/ 41434 w 47625"/>
                <a:gd name="connsiteY9" fmla="*/ 34766 h 66675"/>
                <a:gd name="connsiteX10" fmla="*/ 41434 w 47625"/>
                <a:gd name="connsiteY10" fmla="*/ 34766 h 66675"/>
                <a:gd name="connsiteX11" fmla="*/ 41434 w 47625"/>
                <a:gd name="connsiteY11" fmla="*/ 34766 h 66675"/>
                <a:gd name="connsiteX12" fmla="*/ 27146 w 47625"/>
                <a:gd name="connsiteY12" fmla="*/ 5286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7625" h="66675">
                  <a:moveTo>
                    <a:pt x="27146" y="52864"/>
                  </a:moveTo>
                  <a:lnTo>
                    <a:pt x="24289" y="62389"/>
                  </a:lnTo>
                  <a:lnTo>
                    <a:pt x="21431" y="52864"/>
                  </a:lnTo>
                  <a:cubicBezTo>
                    <a:pt x="19526" y="45244"/>
                    <a:pt x="13811" y="38576"/>
                    <a:pt x="7144" y="34766"/>
                  </a:cubicBezTo>
                  <a:lnTo>
                    <a:pt x="7144" y="34766"/>
                  </a:lnTo>
                  <a:lnTo>
                    <a:pt x="7144" y="34766"/>
                  </a:lnTo>
                  <a:cubicBezTo>
                    <a:pt x="14764" y="30956"/>
                    <a:pt x="19526" y="24289"/>
                    <a:pt x="21431" y="16669"/>
                  </a:cubicBezTo>
                  <a:lnTo>
                    <a:pt x="24289" y="7144"/>
                  </a:lnTo>
                  <a:lnTo>
                    <a:pt x="27146" y="16669"/>
                  </a:lnTo>
                  <a:cubicBezTo>
                    <a:pt x="29051" y="24289"/>
                    <a:pt x="34766" y="30956"/>
                    <a:pt x="41434" y="34766"/>
                  </a:cubicBezTo>
                  <a:lnTo>
                    <a:pt x="41434" y="34766"/>
                  </a:lnTo>
                  <a:lnTo>
                    <a:pt x="41434" y="34766"/>
                  </a:lnTo>
                  <a:cubicBezTo>
                    <a:pt x="34766" y="38576"/>
                    <a:pt x="29051" y="45244"/>
                    <a:pt x="27146" y="5286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6" name="任意多边形: 形状 135">
              <a:extLst>
                <a:ext uri="{FF2B5EF4-FFF2-40B4-BE49-F238E27FC236}">
                  <a16:creationId xmlns:a16="http://schemas.microsoft.com/office/drawing/2014/main" id="{95B849DC-39DD-4270-A9D1-7C17FFE17F77}"/>
                </a:ext>
              </a:extLst>
            </p:cNvPr>
            <p:cNvSpPr/>
            <p:nvPr/>
          </p:nvSpPr>
          <p:spPr>
            <a:xfrm>
              <a:off x="5974556" y="3282791"/>
              <a:ext cx="47625" cy="66675"/>
            </a:xfrm>
            <a:custGeom>
              <a:avLst/>
              <a:gdLst>
                <a:gd name="connsiteX0" fmla="*/ 28099 w 47625"/>
                <a:gd name="connsiteY0" fmla="*/ 52864 h 66675"/>
                <a:gd name="connsiteX1" fmla="*/ 25241 w 47625"/>
                <a:gd name="connsiteY1" fmla="*/ 62389 h 66675"/>
                <a:gd name="connsiteX2" fmla="*/ 22384 w 47625"/>
                <a:gd name="connsiteY2" fmla="*/ 52864 h 66675"/>
                <a:gd name="connsiteX3" fmla="*/ 7144 w 47625"/>
                <a:gd name="connsiteY3" fmla="*/ 34766 h 66675"/>
                <a:gd name="connsiteX4" fmla="*/ 7144 w 47625"/>
                <a:gd name="connsiteY4" fmla="*/ 34766 h 66675"/>
                <a:gd name="connsiteX5" fmla="*/ 7144 w 47625"/>
                <a:gd name="connsiteY5" fmla="*/ 34766 h 66675"/>
                <a:gd name="connsiteX6" fmla="*/ 22384 w 47625"/>
                <a:gd name="connsiteY6" fmla="*/ 16669 h 66675"/>
                <a:gd name="connsiteX7" fmla="*/ 25241 w 47625"/>
                <a:gd name="connsiteY7" fmla="*/ 7144 h 66675"/>
                <a:gd name="connsiteX8" fmla="*/ 28099 w 47625"/>
                <a:gd name="connsiteY8" fmla="*/ 16669 h 66675"/>
                <a:gd name="connsiteX9" fmla="*/ 43339 w 47625"/>
                <a:gd name="connsiteY9" fmla="*/ 34766 h 66675"/>
                <a:gd name="connsiteX10" fmla="*/ 43339 w 47625"/>
                <a:gd name="connsiteY10" fmla="*/ 34766 h 66675"/>
                <a:gd name="connsiteX11" fmla="*/ 43339 w 47625"/>
                <a:gd name="connsiteY11" fmla="*/ 34766 h 66675"/>
                <a:gd name="connsiteX12" fmla="*/ 28099 w 47625"/>
                <a:gd name="connsiteY12" fmla="*/ 5286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7625" h="66675">
                  <a:moveTo>
                    <a:pt x="28099" y="52864"/>
                  </a:moveTo>
                  <a:lnTo>
                    <a:pt x="25241" y="62389"/>
                  </a:lnTo>
                  <a:lnTo>
                    <a:pt x="22384" y="52864"/>
                  </a:lnTo>
                  <a:cubicBezTo>
                    <a:pt x="20479" y="45244"/>
                    <a:pt x="14764" y="38576"/>
                    <a:pt x="7144" y="34766"/>
                  </a:cubicBezTo>
                  <a:lnTo>
                    <a:pt x="7144" y="34766"/>
                  </a:lnTo>
                  <a:lnTo>
                    <a:pt x="7144" y="34766"/>
                  </a:lnTo>
                  <a:cubicBezTo>
                    <a:pt x="14764" y="30956"/>
                    <a:pt x="19526" y="24289"/>
                    <a:pt x="22384" y="16669"/>
                  </a:cubicBezTo>
                  <a:lnTo>
                    <a:pt x="25241" y="7144"/>
                  </a:lnTo>
                  <a:lnTo>
                    <a:pt x="28099" y="16669"/>
                  </a:lnTo>
                  <a:cubicBezTo>
                    <a:pt x="30004" y="24289"/>
                    <a:pt x="35719" y="30956"/>
                    <a:pt x="43339" y="34766"/>
                  </a:cubicBezTo>
                  <a:lnTo>
                    <a:pt x="43339" y="34766"/>
                  </a:lnTo>
                  <a:lnTo>
                    <a:pt x="43339" y="34766"/>
                  </a:lnTo>
                  <a:cubicBezTo>
                    <a:pt x="35719" y="38576"/>
                    <a:pt x="30004" y="45244"/>
                    <a:pt x="28099" y="52864"/>
                  </a:cubicBezTo>
                  <a:close/>
                </a:path>
              </a:pathLst>
            </a:custGeom>
            <a:solidFill>
              <a:srgbClr val="D5498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7" name="任意多边形: 形状 136">
              <a:extLst>
                <a:ext uri="{FF2B5EF4-FFF2-40B4-BE49-F238E27FC236}">
                  <a16:creationId xmlns:a16="http://schemas.microsoft.com/office/drawing/2014/main" id="{A814B836-8826-4445-9B10-D048D7A5503F}"/>
                </a:ext>
              </a:extLst>
            </p:cNvPr>
            <p:cNvSpPr/>
            <p:nvPr/>
          </p:nvSpPr>
          <p:spPr>
            <a:xfrm>
              <a:off x="6004084" y="3330416"/>
              <a:ext cx="38100" cy="57150"/>
            </a:xfrm>
            <a:custGeom>
              <a:avLst/>
              <a:gdLst>
                <a:gd name="connsiteX0" fmla="*/ 22384 w 38100"/>
                <a:gd name="connsiteY0" fmla="*/ 43339 h 57150"/>
                <a:gd name="connsiteX1" fmla="*/ 20479 w 38100"/>
                <a:gd name="connsiteY1" fmla="*/ 50959 h 57150"/>
                <a:gd name="connsiteX2" fmla="*/ 18574 w 38100"/>
                <a:gd name="connsiteY2" fmla="*/ 43339 h 57150"/>
                <a:gd name="connsiteX3" fmla="*/ 7144 w 38100"/>
                <a:gd name="connsiteY3" fmla="*/ 29051 h 57150"/>
                <a:gd name="connsiteX4" fmla="*/ 7144 w 38100"/>
                <a:gd name="connsiteY4" fmla="*/ 29051 h 57150"/>
                <a:gd name="connsiteX5" fmla="*/ 7144 w 38100"/>
                <a:gd name="connsiteY5" fmla="*/ 29051 h 57150"/>
                <a:gd name="connsiteX6" fmla="*/ 18574 w 38100"/>
                <a:gd name="connsiteY6" fmla="*/ 14764 h 57150"/>
                <a:gd name="connsiteX7" fmla="*/ 20479 w 38100"/>
                <a:gd name="connsiteY7" fmla="*/ 7144 h 57150"/>
                <a:gd name="connsiteX8" fmla="*/ 22384 w 38100"/>
                <a:gd name="connsiteY8" fmla="*/ 14764 h 57150"/>
                <a:gd name="connsiteX9" fmla="*/ 33814 w 38100"/>
                <a:gd name="connsiteY9" fmla="*/ 29051 h 57150"/>
                <a:gd name="connsiteX10" fmla="*/ 33814 w 38100"/>
                <a:gd name="connsiteY10" fmla="*/ 29051 h 57150"/>
                <a:gd name="connsiteX11" fmla="*/ 33814 w 38100"/>
                <a:gd name="connsiteY11" fmla="*/ 29051 h 57150"/>
                <a:gd name="connsiteX12" fmla="*/ 22384 w 38100"/>
                <a:gd name="connsiteY12" fmla="*/ 43339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100" h="57150">
                  <a:moveTo>
                    <a:pt x="22384" y="43339"/>
                  </a:moveTo>
                  <a:lnTo>
                    <a:pt x="20479" y="50959"/>
                  </a:lnTo>
                  <a:lnTo>
                    <a:pt x="18574" y="43339"/>
                  </a:lnTo>
                  <a:cubicBezTo>
                    <a:pt x="16669" y="37624"/>
                    <a:pt x="12859" y="31909"/>
                    <a:pt x="7144" y="29051"/>
                  </a:cubicBezTo>
                  <a:lnTo>
                    <a:pt x="7144" y="29051"/>
                  </a:lnTo>
                  <a:lnTo>
                    <a:pt x="7144" y="29051"/>
                  </a:lnTo>
                  <a:cubicBezTo>
                    <a:pt x="12859" y="26194"/>
                    <a:pt x="16669" y="20479"/>
                    <a:pt x="18574" y="14764"/>
                  </a:cubicBezTo>
                  <a:lnTo>
                    <a:pt x="20479" y="7144"/>
                  </a:lnTo>
                  <a:lnTo>
                    <a:pt x="22384" y="14764"/>
                  </a:lnTo>
                  <a:cubicBezTo>
                    <a:pt x="24289" y="20479"/>
                    <a:pt x="28099" y="26194"/>
                    <a:pt x="33814" y="29051"/>
                  </a:cubicBezTo>
                  <a:lnTo>
                    <a:pt x="33814" y="29051"/>
                  </a:lnTo>
                  <a:lnTo>
                    <a:pt x="33814" y="29051"/>
                  </a:lnTo>
                  <a:cubicBezTo>
                    <a:pt x="29051" y="31909"/>
                    <a:pt x="24289" y="37624"/>
                    <a:pt x="22384" y="43339"/>
                  </a:cubicBezTo>
                  <a:close/>
                </a:path>
              </a:pathLst>
            </a:custGeom>
            <a:solidFill>
              <a:srgbClr val="D5498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9802" name="标题 1"/>
          <p:cNvSpPr>
            <a:spLocks noGrp="1"/>
          </p:cNvSpPr>
          <p:nvPr>
            <p:ph type="ctrTitle" hasCustomPrompt="1"/>
          </p:nvPr>
        </p:nvSpPr>
        <p:spPr>
          <a:xfrm>
            <a:off x="1156117" y="1697411"/>
            <a:ext cx="4503876" cy="1833931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rgbClr val="D5498F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1156117" y="3552151"/>
            <a:ext cx="4372758" cy="460776"/>
          </a:xfrm>
        </p:spPr>
        <p:txBody>
          <a:bodyPr anchor="ctr">
            <a:noAutofit/>
          </a:bodyPr>
          <a:lstStyle>
            <a:lvl1pPr marL="0" indent="0" algn="l">
              <a:buNone/>
              <a:defRPr sz="1600">
                <a:solidFill>
                  <a:srgbClr val="D5498F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1156117" y="4540251"/>
            <a:ext cx="5844995" cy="258922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1" u="sng">
                <a:solidFill>
                  <a:srgbClr val="5202B5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>
            <p:ph type="body" sz="quarter" idx="11" hasCustomPrompt="1"/>
          </p:nvPr>
        </p:nvSpPr>
        <p:spPr>
          <a:xfrm>
            <a:off x="1156117" y="4841412"/>
            <a:ext cx="5844996" cy="296392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1" u="sng">
                <a:solidFill>
                  <a:srgbClr val="5202B5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8ECB82F-2036-47F8-967F-811316D65A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27E58D20-F6D3-402F-8CAE-45C93DE21A0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199" y="1130300"/>
            <a:ext cx="5348287" cy="50069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</a:p>
        </p:txBody>
      </p:sp>
      <p:sp>
        <p:nvSpPr>
          <p:cNvPr id="8" name="内容占位符 3">
            <a:extLst>
              <a:ext uri="{FF2B5EF4-FFF2-40B4-BE49-F238E27FC236}">
                <a16:creationId xmlns:a16="http://schemas.microsoft.com/office/drawing/2014/main" id="{10CDFBA3-1B3A-4680-B040-97746005F91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69924" y="1130300"/>
            <a:ext cx="5348287" cy="50069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5738D1FF-F029-4867-90D4-B2A4A57D6EA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6/25</a:t>
            </a:fld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69AB785F-69B1-42FD-A54D-980ECF6E7FD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442466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BDB13F9A-9790-4562-8B37-BBDCA0C1B0F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65163" y="1135380"/>
            <a:ext cx="5326061" cy="448976"/>
          </a:xfrm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 dirty="0"/>
              <a:t>Click to edit Master title style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8F939CE1-2565-4BD2-B765-0FDA979C420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71514" y="1685956"/>
            <a:ext cx="5326061" cy="450370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37A8FE65-353E-44A9-975F-C67D0364E0EE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194426" y="1135380"/>
            <a:ext cx="5326061" cy="448976"/>
          </a:xfrm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 dirty="0"/>
              <a:t>Edit Master text styles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3E1F490D-3FF4-40C5-B1DD-918F0138111B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172199" y="1685956"/>
            <a:ext cx="5348287" cy="450370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</a:p>
        </p:txBody>
      </p:sp>
      <p:sp>
        <p:nvSpPr>
          <p:cNvPr id="10" name="标题 9">
            <a:extLst>
              <a:ext uri="{FF2B5EF4-FFF2-40B4-BE49-F238E27FC236}">
                <a16:creationId xmlns:a16="http://schemas.microsoft.com/office/drawing/2014/main" id="{B458B080-7577-4712-B3BC-597995F4A7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2" name="日期占位符 1">
            <a:extLst>
              <a:ext uri="{FF2B5EF4-FFF2-40B4-BE49-F238E27FC236}">
                <a16:creationId xmlns:a16="http://schemas.microsoft.com/office/drawing/2014/main" id="{4B650616-94FA-4F8C-B49C-5CD1BB08AE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6/25</a:t>
            </a:fld>
            <a:endParaRPr lang="zh-CN" altLang="en-US" dirty="0"/>
          </a:p>
        </p:txBody>
      </p:sp>
      <p:sp>
        <p:nvSpPr>
          <p:cNvPr id="12" name="灯片编号占位符 11">
            <a:extLst>
              <a:ext uri="{FF2B5EF4-FFF2-40B4-BE49-F238E27FC236}">
                <a16:creationId xmlns:a16="http://schemas.microsoft.com/office/drawing/2014/main" id="{846A2231-11F9-489B-9492-E00E5114D4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4857136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6/25</a:t>
            </a:fld>
            <a:endParaRPr lang="zh-CN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515992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>
            <a:extLst>
              <a:ext uri="{FF2B5EF4-FFF2-40B4-BE49-F238E27FC236}">
                <a16:creationId xmlns:a16="http://schemas.microsoft.com/office/drawing/2014/main" id="{B0B73599-E554-4F93-A012-A68492C418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561" y="6298257"/>
            <a:ext cx="1521446" cy="548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379055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图片占位符 2">
            <a:extLst>
              <a:ext uri="{FF2B5EF4-FFF2-40B4-BE49-F238E27FC236}">
                <a16:creationId xmlns:a16="http://schemas.microsoft.com/office/drawing/2014/main" id="{82A0A934-5CD6-45C4-85B8-F0193DB32107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5183188" y="1130299"/>
            <a:ext cx="6337300" cy="500697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CN" dirty="0"/>
              <a:t>Picture</a:t>
            </a:r>
            <a:endParaRPr lang="zh-CN" altLang="en-US" dirty="0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193FB480-9825-4C58-BCE4-FA8E8034DF6A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69924" y="1138237"/>
            <a:ext cx="4282322" cy="4999037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zh-CN" dirty="0"/>
              <a:t>Edit Master text styles</a:t>
            </a:r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F4537028-F61E-47F3-9D71-30474CF14B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2" name="日期占位符 1">
            <a:extLst>
              <a:ext uri="{FF2B5EF4-FFF2-40B4-BE49-F238E27FC236}">
                <a16:creationId xmlns:a16="http://schemas.microsoft.com/office/drawing/2014/main" id="{950FDA25-DB83-46C5-AF0D-EDF629B295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6/25</a:t>
            </a:fld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B1872646-73C0-4ECC-98AD-5144CCA404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210054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F6A26850-400B-4B40-A941-1801CDFB6B60}"/>
              </a:ext>
            </a:extLst>
          </p:cNvPr>
          <p:cNvSpPr>
            <a:spLocks noGrp="1"/>
          </p:cNvSpPr>
          <p:nvPr>
            <p:ph type="title" orient="vert" hasCustomPrompt="1"/>
          </p:nvPr>
        </p:nvSpPr>
        <p:spPr>
          <a:xfrm>
            <a:off x="8610599" y="1130300"/>
            <a:ext cx="2909888" cy="5006974"/>
          </a:xfrm>
        </p:spPr>
        <p:txBody>
          <a:bodyPr vert="eaVert">
            <a:normAutofit/>
          </a:bodyPr>
          <a:lstStyle>
            <a:lvl1pPr>
              <a:defRPr sz="2000"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C4CE9257-C5F8-43EE-8C8C-4FD143283D49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69925" y="1130300"/>
            <a:ext cx="7795065" cy="5006973"/>
          </a:xfrm>
        </p:spPr>
        <p:txBody>
          <a:bodyPr vert="eaVert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Click to 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D225C0EF-3B42-4E42-877B-BB95B98762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6/26</a:t>
            </a:fld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71CBB6EA-5004-4A02-8AF9-9CE561A40B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47362BA7-5A80-4100-BAA2-155C09ED84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561" y="6298257"/>
            <a:ext cx="1521446" cy="548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68304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Click to 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6DECD67-EF7B-4225-9DCD-E9A1FB0000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6/26</a:t>
            </a:fld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C5CE021F-56B6-40B0-88C1-2D7CFC553E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78A15BF8-A305-4F4E-887F-67B180BC6B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561" y="6298257"/>
            <a:ext cx="1521446" cy="548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83199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任意多边形: 形状 89">
            <a:extLst>
              <a:ext uri="{FF2B5EF4-FFF2-40B4-BE49-F238E27FC236}">
                <a16:creationId xmlns:a16="http://schemas.microsoft.com/office/drawing/2014/main" id="{C95EA776-ADD5-428B-AA91-5A26C8DC2D4B}"/>
              </a:ext>
            </a:extLst>
          </p:cNvPr>
          <p:cNvSpPr/>
          <p:nvPr userDrawn="1"/>
        </p:nvSpPr>
        <p:spPr>
          <a:xfrm>
            <a:off x="-1" y="469702"/>
            <a:ext cx="1654629" cy="3309258"/>
          </a:xfrm>
          <a:custGeom>
            <a:avLst/>
            <a:gdLst>
              <a:gd name="connsiteX0" fmla="*/ 0 w 1161612"/>
              <a:gd name="connsiteY0" fmla="*/ 0 h 2323224"/>
              <a:gd name="connsiteX1" fmla="*/ 1161612 w 1161612"/>
              <a:gd name="connsiteY1" fmla="*/ 1161612 h 2323224"/>
              <a:gd name="connsiteX2" fmla="*/ 0 w 1161612"/>
              <a:gd name="connsiteY2" fmla="*/ 2323224 h 2323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61612" h="2323224">
                <a:moveTo>
                  <a:pt x="0" y="0"/>
                </a:moveTo>
                <a:cubicBezTo>
                  <a:pt x="641541" y="0"/>
                  <a:pt x="1161612" y="520071"/>
                  <a:pt x="1161612" y="1161612"/>
                </a:cubicBezTo>
                <a:cubicBezTo>
                  <a:pt x="1161612" y="1803153"/>
                  <a:pt x="641541" y="2323224"/>
                  <a:pt x="0" y="2323224"/>
                </a:cubicBezTo>
                <a:close/>
              </a:path>
            </a:pathLst>
          </a:custGeom>
          <a:solidFill>
            <a:schemeClr val="accent2">
              <a:lumMod val="7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8" name="Freeform 301_1">
            <a:extLst>
              <a:ext uri="{FF2B5EF4-FFF2-40B4-BE49-F238E27FC236}">
                <a16:creationId xmlns:a16="http://schemas.microsoft.com/office/drawing/2014/main" id="{641AFE9C-0212-4D14-A330-0C4825870485}"/>
              </a:ext>
            </a:extLst>
          </p:cNvPr>
          <p:cNvSpPr/>
          <p:nvPr userDrawn="1"/>
        </p:nvSpPr>
        <p:spPr>
          <a:xfrm flipV="1">
            <a:off x="5039058" y="1137250"/>
            <a:ext cx="7168253" cy="5720750"/>
          </a:xfrm>
          <a:custGeom>
            <a:avLst/>
            <a:gdLst>
              <a:gd name="connsiteX0" fmla="*/ 0 w 3440415"/>
              <a:gd name="connsiteY0" fmla="*/ 0 h 3390900"/>
              <a:gd name="connsiteX1" fmla="*/ 3440415 w 3440415"/>
              <a:gd name="connsiteY1" fmla="*/ 0 h 3390900"/>
              <a:gd name="connsiteX2" fmla="*/ 3440415 w 3440415"/>
              <a:gd name="connsiteY2" fmla="*/ 3390900 h 3390900"/>
              <a:gd name="connsiteX3" fmla="*/ 3193 w 3440415"/>
              <a:gd name="connsiteY3" fmla="*/ 126310 h 3390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40415" h="3390900">
                <a:moveTo>
                  <a:pt x="0" y="0"/>
                </a:moveTo>
                <a:lnTo>
                  <a:pt x="3440415" y="0"/>
                </a:lnTo>
                <a:lnTo>
                  <a:pt x="3440415" y="3390900"/>
                </a:lnTo>
                <a:cubicBezTo>
                  <a:pt x="1599017" y="3390900"/>
                  <a:pt x="95373" y="1944800"/>
                  <a:pt x="3193" y="126310"/>
                </a:cubicBezTo>
                <a:close/>
              </a:path>
            </a:pathLst>
          </a:custGeom>
          <a:solidFill>
            <a:schemeClr val="accent2">
              <a:lumMod val="7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accent2">
                  <a:lumMod val="75000"/>
                </a:schemeClr>
              </a:solidFill>
            </a:endParaRPr>
          </a:p>
        </p:txBody>
      </p:sp>
      <p:grpSp>
        <p:nvGrpSpPr>
          <p:cNvPr id="9" name="组合 8">
            <a:extLst>
              <a:ext uri="{FF2B5EF4-FFF2-40B4-BE49-F238E27FC236}">
                <a16:creationId xmlns:a16="http://schemas.microsoft.com/office/drawing/2014/main" id="{08A43287-FC19-4143-9860-F68D79F0E598}"/>
              </a:ext>
            </a:extLst>
          </p:cNvPr>
          <p:cNvGrpSpPr/>
          <p:nvPr userDrawn="1"/>
        </p:nvGrpSpPr>
        <p:grpSpPr>
          <a:xfrm>
            <a:off x="7162279" y="1360008"/>
            <a:ext cx="2379073" cy="3394786"/>
            <a:chOff x="7825308" y="991357"/>
            <a:chExt cx="1915276" cy="2732978"/>
          </a:xfrm>
        </p:grpSpPr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569AAEE9-E58F-4EA8-A669-69756EF79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63555" y="1928763"/>
              <a:ext cx="123077" cy="1795571"/>
            </a:xfrm>
            <a:custGeom>
              <a:avLst/>
              <a:gdLst>
                <a:gd name="T0" fmla="*/ 0 w 73"/>
                <a:gd name="T1" fmla="*/ 0 h 1065"/>
                <a:gd name="T2" fmla="*/ 28 w 73"/>
                <a:gd name="T3" fmla="*/ 1065 h 1065"/>
                <a:gd name="T4" fmla="*/ 73 w 73"/>
                <a:gd name="T5" fmla="*/ 1065 h 1065"/>
                <a:gd name="T6" fmla="*/ 48 w 73"/>
                <a:gd name="T7" fmla="*/ 0 h 1065"/>
                <a:gd name="T8" fmla="*/ 0 w 73"/>
                <a:gd name="T9" fmla="*/ 0 h 1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" h="1065">
                  <a:moveTo>
                    <a:pt x="0" y="0"/>
                  </a:moveTo>
                  <a:lnTo>
                    <a:pt x="28" y="1065"/>
                  </a:lnTo>
                  <a:lnTo>
                    <a:pt x="73" y="1065"/>
                  </a:lnTo>
                  <a:lnTo>
                    <a:pt x="4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84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id="{860B2D01-45CF-4574-8067-8BB147A04E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29416" y="1923706"/>
              <a:ext cx="241096" cy="1800629"/>
            </a:xfrm>
            <a:custGeom>
              <a:avLst/>
              <a:gdLst>
                <a:gd name="T0" fmla="*/ 0 w 143"/>
                <a:gd name="T1" fmla="*/ 6 h 1068"/>
                <a:gd name="T2" fmla="*/ 99 w 143"/>
                <a:gd name="T3" fmla="*/ 1068 h 1068"/>
                <a:gd name="T4" fmla="*/ 143 w 143"/>
                <a:gd name="T5" fmla="*/ 1068 h 1068"/>
                <a:gd name="T6" fmla="*/ 44 w 143"/>
                <a:gd name="T7" fmla="*/ 0 h 1068"/>
                <a:gd name="T8" fmla="*/ 0 w 143"/>
                <a:gd name="T9" fmla="*/ 6 h 10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068">
                  <a:moveTo>
                    <a:pt x="0" y="6"/>
                  </a:moveTo>
                  <a:lnTo>
                    <a:pt x="99" y="1068"/>
                  </a:lnTo>
                  <a:lnTo>
                    <a:pt x="143" y="1068"/>
                  </a:lnTo>
                  <a:lnTo>
                    <a:pt x="44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184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1" name="Freeform 9">
              <a:extLst>
                <a:ext uri="{FF2B5EF4-FFF2-40B4-BE49-F238E27FC236}">
                  <a16:creationId xmlns:a16="http://schemas.microsoft.com/office/drawing/2014/main" id="{143DF398-F143-4FAE-87EF-6800510004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76519" y="991357"/>
              <a:ext cx="1664065" cy="2201892"/>
            </a:xfrm>
            <a:custGeom>
              <a:avLst/>
              <a:gdLst>
                <a:gd name="T0" fmla="*/ 0 w 987"/>
                <a:gd name="T1" fmla="*/ 0 h 1306"/>
                <a:gd name="T2" fmla="*/ 99 w 987"/>
                <a:gd name="T3" fmla="*/ 1306 h 1306"/>
                <a:gd name="T4" fmla="*/ 987 w 987"/>
                <a:gd name="T5" fmla="*/ 1306 h 1306"/>
                <a:gd name="T6" fmla="*/ 895 w 987"/>
                <a:gd name="T7" fmla="*/ 0 h 1306"/>
                <a:gd name="T8" fmla="*/ 0 w 987"/>
                <a:gd name="T9" fmla="*/ 0 h 1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7" h="1306">
                  <a:moveTo>
                    <a:pt x="0" y="0"/>
                  </a:moveTo>
                  <a:lnTo>
                    <a:pt x="99" y="1306"/>
                  </a:lnTo>
                  <a:lnTo>
                    <a:pt x="987" y="1306"/>
                  </a:lnTo>
                  <a:lnTo>
                    <a:pt x="89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84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" name="Freeform 10">
              <a:extLst>
                <a:ext uri="{FF2B5EF4-FFF2-40B4-BE49-F238E27FC236}">
                  <a16:creationId xmlns:a16="http://schemas.microsoft.com/office/drawing/2014/main" id="{C38C732F-E587-414C-9E40-ACDA666A57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33525" y="1923706"/>
              <a:ext cx="370916" cy="1800629"/>
            </a:xfrm>
            <a:custGeom>
              <a:avLst/>
              <a:gdLst>
                <a:gd name="T0" fmla="*/ 0 w 220"/>
                <a:gd name="T1" fmla="*/ 1068 h 1068"/>
                <a:gd name="T2" fmla="*/ 45 w 220"/>
                <a:gd name="T3" fmla="*/ 1068 h 1068"/>
                <a:gd name="T4" fmla="*/ 220 w 220"/>
                <a:gd name="T5" fmla="*/ 6 h 1068"/>
                <a:gd name="T6" fmla="*/ 172 w 220"/>
                <a:gd name="T7" fmla="*/ 0 h 1068"/>
                <a:gd name="T8" fmla="*/ 0 w 220"/>
                <a:gd name="T9" fmla="*/ 1068 h 10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0" h="1068">
                  <a:moveTo>
                    <a:pt x="0" y="1068"/>
                  </a:moveTo>
                  <a:lnTo>
                    <a:pt x="45" y="1068"/>
                  </a:lnTo>
                  <a:lnTo>
                    <a:pt x="220" y="6"/>
                  </a:lnTo>
                  <a:lnTo>
                    <a:pt x="172" y="0"/>
                  </a:lnTo>
                  <a:lnTo>
                    <a:pt x="0" y="1068"/>
                  </a:lnTo>
                  <a:close/>
                </a:path>
              </a:pathLst>
            </a:custGeom>
            <a:solidFill>
              <a:srgbClr val="DBDA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" name="Freeform 11">
              <a:extLst>
                <a:ext uri="{FF2B5EF4-FFF2-40B4-BE49-F238E27FC236}">
                  <a16:creationId xmlns:a16="http://schemas.microsoft.com/office/drawing/2014/main" id="{155E62CE-84F1-43EC-9CE5-FE2E3A4CAB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57341" y="1923706"/>
              <a:ext cx="369231" cy="1800629"/>
            </a:xfrm>
            <a:custGeom>
              <a:avLst/>
              <a:gdLst>
                <a:gd name="T0" fmla="*/ 0 w 219"/>
                <a:gd name="T1" fmla="*/ 1068 h 1068"/>
                <a:gd name="T2" fmla="*/ 48 w 219"/>
                <a:gd name="T3" fmla="*/ 1068 h 1068"/>
                <a:gd name="T4" fmla="*/ 219 w 219"/>
                <a:gd name="T5" fmla="*/ 6 h 1068"/>
                <a:gd name="T6" fmla="*/ 175 w 219"/>
                <a:gd name="T7" fmla="*/ 0 h 1068"/>
                <a:gd name="T8" fmla="*/ 0 w 219"/>
                <a:gd name="T9" fmla="*/ 1068 h 10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9" h="1068">
                  <a:moveTo>
                    <a:pt x="0" y="1068"/>
                  </a:moveTo>
                  <a:lnTo>
                    <a:pt x="48" y="1068"/>
                  </a:lnTo>
                  <a:lnTo>
                    <a:pt x="219" y="6"/>
                  </a:lnTo>
                  <a:lnTo>
                    <a:pt x="175" y="0"/>
                  </a:lnTo>
                  <a:lnTo>
                    <a:pt x="0" y="1068"/>
                  </a:lnTo>
                  <a:close/>
                </a:path>
              </a:pathLst>
            </a:custGeom>
            <a:solidFill>
              <a:srgbClr val="DBDA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" name="Freeform 12">
              <a:extLst>
                <a:ext uri="{FF2B5EF4-FFF2-40B4-BE49-F238E27FC236}">
                  <a16:creationId xmlns:a16="http://schemas.microsoft.com/office/drawing/2014/main" id="{04C097E3-2F7C-4455-ABF2-E1AC0C0F3F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25308" y="1168386"/>
              <a:ext cx="1615171" cy="1940566"/>
            </a:xfrm>
            <a:custGeom>
              <a:avLst/>
              <a:gdLst>
                <a:gd name="T0" fmla="*/ 60 w 301"/>
                <a:gd name="T1" fmla="*/ 0 h 362"/>
                <a:gd name="T2" fmla="*/ 29 w 301"/>
                <a:gd name="T3" fmla="*/ 27 h 362"/>
                <a:gd name="T4" fmla="*/ 10 w 301"/>
                <a:gd name="T5" fmla="*/ 209 h 362"/>
                <a:gd name="T6" fmla="*/ 0 w 301"/>
                <a:gd name="T7" fmla="*/ 362 h 362"/>
                <a:gd name="T8" fmla="*/ 259 w 301"/>
                <a:gd name="T9" fmla="*/ 362 h 362"/>
                <a:gd name="T10" fmla="*/ 271 w 301"/>
                <a:gd name="T11" fmla="*/ 223 h 362"/>
                <a:gd name="T12" fmla="*/ 301 w 301"/>
                <a:gd name="T13" fmla="*/ 0 h 362"/>
                <a:gd name="T14" fmla="*/ 60 w 301"/>
                <a:gd name="T15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1" h="362">
                  <a:moveTo>
                    <a:pt x="60" y="0"/>
                  </a:moveTo>
                  <a:cubicBezTo>
                    <a:pt x="50" y="2"/>
                    <a:pt x="36" y="16"/>
                    <a:pt x="29" y="27"/>
                  </a:cubicBezTo>
                  <a:cubicBezTo>
                    <a:pt x="6" y="66"/>
                    <a:pt x="1" y="144"/>
                    <a:pt x="10" y="209"/>
                  </a:cubicBezTo>
                  <a:cubicBezTo>
                    <a:pt x="20" y="280"/>
                    <a:pt x="9" y="330"/>
                    <a:pt x="0" y="362"/>
                  </a:cubicBezTo>
                  <a:cubicBezTo>
                    <a:pt x="259" y="362"/>
                    <a:pt x="259" y="362"/>
                    <a:pt x="259" y="362"/>
                  </a:cubicBezTo>
                  <a:cubicBezTo>
                    <a:pt x="268" y="336"/>
                    <a:pt x="281" y="292"/>
                    <a:pt x="271" y="223"/>
                  </a:cubicBezTo>
                  <a:cubicBezTo>
                    <a:pt x="258" y="125"/>
                    <a:pt x="275" y="49"/>
                    <a:pt x="301" y="0"/>
                  </a:cubicBezTo>
                  <a:lnTo>
                    <a:pt x="6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" name="Freeform 13">
              <a:extLst>
                <a:ext uri="{FF2B5EF4-FFF2-40B4-BE49-F238E27FC236}">
                  <a16:creationId xmlns:a16="http://schemas.microsoft.com/office/drawing/2014/main" id="{19B0F103-D221-469A-AF27-3B2385D8CE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44485" y="991357"/>
              <a:ext cx="1448259" cy="177029"/>
            </a:xfrm>
            <a:custGeom>
              <a:avLst/>
              <a:gdLst>
                <a:gd name="T0" fmla="*/ 0 w 859"/>
                <a:gd name="T1" fmla="*/ 105 h 105"/>
                <a:gd name="T2" fmla="*/ 847 w 859"/>
                <a:gd name="T3" fmla="*/ 105 h 105"/>
                <a:gd name="T4" fmla="*/ 859 w 859"/>
                <a:gd name="T5" fmla="*/ 0 h 105"/>
                <a:gd name="T6" fmla="*/ 10 w 859"/>
                <a:gd name="T7" fmla="*/ 0 h 105"/>
                <a:gd name="T8" fmla="*/ 0 w 859"/>
                <a:gd name="T9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9" h="105">
                  <a:moveTo>
                    <a:pt x="0" y="105"/>
                  </a:moveTo>
                  <a:lnTo>
                    <a:pt x="847" y="105"/>
                  </a:lnTo>
                  <a:lnTo>
                    <a:pt x="859" y="0"/>
                  </a:lnTo>
                  <a:lnTo>
                    <a:pt x="10" y="0"/>
                  </a:lnTo>
                  <a:lnTo>
                    <a:pt x="0" y="105"/>
                  </a:lnTo>
                  <a:close/>
                </a:path>
              </a:pathLst>
            </a:custGeom>
            <a:solidFill>
              <a:srgbClr val="D1DB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" name="Rectangle 14">
              <a:extLst>
                <a:ext uri="{FF2B5EF4-FFF2-40B4-BE49-F238E27FC236}">
                  <a16:creationId xmlns:a16="http://schemas.microsoft.com/office/drawing/2014/main" id="{05947238-E2B3-46F8-984A-9247C774BD0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39427" y="1859639"/>
              <a:ext cx="80927" cy="150053"/>
            </a:xfrm>
            <a:prstGeom prst="rect">
              <a:avLst/>
            </a:prstGeom>
            <a:solidFill>
              <a:srgbClr val="DBDA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" name="Freeform 15">
              <a:extLst>
                <a:ext uri="{FF2B5EF4-FFF2-40B4-BE49-F238E27FC236}">
                  <a16:creationId xmlns:a16="http://schemas.microsoft.com/office/drawing/2014/main" id="{2FDE810F-E110-4848-85AD-679489E949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80418" y="1709586"/>
              <a:ext cx="198946" cy="182086"/>
            </a:xfrm>
            <a:custGeom>
              <a:avLst/>
              <a:gdLst>
                <a:gd name="T0" fmla="*/ 0 w 118"/>
                <a:gd name="T1" fmla="*/ 108 h 108"/>
                <a:gd name="T2" fmla="*/ 118 w 118"/>
                <a:gd name="T3" fmla="*/ 108 h 108"/>
                <a:gd name="T4" fmla="*/ 57 w 118"/>
                <a:gd name="T5" fmla="*/ 0 h 108"/>
                <a:gd name="T6" fmla="*/ 0 w 118"/>
                <a:gd name="T7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8" h="108">
                  <a:moveTo>
                    <a:pt x="0" y="108"/>
                  </a:moveTo>
                  <a:lnTo>
                    <a:pt x="118" y="108"/>
                  </a:lnTo>
                  <a:lnTo>
                    <a:pt x="57" y="0"/>
                  </a:lnTo>
                  <a:lnTo>
                    <a:pt x="0" y="108"/>
                  </a:lnTo>
                  <a:close/>
                </a:path>
              </a:pathLst>
            </a:custGeom>
            <a:solidFill>
              <a:srgbClr val="DBDA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" name="Rectangle 16">
              <a:extLst>
                <a:ext uri="{FF2B5EF4-FFF2-40B4-BE49-F238E27FC236}">
                  <a16:creationId xmlns:a16="http://schemas.microsoft.com/office/drawing/2014/main" id="{ECF57614-D75A-4065-B6F0-3F60BB984D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344590" y="1731504"/>
              <a:ext cx="75870" cy="278188"/>
            </a:xfrm>
            <a:prstGeom prst="rect">
              <a:avLst/>
            </a:prstGeom>
            <a:solidFill>
              <a:srgbClr val="184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" name="Freeform 17">
              <a:extLst>
                <a:ext uri="{FF2B5EF4-FFF2-40B4-BE49-F238E27FC236}">
                  <a16:creationId xmlns:a16="http://schemas.microsoft.com/office/drawing/2014/main" id="{FE97F667-35C3-4A14-B7F2-FB6B2C40FF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85580" y="1574707"/>
              <a:ext cx="193888" cy="182086"/>
            </a:xfrm>
            <a:custGeom>
              <a:avLst/>
              <a:gdLst>
                <a:gd name="T0" fmla="*/ 0 w 115"/>
                <a:gd name="T1" fmla="*/ 108 h 108"/>
                <a:gd name="T2" fmla="*/ 115 w 115"/>
                <a:gd name="T3" fmla="*/ 108 h 108"/>
                <a:gd name="T4" fmla="*/ 58 w 115"/>
                <a:gd name="T5" fmla="*/ 0 h 108"/>
                <a:gd name="T6" fmla="*/ 0 w 115"/>
                <a:gd name="T7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5" h="108">
                  <a:moveTo>
                    <a:pt x="0" y="108"/>
                  </a:moveTo>
                  <a:lnTo>
                    <a:pt x="115" y="108"/>
                  </a:lnTo>
                  <a:lnTo>
                    <a:pt x="58" y="0"/>
                  </a:lnTo>
                  <a:lnTo>
                    <a:pt x="0" y="108"/>
                  </a:lnTo>
                  <a:close/>
                </a:path>
              </a:pathLst>
            </a:custGeom>
            <a:solidFill>
              <a:srgbClr val="184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" name="Rectangle 18">
              <a:extLst>
                <a:ext uri="{FF2B5EF4-FFF2-40B4-BE49-F238E27FC236}">
                  <a16:creationId xmlns:a16="http://schemas.microsoft.com/office/drawing/2014/main" id="{2B28A5B9-ED59-4DEC-A9B2-42BA35E8AE0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629521" y="1606741"/>
              <a:ext cx="80927" cy="402950"/>
            </a:xfrm>
            <a:prstGeom prst="rect">
              <a:avLst/>
            </a:prstGeom>
            <a:solidFill>
              <a:srgbClr val="6855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" name="Freeform 19">
              <a:extLst>
                <a:ext uri="{FF2B5EF4-FFF2-40B4-BE49-F238E27FC236}">
                  <a16:creationId xmlns:a16="http://schemas.microsoft.com/office/drawing/2014/main" id="{8F93C9F7-8755-41A0-ADB5-001775F6B4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70512" y="1456688"/>
              <a:ext cx="198946" cy="183773"/>
            </a:xfrm>
            <a:custGeom>
              <a:avLst/>
              <a:gdLst>
                <a:gd name="T0" fmla="*/ 0 w 118"/>
                <a:gd name="T1" fmla="*/ 109 h 109"/>
                <a:gd name="T2" fmla="*/ 118 w 118"/>
                <a:gd name="T3" fmla="*/ 109 h 109"/>
                <a:gd name="T4" fmla="*/ 57 w 118"/>
                <a:gd name="T5" fmla="*/ 0 h 109"/>
                <a:gd name="T6" fmla="*/ 0 w 118"/>
                <a:gd name="T7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8" h="109">
                  <a:moveTo>
                    <a:pt x="0" y="109"/>
                  </a:moveTo>
                  <a:lnTo>
                    <a:pt x="118" y="109"/>
                  </a:lnTo>
                  <a:lnTo>
                    <a:pt x="57" y="0"/>
                  </a:lnTo>
                  <a:lnTo>
                    <a:pt x="0" y="109"/>
                  </a:lnTo>
                  <a:close/>
                </a:path>
              </a:pathLst>
            </a:custGeom>
            <a:solidFill>
              <a:srgbClr val="6855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" name="Rectangle 20">
              <a:extLst>
                <a:ext uri="{FF2B5EF4-FFF2-40B4-BE49-F238E27FC236}">
                  <a16:creationId xmlns:a16="http://schemas.microsoft.com/office/drawing/2014/main" id="{50BFBA7D-65E4-44CC-89F6-A7CA4FE45E2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78519" y="1478607"/>
              <a:ext cx="80927" cy="531085"/>
            </a:xfrm>
            <a:prstGeom prst="rect">
              <a:avLst/>
            </a:prstGeom>
            <a:solidFill>
              <a:srgbClr val="FFC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" name="Freeform 21">
              <a:extLst>
                <a:ext uri="{FF2B5EF4-FFF2-40B4-BE49-F238E27FC236}">
                  <a16:creationId xmlns:a16="http://schemas.microsoft.com/office/drawing/2014/main" id="{6517BC8F-1F05-455D-B0DE-C249A1D84D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19510" y="1323496"/>
              <a:ext cx="198946" cy="182086"/>
            </a:xfrm>
            <a:custGeom>
              <a:avLst/>
              <a:gdLst>
                <a:gd name="T0" fmla="*/ 0 w 118"/>
                <a:gd name="T1" fmla="*/ 108 h 108"/>
                <a:gd name="T2" fmla="*/ 118 w 118"/>
                <a:gd name="T3" fmla="*/ 108 h 108"/>
                <a:gd name="T4" fmla="*/ 57 w 118"/>
                <a:gd name="T5" fmla="*/ 0 h 108"/>
                <a:gd name="T6" fmla="*/ 0 w 118"/>
                <a:gd name="T7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8" h="108">
                  <a:moveTo>
                    <a:pt x="0" y="108"/>
                  </a:moveTo>
                  <a:lnTo>
                    <a:pt x="118" y="108"/>
                  </a:lnTo>
                  <a:lnTo>
                    <a:pt x="57" y="0"/>
                  </a:lnTo>
                  <a:lnTo>
                    <a:pt x="0" y="108"/>
                  </a:lnTo>
                  <a:close/>
                </a:path>
              </a:pathLst>
            </a:custGeom>
            <a:solidFill>
              <a:srgbClr val="FFC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" name="Rectangle 22">
              <a:extLst>
                <a:ext uri="{FF2B5EF4-FFF2-40B4-BE49-F238E27FC236}">
                  <a16:creationId xmlns:a16="http://schemas.microsoft.com/office/drawing/2014/main" id="{7E66C3E7-C656-45BD-A33C-5573EC7C017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24254" y="2105792"/>
              <a:ext cx="192202" cy="53951"/>
            </a:xfrm>
            <a:prstGeom prst="rect">
              <a:avLst/>
            </a:prstGeom>
            <a:solidFill>
              <a:srgbClr val="B0C1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" name="Rectangle 23">
              <a:extLst>
                <a:ext uri="{FF2B5EF4-FFF2-40B4-BE49-F238E27FC236}">
                  <a16:creationId xmlns:a16="http://schemas.microsoft.com/office/drawing/2014/main" id="{B1BEEA44-6334-4B97-9DA8-9701B8BF6A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24254" y="2196835"/>
              <a:ext cx="288303" cy="48894"/>
            </a:xfrm>
            <a:prstGeom prst="rect">
              <a:avLst/>
            </a:prstGeom>
            <a:solidFill>
              <a:srgbClr val="B0C1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" name="Rectangle 24">
              <a:extLst>
                <a:ext uri="{FF2B5EF4-FFF2-40B4-BE49-F238E27FC236}">
                  <a16:creationId xmlns:a16="http://schemas.microsoft.com/office/drawing/2014/main" id="{87AC03FA-12B9-44DC-86E1-4121202EAD4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292324" y="2105792"/>
              <a:ext cx="278188" cy="53951"/>
            </a:xfrm>
            <a:prstGeom prst="rect">
              <a:avLst/>
            </a:prstGeom>
            <a:solidFill>
              <a:srgbClr val="B0C1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" name="Rectangle 25">
              <a:extLst>
                <a:ext uri="{FF2B5EF4-FFF2-40B4-BE49-F238E27FC236}">
                  <a16:creationId xmlns:a16="http://schemas.microsoft.com/office/drawing/2014/main" id="{BC015F83-ED2D-4D6E-9B74-0C6DAA6A704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607603" y="2105792"/>
              <a:ext cx="151738" cy="53951"/>
            </a:xfrm>
            <a:prstGeom prst="rect">
              <a:avLst/>
            </a:prstGeom>
            <a:solidFill>
              <a:srgbClr val="B0C1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" name="Rectangle 26">
              <a:extLst>
                <a:ext uri="{FF2B5EF4-FFF2-40B4-BE49-F238E27FC236}">
                  <a16:creationId xmlns:a16="http://schemas.microsoft.com/office/drawing/2014/main" id="{62533839-A473-4C6B-8C06-534DB00EA5E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806549" y="2105792"/>
              <a:ext cx="188830" cy="53951"/>
            </a:xfrm>
            <a:prstGeom prst="rect">
              <a:avLst/>
            </a:prstGeom>
            <a:solidFill>
              <a:srgbClr val="B0C1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" name="Rectangle 27">
              <a:extLst>
                <a:ext uri="{FF2B5EF4-FFF2-40B4-BE49-F238E27FC236}">
                  <a16:creationId xmlns:a16="http://schemas.microsoft.com/office/drawing/2014/main" id="{4B3628FD-E5A1-4DFE-A99A-05C03FB44D6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575569" y="2196835"/>
              <a:ext cx="322023" cy="48894"/>
            </a:xfrm>
            <a:prstGeom prst="rect">
              <a:avLst/>
            </a:prstGeom>
            <a:solidFill>
              <a:srgbClr val="B0C1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" name="Rectangle 28">
              <a:extLst>
                <a:ext uri="{FF2B5EF4-FFF2-40B4-BE49-F238E27FC236}">
                  <a16:creationId xmlns:a16="http://schemas.microsoft.com/office/drawing/2014/main" id="{1AE960B8-7D2D-47B4-896A-AF6F4FCE3F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24254" y="2282820"/>
              <a:ext cx="192202" cy="53951"/>
            </a:xfrm>
            <a:prstGeom prst="rect">
              <a:avLst/>
            </a:prstGeom>
            <a:solidFill>
              <a:srgbClr val="B0C1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" name="Rectangle 29">
              <a:extLst>
                <a:ext uri="{FF2B5EF4-FFF2-40B4-BE49-F238E27FC236}">
                  <a16:creationId xmlns:a16="http://schemas.microsoft.com/office/drawing/2014/main" id="{58DD1DFF-9D77-4257-A0C0-DC6441FC7AD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24254" y="2373863"/>
              <a:ext cx="578292" cy="53951"/>
            </a:xfrm>
            <a:prstGeom prst="rect">
              <a:avLst/>
            </a:prstGeom>
            <a:solidFill>
              <a:srgbClr val="B0C1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" name="Rectangle 30">
              <a:extLst>
                <a:ext uri="{FF2B5EF4-FFF2-40B4-BE49-F238E27FC236}">
                  <a16:creationId xmlns:a16="http://schemas.microsoft.com/office/drawing/2014/main" id="{4A41BED2-E442-467D-8AFD-3B900F2B906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292324" y="2282820"/>
              <a:ext cx="354056" cy="53951"/>
            </a:xfrm>
            <a:prstGeom prst="rect">
              <a:avLst/>
            </a:prstGeom>
            <a:solidFill>
              <a:srgbClr val="B0C1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" name="Rectangle 31">
              <a:extLst>
                <a:ext uri="{FF2B5EF4-FFF2-40B4-BE49-F238E27FC236}">
                  <a16:creationId xmlns:a16="http://schemas.microsoft.com/office/drawing/2014/main" id="{3B73BCBA-0E41-45CC-93E2-9BE4BFF8240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705390" y="2282820"/>
              <a:ext cx="192202" cy="53951"/>
            </a:xfrm>
            <a:prstGeom prst="rect">
              <a:avLst/>
            </a:prstGeom>
            <a:solidFill>
              <a:srgbClr val="B0C1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" name="Rectangle 32">
              <a:extLst>
                <a:ext uri="{FF2B5EF4-FFF2-40B4-BE49-F238E27FC236}">
                  <a16:creationId xmlns:a16="http://schemas.microsoft.com/office/drawing/2014/main" id="{4BF6E21B-DD91-4DBB-B160-A36C6066895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61660" y="2282820"/>
              <a:ext cx="236037" cy="53951"/>
            </a:xfrm>
            <a:prstGeom prst="rect">
              <a:avLst/>
            </a:prstGeom>
            <a:solidFill>
              <a:srgbClr val="B0C1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" name="Rectangle 33">
              <a:extLst>
                <a:ext uri="{FF2B5EF4-FFF2-40B4-BE49-F238E27FC236}">
                  <a16:creationId xmlns:a16="http://schemas.microsoft.com/office/drawing/2014/main" id="{E3357F4C-094C-4FA3-BE5A-058868D72C9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661555" y="2373863"/>
              <a:ext cx="333824" cy="53951"/>
            </a:xfrm>
            <a:prstGeom prst="rect">
              <a:avLst/>
            </a:prstGeom>
            <a:solidFill>
              <a:srgbClr val="B0C1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" name="Rectangle 34">
              <a:extLst>
                <a:ext uri="{FF2B5EF4-FFF2-40B4-BE49-F238E27FC236}">
                  <a16:creationId xmlns:a16="http://schemas.microsoft.com/office/drawing/2014/main" id="{B77986E2-449E-449F-9318-0B18E09E778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366507" y="2196835"/>
              <a:ext cx="144994" cy="48894"/>
            </a:xfrm>
            <a:prstGeom prst="rect">
              <a:avLst/>
            </a:prstGeom>
            <a:solidFill>
              <a:srgbClr val="B0C1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" name="Rectangle 35">
              <a:extLst>
                <a:ext uri="{FF2B5EF4-FFF2-40B4-BE49-F238E27FC236}">
                  <a16:creationId xmlns:a16="http://schemas.microsoft.com/office/drawing/2014/main" id="{17914340-94CE-4596-8BE7-846CA3C36BF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206340" y="2550891"/>
              <a:ext cx="165226" cy="53951"/>
            </a:xfrm>
            <a:prstGeom prst="rect">
              <a:avLst/>
            </a:prstGeom>
            <a:solidFill>
              <a:srgbClr val="B0C1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8" name="Rectangle 36">
              <a:extLst>
                <a:ext uri="{FF2B5EF4-FFF2-40B4-BE49-F238E27FC236}">
                  <a16:creationId xmlns:a16="http://schemas.microsoft.com/office/drawing/2014/main" id="{22E06F16-F00D-4F84-A7EB-F5A04F178E2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462609" y="2550891"/>
              <a:ext cx="515910" cy="53951"/>
            </a:xfrm>
            <a:prstGeom prst="rect">
              <a:avLst/>
            </a:prstGeom>
            <a:solidFill>
              <a:srgbClr val="B0C1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9" name="Rectangle 37">
              <a:extLst>
                <a:ext uri="{FF2B5EF4-FFF2-40B4-BE49-F238E27FC236}">
                  <a16:creationId xmlns:a16="http://schemas.microsoft.com/office/drawing/2014/main" id="{D6B443F2-C229-4989-BAB3-673523ACEF3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990534" y="2641934"/>
              <a:ext cx="328767" cy="48894"/>
            </a:xfrm>
            <a:prstGeom prst="rect">
              <a:avLst/>
            </a:prstGeom>
            <a:solidFill>
              <a:srgbClr val="B0C1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0" name="Rectangle 38">
              <a:extLst>
                <a:ext uri="{FF2B5EF4-FFF2-40B4-BE49-F238E27FC236}">
                  <a16:creationId xmlns:a16="http://schemas.microsoft.com/office/drawing/2014/main" id="{B2866BB7-908A-45E1-B2AE-66DEBCED171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24254" y="2732977"/>
              <a:ext cx="364172" cy="48894"/>
            </a:xfrm>
            <a:prstGeom prst="rect">
              <a:avLst/>
            </a:prstGeom>
            <a:solidFill>
              <a:srgbClr val="B0C1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1" name="Rectangle 39">
              <a:extLst>
                <a:ext uri="{FF2B5EF4-FFF2-40B4-BE49-F238E27FC236}">
                  <a16:creationId xmlns:a16="http://schemas.microsoft.com/office/drawing/2014/main" id="{BAFBB4F4-ECE0-496E-A80B-37610724E4B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24254" y="2818962"/>
              <a:ext cx="251212" cy="53951"/>
            </a:xfrm>
            <a:prstGeom prst="rect">
              <a:avLst/>
            </a:prstGeom>
            <a:solidFill>
              <a:srgbClr val="B0C1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2" name="Rectangle 40">
              <a:extLst>
                <a:ext uri="{FF2B5EF4-FFF2-40B4-BE49-F238E27FC236}">
                  <a16:creationId xmlns:a16="http://schemas.microsoft.com/office/drawing/2014/main" id="{973703A8-AE83-461A-8DE1-A3DD149CBD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462609" y="2732977"/>
              <a:ext cx="274816" cy="48894"/>
            </a:xfrm>
            <a:prstGeom prst="rect">
              <a:avLst/>
            </a:prstGeom>
            <a:solidFill>
              <a:srgbClr val="B0C1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3" name="Rectangle 41">
              <a:extLst>
                <a:ext uri="{FF2B5EF4-FFF2-40B4-BE49-F238E27FC236}">
                  <a16:creationId xmlns:a16="http://schemas.microsoft.com/office/drawing/2014/main" id="{24D31559-6DB1-4EAD-97F7-89C5B792734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334474" y="2818962"/>
              <a:ext cx="472075" cy="53951"/>
            </a:xfrm>
            <a:prstGeom prst="rect">
              <a:avLst/>
            </a:prstGeom>
            <a:solidFill>
              <a:srgbClr val="B0C1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4" name="Rectangle 42">
              <a:extLst>
                <a:ext uri="{FF2B5EF4-FFF2-40B4-BE49-F238E27FC236}">
                  <a16:creationId xmlns:a16="http://schemas.microsoft.com/office/drawing/2014/main" id="{8F41CAC7-6E7E-4E90-8B9E-4FBAC5426BD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855442" y="2818962"/>
              <a:ext cx="128135" cy="53951"/>
            </a:xfrm>
            <a:prstGeom prst="rect">
              <a:avLst/>
            </a:prstGeom>
            <a:solidFill>
              <a:srgbClr val="B0C1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5" name="Rectangle 43">
              <a:extLst>
                <a:ext uri="{FF2B5EF4-FFF2-40B4-BE49-F238E27FC236}">
                  <a16:creationId xmlns:a16="http://schemas.microsoft.com/office/drawing/2014/main" id="{ACED88DA-ACC2-40F0-980C-DEAABE6AA2F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221513" y="2910005"/>
              <a:ext cx="236037" cy="48894"/>
            </a:xfrm>
            <a:prstGeom prst="rect">
              <a:avLst/>
            </a:prstGeom>
            <a:solidFill>
              <a:srgbClr val="B0C1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6" name="Rectangle 44">
              <a:extLst>
                <a:ext uri="{FF2B5EF4-FFF2-40B4-BE49-F238E27FC236}">
                  <a16:creationId xmlns:a16="http://schemas.microsoft.com/office/drawing/2014/main" id="{56523F6B-9B0F-4D94-8765-53C9F8C13A3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496329" y="2910005"/>
              <a:ext cx="428239" cy="48894"/>
            </a:xfrm>
            <a:prstGeom prst="rect">
              <a:avLst/>
            </a:prstGeom>
            <a:solidFill>
              <a:srgbClr val="B0C1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7" name="Rectangle 45">
              <a:extLst>
                <a:ext uri="{FF2B5EF4-FFF2-40B4-BE49-F238E27FC236}">
                  <a16:creationId xmlns:a16="http://schemas.microsoft.com/office/drawing/2014/main" id="{768D5517-E84F-48AA-A742-566A80AB7A8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78519" y="2910005"/>
              <a:ext cx="134879" cy="48894"/>
            </a:xfrm>
            <a:prstGeom prst="rect">
              <a:avLst/>
            </a:prstGeom>
            <a:solidFill>
              <a:srgbClr val="B0C1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grpSp>
        <p:nvGrpSpPr>
          <p:cNvPr id="10" name="组合 9">
            <a:extLst>
              <a:ext uri="{FF2B5EF4-FFF2-40B4-BE49-F238E27FC236}">
                <a16:creationId xmlns:a16="http://schemas.microsoft.com/office/drawing/2014/main" id="{A116A812-A927-463E-99B5-9C15ADB043FF}"/>
              </a:ext>
            </a:extLst>
          </p:cNvPr>
          <p:cNvGrpSpPr/>
          <p:nvPr userDrawn="1"/>
        </p:nvGrpSpPr>
        <p:grpSpPr>
          <a:xfrm>
            <a:off x="8727498" y="1904399"/>
            <a:ext cx="2099015" cy="3816351"/>
            <a:chOff x="9485418" y="3213968"/>
            <a:chExt cx="1906785" cy="3466846"/>
          </a:xfrm>
        </p:grpSpPr>
        <p:sp>
          <p:nvSpPr>
            <p:cNvPr id="11" name="Rectangle 49">
              <a:extLst>
                <a:ext uri="{FF2B5EF4-FFF2-40B4-BE49-F238E27FC236}">
                  <a16:creationId xmlns:a16="http://schemas.microsoft.com/office/drawing/2014/main" id="{3F57A950-4848-45F3-8AD2-90D13D6F6C0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059074" y="4164114"/>
              <a:ext cx="85106" cy="290576"/>
            </a:xfrm>
            <a:prstGeom prst="rect">
              <a:avLst/>
            </a:prstGeom>
            <a:solidFill>
              <a:srgbClr val="9EA6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" name="Rectangle 50">
              <a:extLst>
                <a:ext uri="{FF2B5EF4-FFF2-40B4-BE49-F238E27FC236}">
                  <a16:creationId xmlns:a16="http://schemas.microsoft.com/office/drawing/2014/main" id="{BB2EBF71-AAFD-4F38-84BD-44F18A6AD33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059074" y="4164114"/>
              <a:ext cx="85106" cy="290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" name="Rectangle 75">
              <a:extLst>
                <a:ext uri="{FF2B5EF4-FFF2-40B4-BE49-F238E27FC236}">
                  <a16:creationId xmlns:a16="http://schemas.microsoft.com/office/drawing/2014/main" id="{A888D86B-E359-4978-9FB6-54C32E97C00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071232" y="4589642"/>
              <a:ext cx="134954" cy="26748"/>
            </a:xfrm>
            <a:prstGeom prst="rect">
              <a:avLst/>
            </a:prstGeom>
            <a:solidFill>
              <a:srgbClr val="A1A9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" name="Rectangle 76">
              <a:extLst>
                <a:ext uri="{FF2B5EF4-FFF2-40B4-BE49-F238E27FC236}">
                  <a16:creationId xmlns:a16="http://schemas.microsoft.com/office/drawing/2014/main" id="{0774D830-38AA-4633-9F23-7A748B5E685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071232" y="4589642"/>
              <a:ext cx="134954" cy="267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" name="Rectangle 83">
              <a:extLst>
                <a:ext uri="{FF2B5EF4-FFF2-40B4-BE49-F238E27FC236}">
                  <a16:creationId xmlns:a16="http://schemas.microsoft.com/office/drawing/2014/main" id="{89DE4BF0-F823-4A3C-B8C8-CDB72BA51A1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071232" y="4674749"/>
              <a:ext cx="37690" cy="26748"/>
            </a:xfrm>
            <a:prstGeom prst="rect">
              <a:avLst/>
            </a:prstGeom>
            <a:solidFill>
              <a:srgbClr val="A1A9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" name="Rectangle 84">
              <a:extLst>
                <a:ext uri="{FF2B5EF4-FFF2-40B4-BE49-F238E27FC236}">
                  <a16:creationId xmlns:a16="http://schemas.microsoft.com/office/drawing/2014/main" id="{4FFB33C3-00D7-4290-B508-F71C627CC4A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071232" y="4674749"/>
              <a:ext cx="37690" cy="267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" name="Rectangle 87">
              <a:extLst>
                <a:ext uri="{FF2B5EF4-FFF2-40B4-BE49-F238E27FC236}">
                  <a16:creationId xmlns:a16="http://schemas.microsoft.com/office/drawing/2014/main" id="{5C2067D7-4913-4206-9F3F-C3A13817016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085822" y="4747696"/>
              <a:ext cx="159270" cy="26748"/>
            </a:xfrm>
            <a:prstGeom prst="rect">
              <a:avLst/>
            </a:prstGeom>
            <a:solidFill>
              <a:srgbClr val="A1A9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" name="Rectangle 88">
              <a:extLst>
                <a:ext uri="{FF2B5EF4-FFF2-40B4-BE49-F238E27FC236}">
                  <a16:creationId xmlns:a16="http://schemas.microsoft.com/office/drawing/2014/main" id="{D8B5E2E5-4368-45E2-A763-B0028418959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085822" y="4747696"/>
              <a:ext cx="159270" cy="267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" name="Freeform 159">
              <a:extLst>
                <a:ext uri="{FF2B5EF4-FFF2-40B4-BE49-F238E27FC236}">
                  <a16:creationId xmlns:a16="http://schemas.microsoft.com/office/drawing/2014/main" id="{42DD4AEC-C7F7-4B1B-9BAA-FE6A1ACED6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60292" y="6540997"/>
              <a:ext cx="209117" cy="139817"/>
            </a:xfrm>
            <a:custGeom>
              <a:avLst/>
              <a:gdLst>
                <a:gd name="T0" fmla="*/ 51 w 54"/>
                <a:gd name="T1" fmla="*/ 9 h 36"/>
                <a:gd name="T2" fmla="*/ 36 w 54"/>
                <a:gd name="T3" fmla="*/ 0 h 36"/>
                <a:gd name="T4" fmla="*/ 30 w 54"/>
                <a:gd name="T5" fmla="*/ 8 h 36"/>
                <a:gd name="T6" fmla="*/ 0 w 54"/>
                <a:gd name="T7" fmla="*/ 27 h 36"/>
                <a:gd name="T8" fmla="*/ 17 w 54"/>
                <a:gd name="T9" fmla="*/ 36 h 36"/>
                <a:gd name="T10" fmla="*/ 35 w 54"/>
                <a:gd name="T11" fmla="*/ 34 h 36"/>
                <a:gd name="T12" fmla="*/ 51 w 54"/>
                <a:gd name="T13" fmla="*/ 25 h 36"/>
                <a:gd name="T14" fmla="*/ 52 w 54"/>
                <a:gd name="T15" fmla="*/ 15 h 36"/>
                <a:gd name="T16" fmla="*/ 51 w 54"/>
                <a:gd name="T17" fmla="*/ 9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36">
                  <a:moveTo>
                    <a:pt x="51" y="9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6" y="0"/>
                    <a:pt x="33" y="5"/>
                    <a:pt x="30" y="8"/>
                  </a:cubicBezTo>
                  <a:cubicBezTo>
                    <a:pt x="25" y="14"/>
                    <a:pt x="0" y="19"/>
                    <a:pt x="0" y="27"/>
                  </a:cubicBezTo>
                  <a:cubicBezTo>
                    <a:pt x="0" y="32"/>
                    <a:pt x="9" y="36"/>
                    <a:pt x="17" y="36"/>
                  </a:cubicBezTo>
                  <a:cubicBezTo>
                    <a:pt x="24" y="36"/>
                    <a:pt x="31" y="35"/>
                    <a:pt x="35" y="34"/>
                  </a:cubicBezTo>
                  <a:cubicBezTo>
                    <a:pt x="39" y="32"/>
                    <a:pt x="50" y="28"/>
                    <a:pt x="51" y="25"/>
                  </a:cubicBezTo>
                  <a:cubicBezTo>
                    <a:pt x="54" y="21"/>
                    <a:pt x="52" y="15"/>
                    <a:pt x="52" y="15"/>
                  </a:cubicBezTo>
                  <a:cubicBezTo>
                    <a:pt x="53" y="10"/>
                    <a:pt x="51" y="9"/>
                    <a:pt x="51" y="9"/>
                  </a:cubicBezTo>
                  <a:close/>
                </a:path>
              </a:pathLst>
            </a:custGeom>
            <a:solidFill>
              <a:srgbClr val="184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" name="Freeform 160">
              <a:extLst>
                <a:ext uri="{FF2B5EF4-FFF2-40B4-BE49-F238E27FC236}">
                  <a16:creationId xmlns:a16="http://schemas.microsoft.com/office/drawing/2014/main" id="{BD7C2610-55DA-4882-865F-79D0713013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77009" y="6540997"/>
              <a:ext cx="88753" cy="74164"/>
            </a:xfrm>
            <a:custGeom>
              <a:avLst/>
              <a:gdLst>
                <a:gd name="T0" fmla="*/ 2 w 23"/>
                <a:gd name="T1" fmla="*/ 0 h 19"/>
                <a:gd name="T2" fmla="*/ 0 w 23"/>
                <a:gd name="T3" fmla="*/ 8 h 19"/>
                <a:gd name="T4" fmla="*/ 9 w 23"/>
                <a:gd name="T5" fmla="*/ 17 h 19"/>
                <a:gd name="T6" fmla="*/ 22 w 23"/>
                <a:gd name="T7" fmla="*/ 15 h 19"/>
                <a:gd name="T8" fmla="*/ 22 w 23"/>
                <a:gd name="T9" fmla="*/ 3 h 19"/>
                <a:gd name="T10" fmla="*/ 2 w 23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9">
                  <a:moveTo>
                    <a:pt x="2" y="0"/>
                  </a:moveTo>
                  <a:cubicBezTo>
                    <a:pt x="2" y="0"/>
                    <a:pt x="4" y="3"/>
                    <a:pt x="0" y="8"/>
                  </a:cubicBezTo>
                  <a:cubicBezTo>
                    <a:pt x="0" y="8"/>
                    <a:pt x="3" y="14"/>
                    <a:pt x="9" y="17"/>
                  </a:cubicBezTo>
                  <a:cubicBezTo>
                    <a:pt x="12" y="19"/>
                    <a:pt x="22" y="15"/>
                    <a:pt x="22" y="15"/>
                  </a:cubicBezTo>
                  <a:cubicBezTo>
                    <a:pt x="23" y="10"/>
                    <a:pt x="22" y="3"/>
                    <a:pt x="22" y="3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rgbClr val="FCD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" name="Freeform 161">
              <a:extLst>
                <a:ext uri="{FF2B5EF4-FFF2-40B4-BE49-F238E27FC236}">
                  <a16:creationId xmlns:a16="http://schemas.microsoft.com/office/drawing/2014/main" id="{1CA501AD-D3DB-412F-8ABF-688472189D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94639" y="4605448"/>
              <a:ext cx="434040" cy="1974455"/>
            </a:xfrm>
            <a:custGeom>
              <a:avLst/>
              <a:gdLst>
                <a:gd name="T0" fmla="*/ 15 w 112"/>
                <a:gd name="T1" fmla="*/ 0 h 511"/>
                <a:gd name="T2" fmla="*/ 11 w 112"/>
                <a:gd name="T3" fmla="*/ 287 h 511"/>
                <a:gd name="T4" fmla="*/ 46 w 112"/>
                <a:gd name="T5" fmla="*/ 504 h 511"/>
                <a:gd name="T6" fmla="*/ 74 w 112"/>
                <a:gd name="T7" fmla="*/ 504 h 511"/>
                <a:gd name="T8" fmla="*/ 70 w 112"/>
                <a:gd name="T9" fmla="*/ 269 h 511"/>
                <a:gd name="T10" fmla="*/ 112 w 112"/>
                <a:gd name="T11" fmla="*/ 105 h 511"/>
                <a:gd name="T12" fmla="*/ 112 w 112"/>
                <a:gd name="T13" fmla="*/ 9 h 511"/>
                <a:gd name="T14" fmla="*/ 15 w 112"/>
                <a:gd name="T15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2" h="511">
                  <a:moveTo>
                    <a:pt x="15" y="0"/>
                  </a:moveTo>
                  <a:cubicBezTo>
                    <a:pt x="13" y="11"/>
                    <a:pt x="0" y="156"/>
                    <a:pt x="11" y="287"/>
                  </a:cubicBezTo>
                  <a:cubicBezTo>
                    <a:pt x="20" y="400"/>
                    <a:pt x="46" y="504"/>
                    <a:pt x="46" y="504"/>
                  </a:cubicBezTo>
                  <a:cubicBezTo>
                    <a:pt x="46" y="505"/>
                    <a:pt x="64" y="511"/>
                    <a:pt x="74" y="504"/>
                  </a:cubicBezTo>
                  <a:cubicBezTo>
                    <a:pt x="70" y="269"/>
                    <a:pt x="70" y="269"/>
                    <a:pt x="70" y="269"/>
                  </a:cubicBezTo>
                  <a:cubicBezTo>
                    <a:pt x="70" y="269"/>
                    <a:pt x="105" y="111"/>
                    <a:pt x="112" y="105"/>
                  </a:cubicBezTo>
                  <a:cubicBezTo>
                    <a:pt x="112" y="9"/>
                    <a:pt x="112" y="9"/>
                    <a:pt x="112" y="9"/>
                  </a:cubicBezTo>
                  <a:cubicBezTo>
                    <a:pt x="76" y="11"/>
                    <a:pt x="27" y="6"/>
                    <a:pt x="15" y="0"/>
                  </a:cubicBezTo>
                  <a:close/>
                </a:path>
              </a:pathLst>
            </a:custGeom>
            <a:solidFill>
              <a:srgbClr val="184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" name="Freeform 162">
              <a:extLst>
                <a:ext uri="{FF2B5EF4-FFF2-40B4-BE49-F238E27FC236}">
                  <a16:creationId xmlns:a16="http://schemas.microsoft.com/office/drawing/2014/main" id="{1E9D7B3A-BB1A-43DA-95BD-6B356D05FF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74879" y="6530055"/>
              <a:ext cx="209117" cy="145896"/>
            </a:xfrm>
            <a:custGeom>
              <a:avLst/>
              <a:gdLst>
                <a:gd name="T0" fmla="*/ 50 w 54"/>
                <a:gd name="T1" fmla="*/ 8 h 38"/>
                <a:gd name="T2" fmla="*/ 35 w 54"/>
                <a:gd name="T3" fmla="*/ 0 h 38"/>
                <a:gd name="T4" fmla="*/ 29 w 54"/>
                <a:gd name="T5" fmla="*/ 9 h 38"/>
                <a:gd name="T6" fmla="*/ 1 w 54"/>
                <a:gd name="T7" fmla="*/ 31 h 38"/>
                <a:gd name="T8" fmla="*/ 18 w 54"/>
                <a:gd name="T9" fmla="*/ 38 h 38"/>
                <a:gd name="T10" fmla="*/ 36 w 54"/>
                <a:gd name="T11" fmla="*/ 34 h 38"/>
                <a:gd name="T12" fmla="*/ 52 w 54"/>
                <a:gd name="T13" fmla="*/ 24 h 38"/>
                <a:gd name="T14" fmla="*/ 51 w 54"/>
                <a:gd name="T15" fmla="*/ 14 h 38"/>
                <a:gd name="T16" fmla="*/ 50 w 54"/>
                <a:gd name="T17" fmla="*/ 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38">
                  <a:moveTo>
                    <a:pt x="50" y="8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2" y="6"/>
                    <a:pt x="29" y="9"/>
                  </a:cubicBezTo>
                  <a:cubicBezTo>
                    <a:pt x="25" y="16"/>
                    <a:pt x="0" y="22"/>
                    <a:pt x="1" y="31"/>
                  </a:cubicBezTo>
                  <a:cubicBezTo>
                    <a:pt x="1" y="35"/>
                    <a:pt x="11" y="38"/>
                    <a:pt x="18" y="38"/>
                  </a:cubicBezTo>
                  <a:cubicBezTo>
                    <a:pt x="26" y="38"/>
                    <a:pt x="32" y="37"/>
                    <a:pt x="36" y="34"/>
                  </a:cubicBezTo>
                  <a:cubicBezTo>
                    <a:pt x="41" y="31"/>
                    <a:pt x="50" y="27"/>
                    <a:pt x="52" y="24"/>
                  </a:cubicBezTo>
                  <a:cubicBezTo>
                    <a:pt x="54" y="19"/>
                    <a:pt x="51" y="14"/>
                    <a:pt x="51" y="14"/>
                  </a:cubicBezTo>
                  <a:cubicBezTo>
                    <a:pt x="52" y="9"/>
                    <a:pt x="50" y="8"/>
                    <a:pt x="50" y="8"/>
                  </a:cubicBezTo>
                  <a:close/>
                </a:path>
              </a:pathLst>
            </a:custGeom>
            <a:solidFill>
              <a:srgbClr val="184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" name="Freeform 163">
              <a:extLst>
                <a:ext uri="{FF2B5EF4-FFF2-40B4-BE49-F238E27FC236}">
                  <a16:creationId xmlns:a16="http://schemas.microsoft.com/office/drawing/2014/main" id="{90B3C838-809D-4377-826A-AD7B62DD2C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6733" y="6530055"/>
              <a:ext cx="88753" cy="69301"/>
            </a:xfrm>
            <a:custGeom>
              <a:avLst/>
              <a:gdLst>
                <a:gd name="T0" fmla="*/ 2 w 23"/>
                <a:gd name="T1" fmla="*/ 0 h 18"/>
                <a:gd name="T2" fmla="*/ 0 w 23"/>
                <a:gd name="T3" fmla="*/ 9 h 18"/>
                <a:gd name="T4" fmla="*/ 10 w 23"/>
                <a:gd name="T5" fmla="*/ 17 h 18"/>
                <a:gd name="T6" fmla="*/ 22 w 23"/>
                <a:gd name="T7" fmla="*/ 14 h 18"/>
                <a:gd name="T8" fmla="*/ 23 w 23"/>
                <a:gd name="T9" fmla="*/ 2 h 18"/>
                <a:gd name="T10" fmla="*/ 2 w 23"/>
                <a:gd name="T1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8">
                  <a:moveTo>
                    <a:pt x="2" y="0"/>
                  </a:moveTo>
                  <a:cubicBezTo>
                    <a:pt x="2" y="0"/>
                    <a:pt x="4" y="4"/>
                    <a:pt x="0" y="9"/>
                  </a:cubicBezTo>
                  <a:cubicBezTo>
                    <a:pt x="0" y="9"/>
                    <a:pt x="4" y="14"/>
                    <a:pt x="10" y="17"/>
                  </a:cubicBezTo>
                  <a:cubicBezTo>
                    <a:pt x="13" y="18"/>
                    <a:pt x="22" y="14"/>
                    <a:pt x="22" y="14"/>
                  </a:cubicBezTo>
                  <a:cubicBezTo>
                    <a:pt x="23" y="9"/>
                    <a:pt x="23" y="2"/>
                    <a:pt x="23" y="2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rgbClr val="FCD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" name="Freeform 164">
              <a:extLst>
                <a:ext uri="{FF2B5EF4-FFF2-40B4-BE49-F238E27FC236}">
                  <a16:creationId xmlns:a16="http://schemas.microsoft.com/office/drawing/2014/main" id="{3B3A4543-939C-47BF-94BA-A790E35AAD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31415" y="4678395"/>
              <a:ext cx="460788" cy="1897860"/>
            </a:xfrm>
            <a:custGeom>
              <a:avLst/>
              <a:gdLst>
                <a:gd name="T0" fmla="*/ 82 w 119"/>
                <a:gd name="T1" fmla="*/ 0 h 491"/>
                <a:gd name="T2" fmla="*/ 0 w 119"/>
                <a:gd name="T3" fmla="*/ 23 h 491"/>
                <a:gd name="T4" fmla="*/ 18 w 119"/>
                <a:gd name="T5" fmla="*/ 274 h 491"/>
                <a:gd name="T6" fmla="*/ 63 w 119"/>
                <a:gd name="T7" fmla="*/ 479 h 491"/>
                <a:gd name="T8" fmla="*/ 98 w 119"/>
                <a:gd name="T9" fmla="*/ 482 h 491"/>
                <a:gd name="T10" fmla="*/ 81 w 119"/>
                <a:gd name="T11" fmla="*/ 265 h 491"/>
                <a:gd name="T12" fmla="*/ 82 w 119"/>
                <a:gd name="T13" fmla="*/ 0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9" h="491">
                  <a:moveTo>
                    <a:pt x="82" y="0"/>
                  </a:moveTo>
                  <a:cubicBezTo>
                    <a:pt x="46" y="5"/>
                    <a:pt x="13" y="27"/>
                    <a:pt x="0" y="23"/>
                  </a:cubicBezTo>
                  <a:cubicBezTo>
                    <a:pt x="0" y="33"/>
                    <a:pt x="2" y="193"/>
                    <a:pt x="18" y="274"/>
                  </a:cubicBezTo>
                  <a:cubicBezTo>
                    <a:pt x="41" y="385"/>
                    <a:pt x="63" y="479"/>
                    <a:pt x="63" y="479"/>
                  </a:cubicBezTo>
                  <a:cubicBezTo>
                    <a:pt x="63" y="479"/>
                    <a:pt x="76" y="491"/>
                    <a:pt x="98" y="482"/>
                  </a:cubicBezTo>
                  <a:cubicBezTo>
                    <a:pt x="81" y="265"/>
                    <a:pt x="81" y="265"/>
                    <a:pt x="81" y="265"/>
                  </a:cubicBezTo>
                  <a:cubicBezTo>
                    <a:pt x="77" y="205"/>
                    <a:pt x="119" y="80"/>
                    <a:pt x="82" y="0"/>
                  </a:cubicBezTo>
                  <a:close/>
                </a:path>
              </a:pathLst>
            </a:custGeom>
            <a:solidFill>
              <a:srgbClr val="184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grpSp>
          <p:nvGrpSpPr>
            <p:cNvPr id="27" name="组合 26">
              <a:extLst>
                <a:ext uri="{FF2B5EF4-FFF2-40B4-BE49-F238E27FC236}">
                  <a16:creationId xmlns:a16="http://schemas.microsoft.com/office/drawing/2014/main" id="{05434B4A-1AF0-49EE-A307-2C906F147F84}"/>
                </a:ext>
              </a:extLst>
            </p:cNvPr>
            <p:cNvGrpSpPr/>
            <p:nvPr userDrawn="1"/>
          </p:nvGrpSpPr>
          <p:grpSpPr>
            <a:xfrm>
              <a:off x="9485418" y="3655302"/>
              <a:ext cx="189664" cy="181154"/>
              <a:chOff x="9461516" y="3642536"/>
              <a:chExt cx="189664" cy="181154"/>
            </a:xfrm>
          </p:grpSpPr>
          <p:sp>
            <p:nvSpPr>
              <p:cNvPr id="47" name="Freeform 166">
                <a:extLst>
                  <a:ext uri="{FF2B5EF4-FFF2-40B4-BE49-F238E27FC236}">
                    <a16:creationId xmlns:a16="http://schemas.microsoft.com/office/drawing/2014/main" id="{F3E1F0AB-2F1B-4581-B0C4-853D26A92F7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9596470" y="3677795"/>
                <a:ext cx="46200" cy="65653"/>
              </a:xfrm>
              <a:custGeom>
                <a:avLst/>
                <a:gdLst>
                  <a:gd name="T0" fmla="*/ 3 w 12"/>
                  <a:gd name="T1" fmla="*/ 2 h 17"/>
                  <a:gd name="T2" fmla="*/ 3 w 12"/>
                  <a:gd name="T3" fmla="*/ 12 h 17"/>
                  <a:gd name="T4" fmla="*/ 12 w 12"/>
                  <a:gd name="T5" fmla="*/ 17 h 17"/>
                  <a:gd name="T6" fmla="*/ 6 w 12"/>
                  <a:gd name="T7" fmla="*/ 5 h 17"/>
                  <a:gd name="T8" fmla="*/ 3 w 12"/>
                  <a:gd name="T9" fmla="*/ 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7">
                    <a:moveTo>
                      <a:pt x="3" y="2"/>
                    </a:moveTo>
                    <a:cubicBezTo>
                      <a:pt x="0" y="3"/>
                      <a:pt x="2" y="11"/>
                      <a:pt x="3" y="12"/>
                    </a:cubicBezTo>
                    <a:cubicBezTo>
                      <a:pt x="6" y="15"/>
                      <a:pt x="9" y="14"/>
                      <a:pt x="12" y="17"/>
                    </a:cubicBezTo>
                    <a:cubicBezTo>
                      <a:pt x="10" y="13"/>
                      <a:pt x="8" y="9"/>
                      <a:pt x="6" y="5"/>
                    </a:cubicBezTo>
                    <a:cubicBezTo>
                      <a:pt x="6" y="3"/>
                      <a:pt x="6" y="0"/>
                      <a:pt x="3" y="2"/>
                    </a:cubicBezTo>
                    <a:close/>
                  </a:path>
                </a:pathLst>
              </a:custGeom>
              <a:solidFill>
                <a:srgbClr val="FCD2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" name="Freeform 167">
                <a:extLst>
                  <a:ext uri="{FF2B5EF4-FFF2-40B4-BE49-F238E27FC236}">
                    <a16:creationId xmlns:a16="http://schemas.microsoft.com/office/drawing/2014/main" id="{173C5730-0ACD-494D-8050-90A9137532E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9461516" y="3642536"/>
                <a:ext cx="189664" cy="181154"/>
              </a:xfrm>
              <a:custGeom>
                <a:avLst/>
                <a:gdLst>
                  <a:gd name="T0" fmla="*/ 38 w 49"/>
                  <a:gd name="T1" fmla="*/ 19 h 47"/>
                  <a:gd name="T2" fmla="*/ 22 w 49"/>
                  <a:gd name="T3" fmla="*/ 8 h 47"/>
                  <a:gd name="T4" fmla="*/ 11 w 49"/>
                  <a:gd name="T5" fmla="*/ 1 h 47"/>
                  <a:gd name="T6" fmla="*/ 4 w 49"/>
                  <a:gd name="T7" fmla="*/ 3 h 47"/>
                  <a:gd name="T8" fmla="*/ 3 w 49"/>
                  <a:gd name="T9" fmla="*/ 7 h 47"/>
                  <a:gd name="T10" fmla="*/ 5 w 49"/>
                  <a:gd name="T11" fmla="*/ 14 h 47"/>
                  <a:gd name="T12" fmla="*/ 13 w 49"/>
                  <a:gd name="T13" fmla="*/ 26 h 47"/>
                  <a:gd name="T14" fmla="*/ 39 w 49"/>
                  <a:gd name="T15" fmla="*/ 47 h 47"/>
                  <a:gd name="T16" fmla="*/ 49 w 49"/>
                  <a:gd name="T17" fmla="*/ 30 h 47"/>
                  <a:gd name="T18" fmla="*/ 38 w 49"/>
                  <a:gd name="T19" fmla="*/ 19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9" h="47">
                    <a:moveTo>
                      <a:pt x="38" y="19"/>
                    </a:moveTo>
                    <a:cubicBezTo>
                      <a:pt x="35" y="15"/>
                      <a:pt x="24" y="9"/>
                      <a:pt x="22" y="8"/>
                    </a:cubicBezTo>
                    <a:cubicBezTo>
                      <a:pt x="17" y="4"/>
                      <a:pt x="14" y="2"/>
                      <a:pt x="11" y="1"/>
                    </a:cubicBezTo>
                    <a:cubicBezTo>
                      <a:pt x="8" y="0"/>
                      <a:pt x="6" y="2"/>
                      <a:pt x="4" y="3"/>
                    </a:cubicBezTo>
                    <a:cubicBezTo>
                      <a:pt x="2" y="4"/>
                      <a:pt x="3" y="5"/>
                      <a:pt x="3" y="7"/>
                    </a:cubicBezTo>
                    <a:cubicBezTo>
                      <a:pt x="0" y="8"/>
                      <a:pt x="5" y="12"/>
                      <a:pt x="5" y="14"/>
                    </a:cubicBezTo>
                    <a:cubicBezTo>
                      <a:pt x="1" y="19"/>
                      <a:pt x="7" y="21"/>
                      <a:pt x="13" y="26"/>
                    </a:cubicBezTo>
                    <a:cubicBezTo>
                      <a:pt x="13" y="26"/>
                      <a:pt x="35" y="45"/>
                      <a:pt x="39" y="47"/>
                    </a:cubicBezTo>
                    <a:cubicBezTo>
                      <a:pt x="42" y="46"/>
                      <a:pt x="49" y="30"/>
                      <a:pt x="49" y="30"/>
                    </a:cubicBezTo>
                    <a:cubicBezTo>
                      <a:pt x="47" y="24"/>
                      <a:pt x="42" y="22"/>
                      <a:pt x="38" y="19"/>
                    </a:cubicBezTo>
                    <a:close/>
                  </a:path>
                </a:pathLst>
              </a:custGeom>
              <a:solidFill>
                <a:srgbClr val="FCD2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sp>
          <p:nvSpPr>
            <p:cNvPr id="28" name="Freeform 170">
              <a:extLst>
                <a:ext uri="{FF2B5EF4-FFF2-40B4-BE49-F238E27FC236}">
                  <a16:creationId xmlns:a16="http://schemas.microsoft.com/office/drawing/2014/main" id="{3A9F9F5B-D086-4F2B-BDA8-7C5FAE006D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08628" y="3747095"/>
              <a:ext cx="1175677" cy="417019"/>
            </a:xfrm>
            <a:custGeom>
              <a:avLst/>
              <a:gdLst>
                <a:gd name="T0" fmla="*/ 271 w 304"/>
                <a:gd name="T1" fmla="*/ 17 h 108"/>
                <a:gd name="T2" fmla="*/ 137 w 304"/>
                <a:gd name="T3" fmla="*/ 56 h 108"/>
                <a:gd name="T4" fmla="*/ 16 w 304"/>
                <a:gd name="T5" fmla="*/ 0 h 108"/>
                <a:gd name="T6" fmla="*/ 0 w 304"/>
                <a:gd name="T7" fmla="*/ 23 h 108"/>
                <a:gd name="T8" fmla="*/ 134 w 304"/>
                <a:gd name="T9" fmla="*/ 103 h 108"/>
                <a:gd name="T10" fmla="*/ 293 w 304"/>
                <a:gd name="T11" fmla="*/ 71 h 108"/>
                <a:gd name="T12" fmla="*/ 271 w 304"/>
                <a:gd name="T13" fmla="*/ 17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4" h="108">
                  <a:moveTo>
                    <a:pt x="271" y="17"/>
                  </a:moveTo>
                  <a:cubicBezTo>
                    <a:pt x="253" y="21"/>
                    <a:pt x="161" y="51"/>
                    <a:pt x="137" y="56"/>
                  </a:cubicBezTo>
                  <a:cubicBezTo>
                    <a:pt x="95" y="37"/>
                    <a:pt x="49" y="21"/>
                    <a:pt x="16" y="0"/>
                  </a:cubicBezTo>
                  <a:cubicBezTo>
                    <a:pt x="11" y="8"/>
                    <a:pt x="5" y="15"/>
                    <a:pt x="0" y="23"/>
                  </a:cubicBezTo>
                  <a:cubicBezTo>
                    <a:pt x="34" y="47"/>
                    <a:pt x="97" y="98"/>
                    <a:pt x="134" y="103"/>
                  </a:cubicBezTo>
                  <a:cubicBezTo>
                    <a:pt x="170" y="107"/>
                    <a:pt x="262" y="108"/>
                    <a:pt x="293" y="71"/>
                  </a:cubicBezTo>
                  <a:cubicBezTo>
                    <a:pt x="304" y="59"/>
                    <a:pt x="304" y="9"/>
                    <a:pt x="271" y="17"/>
                  </a:cubicBezTo>
                  <a:close/>
                </a:path>
              </a:pathLst>
            </a:custGeom>
            <a:solidFill>
              <a:srgbClr val="D1DB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" name="Freeform 171">
              <a:extLst>
                <a:ext uri="{FF2B5EF4-FFF2-40B4-BE49-F238E27FC236}">
                  <a16:creationId xmlns:a16="http://schemas.microsoft.com/office/drawing/2014/main" id="{0ABAB746-4D3B-400B-90CD-7B3E73F49E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59381" y="3720347"/>
              <a:ext cx="797563" cy="1379930"/>
            </a:xfrm>
            <a:custGeom>
              <a:avLst/>
              <a:gdLst>
                <a:gd name="T0" fmla="*/ 59 w 206"/>
                <a:gd name="T1" fmla="*/ 16 h 357"/>
                <a:gd name="T2" fmla="*/ 11 w 206"/>
                <a:gd name="T3" fmla="*/ 34 h 357"/>
                <a:gd name="T4" fmla="*/ 4 w 206"/>
                <a:gd name="T5" fmla="*/ 91 h 357"/>
                <a:gd name="T6" fmla="*/ 16 w 206"/>
                <a:gd name="T7" fmla="*/ 302 h 357"/>
                <a:gd name="T8" fmla="*/ 35 w 206"/>
                <a:gd name="T9" fmla="*/ 331 h 357"/>
                <a:gd name="T10" fmla="*/ 172 w 206"/>
                <a:gd name="T11" fmla="*/ 313 h 357"/>
                <a:gd name="T12" fmla="*/ 199 w 206"/>
                <a:gd name="T13" fmla="*/ 302 h 357"/>
                <a:gd name="T14" fmla="*/ 160 w 206"/>
                <a:gd name="T15" fmla="*/ 43 h 357"/>
                <a:gd name="T16" fmla="*/ 59 w 206"/>
                <a:gd name="T17" fmla="*/ 16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6" h="357">
                  <a:moveTo>
                    <a:pt x="59" y="16"/>
                  </a:moveTo>
                  <a:cubicBezTo>
                    <a:pt x="34" y="15"/>
                    <a:pt x="16" y="28"/>
                    <a:pt x="11" y="34"/>
                  </a:cubicBezTo>
                  <a:cubicBezTo>
                    <a:pt x="0" y="48"/>
                    <a:pt x="2" y="72"/>
                    <a:pt x="4" y="91"/>
                  </a:cubicBezTo>
                  <a:cubicBezTo>
                    <a:pt x="13" y="163"/>
                    <a:pt x="18" y="228"/>
                    <a:pt x="16" y="302"/>
                  </a:cubicBezTo>
                  <a:cubicBezTo>
                    <a:pt x="15" y="311"/>
                    <a:pt x="20" y="326"/>
                    <a:pt x="35" y="331"/>
                  </a:cubicBezTo>
                  <a:cubicBezTo>
                    <a:pt x="105" y="357"/>
                    <a:pt x="135" y="314"/>
                    <a:pt x="172" y="313"/>
                  </a:cubicBezTo>
                  <a:cubicBezTo>
                    <a:pt x="202" y="312"/>
                    <a:pt x="199" y="308"/>
                    <a:pt x="199" y="302"/>
                  </a:cubicBezTo>
                  <a:cubicBezTo>
                    <a:pt x="206" y="228"/>
                    <a:pt x="194" y="91"/>
                    <a:pt x="160" y="43"/>
                  </a:cubicBezTo>
                  <a:cubicBezTo>
                    <a:pt x="130" y="0"/>
                    <a:pt x="71" y="16"/>
                    <a:pt x="59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" name="Freeform 172">
              <a:extLst>
                <a:ext uri="{FF2B5EF4-FFF2-40B4-BE49-F238E27FC236}">
                  <a16:creationId xmlns:a16="http://schemas.microsoft.com/office/drawing/2014/main" id="{2203AC93-3CF7-4D4D-8A05-087F31B3A3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97069" y="4953165"/>
              <a:ext cx="54711" cy="62006"/>
            </a:xfrm>
            <a:custGeom>
              <a:avLst/>
              <a:gdLst>
                <a:gd name="T0" fmla="*/ 4 w 14"/>
                <a:gd name="T1" fmla="*/ 9 h 16"/>
                <a:gd name="T2" fmla="*/ 2 w 14"/>
                <a:gd name="T3" fmla="*/ 14 h 16"/>
                <a:gd name="T4" fmla="*/ 12 w 14"/>
                <a:gd name="T5" fmla="*/ 11 h 16"/>
                <a:gd name="T6" fmla="*/ 14 w 14"/>
                <a:gd name="T7" fmla="*/ 0 h 16"/>
                <a:gd name="T8" fmla="*/ 4 w 14"/>
                <a:gd name="T9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6">
                  <a:moveTo>
                    <a:pt x="4" y="9"/>
                  </a:moveTo>
                  <a:cubicBezTo>
                    <a:pt x="2" y="10"/>
                    <a:pt x="0" y="11"/>
                    <a:pt x="2" y="14"/>
                  </a:cubicBezTo>
                  <a:cubicBezTo>
                    <a:pt x="3" y="16"/>
                    <a:pt x="11" y="12"/>
                    <a:pt x="12" y="11"/>
                  </a:cubicBezTo>
                  <a:cubicBezTo>
                    <a:pt x="14" y="7"/>
                    <a:pt x="12" y="4"/>
                    <a:pt x="14" y="0"/>
                  </a:cubicBezTo>
                  <a:cubicBezTo>
                    <a:pt x="11" y="4"/>
                    <a:pt x="8" y="7"/>
                    <a:pt x="4" y="9"/>
                  </a:cubicBezTo>
                  <a:close/>
                </a:path>
              </a:pathLst>
            </a:custGeom>
            <a:solidFill>
              <a:srgbClr val="FCD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" name="Freeform 173">
              <a:extLst>
                <a:ext uri="{FF2B5EF4-FFF2-40B4-BE49-F238E27FC236}">
                  <a16:creationId xmlns:a16="http://schemas.microsoft.com/office/drawing/2014/main" id="{6376A18C-B8FA-45B2-BAE1-0FC0CC3AE2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97069" y="4941008"/>
              <a:ext cx="143464" cy="205470"/>
            </a:xfrm>
            <a:custGeom>
              <a:avLst/>
              <a:gdLst>
                <a:gd name="T0" fmla="*/ 17 w 37"/>
                <a:gd name="T1" fmla="*/ 0 h 53"/>
                <a:gd name="T2" fmla="*/ 9 w 37"/>
                <a:gd name="T3" fmla="*/ 14 h 53"/>
                <a:gd name="T4" fmla="*/ 3 w 37"/>
                <a:gd name="T5" fmla="*/ 33 h 53"/>
                <a:gd name="T6" fmla="*/ 0 w 37"/>
                <a:gd name="T7" fmla="*/ 45 h 53"/>
                <a:gd name="T8" fmla="*/ 3 w 37"/>
                <a:gd name="T9" fmla="*/ 51 h 53"/>
                <a:gd name="T10" fmla="*/ 7 w 37"/>
                <a:gd name="T11" fmla="*/ 51 h 53"/>
                <a:gd name="T12" fmla="*/ 13 w 37"/>
                <a:gd name="T13" fmla="*/ 48 h 53"/>
                <a:gd name="T14" fmla="*/ 23 w 37"/>
                <a:gd name="T15" fmla="*/ 36 h 53"/>
                <a:gd name="T16" fmla="*/ 37 w 37"/>
                <a:gd name="T17" fmla="*/ 6 h 53"/>
                <a:gd name="T18" fmla="*/ 17 w 37"/>
                <a:gd name="T1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53">
                  <a:moveTo>
                    <a:pt x="17" y="0"/>
                  </a:moveTo>
                  <a:cubicBezTo>
                    <a:pt x="12" y="4"/>
                    <a:pt x="11" y="10"/>
                    <a:pt x="9" y="14"/>
                  </a:cubicBezTo>
                  <a:cubicBezTo>
                    <a:pt x="7" y="18"/>
                    <a:pt x="4" y="31"/>
                    <a:pt x="3" y="33"/>
                  </a:cubicBezTo>
                  <a:cubicBezTo>
                    <a:pt x="1" y="39"/>
                    <a:pt x="0" y="42"/>
                    <a:pt x="0" y="45"/>
                  </a:cubicBezTo>
                  <a:cubicBezTo>
                    <a:pt x="0" y="49"/>
                    <a:pt x="2" y="50"/>
                    <a:pt x="3" y="51"/>
                  </a:cubicBezTo>
                  <a:cubicBezTo>
                    <a:pt x="4" y="53"/>
                    <a:pt x="6" y="52"/>
                    <a:pt x="7" y="51"/>
                  </a:cubicBezTo>
                  <a:cubicBezTo>
                    <a:pt x="10" y="53"/>
                    <a:pt x="12" y="47"/>
                    <a:pt x="13" y="48"/>
                  </a:cubicBezTo>
                  <a:cubicBezTo>
                    <a:pt x="19" y="50"/>
                    <a:pt x="20" y="43"/>
                    <a:pt x="23" y="36"/>
                  </a:cubicBezTo>
                  <a:cubicBezTo>
                    <a:pt x="23" y="36"/>
                    <a:pt x="36" y="10"/>
                    <a:pt x="37" y="6"/>
                  </a:cubicBezTo>
                  <a:cubicBezTo>
                    <a:pt x="35" y="3"/>
                    <a:pt x="17" y="0"/>
                    <a:pt x="17" y="0"/>
                  </a:cubicBezTo>
                  <a:close/>
                </a:path>
              </a:pathLst>
            </a:custGeom>
            <a:solidFill>
              <a:srgbClr val="FCD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" name="Freeform 174">
              <a:extLst>
                <a:ext uri="{FF2B5EF4-FFF2-40B4-BE49-F238E27FC236}">
                  <a16:creationId xmlns:a16="http://schemas.microsoft.com/office/drawing/2014/main" id="{F9A38303-AE5F-48B4-995C-F0BA18849E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55427" y="4261377"/>
              <a:ext cx="274770" cy="711242"/>
            </a:xfrm>
            <a:custGeom>
              <a:avLst/>
              <a:gdLst>
                <a:gd name="T0" fmla="*/ 30 w 71"/>
                <a:gd name="T1" fmla="*/ 25 h 184"/>
                <a:gd name="T2" fmla="*/ 28 w 71"/>
                <a:gd name="T3" fmla="*/ 30 h 184"/>
                <a:gd name="T4" fmla="*/ 0 w 71"/>
                <a:gd name="T5" fmla="*/ 178 h 184"/>
                <a:gd name="T6" fmla="*/ 21 w 71"/>
                <a:gd name="T7" fmla="*/ 184 h 184"/>
                <a:gd name="T8" fmla="*/ 59 w 71"/>
                <a:gd name="T9" fmla="*/ 27 h 184"/>
                <a:gd name="T10" fmla="*/ 30 w 71"/>
                <a:gd name="T11" fmla="*/ 25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1" h="184">
                  <a:moveTo>
                    <a:pt x="30" y="25"/>
                  </a:moveTo>
                  <a:cubicBezTo>
                    <a:pt x="29" y="25"/>
                    <a:pt x="29" y="27"/>
                    <a:pt x="28" y="30"/>
                  </a:cubicBezTo>
                  <a:cubicBezTo>
                    <a:pt x="18" y="78"/>
                    <a:pt x="16" y="130"/>
                    <a:pt x="0" y="178"/>
                  </a:cubicBezTo>
                  <a:cubicBezTo>
                    <a:pt x="7" y="179"/>
                    <a:pt x="14" y="182"/>
                    <a:pt x="21" y="184"/>
                  </a:cubicBezTo>
                  <a:cubicBezTo>
                    <a:pt x="40" y="151"/>
                    <a:pt x="71" y="54"/>
                    <a:pt x="59" y="27"/>
                  </a:cubicBezTo>
                  <a:cubicBezTo>
                    <a:pt x="46" y="0"/>
                    <a:pt x="39" y="24"/>
                    <a:pt x="30" y="25"/>
                  </a:cubicBezTo>
                  <a:close/>
                </a:path>
              </a:pathLst>
            </a:custGeom>
            <a:solidFill>
              <a:srgbClr val="FCD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" name="Freeform 175">
              <a:extLst>
                <a:ext uri="{FF2B5EF4-FFF2-40B4-BE49-F238E27FC236}">
                  <a16:creationId xmlns:a16="http://schemas.microsoft.com/office/drawing/2014/main" id="{4DD88B31-F129-45FF-922C-FC0A945E96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50868" y="3843143"/>
              <a:ext cx="340423" cy="673552"/>
            </a:xfrm>
            <a:custGeom>
              <a:avLst/>
              <a:gdLst>
                <a:gd name="T0" fmla="*/ 41 w 88"/>
                <a:gd name="T1" fmla="*/ 10 h 174"/>
                <a:gd name="T2" fmla="*/ 2 w 88"/>
                <a:gd name="T3" fmla="*/ 35 h 174"/>
                <a:gd name="T4" fmla="*/ 47 w 88"/>
                <a:gd name="T5" fmla="*/ 136 h 174"/>
                <a:gd name="T6" fmla="*/ 87 w 88"/>
                <a:gd name="T7" fmla="*/ 141 h 174"/>
                <a:gd name="T8" fmla="*/ 41 w 88"/>
                <a:gd name="T9" fmla="*/ 1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174">
                  <a:moveTo>
                    <a:pt x="41" y="10"/>
                  </a:moveTo>
                  <a:cubicBezTo>
                    <a:pt x="27" y="0"/>
                    <a:pt x="0" y="29"/>
                    <a:pt x="2" y="35"/>
                  </a:cubicBezTo>
                  <a:cubicBezTo>
                    <a:pt x="10" y="73"/>
                    <a:pt x="35" y="104"/>
                    <a:pt x="47" y="136"/>
                  </a:cubicBezTo>
                  <a:cubicBezTo>
                    <a:pt x="61" y="174"/>
                    <a:pt x="87" y="159"/>
                    <a:pt x="87" y="141"/>
                  </a:cubicBezTo>
                  <a:cubicBezTo>
                    <a:pt x="88" y="94"/>
                    <a:pt x="72" y="33"/>
                    <a:pt x="41" y="10"/>
                  </a:cubicBezTo>
                  <a:close/>
                </a:path>
              </a:pathLst>
            </a:custGeom>
            <a:solidFill>
              <a:srgbClr val="FCD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" name="Freeform 176">
              <a:extLst>
                <a:ext uri="{FF2B5EF4-FFF2-40B4-BE49-F238E27FC236}">
                  <a16:creationId xmlns:a16="http://schemas.microsoft.com/office/drawing/2014/main" id="{7482C9D8-5985-4C1B-884A-0E57E01B03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24121" y="3770195"/>
              <a:ext cx="397566" cy="1209719"/>
            </a:xfrm>
            <a:custGeom>
              <a:avLst/>
              <a:gdLst>
                <a:gd name="T0" fmla="*/ 65 w 103"/>
                <a:gd name="T1" fmla="*/ 36 h 313"/>
                <a:gd name="T2" fmla="*/ 8 w 103"/>
                <a:gd name="T3" fmla="*/ 55 h 313"/>
                <a:gd name="T4" fmla="*/ 54 w 103"/>
                <a:gd name="T5" fmla="*/ 168 h 313"/>
                <a:gd name="T6" fmla="*/ 29 w 103"/>
                <a:gd name="T7" fmla="*/ 302 h 313"/>
                <a:gd name="T8" fmla="*/ 60 w 103"/>
                <a:gd name="T9" fmla="*/ 313 h 313"/>
                <a:gd name="T10" fmla="*/ 100 w 103"/>
                <a:gd name="T11" fmla="*/ 158 h 313"/>
                <a:gd name="T12" fmla="*/ 65 w 103"/>
                <a:gd name="T13" fmla="*/ 36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313">
                  <a:moveTo>
                    <a:pt x="65" y="36"/>
                  </a:moveTo>
                  <a:cubicBezTo>
                    <a:pt x="41" y="0"/>
                    <a:pt x="0" y="30"/>
                    <a:pt x="8" y="55"/>
                  </a:cubicBezTo>
                  <a:cubicBezTo>
                    <a:pt x="15" y="77"/>
                    <a:pt x="41" y="144"/>
                    <a:pt x="54" y="168"/>
                  </a:cubicBezTo>
                  <a:cubicBezTo>
                    <a:pt x="47" y="213"/>
                    <a:pt x="42" y="259"/>
                    <a:pt x="29" y="302"/>
                  </a:cubicBezTo>
                  <a:cubicBezTo>
                    <a:pt x="39" y="306"/>
                    <a:pt x="49" y="310"/>
                    <a:pt x="60" y="313"/>
                  </a:cubicBezTo>
                  <a:cubicBezTo>
                    <a:pt x="77" y="267"/>
                    <a:pt x="103" y="207"/>
                    <a:pt x="100" y="158"/>
                  </a:cubicBezTo>
                  <a:cubicBezTo>
                    <a:pt x="96" y="109"/>
                    <a:pt x="74" y="50"/>
                    <a:pt x="65" y="36"/>
                  </a:cubicBezTo>
                  <a:close/>
                </a:path>
              </a:pathLst>
            </a:custGeom>
            <a:solidFill>
              <a:srgbClr val="D1DB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" name="Freeform 181">
              <a:extLst>
                <a:ext uri="{FF2B5EF4-FFF2-40B4-BE49-F238E27FC236}">
                  <a16:creationId xmlns:a16="http://schemas.microsoft.com/office/drawing/2014/main" id="{511CB066-9E94-442F-9702-4C7A7DCACE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34456" y="3828554"/>
              <a:ext cx="119148" cy="99696"/>
            </a:xfrm>
            <a:custGeom>
              <a:avLst/>
              <a:gdLst>
                <a:gd name="T0" fmla="*/ 3 w 31"/>
                <a:gd name="T1" fmla="*/ 7 h 26"/>
                <a:gd name="T2" fmla="*/ 13 w 31"/>
                <a:gd name="T3" fmla="*/ 25 h 26"/>
                <a:gd name="T4" fmla="*/ 28 w 31"/>
                <a:gd name="T5" fmla="*/ 12 h 26"/>
                <a:gd name="T6" fmla="*/ 3 w 31"/>
                <a:gd name="T7" fmla="*/ 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" h="26">
                  <a:moveTo>
                    <a:pt x="3" y="7"/>
                  </a:moveTo>
                  <a:cubicBezTo>
                    <a:pt x="0" y="13"/>
                    <a:pt x="7" y="24"/>
                    <a:pt x="13" y="25"/>
                  </a:cubicBezTo>
                  <a:cubicBezTo>
                    <a:pt x="19" y="26"/>
                    <a:pt x="31" y="18"/>
                    <a:pt x="28" y="12"/>
                  </a:cubicBezTo>
                  <a:cubicBezTo>
                    <a:pt x="25" y="6"/>
                    <a:pt x="7" y="0"/>
                    <a:pt x="3" y="7"/>
                  </a:cubicBezTo>
                  <a:close/>
                </a:path>
              </a:pathLst>
            </a:custGeom>
            <a:solidFill>
              <a:srgbClr val="BD40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6" name="Freeform 182">
              <a:extLst>
                <a:ext uri="{FF2B5EF4-FFF2-40B4-BE49-F238E27FC236}">
                  <a16:creationId xmlns:a16="http://schemas.microsoft.com/office/drawing/2014/main" id="{8CF713EA-5BE9-417A-B84B-27329C18C5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26250" y="3882049"/>
              <a:ext cx="255317" cy="761089"/>
            </a:xfrm>
            <a:custGeom>
              <a:avLst/>
              <a:gdLst>
                <a:gd name="T0" fmla="*/ 47 w 66"/>
                <a:gd name="T1" fmla="*/ 6 h 197"/>
                <a:gd name="T2" fmla="*/ 41 w 66"/>
                <a:gd name="T3" fmla="*/ 1 h 197"/>
                <a:gd name="T4" fmla="*/ 33 w 66"/>
                <a:gd name="T5" fmla="*/ 194 h 197"/>
                <a:gd name="T6" fmla="*/ 66 w 66"/>
                <a:gd name="T7" fmla="*/ 197 h 197"/>
                <a:gd name="T8" fmla="*/ 66 w 66"/>
                <a:gd name="T9" fmla="*/ 164 h 197"/>
                <a:gd name="T10" fmla="*/ 47 w 66"/>
                <a:gd name="T11" fmla="*/ 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197">
                  <a:moveTo>
                    <a:pt x="47" y="6"/>
                  </a:moveTo>
                  <a:cubicBezTo>
                    <a:pt x="47" y="5"/>
                    <a:pt x="42" y="0"/>
                    <a:pt x="41" y="1"/>
                  </a:cubicBezTo>
                  <a:cubicBezTo>
                    <a:pt x="10" y="60"/>
                    <a:pt x="0" y="133"/>
                    <a:pt x="33" y="194"/>
                  </a:cubicBezTo>
                  <a:cubicBezTo>
                    <a:pt x="44" y="195"/>
                    <a:pt x="55" y="196"/>
                    <a:pt x="66" y="197"/>
                  </a:cubicBezTo>
                  <a:cubicBezTo>
                    <a:pt x="66" y="186"/>
                    <a:pt x="66" y="175"/>
                    <a:pt x="66" y="164"/>
                  </a:cubicBezTo>
                  <a:cubicBezTo>
                    <a:pt x="24" y="119"/>
                    <a:pt x="33" y="61"/>
                    <a:pt x="47" y="6"/>
                  </a:cubicBezTo>
                  <a:close/>
                </a:path>
              </a:pathLst>
            </a:custGeom>
            <a:solidFill>
              <a:srgbClr val="BD40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grpSp>
          <p:nvGrpSpPr>
            <p:cNvPr id="37" name="组合 36">
              <a:extLst>
                <a:ext uri="{FF2B5EF4-FFF2-40B4-BE49-F238E27FC236}">
                  <a16:creationId xmlns:a16="http://schemas.microsoft.com/office/drawing/2014/main" id="{EA595903-E9CD-4D80-8D6F-F426FD96AAEF}"/>
                </a:ext>
              </a:extLst>
            </p:cNvPr>
            <p:cNvGrpSpPr/>
            <p:nvPr userDrawn="1"/>
          </p:nvGrpSpPr>
          <p:grpSpPr>
            <a:xfrm>
              <a:off x="10554740" y="3213968"/>
              <a:ext cx="526440" cy="657747"/>
              <a:chOff x="10559381" y="3217007"/>
              <a:chExt cx="526440" cy="657747"/>
            </a:xfrm>
          </p:grpSpPr>
          <p:sp>
            <p:nvSpPr>
              <p:cNvPr id="40" name="Freeform 165">
                <a:extLst>
                  <a:ext uri="{FF2B5EF4-FFF2-40B4-BE49-F238E27FC236}">
                    <a16:creationId xmlns:a16="http://schemas.microsoft.com/office/drawing/2014/main" id="{82EA645B-C106-4E5C-A259-D3738E5D479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559381" y="3271718"/>
                <a:ext cx="437687" cy="452276"/>
              </a:xfrm>
              <a:custGeom>
                <a:avLst/>
                <a:gdLst>
                  <a:gd name="T0" fmla="*/ 36 w 113"/>
                  <a:gd name="T1" fmla="*/ 19 h 117"/>
                  <a:gd name="T2" fmla="*/ 53 w 113"/>
                  <a:gd name="T3" fmla="*/ 115 h 117"/>
                  <a:gd name="T4" fmla="*/ 71 w 113"/>
                  <a:gd name="T5" fmla="*/ 42 h 117"/>
                  <a:gd name="T6" fmla="*/ 113 w 113"/>
                  <a:gd name="T7" fmla="*/ 42 h 117"/>
                  <a:gd name="T8" fmla="*/ 36 w 113"/>
                  <a:gd name="T9" fmla="*/ 19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3" h="117">
                    <a:moveTo>
                      <a:pt x="36" y="19"/>
                    </a:moveTo>
                    <a:cubicBezTo>
                      <a:pt x="0" y="43"/>
                      <a:pt x="3" y="102"/>
                      <a:pt x="53" y="115"/>
                    </a:cubicBezTo>
                    <a:cubicBezTo>
                      <a:pt x="63" y="117"/>
                      <a:pt x="77" y="53"/>
                      <a:pt x="71" y="42"/>
                    </a:cubicBezTo>
                    <a:cubicBezTo>
                      <a:pt x="86" y="39"/>
                      <a:pt x="99" y="41"/>
                      <a:pt x="113" y="42"/>
                    </a:cubicBezTo>
                    <a:cubicBezTo>
                      <a:pt x="97" y="17"/>
                      <a:pt x="63" y="0"/>
                      <a:pt x="36" y="19"/>
                    </a:cubicBezTo>
                    <a:close/>
                  </a:path>
                </a:pathLst>
              </a:custGeom>
              <a:solidFill>
                <a:srgbClr val="1848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1" name="Freeform 177">
                <a:extLst>
                  <a:ext uri="{FF2B5EF4-FFF2-40B4-BE49-F238E27FC236}">
                    <a16:creationId xmlns:a16="http://schemas.microsoft.com/office/drawing/2014/main" id="{0829AB01-2239-43D2-A687-F861E775AD7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730809" y="3623083"/>
                <a:ext cx="188449" cy="251671"/>
              </a:xfrm>
              <a:custGeom>
                <a:avLst/>
                <a:gdLst>
                  <a:gd name="T0" fmla="*/ 42 w 49"/>
                  <a:gd name="T1" fmla="*/ 0 h 65"/>
                  <a:gd name="T2" fmla="*/ 0 w 49"/>
                  <a:gd name="T3" fmla="*/ 6 h 65"/>
                  <a:gd name="T4" fmla="*/ 4 w 49"/>
                  <a:gd name="T5" fmla="*/ 49 h 65"/>
                  <a:gd name="T6" fmla="*/ 49 w 49"/>
                  <a:gd name="T7" fmla="*/ 44 h 65"/>
                  <a:gd name="T8" fmla="*/ 42 w 49"/>
                  <a:gd name="T9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65">
                    <a:moveTo>
                      <a:pt x="42" y="0"/>
                    </a:moveTo>
                    <a:cubicBezTo>
                      <a:pt x="29" y="4"/>
                      <a:pt x="14" y="8"/>
                      <a:pt x="0" y="6"/>
                    </a:cubicBezTo>
                    <a:cubicBezTo>
                      <a:pt x="2" y="20"/>
                      <a:pt x="5" y="34"/>
                      <a:pt x="4" y="49"/>
                    </a:cubicBezTo>
                    <a:cubicBezTo>
                      <a:pt x="16" y="65"/>
                      <a:pt x="39" y="60"/>
                      <a:pt x="49" y="44"/>
                    </a:cubicBezTo>
                    <a:cubicBezTo>
                      <a:pt x="41" y="31"/>
                      <a:pt x="38" y="15"/>
                      <a:pt x="42" y="0"/>
                    </a:cubicBezTo>
                    <a:close/>
                  </a:path>
                </a:pathLst>
              </a:custGeom>
              <a:solidFill>
                <a:srgbClr val="FCD2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2" name="Freeform 178">
                <a:extLst>
                  <a:ext uri="{FF2B5EF4-FFF2-40B4-BE49-F238E27FC236}">
                    <a16:creationId xmlns:a16="http://schemas.microsoft.com/office/drawing/2014/main" id="{91471436-20DD-4321-8FF1-62BBF18C4D2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606797" y="3353176"/>
                <a:ext cx="297871" cy="397566"/>
              </a:xfrm>
              <a:custGeom>
                <a:avLst/>
                <a:gdLst>
                  <a:gd name="T0" fmla="*/ 55 w 77"/>
                  <a:gd name="T1" fmla="*/ 13 h 103"/>
                  <a:gd name="T2" fmla="*/ 9 w 77"/>
                  <a:gd name="T3" fmla="*/ 22 h 103"/>
                  <a:gd name="T4" fmla="*/ 31 w 77"/>
                  <a:gd name="T5" fmla="*/ 100 h 103"/>
                  <a:gd name="T6" fmla="*/ 67 w 77"/>
                  <a:gd name="T7" fmla="*/ 75 h 103"/>
                  <a:gd name="T8" fmla="*/ 71 w 77"/>
                  <a:gd name="T9" fmla="*/ 58 h 103"/>
                  <a:gd name="T10" fmla="*/ 55 w 77"/>
                  <a:gd name="T11" fmla="*/ 13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7" h="103">
                    <a:moveTo>
                      <a:pt x="55" y="13"/>
                    </a:moveTo>
                    <a:cubicBezTo>
                      <a:pt x="44" y="8"/>
                      <a:pt x="17" y="0"/>
                      <a:pt x="9" y="22"/>
                    </a:cubicBezTo>
                    <a:cubicBezTo>
                      <a:pt x="5" y="32"/>
                      <a:pt x="0" y="93"/>
                      <a:pt x="31" y="100"/>
                    </a:cubicBezTo>
                    <a:cubicBezTo>
                      <a:pt x="45" y="103"/>
                      <a:pt x="63" y="89"/>
                      <a:pt x="67" y="75"/>
                    </a:cubicBezTo>
                    <a:cubicBezTo>
                      <a:pt x="68" y="71"/>
                      <a:pt x="71" y="58"/>
                      <a:pt x="71" y="58"/>
                    </a:cubicBezTo>
                    <a:cubicBezTo>
                      <a:pt x="77" y="39"/>
                      <a:pt x="72" y="21"/>
                      <a:pt x="55" y="13"/>
                    </a:cubicBezTo>
                    <a:close/>
                  </a:path>
                </a:pathLst>
              </a:custGeom>
              <a:solidFill>
                <a:srgbClr val="FCD2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3" name="Freeform 179">
                <a:extLst>
                  <a:ext uri="{FF2B5EF4-FFF2-40B4-BE49-F238E27FC236}">
                    <a16:creationId xmlns:a16="http://schemas.microsoft.com/office/drawing/2014/main" id="{BF3599F6-090E-4BB7-83A3-0A4D333D883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575186" y="3217007"/>
                <a:ext cx="510635" cy="506988"/>
              </a:xfrm>
              <a:custGeom>
                <a:avLst/>
                <a:gdLst>
                  <a:gd name="T0" fmla="*/ 105 w 132"/>
                  <a:gd name="T1" fmla="*/ 36 h 131"/>
                  <a:gd name="T2" fmla="*/ 43 w 132"/>
                  <a:gd name="T3" fmla="*/ 15 h 131"/>
                  <a:gd name="T4" fmla="*/ 14 w 132"/>
                  <a:gd name="T5" fmla="*/ 5 h 131"/>
                  <a:gd name="T6" fmla="*/ 7 w 132"/>
                  <a:gd name="T7" fmla="*/ 32 h 131"/>
                  <a:gd name="T8" fmla="*/ 66 w 132"/>
                  <a:gd name="T9" fmla="*/ 62 h 131"/>
                  <a:gd name="T10" fmla="*/ 65 w 132"/>
                  <a:gd name="T11" fmla="*/ 86 h 131"/>
                  <a:gd name="T12" fmla="*/ 78 w 132"/>
                  <a:gd name="T13" fmla="*/ 72 h 131"/>
                  <a:gd name="T14" fmla="*/ 79 w 132"/>
                  <a:gd name="T15" fmla="*/ 119 h 131"/>
                  <a:gd name="T16" fmla="*/ 99 w 132"/>
                  <a:gd name="T17" fmla="*/ 117 h 131"/>
                  <a:gd name="T18" fmla="*/ 105 w 132"/>
                  <a:gd name="T19" fmla="*/ 36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2" h="131">
                    <a:moveTo>
                      <a:pt x="105" y="36"/>
                    </a:moveTo>
                    <a:cubicBezTo>
                      <a:pt x="86" y="21"/>
                      <a:pt x="59" y="28"/>
                      <a:pt x="43" y="15"/>
                    </a:cubicBezTo>
                    <a:cubicBezTo>
                      <a:pt x="32" y="6"/>
                      <a:pt x="27" y="0"/>
                      <a:pt x="14" y="5"/>
                    </a:cubicBezTo>
                    <a:cubicBezTo>
                      <a:pt x="4" y="9"/>
                      <a:pt x="0" y="19"/>
                      <a:pt x="7" y="32"/>
                    </a:cubicBezTo>
                    <a:cubicBezTo>
                      <a:pt x="16" y="48"/>
                      <a:pt x="46" y="63"/>
                      <a:pt x="66" y="62"/>
                    </a:cubicBezTo>
                    <a:cubicBezTo>
                      <a:pt x="62" y="70"/>
                      <a:pt x="58" y="84"/>
                      <a:pt x="65" y="86"/>
                    </a:cubicBezTo>
                    <a:cubicBezTo>
                      <a:pt x="68" y="86"/>
                      <a:pt x="77" y="74"/>
                      <a:pt x="78" y="72"/>
                    </a:cubicBezTo>
                    <a:cubicBezTo>
                      <a:pt x="76" y="83"/>
                      <a:pt x="72" y="107"/>
                      <a:pt x="79" y="119"/>
                    </a:cubicBezTo>
                    <a:cubicBezTo>
                      <a:pt x="82" y="123"/>
                      <a:pt x="85" y="131"/>
                      <a:pt x="99" y="117"/>
                    </a:cubicBezTo>
                    <a:cubicBezTo>
                      <a:pt x="113" y="103"/>
                      <a:pt x="132" y="57"/>
                      <a:pt x="105" y="36"/>
                    </a:cubicBezTo>
                    <a:close/>
                  </a:path>
                </a:pathLst>
              </a:custGeom>
              <a:solidFill>
                <a:srgbClr val="1848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4" name="Freeform 185">
                <a:extLst>
                  <a:ext uri="{FF2B5EF4-FFF2-40B4-BE49-F238E27FC236}">
                    <a16:creationId xmlns:a16="http://schemas.microsoft.com/office/drawing/2014/main" id="{C4E77752-00D7-49F3-93D5-11AAF4D0179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03756" y="3441930"/>
                <a:ext cx="189664" cy="216412"/>
              </a:xfrm>
              <a:custGeom>
                <a:avLst/>
                <a:gdLst>
                  <a:gd name="T0" fmla="*/ 32 w 49"/>
                  <a:gd name="T1" fmla="*/ 4 h 56"/>
                  <a:gd name="T2" fmla="*/ 4 w 49"/>
                  <a:gd name="T3" fmla="*/ 21 h 56"/>
                  <a:gd name="T4" fmla="*/ 16 w 49"/>
                  <a:gd name="T5" fmla="*/ 52 h 56"/>
                  <a:gd name="T6" fmla="*/ 44 w 49"/>
                  <a:gd name="T7" fmla="*/ 35 h 56"/>
                  <a:gd name="T8" fmla="*/ 32 w 49"/>
                  <a:gd name="T9" fmla="*/ 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56">
                    <a:moveTo>
                      <a:pt x="32" y="4"/>
                    </a:moveTo>
                    <a:cubicBezTo>
                      <a:pt x="21" y="0"/>
                      <a:pt x="9" y="8"/>
                      <a:pt x="4" y="21"/>
                    </a:cubicBezTo>
                    <a:cubicBezTo>
                      <a:pt x="0" y="35"/>
                      <a:pt x="5" y="49"/>
                      <a:pt x="16" y="52"/>
                    </a:cubicBezTo>
                    <a:cubicBezTo>
                      <a:pt x="27" y="56"/>
                      <a:pt x="39" y="48"/>
                      <a:pt x="44" y="35"/>
                    </a:cubicBezTo>
                    <a:cubicBezTo>
                      <a:pt x="49" y="22"/>
                      <a:pt x="43" y="8"/>
                      <a:pt x="32" y="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5" name="Freeform 186">
                <a:extLst>
                  <a:ext uri="{FF2B5EF4-FFF2-40B4-BE49-F238E27FC236}">
                    <a16:creationId xmlns:a16="http://schemas.microsoft.com/office/drawing/2014/main" id="{34BB2C7B-D95B-42E9-A9BF-6D58FE25740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53605" y="3475972"/>
                <a:ext cx="143464" cy="166565"/>
              </a:xfrm>
              <a:custGeom>
                <a:avLst/>
                <a:gdLst>
                  <a:gd name="T0" fmla="*/ 25 w 37"/>
                  <a:gd name="T1" fmla="*/ 3 h 43"/>
                  <a:gd name="T2" fmla="*/ 3 w 37"/>
                  <a:gd name="T3" fmla="*/ 16 h 43"/>
                  <a:gd name="T4" fmla="*/ 12 w 37"/>
                  <a:gd name="T5" fmla="*/ 40 h 43"/>
                  <a:gd name="T6" fmla="*/ 33 w 37"/>
                  <a:gd name="T7" fmla="*/ 27 h 43"/>
                  <a:gd name="T8" fmla="*/ 25 w 37"/>
                  <a:gd name="T9" fmla="*/ 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43">
                    <a:moveTo>
                      <a:pt x="25" y="3"/>
                    </a:moveTo>
                    <a:cubicBezTo>
                      <a:pt x="16" y="0"/>
                      <a:pt x="7" y="6"/>
                      <a:pt x="3" y="16"/>
                    </a:cubicBezTo>
                    <a:cubicBezTo>
                      <a:pt x="0" y="27"/>
                      <a:pt x="4" y="37"/>
                      <a:pt x="12" y="40"/>
                    </a:cubicBezTo>
                    <a:cubicBezTo>
                      <a:pt x="20" y="43"/>
                      <a:pt x="30" y="37"/>
                      <a:pt x="33" y="27"/>
                    </a:cubicBezTo>
                    <a:cubicBezTo>
                      <a:pt x="37" y="17"/>
                      <a:pt x="33" y="6"/>
                      <a:pt x="25" y="3"/>
                    </a:cubicBezTo>
                    <a:close/>
                  </a:path>
                </a:pathLst>
              </a:custGeom>
              <a:solidFill>
                <a:srgbClr val="FFC4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" name="Freeform 187">
                <a:extLst>
                  <a:ext uri="{FF2B5EF4-FFF2-40B4-BE49-F238E27FC236}">
                    <a16:creationId xmlns:a16="http://schemas.microsoft.com/office/drawing/2014/main" id="{DCCE8BB7-3B47-4AB8-A7A1-390B9846E20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773362" y="3294818"/>
                <a:ext cx="161701" cy="173859"/>
              </a:xfrm>
              <a:custGeom>
                <a:avLst/>
                <a:gdLst>
                  <a:gd name="T0" fmla="*/ 28 w 42"/>
                  <a:gd name="T1" fmla="*/ 14 h 45"/>
                  <a:gd name="T2" fmla="*/ 15 w 42"/>
                  <a:gd name="T3" fmla="*/ 5 h 45"/>
                  <a:gd name="T4" fmla="*/ 0 w 42"/>
                  <a:gd name="T5" fmla="*/ 0 h 45"/>
                  <a:gd name="T6" fmla="*/ 13 w 42"/>
                  <a:gd name="T7" fmla="*/ 8 h 45"/>
                  <a:gd name="T8" fmla="*/ 22 w 42"/>
                  <a:gd name="T9" fmla="*/ 19 h 45"/>
                  <a:gd name="T10" fmla="*/ 26 w 42"/>
                  <a:gd name="T11" fmla="*/ 32 h 45"/>
                  <a:gd name="T12" fmla="*/ 27 w 42"/>
                  <a:gd name="T13" fmla="*/ 45 h 45"/>
                  <a:gd name="T14" fmla="*/ 42 w 42"/>
                  <a:gd name="T15" fmla="*/ 44 h 45"/>
                  <a:gd name="T16" fmla="*/ 37 w 42"/>
                  <a:gd name="T17" fmla="*/ 28 h 45"/>
                  <a:gd name="T18" fmla="*/ 28 w 42"/>
                  <a:gd name="T19" fmla="*/ 14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2" h="45">
                    <a:moveTo>
                      <a:pt x="28" y="14"/>
                    </a:moveTo>
                    <a:cubicBezTo>
                      <a:pt x="24" y="10"/>
                      <a:pt x="20" y="7"/>
                      <a:pt x="15" y="5"/>
                    </a:cubicBezTo>
                    <a:cubicBezTo>
                      <a:pt x="10" y="2"/>
                      <a:pt x="5" y="1"/>
                      <a:pt x="0" y="0"/>
                    </a:cubicBezTo>
                    <a:cubicBezTo>
                      <a:pt x="5" y="2"/>
                      <a:pt x="9" y="4"/>
                      <a:pt x="13" y="8"/>
                    </a:cubicBezTo>
                    <a:cubicBezTo>
                      <a:pt x="17" y="11"/>
                      <a:pt x="20" y="15"/>
                      <a:pt x="22" y="19"/>
                    </a:cubicBezTo>
                    <a:cubicBezTo>
                      <a:pt x="24" y="23"/>
                      <a:pt x="25" y="27"/>
                      <a:pt x="26" y="32"/>
                    </a:cubicBezTo>
                    <a:cubicBezTo>
                      <a:pt x="27" y="36"/>
                      <a:pt x="27" y="41"/>
                      <a:pt x="27" y="45"/>
                    </a:cubicBezTo>
                    <a:cubicBezTo>
                      <a:pt x="42" y="44"/>
                      <a:pt x="42" y="44"/>
                      <a:pt x="42" y="44"/>
                    </a:cubicBezTo>
                    <a:cubicBezTo>
                      <a:pt x="41" y="38"/>
                      <a:pt x="40" y="33"/>
                      <a:pt x="37" y="28"/>
                    </a:cubicBezTo>
                    <a:cubicBezTo>
                      <a:pt x="35" y="23"/>
                      <a:pt x="32" y="18"/>
                      <a:pt x="28" y="1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sp>
          <p:nvSpPr>
            <p:cNvPr id="38" name="Freeform 183">
              <a:extLst>
                <a:ext uri="{FF2B5EF4-FFF2-40B4-BE49-F238E27FC236}">
                  <a16:creationId xmlns:a16="http://schemas.microsoft.com/office/drawing/2014/main" id="{06E57A70-33FB-41A6-A466-C1CE792D82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96462" y="3754389"/>
              <a:ext cx="165349" cy="170211"/>
            </a:xfrm>
            <a:custGeom>
              <a:avLst/>
              <a:gdLst>
                <a:gd name="T0" fmla="*/ 0 w 43"/>
                <a:gd name="T1" fmla="*/ 24 h 44"/>
                <a:gd name="T2" fmla="*/ 24 w 43"/>
                <a:gd name="T3" fmla="*/ 44 h 44"/>
                <a:gd name="T4" fmla="*/ 43 w 43"/>
                <a:gd name="T5" fmla="*/ 5 h 44"/>
                <a:gd name="T6" fmla="*/ 27 w 43"/>
                <a:gd name="T7" fmla="*/ 0 h 44"/>
                <a:gd name="T8" fmla="*/ 0 w 43"/>
                <a:gd name="T9" fmla="*/ 2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44">
                  <a:moveTo>
                    <a:pt x="0" y="24"/>
                  </a:moveTo>
                  <a:cubicBezTo>
                    <a:pt x="9" y="33"/>
                    <a:pt x="24" y="44"/>
                    <a:pt x="24" y="44"/>
                  </a:cubicBezTo>
                  <a:cubicBezTo>
                    <a:pt x="24" y="44"/>
                    <a:pt x="40" y="19"/>
                    <a:pt x="43" y="5"/>
                  </a:cubicBezTo>
                  <a:cubicBezTo>
                    <a:pt x="38" y="1"/>
                    <a:pt x="33" y="2"/>
                    <a:pt x="27" y="0"/>
                  </a:cubicBezTo>
                  <a:cubicBezTo>
                    <a:pt x="25" y="13"/>
                    <a:pt x="11" y="21"/>
                    <a:pt x="0" y="24"/>
                  </a:cubicBezTo>
                  <a:close/>
                </a:path>
              </a:pathLst>
            </a:custGeom>
            <a:solidFill>
              <a:srgbClr val="D1DB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9" name="Freeform 184">
              <a:extLst>
                <a:ext uri="{FF2B5EF4-FFF2-40B4-BE49-F238E27FC236}">
                  <a16:creationId xmlns:a16="http://schemas.microsoft.com/office/drawing/2014/main" id="{6E0DC50F-C2E6-4872-96BA-C121F1DB35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18650" y="3782353"/>
              <a:ext cx="77811" cy="119148"/>
            </a:xfrm>
            <a:custGeom>
              <a:avLst/>
              <a:gdLst>
                <a:gd name="T0" fmla="*/ 7 w 20"/>
                <a:gd name="T1" fmla="*/ 0 h 31"/>
                <a:gd name="T2" fmla="*/ 1 w 20"/>
                <a:gd name="T3" fmla="*/ 7 h 31"/>
                <a:gd name="T4" fmla="*/ 1 w 20"/>
                <a:gd name="T5" fmla="*/ 31 h 31"/>
                <a:gd name="T6" fmla="*/ 20 w 20"/>
                <a:gd name="T7" fmla="*/ 17 h 31"/>
                <a:gd name="T8" fmla="*/ 7 w 20"/>
                <a:gd name="T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1">
                  <a:moveTo>
                    <a:pt x="7" y="0"/>
                  </a:moveTo>
                  <a:cubicBezTo>
                    <a:pt x="4" y="2"/>
                    <a:pt x="3" y="2"/>
                    <a:pt x="1" y="7"/>
                  </a:cubicBezTo>
                  <a:cubicBezTo>
                    <a:pt x="0" y="13"/>
                    <a:pt x="1" y="24"/>
                    <a:pt x="1" y="31"/>
                  </a:cubicBezTo>
                  <a:cubicBezTo>
                    <a:pt x="6" y="24"/>
                    <a:pt x="11" y="18"/>
                    <a:pt x="20" y="17"/>
                  </a:cubicBezTo>
                  <a:cubicBezTo>
                    <a:pt x="14" y="12"/>
                    <a:pt x="9" y="7"/>
                    <a:pt x="7" y="0"/>
                  </a:cubicBezTo>
                  <a:close/>
                </a:path>
              </a:pathLst>
            </a:custGeom>
            <a:solidFill>
              <a:srgbClr val="D1DB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365488" y="1171738"/>
            <a:ext cx="7168252" cy="2610344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365488" y="4612812"/>
            <a:ext cx="7168252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365489" y="4316541"/>
            <a:ext cx="7168252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6977565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图形 7">
            <a:extLst>
              <a:ext uri="{FF2B5EF4-FFF2-40B4-BE49-F238E27FC236}">
                <a16:creationId xmlns:a16="http://schemas.microsoft.com/office/drawing/2014/main" id="{BAE0C043-28D1-4A66-A782-8B3BA016B9C0}"/>
              </a:ext>
            </a:extLst>
          </p:cNvPr>
          <p:cNvGrpSpPr/>
          <p:nvPr userDrawn="1"/>
        </p:nvGrpSpPr>
        <p:grpSpPr>
          <a:xfrm>
            <a:off x="-14514" y="-31228"/>
            <a:ext cx="12206514" cy="6908212"/>
            <a:chOff x="3707607" y="1040606"/>
            <a:chExt cx="4772026" cy="4772026"/>
          </a:xfrm>
        </p:grpSpPr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6B227A15-FAC2-4202-9FD6-56D13D94C904}"/>
                </a:ext>
              </a:extLst>
            </p:cNvPr>
            <p:cNvSpPr/>
            <p:nvPr/>
          </p:nvSpPr>
          <p:spPr>
            <a:xfrm>
              <a:off x="3707607" y="1040606"/>
              <a:ext cx="4772026" cy="4772026"/>
            </a:xfrm>
            <a:custGeom>
              <a:avLst/>
              <a:gdLst>
                <a:gd name="connsiteX0" fmla="*/ 7144 w 4772025"/>
                <a:gd name="connsiteY0" fmla="*/ 7144 h 4772025"/>
                <a:gd name="connsiteX1" fmla="*/ 4769644 w 4772025"/>
                <a:gd name="connsiteY1" fmla="*/ 7144 h 4772025"/>
                <a:gd name="connsiteX2" fmla="*/ 4769644 w 4772025"/>
                <a:gd name="connsiteY2" fmla="*/ 4769644 h 4772025"/>
                <a:gd name="connsiteX3" fmla="*/ 7144 w 4772025"/>
                <a:gd name="connsiteY3" fmla="*/ 4769644 h 4772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72025" h="4772025">
                  <a:moveTo>
                    <a:pt x="7144" y="7144"/>
                  </a:moveTo>
                  <a:lnTo>
                    <a:pt x="4769644" y="7144"/>
                  </a:lnTo>
                  <a:lnTo>
                    <a:pt x="4769644" y="4769644"/>
                  </a:lnTo>
                  <a:lnTo>
                    <a:pt x="7144" y="4769644"/>
                  </a:lnTo>
                  <a:close/>
                </a:path>
              </a:pathLst>
            </a:custGeom>
            <a:solidFill>
              <a:srgbClr val="3E03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056EF7E4-D89E-44D9-8042-916AFFA5B71E}"/>
                </a:ext>
              </a:extLst>
            </p:cNvPr>
            <p:cNvSpPr/>
            <p:nvPr/>
          </p:nvSpPr>
          <p:spPr>
            <a:xfrm>
              <a:off x="3707607" y="1040606"/>
              <a:ext cx="4562476" cy="4772026"/>
            </a:xfrm>
            <a:custGeom>
              <a:avLst/>
              <a:gdLst>
                <a:gd name="connsiteX0" fmla="*/ 7144 w 4562475"/>
                <a:gd name="connsiteY0" fmla="*/ 4769644 h 4772025"/>
                <a:gd name="connsiteX1" fmla="*/ 7144 w 4562475"/>
                <a:gd name="connsiteY1" fmla="*/ 7144 h 4772025"/>
                <a:gd name="connsiteX2" fmla="*/ 4558189 w 4562475"/>
                <a:gd name="connsiteY2" fmla="*/ 7144 h 4772025"/>
                <a:gd name="connsiteX3" fmla="*/ 4442937 w 4562475"/>
                <a:gd name="connsiteY3" fmla="*/ 383381 h 4772025"/>
                <a:gd name="connsiteX4" fmla="*/ 3372326 w 4562475"/>
                <a:gd name="connsiteY4" fmla="*/ 1448276 h 4772025"/>
                <a:gd name="connsiteX5" fmla="*/ 2239804 w 4562475"/>
                <a:gd name="connsiteY5" fmla="*/ 2457926 h 4772025"/>
                <a:gd name="connsiteX6" fmla="*/ 2011204 w 4562475"/>
                <a:gd name="connsiteY6" fmla="*/ 3777139 h 4772025"/>
                <a:gd name="connsiteX7" fmla="*/ 2411254 w 4562475"/>
                <a:gd name="connsiteY7" fmla="*/ 4729639 h 4772025"/>
                <a:gd name="connsiteX8" fmla="*/ 2447449 w 4562475"/>
                <a:gd name="connsiteY8" fmla="*/ 4769644 h 4772025"/>
                <a:gd name="connsiteX9" fmla="*/ 7144 w 4562475"/>
                <a:gd name="connsiteY9" fmla="*/ 4769644 h 4772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562475" h="4772025">
                  <a:moveTo>
                    <a:pt x="7144" y="4769644"/>
                  </a:moveTo>
                  <a:lnTo>
                    <a:pt x="7144" y="7144"/>
                  </a:lnTo>
                  <a:lnTo>
                    <a:pt x="4558189" y="7144"/>
                  </a:lnTo>
                  <a:cubicBezTo>
                    <a:pt x="4535329" y="136684"/>
                    <a:pt x="4498181" y="263366"/>
                    <a:pt x="4442937" y="383381"/>
                  </a:cubicBezTo>
                  <a:cubicBezTo>
                    <a:pt x="4231481" y="847249"/>
                    <a:pt x="3796189" y="1164431"/>
                    <a:pt x="3372326" y="1448276"/>
                  </a:cubicBezTo>
                  <a:cubicBezTo>
                    <a:pt x="2948464" y="1732121"/>
                    <a:pt x="2500789" y="2019776"/>
                    <a:pt x="2239804" y="2457926"/>
                  </a:cubicBezTo>
                  <a:cubicBezTo>
                    <a:pt x="2006441" y="2848451"/>
                    <a:pt x="1947386" y="3326606"/>
                    <a:pt x="2011204" y="3777139"/>
                  </a:cubicBezTo>
                  <a:cubicBezTo>
                    <a:pt x="2059781" y="4122896"/>
                    <a:pt x="2182654" y="4465797"/>
                    <a:pt x="2411254" y="4729639"/>
                  </a:cubicBezTo>
                  <a:cubicBezTo>
                    <a:pt x="2422684" y="4742974"/>
                    <a:pt x="2435066" y="4756309"/>
                    <a:pt x="2447449" y="4769644"/>
                  </a:cubicBezTo>
                  <a:lnTo>
                    <a:pt x="7144" y="4769644"/>
                  </a:lnTo>
                  <a:close/>
                </a:path>
              </a:pathLst>
            </a:custGeom>
            <a:solidFill>
              <a:srgbClr val="5202B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39653CB4-5548-4FC2-9062-D8F60740E7AC}"/>
                </a:ext>
              </a:extLst>
            </p:cNvPr>
            <p:cNvSpPr/>
            <p:nvPr/>
          </p:nvSpPr>
          <p:spPr>
            <a:xfrm>
              <a:off x="3707607" y="1040606"/>
              <a:ext cx="2409825" cy="1133476"/>
            </a:xfrm>
            <a:custGeom>
              <a:avLst/>
              <a:gdLst>
                <a:gd name="connsiteX0" fmla="*/ 7144 w 2409825"/>
                <a:gd name="connsiteY0" fmla="*/ 1127284 h 1133475"/>
                <a:gd name="connsiteX1" fmla="*/ 7144 w 2409825"/>
                <a:gd name="connsiteY1" fmla="*/ 7144 h 1133475"/>
                <a:gd name="connsiteX2" fmla="*/ 2410301 w 2409825"/>
                <a:gd name="connsiteY2" fmla="*/ 7144 h 1133475"/>
                <a:gd name="connsiteX3" fmla="*/ 1560671 w 2409825"/>
                <a:gd name="connsiteY3" fmla="*/ 809149 h 1133475"/>
                <a:gd name="connsiteX4" fmla="*/ 74771 w 2409825"/>
                <a:gd name="connsiteY4" fmla="*/ 1126331 h 1133475"/>
                <a:gd name="connsiteX5" fmla="*/ 7144 w 2409825"/>
                <a:gd name="connsiteY5" fmla="*/ 1127284 h 1133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09825" h="1133475">
                  <a:moveTo>
                    <a:pt x="7144" y="1127284"/>
                  </a:moveTo>
                  <a:lnTo>
                    <a:pt x="7144" y="7144"/>
                  </a:lnTo>
                  <a:lnTo>
                    <a:pt x="2410301" y="7144"/>
                  </a:lnTo>
                  <a:cubicBezTo>
                    <a:pt x="2225516" y="352901"/>
                    <a:pt x="1913096" y="631031"/>
                    <a:pt x="1560671" y="809149"/>
                  </a:cubicBezTo>
                  <a:cubicBezTo>
                    <a:pt x="1104424" y="1039654"/>
                    <a:pt x="585311" y="1116806"/>
                    <a:pt x="74771" y="1126331"/>
                  </a:cubicBezTo>
                  <a:cubicBezTo>
                    <a:pt x="51911" y="1127284"/>
                    <a:pt x="30004" y="1127284"/>
                    <a:pt x="7144" y="1127284"/>
                  </a:cubicBezTo>
                  <a:close/>
                </a:path>
              </a:pathLst>
            </a:custGeom>
            <a:solidFill>
              <a:srgbClr val="3E03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80DB52ED-FC51-42FC-A13E-CB3968DF993C}"/>
                </a:ext>
              </a:extLst>
            </p:cNvPr>
            <p:cNvSpPr/>
            <p:nvPr/>
          </p:nvSpPr>
          <p:spPr>
            <a:xfrm>
              <a:off x="4041999" y="3991553"/>
              <a:ext cx="703694" cy="1243397"/>
            </a:xfrm>
            <a:custGeom>
              <a:avLst/>
              <a:gdLst>
                <a:gd name="connsiteX0" fmla="*/ 7144 w 1095375"/>
                <a:gd name="connsiteY0" fmla="*/ 550069 h 1095375"/>
                <a:gd name="connsiteX1" fmla="*/ 550069 w 1095375"/>
                <a:gd name="connsiteY1" fmla="*/ 7144 h 1095375"/>
                <a:gd name="connsiteX2" fmla="*/ 1092994 w 1095375"/>
                <a:gd name="connsiteY2" fmla="*/ 550069 h 1095375"/>
                <a:gd name="connsiteX3" fmla="*/ 550069 w 1095375"/>
                <a:gd name="connsiteY3" fmla="*/ 1092994 h 1095375"/>
                <a:gd name="connsiteX4" fmla="*/ 7144 w 1095375"/>
                <a:gd name="connsiteY4" fmla="*/ 550069 h 1095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5375" h="1095375">
                  <a:moveTo>
                    <a:pt x="7144" y="550069"/>
                  </a:moveTo>
                  <a:cubicBezTo>
                    <a:pt x="7144" y="250031"/>
                    <a:pt x="250031" y="7144"/>
                    <a:pt x="550069" y="7144"/>
                  </a:cubicBezTo>
                  <a:cubicBezTo>
                    <a:pt x="850106" y="7144"/>
                    <a:pt x="1092994" y="250031"/>
                    <a:pt x="1092994" y="550069"/>
                  </a:cubicBezTo>
                  <a:cubicBezTo>
                    <a:pt x="1092994" y="850106"/>
                    <a:pt x="850106" y="1092994"/>
                    <a:pt x="550069" y="1092994"/>
                  </a:cubicBezTo>
                  <a:cubicBezTo>
                    <a:pt x="250984" y="1092994"/>
                    <a:pt x="7144" y="850106"/>
                    <a:pt x="7144" y="550069"/>
                  </a:cubicBezTo>
                  <a:close/>
                </a:path>
              </a:pathLst>
            </a:custGeom>
            <a:solidFill>
              <a:srgbClr val="3E03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39B0F77B-75F0-4C7B-821A-1D3530785293}"/>
                </a:ext>
              </a:extLst>
            </p:cNvPr>
            <p:cNvSpPr/>
            <p:nvPr/>
          </p:nvSpPr>
          <p:spPr>
            <a:xfrm>
              <a:off x="7959318" y="4897916"/>
              <a:ext cx="492993" cy="871097"/>
            </a:xfrm>
            <a:custGeom>
              <a:avLst/>
              <a:gdLst>
                <a:gd name="connsiteX0" fmla="*/ 788194 w 790575"/>
                <a:gd name="connsiteY0" fmla="*/ 397669 h 790575"/>
                <a:gd name="connsiteX1" fmla="*/ 397669 w 790575"/>
                <a:gd name="connsiteY1" fmla="*/ 788194 h 790575"/>
                <a:gd name="connsiteX2" fmla="*/ 7144 w 790575"/>
                <a:gd name="connsiteY2" fmla="*/ 397669 h 790575"/>
                <a:gd name="connsiteX3" fmla="*/ 397669 w 790575"/>
                <a:gd name="connsiteY3" fmla="*/ 7144 h 790575"/>
                <a:gd name="connsiteX4" fmla="*/ 788194 w 790575"/>
                <a:gd name="connsiteY4" fmla="*/ 397669 h 790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0575" h="790575">
                  <a:moveTo>
                    <a:pt x="788194" y="397669"/>
                  </a:moveTo>
                  <a:cubicBezTo>
                    <a:pt x="788194" y="613350"/>
                    <a:pt x="613350" y="788194"/>
                    <a:pt x="397669" y="788194"/>
                  </a:cubicBezTo>
                  <a:cubicBezTo>
                    <a:pt x="181988" y="788194"/>
                    <a:pt x="7144" y="613350"/>
                    <a:pt x="7144" y="397669"/>
                  </a:cubicBezTo>
                  <a:cubicBezTo>
                    <a:pt x="7144" y="181988"/>
                    <a:pt x="181988" y="7144"/>
                    <a:pt x="397669" y="7144"/>
                  </a:cubicBezTo>
                  <a:cubicBezTo>
                    <a:pt x="613350" y="7144"/>
                    <a:pt x="788194" y="181988"/>
                    <a:pt x="788194" y="397669"/>
                  </a:cubicBezTo>
                  <a:close/>
                </a:path>
              </a:pathLst>
            </a:custGeom>
            <a:solidFill>
              <a:srgbClr val="5202B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24" name="矩形: 圆角 23">
            <a:extLst>
              <a:ext uri="{FF2B5EF4-FFF2-40B4-BE49-F238E27FC236}">
                <a16:creationId xmlns:a16="http://schemas.microsoft.com/office/drawing/2014/main" id="{D21669A3-3712-445A-B5D4-25A07CB36AEF}"/>
              </a:ext>
            </a:extLst>
          </p:cNvPr>
          <p:cNvSpPr/>
          <p:nvPr userDrawn="1"/>
        </p:nvSpPr>
        <p:spPr>
          <a:xfrm>
            <a:off x="453105" y="486175"/>
            <a:ext cx="11285791" cy="5885651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25" name="图形 7">
            <a:extLst>
              <a:ext uri="{FF2B5EF4-FFF2-40B4-BE49-F238E27FC236}">
                <a16:creationId xmlns:a16="http://schemas.microsoft.com/office/drawing/2014/main" id="{7E761C32-5746-4204-83E8-80A86624F3B9}"/>
              </a:ext>
            </a:extLst>
          </p:cNvPr>
          <p:cNvGrpSpPr/>
          <p:nvPr userDrawn="1"/>
        </p:nvGrpSpPr>
        <p:grpSpPr>
          <a:xfrm>
            <a:off x="8581865" y="3976914"/>
            <a:ext cx="2681823" cy="2206404"/>
            <a:chOff x="5492591" y="2486501"/>
            <a:chExt cx="2229803" cy="1834515"/>
          </a:xfrm>
        </p:grpSpPr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7ED87FD9-AA31-4C7D-B809-94B1AA7971C6}"/>
                </a:ext>
              </a:extLst>
            </p:cNvPr>
            <p:cNvSpPr/>
            <p:nvPr/>
          </p:nvSpPr>
          <p:spPr>
            <a:xfrm>
              <a:off x="5492591" y="4048601"/>
              <a:ext cx="1343025" cy="47625"/>
            </a:xfrm>
            <a:custGeom>
              <a:avLst/>
              <a:gdLst>
                <a:gd name="connsiteX0" fmla="*/ 1340644 w 1343025"/>
                <a:gd name="connsiteY0" fmla="*/ 28099 h 47625"/>
                <a:gd name="connsiteX1" fmla="*/ 673894 w 1343025"/>
                <a:gd name="connsiteY1" fmla="*/ 49054 h 47625"/>
                <a:gd name="connsiteX2" fmla="*/ 7144 w 1343025"/>
                <a:gd name="connsiteY2" fmla="*/ 28099 h 47625"/>
                <a:gd name="connsiteX3" fmla="*/ 673894 w 1343025"/>
                <a:gd name="connsiteY3" fmla="*/ 7144 h 47625"/>
                <a:gd name="connsiteX4" fmla="*/ 1340644 w 1343025"/>
                <a:gd name="connsiteY4" fmla="*/ 28099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43025" h="47625">
                  <a:moveTo>
                    <a:pt x="1340644" y="28099"/>
                  </a:moveTo>
                  <a:cubicBezTo>
                    <a:pt x="1340644" y="28099"/>
                    <a:pt x="1042511" y="49054"/>
                    <a:pt x="673894" y="49054"/>
                  </a:cubicBezTo>
                  <a:cubicBezTo>
                    <a:pt x="305276" y="49054"/>
                    <a:pt x="7144" y="28099"/>
                    <a:pt x="7144" y="28099"/>
                  </a:cubicBezTo>
                  <a:cubicBezTo>
                    <a:pt x="7144" y="28099"/>
                    <a:pt x="305276" y="7144"/>
                    <a:pt x="673894" y="7144"/>
                  </a:cubicBezTo>
                  <a:cubicBezTo>
                    <a:pt x="1042511" y="7144"/>
                    <a:pt x="1340644" y="28099"/>
                    <a:pt x="1340644" y="28099"/>
                  </a:cubicBezTo>
                  <a:close/>
                </a:path>
              </a:pathLst>
            </a:custGeom>
            <a:solidFill>
              <a:srgbClr val="F065A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A3A7F847-EB0D-4C2E-BDFD-928C2DA9F9CB}"/>
                </a:ext>
              </a:extLst>
            </p:cNvPr>
            <p:cNvSpPr/>
            <p:nvPr/>
          </p:nvSpPr>
          <p:spPr>
            <a:xfrm>
              <a:off x="6487001" y="2746533"/>
              <a:ext cx="885825" cy="552450"/>
            </a:xfrm>
            <a:custGeom>
              <a:avLst/>
              <a:gdLst>
                <a:gd name="connsiteX0" fmla="*/ 7144 w 885825"/>
                <a:gd name="connsiteY0" fmla="*/ 7144 h 552450"/>
                <a:gd name="connsiteX1" fmla="*/ 881539 w 885825"/>
                <a:gd name="connsiteY1" fmla="*/ 7144 h 552450"/>
                <a:gd name="connsiteX2" fmla="*/ 881539 w 885825"/>
                <a:gd name="connsiteY2" fmla="*/ 547211 h 552450"/>
                <a:gd name="connsiteX3" fmla="*/ 7144 w 885825"/>
                <a:gd name="connsiteY3" fmla="*/ 547211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5825" h="552450">
                  <a:moveTo>
                    <a:pt x="7144" y="7144"/>
                  </a:moveTo>
                  <a:lnTo>
                    <a:pt x="881539" y="7144"/>
                  </a:lnTo>
                  <a:lnTo>
                    <a:pt x="881539" y="547211"/>
                  </a:lnTo>
                  <a:lnTo>
                    <a:pt x="7144" y="547211"/>
                  </a:lnTo>
                  <a:close/>
                </a:path>
              </a:pathLst>
            </a:custGeom>
            <a:solidFill>
              <a:srgbClr val="00BEB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1276A752-7C45-4F37-B227-53F63473B463}"/>
                </a:ext>
              </a:extLst>
            </p:cNvPr>
            <p:cNvSpPr/>
            <p:nvPr/>
          </p:nvSpPr>
          <p:spPr>
            <a:xfrm>
              <a:off x="6523196" y="2779871"/>
              <a:ext cx="809625" cy="485775"/>
            </a:xfrm>
            <a:custGeom>
              <a:avLst/>
              <a:gdLst>
                <a:gd name="connsiteX0" fmla="*/ 7144 w 809625"/>
                <a:gd name="connsiteY0" fmla="*/ 7144 h 485775"/>
                <a:gd name="connsiteX1" fmla="*/ 808196 w 809625"/>
                <a:gd name="connsiteY1" fmla="*/ 7144 h 485775"/>
                <a:gd name="connsiteX2" fmla="*/ 808196 w 809625"/>
                <a:gd name="connsiteY2" fmla="*/ 481489 h 485775"/>
                <a:gd name="connsiteX3" fmla="*/ 7144 w 809625"/>
                <a:gd name="connsiteY3" fmla="*/ 481489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9625" h="485775">
                  <a:moveTo>
                    <a:pt x="7144" y="7144"/>
                  </a:moveTo>
                  <a:lnTo>
                    <a:pt x="808196" y="7144"/>
                  </a:lnTo>
                  <a:lnTo>
                    <a:pt x="808196" y="481489"/>
                  </a:lnTo>
                  <a:lnTo>
                    <a:pt x="7144" y="481489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F0698705-51AC-4FCF-AC48-55A213DB4765}"/>
                </a:ext>
              </a:extLst>
            </p:cNvPr>
            <p:cNvSpPr/>
            <p:nvPr/>
          </p:nvSpPr>
          <p:spPr>
            <a:xfrm>
              <a:off x="6880384" y="2884646"/>
              <a:ext cx="419100" cy="323850"/>
            </a:xfrm>
            <a:custGeom>
              <a:avLst/>
              <a:gdLst>
                <a:gd name="connsiteX0" fmla="*/ 385286 w 419100"/>
                <a:gd name="connsiteY0" fmla="*/ 312896 h 323850"/>
                <a:gd name="connsiteX1" fmla="*/ 385286 w 419100"/>
                <a:gd name="connsiteY1" fmla="*/ 89059 h 323850"/>
                <a:gd name="connsiteX2" fmla="*/ 340519 w 419100"/>
                <a:gd name="connsiteY2" fmla="*/ 89059 h 323850"/>
                <a:gd name="connsiteX3" fmla="*/ 340519 w 419100"/>
                <a:gd name="connsiteY3" fmla="*/ 312896 h 323850"/>
                <a:gd name="connsiteX4" fmla="*/ 312896 w 419100"/>
                <a:gd name="connsiteY4" fmla="*/ 312896 h 323850"/>
                <a:gd name="connsiteX5" fmla="*/ 312896 w 419100"/>
                <a:gd name="connsiteY5" fmla="*/ 150019 h 323850"/>
                <a:gd name="connsiteX6" fmla="*/ 268129 w 419100"/>
                <a:gd name="connsiteY6" fmla="*/ 150019 h 323850"/>
                <a:gd name="connsiteX7" fmla="*/ 268129 w 419100"/>
                <a:gd name="connsiteY7" fmla="*/ 312896 h 323850"/>
                <a:gd name="connsiteX8" fmla="*/ 239554 w 419100"/>
                <a:gd name="connsiteY8" fmla="*/ 312896 h 323850"/>
                <a:gd name="connsiteX9" fmla="*/ 239554 w 419100"/>
                <a:gd name="connsiteY9" fmla="*/ 76676 h 323850"/>
                <a:gd name="connsiteX10" fmla="*/ 195739 w 419100"/>
                <a:gd name="connsiteY10" fmla="*/ 76676 h 323850"/>
                <a:gd name="connsiteX11" fmla="*/ 195739 w 419100"/>
                <a:gd name="connsiteY11" fmla="*/ 312896 h 323850"/>
                <a:gd name="connsiteX12" fmla="*/ 167164 w 419100"/>
                <a:gd name="connsiteY12" fmla="*/ 312896 h 323850"/>
                <a:gd name="connsiteX13" fmla="*/ 167164 w 419100"/>
                <a:gd name="connsiteY13" fmla="*/ 41434 h 323850"/>
                <a:gd name="connsiteX14" fmla="*/ 123349 w 419100"/>
                <a:gd name="connsiteY14" fmla="*/ 41434 h 323850"/>
                <a:gd name="connsiteX15" fmla="*/ 123349 w 419100"/>
                <a:gd name="connsiteY15" fmla="*/ 312896 h 323850"/>
                <a:gd name="connsiteX16" fmla="*/ 94774 w 419100"/>
                <a:gd name="connsiteY16" fmla="*/ 312896 h 323850"/>
                <a:gd name="connsiteX17" fmla="*/ 94774 w 419100"/>
                <a:gd name="connsiteY17" fmla="*/ 150019 h 323850"/>
                <a:gd name="connsiteX18" fmla="*/ 50959 w 419100"/>
                <a:gd name="connsiteY18" fmla="*/ 150019 h 323850"/>
                <a:gd name="connsiteX19" fmla="*/ 50959 w 419100"/>
                <a:gd name="connsiteY19" fmla="*/ 312896 h 323850"/>
                <a:gd name="connsiteX20" fmla="*/ 16669 w 419100"/>
                <a:gd name="connsiteY20" fmla="*/ 312896 h 323850"/>
                <a:gd name="connsiteX21" fmla="*/ 16669 w 419100"/>
                <a:gd name="connsiteY21" fmla="*/ 7144 h 323850"/>
                <a:gd name="connsiteX22" fmla="*/ 7144 w 419100"/>
                <a:gd name="connsiteY22" fmla="*/ 7144 h 323850"/>
                <a:gd name="connsiteX23" fmla="*/ 7144 w 419100"/>
                <a:gd name="connsiteY23" fmla="*/ 322421 h 323850"/>
                <a:gd name="connsiteX24" fmla="*/ 417671 w 419100"/>
                <a:gd name="connsiteY24" fmla="*/ 322421 h 323850"/>
                <a:gd name="connsiteX25" fmla="*/ 417671 w 419100"/>
                <a:gd name="connsiteY25" fmla="*/ 312896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19100" h="323850">
                  <a:moveTo>
                    <a:pt x="385286" y="312896"/>
                  </a:moveTo>
                  <a:lnTo>
                    <a:pt x="385286" y="89059"/>
                  </a:lnTo>
                  <a:lnTo>
                    <a:pt x="340519" y="89059"/>
                  </a:lnTo>
                  <a:lnTo>
                    <a:pt x="340519" y="312896"/>
                  </a:lnTo>
                  <a:lnTo>
                    <a:pt x="312896" y="312896"/>
                  </a:lnTo>
                  <a:lnTo>
                    <a:pt x="312896" y="150019"/>
                  </a:lnTo>
                  <a:lnTo>
                    <a:pt x="268129" y="150019"/>
                  </a:lnTo>
                  <a:lnTo>
                    <a:pt x="268129" y="312896"/>
                  </a:lnTo>
                  <a:lnTo>
                    <a:pt x="239554" y="312896"/>
                  </a:lnTo>
                  <a:lnTo>
                    <a:pt x="239554" y="76676"/>
                  </a:lnTo>
                  <a:lnTo>
                    <a:pt x="195739" y="76676"/>
                  </a:lnTo>
                  <a:lnTo>
                    <a:pt x="195739" y="312896"/>
                  </a:lnTo>
                  <a:lnTo>
                    <a:pt x="167164" y="312896"/>
                  </a:lnTo>
                  <a:lnTo>
                    <a:pt x="167164" y="41434"/>
                  </a:lnTo>
                  <a:lnTo>
                    <a:pt x="123349" y="41434"/>
                  </a:lnTo>
                  <a:lnTo>
                    <a:pt x="123349" y="312896"/>
                  </a:lnTo>
                  <a:lnTo>
                    <a:pt x="94774" y="312896"/>
                  </a:lnTo>
                  <a:lnTo>
                    <a:pt x="94774" y="150019"/>
                  </a:lnTo>
                  <a:lnTo>
                    <a:pt x="50959" y="150019"/>
                  </a:lnTo>
                  <a:lnTo>
                    <a:pt x="50959" y="312896"/>
                  </a:lnTo>
                  <a:lnTo>
                    <a:pt x="16669" y="312896"/>
                  </a:lnTo>
                  <a:lnTo>
                    <a:pt x="16669" y="7144"/>
                  </a:lnTo>
                  <a:lnTo>
                    <a:pt x="7144" y="7144"/>
                  </a:lnTo>
                  <a:lnTo>
                    <a:pt x="7144" y="322421"/>
                  </a:lnTo>
                  <a:lnTo>
                    <a:pt x="417671" y="322421"/>
                  </a:lnTo>
                  <a:lnTo>
                    <a:pt x="417671" y="312896"/>
                  </a:ln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8C9794A0-AA93-42AE-A1EE-66C936F6EA0B}"/>
                </a:ext>
              </a:extLst>
            </p:cNvPr>
            <p:cNvSpPr/>
            <p:nvPr/>
          </p:nvSpPr>
          <p:spPr>
            <a:xfrm>
              <a:off x="6567964" y="2855118"/>
              <a:ext cx="257175" cy="28575"/>
            </a:xfrm>
            <a:custGeom>
              <a:avLst/>
              <a:gdLst>
                <a:gd name="connsiteX0" fmla="*/ 7144 w 257175"/>
                <a:gd name="connsiteY0" fmla="*/ 7144 h 28575"/>
                <a:gd name="connsiteX1" fmla="*/ 256699 w 257175"/>
                <a:gd name="connsiteY1" fmla="*/ 7144 h 28575"/>
                <a:gd name="connsiteX2" fmla="*/ 256699 w 257175"/>
                <a:gd name="connsiteY2" fmla="*/ 22384 h 28575"/>
                <a:gd name="connsiteX3" fmla="*/ 7144 w 257175"/>
                <a:gd name="connsiteY3" fmla="*/ 2238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175" h="28575">
                  <a:moveTo>
                    <a:pt x="7144" y="7144"/>
                  </a:moveTo>
                  <a:lnTo>
                    <a:pt x="256699" y="7144"/>
                  </a:lnTo>
                  <a:lnTo>
                    <a:pt x="256699" y="22384"/>
                  </a:lnTo>
                  <a:lnTo>
                    <a:pt x="7144" y="22384"/>
                  </a:lnTo>
                  <a:close/>
                </a:path>
              </a:pathLst>
            </a:custGeom>
            <a:solidFill>
              <a:srgbClr val="00BEB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E85FF4D0-5FE8-4762-B6E9-AF6BF5DD257A}"/>
                </a:ext>
              </a:extLst>
            </p:cNvPr>
            <p:cNvSpPr/>
            <p:nvPr/>
          </p:nvSpPr>
          <p:spPr>
            <a:xfrm>
              <a:off x="6567964" y="2897981"/>
              <a:ext cx="257175" cy="28575"/>
            </a:xfrm>
            <a:custGeom>
              <a:avLst/>
              <a:gdLst>
                <a:gd name="connsiteX0" fmla="*/ 7144 w 257175"/>
                <a:gd name="connsiteY0" fmla="*/ 7144 h 28575"/>
                <a:gd name="connsiteX1" fmla="*/ 256699 w 257175"/>
                <a:gd name="connsiteY1" fmla="*/ 7144 h 28575"/>
                <a:gd name="connsiteX2" fmla="*/ 256699 w 257175"/>
                <a:gd name="connsiteY2" fmla="*/ 22384 h 28575"/>
                <a:gd name="connsiteX3" fmla="*/ 7144 w 257175"/>
                <a:gd name="connsiteY3" fmla="*/ 2238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175" h="28575">
                  <a:moveTo>
                    <a:pt x="7144" y="7144"/>
                  </a:moveTo>
                  <a:lnTo>
                    <a:pt x="256699" y="7144"/>
                  </a:lnTo>
                  <a:lnTo>
                    <a:pt x="256699" y="22384"/>
                  </a:lnTo>
                  <a:lnTo>
                    <a:pt x="7144" y="22384"/>
                  </a:lnTo>
                  <a:close/>
                </a:path>
              </a:pathLst>
            </a:custGeom>
            <a:solidFill>
              <a:srgbClr val="00BEB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54E2CE2B-B9E9-466B-917D-2FA78E8275FA}"/>
                </a:ext>
              </a:extLst>
            </p:cNvPr>
            <p:cNvSpPr/>
            <p:nvPr/>
          </p:nvSpPr>
          <p:spPr>
            <a:xfrm>
              <a:off x="6567964" y="2940843"/>
              <a:ext cx="133350" cy="28575"/>
            </a:xfrm>
            <a:custGeom>
              <a:avLst/>
              <a:gdLst>
                <a:gd name="connsiteX0" fmla="*/ 7144 w 133350"/>
                <a:gd name="connsiteY0" fmla="*/ 7144 h 28575"/>
                <a:gd name="connsiteX1" fmla="*/ 130016 w 133350"/>
                <a:gd name="connsiteY1" fmla="*/ 7144 h 28575"/>
                <a:gd name="connsiteX2" fmla="*/ 130016 w 133350"/>
                <a:gd name="connsiteY2" fmla="*/ 22384 h 28575"/>
                <a:gd name="connsiteX3" fmla="*/ 7144 w 133350"/>
                <a:gd name="connsiteY3" fmla="*/ 2238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350" h="28575">
                  <a:moveTo>
                    <a:pt x="7144" y="7144"/>
                  </a:moveTo>
                  <a:lnTo>
                    <a:pt x="130016" y="7144"/>
                  </a:lnTo>
                  <a:lnTo>
                    <a:pt x="130016" y="22384"/>
                  </a:lnTo>
                  <a:lnTo>
                    <a:pt x="7144" y="22384"/>
                  </a:lnTo>
                  <a:close/>
                </a:path>
              </a:pathLst>
            </a:custGeom>
            <a:solidFill>
              <a:srgbClr val="00BEB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4FD7297D-ACBF-4767-BEF7-17CF28DF2071}"/>
                </a:ext>
              </a:extLst>
            </p:cNvPr>
            <p:cNvSpPr/>
            <p:nvPr/>
          </p:nvSpPr>
          <p:spPr>
            <a:xfrm>
              <a:off x="6663214" y="3129438"/>
              <a:ext cx="76200" cy="76200"/>
            </a:xfrm>
            <a:custGeom>
              <a:avLst/>
              <a:gdLst>
                <a:gd name="connsiteX0" fmla="*/ 72866 w 76200"/>
                <a:gd name="connsiteY0" fmla="*/ 7144 h 76200"/>
                <a:gd name="connsiteX1" fmla="*/ 72866 w 76200"/>
                <a:gd name="connsiteY1" fmla="*/ 50006 h 76200"/>
                <a:gd name="connsiteX2" fmla="*/ 50006 w 76200"/>
                <a:gd name="connsiteY2" fmla="*/ 71914 h 76200"/>
                <a:gd name="connsiteX3" fmla="*/ 7144 w 76200"/>
                <a:gd name="connsiteY3" fmla="*/ 71914 h 76200"/>
                <a:gd name="connsiteX4" fmla="*/ 7144 w 76200"/>
                <a:gd name="connsiteY4" fmla="*/ 7144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76200">
                  <a:moveTo>
                    <a:pt x="72866" y="7144"/>
                  </a:moveTo>
                  <a:lnTo>
                    <a:pt x="72866" y="50006"/>
                  </a:lnTo>
                  <a:lnTo>
                    <a:pt x="50006" y="71914"/>
                  </a:lnTo>
                  <a:lnTo>
                    <a:pt x="7144" y="71914"/>
                  </a:lnTo>
                  <a:lnTo>
                    <a:pt x="7144" y="7144"/>
                  </a:lnTo>
                  <a:close/>
                </a:path>
              </a:pathLst>
            </a:custGeom>
            <a:solidFill>
              <a:srgbClr val="00BEB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DCE3A6D8-5F1C-43DA-9EAA-993F3A68213D}"/>
                </a:ext>
              </a:extLst>
            </p:cNvPr>
            <p:cNvSpPr/>
            <p:nvPr/>
          </p:nvSpPr>
          <p:spPr>
            <a:xfrm>
              <a:off x="6706076" y="3172301"/>
              <a:ext cx="28575" cy="28575"/>
            </a:xfrm>
            <a:custGeom>
              <a:avLst/>
              <a:gdLst>
                <a:gd name="connsiteX0" fmla="*/ 30004 w 28575"/>
                <a:gd name="connsiteY0" fmla="*/ 7144 h 28575"/>
                <a:gd name="connsiteX1" fmla="*/ 7144 w 28575"/>
                <a:gd name="connsiteY1" fmla="*/ 29051 h 28575"/>
                <a:gd name="connsiteX2" fmla="*/ 7144 w 28575"/>
                <a:gd name="connsiteY2" fmla="*/ 714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575" h="28575">
                  <a:moveTo>
                    <a:pt x="30004" y="7144"/>
                  </a:moveTo>
                  <a:lnTo>
                    <a:pt x="7144" y="29051"/>
                  </a:lnTo>
                  <a:lnTo>
                    <a:pt x="7144" y="7144"/>
                  </a:lnTo>
                  <a:close/>
                </a:path>
              </a:pathLst>
            </a:custGeom>
            <a:solidFill>
              <a:srgbClr val="00A49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0308CD0A-C372-4F6E-A261-03EF5316F936}"/>
                </a:ext>
              </a:extLst>
            </p:cNvPr>
            <p:cNvSpPr/>
            <p:nvPr/>
          </p:nvSpPr>
          <p:spPr>
            <a:xfrm>
              <a:off x="6569869" y="3129438"/>
              <a:ext cx="76200" cy="76200"/>
            </a:xfrm>
            <a:custGeom>
              <a:avLst/>
              <a:gdLst>
                <a:gd name="connsiteX0" fmla="*/ 7144 w 76200"/>
                <a:gd name="connsiteY0" fmla="*/ 7144 h 76200"/>
                <a:gd name="connsiteX1" fmla="*/ 71914 w 76200"/>
                <a:gd name="connsiteY1" fmla="*/ 7144 h 76200"/>
                <a:gd name="connsiteX2" fmla="*/ 71914 w 76200"/>
                <a:gd name="connsiteY2" fmla="*/ 71914 h 76200"/>
                <a:gd name="connsiteX3" fmla="*/ 7144 w 76200"/>
                <a:gd name="connsiteY3" fmla="*/ 71914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200" h="76200">
                  <a:moveTo>
                    <a:pt x="7144" y="7144"/>
                  </a:moveTo>
                  <a:lnTo>
                    <a:pt x="71914" y="7144"/>
                  </a:lnTo>
                  <a:lnTo>
                    <a:pt x="71914" y="71914"/>
                  </a:lnTo>
                  <a:lnTo>
                    <a:pt x="7144" y="71914"/>
                  </a:lnTo>
                  <a:close/>
                </a:path>
              </a:pathLst>
            </a:custGeom>
            <a:solidFill>
              <a:srgbClr val="F065A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BB19BFF4-0320-41DC-A632-64207C3EC447}"/>
                </a:ext>
              </a:extLst>
            </p:cNvPr>
            <p:cNvSpPr/>
            <p:nvPr/>
          </p:nvSpPr>
          <p:spPr>
            <a:xfrm>
              <a:off x="6930866" y="2849403"/>
              <a:ext cx="314325" cy="142875"/>
            </a:xfrm>
            <a:custGeom>
              <a:avLst/>
              <a:gdLst>
                <a:gd name="connsiteX0" fmla="*/ 312896 w 314325"/>
                <a:gd name="connsiteY0" fmla="*/ 63341 h 142875"/>
                <a:gd name="connsiteX1" fmla="*/ 274796 w 314325"/>
                <a:gd name="connsiteY1" fmla="*/ 72866 h 142875"/>
                <a:gd name="connsiteX2" fmla="*/ 285274 w 314325"/>
                <a:gd name="connsiteY2" fmla="*/ 83344 h 142875"/>
                <a:gd name="connsiteX3" fmla="*/ 239554 w 314325"/>
                <a:gd name="connsiteY3" fmla="*/ 128111 h 142875"/>
                <a:gd name="connsiteX4" fmla="*/ 84296 w 314325"/>
                <a:gd name="connsiteY4" fmla="*/ 7144 h 142875"/>
                <a:gd name="connsiteX5" fmla="*/ 7144 w 314325"/>
                <a:gd name="connsiteY5" fmla="*/ 64294 h 142875"/>
                <a:gd name="connsiteX6" fmla="*/ 12859 w 314325"/>
                <a:gd name="connsiteY6" fmla="*/ 72866 h 142875"/>
                <a:gd name="connsiteX7" fmla="*/ 84296 w 314325"/>
                <a:gd name="connsiteY7" fmla="*/ 18574 h 142875"/>
                <a:gd name="connsiteX8" fmla="*/ 240506 w 314325"/>
                <a:gd name="connsiteY8" fmla="*/ 140494 h 142875"/>
                <a:gd name="connsiteX9" fmla="*/ 291941 w 314325"/>
                <a:gd name="connsiteY9" fmla="*/ 90964 h 142875"/>
                <a:gd name="connsiteX10" fmla="*/ 301466 w 314325"/>
                <a:gd name="connsiteY10" fmla="*/ 101441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14325" h="142875">
                  <a:moveTo>
                    <a:pt x="312896" y="63341"/>
                  </a:moveTo>
                  <a:lnTo>
                    <a:pt x="274796" y="72866"/>
                  </a:lnTo>
                  <a:lnTo>
                    <a:pt x="285274" y="83344"/>
                  </a:lnTo>
                  <a:lnTo>
                    <a:pt x="239554" y="128111"/>
                  </a:lnTo>
                  <a:lnTo>
                    <a:pt x="84296" y="7144"/>
                  </a:lnTo>
                  <a:lnTo>
                    <a:pt x="7144" y="64294"/>
                  </a:lnTo>
                  <a:lnTo>
                    <a:pt x="12859" y="72866"/>
                  </a:lnTo>
                  <a:lnTo>
                    <a:pt x="84296" y="18574"/>
                  </a:lnTo>
                  <a:lnTo>
                    <a:pt x="240506" y="140494"/>
                  </a:lnTo>
                  <a:lnTo>
                    <a:pt x="291941" y="90964"/>
                  </a:lnTo>
                  <a:lnTo>
                    <a:pt x="301466" y="101441"/>
                  </a:lnTo>
                  <a:close/>
                </a:path>
              </a:pathLst>
            </a:custGeom>
            <a:solidFill>
              <a:srgbClr val="00BEB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094ABA75-A82E-4DFD-8679-334FD7C5D26D}"/>
                </a:ext>
              </a:extLst>
            </p:cNvPr>
            <p:cNvSpPr/>
            <p:nvPr/>
          </p:nvSpPr>
          <p:spPr>
            <a:xfrm>
              <a:off x="6567011" y="3000851"/>
              <a:ext cx="95250" cy="95250"/>
            </a:xfrm>
            <a:custGeom>
              <a:avLst/>
              <a:gdLst>
                <a:gd name="connsiteX0" fmla="*/ 96679 w 95250"/>
                <a:gd name="connsiteY0" fmla="*/ 51911 h 95250"/>
                <a:gd name="connsiteX1" fmla="*/ 51911 w 95250"/>
                <a:gd name="connsiteY1" fmla="*/ 96679 h 95250"/>
                <a:gd name="connsiteX2" fmla="*/ 7144 w 95250"/>
                <a:gd name="connsiteY2" fmla="*/ 51911 h 95250"/>
                <a:gd name="connsiteX3" fmla="*/ 51911 w 95250"/>
                <a:gd name="connsiteY3" fmla="*/ 7144 h 95250"/>
                <a:gd name="connsiteX4" fmla="*/ 96679 w 95250"/>
                <a:gd name="connsiteY4" fmla="*/ 51911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96679" y="51911"/>
                  </a:moveTo>
                  <a:cubicBezTo>
                    <a:pt x="96679" y="76676"/>
                    <a:pt x="76676" y="96679"/>
                    <a:pt x="51911" y="96679"/>
                  </a:cubicBezTo>
                  <a:cubicBezTo>
                    <a:pt x="27146" y="96679"/>
                    <a:pt x="7144" y="76676"/>
                    <a:pt x="7144" y="51911"/>
                  </a:cubicBezTo>
                  <a:cubicBezTo>
                    <a:pt x="7144" y="27146"/>
                    <a:pt x="27146" y="7144"/>
                    <a:pt x="51911" y="7144"/>
                  </a:cubicBezTo>
                  <a:cubicBezTo>
                    <a:pt x="76676" y="7144"/>
                    <a:pt x="96679" y="27146"/>
                    <a:pt x="96679" y="51911"/>
                  </a:cubicBezTo>
                  <a:close/>
                </a:path>
              </a:pathLst>
            </a:custGeom>
            <a:solidFill>
              <a:srgbClr val="5202B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866740B9-DEA2-442F-8C4D-7179F2D0BD1D}"/>
                </a:ext>
              </a:extLst>
            </p:cNvPr>
            <p:cNvSpPr/>
            <p:nvPr/>
          </p:nvSpPr>
          <p:spPr>
            <a:xfrm>
              <a:off x="6580346" y="3014186"/>
              <a:ext cx="76200" cy="76200"/>
            </a:xfrm>
            <a:custGeom>
              <a:avLst/>
              <a:gdLst>
                <a:gd name="connsiteX0" fmla="*/ 38576 w 76200"/>
                <a:gd name="connsiteY0" fmla="*/ 7144 h 76200"/>
                <a:gd name="connsiteX1" fmla="*/ 7144 w 76200"/>
                <a:gd name="connsiteY1" fmla="*/ 38576 h 76200"/>
                <a:gd name="connsiteX2" fmla="*/ 38576 w 76200"/>
                <a:gd name="connsiteY2" fmla="*/ 70009 h 76200"/>
                <a:gd name="connsiteX3" fmla="*/ 70009 w 76200"/>
                <a:gd name="connsiteY3" fmla="*/ 38576 h 76200"/>
                <a:gd name="connsiteX4" fmla="*/ 38576 w 76200"/>
                <a:gd name="connsiteY4" fmla="*/ 7144 h 76200"/>
                <a:gd name="connsiteX5" fmla="*/ 32861 w 76200"/>
                <a:gd name="connsiteY5" fmla="*/ 11906 h 76200"/>
                <a:gd name="connsiteX6" fmla="*/ 26194 w 76200"/>
                <a:gd name="connsiteY6" fmla="*/ 23336 h 76200"/>
                <a:gd name="connsiteX7" fmla="*/ 19526 w 76200"/>
                <a:gd name="connsiteY7" fmla="*/ 19526 h 76200"/>
                <a:gd name="connsiteX8" fmla="*/ 32861 w 76200"/>
                <a:gd name="connsiteY8" fmla="*/ 11906 h 76200"/>
                <a:gd name="connsiteX9" fmla="*/ 17621 w 76200"/>
                <a:gd name="connsiteY9" fmla="*/ 21431 h 76200"/>
                <a:gd name="connsiteX10" fmla="*/ 26194 w 76200"/>
                <a:gd name="connsiteY10" fmla="*/ 26194 h 76200"/>
                <a:gd name="connsiteX11" fmla="*/ 25241 w 76200"/>
                <a:gd name="connsiteY11" fmla="*/ 36671 h 76200"/>
                <a:gd name="connsiteX12" fmla="*/ 12859 w 76200"/>
                <a:gd name="connsiteY12" fmla="*/ 36671 h 76200"/>
                <a:gd name="connsiteX13" fmla="*/ 17621 w 76200"/>
                <a:gd name="connsiteY13" fmla="*/ 21431 h 76200"/>
                <a:gd name="connsiteX14" fmla="*/ 11906 w 76200"/>
                <a:gd name="connsiteY14" fmla="*/ 40481 h 76200"/>
                <a:gd name="connsiteX15" fmla="*/ 24289 w 76200"/>
                <a:gd name="connsiteY15" fmla="*/ 40481 h 76200"/>
                <a:gd name="connsiteX16" fmla="*/ 26194 w 76200"/>
                <a:gd name="connsiteY16" fmla="*/ 51911 h 76200"/>
                <a:gd name="connsiteX17" fmla="*/ 17621 w 76200"/>
                <a:gd name="connsiteY17" fmla="*/ 55721 h 76200"/>
                <a:gd name="connsiteX18" fmla="*/ 11906 w 76200"/>
                <a:gd name="connsiteY18" fmla="*/ 40481 h 76200"/>
                <a:gd name="connsiteX19" fmla="*/ 19526 w 76200"/>
                <a:gd name="connsiteY19" fmla="*/ 57626 h 76200"/>
                <a:gd name="connsiteX20" fmla="*/ 26194 w 76200"/>
                <a:gd name="connsiteY20" fmla="*/ 53816 h 76200"/>
                <a:gd name="connsiteX21" fmla="*/ 32861 w 76200"/>
                <a:gd name="connsiteY21" fmla="*/ 65246 h 76200"/>
                <a:gd name="connsiteX22" fmla="*/ 19526 w 76200"/>
                <a:gd name="connsiteY22" fmla="*/ 57626 h 76200"/>
                <a:gd name="connsiteX23" fmla="*/ 37624 w 76200"/>
                <a:gd name="connsiteY23" fmla="*/ 64294 h 76200"/>
                <a:gd name="connsiteX24" fmla="*/ 30004 w 76200"/>
                <a:gd name="connsiteY24" fmla="*/ 53816 h 76200"/>
                <a:gd name="connsiteX25" fmla="*/ 37624 w 76200"/>
                <a:gd name="connsiteY25" fmla="*/ 52864 h 76200"/>
                <a:gd name="connsiteX26" fmla="*/ 37624 w 76200"/>
                <a:gd name="connsiteY26" fmla="*/ 64294 h 76200"/>
                <a:gd name="connsiteX27" fmla="*/ 37624 w 76200"/>
                <a:gd name="connsiteY27" fmla="*/ 49054 h 76200"/>
                <a:gd name="connsiteX28" fmla="*/ 29051 w 76200"/>
                <a:gd name="connsiteY28" fmla="*/ 50006 h 76200"/>
                <a:gd name="connsiteX29" fmla="*/ 28099 w 76200"/>
                <a:gd name="connsiteY29" fmla="*/ 39529 h 76200"/>
                <a:gd name="connsiteX30" fmla="*/ 38576 w 76200"/>
                <a:gd name="connsiteY30" fmla="*/ 39529 h 76200"/>
                <a:gd name="connsiteX31" fmla="*/ 38576 w 76200"/>
                <a:gd name="connsiteY31" fmla="*/ 49054 h 76200"/>
                <a:gd name="connsiteX32" fmla="*/ 37624 w 76200"/>
                <a:gd name="connsiteY32" fmla="*/ 36671 h 76200"/>
                <a:gd name="connsiteX33" fmla="*/ 27146 w 76200"/>
                <a:gd name="connsiteY33" fmla="*/ 36671 h 76200"/>
                <a:gd name="connsiteX34" fmla="*/ 28099 w 76200"/>
                <a:gd name="connsiteY34" fmla="*/ 26194 h 76200"/>
                <a:gd name="connsiteX35" fmla="*/ 36671 w 76200"/>
                <a:gd name="connsiteY35" fmla="*/ 27146 h 76200"/>
                <a:gd name="connsiteX36" fmla="*/ 36671 w 76200"/>
                <a:gd name="connsiteY36" fmla="*/ 36671 h 76200"/>
                <a:gd name="connsiteX37" fmla="*/ 37624 w 76200"/>
                <a:gd name="connsiteY37" fmla="*/ 25241 h 76200"/>
                <a:gd name="connsiteX38" fmla="*/ 30004 w 76200"/>
                <a:gd name="connsiteY38" fmla="*/ 24289 h 76200"/>
                <a:gd name="connsiteX39" fmla="*/ 37624 w 76200"/>
                <a:gd name="connsiteY39" fmla="*/ 12859 h 76200"/>
                <a:gd name="connsiteX40" fmla="*/ 37624 w 76200"/>
                <a:gd name="connsiteY40" fmla="*/ 25241 h 76200"/>
                <a:gd name="connsiteX41" fmla="*/ 66199 w 76200"/>
                <a:gd name="connsiteY41" fmla="*/ 36671 h 76200"/>
                <a:gd name="connsiteX42" fmla="*/ 53816 w 76200"/>
                <a:gd name="connsiteY42" fmla="*/ 36671 h 76200"/>
                <a:gd name="connsiteX43" fmla="*/ 52864 w 76200"/>
                <a:gd name="connsiteY43" fmla="*/ 26194 h 76200"/>
                <a:gd name="connsiteX44" fmla="*/ 61436 w 76200"/>
                <a:gd name="connsiteY44" fmla="*/ 21431 h 76200"/>
                <a:gd name="connsiteX45" fmla="*/ 66199 w 76200"/>
                <a:gd name="connsiteY45" fmla="*/ 36671 h 76200"/>
                <a:gd name="connsiteX46" fmla="*/ 58579 w 76200"/>
                <a:gd name="connsiteY46" fmla="*/ 19526 h 76200"/>
                <a:gd name="connsiteX47" fmla="*/ 51911 w 76200"/>
                <a:gd name="connsiteY47" fmla="*/ 23336 h 76200"/>
                <a:gd name="connsiteX48" fmla="*/ 45244 w 76200"/>
                <a:gd name="connsiteY48" fmla="*/ 11906 h 76200"/>
                <a:gd name="connsiteX49" fmla="*/ 58579 w 76200"/>
                <a:gd name="connsiteY49" fmla="*/ 19526 h 76200"/>
                <a:gd name="connsiteX50" fmla="*/ 40481 w 76200"/>
                <a:gd name="connsiteY50" fmla="*/ 12859 h 76200"/>
                <a:gd name="connsiteX51" fmla="*/ 48101 w 76200"/>
                <a:gd name="connsiteY51" fmla="*/ 24289 h 76200"/>
                <a:gd name="connsiteX52" fmla="*/ 40481 w 76200"/>
                <a:gd name="connsiteY52" fmla="*/ 25241 h 76200"/>
                <a:gd name="connsiteX53" fmla="*/ 40481 w 76200"/>
                <a:gd name="connsiteY53" fmla="*/ 12859 h 76200"/>
                <a:gd name="connsiteX54" fmla="*/ 40481 w 76200"/>
                <a:gd name="connsiteY54" fmla="*/ 28099 h 76200"/>
                <a:gd name="connsiteX55" fmla="*/ 49054 w 76200"/>
                <a:gd name="connsiteY55" fmla="*/ 27146 h 76200"/>
                <a:gd name="connsiteX56" fmla="*/ 50006 w 76200"/>
                <a:gd name="connsiteY56" fmla="*/ 37624 h 76200"/>
                <a:gd name="connsiteX57" fmla="*/ 39529 w 76200"/>
                <a:gd name="connsiteY57" fmla="*/ 37624 h 76200"/>
                <a:gd name="connsiteX58" fmla="*/ 39529 w 76200"/>
                <a:gd name="connsiteY58" fmla="*/ 28099 h 76200"/>
                <a:gd name="connsiteX59" fmla="*/ 40481 w 76200"/>
                <a:gd name="connsiteY59" fmla="*/ 40481 h 76200"/>
                <a:gd name="connsiteX60" fmla="*/ 50959 w 76200"/>
                <a:gd name="connsiteY60" fmla="*/ 40481 h 76200"/>
                <a:gd name="connsiteX61" fmla="*/ 50006 w 76200"/>
                <a:gd name="connsiteY61" fmla="*/ 50959 h 76200"/>
                <a:gd name="connsiteX62" fmla="*/ 41434 w 76200"/>
                <a:gd name="connsiteY62" fmla="*/ 50006 h 76200"/>
                <a:gd name="connsiteX63" fmla="*/ 41434 w 76200"/>
                <a:gd name="connsiteY63" fmla="*/ 40481 h 76200"/>
                <a:gd name="connsiteX64" fmla="*/ 40481 w 76200"/>
                <a:gd name="connsiteY64" fmla="*/ 64294 h 76200"/>
                <a:gd name="connsiteX65" fmla="*/ 40481 w 76200"/>
                <a:gd name="connsiteY65" fmla="*/ 51911 h 76200"/>
                <a:gd name="connsiteX66" fmla="*/ 48101 w 76200"/>
                <a:gd name="connsiteY66" fmla="*/ 52864 h 76200"/>
                <a:gd name="connsiteX67" fmla="*/ 40481 w 76200"/>
                <a:gd name="connsiteY67" fmla="*/ 64294 h 76200"/>
                <a:gd name="connsiteX68" fmla="*/ 44291 w 76200"/>
                <a:gd name="connsiteY68" fmla="*/ 65246 h 76200"/>
                <a:gd name="connsiteX69" fmla="*/ 50959 w 76200"/>
                <a:gd name="connsiteY69" fmla="*/ 53816 h 76200"/>
                <a:gd name="connsiteX70" fmla="*/ 57626 w 76200"/>
                <a:gd name="connsiteY70" fmla="*/ 57626 h 76200"/>
                <a:gd name="connsiteX71" fmla="*/ 44291 w 76200"/>
                <a:gd name="connsiteY71" fmla="*/ 65246 h 76200"/>
                <a:gd name="connsiteX72" fmla="*/ 60484 w 76200"/>
                <a:gd name="connsiteY72" fmla="*/ 55721 h 76200"/>
                <a:gd name="connsiteX73" fmla="*/ 51911 w 76200"/>
                <a:gd name="connsiteY73" fmla="*/ 51911 h 76200"/>
                <a:gd name="connsiteX74" fmla="*/ 53816 w 76200"/>
                <a:gd name="connsiteY74" fmla="*/ 40481 h 76200"/>
                <a:gd name="connsiteX75" fmla="*/ 66199 w 76200"/>
                <a:gd name="connsiteY75" fmla="*/ 40481 h 76200"/>
                <a:gd name="connsiteX76" fmla="*/ 60484 w 76200"/>
                <a:gd name="connsiteY76" fmla="*/ 55721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76200" h="76200">
                  <a:moveTo>
                    <a:pt x="38576" y="7144"/>
                  </a:moveTo>
                  <a:cubicBezTo>
                    <a:pt x="21431" y="7144"/>
                    <a:pt x="7144" y="21431"/>
                    <a:pt x="7144" y="38576"/>
                  </a:cubicBezTo>
                  <a:cubicBezTo>
                    <a:pt x="7144" y="55721"/>
                    <a:pt x="21431" y="70009"/>
                    <a:pt x="38576" y="70009"/>
                  </a:cubicBezTo>
                  <a:cubicBezTo>
                    <a:pt x="55721" y="70009"/>
                    <a:pt x="70009" y="55721"/>
                    <a:pt x="70009" y="38576"/>
                  </a:cubicBezTo>
                  <a:cubicBezTo>
                    <a:pt x="70009" y="21431"/>
                    <a:pt x="55721" y="7144"/>
                    <a:pt x="38576" y="7144"/>
                  </a:cubicBezTo>
                  <a:close/>
                  <a:moveTo>
                    <a:pt x="32861" y="11906"/>
                  </a:moveTo>
                  <a:cubicBezTo>
                    <a:pt x="30004" y="13811"/>
                    <a:pt x="27146" y="18574"/>
                    <a:pt x="26194" y="23336"/>
                  </a:cubicBezTo>
                  <a:cubicBezTo>
                    <a:pt x="23336" y="22384"/>
                    <a:pt x="21431" y="21431"/>
                    <a:pt x="19526" y="19526"/>
                  </a:cubicBezTo>
                  <a:cubicBezTo>
                    <a:pt x="23336" y="15716"/>
                    <a:pt x="28099" y="12859"/>
                    <a:pt x="32861" y="11906"/>
                  </a:cubicBezTo>
                  <a:close/>
                  <a:moveTo>
                    <a:pt x="17621" y="21431"/>
                  </a:moveTo>
                  <a:cubicBezTo>
                    <a:pt x="19526" y="23336"/>
                    <a:pt x="22384" y="24289"/>
                    <a:pt x="26194" y="26194"/>
                  </a:cubicBezTo>
                  <a:cubicBezTo>
                    <a:pt x="25241" y="29051"/>
                    <a:pt x="25241" y="32861"/>
                    <a:pt x="25241" y="36671"/>
                  </a:cubicBezTo>
                  <a:lnTo>
                    <a:pt x="12859" y="36671"/>
                  </a:lnTo>
                  <a:cubicBezTo>
                    <a:pt x="11906" y="30956"/>
                    <a:pt x="13811" y="26194"/>
                    <a:pt x="17621" y="21431"/>
                  </a:cubicBezTo>
                  <a:close/>
                  <a:moveTo>
                    <a:pt x="11906" y="40481"/>
                  </a:moveTo>
                  <a:lnTo>
                    <a:pt x="24289" y="40481"/>
                  </a:lnTo>
                  <a:cubicBezTo>
                    <a:pt x="24289" y="44291"/>
                    <a:pt x="25241" y="48101"/>
                    <a:pt x="26194" y="51911"/>
                  </a:cubicBezTo>
                  <a:cubicBezTo>
                    <a:pt x="23336" y="52864"/>
                    <a:pt x="20479" y="54769"/>
                    <a:pt x="17621" y="55721"/>
                  </a:cubicBezTo>
                  <a:cubicBezTo>
                    <a:pt x="13811" y="50959"/>
                    <a:pt x="11906" y="46196"/>
                    <a:pt x="11906" y="40481"/>
                  </a:cubicBezTo>
                  <a:close/>
                  <a:moveTo>
                    <a:pt x="19526" y="57626"/>
                  </a:moveTo>
                  <a:cubicBezTo>
                    <a:pt x="21431" y="55721"/>
                    <a:pt x="24289" y="54769"/>
                    <a:pt x="26194" y="53816"/>
                  </a:cubicBezTo>
                  <a:cubicBezTo>
                    <a:pt x="28099" y="58579"/>
                    <a:pt x="30004" y="62389"/>
                    <a:pt x="32861" y="65246"/>
                  </a:cubicBezTo>
                  <a:cubicBezTo>
                    <a:pt x="28099" y="64294"/>
                    <a:pt x="23336" y="61436"/>
                    <a:pt x="19526" y="57626"/>
                  </a:cubicBezTo>
                  <a:close/>
                  <a:moveTo>
                    <a:pt x="37624" y="64294"/>
                  </a:moveTo>
                  <a:cubicBezTo>
                    <a:pt x="34766" y="63341"/>
                    <a:pt x="31909" y="59531"/>
                    <a:pt x="30004" y="53816"/>
                  </a:cubicBezTo>
                  <a:cubicBezTo>
                    <a:pt x="32861" y="52864"/>
                    <a:pt x="34766" y="52864"/>
                    <a:pt x="37624" y="52864"/>
                  </a:cubicBezTo>
                  <a:lnTo>
                    <a:pt x="37624" y="64294"/>
                  </a:lnTo>
                  <a:close/>
                  <a:moveTo>
                    <a:pt x="37624" y="49054"/>
                  </a:moveTo>
                  <a:cubicBezTo>
                    <a:pt x="34766" y="49054"/>
                    <a:pt x="31909" y="50006"/>
                    <a:pt x="29051" y="50006"/>
                  </a:cubicBezTo>
                  <a:cubicBezTo>
                    <a:pt x="28099" y="47149"/>
                    <a:pt x="28099" y="43339"/>
                    <a:pt x="28099" y="39529"/>
                  </a:cubicBezTo>
                  <a:lnTo>
                    <a:pt x="38576" y="39529"/>
                  </a:lnTo>
                  <a:lnTo>
                    <a:pt x="38576" y="49054"/>
                  </a:lnTo>
                  <a:close/>
                  <a:moveTo>
                    <a:pt x="37624" y="36671"/>
                  </a:moveTo>
                  <a:lnTo>
                    <a:pt x="27146" y="36671"/>
                  </a:lnTo>
                  <a:cubicBezTo>
                    <a:pt x="27146" y="32861"/>
                    <a:pt x="28099" y="30004"/>
                    <a:pt x="28099" y="26194"/>
                  </a:cubicBezTo>
                  <a:cubicBezTo>
                    <a:pt x="30956" y="27146"/>
                    <a:pt x="33814" y="27146"/>
                    <a:pt x="36671" y="27146"/>
                  </a:cubicBezTo>
                  <a:lnTo>
                    <a:pt x="36671" y="36671"/>
                  </a:lnTo>
                  <a:close/>
                  <a:moveTo>
                    <a:pt x="37624" y="25241"/>
                  </a:moveTo>
                  <a:cubicBezTo>
                    <a:pt x="34766" y="25241"/>
                    <a:pt x="31909" y="24289"/>
                    <a:pt x="30004" y="24289"/>
                  </a:cubicBezTo>
                  <a:cubicBezTo>
                    <a:pt x="31909" y="18574"/>
                    <a:pt x="34766" y="13811"/>
                    <a:pt x="37624" y="12859"/>
                  </a:cubicBezTo>
                  <a:lnTo>
                    <a:pt x="37624" y="25241"/>
                  </a:lnTo>
                  <a:close/>
                  <a:moveTo>
                    <a:pt x="66199" y="36671"/>
                  </a:moveTo>
                  <a:lnTo>
                    <a:pt x="53816" y="36671"/>
                  </a:lnTo>
                  <a:cubicBezTo>
                    <a:pt x="53816" y="32861"/>
                    <a:pt x="52864" y="29051"/>
                    <a:pt x="52864" y="26194"/>
                  </a:cubicBezTo>
                  <a:cubicBezTo>
                    <a:pt x="55721" y="25241"/>
                    <a:pt x="58579" y="23336"/>
                    <a:pt x="61436" y="21431"/>
                  </a:cubicBezTo>
                  <a:cubicBezTo>
                    <a:pt x="63341" y="26194"/>
                    <a:pt x="66199" y="30956"/>
                    <a:pt x="66199" y="36671"/>
                  </a:cubicBezTo>
                  <a:close/>
                  <a:moveTo>
                    <a:pt x="58579" y="19526"/>
                  </a:moveTo>
                  <a:cubicBezTo>
                    <a:pt x="56674" y="21431"/>
                    <a:pt x="53816" y="22384"/>
                    <a:pt x="51911" y="23336"/>
                  </a:cubicBezTo>
                  <a:cubicBezTo>
                    <a:pt x="50006" y="18574"/>
                    <a:pt x="48101" y="13811"/>
                    <a:pt x="45244" y="11906"/>
                  </a:cubicBezTo>
                  <a:cubicBezTo>
                    <a:pt x="50006" y="12859"/>
                    <a:pt x="54769" y="15716"/>
                    <a:pt x="58579" y="19526"/>
                  </a:cubicBezTo>
                  <a:close/>
                  <a:moveTo>
                    <a:pt x="40481" y="12859"/>
                  </a:moveTo>
                  <a:cubicBezTo>
                    <a:pt x="43339" y="13811"/>
                    <a:pt x="47149" y="17621"/>
                    <a:pt x="48101" y="24289"/>
                  </a:cubicBezTo>
                  <a:cubicBezTo>
                    <a:pt x="45244" y="25241"/>
                    <a:pt x="42386" y="25241"/>
                    <a:pt x="40481" y="25241"/>
                  </a:cubicBezTo>
                  <a:lnTo>
                    <a:pt x="40481" y="12859"/>
                  </a:lnTo>
                  <a:close/>
                  <a:moveTo>
                    <a:pt x="40481" y="28099"/>
                  </a:moveTo>
                  <a:cubicBezTo>
                    <a:pt x="43339" y="28099"/>
                    <a:pt x="46196" y="27146"/>
                    <a:pt x="49054" y="27146"/>
                  </a:cubicBezTo>
                  <a:cubicBezTo>
                    <a:pt x="50006" y="30004"/>
                    <a:pt x="50006" y="33814"/>
                    <a:pt x="50006" y="37624"/>
                  </a:cubicBezTo>
                  <a:lnTo>
                    <a:pt x="39529" y="37624"/>
                  </a:lnTo>
                  <a:lnTo>
                    <a:pt x="39529" y="28099"/>
                  </a:lnTo>
                  <a:close/>
                  <a:moveTo>
                    <a:pt x="40481" y="40481"/>
                  </a:moveTo>
                  <a:lnTo>
                    <a:pt x="50959" y="40481"/>
                  </a:lnTo>
                  <a:cubicBezTo>
                    <a:pt x="50959" y="44291"/>
                    <a:pt x="50006" y="48101"/>
                    <a:pt x="50006" y="50959"/>
                  </a:cubicBezTo>
                  <a:cubicBezTo>
                    <a:pt x="47149" y="50006"/>
                    <a:pt x="44291" y="50006"/>
                    <a:pt x="41434" y="50006"/>
                  </a:cubicBezTo>
                  <a:lnTo>
                    <a:pt x="41434" y="40481"/>
                  </a:lnTo>
                  <a:close/>
                  <a:moveTo>
                    <a:pt x="40481" y="64294"/>
                  </a:moveTo>
                  <a:lnTo>
                    <a:pt x="40481" y="51911"/>
                  </a:lnTo>
                  <a:cubicBezTo>
                    <a:pt x="43339" y="51911"/>
                    <a:pt x="46196" y="52864"/>
                    <a:pt x="48101" y="52864"/>
                  </a:cubicBezTo>
                  <a:cubicBezTo>
                    <a:pt x="46196" y="58579"/>
                    <a:pt x="43339" y="63341"/>
                    <a:pt x="40481" y="64294"/>
                  </a:cubicBezTo>
                  <a:close/>
                  <a:moveTo>
                    <a:pt x="44291" y="65246"/>
                  </a:moveTo>
                  <a:cubicBezTo>
                    <a:pt x="47149" y="63341"/>
                    <a:pt x="49054" y="59531"/>
                    <a:pt x="50959" y="53816"/>
                  </a:cubicBezTo>
                  <a:cubicBezTo>
                    <a:pt x="53816" y="54769"/>
                    <a:pt x="55721" y="55721"/>
                    <a:pt x="57626" y="57626"/>
                  </a:cubicBezTo>
                  <a:cubicBezTo>
                    <a:pt x="54769" y="61436"/>
                    <a:pt x="50006" y="64294"/>
                    <a:pt x="44291" y="65246"/>
                  </a:cubicBezTo>
                  <a:close/>
                  <a:moveTo>
                    <a:pt x="60484" y="55721"/>
                  </a:moveTo>
                  <a:cubicBezTo>
                    <a:pt x="58579" y="53816"/>
                    <a:pt x="55721" y="52864"/>
                    <a:pt x="51911" y="51911"/>
                  </a:cubicBezTo>
                  <a:cubicBezTo>
                    <a:pt x="52864" y="48101"/>
                    <a:pt x="52864" y="44291"/>
                    <a:pt x="53816" y="40481"/>
                  </a:cubicBezTo>
                  <a:lnTo>
                    <a:pt x="66199" y="40481"/>
                  </a:lnTo>
                  <a:cubicBezTo>
                    <a:pt x="66199" y="46196"/>
                    <a:pt x="63341" y="50959"/>
                    <a:pt x="60484" y="5572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6D83F777-720A-42AD-85C5-58ABC81BFD31}"/>
                </a:ext>
              </a:extLst>
            </p:cNvPr>
            <p:cNvSpPr/>
            <p:nvPr/>
          </p:nvSpPr>
          <p:spPr>
            <a:xfrm>
              <a:off x="6675596" y="3001803"/>
              <a:ext cx="95250" cy="95250"/>
            </a:xfrm>
            <a:custGeom>
              <a:avLst/>
              <a:gdLst>
                <a:gd name="connsiteX0" fmla="*/ 94774 w 95250"/>
                <a:gd name="connsiteY0" fmla="*/ 50959 h 95250"/>
                <a:gd name="connsiteX1" fmla="*/ 50959 w 95250"/>
                <a:gd name="connsiteY1" fmla="*/ 94774 h 95250"/>
                <a:gd name="connsiteX2" fmla="*/ 7144 w 95250"/>
                <a:gd name="connsiteY2" fmla="*/ 50959 h 95250"/>
                <a:gd name="connsiteX3" fmla="*/ 50959 w 95250"/>
                <a:gd name="connsiteY3" fmla="*/ 7144 h 95250"/>
                <a:gd name="connsiteX4" fmla="*/ 94774 w 95250"/>
                <a:gd name="connsiteY4" fmla="*/ 50959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94774" y="50959"/>
                  </a:moveTo>
                  <a:cubicBezTo>
                    <a:pt x="94774" y="75157"/>
                    <a:pt x="75157" y="94774"/>
                    <a:pt x="50959" y="94774"/>
                  </a:cubicBezTo>
                  <a:cubicBezTo>
                    <a:pt x="26760" y="94774"/>
                    <a:pt x="7144" y="75157"/>
                    <a:pt x="7144" y="50959"/>
                  </a:cubicBezTo>
                  <a:cubicBezTo>
                    <a:pt x="7144" y="26760"/>
                    <a:pt x="26760" y="7144"/>
                    <a:pt x="50959" y="7144"/>
                  </a:cubicBezTo>
                  <a:cubicBezTo>
                    <a:pt x="75157" y="7144"/>
                    <a:pt x="94774" y="26760"/>
                    <a:pt x="94774" y="50959"/>
                  </a:cubicBezTo>
                  <a:close/>
                </a:path>
              </a:pathLst>
            </a:custGeom>
            <a:solidFill>
              <a:srgbClr val="E3493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955B6439-AF87-4B02-945C-9B4183DCF2B3}"/>
                </a:ext>
              </a:extLst>
            </p:cNvPr>
            <p:cNvSpPr/>
            <p:nvPr/>
          </p:nvSpPr>
          <p:spPr>
            <a:xfrm>
              <a:off x="6690836" y="3017043"/>
              <a:ext cx="66675" cy="66675"/>
            </a:xfrm>
            <a:custGeom>
              <a:avLst/>
              <a:gdLst>
                <a:gd name="connsiteX0" fmla="*/ 62389 w 66675"/>
                <a:gd name="connsiteY0" fmla="*/ 30004 h 66675"/>
                <a:gd name="connsiteX1" fmla="*/ 56674 w 66675"/>
                <a:gd name="connsiteY1" fmla="*/ 30004 h 66675"/>
                <a:gd name="connsiteX2" fmla="*/ 54769 w 66675"/>
                <a:gd name="connsiteY2" fmla="*/ 26194 h 66675"/>
                <a:gd name="connsiteX3" fmla="*/ 58579 w 66675"/>
                <a:gd name="connsiteY3" fmla="*/ 22384 h 66675"/>
                <a:gd name="connsiteX4" fmla="*/ 58579 w 66675"/>
                <a:gd name="connsiteY4" fmla="*/ 18574 h 66675"/>
                <a:gd name="connsiteX5" fmla="*/ 53816 w 66675"/>
                <a:gd name="connsiteY5" fmla="*/ 13811 h 66675"/>
                <a:gd name="connsiteX6" fmla="*/ 50006 w 66675"/>
                <a:gd name="connsiteY6" fmla="*/ 13811 h 66675"/>
                <a:gd name="connsiteX7" fmla="*/ 46196 w 66675"/>
                <a:gd name="connsiteY7" fmla="*/ 17621 h 66675"/>
                <a:gd name="connsiteX8" fmla="*/ 42386 w 66675"/>
                <a:gd name="connsiteY8" fmla="*/ 15716 h 66675"/>
                <a:gd name="connsiteX9" fmla="*/ 42386 w 66675"/>
                <a:gd name="connsiteY9" fmla="*/ 10001 h 66675"/>
                <a:gd name="connsiteX10" fmla="*/ 39529 w 66675"/>
                <a:gd name="connsiteY10" fmla="*/ 7144 h 66675"/>
                <a:gd name="connsiteX11" fmla="*/ 32861 w 66675"/>
                <a:gd name="connsiteY11" fmla="*/ 7144 h 66675"/>
                <a:gd name="connsiteX12" fmla="*/ 30004 w 66675"/>
                <a:gd name="connsiteY12" fmla="*/ 10001 h 66675"/>
                <a:gd name="connsiteX13" fmla="*/ 30004 w 66675"/>
                <a:gd name="connsiteY13" fmla="*/ 15716 h 66675"/>
                <a:gd name="connsiteX14" fmla="*/ 26194 w 66675"/>
                <a:gd name="connsiteY14" fmla="*/ 17621 h 66675"/>
                <a:gd name="connsiteX15" fmla="*/ 22384 w 66675"/>
                <a:gd name="connsiteY15" fmla="*/ 13811 h 66675"/>
                <a:gd name="connsiteX16" fmla="*/ 18574 w 66675"/>
                <a:gd name="connsiteY16" fmla="*/ 13811 h 66675"/>
                <a:gd name="connsiteX17" fmla="*/ 13811 w 66675"/>
                <a:gd name="connsiteY17" fmla="*/ 18574 h 66675"/>
                <a:gd name="connsiteX18" fmla="*/ 13811 w 66675"/>
                <a:gd name="connsiteY18" fmla="*/ 22384 h 66675"/>
                <a:gd name="connsiteX19" fmla="*/ 17621 w 66675"/>
                <a:gd name="connsiteY19" fmla="*/ 26194 h 66675"/>
                <a:gd name="connsiteX20" fmla="*/ 15716 w 66675"/>
                <a:gd name="connsiteY20" fmla="*/ 30004 h 66675"/>
                <a:gd name="connsiteX21" fmla="*/ 10001 w 66675"/>
                <a:gd name="connsiteY21" fmla="*/ 30004 h 66675"/>
                <a:gd name="connsiteX22" fmla="*/ 7144 w 66675"/>
                <a:gd name="connsiteY22" fmla="*/ 32861 h 66675"/>
                <a:gd name="connsiteX23" fmla="*/ 7144 w 66675"/>
                <a:gd name="connsiteY23" fmla="*/ 39529 h 66675"/>
                <a:gd name="connsiteX24" fmla="*/ 10001 w 66675"/>
                <a:gd name="connsiteY24" fmla="*/ 42386 h 66675"/>
                <a:gd name="connsiteX25" fmla="*/ 15716 w 66675"/>
                <a:gd name="connsiteY25" fmla="*/ 42386 h 66675"/>
                <a:gd name="connsiteX26" fmla="*/ 17621 w 66675"/>
                <a:gd name="connsiteY26" fmla="*/ 46196 h 66675"/>
                <a:gd name="connsiteX27" fmla="*/ 13811 w 66675"/>
                <a:gd name="connsiteY27" fmla="*/ 50006 h 66675"/>
                <a:gd name="connsiteX28" fmla="*/ 13811 w 66675"/>
                <a:gd name="connsiteY28" fmla="*/ 53816 h 66675"/>
                <a:gd name="connsiteX29" fmla="*/ 18574 w 66675"/>
                <a:gd name="connsiteY29" fmla="*/ 58579 h 66675"/>
                <a:gd name="connsiteX30" fmla="*/ 22384 w 66675"/>
                <a:gd name="connsiteY30" fmla="*/ 58579 h 66675"/>
                <a:gd name="connsiteX31" fmla="*/ 26194 w 66675"/>
                <a:gd name="connsiteY31" fmla="*/ 54769 h 66675"/>
                <a:gd name="connsiteX32" fmla="*/ 30004 w 66675"/>
                <a:gd name="connsiteY32" fmla="*/ 56674 h 66675"/>
                <a:gd name="connsiteX33" fmla="*/ 30004 w 66675"/>
                <a:gd name="connsiteY33" fmla="*/ 62389 h 66675"/>
                <a:gd name="connsiteX34" fmla="*/ 32861 w 66675"/>
                <a:gd name="connsiteY34" fmla="*/ 65246 h 66675"/>
                <a:gd name="connsiteX35" fmla="*/ 39529 w 66675"/>
                <a:gd name="connsiteY35" fmla="*/ 65246 h 66675"/>
                <a:gd name="connsiteX36" fmla="*/ 42386 w 66675"/>
                <a:gd name="connsiteY36" fmla="*/ 62389 h 66675"/>
                <a:gd name="connsiteX37" fmla="*/ 42386 w 66675"/>
                <a:gd name="connsiteY37" fmla="*/ 56674 h 66675"/>
                <a:gd name="connsiteX38" fmla="*/ 46196 w 66675"/>
                <a:gd name="connsiteY38" fmla="*/ 54769 h 66675"/>
                <a:gd name="connsiteX39" fmla="*/ 50006 w 66675"/>
                <a:gd name="connsiteY39" fmla="*/ 58579 h 66675"/>
                <a:gd name="connsiteX40" fmla="*/ 53816 w 66675"/>
                <a:gd name="connsiteY40" fmla="*/ 58579 h 66675"/>
                <a:gd name="connsiteX41" fmla="*/ 58579 w 66675"/>
                <a:gd name="connsiteY41" fmla="*/ 53816 h 66675"/>
                <a:gd name="connsiteX42" fmla="*/ 58579 w 66675"/>
                <a:gd name="connsiteY42" fmla="*/ 50006 h 66675"/>
                <a:gd name="connsiteX43" fmla="*/ 54769 w 66675"/>
                <a:gd name="connsiteY43" fmla="*/ 46196 h 66675"/>
                <a:gd name="connsiteX44" fmla="*/ 56674 w 66675"/>
                <a:gd name="connsiteY44" fmla="*/ 42386 h 66675"/>
                <a:gd name="connsiteX45" fmla="*/ 62389 w 66675"/>
                <a:gd name="connsiteY45" fmla="*/ 42386 h 66675"/>
                <a:gd name="connsiteX46" fmla="*/ 65246 w 66675"/>
                <a:gd name="connsiteY46" fmla="*/ 39529 h 66675"/>
                <a:gd name="connsiteX47" fmla="*/ 65246 w 66675"/>
                <a:gd name="connsiteY47" fmla="*/ 32861 h 66675"/>
                <a:gd name="connsiteX48" fmla="*/ 62389 w 66675"/>
                <a:gd name="connsiteY48" fmla="*/ 30004 h 66675"/>
                <a:gd name="connsiteX49" fmla="*/ 35719 w 66675"/>
                <a:gd name="connsiteY49" fmla="*/ 47149 h 66675"/>
                <a:gd name="connsiteX50" fmla="*/ 24289 w 66675"/>
                <a:gd name="connsiteY50" fmla="*/ 35719 h 66675"/>
                <a:gd name="connsiteX51" fmla="*/ 35719 w 66675"/>
                <a:gd name="connsiteY51" fmla="*/ 24289 h 66675"/>
                <a:gd name="connsiteX52" fmla="*/ 47149 w 66675"/>
                <a:gd name="connsiteY52" fmla="*/ 35719 h 66675"/>
                <a:gd name="connsiteX53" fmla="*/ 35719 w 66675"/>
                <a:gd name="connsiteY53" fmla="*/ 47149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66675" h="66675">
                  <a:moveTo>
                    <a:pt x="62389" y="30004"/>
                  </a:moveTo>
                  <a:lnTo>
                    <a:pt x="56674" y="30004"/>
                  </a:lnTo>
                  <a:cubicBezTo>
                    <a:pt x="56674" y="28099"/>
                    <a:pt x="55721" y="27146"/>
                    <a:pt x="54769" y="26194"/>
                  </a:cubicBezTo>
                  <a:lnTo>
                    <a:pt x="58579" y="22384"/>
                  </a:lnTo>
                  <a:cubicBezTo>
                    <a:pt x="59531" y="21431"/>
                    <a:pt x="59531" y="19526"/>
                    <a:pt x="58579" y="18574"/>
                  </a:cubicBezTo>
                  <a:lnTo>
                    <a:pt x="53816" y="13811"/>
                  </a:lnTo>
                  <a:cubicBezTo>
                    <a:pt x="52864" y="12859"/>
                    <a:pt x="50959" y="12859"/>
                    <a:pt x="50006" y="13811"/>
                  </a:cubicBezTo>
                  <a:lnTo>
                    <a:pt x="46196" y="17621"/>
                  </a:lnTo>
                  <a:cubicBezTo>
                    <a:pt x="45244" y="16669"/>
                    <a:pt x="43339" y="16669"/>
                    <a:pt x="42386" y="15716"/>
                  </a:cubicBezTo>
                  <a:lnTo>
                    <a:pt x="42386" y="10001"/>
                  </a:lnTo>
                  <a:cubicBezTo>
                    <a:pt x="42386" y="8096"/>
                    <a:pt x="41434" y="7144"/>
                    <a:pt x="39529" y="7144"/>
                  </a:cubicBezTo>
                  <a:lnTo>
                    <a:pt x="32861" y="7144"/>
                  </a:lnTo>
                  <a:cubicBezTo>
                    <a:pt x="30956" y="7144"/>
                    <a:pt x="30004" y="8096"/>
                    <a:pt x="30004" y="10001"/>
                  </a:cubicBezTo>
                  <a:lnTo>
                    <a:pt x="30004" y="15716"/>
                  </a:lnTo>
                  <a:cubicBezTo>
                    <a:pt x="28099" y="15716"/>
                    <a:pt x="27146" y="16669"/>
                    <a:pt x="26194" y="17621"/>
                  </a:cubicBezTo>
                  <a:lnTo>
                    <a:pt x="22384" y="13811"/>
                  </a:lnTo>
                  <a:cubicBezTo>
                    <a:pt x="21431" y="12859"/>
                    <a:pt x="19526" y="12859"/>
                    <a:pt x="18574" y="13811"/>
                  </a:cubicBezTo>
                  <a:lnTo>
                    <a:pt x="13811" y="18574"/>
                  </a:lnTo>
                  <a:cubicBezTo>
                    <a:pt x="12859" y="19526"/>
                    <a:pt x="12859" y="21431"/>
                    <a:pt x="13811" y="22384"/>
                  </a:cubicBezTo>
                  <a:lnTo>
                    <a:pt x="17621" y="26194"/>
                  </a:lnTo>
                  <a:cubicBezTo>
                    <a:pt x="16669" y="27146"/>
                    <a:pt x="16669" y="29051"/>
                    <a:pt x="15716" y="30004"/>
                  </a:cubicBezTo>
                  <a:lnTo>
                    <a:pt x="10001" y="30004"/>
                  </a:lnTo>
                  <a:cubicBezTo>
                    <a:pt x="8096" y="30004"/>
                    <a:pt x="7144" y="30956"/>
                    <a:pt x="7144" y="32861"/>
                  </a:cubicBezTo>
                  <a:lnTo>
                    <a:pt x="7144" y="39529"/>
                  </a:lnTo>
                  <a:cubicBezTo>
                    <a:pt x="7144" y="41434"/>
                    <a:pt x="8096" y="42386"/>
                    <a:pt x="10001" y="42386"/>
                  </a:cubicBezTo>
                  <a:lnTo>
                    <a:pt x="15716" y="42386"/>
                  </a:lnTo>
                  <a:cubicBezTo>
                    <a:pt x="15716" y="44291"/>
                    <a:pt x="16669" y="45244"/>
                    <a:pt x="17621" y="46196"/>
                  </a:cubicBezTo>
                  <a:lnTo>
                    <a:pt x="13811" y="50006"/>
                  </a:lnTo>
                  <a:cubicBezTo>
                    <a:pt x="12859" y="50959"/>
                    <a:pt x="12859" y="52864"/>
                    <a:pt x="13811" y="53816"/>
                  </a:cubicBezTo>
                  <a:lnTo>
                    <a:pt x="18574" y="58579"/>
                  </a:lnTo>
                  <a:cubicBezTo>
                    <a:pt x="19526" y="59531"/>
                    <a:pt x="21431" y="59531"/>
                    <a:pt x="22384" y="58579"/>
                  </a:cubicBezTo>
                  <a:lnTo>
                    <a:pt x="26194" y="54769"/>
                  </a:lnTo>
                  <a:cubicBezTo>
                    <a:pt x="27146" y="55721"/>
                    <a:pt x="29051" y="55721"/>
                    <a:pt x="30004" y="56674"/>
                  </a:cubicBezTo>
                  <a:lnTo>
                    <a:pt x="30004" y="62389"/>
                  </a:lnTo>
                  <a:cubicBezTo>
                    <a:pt x="30004" y="64294"/>
                    <a:pt x="30956" y="65246"/>
                    <a:pt x="32861" y="65246"/>
                  </a:cubicBezTo>
                  <a:lnTo>
                    <a:pt x="39529" y="65246"/>
                  </a:lnTo>
                  <a:cubicBezTo>
                    <a:pt x="41434" y="65246"/>
                    <a:pt x="42386" y="64294"/>
                    <a:pt x="42386" y="62389"/>
                  </a:cubicBezTo>
                  <a:lnTo>
                    <a:pt x="42386" y="56674"/>
                  </a:lnTo>
                  <a:cubicBezTo>
                    <a:pt x="44291" y="56674"/>
                    <a:pt x="45244" y="55721"/>
                    <a:pt x="46196" y="54769"/>
                  </a:cubicBezTo>
                  <a:lnTo>
                    <a:pt x="50006" y="58579"/>
                  </a:lnTo>
                  <a:cubicBezTo>
                    <a:pt x="50959" y="59531"/>
                    <a:pt x="52864" y="59531"/>
                    <a:pt x="53816" y="58579"/>
                  </a:cubicBezTo>
                  <a:lnTo>
                    <a:pt x="58579" y="53816"/>
                  </a:lnTo>
                  <a:cubicBezTo>
                    <a:pt x="59531" y="52864"/>
                    <a:pt x="59531" y="50959"/>
                    <a:pt x="58579" y="50006"/>
                  </a:cubicBezTo>
                  <a:lnTo>
                    <a:pt x="54769" y="46196"/>
                  </a:lnTo>
                  <a:cubicBezTo>
                    <a:pt x="55721" y="45244"/>
                    <a:pt x="55721" y="43339"/>
                    <a:pt x="56674" y="42386"/>
                  </a:cubicBezTo>
                  <a:lnTo>
                    <a:pt x="62389" y="42386"/>
                  </a:lnTo>
                  <a:cubicBezTo>
                    <a:pt x="64294" y="42386"/>
                    <a:pt x="65246" y="41434"/>
                    <a:pt x="65246" y="39529"/>
                  </a:cubicBezTo>
                  <a:lnTo>
                    <a:pt x="65246" y="32861"/>
                  </a:lnTo>
                  <a:cubicBezTo>
                    <a:pt x="64294" y="30956"/>
                    <a:pt x="63341" y="30004"/>
                    <a:pt x="62389" y="30004"/>
                  </a:cubicBezTo>
                  <a:close/>
                  <a:moveTo>
                    <a:pt x="35719" y="47149"/>
                  </a:moveTo>
                  <a:cubicBezTo>
                    <a:pt x="29051" y="47149"/>
                    <a:pt x="24289" y="42386"/>
                    <a:pt x="24289" y="35719"/>
                  </a:cubicBezTo>
                  <a:cubicBezTo>
                    <a:pt x="24289" y="29051"/>
                    <a:pt x="29051" y="24289"/>
                    <a:pt x="35719" y="24289"/>
                  </a:cubicBezTo>
                  <a:cubicBezTo>
                    <a:pt x="42386" y="24289"/>
                    <a:pt x="47149" y="29051"/>
                    <a:pt x="47149" y="35719"/>
                  </a:cubicBezTo>
                  <a:cubicBezTo>
                    <a:pt x="47149" y="42386"/>
                    <a:pt x="42386" y="47149"/>
                    <a:pt x="35719" y="4714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B1D020F7-1592-4849-9A50-D166A4AF8ED4}"/>
                </a:ext>
              </a:extLst>
            </p:cNvPr>
            <p:cNvSpPr/>
            <p:nvPr/>
          </p:nvSpPr>
          <p:spPr>
            <a:xfrm>
              <a:off x="6795611" y="3008471"/>
              <a:ext cx="28575" cy="28575"/>
            </a:xfrm>
            <a:custGeom>
              <a:avLst/>
              <a:gdLst>
                <a:gd name="connsiteX0" fmla="*/ 7144 w 28575"/>
                <a:gd name="connsiteY0" fmla="*/ 7144 h 28575"/>
                <a:gd name="connsiteX1" fmla="*/ 25241 w 28575"/>
                <a:gd name="connsiteY1" fmla="*/ 7144 h 28575"/>
                <a:gd name="connsiteX2" fmla="*/ 25241 w 28575"/>
                <a:gd name="connsiteY2" fmla="*/ 25241 h 28575"/>
                <a:gd name="connsiteX3" fmla="*/ 7144 w 28575"/>
                <a:gd name="connsiteY3" fmla="*/ 25241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28575">
                  <a:moveTo>
                    <a:pt x="7144" y="7144"/>
                  </a:moveTo>
                  <a:lnTo>
                    <a:pt x="25241" y="7144"/>
                  </a:lnTo>
                  <a:lnTo>
                    <a:pt x="25241" y="25241"/>
                  </a:lnTo>
                  <a:lnTo>
                    <a:pt x="7144" y="25241"/>
                  </a:ln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6FC38CE0-EE36-4FBE-B8E1-B1657209F862}"/>
                </a:ext>
              </a:extLst>
            </p:cNvPr>
            <p:cNvSpPr/>
            <p:nvPr/>
          </p:nvSpPr>
          <p:spPr>
            <a:xfrm>
              <a:off x="6825139" y="3008471"/>
              <a:ext cx="28575" cy="28575"/>
            </a:xfrm>
            <a:custGeom>
              <a:avLst/>
              <a:gdLst>
                <a:gd name="connsiteX0" fmla="*/ 7144 w 28575"/>
                <a:gd name="connsiteY0" fmla="*/ 7144 h 28575"/>
                <a:gd name="connsiteX1" fmla="*/ 25241 w 28575"/>
                <a:gd name="connsiteY1" fmla="*/ 7144 h 28575"/>
                <a:gd name="connsiteX2" fmla="*/ 25241 w 28575"/>
                <a:gd name="connsiteY2" fmla="*/ 25241 h 28575"/>
                <a:gd name="connsiteX3" fmla="*/ 7144 w 28575"/>
                <a:gd name="connsiteY3" fmla="*/ 25241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28575">
                  <a:moveTo>
                    <a:pt x="7144" y="7144"/>
                  </a:moveTo>
                  <a:lnTo>
                    <a:pt x="25241" y="7144"/>
                  </a:lnTo>
                  <a:lnTo>
                    <a:pt x="25241" y="25241"/>
                  </a:lnTo>
                  <a:lnTo>
                    <a:pt x="7144" y="25241"/>
                  </a:ln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D7FBB40D-DDCF-4FF3-AE17-BD92297D449A}"/>
                </a:ext>
              </a:extLst>
            </p:cNvPr>
            <p:cNvSpPr/>
            <p:nvPr/>
          </p:nvSpPr>
          <p:spPr>
            <a:xfrm>
              <a:off x="6795611" y="3036093"/>
              <a:ext cx="28575" cy="28575"/>
            </a:xfrm>
            <a:custGeom>
              <a:avLst/>
              <a:gdLst>
                <a:gd name="connsiteX0" fmla="*/ 7144 w 28575"/>
                <a:gd name="connsiteY0" fmla="*/ 7144 h 28575"/>
                <a:gd name="connsiteX1" fmla="*/ 25241 w 28575"/>
                <a:gd name="connsiteY1" fmla="*/ 7144 h 28575"/>
                <a:gd name="connsiteX2" fmla="*/ 25241 w 28575"/>
                <a:gd name="connsiteY2" fmla="*/ 25241 h 28575"/>
                <a:gd name="connsiteX3" fmla="*/ 7144 w 28575"/>
                <a:gd name="connsiteY3" fmla="*/ 25241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28575">
                  <a:moveTo>
                    <a:pt x="7144" y="7144"/>
                  </a:moveTo>
                  <a:lnTo>
                    <a:pt x="25241" y="7144"/>
                  </a:lnTo>
                  <a:lnTo>
                    <a:pt x="25241" y="25241"/>
                  </a:lnTo>
                  <a:lnTo>
                    <a:pt x="7144" y="25241"/>
                  </a:ln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C8A940C8-176C-47C3-B59E-4C97CD29823C}"/>
                </a:ext>
              </a:extLst>
            </p:cNvPr>
            <p:cNvSpPr/>
            <p:nvPr/>
          </p:nvSpPr>
          <p:spPr>
            <a:xfrm>
              <a:off x="6825139" y="3036093"/>
              <a:ext cx="28575" cy="28575"/>
            </a:xfrm>
            <a:custGeom>
              <a:avLst/>
              <a:gdLst>
                <a:gd name="connsiteX0" fmla="*/ 7144 w 28575"/>
                <a:gd name="connsiteY0" fmla="*/ 7144 h 28575"/>
                <a:gd name="connsiteX1" fmla="*/ 25241 w 28575"/>
                <a:gd name="connsiteY1" fmla="*/ 7144 h 28575"/>
                <a:gd name="connsiteX2" fmla="*/ 25241 w 28575"/>
                <a:gd name="connsiteY2" fmla="*/ 25241 h 28575"/>
                <a:gd name="connsiteX3" fmla="*/ 7144 w 28575"/>
                <a:gd name="connsiteY3" fmla="*/ 25241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28575">
                  <a:moveTo>
                    <a:pt x="7144" y="7144"/>
                  </a:moveTo>
                  <a:lnTo>
                    <a:pt x="25241" y="7144"/>
                  </a:lnTo>
                  <a:lnTo>
                    <a:pt x="25241" y="25241"/>
                  </a:lnTo>
                  <a:lnTo>
                    <a:pt x="7144" y="25241"/>
                  </a:lnTo>
                  <a:close/>
                </a:path>
              </a:pathLst>
            </a:custGeom>
            <a:solidFill>
              <a:srgbClr val="F065A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D223BFEC-49E1-46FC-8A69-629E874908DF}"/>
                </a:ext>
              </a:extLst>
            </p:cNvPr>
            <p:cNvSpPr/>
            <p:nvPr/>
          </p:nvSpPr>
          <p:spPr>
            <a:xfrm>
              <a:off x="6795611" y="3064668"/>
              <a:ext cx="28575" cy="28575"/>
            </a:xfrm>
            <a:custGeom>
              <a:avLst/>
              <a:gdLst>
                <a:gd name="connsiteX0" fmla="*/ 7144 w 28575"/>
                <a:gd name="connsiteY0" fmla="*/ 7144 h 28575"/>
                <a:gd name="connsiteX1" fmla="*/ 25241 w 28575"/>
                <a:gd name="connsiteY1" fmla="*/ 7144 h 28575"/>
                <a:gd name="connsiteX2" fmla="*/ 25241 w 28575"/>
                <a:gd name="connsiteY2" fmla="*/ 25241 h 28575"/>
                <a:gd name="connsiteX3" fmla="*/ 7144 w 28575"/>
                <a:gd name="connsiteY3" fmla="*/ 25241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28575">
                  <a:moveTo>
                    <a:pt x="7144" y="7144"/>
                  </a:moveTo>
                  <a:lnTo>
                    <a:pt x="25241" y="7144"/>
                  </a:lnTo>
                  <a:lnTo>
                    <a:pt x="25241" y="25241"/>
                  </a:lnTo>
                  <a:lnTo>
                    <a:pt x="7144" y="25241"/>
                  </a:lnTo>
                  <a:close/>
                </a:path>
              </a:pathLst>
            </a:custGeom>
            <a:solidFill>
              <a:srgbClr val="F065A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EA61C0D4-FD0C-41DD-87C5-4E00D0F205CC}"/>
                </a:ext>
              </a:extLst>
            </p:cNvPr>
            <p:cNvSpPr/>
            <p:nvPr/>
          </p:nvSpPr>
          <p:spPr>
            <a:xfrm>
              <a:off x="6825139" y="3064668"/>
              <a:ext cx="28575" cy="28575"/>
            </a:xfrm>
            <a:custGeom>
              <a:avLst/>
              <a:gdLst>
                <a:gd name="connsiteX0" fmla="*/ 7144 w 28575"/>
                <a:gd name="connsiteY0" fmla="*/ 7144 h 28575"/>
                <a:gd name="connsiteX1" fmla="*/ 25241 w 28575"/>
                <a:gd name="connsiteY1" fmla="*/ 7144 h 28575"/>
                <a:gd name="connsiteX2" fmla="*/ 25241 w 28575"/>
                <a:gd name="connsiteY2" fmla="*/ 25241 h 28575"/>
                <a:gd name="connsiteX3" fmla="*/ 7144 w 28575"/>
                <a:gd name="connsiteY3" fmla="*/ 25241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28575">
                  <a:moveTo>
                    <a:pt x="7144" y="7144"/>
                  </a:moveTo>
                  <a:lnTo>
                    <a:pt x="25241" y="7144"/>
                  </a:lnTo>
                  <a:lnTo>
                    <a:pt x="25241" y="25241"/>
                  </a:lnTo>
                  <a:lnTo>
                    <a:pt x="7144" y="25241"/>
                  </a:lnTo>
                  <a:close/>
                </a:path>
              </a:pathLst>
            </a:custGeom>
            <a:solidFill>
              <a:srgbClr val="F065A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AD6A035F-52E2-41F3-9D8D-181EDA414734}"/>
                </a:ext>
              </a:extLst>
            </p:cNvPr>
            <p:cNvSpPr/>
            <p:nvPr/>
          </p:nvSpPr>
          <p:spPr>
            <a:xfrm>
              <a:off x="7174159" y="3001668"/>
              <a:ext cx="314325" cy="314325"/>
            </a:xfrm>
            <a:custGeom>
              <a:avLst/>
              <a:gdLst>
                <a:gd name="connsiteX0" fmla="*/ 305823 w 314325"/>
                <a:gd name="connsiteY0" fmla="*/ 176824 h 314325"/>
                <a:gd name="connsiteX1" fmla="*/ 156281 w 314325"/>
                <a:gd name="connsiteY1" fmla="*/ 218734 h 314325"/>
                <a:gd name="connsiteX2" fmla="*/ 61031 w 314325"/>
                <a:gd name="connsiteY2" fmla="*/ 66334 h 314325"/>
                <a:gd name="connsiteX3" fmla="*/ 61031 w 314325"/>
                <a:gd name="connsiteY3" fmla="*/ 31091 h 314325"/>
                <a:gd name="connsiteX4" fmla="*/ 48648 w 314325"/>
                <a:gd name="connsiteY4" fmla="*/ 7279 h 314325"/>
                <a:gd name="connsiteX5" fmla="*/ 34361 w 314325"/>
                <a:gd name="connsiteY5" fmla="*/ 71096 h 314325"/>
                <a:gd name="connsiteX6" fmla="*/ 184856 w 314325"/>
                <a:gd name="connsiteY6" fmla="*/ 313031 h 314325"/>
                <a:gd name="connsiteX7" fmla="*/ 316301 w 314325"/>
                <a:gd name="connsiteY7" fmla="*/ 288266 h 314325"/>
                <a:gd name="connsiteX8" fmla="*/ 305823 w 314325"/>
                <a:gd name="connsiteY8" fmla="*/ 176824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4325" h="314325">
                  <a:moveTo>
                    <a:pt x="305823" y="176824"/>
                  </a:moveTo>
                  <a:cubicBezTo>
                    <a:pt x="305823" y="176824"/>
                    <a:pt x="225813" y="241594"/>
                    <a:pt x="156281" y="218734"/>
                  </a:cubicBezTo>
                  <a:cubicBezTo>
                    <a:pt x="87701" y="195874"/>
                    <a:pt x="61031" y="66334"/>
                    <a:pt x="61031" y="66334"/>
                  </a:cubicBezTo>
                  <a:cubicBezTo>
                    <a:pt x="61031" y="66334"/>
                    <a:pt x="76271" y="39664"/>
                    <a:pt x="61031" y="31091"/>
                  </a:cubicBezTo>
                  <a:cubicBezTo>
                    <a:pt x="61031" y="31091"/>
                    <a:pt x="63888" y="9184"/>
                    <a:pt x="48648" y="7279"/>
                  </a:cubicBezTo>
                  <a:cubicBezTo>
                    <a:pt x="33409" y="5374"/>
                    <a:pt x="-27552" y="23471"/>
                    <a:pt x="34361" y="71096"/>
                  </a:cubicBezTo>
                  <a:cubicBezTo>
                    <a:pt x="34361" y="71096"/>
                    <a:pt x="51506" y="305411"/>
                    <a:pt x="184856" y="313031"/>
                  </a:cubicBezTo>
                  <a:cubicBezTo>
                    <a:pt x="317253" y="321604"/>
                    <a:pt x="316301" y="288266"/>
                    <a:pt x="316301" y="288266"/>
                  </a:cubicBezTo>
                  <a:lnTo>
                    <a:pt x="305823" y="176824"/>
                  </a:lnTo>
                  <a:close/>
                </a:path>
              </a:pathLst>
            </a:custGeom>
            <a:solidFill>
              <a:srgbClr val="5202B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02D55E59-1CD6-40DC-993C-0D9F3485A84D}"/>
                </a:ext>
              </a:extLst>
            </p:cNvPr>
            <p:cNvSpPr/>
            <p:nvPr/>
          </p:nvSpPr>
          <p:spPr>
            <a:xfrm>
              <a:off x="7173981" y="2966383"/>
              <a:ext cx="76200" cy="171450"/>
            </a:xfrm>
            <a:custGeom>
              <a:avLst/>
              <a:gdLst>
                <a:gd name="connsiteX0" fmla="*/ 60257 w 76200"/>
                <a:gd name="connsiteY0" fmla="*/ 101619 h 171450"/>
                <a:gd name="connsiteX1" fmla="*/ 65972 w 76200"/>
                <a:gd name="connsiteY1" fmla="*/ 89237 h 171450"/>
                <a:gd name="connsiteX2" fmla="*/ 65972 w 76200"/>
                <a:gd name="connsiteY2" fmla="*/ 89237 h 171450"/>
                <a:gd name="connsiteX3" fmla="*/ 66924 w 76200"/>
                <a:gd name="connsiteY3" fmla="*/ 42564 h 171450"/>
                <a:gd name="connsiteX4" fmla="*/ 52637 w 76200"/>
                <a:gd name="connsiteY4" fmla="*/ 42564 h 171450"/>
                <a:gd name="connsiteX5" fmla="*/ 23109 w 76200"/>
                <a:gd name="connsiteY5" fmla="*/ 7322 h 171450"/>
                <a:gd name="connsiteX6" fmla="*/ 28824 w 76200"/>
                <a:gd name="connsiteY6" fmla="*/ 45422 h 171450"/>
                <a:gd name="connsiteX7" fmla="*/ 34539 w 76200"/>
                <a:gd name="connsiteY7" fmla="*/ 106382 h 171450"/>
                <a:gd name="connsiteX8" fmla="*/ 44064 w 76200"/>
                <a:gd name="connsiteY8" fmla="*/ 166389 h 171450"/>
                <a:gd name="connsiteX9" fmla="*/ 78354 w 76200"/>
                <a:gd name="connsiteY9" fmla="*/ 155912 h 171450"/>
                <a:gd name="connsiteX10" fmla="*/ 60257 w 76200"/>
                <a:gd name="connsiteY10" fmla="*/ 101619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6200" h="171450">
                  <a:moveTo>
                    <a:pt x="60257" y="101619"/>
                  </a:moveTo>
                  <a:cubicBezTo>
                    <a:pt x="60257" y="101619"/>
                    <a:pt x="63114" y="95904"/>
                    <a:pt x="65972" y="89237"/>
                  </a:cubicBezTo>
                  <a:cubicBezTo>
                    <a:pt x="65972" y="89237"/>
                    <a:pt x="65972" y="89237"/>
                    <a:pt x="65972" y="89237"/>
                  </a:cubicBezTo>
                  <a:cubicBezTo>
                    <a:pt x="80259" y="84474"/>
                    <a:pt x="72639" y="48279"/>
                    <a:pt x="66924" y="42564"/>
                  </a:cubicBezTo>
                  <a:cubicBezTo>
                    <a:pt x="62162" y="37802"/>
                    <a:pt x="55494" y="40659"/>
                    <a:pt x="52637" y="42564"/>
                  </a:cubicBezTo>
                  <a:cubicBezTo>
                    <a:pt x="49779" y="36849"/>
                    <a:pt x="32634" y="4464"/>
                    <a:pt x="23109" y="7322"/>
                  </a:cubicBezTo>
                  <a:cubicBezTo>
                    <a:pt x="16442" y="9227"/>
                    <a:pt x="23109" y="31134"/>
                    <a:pt x="28824" y="45422"/>
                  </a:cubicBezTo>
                  <a:cubicBezTo>
                    <a:pt x="8822" y="53042"/>
                    <a:pt x="-10228" y="72092"/>
                    <a:pt x="34539" y="106382"/>
                  </a:cubicBezTo>
                  <a:cubicBezTo>
                    <a:pt x="34539" y="106382"/>
                    <a:pt x="36444" y="132099"/>
                    <a:pt x="44064" y="166389"/>
                  </a:cubicBezTo>
                  <a:cubicBezTo>
                    <a:pt x="55494" y="163532"/>
                    <a:pt x="66924" y="160674"/>
                    <a:pt x="78354" y="155912"/>
                  </a:cubicBezTo>
                  <a:cubicBezTo>
                    <a:pt x="65972" y="125432"/>
                    <a:pt x="60257" y="101619"/>
                    <a:pt x="60257" y="101619"/>
                  </a:cubicBez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5948F75C-CEE3-491C-83FC-860FE15A1B63}"/>
                </a:ext>
              </a:extLst>
            </p:cNvPr>
            <p:cNvSpPr/>
            <p:nvPr/>
          </p:nvSpPr>
          <p:spPr>
            <a:xfrm>
              <a:off x="7569994" y="3412331"/>
              <a:ext cx="95250" cy="95250"/>
            </a:xfrm>
            <a:custGeom>
              <a:avLst/>
              <a:gdLst>
                <a:gd name="connsiteX0" fmla="*/ 65246 w 95250"/>
                <a:gd name="connsiteY0" fmla="*/ 7144 h 95250"/>
                <a:gd name="connsiteX1" fmla="*/ 7144 w 95250"/>
                <a:gd name="connsiteY1" fmla="*/ 81439 h 95250"/>
                <a:gd name="connsiteX2" fmla="*/ 19526 w 95250"/>
                <a:gd name="connsiteY2" fmla="*/ 95726 h 95250"/>
                <a:gd name="connsiteX3" fmla="*/ 95726 w 95250"/>
                <a:gd name="connsiteY3" fmla="*/ 34766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250" h="95250">
                  <a:moveTo>
                    <a:pt x="65246" y="7144"/>
                  </a:moveTo>
                  <a:lnTo>
                    <a:pt x="7144" y="81439"/>
                  </a:lnTo>
                  <a:lnTo>
                    <a:pt x="19526" y="95726"/>
                  </a:lnTo>
                  <a:lnTo>
                    <a:pt x="95726" y="34766"/>
                  </a:ln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A5E236F8-DF71-428E-AF06-F8D9A7D13469}"/>
                </a:ext>
              </a:extLst>
            </p:cNvPr>
            <p:cNvSpPr/>
            <p:nvPr/>
          </p:nvSpPr>
          <p:spPr>
            <a:xfrm>
              <a:off x="7512844" y="3153251"/>
              <a:ext cx="209550" cy="304800"/>
            </a:xfrm>
            <a:custGeom>
              <a:avLst/>
              <a:gdLst>
                <a:gd name="connsiteX0" fmla="*/ 7144 w 209550"/>
                <a:gd name="connsiteY0" fmla="*/ 7144 h 304800"/>
                <a:gd name="connsiteX1" fmla="*/ 121444 w 209550"/>
                <a:gd name="connsiteY1" fmla="*/ 47149 h 304800"/>
                <a:gd name="connsiteX2" fmla="*/ 210026 w 209550"/>
                <a:gd name="connsiteY2" fmla="*/ 223361 h 304800"/>
                <a:gd name="connsiteX3" fmla="*/ 166211 w 209550"/>
                <a:gd name="connsiteY3" fmla="*/ 305276 h 304800"/>
                <a:gd name="connsiteX4" fmla="*/ 121444 w 209550"/>
                <a:gd name="connsiteY4" fmla="*/ 266224 h 304800"/>
                <a:gd name="connsiteX5" fmla="*/ 145256 w 209550"/>
                <a:gd name="connsiteY5" fmla="*/ 219551 h 304800"/>
                <a:gd name="connsiteX6" fmla="*/ 75724 w 209550"/>
                <a:gd name="connsiteY6" fmla="*/ 133826 h 304800"/>
                <a:gd name="connsiteX7" fmla="*/ 25241 w 209550"/>
                <a:gd name="connsiteY7" fmla="*/ 31909 h 304800"/>
                <a:gd name="connsiteX8" fmla="*/ 7144 w 209550"/>
                <a:gd name="connsiteY8" fmla="*/ 7144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550" h="304800">
                  <a:moveTo>
                    <a:pt x="7144" y="7144"/>
                  </a:moveTo>
                  <a:cubicBezTo>
                    <a:pt x="7144" y="7144"/>
                    <a:pt x="100489" y="16669"/>
                    <a:pt x="121444" y="47149"/>
                  </a:cubicBezTo>
                  <a:cubicBezTo>
                    <a:pt x="142399" y="77629"/>
                    <a:pt x="218599" y="160496"/>
                    <a:pt x="210026" y="223361"/>
                  </a:cubicBezTo>
                  <a:cubicBezTo>
                    <a:pt x="202406" y="286226"/>
                    <a:pt x="166211" y="305276"/>
                    <a:pt x="166211" y="305276"/>
                  </a:cubicBezTo>
                  <a:lnTo>
                    <a:pt x="121444" y="266224"/>
                  </a:lnTo>
                  <a:cubicBezTo>
                    <a:pt x="121444" y="266224"/>
                    <a:pt x="150971" y="242411"/>
                    <a:pt x="145256" y="219551"/>
                  </a:cubicBezTo>
                  <a:cubicBezTo>
                    <a:pt x="140494" y="195739"/>
                    <a:pt x="75724" y="133826"/>
                    <a:pt x="75724" y="133826"/>
                  </a:cubicBezTo>
                  <a:lnTo>
                    <a:pt x="25241" y="31909"/>
                  </a:lnTo>
                  <a:lnTo>
                    <a:pt x="7144" y="7144"/>
                  </a:lnTo>
                  <a:close/>
                </a:path>
              </a:pathLst>
            </a:custGeom>
            <a:solidFill>
              <a:srgbClr val="5202B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3273D6E9-46CA-4FD6-A7FA-01B99F63E557}"/>
                </a:ext>
              </a:extLst>
            </p:cNvPr>
            <p:cNvSpPr/>
            <p:nvPr/>
          </p:nvSpPr>
          <p:spPr>
            <a:xfrm>
              <a:off x="7169944" y="4039039"/>
              <a:ext cx="552450" cy="47625"/>
            </a:xfrm>
            <a:custGeom>
              <a:avLst/>
              <a:gdLst>
                <a:gd name="connsiteX0" fmla="*/ 553879 w 552450"/>
                <a:gd name="connsiteY0" fmla="*/ 24325 h 47625"/>
                <a:gd name="connsiteX1" fmla="*/ 280511 w 552450"/>
                <a:gd name="connsiteY1" fmla="*/ 41470 h 47625"/>
                <a:gd name="connsiteX2" fmla="*/ 7144 w 552450"/>
                <a:gd name="connsiteY2" fmla="*/ 24325 h 47625"/>
                <a:gd name="connsiteX3" fmla="*/ 280511 w 552450"/>
                <a:gd name="connsiteY3" fmla="*/ 7180 h 47625"/>
                <a:gd name="connsiteX4" fmla="*/ 553879 w 552450"/>
                <a:gd name="connsiteY4" fmla="*/ 243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2450" h="47625">
                  <a:moveTo>
                    <a:pt x="553879" y="24325"/>
                  </a:moveTo>
                  <a:cubicBezTo>
                    <a:pt x="553879" y="24325"/>
                    <a:pt x="431006" y="41470"/>
                    <a:pt x="280511" y="41470"/>
                  </a:cubicBezTo>
                  <a:cubicBezTo>
                    <a:pt x="129064" y="41470"/>
                    <a:pt x="7144" y="24325"/>
                    <a:pt x="7144" y="24325"/>
                  </a:cubicBezTo>
                  <a:cubicBezTo>
                    <a:pt x="7144" y="24325"/>
                    <a:pt x="130016" y="7180"/>
                    <a:pt x="280511" y="7180"/>
                  </a:cubicBezTo>
                  <a:cubicBezTo>
                    <a:pt x="431006" y="6228"/>
                    <a:pt x="553879" y="24325"/>
                    <a:pt x="553879" y="24325"/>
                  </a:cubicBezTo>
                  <a:close/>
                </a:path>
              </a:pathLst>
            </a:custGeom>
            <a:solidFill>
              <a:srgbClr val="F065A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D031EEA1-198D-447A-AC0F-C5465A98BCBD}"/>
                </a:ext>
              </a:extLst>
            </p:cNvPr>
            <p:cNvSpPr/>
            <p:nvPr/>
          </p:nvSpPr>
          <p:spPr>
            <a:xfrm>
              <a:off x="7473760" y="4014311"/>
              <a:ext cx="104775" cy="66675"/>
            </a:xfrm>
            <a:custGeom>
              <a:avLst/>
              <a:gdLst>
                <a:gd name="connsiteX0" fmla="*/ 91948 w 104775"/>
                <a:gd name="connsiteY0" fmla="*/ 7144 h 66675"/>
                <a:gd name="connsiteX1" fmla="*/ 94806 w 104775"/>
                <a:gd name="connsiteY1" fmla="*/ 22384 h 66675"/>
                <a:gd name="connsiteX2" fmla="*/ 98615 w 104775"/>
                <a:gd name="connsiteY2" fmla="*/ 42386 h 66675"/>
                <a:gd name="connsiteX3" fmla="*/ 13843 w 104775"/>
                <a:gd name="connsiteY3" fmla="*/ 63341 h 66675"/>
                <a:gd name="connsiteX4" fmla="*/ 8128 w 104775"/>
                <a:gd name="connsiteY4" fmla="*/ 54769 h 66675"/>
                <a:gd name="connsiteX5" fmla="*/ 24321 w 104775"/>
                <a:gd name="connsiteY5" fmla="*/ 38576 h 66675"/>
                <a:gd name="connsiteX6" fmla="*/ 56706 w 104775"/>
                <a:gd name="connsiteY6" fmla="*/ 15716 h 66675"/>
                <a:gd name="connsiteX7" fmla="*/ 91948 w 104775"/>
                <a:gd name="connsiteY7" fmla="*/ 714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775" h="66675">
                  <a:moveTo>
                    <a:pt x="91948" y="7144"/>
                  </a:moveTo>
                  <a:lnTo>
                    <a:pt x="94806" y="22384"/>
                  </a:lnTo>
                  <a:lnTo>
                    <a:pt x="98615" y="42386"/>
                  </a:lnTo>
                  <a:lnTo>
                    <a:pt x="13843" y="63341"/>
                  </a:lnTo>
                  <a:cubicBezTo>
                    <a:pt x="9081" y="64294"/>
                    <a:pt x="5271" y="59531"/>
                    <a:pt x="8128" y="54769"/>
                  </a:cubicBezTo>
                  <a:cubicBezTo>
                    <a:pt x="11938" y="49054"/>
                    <a:pt x="17653" y="43339"/>
                    <a:pt x="24321" y="38576"/>
                  </a:cubicBezTo>
                  <a:cubicBezTo>
                    <a:pt x="39560" y="26194"/>
                    <a:pt x="56706" y="15716"/>
                    <a:pt x="56706" y="15716"/>
                  </a:cubicBezTo>
                  <a:lnTo>
                    <a:pt x="91948" y="714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4469A526-86FE-4281-8AEF-3FDBE774222B}"/>
                </a:ext>
              </a:extLst>
            </p:cNvPr>
            <p:cNvSpPr/>
            <p:nvPr/>
          </p:nvSpPr>
          <p:spPr>
            <a:xfrm>
              <a:off x="7318673" y="4014311"/>
              <a:ext cx="104775" cy="47625"/>
            </a:xfrm>
            <a:custGeom>
              <a:avLst/>
              <a:gdLst>
                <a:gd name="connsiteX0" fmla="*/ 101302 w 104775"/>
                <a:gd name="connsiteY0" fmla="*/ 7144 h 47625"/>
                <a:gd name="connsiteX1" fmla="*/ 100349 w 104775"/>
                <a:gd name="connsiteY1" fmla="*/ 22384 h 47625"/>
                <a:gd name="connsiteX2" fmla="*/ 99397 w 104775"/>
                <a:gd name="connsiteY2" fmla="*/ 42386 h 47625"/>
                <a:gd name="connsiteX3" fmla="*/ 12719 w 104775"/>
                <a:gd name="connsiteY3" fmla="*/ 44291 h 47625"/>
                <a:gd name="connsiteX4" fmla="*/ 8909 w 104775"/>
                <a:gd name="connsiteY4" fmla="*/ 34766 h 47625"/>
                <a:gd name="connsiteX5" fmla="*/ 27959 w 104775"/>
                <a:gd name="connsiteY5" fmla="*/ 22384 h 47625"/>
                <a:gd name="connsiteX6" fmla="*/ 64154 w 104775"/>
                <a:gd name="connsiteY6" fmla="*/ 8096 h 47625"/>
                <a:gd name="connsiteX7" fmla="*/ 101302 w 104775"/>
                <a:gd name="connsiteY7" fmla="*/ 7144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775" h="47625">
                  <a:moveTo>
                    <a:pt x="101302" y="7144"/>
                  </a:moveTo>
                  <a:lnTo>
                    <a:pt x="100349" y="22384"/>
                  </a:lnTo>
                  <a:lnTo>
                    <a:pt x="99397" y="42386"/>
                  </a:lnTo>
                  <a:lnTo>
                    <a:pt x="12719" y="44291"/>
                  </a:lnTo>
                  <a:cubicBezTo>
                    <a:pt x="7957" y="44291"/>
                    <a:pt x="5099" y="38576"/>
                    <a:pt x="8909" y="34766"/>
                  </a:cubicBezTo>
                  <a:cubicBezTo>
                    <a:pt x="13672" y="30004"/>
                    <a:pt x="21292" y="26194"/>
                    <a:pt x="27959" y="22384"/>
                  </a:cubicBezTo>
                  <a:cubicBezTo>
                    <a:pt x="45104" y="13811"/>
                    <a:pt x="64154" y="8096"/>
                    <a:pt x="64154" y="8096"/>
                  </a:cubicBezTo>
                  <a:lnTo>
                    <a:pt x="101302" y="714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3C9D6D5E-94D3-45AF-A49A-0B2DD73FB837}"/>
                </a:ext>
              </a:extLst>
            </p:cNvPr>
            <p:cNvSpPr/>
            <p:nvPr/>
          </p:nvSpPr>
          <p:spPr>
            <a:xfrm>
              <a:off x="7343299" y="3460908"/>
              <a:ext cx="238125" cy="571500"/>
            </a:xfrm>
            <a:custGeom>
              <a:avLst/>
              <a:gdLst>
                <a:gd name="connsiteX0" fmla="*/ 236696 w 238125"/>
                <a:gd name="connsiteY0" fmla="*/ 37624 h 571500"/>
                <a:gd name="connsiteX1" fmla="*/ 196691 w 238125"/>
                <a:gd name="connsiteY1" fmla="*/ 289084 h 571500"/>
                <a:gd name="connsiteX2" fmla="*/ 226219 w 238125"/>
                <a:gd name="connsiteY2" fmla="*/ 566261 h 571500"/>
                <a:gd name="connsiteX3" fmla="*/ 179546 w 238125"/>
                <a:gd name="connsiteY3" fmla="*/ 571024 h 571500"/>
                <a:gd name="connsiteX4" fmla="*/ 117634 w 238125"/>
                <a:gd name="connsiteY4" fmla="*/ 346234 h 571500"/>
                <a:gd name="connsiteX5" fmla="*/ 117634 w 238125"/>
                <a:gd name="connsiteY5" fmla="*/ 179546 h 571500"/>
                <a:gd name="connsiteX6" fmla="*/ 76676 w 238125"/>
                <a:gd name="connsiteY6" fmla="*/ 314801 h 571500"/>
                <a:gd name="connsiteX7" fmla="*/ 81439 w 238125"/>
                <a:gd name="connsiteY7" fmla="*/ 561499 h 571500"/>
                <a:gd name="connsiteX8" fmla="*/ 34766 w 238125"/>
                <a:gd name="connsiteY8" fmla="*/ 561499 h 571500"/>
                <a:gd name="connsiteX9" fmla="*/ 7144 w 238125"/>
                <a:gd name="connsiteY9" fmla="*/ 290989 h 571500"/>
                <a:gd name="connsiteX10" fmla="*/ 68104 w 238125"/>
                <a:gd name="connsiteY10" fmla="*/ 7144 h 571500"/>
                <a:gd name="connsiteX11" fmla="*/ 236696 w 238125"/>
                <a:gd name="connsiteY11" fmla="*/ 37624 h 571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8125" h="571500">
                  <a:moveTo>
                    <a:pt x="236696" y="37624"/>
                  </a:moveTo>
                  <a:cubicBezTo>
                    <a:pt x="236696" y="37624"/>
                    <a:pt x="226219" y="170974"/>
                    <a:pt x="196691" y="289084"/>
                  </a:cubicBezTo>
                  <a:lnTo>
                    <a:pt x="226219" y="566261"/>
                  </a:lnTo>
                  <a:lnTo>
                    <a:pt x="179546" y="571024"/>
                  </a:lnTo>
                  <a:cubicBezTo>
                    <a:pt x="179546" y="571024"/>
                    <a:pt x="130969" y="389096"/>
                    <a:pt x="117634" y="346234"/>
                  </a:cubicBezTo>
                  <a:cubicBezTo>
                    <a:pt x="102394" y="298609"/>
                    <a:pt x="117634" y="179546"/>
                    <a:pt x="117634" y="179546"/>
                  </a:cubicBezTo>
                  <a:cubicBezTo>
                    <a:pt x="117634" y="179546"/>
                    <a:pt x="76676" y="270986"/>
                    <a:pt x="76676" y="314801"/>
                  </a:cubicBezTo>
                  <a:cubicBezTo>
                    <a:pt x="76676" y="358616"/>
                    <a:pt x="81439" y="561499"/>
                    <a:pt x="81439" y="561499"/>
                  </a:cubicBezTo>
                  <a:cubicBezTo>
                    <a:pt x="81439" y="561499"/>
                    <a:pt x="50006" y="570071"/>
                    <a:pt x="34766" y="561499"/>
                  </a:cubicBezTo>
                  <a:cubicBezTo>
                    <a:pt x="19526" y="552926"/>
                    <a:pt x="7144" y="290989"/>
                    <a:pt x="7144" y="290989"/>
                  </a:cubicBezTo>
                  <a:lnTo>
                    <a:pt x="68104" y="7144"/>
                  </a:lnTo>
                  <a:cubicBezTo>
                    <a:pt x="67151" y="7144"/>
                    <a:pt x="148114" y="29051"/>
                    <a:pt x="236696" y="37624"/>
                  </a:cubicBezTo>
                  <a:close/>
                </a:path>
              </a:pathLst>
            </a:custGeom>
            <a:solidFill>
              <a:srgbClr val="0E0E1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D0078EB6-0C1D-44FC-9547-BF1F79E2D6F7}"/>
                </a:ext>
              </a:extLst>
            </p:cNvPr>
            <p:cNvSpPr/>
            <p:nvPr/>
          </p:nvSpPr>
          <p:spPr>
            <a:xfrm>
              <a:off x="7383304" y="3153241"/>
              <a:ext cx="228600" cy="371475"/>
            </a:xfrm>
            <a:custGeom>
              <a:avLst/>
              <a:gdLst>
                <a:gd name="connsiteX0" fmla="*/ 218599 w 228600"/>
                <a:gd name="connsiteY0" fmla="*/ 354816 h 371475"/>
                <a:gd name="connsiteX1" fmla="*/ 217646 w 228600"/>
                <a:gd name="connsiteY1" fmla="*/ 97641 h 371475"/>
                <a:gd name="connsiteX2" fmla="*/ 135731 w 228600"/>
                <a:gd name="connsiteY2" fmla="*/ 7153 h 371475"/>
                <a:gd name="connsiteX3" fmla="*/ 83344 w 228600"/>
                <a:gd name="connsiteY3" fmla="*/ 19536 h 371475"/>
                <a:gd name="connsiteX4" fmla="*/ 41434 w 228600"/>
                <a:gd name="connsiteY4" fmla="*/ 161458 h 371475"/>
                <a:gd name="connsiteX5" fmla="*/ 7144 w 228600"/>
                <a:gd name="connsiteY5" fmla="*/ 325288 h 371475"/>
                <a:gd name="connsiteX6" fmla="*/ 218599 w 228600"/>
                <a:gd name="connsiteY6" fmla="*/ 354816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8600" h="371475">
                  <a:moveTo>
                    <a:pt x="218599" y="354816"/>
                  </a:moveTo>
                  <a:cubicBezTo>
                    <a:pt x="221456" y="327193"/>
                    <a:pt x="230029" y="139551"/>
                    <a:pt x="217646" y="97641"/>
                  </a:cubicBezTo>
                  <a:cubicBezTo>
                    <a:pt x="191929" y="4296"/>
                    <a:pt x="135731" y="7153"/>
                    <a:pt x="135731" y="7153"/>
                  </a:cubicBezTo>
                  <a:cubicBezTo>
                    <a:pt x="118586" y="47158"/>
                    <a:pt x="83344" y="19536"/>
                    <a:pt x="83344" y="19536"/>
                  </a:cubicBezTo>
                  <a:cubicBezTo>
                    <a:pt x="83344" y="19536"/>
                    <a:pt x="20479" y="57636"/>
                    <a:pt x="41434" y="161458"/>
                  </a:cubicBezTo>
                  <a:cubicBezTo>
                    <a:pt x="54769" y="228133"/>
                    <a:pt x="28099" y="290046"/>
                    <a:pt x="7144" y="325288"/>
                  </a:cubicBezTo>
                  <a:cubicBezTo>
                    <a:pt x="68104" y="368151"/>
                    <a:pt x="148114" y="378628"/>
                    <a:pt x="218599" y="354816"/>
                  </a:cubicBezTo>
                  <a:close/>
                </a:path>
              </a:pathLst>
            </a:custGeom>
            <a:solidFill>
              <a:srgbClr val="5202B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9A49D7AD-4266-4CA5-8C0E-0486CC3C2BC4}"/>
                </a:ext>
              </a:extLst>
            </p:cNvPr>
            <p:cNvSpPr/>
            <p:nvPr/>
          </p:nvSpPr>
          <p:spPr>
            <a:xfrm>
              <a:off x="7432834" y="3139608"/>
              <a:ext cx="104775" cy="104775"/>
            </a:xfrm>
            <a:custGeom>
              <a:avLst/>
              <a:gdLst>
                <a:gd name="connsiteX0" fmla="*/ 30004 w 104775"/>
                <a:gd name="connsiteY0" fmla="*/ 36979 h 104775"/>
                <a:gd name="connsiteX1" fmla="*/ 7144 w 104775"/>
                <a:gd name="connsiteY1" fmla="*/ 62696 h 104775"/>
                <a:gd name="connsiteX2" fmla="*/ 22384 w 104775"/>
                <a:gd name="connsiteY2" fmla="*/ 93176 h 104775"/>
                <a:gd name="connsiteX3" fmla="*/ 44291 w 104775"/>
                <a:gd name="connsiteY3" fmla="*/ 67459 h 104775"/>
                <a:gd name="connsiteX4" fmla="*/ 65246 w 104775"/>
                <a:gd name="connsiteY4" fmla="*/ 97939 h 104775"/>
                <a:gd name="connsiteX5" fmla="*/ 89059 w 104775"/>
                <a:gd name="connsiteY5" fmla="*/ 16024 h 104775"/>
                <a:gd name="connsiteX6" fmla="*/ 30004 w 104775"/>
                <a:gd name="connsiteY6" fmla="*/ 3697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775" h="104775">
                  <a:moveTo>
                    <a:pt x="30004" y="36979"/>
                  </a:moveTo>
                  <a:cubicBezTo>
                    <a:pt x="30004" y="36979"/>
                    <a:pt x="7144" y="50314"/>
                    <a:pt x="7144" y="62696"/>
                  </a:cubicBezTo>
                  <a:cubicBezTo>
                    <a:pt x="7144" y="75079"/>
                    <a:pt x="22384" y="93176"/>
                    <a:pt x="22384" y="93176"/>
                  </a:cubicBezTo>
                  <a:lnTo>
                    <a:pt x="44291" y="67459"/>
                  </a:lnTo>
                  <a:lnTo>
                    <a:pt x="65246" y="97939"/>
                  </a:lnTo>
                  <a:cubicBezTo>
                    <a:pt x="65246" y="97939"/>
                    <a:pt x="133826" y="45551"/>
                    <a:pt x="89059" y="16024"/>
                  </a:cubicBezTo>
                  <a:cubicBezTo>
                    <a:pt x="44291" y="-12551"/>
                    <a:pt x="30004" y="36979"/>
                    <a:pt x="30004" y="3697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6558FD1D-0224-41DB-8520-AF7330A61D9F}"/>
                </a:ext>
              </a:extLst>
            </p:cNvPr>
            <p:cNvSpPr/>
            <p:nvPr/>
          </p:nvSpPr>
          <p:spPr>
            <a:xfrm>
              <a:off x="7411993" y="3023207"/>
              <a:ext cx="114300" cy="142875"/>
            </a:xfrm>
            <a:custGeom>
              <a:avLst/>
              <a:gdLst>
                <a:gd name="connsiteX0" fmla="*/ 9887 w 114300"/>
                <a:gd name="connsiteY0" fmla="*/ 46700 h 142875"/>
                <a:gd name="connsiteX1" fmla="*/ 44177 w 114300"/>
                <a:gd name="connsiteY1" fmla="*/ 139093 h 142875"/>
                <a:gd name="connsiteX2" fmla="*/ 110852 w 114300"/>
                <a:gd name="connsiteY2" fmla="*/ 79085 h 142875"/>
                <a:gd name="connsiteX3" fmla="*/ 60369 w 114300"/>
                <a:gd name="connsiteY3" fmla="*/ 7648 h 142875"/>
                <a:gd name="connsiteX4" fmla="*/ 9887 w 114300"/>
                <a:gd name="connsiteY4" fmla="*/ 46700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0" h="142875">
                  <a:moveTo>
                    <a:pt x="9887" y="46700"/>
                  </a:moveTo>
                  <a:cubicBezTo>
                    <a:pt x="9887" y="46700"/>
                    <a:pt x="-7258" y="140045"/>
                    <a:pt x="44177" y="139093"/>
                  </a:cubicBezTo>
                  <a:cubicBezTo>
                    <a:pt x="95612" y="138140"/>
                    <a:pt x="114662" y="100993"/>
                    <a:pt x="110852" y="79085"/>
                  </a:cubicBezTo>
                  <a:cubicBezTo>
                    <a:pt x="107042" y="57178"/>
                    <a:pt x="104184" y="13363"/>
                    <a:pt x="60369" y="7648"/>
                  </a:cubicBezTo>
                  <a:cubicBezTo>
                    <a:pt x="16554" y="1933"/>
                    <a:pt x="9887" y="46700"/>
                    <a:pt x="9887" y="46700"/>
                  </a:cubicBez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789CEDA5-D8F2-462A-8E9E-9BFC2189606B}"/>
                </a:ext>
              </a:extLst>
            </p:cNvPr>
            <p:cNvSpPr/>
            <p:nvPr/>
          </p:nvSpPr>
          <p:spPr>
            <a:xfrm>
              <a:off x="7417289" y="2985611"/>
              <a:ext cx="152400" cy="133350"/>
            </a:xfrm>
            <a:custGeom>
              <a:avLst/>
              <a:gdLst>
                <a:gd name="connsiteX0" fmla="*/ 150323 w 152400"/>
                <a:gd name="connsiteY0" fmla="*/ 63341 h 133350"/>
                <a:gd name="connsiteX1" fmla="*/ 134130 w 152400"/>
                <a:gd name="connsiteY1" fmla="*/ 48101 h 133350"/>
                <a:gd name="connsiteX2" fmla="*/ 134130 w 152400"/>
                <a:gd name="connsiteY2" fmla="*/ 48101 h 133350"/>
                <a:gd name="connsiteX3" fmla="*/ 132226 w 152400"/>
                <a:gd name="connsiteY3" fmla="*/ 35719 h 133350"/>
                <a:gd name="connsiteX4" fmla="*/ 124605 w 152400"/>
                <a:gd name="connsiteY4" fmla="*/ 24289 h 133350"/>
                <a:gd name="connsiteX5" fmla="*/ 124605 w 152400"/>
                <a:gd name="connsiteY5" fmla="*/ 40481 h 133350"/>
                <a:gd name="connsiteX6" fmla="*/ 116033 w 152400"/>
                <a:gd name="connsiteY6" fmla="*/ 26194 h 133350"/>
                <a:gd name="connsiteX7" fmla="*/ 106508 w 152400"/>
                <a:gd name="connsiteY7" fmla="*/ 19526 h 133350"/>
                <a:gd name="connsiteX8" fmla="*/ 54121 w 152400"/>
                <a:gd name="connsiteY8" fmla="*/ 10954 h 133350"/>
                <a:gd name="connsiteX9" fmla="*/ 41738 w 152400"/>
                <a:gd name="connsiteY9" fmla="*/ 11906 h 133350"/>
                <a:gd name="connsiteX10" fmla="*/ 30308 w 152400"/>
                <a:gd name="connsiteY10" fmla="*/ 7144 h 133350"/>
                <a:gd name="connsiteX11" fmla="*/ 39833 w 152400"/>
                <a:gd name="connsiteY11" fmla="*/ 22384 h 133350"/>
                <a:gd name="connsiteX12" fmla="*/ 7448 w 152400"/>
                <a:gd name="connsiteY12" fmla="*/ 71914 h 133350"/>
                <a:gd name="connsiteX13" fmla="*/ 33166 w 152400"/>
                <a:gd name="connsiteY13" fmla="*/ 73819 h 133350"/>
                <a:gd name="connsiteX14" fmla="*/ 95078 w 152400"/>
                <a:gd name="connsiteY14" fmla="*/ 124301 h 133350"/>
                <a:gd name="connsiteX15" fmla="*/ 116986 w 152400"/>
                <a:gd name="connsiteY15" fmla="*/ 120491 h 133350"/>
                <a:gd name="connsiteX16" fmla="*/ 124605 w 152400"/>
                <a:gd name="connsiteY16" fmla="*/ 131921 h 133350"/>
                <a:gd name="connsiteX17" fmla="*/ 142703 w 152400"/>
                <a:gd name="connsiteY17" fmla="*/ 69056 h 133350"/>
                <a:gd name="connsiteX18" fmla="*/ 154133 w 152400"/>
                <a:gd name="connsiteY18" fmla="*/ 70009 h 133350"/>
                <a:gd name="connsiteX19" fmla="*/ 150323 w 152400"/>
                <a:gd name="connsiteY19" fmla="*/ 63341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2400" h="133350">
                  <a:moveTo>
                    <a:pt x="150323" y="63341"/>
                  </a:moveTo>
                  <a:cubicBezTo>
                    <a:pt x="146513" y="56674"/>
                    <a:pt x="140798" y="51911"/>
                    <a:pt x="134130" y="48101"/>
                  </a:cubicBezTo>
                  <a:cubicBezTo>
                    <a:pt x="134130" y="48101"/>
                    <a:pt x="134130" y="48101"/>
                    <a:pt x="134130" y="48101"/>
                  </a:cubicBezTo>
                  <a:cubicBezTo>
                    <a:pt x="134130" y="44291"/>
                    <a:pt x="133178" y="39529"/>
                    <a:pt x="132226" y="35719"/>
                  </a:cubicBezTo>
                  <a:cubicBezTo>
                    <a:pt x="130321" y="31909"/>
                    <a:pt x="127463" y="28099"/>
                    <a:pt x="124605" y="24289"/>
                  </a:cubicBezTo>
                  <a:cubicBezTo>
                    <a:pt x="125558" y="29051"/>
                    <a:pt x="125558" y="35719"/>
                    <a:pt x="124605" y="40481"/>
                  </a:cubicBezTo>
                  <a:cubicBezTo>
                    <a:pt x="122701" y="35719"/>
                    <a:pt x="119843" y="30004"/>
                    <a:pt x="116033" y="26194"/>
                  </a:cubicBezTo>
                  <a:cubicBezTo>
                    <a:pt x="113176" y="23336"/>
                    <a:pt x="109366" y="21431"/>
                    <a:pt x="106508" y="19526"/>
                  </a:cubicBezTo>
                  <a:cubicBezTo>
                    <a:pt x="90316" y="11906"/>
                    <a:pt x="72218" y="9049"/>
                    <a:pt x="54121" y="10954"/>
                  </a:cubicBezTo>
                  <a:cubicBezTo>
                    <a:pt x="50311" y="10954"/>
                    <a:pt x="45548" y="11906"/>
                    <a:pt x="41738" y="11906"/>
                  </a:cubicBezTo>
                  <a:cubicBezTo>
                    <a:pt x="37928" y="11906"/>
                    <a:pt x="33166" y="10001"/>
                    <a:pt x="30308" y="7144"/>
                  </a:cubicBezTo>
                  <a:cubicBezTo>
                    <a:pt x="32213" y="12859"/>
                    <a:pt x="36023" y="18574"/>
                    <a:pt x="39833" y="22384"/>
                  </a:cubicBezTo>
                  <a:cubicBezTo>
                    <a:pt x="1733" y="35719"/>
                    <a:pt x="7448" y="71914"/>
                    <a:pt x="7448" y="71914"/>
                  </a:cubicBezTo>
                  <a:cubicBezTo>
                    <a:pt x="19830" y="67151"/>
                    <a:pt x="33166" y="73819"/>
                    <a:pt x="33166" y="73819"/>
                  </a:cubicBezTo>
                  <a:cubicBezTo>
                    <a:pt x="32213" y="108109"/>
                    <a:pt x="95078" y="124301"/>
                    <a:pt x="95078" y="124301"/>
                  </a:cubicBezTo>
                  <a:cubicBezTo>
                    <a:pt x="104603" y="115729"/>
                    <a:pt x="116986" y="120491"/>
                    <a:pt x="116986" y="120491"/>
                  </a:cubicBezTo>
                  <a:cubicBezTo>
                    <a:pt x="124605" y="125254"/>
                    <a:pt x="124605" y="131921"/>
                    <a:pt x="124605" y="131921"/>
                  </a:cubicBezTo>
                  <a:cubicBezTo>
                    <a:pt x="138893" y="121444"/>
                    <a:pt x="142703" y="69056"/>
                    <a:pt x="142703" y="69056"/>
                  </a:cubicBezTo>
                  <a:cubicBezTo>
                    <a:pt x="146513" y="68104"/>
                    <a:pt x="150323" y="68104"/>
                    <a:pt x="154133" y="70009"/>
                  </a:cubicBezTo>
                  <a:cubicBezTo>
                    <a:pt x="152228" y="68104"/>
                    <a:pt x="151276" y="65246"/>
                    <a:pt x="150323" y="63341"/>
                  </a:cubicBezTo>
                  <a:close/>
                </a:path>
              </a:pathLst>
            </a:custGeom>
            <a:solidFill>
              <a:srgbClr val="0E0E1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BD31D2EE-750C-40E8-B40D-C776F3803BCD}"/>
                </a:ext>
              </a:extLst>
            </p:cNvPr>
            <p:cNvSpPr/>
            <p:nvPr/>
          </p:nvSpPr>
          <p:spPr>
            <a:xfrm>
              <a:off x="7501311" y="3096950"/>
              <a:ext cx="47625" cy="47625"/>
            </a:xfrm>
            <a:custGeom>
              <a:avLst/>
              <a:gdLst>
                <a:gd name="connsiteX0" fmla="*/ 7247 w 47625"/>
                <a:gd name="connsiteY0" fmla="*/ 26297 h 47625"/>
                <a:gd name="connsiteX1" fmla="*/ 26297 w 47625"/>
                <a:gd name="connsiteY1" fmla="*/ 40584 h 47625"/>
                <a:gd name="connsiteX2" fmla="*/ 40584 w 47625"/>
                <a:gd name="connsiteY2" fmla="*/ 21534 h 47625"/>
                <a:gd name="connsiteX3" fmla="*/ 21534 w 47625"/>
                <a:gd name="connsiteY3" fmla="*/ 7247 h 47625"/>
                <a:gd name="connsiteX4" fmla="*/ 7247 w 47625"/>
                <a:gd name="connsiteY4" fmla="*/ 26297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25" h="47625">
                  <a:moveTo>
                    <a:pt x="7247" y="26297"/>
                  </a:moveTo>
                  <a:cubicBezTo>
                    <a:pt x="9152" y="35822"/>
                    <a:pt x="17724" y="41537"/>
                    <a:pt x="26297" y="40584"/>
                  </a:cubicBezTo>
                  <a:cubicBezTo>
                    <a:pt x="35822" y="38679"/>
                    <a:pt x="41537" y="30107"/>
                    <a:pt x="40584" y="21534"/>
                  </a:cubicBezTo>
                  <a:cubicBezTo>
                    <a:pt x="38680" y="12009"/>
                    <a:pt x="30107" y="6294"/>
                    <a:pt x="21534" y="7247"/>
                  </a:cubicBezTo>
                  <a:cubicBezTo>
                    <a:pt x="12009" y="8199"/>
                    <a:pt x="6295" y="16772"/>
                    <a:pt x="7247" y="26297"/>
                  </a:cubicBez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83938389-21C1-4B73-AB43-CA7675523824}"/>
                </a:ext>
              </a:extLst>
            </p:cNvPr>
            <p:cNvSpPr/>
            <p:nvPr/>
          </p:nvSpPr>
          <p:spPr>
            <a:xfrm>
              <a:off x="7456646" y="3110388"/>
              <a:ext cx="66675" cy="85725"/>
            </a:xfrm>
            <a:custGeom>
              <a:avLst/>
              <a:gdLst>
                <a:gd name="connsiteX0" fmla="*/ 62389 w 66675"/>
                <a:gd name="connsiteY0" fmla="*/ 7144 h 85725"/>
                <a:gd name="connsiteX1" fmla="*/ 64294 w 66675"/>
                <a:gd name="connsiteY1" fmla="*/ 19526 h 85725"/>
                <a:gd name="connsiteX2" fmla="*/ 65246 w 66675"/>
                <a:gd name="connsiteY2" fmla="*/ 25241 h 85725"/>
                <a:gd name="connsiteX3" fmla="*/ 66199 w 66675"/>
                <a:gd name="connsiteY3" fmla="*/ 45244 h 85725"/>
                <a:gd name="connsiteX4" fmla="*/ 60484 w 66675"/>
                <a:gd name="connsiteY4" fmla="*/ 72866 h 85725"/>
                <a:gd name="connsiteX5" fmla="*/ 10001 w 66675"/>
                <a:gd name="connsiteY5" fmla="*/ 81439 h 85725"/>
                <a:gd name="connsiteX6" fmla="*/ 7144 w 66675"/>
                <a:gd name="connsiteY6" fmla="*/ 66199 h 85725"/>
                <a:gd name="connsiteX7" fmla="*/ 7144 w 66675"/>
                <a:gd name="connsiteY7" fmla="*/ 50959 h 85725"/>
                <a:gd name="connsiteX8" fmla="*/ 7144 w 66675"/>
                <a:gd name="connsiteY8" fmla="*/ 50959 h 85725"/>
                <a:gd name="connsiteX9" fmla="*/ 8096 w 66675"/>
                <a:gd name="connsiteY9" fmla="*/ 19526 h 85725"/>
                <a:gd name="connsiteX10" fmla="*/ 62389 w 66675"/>
                <a:gd name="connsiteY10" fmla="*/ 7144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75" h="85725">
                  <a:moveTo>
                    <a:pt x="62389" y="7144"/>
                  </a:moveTo>
                  <a:lnTo>
                    <a:pt x="64294" y="19526"/>
                  </a:lnTo>
                  <a:cubicBezTo>
                    <a:pt x="64294" y="19526"/>
                    <a:pt x="64294" y="21431"/>
                    <a:pt x="65246" y="25241"/>
                  </a:cubicBezTo>
                  <a:cubicBezTo>
                    <a:pt x="65246" y="30004"/>
                    <a:pt x="66199" y="37624"/>
                    <a:pt x="66199" y="45244"/>
                  </a:cubicBezTo>
                  <a:cubicBezTo>
                    <a:pt x="66199" y="56674"/>
                    <a:pt x="65246" y="69056"/>
                    <a:pt x="60484" y="72866"/>
                  </a:cubicBezTo>
                  <a:cubicBezTo>
                    <a:pt x="50959" y="81439"/>
                    <a:pt x="14764" y="83344"/>
                    <a:pt x="10001" y="81439"/>
                  </a:cubicBezTo>
                  <a:cubicBezTo>
                    <a:pt x="8096" y="80486"/>
                    <a:pt x="7144" y="73819"/>
                    <a:pt x="7144" y="66199"/>
                  </a:cubicBezTo>
                  <a:cubicBezTo>
                    <a:pt x="7144" y="61436"/>
                    <a:pt x="7144" y="56674"/>
                    <a:pt x="7144" y="50959"/>
                  </a:cubicBezTo>
                  <a:cubicBezTo>
                    <a:pt x="7144" y="50959"/>
                    <a:pt x="7144" y="50959"/>
                    <a:pt x="7144" y="50959"/>
                  </a:cubicBezTo>
                  <a:cubicBezTo>
                    <a:pt x="7144" y="35719"/>
                    <a:pt x="8096" y="19526"/>
                    <a:pt x="8096" y="19526"/>
                  </a:cubicBezTo>
                  <a:lnTo>
                    <a:pt x="62389" y="7144"/>
                  </a:ln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50BB9F51-4C95-47E0-8F95-F837E6D14E07}"/>
                </a:ext>
              </a:extLst>
            </p:cNvPr>
            <p:cNvSpPr/>
            <p:nvPr/>
          </p:nvSpPr>
          <p:spPr>
            <a:xfrm>
              <a:off x="7456646" y="3129438"/>
              <a:ext cx="66675" cy="47625"/>
            </a:xfrm>
            <a:custGeom>
              <a:avLst/>
              <a:gdLst>
                <a:gd name="connsiteX0" fmla="*/ 65246 w 66675"/>
                <a:gd name="connsiteY0" fmla="*/ 7144 h 47625"/>
                <a:gd name="connsiteX1" fmla="*/ 66199 w 66675"/>
                <a:gd name="connsiteY1" fmla="*/ 27146 h 47625"/>
                <a:gd name="connsiteX2" fmla="*/ 7144 w 66675"/>
                <a:gd name="connsiteY2" fmla="*/ 47149 h 47625"/>
                <a:gd name="connsiteX3" fmla="*/ 7144 w 66675"/>
                <a:gd name="connsiteY3" fmla="*/ 31909 h 47625"/>
                <a:gd name="connsiteX4" fmla="*/ 7144 w 66675"/>
                <a:gd name="connsiteY4" fmla="*/ 31909 h 47625"/>
                <a:gd name="connsiteX5" fmla="*/ 65246 w 66675"/>
                <a:gd name="connsiteY5" fmla="*/ 7144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675" h="47625">
                  <a:moveTo>
                    <a:pt x="65246" y="7144"/>
                  </a:moveTo>
                  <a:cubicBezTo>
                    <a:pt x="65246" y="11906"/>
                    <a:pt x="66199" y="19526"/>
                    <a:pt x="66199" y="27146"/>
                  </a:cubicBezTo>
                  <a:cubicBezTo>
                    <a:pt x="51911" y="33814"/>
                    <a:pt x="23336" y="46196"/>
                    <a:pt x="7144" y="47149"/>
                  </a:cubicBezTo>
                  <a:cubicBezTo>
                    <a:pt x="7144" y="42386"/>
                    <a:pt x="7144" y="37624"/>
                    <a:pt x="7144" y="31909"/>
                  </a:cubicBezTo>
                  <a:cubicBezTo>
                    <a:pt x="7144" y="31909"/>
                    <a:pt x="7144" y="31909"/>
                    <a:pt x="7144" y="31909"/>
                  </a:cubicBezTo>
                  <a:cubicBezTo>
                    <a:pt x="7144" y="31909"/>
                    <a:pt x="58579" y="21431"/>
                    <a:pt x="65246" y="7144"/>
                  </a:cubicBezTo>
                  <a:close/>
                </a:path>
              </a:pathLst>
            </a:custGeom>
            <a:solidFill>
              <a:srgbClr val="EBE0B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C07096D0-224A-444C-BAC7-667DD435A3CA}"/>
                </a:ext>
              </a:extLst>
            </p:cNvPr>
            <p:cNvSpPr/>
            <p:nvPr/>
          </p:nvSpPr>
          <p:spPr>
            <a:xfrm>
              <a:off x="7455694" y="2746533"/>
              <a:ext cx="238125" cy="228600"/>
            </a:xfrm>
            <a:custGeom>
              <a:avLst/>
              <a:gdLst>
                <a:gd name="connsiteX0" fmla="*/ 216694 w 238125"/>
                <a:gd name="connsiteY0" fmla="*/ 7144 h 228600"/>
                <a:gd name="connsiteX1" fmla="*/ 26194 w 238125"/>
                <a:gd name="connsiteY1" fmla="*/ 7144 h 228600"/>
                <a:gd name="connsiteX2" fmla="*/ 7144 w 238125"/>
                <a:gd name="connsiteY2" fmla="*/ 26194 h 228600"/>
                <a:gd name="connsiteX3" fmla="*/ 7144 w 238125"/>
                <a:gd name="connsiteY3" fmla="*/ 162401 h 228600"/>
                <a:gd name="connsiteX4" fmla="*/ 26194 w 238125"/>
                <a:gd name="connsiteY4" fmla="*/ 181451 h 228600"/>
                <a:gd name="connsiteX5" fmla="*/ 36671 w 238125"/>
                <a:gd name="connsiteY5" fmla="*/ 181451 h 228600"/>
                <a:gd name="connsiteX6" fmla="*/ 36671 w 238125"/>
                <a:gd name="connsiteY6" fmla="*/ 228124 h 228600"/>
                <a:gd name="connsiteX7" fmla="*/ 83344 w 238125"/>
                <a:gd name="connsiteY7" fmla="*/ 181451 h 228600"/>
                <a:gd name="connsiteX8" fmla="*/ 216694 w 238125"/>
                <a:gd name="connsiteY8" fmla="*/ 181451 h 228600"/>
                <a:gd name="connsiteX9" fmla="*/ 235744 w 238125"/>
                <a:gd name="connsiteY9" fmla="*/ 162401 h 228600"/>
                <a:gd name="connsiteX10" fmla="*/ 235744 w 238125"/>
                <a:gd name="connsiteY10" fmla="*/ 25241 h 228600"/>
                <a:gd name="connsiteX11" fmla="*/ 216694 w 238125"/>
                <a:gd name="connsiteY11" fmla="*/ 7144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8125" h="228600">
                  <a:moveTo>
                    <a:pt x="216694" y="7144"/>
                  </a:moveTo>
                  <a:lnTo>
                    <a:pt x="26194" y="7144"/>
                  </a:lnTo>
                  <a:cubicBezTo>
                    <a:pt x="15716" y="7144"/>
                    <a:pt x="7144" y="15716"/>
                    <a:pt x="7144" y="26194"/>
                  </a:cubicBezTo>
                  <a:lnTo>
                    <a:pt x="7144" y="162401"/>
                  </a:lnTo>
                  <a:cubicBezTo>
                    <a:pt x="7144" y="172879"/>
                    <a:pt x="15716" y="181451"/>
                    <a:pt x="26194" y="181451"/>
                  </a:cubicBezTo>
                  <a:lnTo>
                    <a:pt x="36671" y="181451"/>
                  </a:lnTo>
                  <a:lnTo>
                    <a:pt x="36671" y="228124"/>
                  </a:lnTo>
                  <a:lnTo>
                    <a:pt x="83344" y="181451"/>
                  </a:lnTo>
                  <a:lnTo>
                    <a:pt x="216694" y="181451"/>
                  </a:lnTo>
                  <a:cubicBezTo>
                    <a:pt x="227171" y="181451"/>
                    <a:pt x="235744" y="172879"/>
                    <a:pt x="235744" y="162401"/>
                  </a:cubicBezTo>
                  <a:lnTo>
                    <a:pt x="235744" y="25241"/>
                  </a:lnTo>
                  <a:cubicBezTo>
                    <a:pt x="235744" y="14764"/>
                    <a:pt x="227171" y="7144"/>
                    <a:pt x="216694" y="7144"/>
                  </a:cubicBezTo>
                  <a:close/>
                </a:path>
              </a:pathLst>
            </a:custGeom>
            <a:solidFill>
              <a:srgbClr val="00BEB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1E186F87-CC8E-4250-9BA5-834B8BD1CA11}"/>
                </a:ext>
              </a:extLst>
            </p:cNvPr>
            <p:cNvSpPr/>
            <p:nvPr/>
          </p:nvSpPr>
          <p:spPr>
            <a:xfrm>
              <a:off x="7482364" y="2773203"/>
              <a:ext cx="180975" cy="28575"/>
            </a:xfrm>
            <a:custGeom>
              <a:avLst/>
              <a:gdLst>
                <a:gd name="connsiteX0" fmla="*/ 7144 w 180975"/>
                <a:gd name="connsiteY0" fmla="*/ 7144 h 28575"/>
                <a:gd name="connsiteX1" fmla="*/ 182404 w 180975"/>
                <a:gd name="connsiteY1" fmla="*/ 7144 h 28575"/>
                <a:gd name="connsiteX2" fmla="*/ 182404 w 180975"/>
                <a:gd name="connsiteY2" fmla="*/ 22384 h 28575"/>
                <a:gd name="connsiteX3" fmla="*/ 7144 w 180975"/>
                <a:gd name="connsiteY3" fmla="*/ 2238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975" h="28575">
                  <a:moveTo>
                    <a:pt x="7144" y="7144"/>
                  </a:moveTo>
                  <a:lnTo>
                    <a:pt x="182404" y="7144"/>
                  </a:lnTo>
                  <a:lnTo>
                    <a:pt x="182404" y="22384"/>
                  </a:lnTo>
                  <a:lnTo>
                    <a:pt x="7144" y="2238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900B0A7B-2957-49EC-B94C-0BC9F1A84CA3}"/>
                </a:ext>
              </a:extLst>
            </p:cNvPr>
            <p:cNvSpPr/>
            <p:nvPr/>
          </p:nvSpPr>
          <p:spPr>
            <a:xfrm>
              <a:off x="7482364" y="2807493"/>
              <a:ext cx="180975" cy="28575"/>
            </a:xfrm>
            <a:custGeom>
              <a:avLst/>
              <a:gdLst>
                <a:gd name="connsiteX0" fmla="*/ 7144 w 180975"/>
                <a:gd name="connsiteY0" fmla="*/ 7144 h 28575"/>
                <a:gd name="connsiteX1" fmla="*/ 182404 w 180975"/>
                <a:gd name="connsiteY1" fmla="*/ 7144 h 28575"/>
                <a:gd name="connsiteX2" fmla="*/ 182404 w 180975"/>
                <a:gd name="connsiteY2" fmla="*/ 22384 h 28575"/>
                <a:gd name="connsiteX3" fmla="*/ 7144 w 180975"/>
                <a:gd name="connsiteY3" fmla="*/ 2238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975" h="28575">
                  <a:moveTo>
                    <a:pt x="7144" y="7144"/>
                  </a:moveTo>
                  <a:lnTo>
                    <a:pt x="182404" y="7144"/>
                  </a:lnTo>
                  <a:lnTo>
                    <a:pt x="182404" y="22384"/>
                  </a:lnTo>
                  <a:lnTo>
                    <a:pt x="7144" y="2238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E490571E-DB20-406C-945C-CA9448370C49}"/>
                </a:ext>
              </a:extLst>
            </p:cNvPr>
            <p:cNvSpPr/>
            <p:nvPr/>
          </p:nvSpPr>
          <p:spPr>
            <a:xfrm>
              <a:off x="7482364" y="2842736"/>
              <a:ext cx="180975" cy="28575"/>
            </a:xfrm>
            <a:custGeom>
              <a:avLst/>
              <a:gdLst>
                <a:gd name="connsiteX0" fmla="*/ 7144 w 180975"/>
                <a:gd name="connsiteY0" fmla="*/ 7144 h 28575"/>
                <a:gd name="connsiteX1" fmla="*/ 182404 w 180975"/>
                <a:gd name="connsiteY1" fmla="*/ 7144 h 28575"/>
                <a:gd name="connsiteX2" fmla="*/ 182404 w 180975"/>
                <a:gd name="connsiteY2" fmla="*/ 22384 h 28575"/>
                <a:gd name="connsiteX3" fmla="*/ 7144 w 180975"/>
                <a:gd name="connsiteY3" fmla="*/ 2238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975" h="28575">
                  <a:moveTo>
                    <a:pt x="7144" y="7144"/>
                  </a:moveTo>
                  <a:lnTo>
                    <a:pt x="182404" y="7144"/>
                  </a:lnTo>
                  <a:lnTo>
                    <a:pt x="182404" y="22384"/>
                  </a:lnTo>
                  <a:lnTo>
                    <a:pt x="7144" y="2238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284E48AF-245D-4CF0-89E7-DCD0F28618EA}"/>
                </a:ext>
              </a:extLst>
            </p:cNvPr>
            <p:cNvSpPr/>
            <p:nvPr/>
          </p:nvSpPr>
          <p:spPr>
            <a:xfrm>
              <a:off x="7482364" y="2877026"/>
              <a:ext cx="104775" cy="28575"/>
            </a:xfrm>
            <a:custGeom>
              <a:avLst/>
              <a:gdLst>
                <a:gd name="connsiteX0" fmla="*/ 7144 w 104775"/>
                <a:gd name="connsiteY0" fmla="*/ 7144 h 28575"/>
                <a:gd name="connsiteX1" fmla="*/ 101441 w 104775"/>
                <a:gd name="connsiteY1" fmla="*/ 7144 h 28575"/>
                <a:gd name="connsiteX2" fmla="*/ 101441 w 104775"/>
                <a:gd name="connsiteY2" fmla="*/ 22384 h 28575"/>
                <a:gd name="connsiteX3" fmla="*/ 7144 w 104775"/>
                <a:gd name="connsiteY3" fmla="*/ 2238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775" h="28575">
                  <a:moveTo>
                    <a:pt x="7144" y="7144"/>
                  </a:moveTo>
                  <a:lnTo>
                    <a:pt x="101441" y="7144"/>
                  </a:lnTo>
                  <a:lnTo>
                    <a:pt x="101441" y="22384"/>
                  </a:lnTo>
                  <a:lnTo>
                    <a:pt x="7144" y="2238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7187DFB8-2184-4451-BAB5-341E30157FED}"/>
                </a:ext>
              </a:extLst>
            </p:cNvPr>
            <p:cNvSpPr/>
            <p:nvPr/>
          </p:nvSpPr>
          <p:spPr>
            <a:xfrm>
              <a:off x="6386036" y="3787616"/>
              <a:ext cx="257175" cy="38100"/>
            </a:xfrm>
            <a:custGeom>
              <a:avLst/>
              <a:gdLst>
                <a:gd name="connsiteX0" fmla="*/ 239554 w 257175"/>
                <a:gd name="connsiteY0" fmla="*/ 37624 h 38100"/>
                <a:gd name="connsiteX1" fmla="*/ 22384 w 257175"/>
                <a:gd name="connsiteY1" fmla="*/ 37624 h 38100"/>
                <a:gd name="connsiteX2" fmla="*/ 7144 w 257175"/>
                <a:gd name="connsiteY2" fmla="*/ 22384 h 38100"/>
                <a:gd name="connsiteX3" fmla="*/ 7144 w 257175"/>
                <a:gd name="connsiteY3" fmla="*/ 22384 h 38100"/>
                <a:gd name="connsiteX4" fmla="*/ 22384 w 257175"/>
                <a:gd name="connsiteY4" fmla="*/ 7144 h 38100"/>
                <a:gd name="connsiteX5" fmla="*/ 239554 w 257175"/>
                <a:gd name="connsiteY5" fmla="*/ 7144 h 38100"/>
                <a:gd name="connsiteX6" fmla="*/ 254794 w 257175"/>
                <a:gd name="connsiteY6" fmla="*/ 22384 h 38100"/>
                <a:gd name="connsiteX7" fmla="*/ 254794 w 257175"/>
                <a:gd name="connsiteY7" fmla="*/ 22384 h 38100"/>
                <a:gd name="connsiteX8" fmla="*/ 239554 w 257175"/>
                <a:gd name="connsiteY8" fmla="*/ 37624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7175" h="38100">
                  <a:moveTo>
                    <a:pt x="239554" y="37624"/>
                  </a:moveTo>
                  <a:lnTo>
                    <a:pt x="22384" y="37624"/>
                  </a:lnTo>
                  <a:cubicBezTo>
                    <a:pt x="13811" y="37624"/>
                    <a:pt x="7144" y="30956"/>
                    <a:pt x="7144" y="22384"/>
                  </a:cubicBezTo>
                  <a:lnTo>
                    <a:pt x="7144" y="22384"/>
                  </a:lnTo>
                  <a:cubicBezTo>
                    <a:pt x="7144" y="13811"/>
                    <a:pt x="13811" y="7144"/>
                    <a:pt x="22384" y="7144"/>
                  </a:cubicBezTo>
                  <a:lnTo>
                    <a:pt x="239554" y="7144"/>
                  </a:lnTo>
                  <a:cubicBezTo>
                    <a:pt x="248126" y="7144"/>
                    <a:pt x="254794" y="13811"/>
                    <a:pt x="254794" y="22384"/>
                  </a:cubicBezTo>
                  <a:lnTo>
                    <a:pt x="254794" y="22384"/>
                  </a:lnTo>
                  <a:cubicBezTo>
                    <a:pt x="254794" y="30004"/>
                    <a:pt x="248126" y="37624"/>
                    <a:pt x="239554" y="37624"/>
                  </a:cubicBez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14F860BD-A242-48B7-8287-A9FC46215286}"/>
                </a:ext>
              </a:extLst>
            </p:cNvPr>
            <p:cNvSpPr/>
            <p:nvPr/>
          </p:nvSpPr>
          <p:spPr>
            <a:xfrm>
              <a:off x="6494621" y="3841908"/>
              <a:ext cx="38100" cy="161925"/>
            </a:xfrm>
            <a:custGeom>
              <a:avLst/>
              <a:gdLst>
                <a:gd name="connsiteX0" fmla="*/ 7144 w 38100"/>
                <a:gd name="connsiteY0" fmla="*/ 7144 h 161925"/>
                <a:gd name="connsiteX1" fmla="*/ 36671 w 38100"/>
                <a:gd name="connsiteY1" fmla="*/ 7144 h 161925"/>
                <a:gd name="connsiteX2" fmla="*/ 36671 w 38100"/>
                <a:gd name="connsiteY2" fmla="*/ 156686 h 161925"/>
                <a:gd name="connsiteX3" fmla="*/ 7144 w 38100"/>
                <a:gd name="connsiteY3" fmla="*/ 156686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00" h="161925">
                  <a:moveTo>
                    <a:pt x="7144" y="7144"/>
                  </a:moveTo>
                  <a:lnTo>
                    <a:pt x="36671" y="7144"/>
                  </a:lnTo>
                  <a:lnTo>
                    <a:pt x="36671" y="156686"/>
                  </a:lnTo>
                  <a:lnTo>
                    <a:pt x="7144" y="156686"/>
                  </a:lnTo>
                  <a:close/>
                </a:path>
              </a:pathLst>
            </a:custGeom>
            <a:solidFill>
              <a:srgbClr val="EBE0B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513090A5-AD05-405E-B61C-415E42501D52}"/>
                </a:ext>
              </a:extLst>
            </p:cNvPr>
            <p:cNvSpPr/>
            <p:nvPr/>
          </p:nvSpPr>
          <p:spPr>
            <a:xfrm>
              <a:off x="6487001" y="3818096"/>
              <a:ext cx="57150" cy="66675"/>
            </a:xfrm>
            <a:custGeom>
              <a:avLst/>
              <a:gdLst>
                <a:gd name="connsiteX0" fmla="*/ 7144 w 57150"/>
                <a:gd name="connsiteY0" fmla="*/ 7144 h 66675"/>
                <a:gd name="connsiteX1" fmla="*/ 52864 w 57150"/>
                <a:gd name="connsiteY1" fmla="*/ 7144 h 66675"/>
                <a:gd name="connsiteX2" fmla="*/ 52864 w 57150"/>
                <a:gd name="connsiteY2" fmla="*/ 65246 h 66675"/>
                <a:gd name="connsiteX3" fmla="*/ 7144 w 57150"/>
                <a:gd name="connsiteY3" fmla="*/ 65246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150" h="66675">
                  <a:moveTo>
                    <a:pt x="7144" y="7144"/>
                  </a:moveTo>
                  <a:lnTo>
                    <a:pt x="52864" y="7144"/>
                  </a:lnTo>
                  <a:lnTo>
                    <a:pt x="52864" y="65246"/>
                  </a:lnTo>
                  <a:lnTo>
                    <a:pt x="7144" y="65246"/>
                  </a:ln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EF059430-FE9B-4EF0-AA80-274A0857EC9C}"/>
                </a:ext>
              </a:extLst>
            </p:cNvPr>
            <p:cNvSpPr/>
            <p:nvPr/>
          </p:nvSpPr>
          <p:spPr>
            <a:xfrm>
              <a:off x="6420326" y="3983831"/>
              <a:ext cx="190500" cy="28575"/>
            </a:xfrm>
            <a:custGeom>
              <a:avLst/>
              <a:gdLst>
                <a:gd name="connsiteX0" fmla="*/ 7144 w 190500"/>
                <a:gd name="connsiteY0" fmla="*/ 7144 h 28575"/>
                <a:gd name="connsiteX1" fmla="*/ 185261 w 190500"/>
                <a:gd name="connsiteY1" fmla="*/ 7144 h 28575"/>
                <a:gd name="connsiteX2" fmla="*/ 185261 w 190500"/>
                <a:gd name="connsiteY2" fmla="*/ 26194 h 28575"/>
                <a:gd name="connsiteX3" fmla="*/ 7144 w 190500"/>
                <a:gd name="connsiteY3" fmla="*/ 2619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28575">
                  <a:moveTo>
                    <a:pt x="7144" y="7144"/>
                  </a:moveTo>
                  <a:lnTo>
                    <a:pt x="185261" y="7144"/>
                  </a:lnTo>
                  <a:lnTo>
                    <a:pt x="185261" y="26194"/>
                  </a:lnTo>
                  <a:lnTo>
                    <a:pt x="7144" y="26194"/>
                  </a:ln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F5C57322-D51A-415F-8F2B-F17A046FD27F}"/>
                </a:ext>
              </a:extLst>
            </p:cNvPr>
            <p:cNvSpPr/>
            <p:nvPr/>
          </p:nvSpPr>
          <p:spPr>
            <a:xfrm>
              <a:off x="6413659" y="4002881"/>
              <a:ext cx="38100" cy="38100"/>
            </a:xfrm>
            <a:custGeom>
              <a:avLst/>
              <a:gdLst>
                <a:gd name="connsiteX0" fmla="*/ 39529 w 38100"/>
                <a:gd name="connsiteY0" fmla="*/ 23336 h 38100"/>
                <a:gd name="connsiteX1" fmla="*/ 23336 w 38100"/>
                <a:gd name="connsiteY1" fmla="*/ 39529 h 38100"/>
                <a:gd name="connsiteX2" fmla="*/ 7144 w 38100"/>
                <a:gd name="connsiteY2" fmla="*/ 23336 h 38100"/>
                <a:gd name="connsiteX3" fmla="*/ 23336 w 38100"/>
                <a:gd name="connsiteY3" fmla="*/ 7144 h 38100"/>
                <a:gd name="connsiteX4" fmla="*/ 39529 w 38100"/>
                <a:gd name="connsiteY4" fmla="*/ 23336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9529" y="23336"/>
                  </a:moveTo>
                  <a:cubicBezTo>
                    <a:pt x="39529" y="31909"/>
                    <a:pt x="31909" y="39529"/>
                    <a:pt x="23336" y="39529"/>
                  </a:cubicBezTo>
                  <a:cubicBezTo>
                    <a:pt x="14764" y="39529"/>
                    <a:pt x="7144" y="31909"/>
                    <a:pt x="7144" y="23336"/>
                  </a:cubicBezTo>
                  <a:cubicBezTo>
                    <a:pt x="7144" y="14764"/>
                    <a:pt x="14764" y="7144"/>
                    <a:pt x="23336" y="7144"/>
                  </a:cubicBezTo>
                  <a:cubicBezTo>
                    <a:pt x="32861" y="7144"/>
                    <a:pt x="39529" y="14764"/>
                    <a:pt x="39529" y="23336"/>
                  </a:cubicBezTo>
                  <a:close/>
                </a:path>
              </a:pathLst>
            </a:custGeom>
            <a:solidFill>
              <a:srgbClr val="EBE0B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9FA821CA-E20B-47BC-B74B-6D08768670DE}"/>
                </a:ext>
              </a:extLst>
            </p:cNvPr>
            <p:cNvSpPr/>
            <p:nvPr/>
          </p:nvSpPr>
          <p:spPr>
            <a:xfrm>
              <a:off x="6572726" y="4002881"/>
              <a:ext cx="38100" cy="38100"/>
            </a:xfrm>
            <a:custGeom>
              <a:avLst/>
              <a:gdLst>
                <a:gd name="connsiteX0" fmla="*/ 39529 w 38100"/>
                <a:gd name="connsiteY0" fmla="*/ 23336 h 38100"/>
                <a:gd name="connsiteX1" fmla="*/ 23336 w 38100"/>
                <a:gd name="connsiteY1" fmla="*/ 39529 h 38100"/>
                <a:gd name="connsiteX2" fmla="*/ 7144 w 38100"/>
                <a:gd name="connsiteY2" fmla="*/ 23336 h 38100"/>
                <a:gd name="connsiteX3" fmla="*/ 23336 w 38100"/>
                <a:gd name="connsiteY3" fmla="*/ 7144 h 38100"/>
                <a:gd name="connsiteX4" fmla="*/ 39529 w 38100"/>
                <a:gd name="connsiteY4" fmla="*/ 23336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9529" y="23336"/>
                  </a:moveTo>
                  <a:cubicBezTo>
                    <a:pt x="39529" y="31909"/>
                    <a:pt x="31909" y="39529"/>
                    <a:pt x="23336" y="39529"/>
                  </a:cubicBezTo>
                  <a:cubicBezTo>
                    <a:pt x="14764" y="39529"/>
                    <a:pt x="7144" y="31909"/>
                    <a:pt x="7144" y="23336"/>
                  </a:cubicBezTo>
                  <a:cubicBezTo>
                    <a:pt x="7144" y="14764"/>
                    <a:pt x="14764" y="7144"/>
                    <a:pt x="23336" y="7144"/>
                  </a:cubicBezTo>
                  <a:cubicBezTo>
                    <a:pt x="31909" y="7144"/>
                    <a:pt x="39529" y="14764"/>
                    <a:pt x="39529" y="23336"/>
                  </a:cubicBezTo>
                  <a:close/>
                </a:path>
              </a:pathLst>
            </a:custGeom>
            <a:solidFill>
              <a:srgbClr val="EBE0B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4615DD56-FF2F-430D-9BAE-5DF1A72F23F5}"/>
                </a:ext>
              </a:extLst>
            </p:cNvPr>
            <p:cNvSpPr/>
            <p:nvPr/>
          </p:nvSpPr>
          <p:spPr>
            <a:xfrm>
              <a:off x="6293600" y="3700938"/>
              <a:ext cx="428625" cy="342900"/>
            </a:xfrm>
            <a:custGeom>
              <a:avLst/>
              <a:gdLst>
                <a:gd name="connsiteX0" fmla="*/ 430097 w 428625"/>
                <a:gd name="connsiteY0" fmla="*/ 63341 h 342900"/>
                <a:gd name="connsiteX1" fmla="*/ 311988 w 428625"/>
                <a:gd name="connsiteY1" fmla="*/ 7144 h 342900"/>
                <a:gd name="connsiteX2" fmla="*/ 218643 w 428625"/>
                <a:gd name="connsiteY2" fmla="*/ 8096 h 342900"/>
                <a:gd name="connsiteX3" fmla="*/ 125297 w 428625"/>
                <a:gd name="connsiteY3" fmla="*/ 7144 h 342900"/>
                <a:gd name="connsiteX4" fmla="*/ 7187 w 428625"/>
                <a:gd name="connsiteY4" fmla="*/ 63341 h 342900"/>
                <a:gd name="connsiteX5" fmla="*/ 66243 w 428625"/>
                <a:gd name="connsiteY5" fmla="*/ 344329 h 342900"/>
                <a:gd name="connsiteX6" fmla="*/ 116725 w 428625"/>
                <a:gd name="connsiteY6" fmla="*/ 344329 h 342900"/>
                <a:gd name="connsiteX7" fmla="*/ 108153 w 428625"/>
                <a:gd name="connsiteY7" fmla="*/ 99536 h 342900"/>
                <a:gd name="connsiteX8" fmla="*/ 218643 w 428625"/>
                <a:gd name="connsiteY8" fmla="*/ 94774 h 342900"/>
                <a:gd name="connsiteX9" fmla="*/ 329132 w 428625"/>
                <a:gd name="connsiteY9" fmla="*/ 99536 h 342900"/>
                <a:gd name="connsiteX10" fmla="*/ 320560 w 428625"/>
                <a:gd name="connsiteY10" fmla="*/ 344329 h 342900"/>
                <a:gd name="connsiteX11" fmla="*/ 371043 w 428625"/>
                <a:gd name="connsiteY11" fmla="*/ 344329 h 342900"/>
                <a:gd name="connsiteX12" fmla="*/ 430097 w 428625"/>
                <a:gd name="connsiteY12" fmla="*/ 63341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8625" h="342900">
                  <a:moveTo>
                    <a:pt x="430097" y="63341"/>
                  </a:moveTo>
                  <a:cubicBezTo>
                    <a:pt x="428193" y="17621"/>
                    <a:pt x="311988" y="7144"/>
                    <a:pt x="311988" y="7144"/>
                  </a:cubicBezTo>
                  <a:cubicBezTo>
                    <a:pt x="307225" y="7144"/>
                    <a:pt x="257695" y="7144"/>
                    <a:pt x="218643" y="8096"/>
                  </a:cubicBezTo>
                  <a:cubicBezTo>
                    <a:pt x="179590" y="8096"/>
                    <a:pt x="131012" y="7144"/>
                    <a:pt x="125297" y="7144"/>
                  </a:cubicBezTo>
                  <a:cubicBezTo>
                    <a:pt x="125297" y="7144"/>
                    <a:pt x="9093" y="17621"/>
                    <a:pt x="7187" y="63341"/>
                  </a:cubicBezTo>
                  <a:cubicBezTo>
                    <a:pt x="5282" y="109061"/>
                    <a:pt x="66243" y="344329"/>
                    <a:pt x="66243" y="344329"/>
                  </a:cubicBezTo>
                  <a:lnTo>
                    <a:pt x="116725" y="344329"/>
                  </a:lnTo>
                  <a:cubicBezTo>
                    <a:pt x="116725" y="344329"/>
                    <a:pt x="121487" y="108109"/>
                    <a:pt x="108153" y="99536"/>
                  </a:cubicBezTo>
                  <a:cubicBezTo>
                    <a:pt x="108153" y="99536"/>
                    <a:pt x="171018" y="98584"/>
                    <a:pt x="218643" y="94774"/>
                  </a:cubicBezTo>
                  <a:cubicBezTo>
                    <a:pt x="266268" y="98584"/>
                    <a:pt x="329132" y="99536"/>
                    <a:pt x="329132" y="99536"/>
                  </a:cubicBezTo>
                  <a:cubicBezTo>
                    <a:pt x="315797" y="108109"/>
                    <a:pt x="320560" y="344329"/>
                    <a:pt x="320560" y="344329"/>
                  </a:cubicBezTo>
                  <a:lnTo>
                    <a:pt x="371043" y="344329"/>
                  </a:lnTo>
                  <a:cubicBezTo>
                    <a:pt x="370090" y="344329"/>
                    <a:pt x="432003" y="108109"/>
                    <a:pt x="430097" y="63341"/>
                  </a:cubicBezTo>
                  <a:close/>
                </a:path>
              </a:pathLst>
            </a:custGeom>
            <a:solidFill>
              <a:srgbClr val="5202B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96068CE3-8F59-4DC0-8045-C31A0E5AECDA}"/>
                </a:ext>
              </a:extLst>
            </p:cNvPr>
            <p:cNvSpPr/>
            <p:nvPr/>
          </p:nvSpPr>
          <p:spPr>
            <a:xfrm>
              <a:off x="6309714" y="4037171"/>
              <a:ext cx="95250" cy="38100"/>
            </a:xfrm>
            <a:custGeom>
              <a:avLst/>
              <a:gdLst>
                <a:gd name="connsiteX0" fmla="*/ 93943 w 95250"/>
                <a:gd name="connsiteY0" fmla="*/ 8096 h 38100"/>
                <a:gd name="connsiteX1" fmla="*/ 92991 w 95250"/>
                <a:gd name="connsiteY1" fmla="*/ 21431 h 38100"/>
                <a:gd name="connsiteX2" fmla="*/ 92991 w 95250"/>
                <a:gd name="connsiteY2" fmla="*/ 25241 h 38100"/>
                <a:gd name="connsiteX3" fmla="*/ 92038 w 95250"/>
                <a:gd name="connsiteY3" fmla="*/ 39529 h 38100"/>
                <a:gd name="connsiteX4" fmla="*/ 12028 w 95250"/>
                <a:gd name="connsiteY4" fmla="*/ 39529 h 38100"/>
                <a:gd name="connsiteX5" fmla="*/ 9170 w 95250"/>
                <a:gd name="connsiteY5" fmla="*/ 30956 h 38100"/>
                <a:gd name="connsiteX6" fmla="*/ 12980 w 95250"/>
                <a:gd name="connsiteY6" fmla="*/ 28099 h 38100"/>
                <a:gd name="connsiteX7" fmla="*/ 27268 w 95250"/>
                <a:gd name="connsiteY7" fmla="*/ 19526 h 38100"/>
                <a:gd name="connsiteX8" fmla="*/ 60605 w 95250"/>
                <a:gd name="connsiteY8" fmla="*/ 7144 h 38100"/>
                <a:gd name="connsiteX9" fmla="*/ 93943 w 95250"/>
                <a:gd name="connsiteY9" fmla="*/ 7144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5250" h="38100">
                  <a:moveTo>
                    <a:pt x="93943" y="8096"/>
                  </a:moveTo>
                  <a:lnTo>
                    <a:pt x="92991" y="21431"/>
                  </a:lnTo>
                  <a:lnTo>
                    <a:pt x="92991" y="25241"/>
                  </a:lnTo>
                  <a:lnTo>
                    <a:pt x="92038" y="39529"/>
                  </a:lnTo>
                  <a:lnTo>
                    <a:pt x="12028" y="39529"/>
                  </a:lnTo>
                  <a:cubicBezTo>
                    <a:pt x="7266" y="39529"/>
                    <a:pt x="5361" y="33814"/>
                    <a:pt x="9170" y="30956"/>
                  </a:cubicBezTo>
                  <a:cubicBezTo>
                    <a:pt x="10123" y="30004"/>
                    <a:pt x="11076" y="29051"/>
                    <a:pt x="12980" y="28099"/>
                  </a:cubicBezTo>
                  <a:cubicBezTo>
                    <a:pt x="16791" y="25241"/>
                    <a:pt x="22505" y="22384"/>
                    <a:pt x="27268" y="19526"/>
                  </a:cubicBezTo>
                  <a:cubicBezTo>
                    <a:pt x="43461" y="11906"/>
                    <a:pt x="60605" y="7144"/>
                    <a:pt x="60605" y="7144"/>
                  </a:cubicBezTo>
                  <a:lnTo>
                    <a:pt x="93943" y="7144"/>
                  </a:ln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C127BBC2-F5D7-4D00-97A2-ECD12B01812A}"/>
                </a:ext>
              </a:extLst>
            </p:cNvPr>
            <p:cNvSpPr/>
            <p:nvPr/>
          </p:nvSpPr>
          <p:spPr>
            <a:xfrm>
              <a:off x="6309714" y="4056221"/>
              <a:ext cx="95250" cy="28575"/>
            </a:xfrm>
            <a:custGeom>
              <a:avLst/>
              <a:gdLst>
                <a:gd name="connsiteX0" fmla="*/ 92991 w 95250"/>
                <a:gd name="connsiteY0" fmla="*/ 7144 h 28575"/>
                <a:gd name="connsiteX1" fmla="*/ 92038 w 95250"/>
                <a:gd name="connsiteY1" fmla="*/ 21431 h 28575"/>
                <a:gd name="connsiteX2" fmla="*/ 12028 w 95250"/>
                <a:gd name="connsiteY2" fmla="*/ 21431 h 28575"/>
                <a:gd name="connsiteX3" fmla="*/ 9170 w 95250"/>
                <a:gd name="connsiteY3" fmla="*/ 12859 h 28575"/>
                <a:gd name="connsiteX4" fmla="*/ 12980 w 95250"/>
                <a:gd name="connsiteY4" fmla="*/ 10001 h 28575"/>
                <a:gd name="connsiteX5" fmla="*/ 92991 w 95250"/>
                <a:gd name="connsiteY5" fmla="*/ 714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250" h="28575">
                  <a:moveTo>
                    <a:pt x="92991" y="7144"/>
                  </a:moveTo>
                  <a:lnTo>
                    <a:pt x="92038" y="21431"/>
                  </a:lnTo>
                  <a:lnTo>
                    <a:pt x="12028" y="21431"/>
                  </a:lnTo>
                  <a:cubicBezTo>
                    <a:pt x="7266" y="21431"/>
                    <a:pt x="5361" y="15716"/>
                    <a:pt x="9170" y="12859"/>
                  </a:cubicBezTo>
                  <a:cubicBezTo>
                    <a:pt x="10123" y="11906"/>
                    <a:pt x="11076" y="10954"/>
                    <a:pt x="12980" y="10001"/>
                  </a:cubicBezTo>
                  <a:cubicBezTo>
                    <a:pt x="30126" y="10954"/>
                    <a:pt x="57748" y="10954"/>
                    <a:pt x="92991" y="714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E5838854-D59F-46A5-964B-488727FFB8BE}"/>
                </a:ext>
              </a:extLst>
            </p:cNvPr>
            <p:cNvSpPr/>
            <p:nvPr/>
          </p:nvSpPr>
          <p:spPr>
            <a:xfrm>
              <a:off x="6616541" y="4037171"/>
              <a:ext cx="95250" cy="38100"/>
            </a:xfrm>
            <a:custGeom>
              <a:avLst/>
              <a:gdLst>
                <a:gd name="connsiteX0" fmla="*/ 7144 w 95250"/>
                <a:gd name="connsiteY0" fmla="*/ 8096 h 38100"/>
                <a:gd name="connsiteX1" fmla="*/ 8096 w 95250"/>
                <a:gd name="connsiteY1" fmla="*/ 21431 h 38100"/>
                <a:gd name="connsiteX2" fmla="*/ 8096 w 95250"/>
                <a:gd name="connsiteY2" fmla="*/ 25241 h 38100"/>
                <a:gd name="connsiteX3" fmla="*/ 9049 w 95250"/>
                <a:gd name="connsiteY3" fmla="*/ 39529 h 38100"/>
                <a:gd name="connsiteX4" fmla="*/ 89059 w 95250"/>
                <a:gd name="connsiteY4" fmla="*/ 39529 h 38100"/>
                <a:gd name="connsiteX5" fmla="*/ 91916 w 95250"/>
                <a:gd name="connsiteY5" fmla="*/ 30956 h 38100"/>
                <a:gd name="connsiteX6" fmla="*/ 88106 w 95250"/>
                <a:gd name="connsiteY6" fmla="*/ 28099 h 38100"/>
                <a:gd name="connsiteX7" fmla="*/ 73819 w 95250"/>
                <a:gd name="connsiteY7" fmla="*/ 19526 h 38100"/>
                <a:gd name="connsiteX8" fmla="*/ 40481 w 95250"/>
                <a:gd name="connsiteY8" fmla="*/ 7144 h 38100"/>
                <a:gd name="connsiteX9" fmla="*/ 7144 w 95250"/>
                <a:gd name="connsiteY9" fmla="*/ 7144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5250" h="38100">
                  <a:moveTo>
                    <a:pt x="7144" y="8096"/>
                  </a:moveTo>
                  <a:lnTo>
                    <a:pt x="8096" y="21431"/>
                  </a:lnTo>
                  <a:lnTo>
                    <a:pt x="8096" y="25241"/>
                  </a:lnTo>
                  <a:lnTo>
                    <a:pt x="9049" y="39529"/>
                  </a:lnTo>
                  <a:lnTo>
                    <a:pt x="89059" y="39529"/>
                  </a:lnTo>
                  <a:cubicBezTo>
                    <a:pt x="93821" y="39529"/>
                    <a:pt x="95726" y="33814"/>
                    <a:pt x="91916" y="30956"/>
                  </a:cubicBezTo>
                  <a:cubicBezTo>
                    <a:pt x="90964" y="30004"/>
                    <a:pt x="90011" y="29051"/>
                    <a:pt x="88106" y="28099"/>
                  </a:cubicBezTo>
                  <a:cubicBezTo>
                    <a:pt x="84296" y="25241"/>
                    <a:pt x="78581" y="22384"/>
                    <a:pt x="73819" y="19526"/>
                  </a:cubicBezTo>
                  <a:cubicBezTo>
                    <a:pt x="57626" y="11906"/>
                    <a:pt x="40481" y="7144"/>
                    <a:pt x="40481" y="7144"/>
                  </a:cubicBezTo>
                  <a:lnTo>
                    <a:pt x="7144" y="7144"/>
                  </a:ln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B2DDE5C4-7A11-4E83-9FD2-85C80AFCBBD5}"/>
                </a:ext>
              </a:extLst>
            </p:cNvPr>
            <p:cNvSpPr/>
            <p:nvPr/>
          </p:nvSpPr>
          <p:spPr>
            <a:xfrm>
              <a:off x="6618446" y="4056221"/>
              <a:ext cx="95250" cy="28575"/>
            </a:xfrm>
            <a:custGeom>
              <a:avLst/>
              <a:gdLst>
                <a:gd name="connsiteX0" fmla="*/ 7144 w 95250"/>
                <a:gd name="connsiteY0" fmla="*/ 7144 h 28575"/>
                <a:gd name="connsiteX1" fmla="*/ 8096 w 95250"/>
                <a:gd name="connsiteY1" fmla="*/ 21431 h 28575"/>
                <a:gd name="connsiteX2" fmla="*/ 88106 w 95250"/>
                <a:gd name="connsiteY2" fmla="*/ 21431 h 28575"/>
                <a:gd name="connsiteX3" fmla="*/ 90964 w 95250"/>
                <a:gd name="connsiteY3" fmla="*/ 12859 h 28575"/>
                <a:gd name="connsiteX4" fmla="*/ 87154 w 95250"/>
                <a:gd name="connsiteY4" fmla="*/ 10001 h 28575"/>
                <a:gd name="connsiteX5" fmla="*/ 7144 w 95250"/>
                <a:gd name="connsiteY5" fmla="*/ 714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250" h="28575">
                  <a:moveTo>
                    <a:pt x="7144" y="7144"/>
                  </a:moveTo>
                  <a:lnTo>
                    <a:pt x="8096" y="21431"/>
                  </a:lnTo>
                  <a:lnTo>
                    <a:pt x="88106" y="21431"/>
                  </a:lnTo>
                  <a:cubicBezTo>
                    <a:pt x="92869" y="21431"/>
                    <a:pt x="94774" y="15716"/>
                    <a:pt x="90964" y="12859"/>
                  </a:cubicBezTo>
                  <a:cubicBezTo>
                    <a:pt x="90011" y="11906"/>
                    <a:pt x="89059" y="10954"/>
                    <a:pt x="87154" y="10001"/>
                  </a:cubicBezTo>
                  <a:cubicBezTo>
                    <a:pt x="70009" y="10954"/>
                    <a:pt x="42386" y="10954"/>
                    <a:pt x="7144" y="714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FE590F05-7CD1-42EC-88FA-6D2D331D6557}"/>
                </a:ext>
              </a:extLst>
            </p:cNvPr>
            <p:cNvSpPr/>
            <p:nvPr/>
          </p:nvSpPr>
          <p:spPr>
            <a:xfrm>
              <a:off x="6377464" y="3369706"/>
              <a:ext cx="247650" cy="371475"/>
            </a:xfrm>
            <a:custGeom>
              <a:avLst/>
              <a:gdLst>
                <a:gd name="connsiteX0" fmla="*/ 248126 w 247650"/>
                <a:gd name="connsiteY0" fmla="*/ 339328 h 371475"/>
                <a:gd name="connsiteX1" fmla="*/ 246221 w 247650"/>
                <a:gd name="connsiteY1" fmla="*/ 340281 h 371475"/>
                <a:gd name="connsiteX2" fmla="*/ 7144 w 247650"/>
                <a:gd name="connsiteY2" fmla="*/ 344091 h 371475"/>
                <a:gd name="connsiteX3" fmla="*/ 30004 w 247650"/>
                <a:gd name="connsiteY3" fmla="*/ 157401 h 371475"/>
                <a:gd name="connsiteX4" fmla="*/ 60484 w 247650"/>
                <a:gd name="connsiteY4" fmla="*/ 19288 h 371475"/>
                <a:gd name="connsiteX5" fmla="*/ 60484 w 247650"/>
                <a:gd name="connsiteY5" fmla="*/ 19288 h 371475"/>
                <a:gd name="connsiteX6" fmla="*/ 60484 w 247650"/>
                <a:gd name="connsiteY6" fmla="*/ 19288 h 371475"/>
                <a:gd name="connsiteX7" fmla="*/ 69056 w 247650"/>
                <a:gd name="connsiteY7" fmla="*/ 16431 h 371475"/>
                <a:gd name="connsiteX8" fmla="*/ 179546 w 247650"/>
                <a:gd name="connsiteY8" fmla="*/ 16431 h 371475"/>
                <a:gd name="connsiteX9" fmla="*/ 189071 w 247650"/>
                <a:gd name="connsiteY9" fmla="*/ 19288 h 371475"/>
                <a:gd name="connsiteX10" fmla="*/ 248126 w 247650"/>
                <a:gd name="connsiteY10" fmla="*/ 339328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7650" h="371475">
                  <a:moveTo>
                    <a:pt x="248126" y="339328"/>
                  </a:moveTo>
                  <a:lnTo>
                    <a:pt x="246221" y="340281"/>
                  </a:lnTo>
                  <a:cubicBezTo>
                    <a:pt x="170974" y="376476"/>
                    <a:pt x="83344" y="378381"/>
                    <a:pt x="7144" y="344091"/>
                  </a:cubicBezTo>
                  <a:cubicBezTo>
                    <a:pt x="7144" y="344091"/>
                    <a:pt x="12859" y="259318"/>
                    <a:pt x="30004" y="157401"/>
                  </a:cubicBezTo>
                  <a:cubicBezTo>
                    <a:pt x="37624" y="112633"/>
                    <a:pt x="47149" y="65008"/>
                    <a:pt x="60484" y="19288"/>
                  </a:cubicBezTo>
                  <a:lnTo>
                    <a:pt x="60484" y="19288"/>
                  </a:lnTo>
                  <a:cubicBezTo>
                    <a:pt x="60484" y="19288"/>
                    <a:pt x="60484" y="19288"/>
                    <a:pt x="60484" y="19288"/>
                  </a:cubicBezTo>
                  <a:cubicBezTo>
                    <a:pt x="63341" y="18336"/>
                    <a:pt x="66199" y="17383"/>
                    <a:pt x="69056" y="16431"/>
                  </a:cubicBezTo>
                  <a:cubicBezTo>
                    <a:pt x="105251" y="4048"/>
                    <a:pt x="143351" y="4048"/>
                    <a:pt x="179546" y="16431"/>
                  </a:cubicBezTo>
                  <a:cubicBezTo>
                    <a:pt x="182404" y="17383"/>
                    <a:pt x="185261" y="18336"/>
                    <a:pt x="189071" y="19288"/>
                  </a:cubicBezTo>
                  <a:cubicBezTo>
                    <a:pt x="230029" y="166926"/>
                    <a:pt x="248126" y="339328"/>
                    <a:pt x="248126" y="339328"/>
                  </a:cubicBezTo>
                  <a:close/>
                </a:path>
              </a:pathLst>
            </a:custGeom>
            <a:solidFill>
              <a:srgbClr val="00BEB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EDCA2AA2-853D-4047-A6A5-696D422B9787}"/>
                </a:ext>
              </a:extLst>
            </p:cNvPr>
            <p:cNvSpPr/>
            <p:nvPr/>
          </p:nvSpPr>
          <p:spPr>
            <a:xfrm>
              <a:off x="6281079" y="3381851"/>
              <a:ext cx="161925" cy="257175"/>
            </a:xfrm>
            <a:custGeom>
              <a:avLst/>
              <a:gdLst>
                <a:gd name="connsiteX0" fmla="*/ 156868 w 161925"/>
                <a:gd name="connsiteY0" fmla="*/ 7144 h 257175"/>
                <a:gd name="connsiteX1" fmla="*/ 156868 w 161925"/>
                <a:gd name="connsiteY1" fmla="*/ 7144 h 257175"/>
                <a:gd name="connsiteX2" fmla="*/ 126389 w 161925"/>
                <a:gd name="connsiteY2" fmla="*/ 145256 h 257175"/>
                <a:gd name="connsiteX3" fmla="*/ 79716 w 161925"/>
                <a:gd name="connsiteY3" fmla="*/ 194786 h 257175"/>
                <a:gd name="connsiteX4" fmla="*/ 99718 w 161925"/>
                <a:gd name="connsiteY4" fmla="*/ 215741 h 257175"/>
                <a:gd name="connsiteX5" fmla="*/ 87336 w 161925"/>
                <a:gd name="connsiteY5" fmla="*/ 257651 h 257175"/>
                <a:gd name="connsiteX6" fmla="*/ 60666 w 161925"/>
                <a:gd name="connsiteY6" fmla="*/ 257651 h 257175"/>
                <a:gd name="connsiteX7" fmla="*/ 7326 w 161925"/>
                <a:gd name="connsiteY7" fmla="*/ 193834 h 257175"/>
                <a:gd name="connsiteX8" fmla="*/ 112101 w 161925"/>
                <a:gd name="connsiteY8" fmla="*/ 28099 h 257175"/>
                <a:gd name="connsiteX9" fmla="*/ 156868 w 161925"/>
                <a:gd name="connsiteY9" fmla="*/ 7144 h 257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1925" h="257175">
                  <a:moveTo>
                    <a:pt x="156868" y="7144"/>
                  </a:moveTo>
                  <a:lnTo>
                    <a:pt x="156868" y="7144"/>
                  </a:lnTo>
                  <a:cubicBezTo>
                    <a:pt x="144486" y="52864"/>
                    <a:pt x="134009" y="100489"/>
                    <a:pt x="126389" y="145256"/>
                  </a:cubicBezTo>
                  <a:cubicBezTo>
                    <a:pt x="107339" y="159544"/>
                    <a:pt x="83526" y="179546"/>
                    <a:pt x="79716" y="194786"/>
                  </a:cubicBezTo>
                  <a:cubicBezTo>
                    <a:pt x="77811" y="203359"/>
                    <a:pt x="86384" y="210026"/>
                    <a:pt x="99718" y="215741"/>
                  </a:cubicBezTo>
                  <a:lnTo>
                    <a:pt x="87336" y="257651"/>
                  </a:lnTo>
                  <a:lnTo>
                    <a:pt x="60666" y="257651"/>
                  </a:lnTo>
                  <a:cubicBezTo>
                    <a:pt x="60666" y="257651"/>
                    <a:pt x="3516" y="240506"/>
                    <a:pt x="7326" y="193834"/>
                  </a:cubicBezTo>
                  <a:cubicBezTo>
                    <a:pt x="10184" y="147161"/>
                    <a:pt x="99718" y="46196"/>
                    <a:pt x="112101" y="28099"/>
                  </a:cubicBezTo>
                  <a:cubicBezTo>
                    <a:pt x="117816" y="19526"/>
                    <a:pt x="137818" y="11906"/>
                    <a:pt x="156868" y="7144"/>
                  </a:cubicBezTo>
                  <a:close/>
                </a:path>
              </a:pathLst>
            </a:custGeom>
            <a:solidFill>
              <a:srgbClr val="00A49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C495E564-EEC0-4B9B-AB98-41DD87C69102}"/>
                </a:ext>
              </a:extLst>
            </p:cNvPr>
            <p:cNvSpPr/>
            <p:nvPr/>
          </p:nvSpPr>
          <p:spPr>
            <a:xfrm>
              <a:off x="6360319" y="3589496"/>
              <a:ext cx="95250" cy="57150"/>
            </a:xfrm>
            <a:custGeom>
              <a:avLst/>
              <a:gdLst>
                <a:gd name="connsiteX0" fmla="*/ 92869 w 95250"/>
                <a:gd name="connsiteY0" fmla="*/ 50006 h 57150"/>
                <a:gd name="connsiteX1" fmla="*/ 92869 w 95250"/>
                <a:gd name="connsiteY1" fmla="*/ 25241 h 57150"/>
                <a:gd name="connsiteX2" fmla="*/ 19526 w 95250"/>
                <a:gd name="connsiteY2" fmla="*/ 7144 h 57150"/>
                <a:gd name="connsiteX3" fmla="*/ 7144 w 95250"/>
                <a:gd name="connsiteY3" fmla="*/ 49054 h 57150"/>
                <a:gd name="connsiteX4" fmla="*/ 92869 w 95250"/>
                <a:gd name="connsiteY4" fmla="*/ 49054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57150">
                  <a:moveTo>
                    <a:pt x="92869" y="50006"/>
                  </a:moveTo>
                  <a:lnTo>
                    <a:pt x="92869" y="25241"/>
                  </a:lnTo>
                  <a:cubicBezTo>
                    <a:pt x="92869" y="25241"/>
                    <a:pt x="47149" y="19526"/>
                    <a:pt x="19526" y="7144"/>
                  </a:cubicBezTo>
                  <a:lnTo>
                    <a:pt x="7144" y="49054"/>
                  </a:lnTo>
                  <a:lnTo>
                    <a:pt x="92869" y="49054"/>
                  </a:ln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FC0BD6F4-B15C-4B5F-AEC4-574E6EC8551C}"/>
                </a:ext>
              </a:extLst>
            </p:cNvPr>
            <p:cNvSpPr/>
            <p:nvPr/>
          </p:nvSpPr>
          <p:spPr>
            <a:xfrm>
              <a:off x="6557486" y="3381851"/>
              <a:ext cx="161925" cy="257175"/>
            </a:xfrm>
            <a:custGeom>
              <a:avLst/>
              <a:gdLst>
                <a:gd name="connsiteX0" fmla="*/ 7144 w 161925"/>
                <a:gd name="connsiteY0" fmla="*/ 7144 h 257175"/>
                <a:gd name="connsiteX1" fmla="*/ 8096 w 161925"/>
                <a:gd name="connsiteY1" fmla="*/ 7144 h 257175"/>
                <a:gd name="connsiteX2" fmla="*/ 37624 w 161925"/>
                <a:gd name="connsiteY2" fmla="*/ 145256 h 257175"/>
                <a:gd name="connsiteX3" fmla="*/ 84296 w 161925"/>
                <a:gd name="connsiteY3" fmla="*/ 194786 h 257175"/>
                <a:gd name="connsiteX4" fmla="*/ 64294 w 161925"/>
                <a:gd name="connsiteY4" fmla="*/ 215741 h 257175"/>
                <a:gd name="connsiteX5" fmla="*/ 76676 w 161925"/>
                <a:gd name="connsiteY5" fmla="*/ 257651 h 257175"/>
                <a:gd name="connsiteX6" fmla="*/ 103346 w 161925"/>
                <a:gd name="connsiteY6" fmla="*/ 257651 h 257175"/>
                <a:gd name="connsiteX7" fmla="*/ 156686 w 161925"/>
                <a:gd name="connsiteY7" fmla="*/ 193834 h 257175"/>
                <a:gd name="connsiteX8" fmla="*/ 51911 w 161925"/>
                <a:gd name="connsiteY8" fmla="*/ 28099 h 257175"/>
                <a:gd name="connsiteX9" fmla="*/ 7144 w 161925"/>
                <a:gd name="connsiteY9" fmla="*/ 7144 h 257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1925" h="257175">
                  <a:moveTo>
                    <a:pt x="7144" y="7144"/>
                  </a:moveTo>
                  <a:lnTo>
                    <a:pt x="8096" y="7144"/>
                  </a:lnTo>
                  <a:cubicBezTo>
                    <a:pt x="20479" y="52864"/>
                    <a:pt x="30004" y="100489"/>
                    <a:pt x="37624" y="145256"/>
                  </a:cubicBezTo>
                  <a:cubicBezTo>
                    <a:pt x="56674" y="159544"/>
                    <a:pt x="80486" y="179546"/>
                    <a:pt x="84296" y="194786"/>
                  </a:cubicBezTo>
                  <a:cubicBezTo>
                    <a:pt x="86201" y="203359"/>
                    <a:pt x="77629" y="210026"/>
                    <a:pt x="64294" y="215741"/>
                  </a:cubicBezTo>
                  <a:lnTo>
                    <a:pt x="76676" y="257651"/>
                  </a:lnTo>
                  <a:lnTo>
                    <a:pt x="103346" y="257651"/>
                  </a:lnTo>
                  <a:cubicBezTo>
                    <a:pt x="103346" y="257651"/>
                    <a:pt x="160496" y="240506"/>
                    <a:pt x="156686" y="193834"/>
                  </a:cubicBezTo>
                  <a:cubicBezTo>
                    <a:pt x="153829" y="147161"/>
                    <a:pt x="64294" y="46196"/>
                    <a:pt x="51911" y="28099"/>
                  </a:cubicBezTo>
                  <a:cubicBezTo>
                    <a:pt x="46196" y="19526"/>
                    <a:pt x="26194" y="11906"/>
                    <a:pt x="7144" y="7144"/>
                  </a:cubicBezTo>
                  <a:close/>
                </a:path>
              </a:pathLst>
            </a:custGeom>
            <a:solidFill>
              <a:srgbClr val="00A49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F030364B-0025-47C8-8D67-D8B3789F5EF2}"/>
                </a:ext>
              </a:extLst>
            </p:cNvPr>
            <p:cNvSpPr/>
            <p:nvPr/>
          </p:nvSpPr>
          <p:spPr>
            <a:xfrm>
              <a:off x="6541294" y="3589496"/>
              <a:ext cx="95250" cy="57150"/>
            </a:xfrm>
            <a:custGeom>
              <a:avLst/>
              <a:gdLst>
                <a:gd name="connsiteX0" fmla="*/ 7144 w 95250"/>
                <a:gd name="connsiteY0" fmla="*/ 50006 h 57150"/>
                <a:gd name="connsiteX1" fmla="*/ 7144 w 95250"/>
                <a:gd name="connsiteY1" fmla="*/ 25241 h 57150"/>
                <a:gd name="connsiteX2" fmla="*/ 80486 w 95250"/>
                <a:gd name="connsiteY2" fmla="*/ 7144 h 57150"/>
                <a:gd name="connsiteX3" fmla="*/ 92869 w 95250"/>
                <a:gd name="connsiteY3" fmla="*/ 49054 h 57150"/>
                <a:gd name="connsiteX4" fmla="*/ 7144 w 95250"/>
                <a:gd name="connsiteY4" fmla="*/ 49054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57150">
                  <a:moveTo>
                    <a:pt x="7144" y="50006"/>
                  </a:moveTo>
                  <a:lnTo>
                    <a:pt x="7144" y="25241"/>
                  </a:lnTo>
                  <a:cubicBezTo>
                    <a:pt x="7144" y="25241"/>
                    <a:pt x="52864" y="19526"/>
                    <a:pt x="80486" y="7144"/>
                  </a:cubicBezTo>
                  <a:lnTo>
                    <a:pt x="92869" y="49054"/>
                  </a:lnTo>
                  <a:lnTo>
                    <a:pt x="7144" y="49054"/>
                  </a:ln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F6B8C70A-69E6-4C9E-9B1A-CAA95C27FCA4}"/>
                </a:ext>
              </a:extLst>
            </p:cNvPr>
            <p:cNvSpPr/>
            <p:nvPr/>
          </p:nvSpPr>
          <p:spPr>
            <a:xfrm>
              <a:off x="6392704" y="3484721"/>
              <a:ext cx="238125" cy="161925"/>
            </a:xfrm>
            <a:custGeom>
              <a:avLst/>
              <a:gdLst>
                <a:gd name="connsiteX0" fmla="*/ 7144 w 238125"/>
                <a:gd name="connsiteY0" fmla="*/ 7144 h 161925"/>
                <a:gd name="connsiteX1" fmla="*/ 231934 w 238125"/>
                <a:gd name="connsiteY1" fmla="*/ 7144 h 161925"/>
                <a:gd name="connsiteX2" fmla="*/ 231934 w 238125"/>
                <a:gd name="connsiteY2" fmla="*/ 154781 h 161925"/>
                <a:gd name="connsiteX3" fmla="*/ 7144 w 238125"/>
                <a:gd name="connsiteY3" fmla="*/ 154781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8125" h="161925">
                  <a:moveTo>
                    <a:pt x="7144" y="7144"/>
                  </a:moveTo>
                  <a:lnTo>
                    <a:pt x="231934" y="7144"/>
                  </a:lnTo>
                  <a:lnTo>
                    <a:pt x="231934" y="154781"/>
                  </a:lnTo>
                  <a:lnTo>
                    <a:pt x="7144" y="154781"/>
                  </a:ln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FE0B06C3-7A62-4253-ACC7-CB31BA57E4D4}"/>
                </a:ext>
              </a:extLst>
            </p:cNvPr>
            <p:cNvSpPr/>
            <p:nvPr/>
          </p:nvSpPr>
          <p:spPr>
            <a:xfrm>
              <a:off x="6439376" y="3370421"/>
              <a:ext cx="123825" cy="66675"/>
            </a:xfrm>
            <a:custGeom>
              <a:avLst/>
              <a:gdLst>
                <a:gd name="connsiteX0" fmla="*/ 117634 w 123825"/>
                <a:gd name="connsiteY0" fmla="*/ 14764 h 66675"/>
                <a:gd name="connsiteX1" fmla="*/ 66199 w 123825"/>
                <a:gd name="connsiteY1" fmla="*/ 60484 h 66675"/>
                <a:gd name="connsiteX2" fmla="*/ 7144 w 123825"/>
                <a:gd name="connsiteY2" fmla="*/ 15716 h 66675"/>
                <a:gd name="connsiteX3" fmla="*/ 17621 w 123825"/>
                <a:gd name="connsiteY3" fmla="*/ 12859 h 66675"/>
                <a:gd name="connsiteX4" fmla="*/ 109061 w 123825"/>
                <a:gd name="connsiteY4" fmla="*/ 12859 h 66675"/>
                <a:gd name="connsiteX5" fmla="*/ 117634 w 123825"/>
                <a:gd name="connsiteY5" fmla="*/ 1476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3825" h="66675">
                  <a:moveTo>
                    <a:pt x="117634" y="14764"/>
                  </a:moveTo>
                  <a:cubicBezTo>
                    <a:pt x="114776" y="30004"/>
                    <a:pt x="105251" y="60484"/>
                    <a:pt x="66199" y="60484"/>
                  </a:cubicBezTo>
                  <a:cubicBezTo>
                    <a:pt x="27146" y="60484"/>
                    <a:pt x="11906" y="30956"/>
                    <a:pt x="7144" y="15716"/>
                  </a:cubicBezTo>
                  <a:cubicBezTo>
                    <a:pt x="10954" y="14764"/>
                    <a:pt x="13811" y="13811"/>
                    <a:pt x="17621" y="12859"/>
                  </a:cubicBezTo>
                  <a:cubicBezTo>
                    <a:pt x="47149" y="5239"/>
                    <a:pt x="78581" y="5239"/>
                    <a:pt x="109061" y="12859"/>
                  </a:cubicBezTo>
                  <a:cubicBezTo>
                    <a:pt x="110966" y="12859"/>
                    <a:pt x="113824" y="13811"/>
                    <a:pt x="117634" y="14764"/>
                  </a:cubicBez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E5EC769B-D7C8-436C-9219-679FC214374A}"/>
                </a:ext>
              </a:extLst>
            </p:cNvPr>
            <p:cNvSpPr/>
            <p:nvPr/>
          </p:nvSpPr>
          <p:spPr>
            <a:xfrm>
              <a:off x="6449854" y="3369706"/>
              <a:ext cx="104775" cy="47625"/>
            </a:xfrm>
            <a:custGeom>
              <a:avLst/>
              <a:gdLst>
                <a:gd name="connsiteX0" fmla="*/ 97631 w 104775"/>
                <a:gd name="connsiteY0" fmla="*/ 13573 h 47625"/>
                <a:gd name="connsiteX1" fmla="*/ 49054 w 104775"/>
                <a:gd name="connsiteY1" fmla="*/ 41196 h 47625"/>
                <a:gd name="connsiteX2" fmla="*/ 7144 w 104775"/>
                <a:gd name="connsiteY2" fmla="*/ 13573 h 47625"/>
                <a:gd name="connsiteX3" fmla="*/ 97631 w 104775"/>
                <a:gd name="connsiteY3" fmla="*/ 13573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775" h="47625">
                  <a:moveTo>
                    <a:pt x="97631" y="13573"/>
                  </a:moveTo>
                  <a:cubicBezTo>
                    <a:pt x="87154" y="25003"/>
                    <a:pt x="69056" y="41196"/>
                    <a:pt x="49054" y="41196"/>
                  </a:cubicBezTo>
                  <a:cubicBezTo>
                    <a:pt x="25241" y="42148"/>
                    <a:pt x="11906" y="23098"/>
                    <a:pt x="7144" y="13573"/>
                  </a:cubicBezTo>
                  <a:cubicBezTo>
                    <a:pt x="36671" y="5001"/>
                    <a:pt x="68104" y="5001"/>
                    <a:pt x="97631" y="13573"/>
                  </a:cubicBezTo>
                  <a:close/>
                </a:path>
              </a:pathLst>
            </a:custGeom>
            <a:solidFill>
              <a:srgbClr val="EBE0B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40A5718E-A13B-4494-8225-745A8C6975AC}"/>
                </a:ext>
              </a:extLst>
            </p:cNvPr>
            <p:cNvSpPr/>
            <p:nvPr/>
          </p:nvSpPr>
          <p:spPr>
            <a:xfrm>
              <a:off x="6436519" y="3252290"/>
              <a:ext cx="123825" cy="152400"/>
            </a:xfrm>
            <a:custGeom>
              <a:avLst/>
              <a:gdLst>
                <a:gd name="connsiteX0" fmla="*/ 121444 w 123825"/>
                <a:gd name="connsiteY0" fmla="*/ 78602 h 152400"/>
                <a:gd name="connsiteX1" fmla="*/ 64294 w 123825"/>
                <a:gd name="connsiteY1" fmla="*/ 150039 h 152400"/>
                <a:gd name="connsiteX2" fmla="*/ 7144 w 123825"/>
                <a:gd name="connsiteY2" fmla="*/ 78602 h 152400"/>
                <a:gd name="connsiteX3" fmla="*/ 64294 w 123825"/>
                <a:gd name="connsiteY3" fmla="*/ 7164 h 152400"/>
                <a:gd name="connsiteX4" fmla="*/ 121444 w 123825"/>
                <a:gd name="connsiteY4" fmla="*/ 78602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825" h="152400">
                  <a:moveTo>
                    <a:pt x="121444" y="78602"/>
                  </a:moveTo>
                  <a:cubicBezTo>
                    <a:pt x="121444" y="118607"/>
                    <a:pt x="95726" y="150039"/>
                    <a:pt x="64294" y="150039"/>
                  </a:cubicBezTo>
                  <a:cubicBezTo>
                    <a:pt x="32861" y="150039"/>
                    <a:pt x="7144" y="117654"/>
                    <a:pt x="7144" y="78602"/>
                  </a:cubicBezTo>
                  <a:cubicBezTo>
                    <a:pt x="7144" y="38597"/>
                    <a:pt x="32861" y="7164"/>
                    <a:pt x="64294" y="7164"/>
                  </a:cubicBezTo>
                  <a:cubicBezTo>
                    <a:pt x="95726" y="6212"/>
                    <a:pt x="121444" y="38597"/>
                    <a:pt x="121444" y="78602"/>
                  </a:cubicBez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B83493EF-B681-49AF-A45E-F008E3D2E109}"/>
                </a:ext>
              </a:extLst>
            </p:cNvPr>
            <p:cNvSpPr/>
            <p:nvPr/>
          </p:nvSpPr>
          <p:spPr>
            <a:xfrm>
              <a:off x="6421279" y="3319938"/>
              <a:ext cx="47625" cy="47625"/>
            </a:xfrm>
            <a:custGeom>
              <a:avLst/>
              <a:gdLst>
                <a:gd name="connsiteX0" fmla="*/ 41434 w 47625"/>
                <a:gd name="connsiteY0" fmla="*/ 24289 h 47625"/>
                <a:gd name="connsiteX1" fmla="*/ 24289 w 47625"/>
                <a:gd name="connsiteY1" fmla="*/ 41434 h 47625"/>
                <a:gd name="connsiteX2" fmla="*/ 7144 w 47625"/>
                <a:gd name="connsiteY2" fmla="*/ 24289 h 47625"/>
                <a:gd name="connsiteX3" fmla="*/ 24289 w 47625"/>
                <a:gd name="connsiteY3" fmla="*/ 7144 h 47625"/>
                <a:gd name="connsiteX4" fmla="*/ 41434 w 47625"/>
                <a:gd name="connsiteY4" fmla="*/ 24289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25" h="47625">
                  <a:moveTo>
                    <a:pt x="41434" y="24289"/>
                  </a:moveTo>
                  <a:cubicBezTo>
                    <a:pt x="41434" y="33814"/>
                    <a:pt x="33814" y="41434"/>
                    <a:pt x="24289" y="41434"/>
                  </a:cubicBezTo>
                  <a:cubicBezTo>
                    <a:pt x="14764" y="41434"/>
                    <a:pt x="7144" y="33814"/>
                    <a:pt x="7144" y="24289"/>
                  </a:cubicBezTo>
                  <a:cubicBezTo>
                    <a:pt x="7144" y="14764"/>
                    <a:pt x="14764" y="7144"/>
                    <a:pt x="24289" y="7144"/>
                  </a:cubicBezTo>
                  <a:cubicBezTo>
                    <a:pt x="33814" y="7144"/>
                    <a:pt x="41434" y="14764"/>
                    <a:pt x="41434" y="24289"/>
                  </a:cubicBez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66E15275-C52E-4EB1-8523-9EAA710C68C2}"/>
                </a:ext>
              </a:extLst>
            </p:cNvPr>
            <p:cNvSpPr/>
            <p:nvPr/>
          </p:nvSpPr>
          <p:spPr>
            <a:xfrm>
              <a:off x="6533674" y="3319938"/>
              <a:ext cx="47625" cy="47625"/>
            </a:xfrm>
            <a:custGeom>
              <a:avLst/>
              <a:gdLst>
                <a:gd name="connsiteX0" fmla="*/ 41434 w 47625"/>
                <a:gd name="connsiteY0" fmla="*/ 24289 h 47625"/>
                <a:gd name="connsiteX1" fmla="*/ 24289 w 47625"/>
                <a:gd name="connsiteY1" fmla="*/ 41434 h 47625"/>
                <a:gd name="connsiteX2" fmla="*/ 7144 w 47625"/>
                <a:gd name="connsiteY2" fmla="*/ 24289 h 47625"/>
                <a:gd name="connsiteX3" fmla="*/ 24289 w 47625"/>
                <a:gd name="connsiteY3" fmla="*/ 7144 h 47625"/>
                <a:gd name="connsiteX4" fmla="*/ 41434 w 47625"/>
                <a:gd name="connsiteY4" fmla="*/ 24289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25" h="47625">
                  <a:moveTo>
                    <a:pt x="41434" y="24289"/>
                  </a:moveTo>
                  <a:cubicBezTo>
                    <a:pt x="41434" y="33814"/>
                    <a:pt x="33814" y="41434"/>
                    <a:pt x="24289" y="41434"/>
                  </a:cubicBezTo>
                  <a:cubicBezTo>
                    <a:pt x="14764" y="41434"/>
                    <a:pt x="7144" y="33814"/>
                    <a:pt x="7144" y="24289"/>
                  </a:cubicBezTo>
                  <a:cubicBezTo>
                    <a:pt x="7144" y="14764"/>
                    <a:pt x="14764" y="7144"/>
                    <a:pt x="24289" y="7144"/>
                  </a:cubicBezTo>
                  <a:cubicBezTo>
                    <a:pt x="33814" y="7144"/>
                    <a:pt x="41434" y="14764"/>
                    <a:pt x="41434" y="24289"/>
                  </a:cubicBez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42540566-0957-4047-AD83-BC5573853EB2}"/>
                </a:ext>
              </a:extLst>
            </p:cNvPr>
            <p:cNvSpPr/>
            <p:nvPr/>
          </p:nvSpPr>
          <p:spPr>
            <a:xfrm>
              <a:off x="6423755" y="3229451"/>
              <a:ext cx="142875" cy="114300"/>
            </a:xfrm>
            <a:custGeom>
              <a:avLst/>
              <a:gdLst>
                <a:gd name="connsiteX0" fmla="*/ 139922 w 142875"/>
                <a:gd name="connsiteY0" fmla="*/ 98584 h 114300"/>
                <a:gd name="connsiteX1" fmla="*/ 131350 w 142875"/>
                <a:gd name="connsiteY1" fmla="*/ 110014 h 114300"/>
                <a:gd name="connsiteX2" fmla="*/ 123730 w 142875"/>
                <a:gd name="connsiteY2" fmla="*/ 95726 h 114300"/>
                <a:gd name="connsiteX3" fmla="*/ 101822 w 142875"/>
                <a:gd name="connsiteY3" fmla="*/ 69056 h 114300"/>
                <a:gd name="connsiteX4" fmla="*/ 74200 w 142875"/>
                <a:gd name="connsiteY4" fmla="*/ 69056 h 114300"/>
                <a:gd name="connsiteX5" fmla="*/ 45625 w 142875"/>
                <a:gd name="connsiteY5" fmla="*/ 55721 h 114300"/>
                <a:gd name="connsiteX6" fmla="*/ 22765 w 142875"/>
                <a:gd name="connsiteY6" fmla="*/ 110966 h 114300"/>
                <a:gd name="connsiteX7" fmla="*/ 12287 w 142875"/>
                <a:gd name="connsiteY7" fmla="*/ 100489 h 114300"/>
                <a:gd name="connsiteX8" fmla="*/ 17050 w 142875"/>
                <a:gd name="connsiteY8" fmla="*/ 45244 h 114300"/>
                <a:gd name="connsiteX9" fmla="*/ 39910 w 142875"/>
                <a:gd name="connsiteY9" fmla="*/ 17621 h 114300"/>
                <a:gd name="connsiteX10" fmla="*/ 133255 w 142875"/>
                <a:gd name="connsiteY10" fmla="*/ 7144 h 114300"/>
                <a:gd name="connsiteX11" fmla="*/ 133255 w 142875"/>
                <a:gd name="connsiteY11" fmla="*/ 48101 h 114300"/>
                <a:gd name="connsiteX12" fmla="*/ 139922 w 142875"/>
                <a:gd name="connsiteY12" fmla="*/ 98584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2875" h="114300">
                  <a:moveTo>
                    <a:pt x="139922" y="98584"/>
                  </a:moveTo>
                  <a:cubicBezTo>
                    <a:pt x="138970" y="104299"/>
                    <a:pt x="130397" y="104299"/>
                    <a:pt x="131350" y="110014"/>
                  </a:cubicBezTo>
                  <a:cubicBezTo>
                    <a:pt x="129445" y="105251"/>
                    <a:pt x="127540" y="99536"/>
                    <a:pt x="123730" y="95726"/>
                  </a:cubicBezTo>
                  <a:cubicBezTo>
                    <a:pt x="123730" y="83344"/>
                    <a:pt x="114205" y="70961"/>
                    <a:pt x="101822" y="69056"/>
                  </a:cubicBezTo>
                  <a:cubicBezTo>
                    <a:pt x="93250" y="67151"/>
                    <a:pt x="83725" y="70009"/>
                    <a:pt x="74200" y="69056"/>
                  </a:cubicBezTo>
                  <a:cubicBezTo>
                    <a:pt x="63722" y="68104"/>
                    <a:pt x="53245" y="63341"/>
                    <a:pt x="45625" y="55721"/>
                  </a:cubicBezTo>
                  <a:cubicBezTo>
                    <a:pt x="33242" y="70961"/>
                    <a:pt x="23717" y="90964"/>
                    <a:pt x="22765" y="110966"/>
                  </a:cubicBezTo>
                  <a:cubicBezTo>
                    <a:pt x="20860" y="106204"/>
                    <a:pt x="17050" y="102394"/>
                    <a:pt x="12287" y="100489"/>
                  </a:cubicBezTo>
                  <a:cubicBezTo>
                    <a:pt x="12287" y="100489"/>
                    <a:pt x="-2000" y="53816"/>
                    <a:pt x="17050" y="45244"/>
                  </a:cubicBezTo>
                  <a:cubicBezTo>
                    <a:pt x="17050" y="45244"/>
                    <a:pt x="9430" y="22384"/>
                    <a:pt x="39910" y="17621"/>
                  </a:cubicBezTo>
                  <a:cubicBezTo>
                    <a:pt x="70390" y="12859"/>
                    <a:pt x="124682" y="27146"/>
                    <a:pt x="133255" y="7144"/>
                  </a:cubicBezTo>
                  <a:cubicBezTo>
                    <a:pt x="133255" y="7144"/>
                    <a:pt x="145637" y="39529"/>
                    <a:pt x="133255" y="48101"/>
                  </a:cubicBezTo>
                  <a:cubicBezTo>
                    <a:pt x="134207" y="48101"/>
                    <a:pt x="147542" y="47149"/>
                    <a:pt x="139922" y="98584"/>
                  </a:cubicBezTo>
                  <a:close/>
                </a:path>
              </a:pathLst>
            </a:custGeom>
            <a:solidFill>
              <a:srgbClr val="5202B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A5385381-5AE2-4911-B1B9-DE1CB79EDC58}"/>
                </a:ext>
              </a:extLst>
            </p:cNvPr>
            <p:cNvSpPr/>
            <p:nvPr/>
          </p:nvSpPr>
          <p:spPr>
            <a:xfrm>
              <a:off x="5727836" y="3195222"/>
              <a:ext cx="219075" cy="295275"/>
            </a:xfrm>
            <a:custGeom>
              <a:avLst/>
              <a:gdLst>
                <a:gd name="connsiteX0" fmla="*/ 204334 w 219075"/>
                <a:gd name="connsiteY0" fmla="*/ 129002 h 295275"/>
                <a:gd name="connsiteX1" fmla="*/ 215764 w 219075"/>
                <a:gd name="connsiteY1" fmla="*/ 63280 h 295275"/>
                <a:gd name="connsiteX2" fmla="*/ 116704 w 219075"/>
                <a:gd name="connsiteY2" fmla="*/ 9940 h 295275"/>
                <a:gd name="connsiteX3" fmla="*/ 88129 w 219075"/>
                <a:gd name="connsiteY3" fmla="*/ 34705 h 295275"/>
                <a:gd name="connsiteX4" fmla="*/ 66221 w 219075"/>
                <a:gd name="connsiteY4" fmla="*/ 74710 h 295275"/>
                <a:gd name="connsiteX5" fmla="*/ 65269 w 219075"/>
                <a:gd name="connsiteY5" fmla="*/ 118525 h 295275"/>
                <a:gd name="connsiteX6" fmla="*/ 64316 w 219075"/>
                <a:gd name="connsiteY6" fmla="*/ 132812 h 295275"/>
                <a:gd name="connsiteX7" fmla="*/ 55744 w 219075"/>
                <a:gd name="connsiteY7" fmla="*/ 145195 h 295275"/>
                <a:gd name="connsiteX8" fmla="*/ 34789 w 219075"/>
                <a:gd name="connsiteY8" fmla="*/ 164245 h 295275"/>
                <a:gd name="connsiteX9" fmla="*/ 15739 w 219075"/>
                <a:gd name="connsiteY9" fmla="*/ 194725 h 295275"/>
                <a:gd name="connsiteX10" fmla="*/ 9071 w 219075"/>
                <a:gd name="connsiteY10" fmla="*/ 244255 h 295275"/>
                <a:gd name="connsiteX11" fmla="*/ 43361 w 219075"/>
                <a:gd name="connsiteY11" fmla="*/ 279497 h 295275"/>
                <a:gd name="connsiteX12" fmla="*/ 135754 w 219075"/>
                <a:gd name="connsiteY12" fmla="*/ 295690 h 295275"/>
                <a:gd name="connsiteX13" fmla="*/ 189094 w 219075"/>
                <a:gd name="connsiteY13" fmla="*/ 271877 h 295275"/>
                <a:gd name="connsiteX14" fmla="*/ 211954 w 219075"/>
                <a:gd name="connsiteY14" fmla="*/ 219490 h 295275"/>
                <a:gd name="connsiteX15" fmla="*/ 207191 w 219075"/>
                <a:gd name="connsiteY15" fmla="*/ 162340 h 295275"/>
                <a:gd name="connsiteX16" fmla="*/ 204334 w 219075"/>
                <a:gd name="connsiteY16" fmla="*/ 129002 h 295275"/>
                <a:gd name="connsiteX17" fmla="*/ 70031 w 219075"/>
                <a:gd name="connsiteY17" fmla="*/ 121382 h 295275"/>
                <a:gd name="connsiteX18" fmla="*/ 69079 w 219075"/>
                <a:gd name="connsiteY18" fmla="*/ 100427 h 295275"/>
                <a:gd name="connsiteX19" fmla="*/ 83366 w 219075"/>
                <a:gd name="connsiteY19" fmla="*/ 47087 h 295275"/>
                <a:gd name="connsiteX20" fmla="*/ 82414 w 219075"/>
                <a:gd name="connsiteY20" fmla="*/ 50897 h 295275"/>
                <a:gd name="connsiteX21" fmla="*/ 70031 w 219075"/>
                <a:gd name="connsiteY21" fmla="*/ 121382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19075" h="295275">
                  <a:moveTo>
                    <a:pt x="204334" y="129002"/>
                  </a:moveTo>
                  <a:cubicBezTo>
                    <a:pt x="205286" y="106142"/>
                    <a:pt x="218621" y="85187"/>
                    <a:pt x="215764" y="63280"/>
                  </a:cubicBezTo>
                  <a:cubicBezTo>
                    <a:pt x="210049" y="23275"/>
                    <a:pt x="152899" y="-1490"/>
                    <a:pt x="116704" y="9940"/>
                  </a:cubicBezTo>
                  <a:cubicBezTo>
                    <a:pt x="104321" y="13750"/>
                    <a:pt x="94796" y="23275"/>
                    <a:pt x="88129" y="34705"/>
                  </a:cubicBezTo>
                  <a:cubicBezTo>
                    <a:pt x="77651" y="46135"/>
                    <a:pt x="70031" y="59470"/>
                    <a:pt x="66221" y="74710"/>
                  </a:cubicBezTo>
                  <a:cubicBezTo>
                    <a:pt x="62411" y="88997"/>
                    <a:pt x="65269" y="103285"/>
                    <a:pt x="65269" y="118525"/>
                  </a:cubicBezTo>
                  <a:cubicBezTo>
                    <a:pt x="65269" y="123287"/>
                    <a:pt x="65269" y="128050"/>
                    <a:pt x="64316" y="132812"/>
                  </a:cubicBezTo>
                  <a:cubicBezTo>
                    <a:pt x="62411" y="137575"/>
                    <a:pt x="59554" y="141385"/>
                    <a:pt x="55744" y="145195"/>
                  </a:cubicBezTo>
                  <a:cubicBezTo>
                    <a:pt x="49076" y="151862"/>
                    <a:pt x="41456" y="157577"/>
                    <a:pt x="34789" y="164245"/>
                  </a:cubicBezTo>
                  <a:cubicBezTo>
                    <a:pt x="26216" y="172817"/>
                    <a:pt x="20501" y="183295"/>
                    <a:pt x="15739" y="194725"/>
                  </a:cubicBezTo>
                  <a:cubicBezTo>
                    <a:pt x="9071" y="210917"/>
                    <a:pt x="4309" y="228062"/>
                    <a:pt x="9071" y="244255"/>
                  </a:cubicBezTo>
                  <a:cubicBezTo>
                    <a:pt x="14786" y="260447"/>
                    <a:pt x="29074" y="271877"/>
                    <a:pt x="43361" y="279497"/>
                  </a:cubicBezTo>
                  <a:cubicBezTo>
                    <a:pt x="71936" y="294737"/>
                    <a:pt x="104321" y="300452"/>
                    <a:pt x="135754" y="295690"/>
                  </a:cubicBezTo>
                  <a:cubicBezTo>
                    <a:pt x="155756" y="292832"/>
                    <a:pt x="174806" y="286165"/>
                    <a:pt x="189094" y="271877"/>
                  </a:cubicBezTo>
                  <a:cubicBezTo>
                    <a:pt x="202429" y="258542"/>
                    <a:pt x="210049" y="238540"/>
                    <a:pt x="211954" y="219490"/>
                  </a:cubicBezTo>
                  <a:cubicBezTo>
                    <a:pt x="213859" y="200440"/>
                    <a:pt x="211001" y="180437"/>
                    <a:pt x="207191" y="162340"/>
                  </a:cubicBezTo>
                  <a:cubicBezTo>
                    <a:pt x="207191" y="151862"/>
                    <a:pt x="204334" y="140432"/>
                    <a:pt x="204334" y="129002"/>
                  </a:cubicBezTo>
                  <a:close/>
                  <a:moveTo>
                    <a:pt x="70031" y="121382"/>
                  </a:moveTo>
                  <a:cubicBezTo>
                    <a:pt x="70031" y="114715"/>
                    <a:pt x="70031" y="108047"/>
                    <a:pt x="69079" y="100427"/>
                  </a:cubicBezTo>
                  <a:cubicBezTo>
                    <a:pt x="68126" y="79472"/>
                    <a:pt x="72889" y="62327"/>
                    <a:pt x="83366" y="47087"/>
                  </a:cubicBezTo>
                  <a:cubicBezTo>
                    <a:pt x="83366" y="48040"/>
                    <a:pt x="82414" y="48992"/>
                    <a:pt x="82414" y="50897"/>
                  </a:cubicBezTo>
                  <a:cubicBezTo>
                    <a:pt x="75746" y="73757"/>
                    <a:pt x="77651" y="99475"/>
                    <a:pt x="70031" y="121382"/>
                  </a:cubicBezTo>
                  <a:close/>
                </a:path>
              </a:pathLst>
            </a:custGeom>
            <a:solidFill>
              <a:srgbClr val="FF674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4C5F7721-6E8C-4C15-81FA-587E06247703}"/>
                </a:ext>
              </a:extLst>
            </p:cNvPr>
            <p:cNvSpPr/>
            <p:nvPr/>
          </p:nvSpPr>
          <p:spPr>
            <a:xfrm>
              <a:off x="5594875" y="3521868"/>
              <a:ext cx="114300" cy="333375"/>
            </a:xfrm>
            <a:custGeom>
              <a:avLst/>
              <a:gdLst>
                <a:gd name="connsiteX0" fmla="*/ 108695 w 114300"/>
                <a:gd name="connsiteY0" fmla="*/ 330041 h 333375"/>
                <a:gd name="connsiteX1" fmla="*/ 16302 w 114300"/>
                <a:gd name="connsiteY1" fmla="*/ 273844 h 333375"/>
                <a:gd name="connsiteX2" fmla="*/ 94407 w 114300"/>
                <a:gd name="connsiteY2" fmla="*/ 7144 h 333375"/>
                <a:gd name="connsiteX3" fmla="*/ 107742 w 114300"/>
                <a:gd name="connsiteY3" fmla="*/ 16669 h 333375"/>
                <a:gd name="connsiteX4" fmla="*/ 30590 w 114300"/>
                <a:gd name="connsiteY4" fmla="*/ 267176 h 333375"/>
                <a:gd name="connsiteX5" fmla="*/ 109647 w 114300"/>
                <a:gd name="connsiteY5" fmla="*/ 313849 h 333375"/>
                <a:gd name="connsiteX6" fmla="*/ 108695 w 114300"/>
                <a:gd name="connsiteY6" fmla="*/ 330041 h 333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300" h="333375">
                  <a:moveTo>
                    <a:pt x="108695" y="330041"/>
                  </a:moveTo>
                  <a:cubicBezTo>
                    <a:pt x="62022" y="324326"/>
                    <a:pt x="30590" y="306229"/>
                    <a:pt x="16302" y="273844"/>
                  </a:cubicBezTo>
                  <a:cubicBezTo>
                    <a:pt x="-25608" y="182404"/>
                    <a:pt x="89645" y="14764"/>
                    <a:pt x="94407" y="7144"/>
                  </a:cubicBezTo>
                  <a:lnTo>
                    <a:pt x="107742" y="16669"/>
                  </a:lnTo>
                  <a:cubicBezTo>
                    <a:pt x="106790" y="18574"/>
                    <a:pt x="-7510" y="183356"/>
                    <a:pt x="30590" y="267176"/>
                  </a:cubicBezTo>
                  <a:cubicBezTo>
                    <a:pt x="42020" y="293846"/>
                    <a:pt x="68690" y="309086"/>
                    <a:pt x="109647" y="313849"/>
                  </a:cubicBezTo>
                  <a:lnTo>
                    <a:pt x="108695" y="330041"/>
                  </a:ln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D0BBAA81-E081-4D92-9792-792E6CA436C9}"/>
                </a:ext>
              </a:extLst>
            </p:cNvPr>
            <p:cNvSpPr/>
            <p:nvPr/>
          </p:nvSpPr>
          <p:spPr>
            <a:xfrm>
              <a:off x="5638324" y="3458051"/>
              <a:ext cx="180975" cy="180975"/>
            </a:xfrm>
            <a:custGeom>
              <a:avLst/>
              <a:gdLst>
                <a:gd name="connsiteX0" fmla="*/ 176689 w 180975"/>
                <a:gd name="connsiteY0" fmla="*/ 176689 h 180975"/>
                <a:gd name="connsiteX1" fmla="*/ 48101 w 180975"/>
                <a:gd name="connsiteY1" fmla="*/ 176689 h 180975"/>
                <a:gd name="connsiteX2" fmla="*/ 7144 w 180975"/>
                <a:gd name="connsiteY2" fmla="*/ 135731 h 180975"/>
                <a:gd name="connsiteX3" fmla="*/ 7144 w 180975"/>
                <a:gd name="connsiteY3" fmla="*/ 48101 h 180975"/>
                <a:gd name="connsiteX4" fmla="*/ 48101 w 180975"/>
                <a:gd name="connsiteY4" fmla="*/ 7144 h 180975"/>
                <a:gd name="connsiteX5" fmla="*/ 176689 w 180975"/>
                <a:gd name="connsiteY5" fmla="*/ 7144 h 180975"/>
                <a:gd name="connsiteX6" fmla="*/ 176689 w 180975"/>
                <a:gd name="connsiteY6" fmla="*/ 176689 h 180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0975" h="180975">
                  <a:moveTo>
                    <a:pt x="176689" y="176689"/>
                  </a:moveTo>
                  <a:lnTo>
                    <a:pt x="48101" y="176689"/>
                  </a:lnTo>
                  <a:cubicBezTo>
                    <a:pt x="25241" y="176689"/>
                    <a:pt x="7144" y="158591"/>
                    <a:pt x="7144" y="135731"/>
                  </a:cubicBezTo>
                  <a:lnTo>
                    <a:pt x="7144" y="48101"/>
                  </a:lnTo>
                  <a:cubicBezTo>
                    <a:pt x="7144" y="25241"/>
                    <a:pt x="25241" y="7144"/>
                    <a:pt x="48101" y="7144"/>
                  </a:cubicBezTo>
                  <a:lnTo>
                    <a:pt x="176689" y="7144"/>
                  </a:lnTo>
                  <a:lnTo>
                    <a:pt x="176689" y="176689"/>
                  </a:ln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86C829F6-309D-428F-BB28-E1CDDBBF216F}"/>
                </a:ext>
              </a:extLst>
            </p:cNvPr>
            <p:cNvSpPr/>
            <p:nvPr/>
          </p:nvSpPr>
          <p:spPr>
            <a:xfrm>
              <a:off x="5638324" y="3822858"/>
              <a:ext cx="257175" cy="38100"/>
            </a:xfrm>
            <a:custGeom>
              <a:avLst/>
              <a:gdLst>
                <a:gd name="connsiteX0" fmla="*/ 239554 w 257175"/>
                <a:gd name="connsiteY0" fmla="*/ 37624 h 38100"/>
                <a:gd name="connsiteX1" fmla="*/ 22384 w 257175"/>
                <a:gd name="connsiteY1" fmla="*/ 37624 h 38100"/>
                <a:gd name="connsiteX2" fmla="*/ 7144 w 257175"/>
                <a:gd name="connsiteY2" fmla="*/ 22384 h 38100"/>
                <a:gd name="connsiteX3" fmla="*/ 7144 w 257175"/>
                <a:gd name="connsiteY3" fmla="*/ 22384 h 38100"/>
                <a:gd name="connsiteX4" fmla="*/ 22384 w 257175"/>
                <a:gd name="connsiteY4" fmla="*/ 7144 h 38100"/>
                <a:gd name="connsiteX5" fmla="*/ 239554 w 257175"/>
                <a:gd name="connsiteY5" fmla="*/ 7144 h 38100"/>
                <a:gd name="connsiteX6" fmla="*/ 254794 w 257175"/>
                <a:gd name="connsiteY6" fmla="*/ 22384 h 38100"/>
                <a:gd name="connsiteX7" fmla="*/ 254794 w 257175"/>
                <a:gd name="connsiteY7" fmla="*/ 22384 h 38100"/>
                <a:gd name="connsiteX8" fmla="*/ 239554 w 257175"/>
                <a:gd name="connsiteY8" fmla="*/ 37624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7175" h="38100">
                  <a:moveTo>
                    <a:pt x="239554" y="37624"/>
                  </a:moveTo>
                  <a:lnTo>
                    <a:pt x="22384" y="37624"/>
                  </a:lnTo>
                  <a:cubicBezTo>
                    <a:pt x="13811" y="37624"/>
                    <a:pt x="7144" y="30956"/>
                    <a:pt x="7144" y="22384"/>
                  </a:cubicBezTo>
                  <a:lnTo>
                    <a:pt x="7144" y="22384"/>
                  </a:lnTo>
                  <a:cubicBezTo>
                    <a:pt x="7144" y="13811"/>
                    <a:pt x="13811" y="7144"/>
                    <a:pt x="22384" y="7144"/>
                  </a:cubicBezTo>
                  <a:lnTo>
                    <a:pt x="239554" y="7144"/>
                  </a:lnTo>
                  <a:cubicBezTo>
                    <a:pt x="248126" y="7144"/>
                    <a:pt x="254794" y="13811"/>
                    <a:pt x="254794" y="22384"/>
                  </a:cubicBezTo>
                  <a:lnTo>
                    <a:pt x="254794" y="22384"/>
                  </a:lnTo>
                  <a:cubicBezTo>
                    <a:pt x="254794" y="30004"/>
                    <a:pt x="248126" y="37624"/>
                    <a:pt x="239554" y="37624"/>
                  </a:cubicBez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D90935D7-DBFE-48AF-B4E7-8DA4E7A947EF}"/>
                </a:ext>
              </a:extLst>
            </p:cNvPr>
            <p:cNvSpPr/>
            <p:nvPr/>
          </p:nvSpPr>
          <p:spPr>
            <a:xfrm>
              <a:off x="5757386" y="3716040"/>
              <a:ext cx="247650" cy="333375"/>
            </a:xfrm>
            <a:custGeom>
              <a:avLst/>
              <a:gdLst>
                <a:gd name="connsiteX0" fmla="*/ 13811 w 247650"/>
                <a:gd name="connsiteY0" fmla="*/ 112057 h 333375"/>
                <a:gd name="connsiteX1" fmla="*/ 162401 w 247650"/>
                <a:gd name="connsiteY1" fmla="*/ 112057 h 333375"/>
                <a:gd name="connsiteX2" fmla="*/ 128111 w 247650"/>
                <a:gd name="connsiteY2" fmla="*/ 329227 h 333375"/>
                <a:gd name="connsiteX3" fmla="*/ 171926 w 247650"/>
                <a:gd name="connsiteY3" fmla="*/ 329227 h 333375"/>
                <a:gd name="connsiteX4" fmla="*/ 234791 w 247650"/>
                <a:gd name="connsiteY4" fmla="*/ 35857 h 333375"/>
                <a:gd name="connsiteX5" fmla="*/ 100489 w 247650"/>
                <a:gd name="connsiteY5" fmla="*/ 7282 h 333375"/>
                <a:gd name="connsiteX6" fmla="*/ 7144 w 247650"/>
                <a:gd name="connsiteY6" fmla="*/ 55860 h 333375"/>
                <a:gd name="connsiteX7" fmla="*/ 13811 w 247650"/>
                <a:gd name="connsiteY7" fmla="*/ 112057 h 333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7650" h="333375">
                  <a:moveTo>
                    <a:pt x="13811" y="112057"/>
                  </a:moveTo>
                  <a:cubicBezTo>
                    <a:pt x="13811" y="112057"/>
                    <a:pt x="127159" y="116819"/>
                    <a:pt x="162401" y="112057"/>
                  </a:cubicBezTo>
                  <a:lnTo>
                    <a:pt x="128111" y="329227"/>
                  </a:lnTo>
                  <a:lnTo>
                    <a:pt x="171926" y="329227"/>
                  </a:lnTo>
                  <a:cubicBezTo>
                    <a:pt x="171926" y="329227"/>
                    <a:pt x="267176" y="68242"/>
                    <a:pt x="234791" y="35857"/>
                  </a:cubicBezTo>
                  <a:cubicBezTo>
                    <a:pt x="202406" y="3472"/>
                    <a:pt x="100489" y="7282"/>
                    <a:pt x="100489" y="7282"/>
                  </a:cubicBezTo>
                  <a:lnTo>
                    <a:pt x="7144" y="55860"/>
                  </a:lnTo>
                  <a:lnTo>
                    <a:pt x="13811" y="112057"/>
                  </a:lnTo>
                  <a:close/>
                </a:path>
              </a:pathLst>
            </a:custGeom>
            <a:solidFill>
              <a:srgbClr val="5202B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7026BA8E-E78C-467A-9CB2-5948F05A058B}"/>
                </a:ext>
              </a:extLst>
            </p:cNvPr>
            <p:cNvSpPr/>
            <p:nvPr/>
          </p:nvSpPr>
          <p:spPr>
            <a:xfrm>
              <a:off x="5885974" y="4038123"/>
              <a:ext cx="95250" cy="38100"/>
            </a:xfrm>
            <a:custGeom>
              <a:avLst/>
              <a:gdLst>
                <a:gd name="connsiteX0" fmla="*/ 7144 w 95250"/>
                <a:gd name="connsiteY0" fmla="*/ 7144 h 38100"/>
                <a:gd name="connsiteX1" fmla="*/ 8096 w 95250"/>
                <a:gd name="connsiteY1" fmla="*/ 20479 h 38100"/>
                <a:gd name="connsiteX2" fmla="*/ 10001 w 95250"/>
                <a:gd name="connsiteY2" fmla="*/ 39529 h 38100"/>
                <a:gd name="connsiteX3" fmla="*/ 90011 w 95250"/>
                <a:gd name="connsiteY3" fmla="*/ 39529 h 38100"/>
                <a:gd name="connsiteX4" fmla="*/ 92869 w 95250"/>
                <a:gd name="connsiteY4" fmla="*/ 30956 h 38100"/>
                <a:gd name="connsiteX5" fmla="*/ 74771 w 95250"/>
                <a:gd name="connsiteY5" fmla="*/ 19526 h 38100"/>
                <a:gd name="connsiteX6" fmla="*/ 41434 w 95250"/>
                <a:gd name="connsiteY6" fmla="*/ 7144 h 38100"/>
                <a:gd name="connsiteX7" fmla="*/ 7144 w 95250"/>
                <a:gd name="connsiteY7" fmla="*/ 7144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250" h="38100">
                  <a:moveTo>
                    <a:pt x="7144" y="7144"/>
                  </a:moveTo>
                  <a:lnTo>
                    <a:pt x="8096" y="20479"/>
                  </a:lnTo>
                  <a:lnTo>
                    <a:pt x="10001" y="39529"/>
                  </a:lnTo>
                  <a:lnTo>
                    <a:pt x="90011" y="39529"/>
                  </a:lnTo>
                  <a:cubicBezTo>
                    <a:pt x="94774" y="39529"/>
                    <a:pt x="96679" y="33814"/>
                    <a:pt x="92869" y="30956"/>
                  </a:cubicBezTo>
                  <a:cubicBezTo>
                    <a:pt x="88106" y="27146"/>
                    <a:pt x="81439" y="23336"/>
                    <a:pt x="74771" y="19526"/>
                  </a:cubicBezTo>
                  <a:cubicBezTo>
                    <a:pt x="58579" y="11906"/>
                    <a:pt x="41434" y="7144"/>
                    <a:pt x="41434" y="7144"/>
                  </a:cubicBezTo>
                  <a:lnTo>
                    <a:pt x="7144" y="7144"/>
                  </a:ln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D64079C0-35C7-4665-8A52-E9D48BF3226C}"/>
                </a:ext>
              </a:extLst>
            </p:cNvPr>
            <p:cNvSpPr/>
            <p:nvPr/>
          </p:nvSpPr>
          <p:spPr>
            <a:xfrm>
              <a:off x="5885974" y="4038123"/>
              <a:ext cx="76200" cy="28575"/>
            </a:xfrm>
            <a:custGeom>
              <a:avLst/>
              <a:gdLst>
                <a:gd name="connsiteX0" fmla="*/ 7144 w 76200"/>
                <a:gd name="connsiteY0" fmla="*/ 7144 h 28575"/>
                <a:gd name="connsiteX1" fmla="*/ 8096 w 76200"/>
                <a:gd name="connsiteY1" fmla="*/ 20479 h 28575"/>
                <a:gd name="connsiteX2" fmla="*/ 24289 w 76200"/>
                <a:gd name="connsiteY2" fmla="*/ 26194 h 28575"/>
                <a:gd name="connsiteX3" fmla="*/ 51911 w 76200"/>
                <a:gd name="connsiteY3" fmla="*/ 28099 h 28575"/>
                <a:gd name="connsiteX4" fmla="*/ 73819 w 76200"/>
                <a:gd name="connsiteY4" fmla="*/ 19526 h 28575"/>
                <a:gd name="connsiteX5" fmla="*/ 40481 w 76200"/>
                <a:gd name="connsiteY5" fmla="*/ 7144 h 28575"/>
                <a:gd name="connsiteX6" fmla="*/ 7144 w 76200"/>
                <a:gd name="connsiteY6" fmla="*/ 714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200" h="28575">
                  <a:moveTo>
                    <a:pt x="7144" y="7144"/>
                  </a:moveTo>
                  <a:lnTo>
                    <a:pt x="8096" y="20479"/>
                  </a:lnTo>
                  <a:cubicBezTo>
                    <a:pt x="12859" y="23336"/>
                    <a:pt x="18574" y="25241"/>
                    <a:pt x="24289" y="26194"/>
                  </a:cubicBezTo>
                  <a:cubicBezTo>
                    <a:pt x="33814" y="28099"/>
                    <a:pt x="43339" y="28099"/>
                    <a:pt x="51911" y="28099"/>
                  </a:cubicBezTo>
                  <a:cubicBezTo>
                    <a:pt x="60484" y="28099"/>
                    <a:pt x="69056" y="26194"/>
                    <a:pt x="73819" y="19526"/>
                  </a:cubicBezTo>
                  <a:cubicBezTo>
                    <a:pt x="57626" y="11906"/>
                    <a:pt x="40481" y="7144"/>
                    <a:pt x="40481" y="7144"/>
                  </a:cubicBezTo>
                  <a:lnTo>
                    <a:pt x="7144" y="7144"/>
                  </a:ln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AEF955F0-3529-4687-901F-99001D89CC85}"/>
                </a:ext>
              </a:extLst>
            </p:cNvPr>
            <p:cNvSpPr/>
            <p:nvPr/>
          </p:nvSpPr>
          <p:spPr>
            <a:xfrm>
              <a:off x="5878354" y="3339941"/>
              <a:ext cx="171450" cy="295275"/>
            </a:xfrm>
            <a:custGeom>
              <a:avLst/>
              <a:gdLst>
                <a:gd name="connsiteX0" fmla="*/ 33814 w 171450"/>
                <a:gd name="connsiteY0" fmla="*/ 7144 h 295275"/>
                <a:gd name="connsiteX1" fmla="*/ 69056 w 171450"/>
                <a:gd name="connsiteY1" fmla="*/ 64294 h 295275"/>
                <a:gd name="connsiteX2" fmla="*/ 88106 w 171450"/>
                <a:gd name="connsiteY2" fmla="*/ 226219 h 295275"/>
                <a:gd name="connsiteX3" fmla="*/ 168116 w 171450"/>
                <a:gd name="connsiteY3" fmla="*/ 251936 h 295275"/>
                <a:gd name="connsiteX4" fmla="*/ 169069 w 171450"/>
                <a:gd name="connsiteY4" fmla="*/ 288131 h 295275"/>
                <a:gd name="connsiteX5" fmla="*/ 7144 w 171450"/>
                <a:gd name="connsiteY5" fmla="*/ 295751 h 295275"/>
                <a:gd name="connsiteX6" fmla="*/ 11906 w 171450"/>
                <a:gd name="connsiteY6" fmla="*/ 154781 h 295275"/>
                <a:gd name="connsiteX7" fmla="*/ 33814 w 171450"/>
                <a:gd name="connsiteY7" fmla="*/ 7144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450" h="295275">
                  <a:moveTo>
                    <a:pt x="33814" y="7144"/>
                  </a:moveTo>
                  <a:cubicBezTo>
                    <a:pt x="33814" y="7144"/>
                    <a:pt x="57626" y="17621"/>
                    <a:pt x="69056" y="64294"/>
                  </a:cubicBezTo>
                  <a:cubicBezTo>
                    <a:pt x="79534" y="111919"/>
                    <a:pt x="88106" y="226219"/>
                    <a:pt x="88106" y="226219"/>
                  </a:cubicBezTo>
                  <a:lnTo>
                    <a:pt x="168116" y="251936"/>
                  </a:lnTo>
                  <a:lnTo>
                    <a:pt x="169069" y="288131"/>
                  </a:lnTo>
                  <a:lnTo>
                    <a:pt x="7144" y="295751"/>
                  </a:lnTo>
                  <a:lnTo>
                    <a:pt x="11906" y="154781"/>
                  </a:lnTo>
                  <a:lnTo>
                    <a:pt x="33814" y="7144"/>
                  </a:lnTo>
                  <a:close/>
                </a:path>
              </a:pathLst>
            </a:custGeom>
            <a:solidFill>
              <a:srgbClr val="00A49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D1D9E55C-1176-426F-B5CD-6E7FD1935F25}"/>
                </a:ext>
              </a:extLst>
            </p:cNvPr>
            <p:cNvSpPr/>
            <p:nvPr/>
          </p:nvSpPr>
          <p:spPr>
            <a:xfrm>
              <a:off x="6110764" y="3966533"/>
              <a:ext cx="104775" cy="47625"/>
            </a:xfrm>
            <a:custGeom>
              <a:avLst/>
              <a:gdLst>
                <a:gd name="connsiteX0" fmla="*/ 7144 w 104775"/>
                <a:gd name="connsiteY0" fmla="*/ 18726 h 47625"/>
                <a:gd name="connsiteX1" fmla="*/ 11906 w 104775"/>
                <a:gd name="connsiteY1" fmla="*/ 31109 h 47625"/>
                <a:gd name="connsiteX2" fmla="*/ 18574 w 104775"/>
                <a:gd name="connsiteY2" fmla="*/ 48254 h 47625"/>
                <a:gd name="connsiteX3" fmla="*/ 94774 w 104775"/>
                <a:gd name="connsiteY3" fmla="*/ 24441 h 47625"/>
                <a:gd name="connsiteX4" fmla="*/ 95726 w 104775"/>
                <a:gd name="connsiteY4" fmla="*/ 14916 h 47625"/>
                <a:gd name="connsiteX5" fmla="*/ 75724 w 104775"/>
                <a:gd name="connsiteY5" fmla="*/ 9201 h 47625"/>
                <a:gd name="connsiteX6" fmla="*/ 39529 w 104775"/>
                <a:gd name="connsiteY6" fmla="*/ 7296 h 47625"/>
                <a:gd name="connsiteX7" fmla="*/ 7144 w 104775"/>
                <a:gd name="connsiteY7" fmla="*/ 18726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775" h="47625">
                  <a:moveTo>
                    <a:pt x="7144" y="18726"/>
                  </a:moveTo>
                  <a:lnTo>
                    <a:pt x="11906" y="31109"/>
                  </a:lnTo>
                  <a:lnTo>
                    <a:pt x="18574" y="48254"/>
                  </a:lnTo>
                  <a:lnTo>
                    <a:pt x="94774" y="24441"/>
                  </a:lnTo>
                  <a:cubicBezTo>
                    <a:pt x="99536" y="23489"/>
                    <a:pt x="99536" y="16821"/>
                    <a:pt x="95726" y="14916"/>
                  </a:cubicBezTo>
                  <a:cubicBezTo>
                    <a:pt x="90011" y="12059"/>
                    <a:pt x="82391" y="11106"/>
                    <a:pt x="75724" y="9201"/>
                  </a:cubicBezTo>
                  <a:cubicBezTo>
                    <a:pt x="58579" y="6344"/>
                    <a:pt x="39529" y="7296"/>
                    <a:pt x="39529" y="7296"/>
                  </a:cubicBezTo>
                  <a:lnTo>
                    <a:pt x="7144" y="18726"/>
                  </a:ln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AF6967E2-43BB-465B-9E59-E686B6C685AF}"/>
                </a:ext>
              </a:extLst>
            </p:cNvPr>
            <p:cNvSpPr/>
            <p:nvPr/>
          </p:nvSpPr>
          <p:spPr>
            <a:xfrm>
              <a:off x="6110764" y="3967486"/>
              <a:ext cx="76200" cy="38100"/>
            </a:xfrm>
            <a:custGeom>
              <a:avLst/>
              <a:gdLst>
                <a:gd name="connsiteX0" fmla="*/ 7144 w 76200"/>
                <a:gd name="connsiteY0" fmla="*/ 17774 h 38100"/>
                <a:gd name="connsiteX1" fmla="*/ 11906 w 76200"/>
                <a:gd name="connsiteY1" fmla="*/ 30156 h 38100"/>
                <a:gd name="connsiteX2" fmla="*/ 29051 w 76200"/>
                <a:gd name="connsiteY2" fmla="*/ 31109 h 38100"/>
                <a:gd name="connsiteX3" fmla="*/ 56674 w 76200"/>
                <a:gd name="connsiteY3" fmla="*/ 24441 h 38100"/>
                <a:gd name="connsiteX4" fmla="*/ 74771 w 76200"/>
                <a:gd name="connsiteY4" fmla="*/ 9201 h 38100"/>
                <a:gd name="connsiteX5" fmla="*/ 38576 w 76200"/>
                <a:gd name="connsiteY5" fmla="*/ 7296 h 38100"/>
                <a:gd name="connsiteX6" fmla="*/ 7144 w 76200"/>
                <a:gd name="connsiteY6" fmla="*/ 17774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200" h="38100">
                  <a:moveTo>
                    <a:pt x="7144" y="17774"/>
                  </a:moveTo>
                  <a:lnTo>
                    <a:pt x="11906" y="30156"/>
                  </a:lnTo>
                  <a:cubicBezTo>
                    <a:pt x="17621" y="31109"/>
                    <a:pt x="23336" y="31109"/>
                    <a:pt x="29051" y="31109"/>
                  </a:cubicBezTo>
                  <a:cubicBezTo>
                    <a:pt x="38576" y="30156"/>
                    <a:pt x="47149" y="27299"/>
                    <a:pt x="56674" y="24441"/>
                  </a:cubicBezTo>
                  <a:cubicBezTo>
                    <a:pt x="64294" y="21584"/>
                    <a:pt x="71914" y="17774"/>
                    <a:pt x="74771" y="9201"/>
                  </a:cubicBezTo>
                  <a:cubicBezTo>
                    <a:pt x="57626" y="6344"/>
                    <a:pt x="38576" y="7296"/>
                    <a:pt x="38576" y="7296"/>
                  </a:cubicBezTo>
                  <a:lnTo>
                    <a:pt x="7144" y="17774"/>
                  </a:ln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2D046A11-704A-4803-8E35-5B08FB7F197F}"/>
                </a:ext>
              </a:extLst>
            </p:cNvPr>
            <p:cNvSpPr/>
            <p:nvPr/>
          </p:nvSpPr>
          <p:spPr>
            <a:xfrm>
              <a:off x="5694421" y="3673527"/>
              <a:ext cx="466725" cy="314325"/>
            </a:xfrm>
            <a:custGeom>
              <a:avLst/>
              <a:gdLst>
                <a:gd name="connsiteX0" fmla="*/ 12959 w 466725"/>
                <a:gd name="connsiteY0" fmla="*/ 9790 h 314325"/>
                <a:gd name="connsiteX1" fmla="*/ 53917 w 466725"/>
                <a:gd name="connsiteY1" fmla="*/ 150760 h 314325"/>
                <a:gd name="connsiteX2" fmla="*/ 317759 w 466725"/>
                <a:gd name="connsiteY2" fmla="*/ 87895 h 314325"/>
                <a:gd name="connsiteX3" fmla="*/ 415867 w 466725"/>
                <a:gd name="connsiteY3" fmla="*/ 313637 h 314325"/>
                <a:gd name="connsiteX4" fmla="*/ 463492 w 466725"/>
                <a:gd name="connsiteY4" fmla="*/ 300302 h 314325"/>
                <a:gd name="connsiteX5" fmla="*/ 371099 w 466725"/>
                <a:gd name="connsiteY5" fmla="*/ 8837 h 314325"/>
                <a:gd name="connsiteX6" fmla="*/ 217747 w 466725"/>
                <a:gd name="connsiteY6" fmla="*/ 8837 h 314325"/>
                <a:gd name="connsiteX7" fmla="*/ 12959 w 466725"/>
                <a:gd name="connsiteY7" fmla="*/ 8837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6725" h="314325">
                  <a:moveTo>
                    <a:pt x="12959" y="9790"/>
                  </a:moveTo>
                  <a:cubicBezTo>
                    <a:pt x="12959" y="9790"/>
                    <a:pt x="-15616" y="128852"/>
                    <a:pt x="53917" y="150760"/>
                  </a:cubicBezTo>
                  <a:cubicBezTo>
                    <a:pt x="122497" y="172667"/>
                    <a:pt x="317759" y="87895"/>
                    <a:pt x="317759" y="87895"/>
                  </a:cubicBezTo>
                  <a:lnTo>
                    <a:pt x="415867" y="313637"/>
                  </a:lnTo>
                  <a:lnTo>
                    <a:pt x="463492" y="300302"/>
                  </a:lnTo>
                  <a:cubicBezTo>
                    <a:pt x="463492" y="300302"/>
                    <a:pt x="407294" y="12647"/>
                    <a:pt x="371099" y="8837"/>
                  </a:cubicBezTo>
                  <a:cubicBezTo>
                    <a:pt x="334904" y="5027"/>
                    <a:pt x="217747" y="8837"/>
                    <a:pt x="217747" y="8837"/>
                  </a:cubicBezTo>
                  <a:lnTo>
                    <a:pt x="12959" y="8837"/>
                  </a:lnTo>
                  <a:close/>
                </a:path>
              </a:pathLst>
            </a:custGeom>
            <a:solidFill>
              <a:srgbClr val="6D26D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165C0944-DFA1-4E5A-84B2-24AB7E5BDFC1}"/>
                </a:ext>
              </a:extLst>
            </p:cNvPr>
            <p:cNvSpPr/>
            <p:nvPr/>
          </p:nvSpPr>
          <p:spPr>
            <a:xfrm>
              <a:off x="5684044" y="3339941"/>
              <a:ext cx="257175" cy="390525"/>
            </a:xfrm>
            <a:custGeom>
              <a:avLst/>
              <a:gdLst>
                <a:gd name="connsiteX0" fmla="*/ 228124 w 257175"/>
                <a:gd name="connsiteY0" fmla="*/ 343376 h 390525"/>
                <a:gd name="connsiteX1" fmla="*/ 210026 w 257175"/>
                <a:gd name="connsiteY1" fmla="*/ 346234 h 390525"/>
                <a:gd name="connsiteX2" fmla="*/ 158591 w 257175"/>
                <a:gd name="connsiteY2" fmla="*/ 355759 h 390525"/>
                <a:gd name="connsiteX3" fmla="*/ 7144 w 257175"/>
                <a:gd name="connsiteY3" fmla="*/ 383381 h 390525"/>
                <a:gd name="connsiteX4" fmla="*/ 73819 w 257175"/>
                <a:gd name="connsiteY4" fmla="*/ 187166 h 390525"/>
                <a:gd name="connsiteX5" fmla="*/ 73819 w 257175"/>
                <a:gd name="connsiteY5" fmla="*/ 71914 h 390525"/>
                <a:gd name="connsiteX6" fmla="*/ 117634 w 257175"/>
                <a:gd name="connsiteY6" fmla="*/ 7144 h 390525"/>
                <a:gd name="connsiteX7" fmla="*/ 227171 w 257175"/>
                <a:gd name="connsiteY7" fmla="*/ 7144 h 390525"/>
                <a:gd name="connsiteX8" fmla="*/ 228124 w 257175"/>
                <a:gd name="connsiteY8" fmla="*/ 8096 h 390525"/>
                <a:gd name="connsiteX9" fmla="*/ 228124 w 257175"/>
                <a:gd name="connsiteY9" fmla="*/ 343376 h 39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7175" h="390525">
                  <a:moveTo>
                    <a:pt x="228124" y="343376"/>
                  </a:moveTo>
                  <a:lnTo>
                    <a:pt x="210026" y="346234"/>
                  </a:lnTo>
                  <a:lnTo>
                    <a:pt x="158591" y="355759"/>
                  </a:lnTo>
                  <a:lnTo>
                    <a:pt x="7144" y="383381"/>
                  </a:lnTo>
                  <a:cubicBezTo>
                    <a:pt x="7144" y="383381"/>
                    <a:pt x="70009" y="210026"/>
                    <a:pt x="73819" y="187166"/>
                  </a:cubicBezTo>
                  <a:cubicBezTo>
                    <a:pt x="77629" y="164306"/>
                    <a:pt x="78581" y="102394"/>
                    <a:pt x="73819" y="71914"/>
                  </a:cubicBezTo>
                  <a:cubicBezTo>
                    <a:pt x="69056" y="41434"/>
                    <a:pt x="117634" y="7144"/>
                    <a:pt x="117634" y="7144"/>
                  </a:cubicBezTo>
                  <a:lnTo>
                    <a:pt x="227171" y="7144"/>
                  </a:lnTo>
                  <a:cubicBezTo>
                    <a:pt x="227171" y="7144"/>
                    <a:pt x="228124" y="8096"/>
                    <a:pt x="228124" y="8096"/>
                  </a:cubicBezTo>
                  <a:cubicBezTo>
                    <a:pt x="286226" y="74771"/>
                    <a:pt x="228124" y="343376"/>
                    <a:pt x="228124" y="343376"/>
                  </a:cubicBezTo>
                  <a:close/>
                </a:path>
              </a:pathLst>
            </a:custGeom>
            <a:solidFill>
              <a:srgbClr val="00BEB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F895B535-D456-4CD0-98C7-3F6AB7B37D7D}"/>
                </a:ext>
              </a:extLst>
            </p:cNvPr>
            <p:cNvSpPr/>
            <p:nvPr/>
          </p:nvSpPr>
          <p:spPr>
            <a:xfrm>
              <a:off x="5815489" y="3339941"/>
              <a:ext cx="114300" cy="361950"/>
            </a:xfrm>
            <a:custGeom>
              <a:avLst/>
              <a:gdLst>
                <a:gd name="connsiteX0" fmla="*/ 78581 w 114300"/>
                <a:gd name="connsiteY0" fmla="*/ 346234 h 361950"/>
                <a:gd name="connsiteX1" fmla="*/ 27146 w 114300"/>
                <a:gd name="connsiteY1" fmla="*/ 355759 h 361950"/>
                <a:gd name="connsiteX2" fmla="*/ 7144 w 114300"/>
                <a:gd name="connsiteY2" fmla="*/ 7144 h 361950"/>
                <a:gd name="connsiteX3" fmla="*/ 95726 w 114300"/>
                <a:gd name="connsiteY3" fmla="*/ 7144 h 361950"/>
                <a:gd name="connsiteX4" fmla="*/ 96679 w 114300"/>
                <a:gd name="connsiteY4" fmla="*/ 8096 h 361950"/>
                <a:gd name="connsiteX5" fmla="*/ 78581 w 114300"/>
                <a:gd name="connsiteY5" fmla="*/ 346234 h 361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4300" h="361950">
                  <a:moveTo>
                    <a:pt x="78581" y="346234"/>
                  </a:moveTo>
                  <a:lnTo>
                    <a:pt x="27146" y="355759"/>
                  </a:lnTo>
                  <a:cubicBezTo>
                    <a:pt x="60484" y="132874"/>
                    <a:pt x="7144" y="7144"/>
                    <a:pt x="7144" y="7144"/>
                  </a:cubicBezTo>
                  <a:lnTo>
                    <a:pt x="95726" y="7144"/>
                  </a:lnTo>
                  <a:cubicBezTo>
                    <a:pt x="95726" y="7144"/>
                    <a:pt x="96679" y="8096"/>
                    <a:pt x="96679" y="8096"/>
                  </a:cubicBezTo>
                  <a:cubicBezTo>
                    <a:pt x="130969" y="50006"/>
                    <a:pt x="87154" y="300514"/>
                    <a:pt x="78581" y="346234"/>
                  </a:cubicBezTo>
                  <a:close/>
                </a:path>
              </a:pathLst>
            </a:custGeom>
            <a:solidFill>
              <a:srgbClr val="5202B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475857C3-EFAA-4673-B073-93E83334C1AA}"/>
                </a:ext>
              </a:extLst>
            </p:cNvPr>
            <p:cNvSpPr/>
            <p:nvPr/>
          </p:nvSpPr>
          <p:spPr>
            <a:xfrm>
              <a:off x="5816441" y="3339941"/>
              <a:ext cx="104775" cy="47625"/>
            </a:xfrm>
            <a:custGeom>
              <a:avLst/>
              <a:gdLst>
                <a:gd name="connsiteX0" fmla="*/ 7144 w 104775"/>
                <a:gd name="connsiteY0" fmla="*/ 7144 h 47625"/>
                <a:gd name="connsiteX1" fmla="*/ 73819 w 104775"/>
                <a:gd name="connsiteY1" fmla="*/ 45244 h 47625"/>
                <a:gd name="connsiteX2" fmla="*/ 96679 w 104775"/>
                <a:gd name="connsiteY2" fmla="*/ 7144 h 47625"/>
                <a:gd name="connsiteX3" fmla="*/ 7144 w 104775"/>
                <a:gd name="connsiteY3" fmla="*/ 7144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775" h="47625">
                  <a:moveTo>
                    <a:pt x="7144" y="7144"/>
                  </a:moveTo>
                  <a:cubicBezTo>
                    <a:pt x="7144" y="7144"/>
                    <a:pt x="38576" y="55721"/>
                    <a:pt x="73819" y="45244"/>
                  </a:cubicBezTo>
                  <a:cubicBezTo>
                    <a:pt x="108109" y="34766"/>
                    <a:pt x="96679" y="7144"/>
                    <a:pt x="96679" y="7144"/>
                  </a:cubicBezTo>
                  <a:lnTo>
                    <a:pt x="7144" y="7144"/>
                  </a:ln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F5BB51F5-D80C-4502-8925-517E9AAF4563}"/>
                </a:ext>
              </a:extLst>
            </p:cNvPr>
            <p:cNvSpPr/>
            <p:nvPr/>
          </p:nvSpPr>
          <p:spPr>
            <a:xfrm>
              <a:off x="5863114" y="3585643"/>
              <a:ext cx="228600" cy="57150"/>
            </a:xfrm>
            <a:custGeom>
              <a:avLst/>
              <a:gdLst>
                <a:gd name="connsiteX0" fmla="*/ 219551 w 228600"/>
                <a:gd name="connsiteY0" fmla="*/ 35762 h 57150"/>
                <a:gd name="connsiteX1" fmla="*/ 182404 w 228600"/>
                <a:gd name="connsiteY1" fmla="*/ 7187 h 57150"/>
                <a:gd name="connsiteX2" fmla="*/ 137636 w 228600"/>
                <a:gd name="connsiteY2" fmla="*/ 21474 h 57150"/>
                <a:gd name="connsiteX3" fmla="*/ 10001 w 228600"/>
                <a:gd name="connsiteY3" fmla="*/ 13854 h 57150"/>
                <a:gd name="connsiteX4" fmla="*/ 7144 w 228600"/>
                <a:gd name="connsiteY4" fmla="*/ 51002 h 57150"/>
                <a:gd name="connsiteX5" fmla="*/ 140494 w 228600"/>
                <a:gd name="connsiteY5" fmla="*/ 48144 h 57150"/>
                <a:gd name="connsiteX6" fmla="*/ 217646 w 228600"/>
                <a:gd name="connsiteY6" fmla="*/ 44334 h 57150"/>
                <a:gd name="connsiteX7" fmla="*/ 219551 w 228600"/>
                <a:gd name="connsiteY7" fmla="*/ 35762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8600" h="57150">
                  <a:moveTo>
                    <a:pt x="219551" y="35762"/>
                  </a:moveTo>
                  <a:cubicBezTo>
                    <a:pt x="211931" y="29094"/>
                    <a:pt x="195739" y="9092"/>
                    <a:pt x="182404" y="7187"/>
                  </a:cubicBezTo>
                  <a:cubicBezTo>
                    <a:pt x="176689" y="6234"/>
                    <a:pt x="137636" y="21474"/>
                    <a:pt x="137636" y="21474"/>
                  </a:cubicBezTo>
                  <a:cubicBezTo>
                    <a:pt x="137636" y="21474"/>
                    <a:pt x="70961" y="18617"/>
                    <a:pt x="10001" y="13854"/>
                  </a:cubicBezTo>
                  <a:lnTo>
                    <a:pt x="7144" y="51002"/>
                  </a:lnTo>
                  <a:cubicBezTo>
                    <a:pt x="50006" y="50049"/>
                    <a:pt x="99536" y="49097"/>
                    <a:pt x="140494" y="48144"/>
                  </a:cubicBezTo>
                  <a:cubicBezTo>
                    <a:pt x="170974" y="56717"/>
                    <a:pt x="202406" y="49097"/>
                    <a:pt x="217646" y="44334"/>
                  </a:cubicBezTo>
                  <a:cubicBezTo>
                    <a:pt x="222409" y="43382"/>
                    <a:pt x="223361" y="38619"/>
                    <a:pt x="219551" y="35762"/>
                  </a:cubicBez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B3FC07E6-B772-44DD-A7DE-DB34380C8B09}"/>
                </a:ext>
              </a:extLst>
            </p:cNvPr>
            <p:cNvSpPr/>
            <p:nvPr/>
          </p:nvSpPr>
          <p:spPr>
            <a:xfrm>
              <a:off x="5722986" y="3339941"/>
              <a:ext cx="161925" cy="323850"/>
            </a:xfrm>
            <a:custGeom>
              <a:avLst/>
              <a:gdLst>
                <a:gd name="connsiteX0" fmla="*/ 79644 w 161925"/>
                <a:gd name="connsiteY0" fmla="*/ 7144 h 323850"/>
                <a:gd name="connsiteX1" fmla="*/ 12969 w 161925"/>
                <a:gd name="connsiteY1" fmla="*/ 89059 h 323850"/>
                <a:gd name="connsiteX2" fmla="*/ 27257 w 161925"/>
                <a:gd name="connsiteY2" fmla="*/ 315754 h 323850"/>
                <a:gd name="connsiteX3" fmla="*/ 163464 w 161925"/>
                <a:gd name="connsiteY3" fmla="*/ 310039 h 323850"/>
                <a:gd name="connsiteX4" fmla="*/ 163464 w 161925"/>
                <a:gd name="connsiteY4" fmla="*/ 257651 h 323850"/>
                <a:gd name="connsiteX5" fmla="*/ 85359 w 161925"/>
                <a:gd name="connsiteY5" fmla="*/ 252889 h 323850"/>
                <a:gd name="connsiteX6" fmla="*/ 79644 w 161925"/>
                <a:gd name="connsiteY6" fmla="*/ 7144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1925" h="323850">
                  <a:moveTo>
                    <a:pt x="79644" y="7144"/>
                  </a:moveTo>
                  <a:cubicBezTo>
                    <a:pt x="79644" y="7144"/>
                    <a:pt x="24399" y="25241"/>
                    <a:pt x="12969" y="89059"/>
                  </a:cubicBezTo>
                  <a:cubicBezTo>
                    <a:pt x="1539" y="153829"/>
                    <a:pt x="7254" y="304324"/>
                    <a:pt x="27257" y="315754"/>
                  </a:cubicBezTo>
                  <a:cubicBezTo>
                    <a:pt x="46307" y="326231"/>
                    <a:pt x="163464" y="310039"/>
                    <a:pt x="163464" y="310039"/>
                  </a:cubicBezTo>
                  <a:lnTo>
                    <a:pt x="163464" y="257651"/>
                  </a:lnTo>
                  <a:lnTo>
                    <a:pt x="85359" y="252889"/>
                  </a:lnTo>
                  <a:cubicBezTo>
                    <a:pt x="85359" y="253841"/>
                    <a:pt x="129174" y="47149"/>
                    <a:pt x="79644" y="7144"/>
                  </a:cubicBezTo>
                  <a:close/>
                </a:path>
              </a:pathLst>
            </a:custGeom>
            <a:solidFill>
              <a:srgbClr val="00A49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48653A05-C530-4183-A358-4A1F154A2715}"/>
                </a:ext>
              </a:extLst>
            </p:cNvPr>
            <p:cNvSpPr/>
            <p:nvPr/>
          </p:nvSpPr>
          <p:spPr>
            <a:xfrm>
              <a:off x="5746909" y="3877151"/>
              <a:ext cx="38100" cy="161925"/>
            </a:xfrm>
            <a:custGeom>
              <a:avLst/>
              <a:gdLst>
                <a:gd name="connsiteX0" fmla="*/ 7144 w 38100"/>
                <a:gd name="connsiteY0" fmla="*/ 7144 h 161925"/>
                <a:gd name="connsiteX1" fmla="*/ 36671 w 38100"/>
                <a:gd name="connsiteY1" fmla="*/ 7144 h 161925"/>
                <a:gd name="connsiteX2" fmla="*/ 36671 w 38100"/>
                <a:gd name="connsiteY2" fmla="*/ 156686 h 161925"/>
                <a:gd name="connsiteX3" fmla="*/ 7144 w 38100"/>
                <a:gd name="connsiteY3" fmla="*/ 156686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00" h="161925">
                  <a:moveTo>
                    <a:pt x="7144" y="7144"/>
                  </a:moveTo>
                  <a:lnTo>
                    <a:pt x="36671" y="7144"/>
                  </a:lnTo>
                  <a:lnTo>
                    <a:pt x="36671" y="156686"/>
                  </a:lnTo>
                  <a:lnTo>
                    <a:pt x="7144" y="156686"/>
                  </a:lnTo>
                  <a:close/>
                </a:path>
              </a:pathLst>
            </a:custGeom>
            <a:solidFill>
              <a:srgbClr val="EBE0B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F74B1930-3955-4A34-AB27-791DC0D58AE7}"/>
                </a:ext>
              </a:extLst>
            </p:cNvPr>
            <p:cNvSpPr/>
            <p:nvPr/>
          </p:nvSpPr>
          <p:spPr>
            <a:xfrm>
              <a:off x="5739289" y="3853338"/>
              <a:ext cx="57150" cy="66675"/>
            </a:xfrm>
            <a:custGeom>
              <a:avLst/>
              <a:gdLst>
                <a:gd name="connsiteX0" fmla="*/ 7144 w 57150"/>
                <a:gd name="connsiteY0" fmla="*/ 7144 h 66675"/>
                <a:gd name="connsiteX1" fmla="*/ 52864 w 57150"/>
                <a:gd name="connsiteY1" fmla="*/ 7144 h 66675"/>
                <a:gd name="connsiteX2" fmla="*/ 52864 w 57150"/>
                <a:gd name="connsiteY2" fmla="*/ 65246 h 66675"/>
                <a:gd name="connsiteX3" fmla="*/ 7144 w 57150"/>
                <a:gd name="connsiteY3" fmla="*/ 65246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150" h="66675">
                  <a:moveTo>
                    <a:pt x="7144" y="7144"/>
                  </a:moveTo>
                  <a:lnTo>
                    <a:pt x="52864" y="7144"/>
                  </a:lnTo>
                  <a:lnTo>
                    <a:pt x="52864" y="65246"/>
                  </a:lnTo>
                  <a:lnTo>
                    <a:pt x="7144" y="65246"/>
                  </a:ln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36ED9C21-D271-4A7B-B443-6CAA942745E2}"/>
                </a:ext>
              </a:extLst>
            </p:cNvPr>
            <p:cNvSpPr/>
            <p:nvPr/>
          </p:nvSpPr>
          <p:spPr>
            <a:xfrm>
              <a:off x="5672614" y="4019073"/>
              <a:ext cx="190500" cy="28575"/>
            </a:xfrm>
            <a:custGeom>
              <a:avLst/>
              <a:gdLst>
                <a:gd name="connsiteX0" fmla="*/ 7144 w 190500"/>
                <a:gd name="connsiteY0" fmla="*/ 7144 h 28575"/>
                <a:gd name="connsiteX1" fmla="*/ 185261 w 190500"/>
                <a:gd name="connsiteY1" fmla="*/ 7144 h 28575"/>
                <a:gd name="connsiteX2" fmla="*/ 185261 w 190500"/>
                <a:gd name="connsiteY2" fmla="*/ 26194 h 28575"/>
                <a:gd name="connsiteX3" fmla="*/ 7144 w 190500"/>
                <a:gd name="connsiteY3" fmla="*/ 2619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28575">
                  <a:moveTo>
                    <a:pt x="7144" y="7144"/>
                  </a:moveTo>
                  <a:lnTo>
                    <a:pt x="185261" y="7144"/>
                  </a:lnTo>
                  <a:lnTo>
                    <a:pt x="185261" y="26194"/>
                  </a:lnTo>
                  <a:lnTo>
                    <a:pt x="7144" y="26194"/>
                  </a:ln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285E8577-892C-4A7B-AE90-50BA0607D128}"/>
                </a:ext>
              </a:extLst>
            </p:cNvPr>
            <p:cNvSpPr/>
            <p:nvPr/>
          </p:nvSpPr>
          <p:spPr>
            <a:xfrm>
              <a:off x="5666899" y="4038123"/>
              <a:ext cx="38100" cy="38100"/>
            </a:xfrm>
            <a:custGeom>
              <a:avLst/>
              <a:gdLst>
                <a:gd name="connsiteX0" fmla="*/ 39529 w 38100"/>
                <a:gd name="connsiteY0" fmla="*/ 23336 h 38100"/>
                <a:gd name="connsiteX1" fmla="*/ 23336 w 38100"/>
                <a:gd name="connsiteY1" fmla="*/ 39529 h 38100"/>
                <a:gd name="connsiteX2" fmla="*/ 7144 w 38100"/>
                <a:gd name="connsiteY2" fmla="*/ 23336 h 38100"/>
                <a:gd name="connsiteX3" fmla="*/ 23336 w 38100"/>
                <a:gd name="connsiteY3" fmla="*/ 7144 h 38100"/>
                <a:gd name="connsiteX4" fmla="*/ 39529 w 38100"/>
                <a:gd name="connsiteY4" fmla="*/ 23336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9529" y="23336"/>
                  </a:moveTo>
                  <a:cubicBezTo>
                    <a:pt x="39529" y="31909"/>
                    <a:pt x="31909" y="39529"/>
                    <a:pt x="23336" y="39529"/>
                  </a:cubicBezTo>
                  <a:cubicBezTo>
                    <a:pt x="14764" y="39529"/>
                    <a:pt x="7144" y="31909"/>
                    <a:pt x="7144" y="23336"/>
                  </a:cubicBezTo>
                  <a:cubicBezTo>
                    <a:pt x="7144" y="14764"/>
                    <a:pt x="14764" y="7144"/>
                    <a:pt x="23336" y="7144"/>
                  </a:cubicBezTo>
                  <a:cubicBezTo>
                    <a:pt x="31909" y="7144"/>
                    <a:pt x="39529" y="14764"/>
                    <a:pt x="39529" y="23336"/>
                  </a:cubicBezTo>
                  <a:close/>
                </a:path>
              </a:pathLst>
            </a:custGeom>
            <a:solidFill>
              <a:srgbClr val="EBE0B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" name="任意多边形: 形状 111">
              <a:extLst>
                <a:ext uri="{FF2B5EF4-FFF2-40B4-BE49-F238E27FC236}">
                  <a16:creationId xmlns:a16="http://schemas.microsoft.com/office/drawing/2014/main" id="{4BEAA566-E703-41DB-A957-0B52096B7637}"/>
                </a:ext>
              </a:extLst>
            </p:cNvPr>
            <p:cNvSpPr/>
            <p:nvPr/>
          </p:nvSpPr>
          <p:spPr>
            <a:xfrm>
              <a:off x="5825014" y="4038123"/>
              <a:ext cx="38100" cy="38100"/>
            </a:xfrm>
            <a:custGeom>
              <a:avLst/>
              <a:gdLst>
                <a:gd name="connsiteX0" fmla="*/ 39529 w 38100"/>
                <a:gd name="connsiteY0" fmla="*/ 23336 h 38100"/>
                <a:gd name="connsiteX1" fmla="*/ 23336 w 38100"/>
                <a:gd name="connsiteY1" fmla="*/ 39529 h 38100"/>
                <a:gd name="connsiteX2" fmla="*/ 7144 w 38100"/>
                <a:gd name="connsiteY2" fmla="*/ 23336 h 38100"/>
                <a:gd name="connsiteX3" fmla="*/ 23336 w 38100"/>
                <a:gd name="connsiteY3" fmla="*/ 7144 h 38100"/>
                <a:gd name="connsiteX4" fmla="*/ 39529 w 38100"/>
                <a:gd name="connsiteY4" fmla="*/ 23336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9529" y="23336"/>
                  </a:moveTo>
                  <a:cubicBezTo>
                    <a:pt x="39529" y="31909"/>
                    <a:pt x="31909" y="39529"/>
                    <a:pt x="23336" y="39529"/>
                  </a:cubicBezTo>
                  <a:cubicBezTo>
                    <a:pt x="14764" y="39529"/>
                    <a:pt x="7144" y="31909"/>
                    <a:pt x="7144" y="23336"/>
                  </a:cubicBezTo>
                  <a:cubicBezTo>
                    <a:pt x="7144" y="14764"/>
                    <a:pt x="14764" y="7144"/>
                    <a:pt x="23336" y="7144"/>
                  </a:cubicBezTo>
                  <a:cubicBezTo>
                    <a:pt x="31909" y="7144"/>
                    <a:pt x="39529" y="14764"/>
                    <a:pt x="39529" y="23336"/>
                  </a:cubicBezTo>
                  <a:close/>
                </a:path>
              </a:pathLst>
            </a:custGeom>
            <a:solidFill>
              <a:srgbClr val="EBE0B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" name="任意多边形: 形状 112">
              <a:extLst>
                <a:ext uri="{FF2B5EF4-FFF2-40B4-BE49-F238E27FC236}">
                  <a16:creationId xmlns:a16="http://schemas.microsoft.com/office/drawing/2014/main" id="{C0702003-1384-4770-9CD0-1F1999A0F6BF}"/>
                </a:ext>
              </a:extLst>
            </p:cNvPr>
            <p:cNvSpPr/>
            <p:nvPr/>
          </p:nvSpPr>
          <p:spPr>
            <a:xfrm>
              <a:off x="5893594" y="3632358"/>
              <a:ext cx="1085850" cy="38100"/>
            </a:xfrm>
            <a:custGeom>
              <a:avLst/>
              <a:gdLst>
                <a:gd name="connsiteX0" fmla="*/ 7144 w 1085850"/>
                <a:gd name="connsiteY0" fmla="*/ 7144 h 38100"/>
                <a:gd name="connsiteX1" fmla="*/ 1085374 w 1085850"/>
                <a:gd name="connsiteY1" fmla="*/ 7144 h 38100"/>
                <a:gd name="connsiteX2" fmla="*/ 1085374 w 1085850"/>
                <a:gd name="connsiteY2" fmla="*/ 30956 h 38100"/>
                <a:gd name="connsiteX3" fmla="*/ 7144 w 1085850"/>
                <a:gd name="connsiteY3" fmla="*/ 30956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5850" h="38100">
                  <a:moveTo>
                    <a:pt x="7144" y="7144"/>
                  </a:moveTo>
                  <a:lnTo>
                    <a:pt x="1085374" y="7144"/>
                  </a:lnTo>
                  <a:lnTo>
                    <a:pt x="1085374" y="30956"/>
                  </a:lnTo>
                  <a:lnTo>
                    <a:pt x="7144" y="30956"/>
                  </a:lnTo>
                  <a:close/>
                </a:path>
              </a:pathLst>
            </a:custGeom>
            <a:solidFill>
              <a:srgbClr val="FF674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" name="任意多边形: 形状 113">
              <a:extLst>
                <a:ext uri="{FF2B5EF4-FFF2-40B4-BE49-F238E27FC236}">
                  <a16:creationId xmlns:a16="http://schemas.microsoft.com/office/drawing/2014/main" id="{015C0D7E-6D87-4458-83BD-F5FA2474149B}"/>
                </a:ext>
              </a:extLst>
            </p:cNvPr>
            <p:cNvSpPr/>
            <p:nvPr/>
          </p:nvSpPr>
          <p:spPr>
            <a:xfrm>
              <a:off x="5924074" y="3656171"/>
              <a:ext cx="1028700" cy="38100"/>
            </a:xfrm>
            <a:custGeom>
              <a:avLst/>
              <a:gdLst>
                <a:gd name="connsiteX0" fmla="*/ 7144 w 1028700"/>
                <a:gd name="connsiteY0" fmla="*/ 7144 h 38100"/>
                <a:gd name="connsiteX1" fmla="*/ 1025366 w 1028700"/>
                <a:gd name="connsiteY1" fmla="*/ 7144 h 38100"/>
                <a:gd name="connsiteX2" fmla="*/ 1025366 w 1028700"/>
                <a:gd name="connsiteY2" fmla="*/ 33814 h 38100"/>
                <a:gd name="connsiteX3" fmla="*/ 7144 w 1028700"/>
                <a:gd name="connsiteY3" fmla="*/ 33814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8700" h="38100">
                  <a:moveTo>
                    <a:pt x="7144" y="7144"/>
                  </a:moveTo>
                  <a:lnTo>
                    <a:pt x="1025366" y="7144"/>
                  </a:lnTo>
                  <a:lnTo>
                    <a:pt x="1025366" y="33814"/>
                  </a:lnTo>
                  <a:lnTo>
                    <a:pt x="7144" y="33814"/>
                  </a:lnTo>
                  <a:close/>
                </a:path>
              </a:pathLst>
            </a:custGeom>
            <a:solidFill>
              <a:srgbClr val="E3493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5" name="任意多边形: 形状 114">
              <a:extLst>
                <a:ext uri="{FF2B5EF4-FFF2-40B4-BE49-F238E27FC236}">
                  <a16:creationId xmlns:a16="http://schemas.microsoft.com/office/drawing/2014/main" id="{8F25B48C-E9A3-405A-8020-F1FC20C260DB}"/>
                </a:ext>
              </a:extLst>
            </p:cNvPr>
            <p:cNvSpPr/>
            <p:nvPr/>
          </p:nvSpPr>
          <p:spPr>
            <a:xfrm>
              <a:off x="5948839" y="3681888"/>
              <a:ext cx="76200" cy="419100"/>
            </a:xfrm>
            <a:custGeom>
              <a:avLst/>
              <a:gdLst>
                <a:gd name="connsiteX0" fmla="*/ 27146 w 76200"/>
                <a:gd name="connsiteY0" fmla="*/ 416719 h 419100"/>
                <a:gd name="connsiteX1" fmla="*/ 70961 w 76200"/>
                <a:gd name="connsiteY1" fmla="*/ 7144 h 419100"/>
                <a:gd name="connsiteX2" fmla="*/ 38576 w 76200"/>
                <a:gd name="connsiteY2" fmla="*/ 7144 h 419100"/>
                <a:gd name="connsiteX3" fmla="*/ 7144 w 76200"/>
                <a:gd name="connsiteY3" fmla="*/ 416719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200" h="419100">
                  <a:moveTo>
                    <a:pt x="27146" y="416719"/>
                  </a:moveTo>
                  <a:lnTo>
                    <a:pt x="70961" y="7144"/>
                  </a:lnTo>
                  <a:lnTo>
                    <a:pt x="38576" y="7144"/>
                  </a:lnTo>
                  <a:lnTo>
                    <a:pt x="7144" y="416719"/>
                  </a:ln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6" name="任意多边形: 形状 115">
              <a:extLst>
                <a:ext uri="{FF2B5EF4-FFF2-40B4-BE49-F238E27FC236}">
                  <a16:creationId xmlns:a16="http://schemas.microsoft.com/office/drawing/2014/main" id="{16F9B17E-E291-4BC4-BB22-7B851A9180CF}"/>
                </a:ext>
              </a:extLst>
            </p:cNvPr>
            <p:cNvSpPr/>
            <p:nvPr/>
          </p:nvSpPr>
          <p:spPr>
            <a:xfrm>
              <a:off x="6853714" y="3681888"/>
              <a:ext cx="76200" cy="419100"/>
            </a:xfrm>
            <a:custGeom>
              <a:avLst/>
              <a:gdLst>
                <a:gd name="connsiteX0" fmla="*/ 70009 w 76200"/>
                <a:gd name="connsiteY0" fmla="*/ 416719 h 419100"/>
                <a:gd name="connsiteX1" fmla="*/ 38576 w 76200"/>
                <a:gd name="connsiteY1" fmla="*/ 7144 h 419100"/>
                <a:gd name="connsiteX2" fmla="*/ 7144 w 76200"/>
                <a:gd name="connsiteY2" fmla="*/ 7144 h 419100"/>
                <a:gd name="connsiteX3" fmla="*/ 50006 w 76200"/>
                <a:gd name="connsiteY3" fmla="*/ 416719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200" h="419100">
                  <a:moveTo>
                    <a:pt x="70009" y="416719"/>
                  </a:moveTo>
                  <a:lnTo>
                    <a:pt x="38576" y="7144"/>
                  </a:lnTo>
                  <a:lnTo>
                    <a:pt x="7144" y="7144"/>
                  </a:lnTo>
                  <a:lnTo>
                    <a:pt x="50006" y="416719"/>
                  </a:ln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7" name="任意多边形: 形状 116">
              <a:extLst>
                <a:ext uri="{FF2B5EF4-FFF2-40B4-BE49-F238E27FC236}">
                  <a16:creationId xmlns:a16="http://schemas.microsoft.com/office/drawing/2014/main" id="{4D1ECFD2-9765-4E52-8340-9F930D77CC68}"/>
                </a:ext>
              </a:extLst>
            </p:cNvPr>
            <p:cNvSpPr/>
            <p:nvPr/>
          </p:nvSpPr>
          <p:spPr>
            <a:xfrm>
              <a:off x="5945981" y="3616166"/>
              <a:ext cx="133350" cy="28575"/>
            </a:xfrm>
            <a:custGeom>
              <a:avLst/>
              <a:gdLst>
                <a:gd name="connsiteX0" fmla="*/ 7144 w 133350"/>
                <a:gd name="connsiteY0" fmla="*/ 7144 h 28575"/>
                <a:gd name="connsiteX1" fmla="*/ 133826 w 133350"/>
                <a:gd name="connsiteY1" fmla="*/ 7144 h 28575"/>
                <a:gd name="connsiteX2" fmla="*/ 133826 w 133350"/>
                <a:gd name="connsiteY2" fmla="*/ 23336 h 28575"/>
                <a:gd name="connsiteX3" fmla="*/ 7144 w 133350"/>
                <a:gd name="connsiteY3" fmla="*/ 23336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350" h="28575">
                  <a:moveTo>
                    <a:pt x="7144" y="7144"/>
                  </a:moveTo>
                  <a:lnTo>
                    <a:pt x="133826" y="7144"/>
                  </a:lnTo>
                  <a:lnTo>
                    <a:pt x="133826" y="23336"/>
                  </a:lnTo>
                  <a:lnTo>
                    <a:pt x="7144" y="23336"/>
                  </a:ln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8" name="任意多边形: 形状 117">
              <a:extLst>
                <a:ext uri="{FF2B5EF4-FFF2-40B4-BE49-F238E27FC236}">
                  <a16:creationId xmlns:a16="http://schemas.microsoft.com/office/drawing/2014/main" id="{4E301B93-60BC-4E1C-B34E-7FEDB94637B2}"/>
                </a:ext>
              </a:extLst>
            </p:cNvPr>
            <p:cNvSpPr/>
            <p:nvPr/>
          </p:nvSpPr>
          <p:spPr>
            <a:xfrm>
              <a:off x="6028849" y="3484721"/>
              <a:ext cx="247650" cy="161925"/>
            </a:xfrm>
            <a:custGeom>
              <a:avLst/>
              <a:gdLst>
                <a:gd name="connsiteX0" fmla="*/ 210979 w 247650"/>
                <a:gd name="connsiteY0" fmla="*/ 154781 h 161925"/>
                <a:gd name="connsiteX1" fmla="*/ 7144 w 247650"/>
                <a:gd name="connsiteY1" fmla="*/ 154781 h 161925"/>
                <a:gd name="connsiteX2" fmla="*/ 39529 w 247650"/>
                <a:gd name="connsiteY2" fmla="*/ 7144 h 161925"/>
                <a:gd name="connsiteX3" fmla="*/ 243364 w 247650"/>
                <a:gd name="connsiteY3" fmla="*/ 7144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650" h="161925">
                  <a:moveTo>
                    <a:pt x="210979" y="154781"/>
                  </a:moveTo>
                  <a:lnTo>
                    <a:pt x="7144" y="154781"/>
                  </a:lnTo>
                  <a:lnTo>
                    <a:pt x="39529" y="7144"/>
                  </a:lnTo>
                  <a:lnTo>
                    <a:pt x="243364" y="7144"/>
                  </a:ln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9" name="任意多边形: 形状 118">
              <a:extLst>
                <a:ext uri="{FF2B5EF4-FFF2-40B4-BE49-F238E27FC236}">
                  <a16:creationId xmlns:a16="http://schemas.microsoft.com/office/drawing/2014/main" id="{E4685E59-5523-46FF-9430-E5421CD82E42}"/>
                </a:ext>
              </a:extLst>
            </p:cNvPr>
            <p:cNvSpPr/>
            <p:nvPr/>
          </p:nvSpPr>
          <p:spPr>
            <a:xfrm>
              <a:off x="5835881" y="3224414"/>
              <a:ext cx="95250" cy="123825"/>
            </a:xfrm>
            <a:custGeom>
              <a:avLst/>
              <a:gdLst>
                <a:gd name="connsiteX0" fmla="*/ 92479 w 95250"/>
                <a:gd name="connsiteY0" fmla="*/ 40756 h 123825"/>
                <a:gd name="connsiteX1" fmla="*/ 61999 w 95250"/>
                <a:gd name="connsiteY1" fmla="*/ 117908 h 123825"/>
                <a:gd name="connsiteX2" fmla="*/ 7707 w 95250"/>
                <a:gd name="connsiteY2" fmla="*/ 66473 h 123825"/>
                <a:gd name="connsiteX3" fmla="*/ 51522 w 95250"/>
                <a:gd name="connsiteY3" fmla="*/ 7418 h 123825"/>
                <a:gd name="connsiteX4" fmla="*/ 92479 w 95250"/>
                <a:gd name="connsiteY4" fmla="*/ 40756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23825">
                  <a:moveTo>
                    <a:pt x="92479" y="40756"/>
                  </a:moveTo>
                  <a:cubicBezTo>
                    <a:pt x="92479" y="40756"/>
                    <a:pt x="104862" y="118860"/>
                    <a:pt x="61999" y="117908"/>
                  </a:cubicBezTo>
                  <a:cubicBezTo>
                    <a:pt x="19137" y="116003"/>
                    <a:pt x="3897" y="85523"/>
                    <a:pt x="7707" y="66473"/>
                  </a:cubicBezTo>
                  <a:cubicBezTo>
                    <a:pt x="11517" y="48376"/>
                    <a:pt x="14374" y="11228"/>
                    <a:pt x="51522" y="7418"/>
                  </a:cubicBezTo>
                  <a:cubicBezTo>
                    <a:pt x="87717" y="3608"/>
                    <a:pt x="92479" y="40756"/>
                    <a:pt x="92479" y="40756"/>
                  </a:cubicBez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0" name="任意多边形: 形状 119">
              <a:extLst>
                <a:ext uri="{FF2B5EF4-FFF2-40B4-BE49-F238E27FC236}">
                  <a16:creationId xmlns:a16="http://schemas.microsoft.com/office/drawing/2014/main" id="{0301250F-C85F-4B8E-BA97-90A86CC6B1EA}"/>
                </a:ext>
              </a:extLst>
            </p:cNvPr>
            <p:cNvSpPr/>
            <p:nvPr/>
          </p:nvSpPr>
          <p:spPr>
            <a:xfrm>
              <a:off x="5820130" y="3284575"/>
              <a:ext cx="38100" cy="38100"/>
            </a:xfrm>
            <a:custGeom>
              <a:avLst/>
              <a:gdLst>
                <a:gd name="connsiteX0" fmla="*/ 34887 w 38100"/>
                <a:gd name="connsiteY0" fmla="*/ 23457 h 38100"/>
                <a:gd name="connsiteX1" fmla="*/ 18695 w 38100"/>
                <a:gd name="connsiteY1" fmla="*/ 34887 h 38100"/>
                <a:gd name="connsiteX2" fmla="*/ 7265 w 38100"/>
                <a:gd name="connsiteY2" fmla="*/ 18695 h 38100"/>
                <a:gd name="connsiteX3" fmla="*/ 23457 w 38100"/>
                <a:gd name="connsiteY3" fmla="*/ 7265 h 38100"/>
                <a:gd name="connsiteX4" fmla="*/ 34887 w 38100"/>
                <a:gd name="connsiteY4" fmla="*/ 2345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4887" y="23457"/>
                  </a:moveTo>
                  <a:cubicBezTo>
                    <a:pt x="33935" y="31077"/>
                    <a:pt x="26315" y="35840"/>
                    <a:pt x="18695" y="34887"/>
                  </a:cubicBezTo>
                  <a:cubicBezTo>
                    <a:pt x="11074" y="33934"/>
                    <a:pt x="6312" y="26315"/>
                    <a:pt x="7265" y="18695"/>
                  </a:cubicBezTo>
                  <a:cubicBezTo>
                    <a:pt x="8217" y="11074"/>
                    <a:pt x="15837" y="6312"/>
                    <a:pt x="23457" y="7265"/>
                  </a:cubicBezTo>
                  <a:cubicBezTo>
                    <a:pt x="31077" y="8217"/>
                    <a:pt x="35840" y="15837"/>
                    <a:pt x="34887" y="23457"/>
                  </a:cubicBez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1" name="任意多边形: 形状 120">
              <a:extLst>
                <a:ext uri="{FF2B5EF4-FFF2-40B4-BE49-F238E27FC236}">
                  <a16:creationId xmlns:a16="http://schemas.microsoft.com/office/drawing/2014/main" id="{CA993D29-C14F-4E65-97E3-9A708B941A26}"/>
                </a:ext>
              </a:extLst>
            </p:cNvPr>
            <p:cNvSpPr/>
            <p:nvPr/>
          </p:nvSpPr>
          <p:spPr>
            <a:xfrm>
              <a:off x="5810704" y="3213710"/>
              <a:ext cx="114300" cy="95250"/>
            </a:xfrm>
            <a:custGeom>
              <a:avLst/>
              <a:gdLst>
                <a:gd name="connsiteX0" fmla="*/ 22406 w 114300"/>
                <a:gd name="connsiteY0" fmla="*/ 80034 h 95250"/>
                <a:gd name="connsiteX1" fmla="*/ 41456 w 114300"/>
                <a:gd name="connsiteY1" fmla="*/ 83844 h 95250"/>
                <a:gd name="connsiteX2" fmla="*/ 93843 w 114300"/>
                <a:gd name="connsiteY2" fmla="*/ 42887 h 95250"/>
                <a:gd name="connsiteX3" fmla="*/ 114798 w 114300"/>
                <a:gd name="connsiteY3" fmla="*/ 41934 h 95250"/>
                <a:gd name="connsiteX4" fmla="*/ 44313 w 114300"/>
                <a:gd name="connsiteY4" fmla="*/ 10502 h 95250"/>
                <a:gd name="connsiteX5" fmla="*/ 15738 w 114300"/>
                <a:gd name="connsiteY5" fmla="*/ 89559 h 95250"/>
                <a:gd name="connsiteX6" fmla="*/ 22406 w 114300"/>
                <a:gd name="connsiteY6" fmla="*/ 80034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300" h="95250">
                  <a:moveTo>
                    <a:pt x="22406" y="80034"/>
                  </a:moveTo>
                  <a:cubicBezTo>
                    <a:pt x="22406" y="80034"/>
                    <a:pt x="32883" y="76224"/>
                    <a:pt x="41456" y="83844"/>
                  </a:cubicBezTo>
                  <a:cubicBezTo>
                    <a:pt x="41456" y="83844"/>
                    <a:pt x="94796" y="71462"/>
                    <a:pt x="93843" y="42887"/>
                  </a:cubicBezTo>
                  <a:cubicBezTo>
                    <a:pt x="93843" y="42887"/>
                    <a:pt x="104321" y="38124"/>
                    <a:pt x="114798" y="41934"/>
                  </a:cubicBezTo>
                  <a:cubicBezTo>
                    <a:pt x="114798" y="41934"/>
                    <a:pt x="105273" y="-5691"/>
                    <a:pt x="44313" y="10502"/>
                  </a:cubicBezTo>
                  <a:cubicBezTo>
                    <a:pt x="-16647" y="26694"/>
                    <a:pt x="15738" y="89559"/>
                    <a:pt x="15738" y="89559"/>
                  </a:cubicBezTo>
                  <a:cubicBezTo>
                    <a:pt x="15738" y="89559"/>
                    <a:pt x="16691" y="83844"/>
                    <a:pt x="22406" y="80034"/>
                  </a:cubicBezTo>
                  <a:close/>
                </a:path>
              </a:pathLst>
            </a:custGeom>
            <a:solidFill>
              <a:srgbClr val="FF674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2" name="任意多边形: 形状 121">
              <a:extLst>
                <a:ext uri="{FF2B5EF4-FFF2-40B4-BE49-F238E27FC236}">
                  <a16:creationId xmlns:a16="http://schemas.microsoft.com/office/drawing/2014/main" id="{FC86DF48-3271-4719-B69A-6223403BDAF0}"/>
                </a:ext>
              </a:extLst>
            </p:cNvPr>
            <p:cNvSpPr/>
            <p:nvPr/>
          </p:nvSpPr>
          <p:spPr>
            <a:xfrm>
              <a:off x="5835491" y="3296126"/>
              <a:ext cx="57150" cy="76200"/>
            </a:xfrm>
            <a:custGeom>
              <a:avLst/>
              <a:gdLst>
                <a:gd name="connsiteX0" fmla="*/ 10954 w 57150"/>
                <a:gd name="connsiteY0" fmla="*/ 7144 h 76200"/>
                <a:gd name="connsiteX1" fmla="*/ 9049 w 57150"/>
                <a:gd name="connsiteY1" fmla="*/ 17621 h 76200"/>
                <a:gd name="connsiteX2" fmla="*/ 8096 w 57150"/>
                <a:gd name="connsiteY2" fmla="*/ 22384 h 76200"/>
                <a:gd name="connsiteX3" fmla="*/ 7144 w 57150"/>
                <a:gd name="connsiteY3" fmla="*/ 38576 h 76200"/>
                <a:gd name="connsiteX4" fmla="*/ 11906 w 57150"/>
                <a:gd name="connsiteY4" fmla="*/ 61436 h 76200"/>
                <a:gd name="connsiteX5" fmla="*/ 53816 w 57150"/>
                <a:gd name="connsiteY5" fmla="*/ 69056 h 76200"/>
                <a:gd name="connsiteX6" fmla="*/ 56674 w 57150"/>
                <a:gd name="connsiteY6" fmla="*/ 55721 h 76200"/>
                <a:gd name="connsiteX7" fmla="*/ 57626 w 57150"/>
                <a:gd name="connsiteY7" fmla="*/ 43339 h 76200"/>
                <a:gd name="connsiteX8" fmla="*/ 57626 w 57150"/>
                <a:gd name="connsiteY8" fmla="*/ 43339 h 76200"/>
                <a:gd name="connsiteX9" fmla="*/ 57626 w 57150"/>
                <a:gd name="connsiteY9" fmla="*/ 17621 h 76200"/>
                <a:gd name="connsiteX10" fmla="*/ 10954 w 57150"/>
                <a:gd name="connsiteY10" fmla="*/ 7144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7150" h="76200">
                  <a:moveTo>
                    <a:pt x="10954" y="7144"/>
                  </a:moveTo>
                  <a:lnTo>
                    <a:pt x="9049" y="17621"/>
                  </a:lnTo>
                  <a:cubicBezTo>
                    <a:pt x="9049" y="17621"/>
                    <a:pt x="9049" y="19526"/>
                    <a:pt x="8096" y="22384"/>
                  </a:cubicBezTo>
                  <a:cubicBezTo>
                    <a:pt x="8096" y="26194"/>
                    <a:pt x="7144" y="32861"/>
                    <a:pt x="7144" y="38576"/>
                  </a:cubicBezTo>
                  <a:cubicBezTo>
                    <a:pt x="7144" y="48101"/>
                    <a:pt x="8096" y="58579"/>
                    <a:pt x="11906" y="61436"/>
                  </a:cubicBezTo>
                  <a:cubicBezTo>
                    <a:pt x="19526" y="69056"/>
                    <a:pt x="50006" y="70961"/>
                    <a:pt x="53816" y="69056"/>
                  </a:cubicBezTo>
                  <a:cubicBezTo>
                    <a:pt x="54769" y="68104"/>
                    <a:pt x="55721" y="63341"/>
                    <a:pt x="56674" y="55721"/>
                  </a:cubicBezTo>
                  <a:cubicBezTo>
                    <a:pt x="56674" y="51911"/>
                    <a:pt x="56674" y="48101"/>
                    <a:pt x="57626" y="43339"/>
                  </a:cubicBezTo>
                  <a:cubicBezTo>
                    <a:pt x="57626" y="43339"/>
                    <a:pt x="57626" y="43339"/>
                    <a:pt x="57626" y="43339"/>
                  </a:cubicBezTo>
                  <a:cubicBezTo>
                    <a:pt x="57626" y="30004"/>
                    <a:pt x="57626" y="17621"/>
                    <a:pt x="57626" y="17621"/>
                  </a:cubicBezTo>
                  <a:lnTo>
                    <a:pt x="10954" y="7144"/>
                  </a:ln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3" name="任意多边形: 形状 122">
              <a:extLst>
                <a:ext uri="{FF2B5EF4-FFF2-40B4-BE49-F238E27FC236}">
                  <a16:creationId xmlns:a16="http://schemas.microsoft.com/office/drawing/2014/main" id="{534D2ADA-008F-4BF0-AAF6-E61E19AE8A22}"/>
                </a:ext>
              </a:extLst>
            </p:cNvPr>
            <p:cNvSpPr/>
            <p:nvPr/>
          </p:nvSpPr>
          <p:spPr>
            <a:xfrm>
              <a:off x="5835491" y="3312318"/>
              <a:ext cx="57150" cy="47625"/>
            </a:xfrm>
            <a:custGeom>
              <a:avLst/>
              <a:gdLst>
                <a:gd name="connsiteX0" fmla="*/ 8096 w 57150"/>
                <a:gd name="connsiteY0" fmla="*/ 7144 h 47625"/>
                <a:gd name="connsiteX1" fmla="*/ 7144 w 57150"/>
                <a:gd name="connsiteY1" fmla="*/ 23336 h 47625"/>
                <a:gd name="connsiteX2" fmla="*/ 56674 w 57150"/>
                <a:gd name="connsiteY2" fmla="*/ 41434 h 47625"/>
                <a:gd name="connsiteX3" fmla="*/ 57626 w 57150"/>
                <a:gd name="connsiteY3" fmla="*/ 29051 h 47625"/>
                <a:gd name="connsiteX4" fmla="*/ 57626 w 57150"/>
                <a:gd name="connsiteY4" fmla="*/ 29051 h 47625"/>
                <a:gd name="connsiteX5" fmla="*/ 8096 w 57150"/>
                <a:gd name="connsiteY5" fmla="*/ 7144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150" h="47625">
                  <a:moveTo>
                    <a:pt x="8096" y="7144"/>
                  </a:moveTo>
                  <a:cubicBezTo>
                    <a:pt x="8096" y="10954"/>
                    <a:pt x="7144" y="17621"/>
                    <a:pt x="7144" y="23336"/>
                  </a:cubicBezTo>
                  <a:cubicBezTo>
                    <a:pt x="18574" y="29051"/>
                    <a:pt x="43339" y="40481"/>
                    <a:pt x="56674" y="41434"/>
                  </a:cubicBezTo>
                  <a:cubicBezTo>
                    <a:pt x="56674" y="37624"/>
                    <a:pt x="56674" y="33814"/>
                    <a:pt x="57626" y="29051"/>
                  </a:cubicBezTo>
                  <a:cubicBezTo>
                    <a:pt x="57626" y="29051"/>
                    <a:pt x="57626" y="29051"/>
                    <a:pt x="57626" y="29051"/>
                  </a:cubicBezTo>
                  <a:cubicBezTo>
                    <a:pt x="55721" y="28099"/>
                    <a:pt x="13811" y="18574"/>
                    <a:pt x="8096" y="7144"/>
                  </a:cubicBezTo>
                  <a:close/>
                </a:path>
              </a:pathLst>
            </a:custGeom>
            <a:solidFill>
              <a:srgbClr val="EBE0B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4" name="任意多边形: 形状 123">
              <a:extLst>
                <a:ext uri="{FF2B5EF4-FFF2-40B4-BE49-F238E27FC236}">
                  <a16:creationId xmlns:a16="http://schemas.microsoft.com/office/drawing/2014/main" id="{0781B81E-1C02-457A-8D69-7EC24B12B7B2}"/>
                </a:ext>
              </a:extLst>
            </p:cNvPr>
            <p:cNvSpPr/>
            <p:nvPr/>
          </p:nvSpPr>
          <p:spPr>
            <a:xfrm>
              <a:off x="5911691" y="2966561"/>
              <a:ext cx="238125" cy="228600"/>
            </a:xfrm>
            <a:custGeom>
              <a:avLst/>
              <a:gdLst>
                <a:gd name="connsiteX0" fmla="*/ 216694 w 238125"/>
                <a:gd name="connsiteY0" fmla="*/ 7144 h 228600"/>
                <a:gd name="connsiteX1" fmla="*/ 26194 w 238125"/>
                <a:gd name="connsiteY1" fmla="*/ 7144 h 228600"/>
                <a:gd name="connsiteX2" fmla="*/ 7144 w 238125"/>
                <a:gd name="connsiteY2" fmla="*/ 26194 h 228600"/>
                <a:gd name="connsiteX3" fmla="*/ 7144 w 238125"/>
                <a:gd name="connsiteY3" fmla="*/ 162401 h 228600"/>
                <a:gd name="connsiteX4" fmla="*/ 26194 w 238125"/>
                <a:gd name="connsiteY4" fmla="*/ 181451 h 228600"/>
                <a:gd name="connsiteX5" fmla="*/ 36671 w 238125"/>
                <a:gd name="connsiteY5" fmla="*/ 181451 h 228600"/>
                <a:gd name="connsiteX6" fmla="*/ 36671 w 238125"/>
                <a:gd name="connsiteY6" fmla="*/ 228124 h 228600"/>
                <a:gd name="connsiteX7" fmla="*/ 83344 w 238125"/>
                <a:gd name="connsiteY7" fmla="*/ 181451 h 228600"/>
                <a:gd name="connsiteX8" fmla="*/ 216694 w 238125"/>
                <a:gd name="connsiteY8" fmla="*/ 181451 h 228600"/>
                <a:gd name="connsiteX9" fmla="*/ 235744 w 238125"/>
                <a:gd name="connsiteY9" fmla="*/ 162401 h 228600"/>
                <a:gd name="connsiteX10" fmla="*/ 235744 w 238125"/>
                <a:gd name="connsiteY10" fmla="*/ 26194 h 228600"/>
                <a:gd name="connsiteX11" fmla="*/ 216694 w 238125"/>
                <a:gd name="connsiteY11" fmla="*/ 7144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8125" h="228600">
                  <a:moveTo>
                    <a:pt x="216694" y="7144"/>
                  </a:moveTo>
                  <a:lnTo>
                    <a:pt x="26194" y="7144"/>
                  </a:lnTo>
                  <a:cubicBezTo>
                    <a:pt x="15716" y="7144"/>
                    <a:pt x="7144" y="15716"/>
                    <a:pt x="7144" y="26194"/>
                  </a:cubicBezTo>
                  <a:lnTo>
                    <a:pt x="7144" y="162401"/>
                  </a:lnTo>
                  <a:cubicBezTo>
                    <a:pt x="7144" y="172879"/>
                    <a:pt x="15716" y="181451"/>
                    <a:pt x="26194" y="181451"/>
                  </a:cubicBezTo>
                  <a:lnTo>
                    <a:pt x="36671" y="181451"/>
                  </a:lnTo>
                  <a:lnTo>
                    <a:pt x="36671" y="228124"/>
                  </a:lnTo>
                  <a:lnTo>
                    <a:pt x="83344" y="181451"/>
                  </a:lnTo>
                  <a:lnTo>
                    <a:pt x="216694" y="181451"/>
                  </a:lnTo>
                  <a:cubicBezTo>
                    <a:pt x="227171" y="181451"/>
                    <a:pt x="235744" y="172879"/>
                    <a:pt x="235744" y="162401"/>
                  </a:cubicBezTo>
                  <a:lnTo>
                    <a:pt x="235744" y="26194"/>
                  </a:lnTo>
                  <a:cubicBezTo>
                    <a:pt x="235744" y="15716"/>
                    <a:pt x="227171" y="7144"/>
                    <a:pt x="216694" y="7144"/>
                  </a:cubicBezTo>
                  <a:close/>
                </a:path>
              </a:pathLst>
            </a:custGeom>
            <a:solidFill>
              <a:srgbClr val="5202B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5" name="任意多边形: 形状 124">
              <a:extLst>
                <a:ext uri="{FF2B5EF4-FFF2-40B4-BE49-F238E27FC236}">
                  <a16:creationId xmlns:a16="http://schemas.microsoft.com/office/drawing/2014/main" id="{FE65435E-8F81-4036-96F9-45C574431F70}"/>
                </a:ext>
              </a:extLst>
            </p:cNvPr>
            <p:cNvSpPr/>
            <p:nvPr/>
          </p:nvSpPr>
          <p:spPr>
            <a:xfrm>
              <a:off x="5941219" y="3006566"/>
              <a:ext cx="180975" cy="95250"/>
            </a:xfrm>
            <a:custGeom>
              <a:avLst/>
              <a:gdLst>
                <a:gd name="connsiteX0" fmla="*/ 179546 w 180975"/>
                <a:gd name="connsiteY0" fmla="*/ 7144 h 95250"/>
                <a:gd name="connsiteX1" fmla="*/ 130016 w 180975"/>
                <a:gd name="connsiteY1" fmla="*/ 20479 h 95250"/>
                <a:gd name="connsiteX2" fmla="*/ 143351 w 180975"/>
                <a:gd name="connsiteY2" fmla="*/ 34766 h 95250"/>
                <a:gd name="connsiteX3" fmla="*/ 117634 w 180975"/>
                <a:gd name="connsiteY3" fmla="*/ 60484 h 95250"/>
                <a:gd name="connsiteX4" fmla="*/ 66199 w 180975"/>
                <a:gd name="connsiteY4" fmla="*/ 23336 h 95250"/>
                <a:gd name="connsiteX5" fmla="*/ 7144 w 180975"/>
                <a:gd name="connsiteY5" fmla="*/ 85249 h 95250"/>
                <a:gd name="connsiteX6" fmla="*/ 16669 w 180975"/>
                <a:gd name="connsiteY6" fmla="*/ 94774 h 95250"/>
                <a:gd name="connsiteX7" fmla="*/ 68104 w 180975"/>
                <a:gd name="connsiteY7" fmla="*/ 40481 h 95250"/>
                <a:gd name="connsiteX8" fmla="*/ 119539 w 180975"/>
                <a:gd name="connsiteY8" fmla="*/ 77629 h 95250"/>
                <a:gd name="connsiteX9" fmla="*/ 152876 w 180975"/>
                <a:gd name="connsiteY9" fmla="*/ 43339 h 95250"/>
                <a:gd name="connsiteX10" fmla="*/ 167164 w 180975"/>
                <a:gd name="connsiteY10" fmla="*/ 56674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0975" h="95250">
                  <a:moveTo>
                    <a:pt x="179546" y="7144"/>
                  </a:moveTo>
                  <a:lnTo>
                    <a:pt x="130016" y="20479"/>
                  </a:lnTo>
                  <a:lnTo>
                    <a:pt x="143351" y="34766"/>
                  </a:lnTo>
                  <a:lnTo>
                    <a:pt x="117634" y="60484"/>
                  </a:lnTo>
                  <a:lnTo>
                    <a:pt x="66199" y="23336"/>
                  </a:lnTo>
                  <a:lnTo>
                    <a:pt x="7144" y="85249"/>
                  </a:lnTo>
                  <a:lnTo>
                    <a:pt x="16669" y="94774"/>
                  </a:lnTo>
                  <a:lnTo>
                    <a:pt x="68104" y="40481"/>
                  </a:lnTo>
                  <a:lnTo>
                    <a:pt x="119539" y="77629"/>
                  </a:lnTo>
                  <a:lnTo>
                    <a:pt x="152876" y="43339"/>
                  </a:lnTo>
                  <a:lnTo>
                    <a:pt x="167164" y="5667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6" name="任意多边形: 形状 125">
              <a:extLst>
                <a:ext uri="{FF2B5EF4-FFF2-40B4-BE49-F238E27FC236}">
                  <a16:creationId xmlns:a16="http://schemas.microsoft.com/office/drawing/2014/main" id="{C719D204-CB83-4D55-B006-F602A20FF2A0}"/>
                </a:ext>
              </a:extLst>
            </p:cNvPr>
            <p:cNvSpPr/>
            <p:nvPr/>
          </p:nvSpPr>
          <p:spPr>
            <a:xfrm>
              <a:off x="6186011" y="2713196"/>
              <a:ext cx="200025" cy="200025"/>
            </a:xfrm>
            <a:custGeom>
              <a:avLst/>
              <a:gdLst>
                <a:gd name="connsiteX0" fmla="*/ 195739 w 200025"/>
                <a:gd name="connsiteY0" fmla="*/ 101441 h 200025"/>
                <a:gd name="connsiteX1" fmla="*/ 101441 w 200025"/>
                <a:gd name="connsiteY1" fmla="*/ 195739 h 200025"/>
                <a:gd name="connsiteX2" fmla="*/ 7144 w 200025"/>
                <a:gd name="connsiteY2" fmla="*/ 101441 h 200025"/>
                <a:gd name="connsiteX3" fmla="*/ 101441 w 200025"/>
                <a:gd name="connsiteY3" fmla="*/ 7144 h 200025"/>
                <a:gd name="connsiteX4" fmla="*/ 195739 w 200025"/>
                <a:gd name="connsiteY4" fmla="*/ 101441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025" h="200025">
                  <a:moveTo>
                    <a:pt x="195739" y="101441"/>
                  </a:moveTo>
                  <a:cubicBezTo>
                    <a:pt x="195739" y="152876"/>
                    <a:pt x="153829" y="195739"/>
                    <a:pt x="101441" y="195739"/>
                  </a:cubicBezTo>
                  <a:cubicBezTo>
                    <a:pt x="50006" y="195739"/>
                    <a:pt x="7144" y="153829"/>
                    <a:pt x="7144" y="101441"/>
                  </a:cubicBezTo>
                  <a:cubicBezTo>
                    <a:pt x="7144" y="50006"/>
                    <a:pt x="49054" y="7144"/>
                    <a:pt x="101441" y="7144"/>
                  </a:cubicBezTo>
                  <a:cubicBezTo>
                    <a:pt x="153829" y="8096"/>
                    <a:pt x="195739" y="50006"/>
                    <a:pt x="195739" y="10144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7" name="任意多边形: 形状 126">
              <a:extLst>
                <a:ext uri="{FF2B5EF4-FFF2-40B4-BE49-F238E27FC236}">
                  <a16:creationId xmlns:a16="http://schemas.microsoft.com/office/drawing/2014/main" id="{8BCBBC39-6E0E-4C24-B596-D1D0AB010C25}"/>
                </a:ext>
              </a:extLst>
            </p:cNvPr>
            <p:cNvSpPr/>
            <p:nvPr/>
          </p:nvSpPr>
          <p:spPr>
            <a:xfrm>
              <a:off x="6200299" y="2727483"/>
              <a:ext cx="171450" cy="171450"/>
            </a:xfrm>
            <a:custGeom>
              <a:avLst/>
              <a:gdLst>
                <a:gd name="connsiteX0" fmla="*/ 87154 w 171450"/>
                <a:gd name="connsiteY0" fmla="*/ 168116 h 171450"/>
                <a:gd name="connsiteX1" fmla="*/ 77629 w 171450"/>
                <a:gd name="connsiteY1" fmla="*/ 167164 h 171450"/>
                <a:gd name="connsiteX2" fmla="*/ 78581 w 171450"/>
                <a:gd name="connsiteY2" fmla="*/ 160496 h 171450"/>
                <a:gd name="connsiteX3" fmla="*/ 96679 w 171450"/>
                <a:gd name="connsiteY3" fmla="*/ 160496 h 171450"/>
                <a:gd name="connsiteX4" fmla="*/ 97631 w 171450"/>
                <a:gd name="connsiteY4" fmla="*/ 167164 h 171450"/>
                <a:gd name="connsiteX5" fmla="*/ 87154 w 171450"/>
                <a:gd name="connsiteY5" fmla="*/ 168116 h 171450"/>
                <a:gd name="connsiteX6" fmla="*/ 58579 w 171450"/>
                <a:gd name="connsiteY6" fmla="*/ 163354 h 171450"/>
                <a:gd name="connsiteX7" fmla="*/ 41434 w 171450"/>
                <a:gd name="connsiteY7" fmla="*/ 153829 h 171450"/>
                <a:gd name="connsiteX8" fmla="*/ 45244 w 171450"/>
                <a:gd name="connsiteY8" fmla="*/ 148114 h 171450"/>
                <a:gd name="connsiteX9" fmla="*/ 61436 w 171450"/>
                <a:gd name="connsiteY9" fmla="*/ 156686 h 171450"/>
                <a:gd name="connsiteX10" fmla="*/ 58579 w 171450"/>
                <a:gd name="connsiteY10" fmla="*/ 163354 h 171450"/>
                <a:gd name="connsiteX11" fmla="*/ 115729 w 171450"/>
                <a:gd name="connsiteY11" fmla="*/ 163354 h 171450"/>
                <a:gd name="connsiteX12" fmla="*/ 113824 w 171450"/>
                <a:gd name="connsiteY12" fmla="*/ 157639 h 171450"/>
                <a:gd name="connsiteX13" fmla="*/ 130016 w 171450"/>
                <a:gd name="connsiteY13" fmla="*/ 149066 h 171450"/>
                <a:gd name="connsiteX14" fmla="*/ 133826 w 171450"/>
                <a:gd name="connsiteY14" fmla="*/ 154781 h 171450"/>
                <a:gd name="connsiteX15" fmla="*/ 115729 w 171450"/>
                <a:gd name="connsiteY15" fmla="*/ 163354 h 171450"/>
                <a:gd name="connsiteX16" fmla="*/ 27146 w 171450"/>
                <a:gd name="connsiteY16" fmla="*/ 141446 h 171450"/>
                <a:gd name="connsiteX17" fmla="*/ 15716 w 171450"/>
                <a:gd name="connsiteY17" fmla="*/ 125254 h 171450"/>
                <a:gd name="connsiteX18" fmla="*/ 21431 w 171450"/>
                <a:gd name="connsiteY18" fmla="*/ 122396 h 171450"/>
                <a:gd name="connsiteX19" fmla="*/ 31909 w 171450"/>
                <a:gd name="connsiteY19" fmla="*/ 136684 h 171450"/>
                <a:gd name="connsiteX20" fmla="*/ 27146 w 171450"/>
                <a:gd name="connsiteY20" fmla="*/ 141446 h 171450"/>
                <a:gd name="connsiteX21" fmla="*/ 148114 w 171450"/>
                <a:gd name="connsiteY21" fmla="*/ 141446 h 171450"/>
                <a:gd name="connsiteX22" fmla="*/ 143351 w 171450"/>
                <a:gd name="connsiteY22" fmla="*/ 136684 h 171450"/>
                <a:gd name="connsiteX23" fmla="*/ 153829 w 171450"/>
                <a:gd name="connsiteY23" fmla="*/ 121444 h 171450"/>
                <a:gd name="connsiteX24" fmla="*/ 159544 w 171450"/>
                <a:gd name="connsiteY24" fmla="*/ 124301 h 171450"/>
                <a:gd name="connsiteX25" fmla="*/ 148114 w 171450"/>
                <a:gd name="connsiteY25" fmla="*/ 141446 h 171450"/>
                <a:gd name="connsiteX26" fmla="*/ 9049 w 171450"/>
                <a:gd name="connsiteY26" fmla="*/ 107156 h 171450"/>
                <a:gd name="connsiteX27" fmla="*/ 7144 w 171450"/>
                <a:gd name="connsiteY27" fmla="*/ 88106 h 171450"/>
                <a:gd name="connsiteX28" fmla="*/ 13811 w 171450"/>
                <a:gd name="connsiteY28" fmla="*/ 88106 h 171450"/>
                <a:gd name="connsiteX29" fmla="*/ 15716 w 171450"/>
                <a:gd name="connsiteY29" fmla="*/ 106204 h 171450"/>
                <a:gd name="connsiteX30" fmla="*/ 9049 w 171450"/>
                <a:gd name="connsiteY30" fmla="*/ 107156 h 171450"/>
                <a:gd name="connsiteX31" fmla="*/ 166211 w 171450"/>
                <a:gd name="connsiteY31" fmla="*/ 107156 h 171450"/>
                <a:gd name="connsiteX32" fmla="*/ 159544 w 171450"/>
                <a:gd name="connsiteY32" fmla="*/ 105251 h 171450"/>
                <a:gd name="connsiteX33" fmla="*/ 161449 w 171450"/>
                <a:gd name="connsiteY33" fmla="*/ 87154 h 171450"/>
                <a:gd name="connsiteX34" fmla="*/ 168116 w 171450"/>
                <a:gd name="connsiteY34" fmla="*/ 87154 h 171450"/>
                <a:gd name="connsiteX35" fmla="*/ 168116 w 171450"/>
                <a:gd name="connsiteY35" fmla="*/ 87154 h 171450"/>
                <a:gd name="connsiteX36" fmla="*/ 166211 w 171450"/>
                <a:gd name="connsiteY36" fmla="*/ 107156 h 171450"/>
                <a:gd name="connsiteX37" fmla="*/ 14764 w 171450"/>
                <a:gd name="connsiteY37" fmla="*/ 70009 h 171450"/>
                <a:gd name="connsiteX38" fmla="*/ 8096 w 171450"/>
                <a:gd name="connsiteY38" fmla="*/ 68104 h 171450"/>
                <a:gd name="connsiteX39" fmla="*/ 14764 w 171450"/>
                <a:gd name="connsiteY39" fmla="*/ 50006 h 171450"/>
                <a:gd name="connsiteX40" fmla="*/ 20479 w 171450"/>
                <a:gd name="connsiteY40" fmla="*/ 52864 h 171450"/>
                <a:gd name="connsiteX41" fmla="*/ 14764 w 171450"/>
                <a:gd name="connsiteY41" fmla="*/ 70009 h 171450"/>
                <a:gd name="connsiteX42" fmla="*/ 159544 w 171450"/>
                <a:gd name="connsiteY42" fmla="*/ 69056 h 171450"/>
                <a:gd name="connsiteX43" fmla="*/ 152876 w 171450"/>
                <a:gd name="connsiteY43" fmla="*/ 51911 h 171450"/>
                <a:gd name="connsiteX44" fmla="*/ 158591 w 171450"/>
                <a:gd name="connsiteY44" fmla="*/ 49054 h 171450"/>
                <a:gd name="connsiteX45" fmla="*/ 165259 w 171450"/>
                <a:gd name="connsiteY45" fmla="*/ 67151 h 171450"/>
                <a:gd name="connsiteX46" fmla="*/ 159544 w 171450"/>
                <a:gd name="connsiteY46" fmla="*/ 69056 h 171450"/>
                <a:gd name="connsiteX47" fmla="*/ 30956 w 171450"/>
                <a:gd name="connsiteY47" fmla="*/ 38576 h 171450"/>
                <a:gd name="connsiteX48" fmla="*/ 26194 w 171450"/>
                <a:gd name="connsiteY48" fmla="*/ 34766 h 171450"/>
                <a:gd name="connsiteX49" fmla="*/ 40481 w 171450"/>
                <a:gd name="connsiteY49" fmla="*/ 21431 h 171450"/>
                <a:gd name="connsiteX50" fmla="*/ 44291 w 171450"/>
                <a:gd name="connsiteY50" fmla="*/ 27146 h 171450"/>
                <a:gd name="connsiteX51" fmla="*/ 30956 w 171450"/>
                <a:gd name="connsiteY51" fmla="*/ 38576 h 171450"/>
                <a:gd name="connsiteX52" fmla="*/ 143351 w 171450"/>
                <a:gd name="connsiteY52" fmla="*/ 37624 h 171450"/>
                <a:gd name="connsiteX53" fmla="*/ 130016 w 171450"/>
                <a:gd name="connsiteY53" fmla="*/ 26194 h 171450"/>
                <a:gd name="connsiteX54" fmla="*/ 133826 w 171450"/>
                <a:gd name="connsiteY54" fmla="*/ 20479 h 171450"/>
                <a:gd name="connsiteX55" fmla="*/ 148114 w 171450"/>
                <a:gd name="connsiteY55" fmla="*/ 33814 h 171450"/>
                <a:gd name="connsiteX56" fmla="*/ 143351 w 171450"/>
                <a:gd name="connsiteY56" fmla="*/ 37624 h 171450"/>
                <a:gd name="connsiteX57" fmla="*/ 60484 w 171450"/>
                <a:gd name="connsiteY57" fmla="*/ 17621 h 171450"/>
                <a:gd name="connsiteX58" fmla="*/ 58579 w 171450"/>
                <a:gd name="connsiteY58" fmla="*/ 11906 h 171450"/>
                <a:gd name="connsiteX59" fmla="*/ 77629 w 171450"/>
                <a:gd name="connsiteY59" fmla="*/ 7144 h 171450"/>
                <a:gd name="connsiteX60" fmla="*/ 78581 w 171450"/>
                <a:gd name="connsiteY60" fmla="*/ 13811 h 171450"/>
                <a:gd name="connsiteX61" fmla="*/ 60484 w 171450"/>
                <a:gd name="connsiteY61" fmla="*/ 17621 h 171450"/>
                <a:gd name="connsiteX62" fmla="*/ 113824 w 171450"/>
                <a:gd name="connsiteY62" fmla="*/ 17621 h 171450"/>
                <a:gd name="connsiteX63" fmla="*/ 96679 w 171450"/>
                <a:gd name="connsiteY63" fmla="*/ 13811 h 171450"/>
                <a:gd name="connsiteX64" fmla="*/ 97631 w 171450"/>
                <a:gd name="connsiteY64" fmla="*/ 7144 h 171450"/>
                <a:gd name="connsiteX65" fmla="*/ 116681 w 171450"/>
                <a:gd name="connsiteY65" fmla="*/ 11906 h 171450"/>
                <a:gd name="connsiteX66" fmla="*/ 113824 w 171450"/>
                <a:gd name="connsiteY66" fmla="*/ 1762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71450" h="171450">
                  <a:moveTo>
                    <a:pt x="87154" y="168116"/>
                  </a:moveTo>
                  <a:cubicBezTo>
                    <a:pt x="84296" y="168116"/>
                    <a:pt x="80486" y="168116"/>
                    <a:pt x="77629" y="167164"/>
                  </a:cubicBezTo>
                  <a:lnTo>
                    <a:pt x="78581" y="160496"/>
                  </a:lnTo>
                  <a:cubicBezTo>
                    <a:pt x="84296" y="161449"/>
                    <a:pt x="90964" y="161449"/>
                    <a:pt x="96679" y="160496"/>
                  </a:cubicBezTo>
                  <a:lnTo>
                    <a:pt x="97631" y="167164"/>
                  </a:lnTo>
                  <a:cubicBezTo>
                    <a:pt x="93821" y="168116"/>
                    <a:pt x="90964" y="168116"/>
                    <a:pt x="87154" y="168116"/>
                  </a:cubicBezTo>
                  <a:close/>
                  <a:moveTo>
                    <a:pt x="58579" y="163354"/>
                  </a:moveTo>
                  <a:cubicBezTo>
                    <a:pt x="52864" y="161449"/>
                    <a:pt x="46196" y="157639"/>
                    <a:pt x="41434" y="153829"/>
                  </a:cubicBezTo>
                  <a:lnTo>
                    <a:pt x="45244" y="148114"/>
                  </a:lnTo>
                  <a:cubicBezTo>
                    <a:pt x="50006" y="151924"/>
                    <a:pt x="55721" y="154781"/>
                    <a:pt x="61436" y="156686"/>
                  </a:cubicBezTo>
                  <a:lnTo>
                    <a:pt x="58579" y="163354"/>
                  </a:lnTo>
                  <a:close/>
                  <a:moveTo>
                    <a:pt x="115729" y="163354"/>
                  </a:moveTo>
                  <a:lnTo>
                    <a:pt x="113824" y="157639"/>
                  </a:lnTo>
                  <a:cubicBezTo>
                    <a:pt x="119539" y="155734"/>
                    <a:pt x="124301" y="152876"/>
                    <a:pt x="130016" y="149066"/>
                  </a:cubicBezTo>
                  <a:lnTo>
                    <a:pt x="133826" y="154781"/>
                  </a:lnTo>
                  <a:cubicBezTo>
                    <a:pt x="128111" y="157639"/>
                    <a:pt x="122396" y="160496"/>
                    <a:pt x="115729" y="163354"/>
                  </a:cubicBezTo>
                  <a:close/>
                  <a:moveTo>
                    <a:pt x="27146" y="141446"/>
                  </a:moveTo>
                  <a:cubicBezTo>
                    <a:pt x="22384" y="136684"/>
                    <a:pt x="19526" y="130969"/>
                    <a:pt x="15716" y="125254"/>
                  </a:cubicBezTo>
                  <a:lnTo>
                    <a:pt x="21431" y="122396"/>
                  </a:lnTo>
                  <a:cubicBezTo>
                    <a:pt x="24289" y="128111"/>
                    <a:pt x="28099" y="132874"/>
                    <a:pt x="31909" y="136684"/>
                  </a:cubicBezTo>
                  <a:lnTo>
                    <a:pt x="27146" y="141446"/>
                  </a:lnTo>
                  <a:close/>
                  <a:moveTo>
                    <a:pt x="148114" y="141446"/>
                  </a:moveTo>
                  <a:lnTo>
                    <a:pt x="143351" y="136684"/>
                  </a:lnTo>
                  <a:cubicBezTo>
                    <a:pt x="147161" y="131921"/>
                    <a:pt x="150971" y="127159"/>
                    <a:pt x="153829" y="121444"/>
                  </a:cubicBezTo>
                  <a:lnTo>
                    <a:pt x="159544" y="124301"/>
                  </a:lnTo>
                  <a:cubicBezTo>
                    <a:pt x="155734" y="130969"/>
                    <a:pt x="151924" y="136684"/>
                    <a:pt x="148114" y="141446"/>
                  </a:cubicBezTo>
                  <a:close/>
                  <a:moveTo>
                    <a:pt x="9049" y="107156"/>
                  </a:moveTo>
                  <a:cubicBezTo>
                    <a:pt x="7144" y="100489"/>
                    <a:pt x="7144" y="94774"/>
                    <a:pt x="7144" y="88106"/>
                  </a:cubicBezTo>
                  <a:lnTo>
                    <a:pt x="13811" y="88106"/>
                  </a:lnTo>
                  <a:cubicBezTo>
                    <a:pt x="13811" y="93821"/>
                    <a:pt x="14764" y="100489"/>
                    <a:pt x="15716" y="106204"/>
                  </a:cubicBezTo>
                  <a:lnTo>
                    <a:pt x="9049" y="107156"/>
                  </a:lnTo>
                  <a:close/>
                  <a:moveTo>
                    <a:pt x="166211" y="107156"/>
                  </a:moveTo>
                  <a:lnTo>
                    <a:pt x="159544" y="105251"/>
                  </a:lnTo>
                  <a:cubicBezTo>
                    <a:pt x="160496" y="99536"/>
                    <a:pt x="161449" y="93821"/>
                    <a:pt x="161449" y="87154"/>
                  </a:cubicBezTo>
                  <a:lnTo>
                    <a:pt x="168116" y="87154"/>
                  </a:lnTo>
                  <a:lnTo>
                    <a:pt x="168116" y="87154"/>
                  </a:lnTo>
                  <a:cubicBezTo>
                    <a:pt x="168116" y="93821"/>
                    <a:pt x="167164" y="100489"/>
                    <a:pt x="166211" y="107156"/>
                  </a:cubicBezTo>
                  <a:close/>
                  <a:moveTo>
                    <a:pt x="14764" y="70009"/>
                  </a:moveTo>
                  <a:lnTo>
                    <a:pt x="8096" y="68104"/>
                  </a:lnTo>
                  <a:cubicBezTo>
                    <a:pt x="10001" y="61436"/>
                    <a:pt x="11906" y="55721"/>
                    <a:pt x="14764" y="50006"/>
                  </a:cubicBezTo>
                  <a:lnTo>
                    <a:pt x="20479" y="52864"/>
                  </a:lnTo>
                  <a:cubicBezTo>
                    <a:pt x="18574" y="58579"/>
                    <a:pt x="16669" y="64294"/>
                    <a:pt x="14764" y="70009"/>
                  </a:cubicBezTo>
                  <a:close/>
                  <a:moveTo>
                    <a:pt x="159544" y="69056"/>
                  </a:moveTo>
                  <a:cubicBezTo>
                    <a:pt x="157639" y="63341"/>
                    <a:pt x="155734" y="57626"/>
                    <a:pt x="152876" y="51911"/>
                  </a:cubicBezTo>
                  <a:lnTo>
                    <a:pt x="158591" y="49054"/>
                  </a:lnTo>
                  <a:cubicBezTo>
                    <a:pt x="161449" y="54769"/>
                    <a:pt x="164306" y="60484"/>
                    <a:pt x="165259" y="67151"/>
                  </a:cubicBezTo>
                  <a:lnTo>
                    <a:pt x="159544" y="69056"/>
                  </a:lnTo>
                  <a:close/>
                  <a:moveTo>
                    <a:pt x="30956" y="38576"/>
                  </a:moveTo>
                  <a:lnTo>
                    <a:pt x="26194" y="34766"/>
                  </a:lnTo>
                  <a:cubicBezTo>
                    <a:pt x="30956" y="30004"/>
                    <a:pt x="35719" y="25241"/>
                    <a:pt x="40481" y="21431"/>
                  </a:cubicBezTo>
                  <a:lnTo>
                    <a:pt x="44291" y="27146"/>
                  </a:lnTo>
                  <a:cubicBezTo>
                    <a:pt x="39529" y="30004"/>
                    <a:pt x="35719" y="33814"/>
                    <a:pt x="30956" y="38576"/>
                  </a:cubicBezTo>
                  <a:close/>
                  <a:moveTo>
                    <a:pt x="143351" y="37624"/>
                  </a:moveTo>
                  <a:cubicBezTo>
                    <a:pt x="139541" y="32861"/>
                    <a:pt x="134779" y="29051"/>
                    <a:pt x="130016" y="26194"/>
                  </a:cubicBezTo>
                  <a:lnTo>
                    <a:pt x="133826" y="20479"/>
                  </a:lnTo>
                  <a:cubicBezTo>
                    <a:pt x="139541" y="24289"/>
                    <a:pt x="144304" y="28099"/>
                    <a:pt x="148114" y="33814"/>
                  </a:cubicBezTo>
                  <a:lnTo>
                    <a:pt x="143351" y="37624"/>
                  </a:lnTo>
                  <a:close/>
                  <a:moveTo>
                    <a:pt x="60484" y="17621"/>
                  </a:moveTo>
                  <a:lnTo>
                    <a:pt x="58579" y="11906"/>
                  </a:lnTo>
                  <a:cubicBezTo>
                    <a:pt x="64294" y="10001"/>
                    <a:pt x="70961" y="8096"/>
                    <a:pt x="77629" y="7144"/>
                  </a:cubicBezTo>
                  <a:lnTo>
                    <a:pt x="78581" y="13811"/>
                  </a:lnTo>
                  <a:cubicBezTo>
                    <a:pt x="71914" y="14764"/>
                    <a:pt x="66199" y="15716"/>
                    <a:pt x="60484" y="17621"/>
                  </a:cubicBezTo>
                  <a:close/>
                  <a:moveTo>
                    <a:pt x="113824" y="17621"/>
                  </a:moveTo>
                  <a:cubicBezTo>
                    <a:pt x="108109" y="15716"/>
                    <a:pt x="102394" y="13811"/>
                    <a:pt x="96679" y="13811"/>
                  </a:cubicBezTo>
                  <a:lnTo>
                    <a:pt x="97631" y="7144"/>
                  </a:lnTo>
                  <a:cubicBezTo>
                    <a:pt x="104299" y="8096"/>
                    <a:pt x="110966" y="9049"/>
                    <a:pt x="116681" y="11906"/>
                  </a:cubicBezTo>
                  <a:lnTo>
                    <a:pt x="113824" y="17621"/>
                  </a:lnTo>
                  <a:close/>
                </a:path>
              </a:pathLst>
            </a:custGeom>
            <a:solidFill>
              <a:srgbClr val="5202B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8" name="任意多边形: 形状 127">
              <a:extLst>
                <a:ext uri="{FF2B5EF4-FFF2-40B4-BE49-F238E27FC236}">
                  <a16:creationId xmlns:a16="http://schemas.microsoft.com/office/drawing/2014/main" id="{5B9EA90F-2C77-43F2-81E8-19F920DCD4D4}"/>
                </a:ext>
              </a:extLst>
            </p:cNvPr>
            <p:cNvSpPr/>
            <p:nvPr/>
          </p:nvSpPr>
          <p:spPr>
            <a:xfrm>
              <a:off x="6273641" y="2757963"/>
              <a:ext cx="47625" cy="104775"/>
            </a:xfrm>
            <a:custGeom>
              <a:avLst/>
              <a:gdLst>
                <a:gd name="connsiteX0" fmla="*/ 34766 w 47625"/>
                <a:gd name="connsiteY0" fmla="*/ 99536 h 104775"/>
                <a:gd name="connsiteX1" fmla="*/ 7144 w 47625"/>
                <a:gd name="connsiteY1" fmla="*/ 72866 h 104775"/>
                <a:gd name="connsiteX2" fmla="*/ 7144 w 47625"/>
                <a:gd name="connsiteY2" fmla="*/ 7144 h 104775"/>
                <a:gd name="connsiteX3" fmla="*/ 20479 w 47625"/>
                <a:gd name="connsiteY3" fmla="*/ 7144 h 104775"/>
                <a:gd name="connsiteX4" fmla="*/ 20479 w 47625"/>
                <a:gd name="connsiteY4" fmla="*/ 68104 h 104775"/>
                <a:gd name="connsiteX5" fmla="*/ 43339 w 47625"/>
                <a:gd name="connsiteY5" fmla="*/ 90964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625" h="104775">
                  <a:moveTo>
                    <a:pt x="34766" y="99536"/>
                  </a:moveTo>
                  <a:lnTo>
                    <a:pt x="7144" y="72866"/>
                  </a:lnTo>
                  <a:lnTo>
                    <a:pt x="7144" y="7144"/>
                  </a:lnTo>
                  <a:lnTo>
                    <a:pt x="20479" y="7144"/>
                  </a:lnTo>
                  <a:lnTo>
                    <a:pt x="20479" y="68104"/>
                  </a:lnTo>
                  <a:lnTo>
                    <a:pt x="43339" y="90964"/>
                  </a:lnTo>
                  <a:close/>
                </a:path>
              </a:pathLst>
            </a:custGeom>
            <a:solidFill>
              <a:srgbClr val="5202B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9" name="任意多边形: 形状 128">
              <a:extLst>
                <a:ext uri="{FF2B5EF4-FFF2-40B4-BE49-F238E27FC236}">
                  <a16:creationId xmlns:a16="http://schemas.microsoft.com/office/drawing/2014/main" id="{5A77C158-C2F3-492B-BFA7-6BB7AFD162EF}"/>
                </a:ext>
              </a:extLst>
            </p:cNvPr>
            <p:cNvSpPr/>
            <p:nvPr/>
          </p:nvSpPr>
          <p:spPr>
            <a:xfrm>
              <a:off x="6360319" y="3107531"/>
              <a:ext cx="76200" cy="76200"/>
            </a:xfrm>
            <a:custGeom>
              <a:avLst/>
              <a:gdLst>
                <a:gd name="connsiteX0" fmla="*/ 71914 w 76200"/>
                <a:gd name="connsiteY0" fmla="*/ 7144 h 76200"/>
                <a:gd name="connsiteX1" fmla="*/ 71914 w 76200"/>
                <a:gd name="connsiteY1" fmla="*/ 50006 h 76200"/>
                <a:gd name="connsiteX2" fmla="*/ 50006 w 76200"/>
                <a:gd name="connsiteY2" fmla="*/ 71914 h 76200"/>
                <a:gd name="connsiteX3" fmla="*/ 7144 w 76200"/>
                <a:gd name="connsiteY3" fmla="*/ 71914 h 76200"/>
                <a:gd name="connsiteX4" fmla="*/ 7144 w 76200"/>
                <a:gd name="connsiteY4" fmla="*/ 7144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76200">
                  <a:moveTo>
                    <a:pt x="71914" y="7144"/>
                  </a:moveTo>
                  <a:lnTo>
                    <a:pt x="71914" y="50006"/>
                  </a:lnTo>
                  <a:lnTo>
                    <a:pt x="50006" y="71914"/>
                  </a:lnTo>
                  <a:lnTo>
                    <a:pt x="7144" y="71914"/>
                  </a:lnTo>
                  <a:lnTo>
                    <a:pt x="7144" y="7144"/>
                  </a:ln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0" name="任意多边形: 形状 129">
              <a:extLst>
                <a:ext uri="{FF2B5EF4-FFF2-40B4-BE49-F238E27FC236}">
                  <a16:creationId xmlns:a16="http://schemas.microsoft.com/office/drawing/2014/main" id="{05FD54A1-27EF-42E0-8AE7-92BBC388841A}"/>
                </a:ext>
              </a:extLst>
            </p:cNvPr>
            <p:cNvSpPr/>
            <p:nvPr/>
          </p:nvSpPr>
          <p:spPr>
            <a:xfrm>
              <a:off x="6403181" y="3150393"/>
              <a:ext cx="28575" cy="28575"/>
            </a:xfrm>
            <a:custGeom>
              <a:avLst/>
              <a:gdLst>
                <a:gd name="connsiteX0" fmla="*/ 29051 w 28575"/>
                <a:gd name="connsiteY0" fmla="*/ 7144 h 28575"/>
                <a:gd name="connsiteX1" fmla="*/ 7144 w 28575"/>
                <a:gd name="connsiteY1" fmla="*/ 29051 h 28575"/>
                <a:gd name="connsiteX2" fmla="*/ 7144 w 28575"/>
                <a:gd name="connsiteY2" fmla="*/ 714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575" h="28575">
                  <a:moveTo>
                    <a:pt x="29051" y="7144"/>
                  </a:moveTo>
                  <a:lnTo>
                    <a:pt x="7144" y="29051"/>
                  </a:lnTo>
                  <a:lnTo>
                    <a:pt x="7144" y="7144"/>
                  </a:lnTo>
                  <a:close/>
                </a:path>
              </a:pathLst>
            </a:custGeom>
            <a:solidFill>
              <a:srgbClr val="EBE0B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1" name="任意多边形: 形状 130">
              <a:extLst>
                <a:ext uri="{FF2B5EF4-FFF2-40B4-BE49-F238E27FC236}">
                  <a16:creationId xmlns:a16="http://schemas.microsoft.com/office/drawing/2014/main" id="{8CC0A83E-F607-48AB-AE7D-AF5852808F89}"/>
                </a:ext>
              </a:extLst>
            </p:cNvPr>
            <p:cNvSpPr/>
            <p:nvPr/>
          </p:nvSpPr>
          <p:spPr>
            <a:xfrm>
              <a:off x="6266974" y="3044666"/>
              <a:ext cx="76200" cy="76200"/>
            </a:xfrm>
            <a:custGeom>
              <a:avLst/>
              <a:gdLst>
                <a:gd name="connsiteX0" fmla="*/ 7144 w 76200"/>
                <a:gd name="connsiteY0" fmla="*/ 7144 h 76200"/>
                <a:gd name="connsiteX1" fmla="*/ 71914 w 76200"/>
                <a:gd name="connsiteY1" fmla="*/ 7144 h 76200"/>
                <a:gd name="connsiteX2" fmla="*/ 71914 w 76200"/>
                <a:gd name="connsiteY2" fmla="*/ 71914 h 76200"/>
                <a:gd name="connsiteX3" fmla="*/ 7144 w 76200"/>
                <a:gd name="connsiteY3" fmla="*/ 71914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200" h="76200">
                  <a:moveTo>
                    <a:pt x="7144" y="7144"/>
                  </a:moveTo>
                  <a:lnTo>
                    <a:pt x="71914" y="7144"/>
                  </a:lnTo>
                  <a:lnTo>
                    <a:pt x="71914" y="71914"/>
                  </a:lnTo>
                  <a:lnTo>
                    <a:pt x="7144" y="7191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2" name="任意多边形: 形状 131">
              <a:extLst>
                <a:ext uri="{FF2B5EF4-FFF2-40B4-BE49-F238E27FC236}">
                  <a16:creationId xmlns:a16="http://schemas.microsoft.com/office/drawing/2014/main" id="{F5DCB9B7-5AF7-43A5-8270-E2C376E5903A}"/>
                </a:ext>
              </a:extLst>
            </p:cNvPr>
            <p:cNvSpPr/>
            <p:nvPr/>
          </p:nvSpPr>
          <p:spPr>
            <a:xfrm>
              <a:off x="6879431" y="2583656"/>
              <a:ext cx="123825" cy="123825"/>
            </a:xfrm>
            <a:custGeom>
              <a:avLst/>
              <a:gdLst>
                <a:gd name="connsiteX0" fmla="*/ 119539 w 123825"/>
                <a:gd name="connsiteY0" fmla="*/ 63341 h 123825"/>
                <a:gd name="connsiteX1" fmla="*/ 63341 w 123825"/>
                <a:gd name="connsiteY1" fmla="*/ 119539 h 123825"/>
                <a:gd name="connsiteX2" fmla="*/ 7144 w 123825"/>
                <a:gd name="connsiteY2" fmla="*/ 63341 h 123825"/>
                <a:gd name="connsiteX3" fmla="*/ 63341 w 123825"/>
                <a:gd name="connsiteY3" fmla="*/ 7144 h 123825"/>
                <a:gd name="connsiteX4" fmla="*/ 119539 w 123825"/>
                <a:gd name="connsiteY4" fmla="*/ 63341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825" h="123825">
                  <a:moveTo>
                    <a:pt x="119539" y="63341"/>
                  </a:moveTo>
                  <a:cubicBezTo>
                    <a:pt x="119539" y="93821"/>
                    <a:pt x="94774" y="119539"/>
                    <a:pt x="63341" y="119539"/>
                  </a:cubicBezTo>
                  <a:cubicBezTo>
                    <a:pt x="32861" y="119539"/>
                    <a:pt x="7144" y="94774"/>
                    <a:pt x="7144" y="63341"/>
                  </a:cubicBezTo>
                  <a:cubicBezTo>
                    <a:pt x="7144" y="32861"/>
                    <a:pt x="31909" y="7144"/>
                    <a:pt x="63341" y="7144"/>
                  </a:cubicBezTo>
                  <a:cubicBezTo>
                    <a:pt x="94774" y="7144"/>
                    <a:pt x="119539" y="31909"/>
                    <a:pt x="119539" y="63341"/>
                  </a:cubicBezTo>
                  <a:close/>
                </a:path>
              </a:pathLst>
            </a:custGeom>
            <a:solidFill>
              <a:srgbClr val="F065A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3" name="任意多边形: 形状 132">
              <a:extLst>
                <a:ext uri="{FF2B5EF4-FFF2-40B4-BE49-F238E27FC236}">
                  <a16:creationId xmlns:a16="http://schemas.microsoft.com/office/drawing/2014/main" id="{8AEB0F5F-CDA3-4364-96B4-C3A952EBF6E5}"/>
                </a:ext>
              </a:extLst>
            </p:cNvPr>
            <p:cNvSpPr/>
            <p:nvPr/>
          </p:nvSpPr>
          <p:spPr>
            <a:xfrm>
              <a:off x="7151846" y="4197191"/>
              <a:ext cx="123825" cy="123825"/>
            </a:xfrm>
            <a:custGeom>
              <a:avLst/>
              <a:gdLst>
                <a:gd name="connsiteX0" fmla="*/ 119539 w 123825"/>
                <a:gd name="connsiteY0" fmla="*/ 63341 h 123825"/>
                <a:gd name="connsiteX1" fmla="*/ 63341 w 123825"/>
                <a:gd name="connsiteY1" fmla="*/ 119539 h 123825"/>
                <a:gd name="connsiteX2" fmla="*/ 7144 w 123825"/>
                <a:gd name="connsiteY2" fmla="*/ 63341 h 123825"/>
                <a:gd name="connsiteX3" fmla="*/ 63341 w 123825"/>
                <a:gd name="connsiteY3" fmla="*/ 7144 h 123825"/>
                <a:gd name="connsiteX4" fmla="*/ 119539 w 123825"/>
                <a:gd name="connsiteY4" fmla="*/ 63341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825" h="123825">
                  <a:moveTo>
                    <a:pt x="119539" y="63341"/>
                  </a:moveTo>
                  <a:cubicBezTo>
                    <a:pt x="119539" y="93821"/>
                    <a:pt x="94774" y="119539"/>
                    <a:pt x="63341" y="119539"/>
                  </a:cubicBezTo>
                  <a:cubicBezTo>
                    <a:pt x="32861" y="119539"/>
                    <a:pt x="7144" y="94774"/>
                    <a:pt x="7144" y="63341"/>
                  </a:cubicBezTo>
                  <a:cubicBezTo>
                    <a:pt x="7144" y="32861"/>
                    <a:pt x="31909" y="7144"/>
                    <a:pt x="63341" y="7144"/>
                  </a:cubicBezTo>
                  <a:cubicBezTo>
                    <a:pt x="94774" y="7144"/>
                    <a:pt x="119539" y="32861"/>
                    <a:pt x="119539" y="63341"/>
                  </a:cubicBezTo>
                  <a:close/>
                </a:path>
              </a:pathLst>
            </a:custGeom>
            <a:solidFill>
              <a:srgbClr val="D5498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4" name="任意多边形: 形状 133">
              <a:extLst>
                <a:ext uri="{FF2B5EF4-FFF2-40B4-BE49-F238E27FC236}">
                  <a16:creationId xmlns:a16="http://schemas.microsoft.com/office/drawing/2014/main" id="{7D6D1150-51EE-4E15-ADF3-14B5A0FB5791}"/>
                </a:ext>
              </a:extLst>
            </p:cNvPr>
            <p:cNvSpPr/>
            <p:nvPr/>
          </p:nvSpPr>
          <p:spPr>
            <a:xfrm>
              <a:off x="6828949" y="2486501"/>
              <a:ext cx="76200" cy="76200"/>
            </a:xfrm>
            <a:custGeom>
              <a:avLst/>
              <a:gdLst>
                <a:gd name="connsiteX0" fmla="*/ 75724 w 76200"/>
                <a:gd name="connsiteY0" fmla="*/ 41434 h 76200"/>
                <a:gd name="connsiteX1" fmla="*/ 41434 w 76200"/>
                <a:gd name="connsiteY1" fmla="*/ 75724 h 76200"/>
                <a:gd name="connsiteX2" fmla="*/ 7144 w 76200"/>
                <a:gd name="connsiteY2" fmla="*/ 41434 h 76200"/>
                <a:gd name="connsiteX3" fmla="*/ 41434 w 76200"/>
                <a:gd name="connsiteY3" fmla="*/ 7144 h 76200"/>
                <a:gd name="connsiteX4" fmla="*/ 75724 w 76200"/>
                <a:gd name="connsiteY4" fmla="*/ 41434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76200">
                  <a:moveTo>
                    <a:pt x="75724" y="41434"/>
                  </a:moveTo>
                  <a:cubicBezTo>
                    <a:pt x="75724" y="60484"/>
                    <a:pt x="60484" y="75724"/>
                    <a:pt x="41434" y="75724"/>
                  </a:cubicBezTo>
                  <a:cubicBezTo>
                    <a:pt x="22384" y="75724"/>
                    <a:pt x="7144" y="60484"/>
                    <a:pt x="7144" y="41434"/>
                  </a:cubicBezTo>
                  <a:cubicBezTo>
                    <a:pt x="7144" y="22384"/>
                    <a:pt x="22384" y="7144"/>
                    <a:pt x="41434" y="7144"/>
                  </a:cubicBezTo>
                  <a:cubicBezTo>
                    <a:pt x="60484" y="7144"/>
                    <a:pt x="75724" y="22384"/>
                    <a:pt x="75724" y="41434"/>
                  </a:cubicBezTo>
                  <a:close/>
                </a:path>
              </a:pathLst>
            </a:custGeom>
            <a:solidFill>
              <a:srgbClr val="F065A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5" name="任意多边形: 形状 134">
              <a:extLst>
                <a:ext uri="{FF2B5EF4-FFF2-40B4-BE49-F238E27FC236}">
                  <a16:creationId xmlns:a16="http://schemas.microsoft.com/office/drawing/2014/main" id="{C247DEBD-D981-4B89-953F-15B2DABD3306}"/>
                </a:ext>
              </a:extLst>
            </p:cNvPr>
            <p:cNvSpPr/>
            <p:nvPr/>
          </p:nvSpPr>
          <p:spPr>
            <a:xfrm>
              <a:off x="7050881" y="4132421"/>
              <a:ext cx="76200" cy="76200"/>
            </a:xfrm>
            <a:custGeom>
              <a:avLst/>
              <a:gdLst>
                <a:gd name="connsiteX0" fmla="*/ 75724 w 76200"/>
                <a:gd name="connsiteY0" fmla="*/ 41434 h 76200"/>
                <a:gd name="connsiteX1" fmla="*/ 41434 w 76200"/>
                <a:gd name="connsiteY1" fmla="*/ 75724 h 76200"/>
                <a:gd name="connsiteX2" fmla="*/ 7144 w 76200"/>
                <a:gd name="connsiteY2" fmla="*/ 41434 h 76200"/>
                <a:gd name="connsiteX3" fmla="*/ 41434 w 76200"/>
                <a:gd name="connsiteY3" fmla="*/ 7144 h 76200"/>
                <a:gd name="connsiteX4" fmla="*/ 75724 w 76200"/>
                <a:gd name="connsiteY4" fmla="*/ 41434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76200">
                  <a:moveTo>
                    <a:pt x="75724" y="41434"/>
                  </a:moveTo>
                  <a:cubicBezTo>
                    <a:pt x="75724" y="60484"/>
                    <a:pt x="60484" y="75724"/>
                    <a:pt x="41434" y="75724"/>
                  </a:cubicBezTo>
                  <a:cubicBezTo>
                    <a:pt x="22384" y="75724"/>
                    <a:pt x="7144" y="60484"/>
                    <a:pt x="7144" y="41434"/>
                  </a:cubicBezTo>
                  <a:cubicBezTo>
                    <a:pt x="7144" y="22384"/>
                    <a:pt x="22384" y="7144"/>
                    <a:pt x="41434" y="7144"/>
                  </a:cubicBezTo>
                  <a:cubicBezTo>
                    <a:pt x="60484" y="7144"/>
                    <a:pt x="75724" y="22384"/>
                    <a:pt x="75724" y="41434"/>
                  </a:cubicBezTo>
                  <a:close/>
                </a:path>
              </a:pathLst>
            </a:custGeom>
            <a:solidFill>
              <a:srgbClr val="D5498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6" name="任意多边形: 形状 135">
              <a:extLst>
                <a:ext uri="{FF2B5EF4-FFF2-40B4-BE49-F238E27FC236}">
                  <a16:creationId xmlns:a16="http://schemas.microsoft.com/office/drawing/2014/main" id="{957F1FDE-542E-4BB8-864C-EB17F0A76CAB}"/>
                </a:ext>
              </a:extLst>
            </p:cNvPr>
            <p:cNvSpPr/>
            <p:nvPr/>
          </p:nvSpPr>
          <p:spPr>
            <a:xfrm>
              <a:off x="6354604" y="3277076"/>
              <a:ext cx="47625" cy="66675"/>
            </a:xfrm>
            <a:custGeom>
              <a:avLst/>
              <a:gdLst>
                <a:gd name="connsiteX0" fmla="*/ 22384 w 47625"/>
                <a:gd name="connsiteY0" fmla="*/ 52864 h 66675"/>
                <a:gd name="connsiteX1" fmla="*/ 25241 w 47625"/>
                <a:gd name="connsiteY1" fmla="*/ 62389 h 66675"/>
                <a:gd name="connsiteX2" fmla="*/ 28099 w 47625"/>
                <a:gd name="connsiteY2" fmla="*/ 52864 h 66675"/>
                <a:gd name="connsiteX3" fmla="*/ 43339 w 47625"/>
                <a:gd name="connsiteY3" fmla="*/ 34766 h 66675"/>
                <a:gd name="connsiteX4" fmla="*/ 43339 w 47625"/>
                <a:gd name="connsiteY4" fmla="*/ 34766 h 66675"/>
                <a:gd name="connsiteX5" fmla="*/ 43339 w 47625"/>
                <a:gd name="connsiteY5" fmla="*/ 34766 h 66675"/>
                <a:gd name="connsiteX6" fmla="*/ 28099 w 47625"/>
                <a:gd name="connsiteY6" fmla="*/ 16669 h 66675"/>
                <a:gd name="connsiteX7" fmla="*/ 25241 w 47625"/>
                <a:gd name="connsiteY7" fmla="*/ 7144 h 66675"/>
                <a:gd name="connsiteX8" fmla="*/ 22384 w 47625"/>
                <a:gd name="connsiteY8" fmla="*/ 16669 h 66675"/>
                <a:gd name="connsiteX9" fmla="*/ 7144 w 47625"/>
                <a:gd name="connsiteY9" fmla="*/ 34766 h 66675"/>
                <a:gd name="connsiteX10" fmla="*/ 7144 w 47625"/>
                <a:gd name="connsiteY10" fmla="*/ 34766 h 66675"/>
                <a:gd name="connsiteX11" fmla="*/ 7144 w 47625"/>
                <a:gd name="connsiteY11" fmla="*/ 34766 h 66675"/>
                <a:gd name="connsiteX12" fmla="*/ 22384 w 47625"/>
                <a:gd name="connsiteY12" fmla="*/ 5286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7625" h="66675">
                  <a:moveTo>
                    <a:pt x="22384" y="52864"/>
                  </a:moveTo>
                  <a:lnTo>
                    <a:pt x="25241" y="62389"/>
                  </a:lnTo>
                  <a:lnTo>
                    <a:pt x="28099" y="52864"/>
                  </a:lnTo>
                  <a:cubicBezTo>
                    <a:pt x="30004" y="45244"/>
                    <a:pt x="35719" y="38576"/>
                    <a:pt x="43339" y="34766"/>
                  </a:cubicBezTo>
                  <a:lnTo>
                    <a:pt x="43339" y="34766"/>
                  </a:lnTo>
                  <a:lnTo>
                    <a:pt x="43339" y="34766"/>
                  </a:lnTo>
                  <a:cubicBezTo>
                    <a:pt x="35719" y="30956"/>
                    <a:pt x="30956" y="24289"/>
                    <a:pt x="28099" y="16669"/>
                  </a:cubicBezTo>
                  <a:lnTo>
                    <a:pt x="25241" y="7144"/>
                  </a:lnTo>
                  <a:lnTo>
                    <a:pt x="22384" y="16669"/>
                  </a:lnTo>
                  <a:cubicBezTo>
                    <a:pt x="20479" y="24289"/>
                    <a:pt x="14764" y="30956"/>
                    <a:pt x="7144" y="34766"/>
                  </a:cubicBezTo>
                  <a:lnTo>
                    <a:pt x="7144" y="34766"/>
                  </a:lnTo>
                  <a:lnTo>
                    <a:pt x="7144" y="34766"/>
                  </a:lnTo>
                  <a:cubicBezTo>
                    <a:pt x="14764" y="37624"/>
                    <a:pt x="19526" y="44291"/>
                    <a:pt x="22384" y="5286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7" name="任意多边形: 形状 136">
              <a:extLst>
                <a:ext uri="{FF2B5EF4-FFF2-40B4-BE49-F238E27FC236}">
                  <a16:creationId xmlns:a16="http://schemas.microsoft.com/office/drawing/2014/main" id="{B8A19C1F-A9B8-4177-A091-EA78708E9C1A}"/>
                </a:ext>
              </a:extLst>
            </p:cNvPr>
            <p:cNvSpPr/>
            <p:nvPr/>
          </p:nvSpPr>
          <p:spPr>
            <a:xfrm>
              <a:off x="6333649" y="3324701"/>
              <a:ext cx="38100" cy="57150"/>
            </a:xfrm>
            <a:custGeom>
              <a:avLst/>
              <a:gdLst>
                <a:gd name="connsiteX0" fmla="*/ 18574 w 38100"/>
                <a:gd name="connsiteY0" fmla="*/ 43339 h 57150"/>
                <a:gd name="connsiteX1" fmla="*/ 20479 w 38100"/>
                <a:gd name="connsiteY1" fmla="*/ 50959 h 57150"/>
                <a:gd name="connsiteX2" fmla="*/ 22384 w 38100"/>
                <a:gd name="connsiteY2" fmla="*/ 43339 h 57150"/>
                <a:gd name="connsiteX3" fmla="*/ 33814 w 38100"/>
                <a:gd name="connsiteY3" fmla="*/ 29051 h 57150"/>
                <a:gd name="connsiteX4" fmla="*/ 33814 w 38100"/>
                <a:gd name="connsiteY4" fmla="*/ 29051 h 57150"/>
                <a:gd name="connsiteX5" fmla="*/ 33814 w 38100"/>
                <a:gd name="connsiteY5" fmla="*/ 29051 h 57150"/>
                <a:gd name="connsiteX6" fmla="*/ 22384 w 38100"/>
                <a:gd name="connsiteY6" fmla="*/ 14764 h 57150"/>
                <a:gd name="connsiteX7" fmla="*/ 20479 w 38100"/>
                <a:gd name="connsiteY7" fmla="*/ 7144 h 57150"/>
                <a:gd name="connsiteX8" fmla="*/ 18574 w 38100"/>
                <a:gd name="connsiteY8" fmla="*/ 14764 h 57150"/>
                <a:gd name="connsiteX9" fmla="*/ 7144 w 38100"/>
                <a:gd name="connsiteY9" fmla="*/ 29051 h 57150"/>
                <a:gd name="connsiteX10" fmla="*/ 7144 w 38100"/>
                <a:gd name="connsiteY10" fmla="*/ 29051 h 57150"/>
                <a:gd name="connsiteX11" fmla="*/ 7144 w 38100"/>
                <a:gd name="connsiteY11" fmla="*/ 29051 h 57150"/>
                <a:gd name="connsiteX12" fmla="*/ 18574 w 38100"/>
                <a:gd name="connsiteY12" fmla="*/ 43339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100" h="57150">
                  <a:moveTo>
                    <a:pt x="18574" y="43339"/>
                  </a:moveTo>
                  <a:lnTo>
                    <a:pt x="20479" y="50959"/>
                  </a:lnTo>
                  <a:lnTo>
                    <a:pt x="22384" y="43339"/>
                  </a:lnTo>
                  <a:cubicBezTo>
                    <a:pt x="24289" y="37624"/>
                    <a:pt x="28099" y="31909"/>
                    <a:pt x="33814" y="29051"/>
                  </a:cubicBezTo>
                  <a:lnTo>
                    <a:pt x="33814" y="29051"/>
                  </a:lnTo>
                  <a:lnTo>
                    <a:pt x="33814" y="29051"/>
                  </a:lnTo>
                  <a:cubicBezTo>
                    <a:pt x="28099" y="26194"/>
                    <a:pt x="24289" y="20479"/>
                    <a:pt x="22384" y="14764"/>
                  </a:cubicBezTo>
                  <a:lnTo>
                    <a:pt x="20479" y="7144"/>
                  </a:lnTo>
                  <a:lnTo>
                    <a:pt x="18574" y="14764"/>
                  </a:lnTo>
                  <a:cubicBezTo>
                    <a:pt x="16669" y="20479"/>
                    <a:pt x="12859" y="26194"/>
                    <a:pt x="7144" y="29051"/>
                  </a:cubicBezTo>
                  <a:lnTo>
                    <a:pt x="7144" y="29051"/>
                  </a:lnTo>
                  <a:lnTo>
                    <a:pt x="7144" y="29051"/>
                  </a:lnTo>
                  <a:cubicBezTo>
                    <a:pt x="11906" y="31909"/>
                    <a:pt x="16669" y="36671"/>
                    <a:pt x="18574" y="4333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8" name="任意多边形: 形状 137">
              <a:extLst>
                <a:ext uri="{FF2B5EF4-FFF2-40B4-BE49-F238E27FC236}">
                  <a16:creationId xmlns:a16="http://schemas.microsoft.com/office/drawing/2014/main" id="{4A08C7C4-270B-4EED-AC63-95105794FF1B}"/>
                </a:ext>
              </a:extLst>
            </p:cNvPr>
            <p:cNvSpPr/>
            <p:nvPr/>
          </p:nvSpPr>
          <p:spPr>
            <a:xfrm>
              <a:off x="7620476" y="3031331"/>
              <a:ext cx="47625" cy="66675"/>
            </a:xfrm>
            <a:custGeom>
              <a:avLst/>
              <a:gdLst>
                <a:gd name="connsiteX0" fmla="*/ 22384 w 47625"/>
                <a:gd name="connsiteY0" fmla="*/ 52864 h 66675"/>
                <a:gd name="connsiteX1" fmla="*/ 25241 w 47625"/>
                <a:gd name="connsiteY1" fmla="*/ 62389 h 66675"/>
                <a:gd name="connsiteX2" fmla="*/ 28099 w 47625"/>
                <a:gd name="connsiteY2" fmla="*/ 52864 h 66675"/>
                <a:gd name="connsiteX3" fmla="*/ 43339 w 47625"/>
                <a:gd name="connsiteY3" fmla="*/ 34766 h 66675"/>
                <a:gd name="connsiteX4" fmla="*/ 43339 w 47625"/>
                <a:gd name="connsiteY4" fmla="*/ 34766 h 66675"/>
                <a:gd name="connsiteX5" fmla="*/ 43339 w 47625"/>
                <a:gd name="connsiteY5" fmla="*/ 34766 h 66675"/>
                <a:gd name="connsiteX6" fmla="*/ 28099 w 47625"/>
                <a:gd name="connsiteY6" fmla="*/ 16669 h 66675"/>
                <a:gd name="connsiteX7" fmla="*/ 25241 w 47625"/>
                <a:gd name="connsiteY7" fmla="*/ 7144 h 66675"/>
                <a:gd name="connsiteX8" fmla="*/ 22384 w 47625"/>
                <a:gd name="connsiteY8" fmla="*/ 16669 h 66675"/>
                <a:gd name="connsiteX9" fmla="*/ 7144 w 47625"/>
                <a:gd name="connsiteY9" fmla="*/ 34766 h 66675"/>
                <a:gd name="connsiteX10" fmla="*/ 7144 w 47625"/>
                <a:gd name="connsiteY10" fmla="*/ 34766 h 66675"/>
                <a:gd name="connsiteX11" fmla="*/ 7144 w 47625"/>
                <a:gd name="connsiteY11" fmla="*/ 34766 h 66675"/>
                <a:gd name="connsiteX12" fmla="*/ 22384 w 47625"/>
                <a:gd name="connsiteY12" fmla="*/ 5286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7625" h="66675">
                  <a:moveTo>
                    <a:pt x="22384" y="52864"/>
                  </a:moveTo>
                  <a:lnTo>
                    <a:pt x="25241" y="62389"/>
                  </a:lnTo>
                  <a:lnTo>
                    <a:pt x="28099" y="52864"/>
                  </a:lnTo>
                  <a:cubicBezTo>
                    <a:pt x="30004" y="45244"/>
                    <a:pt x="35719" y="38576"/>
                    <a:pt x="43339" y="34766"/>
                  </a:cubicBezTo>
                  <a:lnTo>
                    <a:pt x="43339" y="34766"/>
                  </a:lnTo>
                  <a:lnTo>
                    <a:pt x="43339" y="34766"/>
                  </a:lnTo>
                  <a:cubicBezTo>
                    <a:pt x="35719" y="30956"/>
                    <a:pt x="30956" y="24289"/>
                    <a:pt x="28099" y="16669"/>
                  </a:cubicBezTo>
                  <a:lnTo>
                    <a:pt x="25241" y="7144"/>
                  </a:lnTo>
                  <a:lnTo>
                    <a:pt x="22384" y="16669"/>
                  </a:lnTo>
                  <a:cubicBezTo>
                    <a:pt x="20479" y="24289"/>
                    <a:pt x="14764" y="30956"/>
                    <a:pt x="7144" y="34766"/>
                  </a:cubicBezTo>
                  <a:lnTo>
                    <a:pt x="7144" y="34766"/>
                  </a:lnTo>
                  <a:lnTo>
                    <a:pt x="7144" y="34766"/>
                  </a:lnTo>
                  <a:cubicBezTo>
                    <a:pt x="14764" y="38576"/>
                    <a:pt x="20479" y="45244"/>
                    <a:pt x="22384" y="5286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9" name="任意多边形: 形状 138">
              <a:extLst>
                <a:ext uri="{FF2B5EF4-FFF2-40B4-BE49-F238E27FC236}">
                  <a16:creationId xmlns:a16="http://schemas.microsoft.com/office/drawing/2014/main" id="{0FEB2EA7-C28F-4CB4-90A8-750E45EE6AC0}"/>
                </a:ext>
              </a:extLst>
            </p:cNvPr>
            <p:cNvSpPr/>
            <p:nvPr/>
          </p:nvSpPr>
          <p:spPr>
            <a:xfrm>
              <a:off x="7599521" y="3078956"/>
              <a:ext cx="38100" cy="57150"/>
            </a:xfrm>
            <a:custGeom>
              <a:avLst/>
              <a:gdLst>
                <a:gd name="connsiteX0" fmla="*/ 18574 w 38100"/>
                <a:gd name="connsiteY0" fmla="*/ 43339 h 57150"/>
                <a:gd name="connsiteX1" fmla="*/ 20479 w 38100"/>
                <a:gd name="connsiteY1" fmla="*/ 50959 h 57150"/>
                <a:gd name="connsiteX2" fmla="*/ 22384 w 38100"/>
                <a:gd name="connsiteY2" fmla="*/ 43339 h 57150"/>
                <a:gd name="connsiteX3" fmla="*/ 33814 w 38100"/>
                <a:gd name="connsiteY3" fmla="*/ 29051 h 57150"/>
                <a:gd name="connsiteX4" fmla="*/ 33814 w 38100"/>
                <a:gd name="connsiteY4" fmla="*/ 29051 h 57150"/>
                <a:gd name="connsiteX5" fmla="*/ 33814 w 38100"/>
                <a:gd name="connsiteY5" fmla="*/ 29051 h 57150"/>
                <a:gd name="connsiteX6" fmla="*/ 22384 w 38100"/>
                <a:gd name="connsiteY6" fmla="*/ 14764 h 57150"/>
                <a:gd name="connsiteX7" fmla="*/ 20479 w 38100"/>
                <a:gd name="connsiteY7" fmla="*/ 7144 h 57150"/>
                <a:gd name="connsiteX8" fmla="*/ 18574 w 38100"/>
                <a:gd name="connsiteY8" fmla="*/ 14764 h 57150"/>
                <a:gd name="connsiteX9" fmla="*/ 7144 w 38100"/>
                <a:gd name="connsiteY9" fmla="*/ 29051 h 57150"/>
                <a:gd name="connsiteX10" fmla="*/ 7144 w 38100"/>
                <a:gd name="connsiteY10" fmla="*/ 29051 h 57150"/>
                <a:gd name="connsiteX11" fmla="*/ 7144 w 38100"/>
                <a:gd name="connsiteY11" fmla="*/ 29051 h 57150"/>
                <a:gd name="connsiteX12" fmla="*/ 18574 w 38100"/>
                <a:gd name="connsiteY12" fmla="*/ 43339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100" h="57150">
                  <a:moveTo>
                    <a:pt x="18574" y="43339"/>
                  </a:moveTo>
                  <a:lnTo>
                    <a:pt x="20479" y="50959"/>
                  </a:lnTo>
                  <a:lnTo>
                    <a:pt x="22384" y="43339"/>
                  </a:lnTo>
                  <a:cubicBezTo>
                    <a:pt x="24289" y="37624"/>
                    <a:pt x="28099" y="31909"/>
                    <a:pt x="33814" y="29051"/>
                  </a:cubicBezTo>
                  <a:lnTo>
                    <a:pt x="33814" y="29051"/>
                  </a:lnTo>
                  <a:lnTo>
                    <a:pt x="33814" y="29051"/>
                  </a:lnTo>
                  <a:cubicBezTo>
                    <a:pt x="28099" y="26194"/>
                    <a:pt x="24289" y="20479"/>
                    <a:pt x="22384" y="14764"/>
                  </a:cubicBezTo>
                  <a:lnTo>
                    <a:pt x="20479" y="7144"/>
                  </a:lnTo>
                  <a:lnTo>
                    <a:pt x="18574" y="14764"/>
                  </a:lnTo>
                  <a:cubicBezTo>
                    <a:pt x="16669" y="20479"/>
                    <a:pt x="12859" y="26194"/>
                    <a:pt x="7144" y="29051"/>
                  </a:cubicBezTo>
                  <a:lnTo>
                    <a:pt x="7144" y="29051"/>
                  </a:lnTo>
                  <a:lnTo>
                    <a:pt x="7144" y="29051"/>
                  </a:lnTo>
                  <a:cubicBezTo>
                    <a:pt x="12859" y="32861"/>
                    <a:pt x="17621" y="37624"/>
                    <a:pt x="18574" y="4333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0" name="任意多边形: 形状 139">
              <a:extLst>
                <a:ext uri="{FF2B5EF4-FFF2-40B4-BE49-F238E27FC236}">
                  <a16:creationId xmlns:a16="http://schemas.microsoft.com/office/drawing/2014/main" id="{DA93C987-9FD8-4180-A88B-73E66E202B4C}"/>
                </a:ext>
              </a:extLst>
            </p:cNvPr>
            <p:cNvSpPr/>
            <p:nvPr/>
          </p:nvSpPr>
          <p:spPr>
            <a:xfrm>
              <a:off x="7250906" y="3366611"/>
              <a:ext cx="57150" cy="85725"/>
            </a:xfrm>
            <a:custGeom>
              <a:avLst/>
              <a:gdLst>
                <a:gd name="connsiteX0" fmla="*/ 33814 w 57150"/>
                <a:gd name="connsiteY0" fmla="*/ 67151 h 85725"/>
                <a:gd name="connsiteX1" fmla="*/ 30004 w 57150"/>
                <a:gd name="connsiteY1" fmla="*/ 79534 h 85725"/>
                <a:gd name="connsiteX2" fmla="*/ 26194 w 57150"/>
                <a:gd name="connsiteY2" fmla="*/ 67151 h 85725"/>
                <a:gd name="connsiteX3" fmla="*/ 7144 w 57150"/>
                <a:gd name="connsiteY3" fmla="*/ 43339 h 85725"/>
                <a:gd name="connsiteX4" fmla="*/ 7144 w 57150"/>
                <a:gd name="connsiteY4" fmla="*/ 43339 h 85725"/>
                <a:gd name="connsiteX5" fmla="*/ 7144 w 57150"/>
                <a:gd name="connsiteY5" fmla="*/ 43339 h 85725"/>
                <a:gd name="connsiteX6" fmla="*/ 26194 w 57150"/>
                <a:gd name="connsiteY6" fmla="*/ 19526 h 85725"/>
                <a:gd name="connsiteX7" fmla="*/ 30004 w 57150"/>
                <a:gd name="connsiteY7" fmla="*/ 7144 h 85725"/>
                <a:gd name="connsiteX8" fmla="*/ 33814 w 57150"/>
                <a:gd name="connsiteY8" fmla="*/ 19526 h 85725"/>
                <a:gd name="connsiteX9" fmla="*/ 52864 w 57150"/>
                <a:gd name="connsiteY9" fmla="*/ 43339 h 85725"/>
                <a:gd name="connsiteX10" fmla="*/ 52864 w 57150"/>
                <a:gd name="connsiteY10" fmla="*/ 43339 h 85725"/>
                <a:gd name="connsiteX11" fmla="*/ 52864 w 57150"/>
                <a:gd name="connsiteY11" fmla="*/ 43339 h 85725"/>
                <a:gd name="connsiteX12" fmla="*/ 33814 w 57150"/>
                <a:gd name="connsiteY12" fmla="*/ 67151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150" h="85725">
                  <a:moveTo>
                    <a:pt x="33814" y="67151"/>
                  </a:moveTo>
                  <a:lnTo>
                    <a:pt x="30004" y="79534"/>
                  </a:lnTo>
                  <a:lnTo>
                    <a:pt x="26194" y="67151"/>
                  </a:lnTo>
                  <a:cubicBezTo>
                    <a:pt x="23336" y="56674"/>
                    <a:pt x="16669" y="48101"/>
                    <a:pt x="7144" y="43339"/>
                  </a:cubicBezTo>
                  <a:lnTo>
                    <a:pt x="7144" y="43339"/>
                  </a:lnTo>
                  <a:lnTo>
                    <a:pt x="7144" y="43339"/>
                  </a:lnTo>
                  <a:cubicBezTo>
                    <a:pt x="16669" y="38576"/>
                    <a:pt x="23336" y="30004"/>
                    <a:pt x="26194" y="19526"/>
                  </a:cubicBezTo>
                  <a:lnTo>
                    <a:pt x="30004" y="7144"/>
                  </a:lnTo>
                  <a:lnTo>
                    <a:pt x="33814" y="19526"/>
                  </a:lnTo>
                  <a:cubicBezTo>
                    <a:pt x="36671" y="30004"/>
                    <a:pt x="43339" y="38576"/>
                    <a:pt x="52864" y="43339"/>
                  </a:cubicBezTo>
                  <a:lnTo>
                    <a:pt x="52864" y="43339"/>
                  </a:lnTo>
                  <a:lnTo>
                    <a:pt x="52864" y="43339"/>
                  </a:lnTo>
                  <a:cubicBezTo>
                    <a:pt x="44291" y="48101"/>
                    <a:pt x="36671" y="56674"/>
                    <a:pt x="33814" y="6715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1" name="任意多边形: 形状 140">
              <a:extLst>
                <a:ext uri="{FF2B5EF4-FFF2-40B4-BE49-F238E27FC236}">
                  <a16:creationId xmlns:a16="http://schemas.microsoft.com/office/drawing/2014/main" id="{FD275FB5-F4FF-47C2-BAB3-A3A4FA43D571}"/>
                </a:ext>
              </a:extLst>
            </p:cNvPr>
            <p:cNvSpPr/>
            <p:nvPr/>
          </p:nvSpPr>
          <p:spPr>
            <a:xfrm>
              <a:off x="7289959" y="3429476"/>
              <a:ext cx="47625" cy="66675"/>
            </a:xfrm>
            <a:custGeom>
              <a:avLst/>
              <a:gdLst>
                <a:gd name="connsiteX0" fmla="*/ 27146 w 47625"/>
                <a:gd name="connsiteY0" fmla="*/ 52864 h 66675"/>
                <a:gd name="connsiteX1" fmla="*/ 24289 w 47625"/>
                <a:gd name="connsiteY1" fmla="*/ 62389 h 66675"/>
                <a:gd name="connsiteX2" fmla="*/ 21431 w 47625"/>
                <a:gd name="connsiteY2" fmla="*/ 52864 h 66675"/>
                <a:gd name="connsiteX3" fmla="*/ 7144 w 47625"/>
                <a:gd name="connsiteY3" fmla="*/ 34766 h 66675"/>
                <a:gd name="connsiteX4" fmla="*/ 7144 w 47625"/>
                <a:gd name="connsiteY4" fmla="*/ 34766 h 66675"/>
                <a:gd name="connsiteX5" fmla="*/ 7144 w 47625"/>
                <a:gd name="connsiteY5" fmla="*/ 34766 h 66675"/>
                <a:gd name="connsiteX6" fmla="*/ 21431 w 47625"/>
                <a:gd name="connsiteY6" fmla="*/ 16669 h 66675"/>
                <a:gd name="connsiteX7" fmla="*/ 24289 w 47625"/>
                <a:gd name="connsiteY7" fmla="*/ 7144 h 66675"/>
                <a:gd name="connsiteX8" fmla="*/ 27146 w 47625"/>
                <a:gd name="connsiteY8" fmla="*/ 16669 h 66675"/>
                <a:gd name="connsiteX9" fmla="*/ 41434 w 47625"/>
                <a:gd name="connsiteY9" fmla="*/ 34766 h 66675"/>
                <a:gd name="connsiteX10" fmla="*/ 41434 w 47625"/>
                <a:gd name="connsiteY10" fmla="*/ 34766 h 66675"/>
                <a:gd name="connsiteX11" fmla="*/ 41434 w 47625"/>
                <a:gd name="connsiteY11" fmla="*/ 34766 h 66675"/>
                <a:gd name="connsiteX12" fmla="*/ 27146 w 47625"/>
                <a:gd name="connsiteY12" fmla="*/ 5286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7625" h="66675">
                  <a:moveTo>
                    <a:pt x="27146" y="52864"/>
                  </a:moveTo>
                  <a:lnTo>
                    <a:pt x="24289" y="62389"/>
                  </a:lnTo>
                  <a:lnTo>
                    <a:pt x="21431" y="52864"/>
                  </a:lnTo>
                  <a:cubicBezTo>
                    <a:pt x="19526" y="45244"/>
                    <a:pt x="13811" y="38576"/>
                    <a:pt x="7144" y="34766"/>
                  </a:cubicBezTo>
                  <a:lnTo>
                    <a:pt x="7144" y="34766"/>
                  </a:lnTo>
                  <a:lnTo>
                    <a:pt x="7144" y="34766"/>
                  </a:lnTo>
                  <a:cubicBezTo>
                    <a:pt x="14764" y="30956"/>
                    <a:pt x="19526" y="24289"/>
                    <a:pt x="21431" y="16669"/>
                  </a:cubicBezTo>
                  <a:lnTo>
                    <a:pt x="24289" y="7144"/>
                  </a:lnTo>
                  <a:lnTo>
                    <a:pt x="27146" y="16669"/>
                  </a:lnTo>
                  <a:cubicBezTo>
                    <a:pt x="29051" y="24289"/>
                    <a:pt x="34766" y="30956"/>
                    <a:pt x="41434" y="34766"/>
                  </a:cubicBezTo>
                  <a:lnTo>
                    <a:pt x="41434" y="34766"/>
                  </a:lnTo>
                  <a:lnTo>
                    <a:pt x="41434" y="34766"/>
                  </a:lnTo>
                  <a:cubicBezTo>
                    <a:pt x="34766" y="38576"/>
                    <a:pt x="29051" y="45244"/>
                    <a:pt x="27146" y="5286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2" name="任意多边形: 形状 141">
              <a:extLst>
                <a:ext uri="{FF2B5EF4-FFF2-40B4-BE49-F238E27FC236}">
                  <a16:creationId xmlns:a16="http://schemas.microsoft.com/office/drawing/2014/main" id="{6D48A059-B0EA-46F3-A43F-30BC1BBDFFBF}"/>
                </a:ext>
              </a:extLst>
            </p:cNvPr>
            <p:cNvSpPr/>
            <p:nvPr/>
          </p:nvSpPr>
          <p:spPr>
            <a:xfrm>
              <a:off x="5974556" y="3282791"/>
              <a:ext cx="47625" cy="66675"/>
            </a:xfrm>
            <a:custGeom>
              <a:avLst/>
              <a:gdLst>
                <a:gd name="connsiteX0" fmla="*/ 28099 w 47625"/>
                <a:gd name="connsiteY0" fmla="*/ 52864 h 66675"/>
                <a:gd name="connsiteX1" fmla="*/ 25241 w 47625"/>
                <a:gd name="connsiteY1" fmla="*/ 62389 h 66675"/>
                <a:gd name="connsiteX2" fmla="*/ 22384 w 47625"/>
                <a:gd name="connsiteY2" fmla="*/ 52864 h 66675"/>
                <a:gd name="connsiteX3" fmla="*/ 7144 w 47625"/>
                <a:gd name="connsiteY3" fmla="*/ 34766 h 66675"/>
                <a:gd name="connsiteX4" fmla="*/ 7144 w 47625"/>
                <a:gd name="connsiteY4" fmla="*/ 34766 h 66675"/>
                <a:gd name="connsiteX5" fmla="*/ 7144 w 47625"/>
                <a:gd name="connsiteY5" fmla="*/ 34766 h 66675"/>
                <a:gd name="connsiteX6" fmla="*/ 22384 w 47625"/>
                <a:gd name="connsiteY6" fmla="*/ 16669 h 66675"/>
                <a:gd name="connsiteX7" fmla="*/ 25241 w 47625"/>
                <a:gd name="connsiteY7" fmla="*/ 7144 h 66675"/>
                <a:gd name="connsiteX8" fmla="*/ 28099 w 47625"/>
                <a:gd name="connsiteY8" fmla="*/ 16669 h 66675"/>
                <a:gd name="connsiteX9" fmla="*/ 43339 w 47625"/>
                <a:gd name="connsiteY9" fmla="*/ 34766 h 66675"/>
                <a:gd name="connsiteX10" fmla="*/ 43339 w 47625"/>
                <a:gd name="connsiteY10" fmla="*/ 34766 h 66675"/>
                <a:gd name="connsiteX11" fmla="*/ 43339 w 47625"/>
                <a:gd name="connsiteY11" fmla="*/ 34766 h 66675"/>
                <a:gd name="connsiteX12" fmla="*/ 28099 w 47625"/>
                <a:gd name="connsiteY12" fmla="*/ 5286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7625" h="66675">
                  <a:moveTo>
                    <a:pt x="28099" y="52864"/>
                  </a:moveTo>
                  <a:lnTo>
                    <a:pt x="25241" y="62389"/>
                  </a:lnTo>
                  <a:lnTo>
                    <a:pt x="22384" y="52864"/>
                  </a:lnTo>
                  <a:cubicBezTo>
                    <a:pt x="20479" y="45244"/>
                    <a:pt x="14764" y="38576"/>
                    <a:pt x="7144" y="34766"/>
                  </a:cubicBezTo>
                  <a:lnTo>
                    <a:pt x="7144" y="34766"/>
                  </a:lnTo>
                  <a:lnTo>
                    <a:pt x="7144" y="34766"/>
                  </a:lnTo>
                  <a:cubicBezTo>
                    <a:pt x="14764" y="30956"/>
                    <a:pt x="19526" y="24289"/>
                    <a:pt x="22384" y="16669"/>
                  </a:cubicBezTo>
                  <a:lnTo>
                    <a:pt x="25241" y="7144"/>
                  </a:lnTo>
                  <a:lnTo>
                    <a:pt x="28099" y="16669"/>
                  </a:lnTo>
                  <a:cubicBezTo>
                    <a:pt x="30004" y="24289"/>
                    <a:pt x="35719" y="30956"/>
                    <a:pt x="43339" y="34766"/>
                  </a:cubicBezTo>
                  <a:lnTo>
                    <a:pt x="43339" y="34766"/>
                  </a:lnTo>
                  <a:lnTo>
                    <a:pt x="43339" y="34766"/>
                  </a:lnTo>
                  <a:cubicBezTo>
                    <a:pt x="35719" y="38576"/>
                    <a:pt x="30004" y="45244"/>
                    <a:pt x="28099" y="52864"/>
                  </a:cubicBezTo>
                  <a:close/>
                </a:path>
              </a:pathLst>
            </a:custGeom>
            <a:solidFill>
              <a:srgbClr val="D5498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3" name="任意多边形: 形状 142">
              <a:extLst>
                <a:ext uri="{FF2B5EF4-FFF2-40B4-BE49-F238E27FC236}">
                  <a16:creationId xmlns:a16="http://schemas.microsoft.com/office/drawing/2014/main" id="{4B7DED78-5A8A-401A-8D93-4EC236F9ADCF}"/>
                </a:ext>
              </a:extLst>
            </p:cNvPr>
            <p:cNvSpPr/>
            <p:nvPr/>
          </p:nvSpPr>
          <p:spPr>
            <a:xfrm>
              <a:off x="6004084" y="3330416"/>
              <a:ext cx="38100" cy="57150"/>
            </a:xfrm>
            <a:custGeom>
              <a:avLst/>
              <a:gdLst>
                <a:gd name="connsiteX0" fmla="*/ 22384 w 38100"/>
                <a:gd name="connsiteY0" fmla="*/ 43339 h 57150"/>
                <a:gd name="connsiteX1" fmla="*/ 20479 w 38100"/>
                <a:gd name="connsiteY1" fmla="*/ 50959 h 57150"/>
                <a:gd name="connsiteX2" fmla="*/ 18574 w 38100"/>
                <a:gd name="connsiteY2" fmla="*/ 43339 h 57150"/>
                <a:gd name="connsiteX3" fmla="*/ 7144 w 38100"/>
                <a:gd name="connsiteY3" fmla="*/ 29051 h 57150"/>
                <a:gd name="connsiteX4" fmla="*/ 7144 w 38100"/>
                <a:gd name="connsiteY4" fmla="*/ 29051 h 57150"/>
                <a:gd name="connsiteX5" fmla="*/ 7144 w 38100"/>
                <a:gd name="connsiteY5" fmla="*/ 29051 h 57150"/>
                <a:gd name="connsiteX6" fmla="*/ 18574 w 38100"/>
                <a:gd name="connsiteY6" fmla="*/ 14764 h 57150"/>
                <a:gd name="connsiteX7" fmla="*/ 20479 w 38100"/>
                <a:gd name="connsiteY7" fmla="*/ 7144 h 57150"/>
                <a:gd name="connsiteX8" fmla="*/ 22384 w 38100"/>
                <a:gd name="connsiteY8" fmla="*/ 14764 h 57150"/>
                <a:gd name="connsiteX9" fmla="*/ 33814 w 38100"/>
                <a:gd name="connsiteY9" fmla="*/ 29051 h 57150"/>
                <a:gd name="connsiteX10" fmla="*/ 33814 w 38100"/>
                <a:gd name="connsiteY10" fmla="*/ 29051 h 57150"/>
                <a:gd name="connsiteX11" fmla="*/ 33814 w 38100"/>
                <a:gd name="connsiteY11" fmla="*/ 29051 h 57150"/>
                <a:gd name="connsiteX12" fmla="*/ 22384 w 38100"/>
                <a:gd name="connsiteY12" fmla="*/ 43339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100" h="57150">
                  <a:moveTo>
                    <a:pt x="22384" y="43339"/>
                  </a:moveTo>
                  <a:lnTo>
                    <a:pt x="20479" y="50959"/>
                  </a:lnTo>
                  <a:lnTo>
                    <a:pt x="18574" y="43339"/>
                  </a:lnTo>
                  <a:cubicBezTo>
                    <a:pt x="16669" y="37624"/>
                    <a:pt x="12859" y="31909"/>
                    <a:pt x="7144" y="29051"/>
                  </a:cubicBezTo>
                  <a:lnTo>
                    <a:pt x="7144" y="29051"/>
                  </a:lnTo>
                  <a:lnTo>
                    <a:pt x="7144" y="29051"/>
                  </a:lnTo>
                  <a:cubicBezTo>
                    <a:pt x="12859" y="26194"/>
                    <a:pt x="16669" y="20479"/>
                    <a:pt x="18574" y="14764"/>
                  </a:cubicBezTo>
                  <a:lnTo>
                    <a:pt x="20479" y="7144"/>
                  </a:lnTo>
                  <a:lnTo>
                    <a:pt x="22384" y="14764"/>
                  </a:lnTo>
                  <a:cubicBezTo>
                    <a:pt x="24289" y="20479"/>
                    <a:pt x="28099" y="26194"/>
                    <a:pt x="33814" y="29051"/>
                  </a:cubicBezTo>
                  <a:lnTo>
                    <a:pt x="33814" y="29051"/>
                  </a:lnTo>
                  <a:lnTo>
                    <a:pt x="33814" y="29051"/>
                  </a:lnTo>
                  <a:cubicBezTo>
                    <a:pt x="29051" y="31909"/>
                    <a:pt x="24289" y="37624"/>
                    <a:pt x="22384" y="43339"/>
                  </a:cubicBezTo>
                  <a:close/>
                </a:path>
              </a:pathLst>
            </a:custGeom>
            <a:solidFill>
              <a:srgbClr val="D5498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1505611" y="1632087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1506727" y="2527437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accent2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6/25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6/25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>
            <a:extLst>
              <a:ext uri="{FF2B5EF4-FFF2-40B4-BE49-F238E27FC236}">
                <a16:creationId xmlns:a16="http://schemas.microsoft.com/office/drawing/2014/main" id="{7B9CEC4C-BD1F-4412-A9F9-272CB0A896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561" y="6298257"/>
            <a:ext cx="1521446" cy="548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7" name="图形 7">
            <a:extLst>
              <a:ext uri="{FF2B5EF4-FFF2-40B4-BE49-F238E27FC236}">
                <a16:creationId xmlns:a16="http://schemas.microsoft.com/office/drawing/2014/main" id="{D00F7592-9674-4E80-B7B9-77805C042259}"/>
              </a:ext>
            </a:extLst>
          </p:cNvPr>
          <p:cNvGrpSpPr/>
          <p:nvPr userDrawn="1"/>
        </p:nvGrpSpPr>
        <p:grpSpPr>
          <a:xfrm>
            <a:off x="-14514" y="-31228"/>
            <a:ext cx="12206514" cy="6908212"/>
            <a:chOff x="3707607" y="1040606"/>
            <a:chExt cx="4772026" cy="4772026"/>
          </a:xfrm>
        </p:grpSpPr>
        <p:sp>
          <p:nvSpPr>
            <p:cNvPr id="148" name="任意多边形: 形状 147">
              <a:extLst>
                <a:ext uri="{FF2B5EF4-FFF2-40B4-BE49-F238E27FC236}">
                  <a16:creationId xmlns:a16="http://schemas.microsoft.com/office/drawing/2014/main" id="{E3B654DE-AB3E-4CCD-89E3-E44CF2E5B4D6}"/>
                </a:ext>
              </a:extLst>
            </p:cNvPr>
            <p:cNvSpPr/>
            <p:nvPr/>
          </p:nvSpPr>
          <p:spPr>
            <a:xfrm>
              <a:off x="3707607" y="1040606"/>
              <a:ext cx="4772026" cy="4772026"/>
            </a:xfrm>
            <a:custGeom>
              <a:avLst/>
              <a:gdLst>
                <a:gd name="connsiteX0" fmla="*/ 7144 w 4772025"/>
                <a:gd name="connsiteY0" fmla="*/ 7144 h 4772025"/>
                <a:gd name="connsiteX1" fmla="*/ 4769644 w 4772025"/>
                <a:gd name="connsiteY1" fmla="*/ 7144 h 4772025"/>
                <a:gd name="connsiteX2" fmla="*/ 4769644 w 4772025"/>
                <a:gd name="connsiteY2" fmla="*/ 4769644 h 4772025"/>
                <a:gd name="connsiteX3" fmla="*/ 7144 w 4772025"/>
                <a:gd name="connsiteY3" fmla="*/ 4769644 h 4772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72025" h="4772025">
                  <a:moveTo>
                    <a:pt x="7144" y="7144"/>
                  </a:moveTo>
                  <a:lnTo>
                    <a:pt x="4769644" y="7144"/>
                  </a:lnTo>
                  <a:lnTo>
                    <a:pt x="4769644" y="4769644"/>
                  </a:lnTo>
                  <a:lnTo>
                    <a:pt x="7144" y="4769644"/>
                  </a:lnTo>
                  <a:close/>
                </a:path>
              </a:pathLst>
            </a:custGeom>
            <a:solidFill>
              <a:srgbClr val="3E03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9" name="任意多边形: 形状 148">
              <a:extLst>
                <a:ext uri="{FF2B5EF4-FFF2-40B4-BE49-F238E27FC236}">
                  <a16:creationId xmlns:a16="http://schemas.microsoft.com/office/drawing/2014/main" id="{6CE266E1-B1AC-4CC4-A453-E3E3CDE9E503}"/>
                </a:ext>
              </a:extLst>
            </p:cNvPr>
            <p:cNvSpPr/>
            <p:nvPr/>
          </p:nvSpPr>
          <p:spPr>
            <a:xfrm>
              <a:off x="3707607" y="1040606"/>
              <a:ext cx="4562476" cy="4772026"/>
            </a:xfrm>
            <a:custGeom>
              <a:avLst/>
              <a:gdLst>
                <a:gd name="connsiteX0" fmla="*/ 7144 w 4562475"/>
                <a:gd name="connsiteY0" fmla="*/ 4769644 h 4772025"/>
                <a:gd name="connsiteX1" fmla="*/ 7144 w 4562475"/>
                <a:gd name="connsiteY1" fmla="*/ 7144 h 4772025"/>
                <a:gd name="connsiteX2" fmla="*/ 4558189 w 4562475"/>
                <a:gd name="connsiteY2" fmla="*/ 7144 h 4772025"/>
                <a:gd name="connsiteX3" fmla="*/ 4442937 w 4562475"/>
                <a:gd name="connsiteY3" fmla="*/ 383381 h 4772025"/>
                <a:gd name="connsiteX4" fmla="*/ 3372326 w 4562475"/>
                <a:gd name="connsiteY4" fmla="*/ 1448276 h 4772025"/>
                <a:gd name="connsiteX5" fmla="*/ 2239804 w 4562475"/>
                <a:gd name="connsiteY5" fmla="*/ 2457926 h 4772025"/>
                <a:gd name="connsiteX6" fmla="*/ 2011204 w 4562475"/>
                <a:gd name="connsiteY6" fmla="*/ 3777139 h 4772025"/>
                <a:gd name="connsiteX7" fmla="*/ 2411254 w 4562475"/>
                <a:gd name="connsiteY7" fmla="*/ 4729639 h 4772025"/>
                <a:gd name="connsiteX8" fmla="*/ 2447449 w 4562475"/>
                <a:gd name="connsiteY8" fmla="*/ 4769644 h 4772025"/>
                <a:gd name="connsiteX9" fmla="*/ 7144 w 4562475"/>
                <a:gd name="connsiteY9" fmla="*/ 4769644 h 4772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562475" h="4772025">
                  <a:moveTo>
                    <a:pt x="7144" y="4769644"/>
                  </a:moveTo>
                  <a:lnTo>
                    <a:pt x="7144" y="7144"/>
                  </a:lnTo>
                  <a:lnTo>
                    <a:pt x="4558189" y="7144"/>
                  </a:lnTo>
                  <a:cubicBezTo>
                    <a:pt x="4535329" y="136684"/>
                    <a:pt x="4498181" y="263366"/>
                    <a:pt x="4442937" y="383381"/>
                  </a:cubicBezTo>
                  <a:cubicBezTo>
                    <a:pt x="4231481" y="847249"/>
                    <a:pt x="3796189" y="1164431"/>
                    <a:pt x="3372326" y="1448276"/>
                  </a:cubicBezTo>
                  <a:cubicBezTo>
                    <a:pt x="2948464" y="1732121"/>
                    <a:pt x="2500789" y="2019776"/>
                    <a:pt x="2239804" y="2457926"/>
                  </a:cubicBezTo>
                  <a:cubicBezTo>
                    <a:pt x="2006441" y="2848451"/>
                    <a:pt x="1947386" y="3326606"/>
                    <a:pt x="2011204" y="3777139"/>
                  </a:cubicBezTo>
                  <a:cubicBezTo>
                    <a:pt x="2059781" y="4122896"/>
                    <a:pt x="2182654" y="4465797"/>
                    <a:pt x="2411254" y="4729639"/>
                  </a:cubicBezTo>
                  <a:cubicBezTo>
                    <a:pt x="2422684" y="4742974"/>
                    <a:pt x="2435066" y="4756309"/>
                    <a:pt x="2447449" y="4769644"/>
                  </a:cubicBezTo>
                  <a:lnTo>
                    <a:pt x="7144" y="4769644"/>
                  </a:lnTo>
                  <a:close/>
                </a:path>
              </a:pathLst>
            </a:custGeom>
            <a:solidFill>
              <a:srgbClr val="5202B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0" name="任意多边形: 形状 149">
              <a:extLst>
                <a:ext uri="{FF2B5EF4-FFF2-40B4-BE49-F238E27FC236}">
                  <a16:creationId xmlns:a16="http://schemas.microsoft.com/office/drawing/2014/main" id="{D11D3227-3A6E-4686-8B7D-4FBF2EFE5D75}"/>
                </a:ext>
              </a:extLst>
            </p:cNvPr>
            <p:cNvSpPr/>
            <p:nvPr/>
          </p:nvSpPr>
          <p:spPr>
            <a:xfrm>
              <a:off x="3707607" y="1040606"/>
              <a:ext cx="2409825" cy="1133476"/>
            </a:xfrm>
            <a:custGeom>
              <a:avLst/>
              <a:gdLst>
                <a:gd name="connsiteX0" fmla="*/ 7144 w 2409825"/>
                <a:gd name="connsiteY0" fmla="*/ 1127284 h 1133475"/>
                <a:gd name="connsiteX1" fmla="*/ 7144 w 2409825"/>
                <a:gd name="connsiteY1" fmla="*/ 7144 h 1133475"/>
                <a:gd name="connsiteX2" fmla="*/ 2410301 w 2409825"/>
                <a:gd name="connsiteY2" fmla="*/ 7144 h 1133475"/>
                <a:gd name="connsiteX3" fmla="*/ 1560671 w 2409825"/>
                <a:gd name="connsiteY3" fmla="*/ 809149 h 1133475"/>
                <a:gd name="connsiteX4" fmla="*/ 74771 w 2409825"/>
                <a:gd name="connsiteY4" fmla="*/ 1126331 h 1133475"/>
                <a:gd name="connsiteX5" fmla="*/ 7144 w 2409825"/>
                <a:gd name="connsiteY5" fmla="*/ 1127284 h 1133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09825" h="1133475">
                  <a:moveTo>
                    <a:pt x="7144" y="1127284"/>
                  </a:moveTo>
                  <a:lnTo>
                    <a:pt x="7144" y="7144"/>
                  </a:lnTo>
                  <a:lnTo>
                    <a:pt x="2410301" y="7144"/>
                  </a:lnTo>
                  <a:cubicBezTo>
                    <a:pt x="2225516" y="352901"/>
                    <a:pt x="1913096" y="631031"/>
                    <a:pt x="1560671" y="809149"/>
                  </a:cubicBezTo>
                  <a:cubicBezTo>
                    <a:pt x="1104424" y="1039654"/>
                    <a:pt x="585311" y="1116806"/>
                    <a:pt x="74771" y="1126331"/>
                  </a:cubicBezTo>
                  <a:cubicBezTo>
                    <a:pt x="51911" y="1127284"/>
                    <a:pt x="30004" y="1127284"/>
                    <a:pt x="7144" y="1127284"/>
                  </a:cubicBezTo>
                  <a:close/>
                </a:path>
              </a:pathLst>
            </a:custGeom>
            <a:solidFill>
              <a:srgbClr val="3E03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1" name="任意多边形: 形状 150">
              <a:extLst>
                <a:ext uri="{FF2B5EF4-FFF2-40B4-BE49-F238E27FC236}">
                  <a16:creationId xmlns:a16="http://schemas.microsoft.com/office/drawing/2014/main" id="{22D0D4DC-0FA2-4597-B9D1-326813647601}"/>
                </a:ext>
              </a:extLst>
            </p:cNvPr>
            <p:cNvSpPr/>
            <p:nvPr/>
          </p:nvSpPr>
          <p:spPr>
            <a:xfrm>
              <a:off x="4041999" y="3991553"/>
              <a:ext cx="703694" cy="1243397"/>
            </a:xfrm>
            <a:custGeom>
              <a:avLst/>
              <a:gdLst>
                <a:gd name="connsiteX0" fmla="*/ 7144 w 1095375"/>
                <a:gd name="connsiteY0" fmla="*/ 550069 h 1095375"/>
                <a:gd name="connsiteX1" fmla="*/ 550069 w 1095375"/>
                <a:gd name="connsiteY1" fmla="*/ 7144 h 1095375"/>
                <a:gd name="connsiteX2" fmla="*/ 1092994 w 1095375"/>
                <a:gd name="connsiteY2" fmla="*/ 550069 h 1095375"/>
                <a:gd name="connsiteX3" fmla="*/ 550069 w 1095375"/>
                <a:gd name="connsiteY3" fmla="*/ 1092994 h 1095375"/>
                <a:gd name="connsiteX4" fmla="*/ 7144 w 1095375"/>
                <a:gd name="connsiteY4" fmla="*/ 550069 h 1095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5375" h="1095375">
                  <a:moveTo>
                    <a:pt x="7144" y="550069"/>
                  </a:moveTo>
                  <a:cubicBezTo>
                    <a:pt x="7144" y="250031"/>
                    <a:pt x="250031" y="7144"/>
                    <a:pt x="550069" y="7144"/>
                  </a:cubicBezTo>
                  <a:cubicBezTo>
                    <a:pt x="850106" y="7144"/>
                    <a:pt x="1092994" y="250031"/>
                    <a:pt x="1092994" y="550069"/>
                  </a:cubicBezTo>
                  <a:cubicBezTo>
                    <a:pt x="1092994" y="850106"/>
                    <a:pt x="850106" y="1092994"/>
                    <a:pt x="550069" y="1092994"/>
                  </a:cubicBezTo>
                  <a:cubicBezTo>
                    <a:pt x="250984" y="1092994"/>
                    <a:pt x="7144" y="850106"/>
                    <a:pt x="7144" y="550069"/>
                  </a:cubicBezTo>
                  <a:close/>
                </a:path>
              </a:pathLst>
            </a:custGeom>
            <a:solidFill>
              <a:srgbClr val="3E03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2" name="任意多边形: 形状 151">
              <a:extLst>
                <a:ext uri="{FF2B5EF4-FFF2-40B4-BE49-F238E27FC236}">
                  <a16:creationId xmlns:a16="http://schemas.microsoft.com/office/drawing/2014/main" id="{1569675B-94A6-4E5A-90F1-EEDE408B64E1}"/>
                </a:ext>
              </a:extLst>
            </p:cNvPr>
            <p:cNvSpPr/>
            <p:nvPr/>
          </p:nvSpPr>
          <p:spPr>
            <a:xfrm>
              <a:off x="7959318" y="4897916"/>
              <a:ext cx="492993" cy="871097"/>
            </a:xfrm>
            <a:custGeom>
              <a:avLst/>
              <a:gdLst>
                <a:gd name="connsiteX0" fmla="*/ 788194 w 790575"/>
                <a:gd name="connsiteY0" fmla="*/ 397669 h 790575"/>
                <a:gd name="connsiteX1" fmla="*/ 397669 w 790575"/>
                <a:gd name="connsiteY1" fmla="*/ 788194 h 790575"/>
                <a:gd name="connsiteX2" fmla="*/ 7144 w 790575"/>
                <a:gd name="connsiteY2" fmla="*/ 397669 h 790575"/>
                <a:gd name="connsiteX3" fmla="*/ 397669 w 790575"/>
                <a:gd name="connsiteY3" fmla="*/ 7144 h 790575"/>
                <a:gd name="connsiteX4" fmla="*/ 788194 w 790575"/>
                <a:gd name="connsiteY4" fmla="*/ 397669 h 790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0575" h="790575">
                  <a:moveTo>
                    <a:pt x="788194" y="397669"/>
                  </a:moveTo>
                  <a:cubicBezTo>
                    <a:pt x="788194" y="613350"/>
                    <a:pt x="613350" y="788194"/>
                    <a:pt x="397669" y="788194"/>
                  </a:cubicBezTo>
                  <a:cubicBezTo>
                    <a:pt x="181988" y="788194"/>
                    <a:pt x="7144" y="613350"/>
                    <a:pt x="7144" y="397669"/>
                  </a:cubicBezTo>
                  <a:cubicBezTo>
                    <a:pt x="7144" y="181988"/>
                    <a:pt x="181988" y="7144"/>
                    <a:pt x="397669" y="7144"/>
                  </a:cubicBezTo>
                  <a:cubicBezTo>
                    <a:pt x="613350" y="7144"/>
                    <a:pt x="788194" y="181988"/>
                    <a:pt x="788194" y="397669"/>
                  </a:cubicBezTo>
                  <a:close/>
                </a:path>
              </a:pathLst>
            </a:custGeom>
            <a:solidFill>
              <a:srgbClr val="5202B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153" name="矩形: 圆角 152">
            <a:extLst>
              <a:ext uri="{FF2B5EF4-FFF2-40B4-BE49-F238E27FC236}">
                <a16:creationId xmlns:a16="http://schemas.microsoft.com/office/drawing/2014/main" id="{DE419927-473B-4E44-B639-3BF92B91E0E7}"/>
              </a:ext>
            </a:extLst>
          </p:cNvPr>
          <p:cNvSpPr/>
          <p:nvPr userDrawn="1"/>
        </p:nvSpPr>
        <p:spPr>
          <a:xfrm>
            <a:off x="1" y="3337381"/>
            <a:ext cx="12192000" cy="355995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54" name="图形 7">
            <a:extLst>
              <a:ext uri="{FF2B5EF4-FFF2-40B4-BE49-F238E27FC236}">
                <a16:creationId xmlns:a16="http://schemas.microsoft.com/office/drawing/2014/main" id="{51F4D43A-5CC1-43D8-AC4B-A44B7374F0F2}"/>
              </a:ext>
            </a:extLst>
          </p:cNvPr>
          <p:cNvGrpSpPr/>
          <p:nvPr userDrawn="1"/>
        </p:nvGrpSpPr>
        <p:grpSpPr>
          <a:xfrm>
            <a:off x="3135080" y="946131"/>
            <a:ext cx="8038537" cy="4308538"/>
            <a:chOff x="4299697" y="2486501"/>
            <a:chExt cx="3422697" cy="1834515"/>
          </a:xfrm>
        </p:grpSpPr>
        <p:sp>
          <p:nvSpPr>
            <p:cNvPr id="155" name="任意多边形: 形状 154">
              <a:extLst>
                <a:ext uri="{FF2B5EF4-FFF2-40B4-BE49-F238E27FC236}">
                  <a16:creationId xmlns:a16="http://schemas.microsoft.com/office/drawing/2014/main" id="{DA8310C1-10F1-4C38-ACAD-6BC1A0B739D4}"/>
                </a:ext>
              </a:extLst>
            </p:cNvPr>
            <p:cNvSpPr/>
            <p:nvPr/>
          </p:nvSpPr>
          <p:spPr>
            <a:xfrm>
              <a:off x="5492591" y="4048601"/>
              <a:ext cx="1343025" cy="47625"/>
            </a:xfrm>
            <a:custGeom>
              <a:avLst/>
              <a:gdLst>
                <a:gd name="connsiteX0" fmla="*/ 1340644 w 1343025"/>
                <a:gd name="connsiteY0" fmla="*/ 28099 h 47625"/>
                <a:gd name="connsiteX1" fmla="*/ 673894 w 1343025"/>
                <a:gd name="connsiteY1" fmla="*/ 49054 h 47625"/>
                <a:gd name="connsiteX2" fmla="*/ 7144 w 1343025"/>
                <a:gd name="connsiteY2" fmla="*/ 28099 h 47625"/>
                <a:gd name="connsiteX3" fmla="*/ 673894 w 1343025"/>
                <a:gd name="connsiteY3" fmla="*/ 7144 h 47625"/>
                <a:gd name="connsiteX4" fmla="*/ 1340644 w 1343025"/>
                <a:gd name="connsiteY4" fmla="*/ 28099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43025" h="47625">
                  <a:moveTo>
                    <a:pt x="1340644" y="28099"/>
                  </a:moveTo>
                  <a:cubicBezTo>
                    <a:pt x="1340644" y="28099"/>
                    <a:pt x="1042511" y="49054"/>
                    <a:pt x="673894" y="49054"/>
                  </a:cubicBezTo>
                  <a:cubicBezTo>
                    <a:pt x="305276" y="49054"/>
                    <a:pt x="7144" y="28099"/>
                    <a:pt x="7144" y="28099"/>
                  </a:cubicBezTo>
                  <a:cubicBezTo>
                    <a:pt x="7144" y="28099"/>
                    <a:pt x="305276" y="7144"/>
                    <a:pt x="673894" y="7144"/>
                  </a:cubicBezTo>
                  <a:cubicBezTo>
                    <a:pt x="1042511" y="7144"/>
                    <a:pt x="1340644" y="28099"/>
                    <a:pt x="1340644" y="28099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6" name="任意多边形: 形状 155">
              <a:extLst>
                <a:ext uri="{FF2B5EF4-FFF2-40B4-BE49-F238E27FC236}">
                  <a16:creationId xmlns:a16="http://schemas.microsoft.com/office/drawing/2014/main" id="{BBC4213B-20FC-4C7C-AD6D-75B1D35ACCEC}"/>
                </a:ext>
              </a:extLst>
            </p:cNvPr>
            <p:cNvSpPr/>
            <p:nvPr/>
          </p:nvSpPr>
          <p:spPr>
            <a:xfrm>
              <a:off x="6487001" y="2746533"/>
              <a:ext cx="885825" cy="552450"/>
            </a:xfrm>
            <a:custGeom>
              <a:avLst/>
              <a:gdLst>
                <a:gd name="connsiteX0" fmla="*/ 7144 w 885825"/>
                <a:gd name="connsiteY0" fmla="*/ 7144 h 552450"/>
                <a:gd name="connsiteX1" fmla="*/ 881539 w 885825"/>
                <a:gd name="connsiteY1" fmla="*/ 7144 h 552450"/>
                <a:gd name="connsiteX2" fmla="*/ 881539 w 885825"/>
                <a:gd name="connsiteY2" fmla="*/ 547211 h 552450"/>
                <a:gd name="connsiteX3" fmla="*/ 7144 w 885825"/>
                <a:gd name="connsiteY3" fmla="*/ 547211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5825" h="552450">
                  <a:moveTo>
                    <a:pt x="7144" y="7144"/>
                  </a:moveTo>
                  <a:lnTo>
                    <a:pt x="881539" y="7144"/>
                  </a:lnTo>
                  <a:lnTo>
                    <a:pt x="881539" y="547211"/>
                  </a:lnTo>
                  <a:lnTo>
                    <a:pt x="7144" y="547211"/>
                  </a:lnTo>
                  <a:close/>
                </a:path>
              </a:pathLst>
            </a:custGeom>
            <a:solidFill>
              <a:srgbClr val="00BEB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7" name="任意多边形: 形状 156">
              <a:extLst>
                <a:ext uri="{FF2B5EF4-FFF2-40B4-BE49-F238E27FC236}">
                  <a16:creationId xmlns:a16="http://schemas.microsoft.com/office/drawing/2014/main" id="{349E1E8B-D99A-42C4-975E-2D5A13BC92D9}"/>
                </a:ext>
              </a:extLst>
            </p:cNvPr>
            <p:cNvSpPr/>
            <p:nvPr/>
          </p:nvSpPr>
          <p:spPr>
            <a:xfrm>
              <a:off x="6523196" y="2779871"/>
              <a:ext cx="809625" cy="485775"/>
            </a:xfrm>
            <a:custGeom>
              <a:avLst/>
              <a:gdLst>
                <a:gd name="connsiteX0" fmla="*/ 7144 w 809625"/>
                <a:gd name="connsiteY0" fmla="*/ 7144 h 485775"/>
                <a:gd name="connsiteX1" fmla="*/ 808196 w 809625"/>
                <a:gd name="connsiteY1" fmla="*/ 7144 h 485775"/>
                <a:gd name="connsiteX2" fmla="*/ 808196 w 809625"/>
                <a:gd name="connsiteY2" fmla="*/ 481489 h 485775"/>
                <a:gd name="connsiteX3" fmla="*/ 7144 w 809625"/>
                <a:gd name="connsiteY3" fmla="*/ 481489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9625" h="485775">
                  <a:moveTo>
                    <a:pt x="7144" y="7144"/>
                  </a:moveTo>
                  <a:lnTo>
                    <a:pt x="808196" y="7144"/>
                  </a:lnTo>
                  <a:lnTo>
                    <a:pt x="808196" y="481489"/>
                  </a:lnTo>
                  <a:lnTo>
                    <a:pt x="7144" y="481489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8" name="任意多边形: 形状 157">
              <a:extLst>
                <a:ext uri="{FF2B5EF4-FFF2-40B4-BE49-F238E27FC236}">
                  <a16:creationId xmlns:a16="http://schemas.microsoft.com/office/drawing/2014/main" id="{5DC3C5DD-4668-4736-924A-EC2F960F4477}"/>
                </a:ext>
              </a:extLst>
            </p:cNvPr>
            <p:cNvSpPr/>
            <p:nvPr/>
          </p:nvSpPr>
          <p:spPr>
            <a:xfrm>
              <a:off x="6880384" y="2884646"/>
              <a:ext cx="419100" cy="323850"/>
            </a:xfrm>
            <a:custGeom>
              <a:avLst/>
              <a:gdLst>
                <a:gd name="connsiteX0" fmla="*/ 385286 w 419100"/>
                <a:gd name="connsiteY0" fmla="*/ 312896 h 323850"/>
                <a:gd name="connsiteX1" fmla="*/ 385286 w 419100"/>
                <a:gd name="connsiteY1" fmla="*/ 89059 h 323850"/>
                <a:gd name="connsiteX2" fmla="*/ 340519 w 419100"/>
                <a:gd name="connsiteY2" fmla="*/ 89059 h 323850"/>
                <a:gd name="connsiteX3" fmla="*/ 340519 w 419100"/>
                <a:gd name="connsiteY3" fmla="*/ 312896 h 323850"/>
                <a:gd name="connsiteX4" fmla="*/ 312896 w 419100"/>
                <a:gd name="connsiteY4" fmla="*/ 312896 h 323850"/>
                <a:gd name="connsiteX5" fmla="*/ 312896 w 419100"/>
                <a:gd name="connsiteY5" fmla="*/ 150019 h 323850"/>
                <a:gd name="connsiteX6" fmla="*/ 268129 w 419100"/>
                <a:gd name="connsiteY6" fmla="*/ 150019 h 323850"/>
                <a:gd name="connsiteX7" fmla="*/ 268129 w 419100"/>
                <a:gd name="connsiteY7" fmla="*/ 312896 h 323850"/>
                <a:gd name="connsiteX8" fmla="*/ 239554 w 419100"/>
                <a:gd name="connsiteY8" fmla="*/ 312896 h 323850"/>
                <a:gd name="connsiteX9" fmla="*/ 239554 w 419100"/>
                <a:gd name="connsiteY9" fmla="*/ 76676 h 323850"/>
                <a:gd name="connsiteX10" fmla="*/ 195739 w 419100"/>
                <a:gd name="connsiteY10" fmla="*/ 76676 h 323850"/>
                <a:gd name="connsiteX11" fmla="*/ 195739 w 419100"/>
                <a:gd name="connsiteY11" fmla="*/ 312896 h 323850"/>
                <a:gd name="connsiteX12" fmla="*/ 167164 w 419100"/>
                <a:gd name="connsiteY12" fmla="*/ 312896 h 323850"/>
                <a:gd name="connsiteX13" fmla="*/ 167164 w 419100"/>
                <a:gd name="connsiteY13" fmla="*/ 41434 h 323850"/>
                <a:gd name="connsiteX14" fmla="*/ 123349 w 419100"/>
                <a:gd name="connsiteY14" fmla="*/ 41434 h 323850"/>
                <a:gd name="connsiteX15" fmla="*/ 123349 w 419100"/>
                <a:gd name="connsiteY15" fmla="*/ 312896 h 323850"/>
                <a:gd name="connsiteX16" fmla="*/ 94774 w 419100"/>
                <a:gd name="connsiteY16" fmla="*/ 312896 h 323850"/>
                <a:gd name="connsiteX17" fmla="*/ 94774 w 419100"/>
                <a:gd name="connsiteY17" fmla="*/ 150019 h 323850"/>
                <a:gd name="connsiteX18" fmla="*/ 50959 w 419100"/>
                <a:gd name="connsiteY18" fmla="*/ 150019 h 323850"/>
                <a:gd name="connsiteX19" fmla="*/ 50959 w 419100"/>
                <a:gd name="connsiteY19" fmla="*/ 312896 h 323850"/>
                <a:gd name="connsiteX20" fmla="*/ 16669 w 419100"/>
                <a:gd name="connsiteY20" fmla="*/ 312896 h 323850"/>
                <a:gd name="connsiteX21" fmla="*/ 16669 w 419100"/>
                <a:gd name="connsiteY21" fmla="*/ 7144 h 323850"/>
                <a:gd name="connsiteX22" fmla="*/ 7144 w 419100"/>
                <a:gd name="connsiteY22" fmla="*/ 7144 h 323850"/>
                <a:gd name="connsiteX23" fmla="*/ 7144 w 419100"/>
                <a:gd name="connsiteY23" fmla="*/ 322421 h 323850"/>
                <a:gd name="connsiteX24" fmla="*/ 417671 w 419100"/>
                <a:gd name="connsiteY24" fmla="*/ 322421 h 323850"/>
                <a:gd name="connsiteX25" fmla="*/ 417671 w 419100"/>
                <a:gd name="connsiteY25" fmla="*/ 312896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19100" h="323850">
                  <a:moveTo>
                    <a:pt x="385286" y="312896"/>
                  </a:moveTo>
                  <a:lnTo>
                    <a:pt x="385286" y="89059"/>
                  </a:lnTo>
                  <a:lnTo>
                    <a:pt x="340519" y="89059"/>
                  </a:lnTo>
                  <a:lnTo>
                    <a:pt x="340519" y="312896"/>
                  </a:lnTo>
                  <a:lnTo>
                    <a:pt x="312896" y="312896"/>
                  </a:lnTo>
                  <a:lnTo>
                    <a:pt x="312896" y="150019"/>
                  </a:lnTo>
                  <a:lnTo>
                    <a:pt x="268129" y="150019"/>
                  </a:lnTo>
                  <a:lnTo>
                    <a:pt x="268129" y="312896"/>
                  </a:lnTo>
                  <a:lnTo>
                    <a:pt x="239554" y="312896"/>
                  </a:lnTo>
                  <a:lnTo>
                    <a:pt x="239554" y="76676"/>
                  </a:lnTo>
                  <a:lnTo>
                    <a:pt x="195739" y="76676"/>
                  </a:lnTo>
                  <a:lnTo>
                    <a:pt x="195739" y="312896"/>
                  </a:lnTo>
                  <a:lnTo>
                    <a:pt x="167164" y="312896"/>
                  </a:lnTo>
                  <a:lnTo>
                    <a:pt x="167164" y="41434"/>
                  </a:lnTo>
                  <a:lnTo>
                    <a:pt x="123349" y="41434"/>
                  </a:lnTo>
                  <a:lnTo>
                    <a:pt x="123349" y="312896"/>
                  </a:lnTo>
                  <a:lnTo>
                    <a:pt x="94774" y="312896"/>
                  </a:lnTo>
                  <a:lnTo>
                    <a:pt x="94774" y="150019"/>
                  </a:lnTo>
                  <a:lnTo>
                    <a:pt x="50959" y="150019"/>
                  </a:lnTo>
                  <a:lnTo>
                    <a:pt x="50959" y="312896"/>
                  </a:lnTo>
                  <a:lnTo>
                    <a:pt x="16669" y="312896"/>
                  </a:lnTo>
                  <a:lnTo>
                    <a:pt x="16669" y="7144"/>
                  </a:lnTo>
                  <a:lnTo>
                    <a:pt x="7144" y="7144"/>
                  </a:lnTo>
                  <a:lnTo>
                    <a:pt x="7144" y="322421"/>
                  </a:lnTo>
                  <a:lnTo>
                    <a:pt x="417671" y="322421"/>
                  </a:lnTo>
                  <a:lnTo>
                    <a:pt x="417671" y="312896"/>
                  </a:ln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9" name="任意多边形: 形状 158">
              <a:extLst>
                <a:ext uri="{FF2B5EF4-FFF2-40B4-BE49-F238E27FC236}">
                  <a16:creationId xmlns:a16="http://schemas.microsoft.com/office/drawing/2014/main" id="{692D99B7-668C-4765-838F-98426E85F598}"/>
                </a:ext>
              </a:extLst>
            </p:cNvPr>
            <p:cNvSpPr/>
            <p:nvPr/>
          </p:nvSpPr>
          <p:spPr>
            <a:xfrm>
              <a:off x="6567964" y="2855118"/>
              <a:ext cx="257175" cy="28575"/>
            </a:xfrm>
            <a:custGeom>
              <a:avLst/>
              <a:gdLst>
                <a:gd name="connsiteX0" fmla="*/ 7144 w 257175"/>
                <a:gd name="connsiteY0" fmla="*/ 7144 h 28575"/>
                <a:gd name="connsiteX1" fmla="*/ 256699 w 257175"/>
                <a:gd name="connsiteY1" fmla="*/ 7144 h 28575"/>
                <a:gd name="connsiteX2" fmla="*/ 256699 w 257175"/>
                <a:gd name="connsiteY2" fmla="*/ 22384 h 28575"/>
                <a:gd name="connsiteX3" fmla="*/ 7144 w 257175"/>
                <a:gd name="connsiteY3" fmla="*/ 2238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175" h="28575">
                  <a:moveTo>
                    <a:pt x="7144" y="7144"/>
                  </a:moveTo>
                  <a:lnTo>
                    <a:pt x="256699" y="7144"/>
                  </a:lnTo>
                  <a:lnTo>
                    <a:pt x="256699" y="22384"/>
                  </a:lnTo>
                  <a:lnTo>
                    <a:pt x="7144" y="22384"/>
                  </a:lnTo>
                  <a:close/>
                </a:path>
              </a:pathLst>
            </a:custGeom>
            <a:solidFill>
              <a:srgbClr val="00BEB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0" name="任意多边形: 形状 159">
              <a:extLst>
                <a:ext uri="{FF2B5EF4-FFF2-40B4-BE49-F238E27FC236}">
                  <a16:creationId xmlns:a16="http://schemas.microsoft.com/office/drawing/2014/main" id="{041274E7-B6FB-41EA-8BC8-65FCABA1DDBF}"/>
                </a:ext>
              </a:extLst>
            </p:cNvPr>
            <p:cNvSpPr/>
            <p:nvPr/>
          </p:nvSpPr>
          <p:spPr>
            <a:xfrm>
              <a:off x="6567964" y="2897981"/>
              <a:ext cx="257175" cy="28575"/>
            </a:xfrm>
            <a:custGeom>
              <a:avLst/>
              <a:gdLst>
                <a:gd name="connsiteX0" fmla="*/ 7144 w 257175"/>
                <a:gd name="connsiteY0" fmla="*/ 7144 h 28575"/>
                <a:gd name="connsiteX1" fmla="*/ 256699 w 257175"/>
                <a:gd name="connsiteY1" fmla="*/ 7144 h 28575"/>
                <a:gd name="connsiteX2" fmla="*/ 256699 w 257175"/>
                <a:gd name="connsiteY2" fmla="*/ 22384 h 28575"/>
                <a:gd name="connsiteX3" fmla="*/ 7144 w 257175"/>
                <a:gd name="connsiteY3" fmla="*/ 2238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175" h="28575">
                  <a:moveTo>
                    <a:pt x="7144" y="7144"/>
                  </a:moveTo>
                  <a:lnTo>
                    <a:pt x="256699" y="7144"/>
                  </a:lnTo>
                  <a:lnTo>
                    <a:pt x="256699" y="22384"/>
                  </a:lnTo>
                  <a:lnTo>
                    <a:pt x="7144" y="22384"/>
                  </a:lnTo>
                  <a:close/>
                </a:path>
              </a:pathLst>
            </a:custGeom>
            <a:solidFill>
              <a:srgbClr val="00BEB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1" name="任意多边形: 形状 160">
              <a:extLst>
                <a:ext uri="{FF2B5EF4-FFF2-40B4-BE49-F238E27FC236}">
                  <a16:creationId xmlns:a16="http://schemas.microsoft.com/office/drawing/2014/main" id="{4F4DE0C4-85DC-4502-9CE9-7A17EE37B1E1}"/>
                </a:ext>
              </a:extLst>
            </p:cNvPr>
            <p:cNvSpPr/>
            <p:nvPr/>
          </p:nvSpPr>
          <p:spPr>
            <a:xfrm>
              <a:off x="6567964" y="2940843"/>
              <a:ext cx="133350" cy="28575"/>
            </a:xfrm>
            <a:custGeom>
              <a:avLst/>
              <a:gdLst>
                <a:gd name="connsiteX0" fmla="*/ 7144 w 133350"/>
                <a:gd name="connsiteY0" fmla="*/ 7144 h 28575"/>
                <a:gd name="connsiteX1" fmla="*/ 130016 w 133350"/>
                <a:gd name="connsiteY1" fmla="*/ 7144 h 28575"/>
                <a:gd name="connsiteX2" fmla="*/ 130016 w 133350"/>
                <a:gd name="connsiteY2" fmla="*/ 22384 h 28575"/>
                <a:gd name="connsiteX3" fmla="*/ 7144 w 133350"/>
                <a:gd name="connsiteY3" fmla="*/ 2238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350" h="28575">
                  <a:moveTo>
                    <a:pt x="7144" y="7144"/>
                  </a:moveTo>
                  <a:lnTo>
                    <a:pt x="130016" y="7144"/>
                  </a:lnTo>
                  <a:lnTo>
                    <a:pt x="130016" y="22384"/>
                  </a:lnTo>
                  <a:lnTo>
                    <a:pt x="7144" y="22384"/>
                  </a:lnTo>
                  <a:close/>
                </a:path>
              </a:pathLst>
            </a:custGeom>
            <a:solidFill>
              <a:srgbClr val="00BEB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2" name="任意多边形: 形状 161">
              <a:extLst>
                <a:ext uri="{FF2B5EF4-FFF2-40B4-BE49-F238E27FC236}">
                  <a16:creationId xmlns:a16="http://schemas.microsoft.com/office/drawing/2014/main" id="{6381A86B-3B04-46F3-BE4B-EB0F716ECDBE}"/>
                </a:ext>
              </a:extLst>
            </p:cNvPr>
            <p:cNvSpPr/>
            <p:nvPr/>
          </p:nvSpPr>
          <p:spPr>
            <a:xfrm>
              <a:off x="6663214" y="3129438"/>
              <a:ext cx="76200" cy="76200"/>
            </a:xfrm>
            <a:custGeom>
              <a:avLst/>
              <a:gdLst>
                <a:gd name="connsiteX0" fmla="*/ 72866 w 76200"/>
                <a:gd name="connsiteY0" fmla="*/ 7144 h 76200"/>
                <a:gd name="connsiteX1" fmla="*/ 72866 w 76200"/>
                <a:gd name="connsiteY1" fmla="*/ 50006 h 76200"/>
                <a:gd name="connsiteX2" fmla="*/ 50006 w 76200"/>
                <a:gd name="connsiteY2" fmla="*/ 71914 h 76200"/>
                <a:gd name="connsiteX3" fmla="*/ 7144 w 76200"/>
                <a:gd name="connsiteY3" fmla="*/ 71914 h 76200"/>
                <a:gd name="connsiteX4" fmla="*/ 7144 w 76200"/>
                <a:gd name="connsiteY4" fmla="*/ 7144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76200">
                  <a:moveTo>
                    <a:pt x="72866" y="7144"/>
                  </a:moveTo>
                  <a:lnTo>
                    <a:pt x="72866" y="50006"/>
                  </a:lnTo>
                  <a:lnTo>
                    <a:pt x="50006" y="71914"/>
                  </a:lnTo>
                  <a:lnTo>
                    <a:pt x="7144" y="71914"/>
                  </a:lnTo>
                  <a:lnTo>
                    <a:pt x="7144" y="7144"/>
                  </a:lnTo>
                  <a:close/>
                </a:path>
              </a:pathLst>
            </a:custGeom>
            <a:solidFill>
              <a:srgbClr val="00BEB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3" name="任意多边形: 形状 162">
              <a:extLst>
                <a:ext uri="{FF2B5EF4-FFF2-40B4-BE49-F238E27FC236}">
                  <a16:creationId xmlns:a16="http://schemas.microsoft.com/office/drawing/2014/main" id="{21FBA7D5-6F68-470D-A4E7-009696216458}"/>
                </a:ext>
              </a:extLst>
            </p:cNvPr>
            <p:cNvSpPr/>
            <p:nvPr/>
          </p:nvSpPr>
          <p:spPr>
            <a:xfrm>
              <a:off x="6706076" y="3172301"/>
              <a:ext cx="28575" cy="28575"/>
            </a:xfrm>
            <a:custGeom>
              <a:avLst/>
              <a:gdLst>
                <a:gd name="connsiteX0" fmla="*/ 30004 w 28575"/>
                <a:gd name="connsiteY0" fmla="*/ 7144 h 28575"/>
                <a:gd name="connsiteX1" fmla="*/ 7144 w 28575"/>
                <a:gd name="connsiteY1" fmla="*/ 29051 h 28575"/>
                <a:gd name="connsiteX2" fmla="*/ 7144 w 28575"/>
                <a:gd name="connsiteY2" fmla="*/ 714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575" h="28575">
                  <a:moveTo>
                    <a:pt x="30004" y="7144"/>
                  </a:moveTo>
                  <a:lnTo>
                    <a:pt x="7144" y="29051"/>
                  </a:lnTo>
                  <a:lnTo>
                    <a:pt x="7144" y="7144"/>
                  </a:lnTo>
                  <a:close/>
                </a:path>
              </a:pathLst>
            </a:custGeom>
            <a:solidFill>
              <a:srgbClr val="00A49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4" name="任意多边形: 形状 163">
              <a:extLst>
                <a:ext uri="{FF2B5EF4-FFF2-40B4-BE49-F238E27FC236}">
                  <a16:creationId xmlns:a16="http://schemas.microsoft.com/office/drawing/2014/main" id="{FEEA098E-4626-44A4-9004-A3951DB637C4}"/>
                </a:ext>
              </a:extLst>
            </p:cNvPr>
            <p:cNvSpPr/>
            <p:nvPr/>
          </p:nvSpPr>
          <p:spPr>
            <a:xfrm>
              <a:off x="6569869" y="3129438"/>
              <a:ext cx="76200" cy="76200"/>
            </a:xfrm>
            <a:custGeom>
              <a:avLst/>
              <a:gdLst>
                <a:gd name="connsiteX0" fmla="*/ 7144 w 76200"/>
                <a:gd name="connsiteY0" fmla="*/ 7144 h 76200"/>
                <a:gd name="connsiteX1" fmla="*/ 71914 w 76200"/>
                <a:gd name="connsiteY1" fmla="*/ 7144 h 76200"/>
                <a:gd name="connsiteX2" fmla="*/ 71914 w 76200"/>
                <a:gd name="connsiteY2" fmla="*/ 71914 h 76200"/>
                <a:gd name="connsiteX3" fmla="*/ 7144 w 76200"/>
                <a:gd name="connsiteY3" fmla="*/ 71914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200" h="76200">
                  <a:moveTo>
                    <a:pt x="7144" y="7144"/>
                  </a:moveTo>
                  <a:lnTo>
                    <a:pt x="71914" y="7144"/>
                  </a:lnTo>
                  <a:lnTo>
                    <a:pt x="71914" y="71914"/>
                  </a:lnTo>
                  <a:lnTo>
                    <a:pt x="7144" y="71914"/>
                  </a:lnTo>
                  <a:close/>
                </a:path>
              </a:pathLst>
            </a:custGeom>
            <a:solidFill>
              <a:srgbClr val="F065A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5" name="任意多边形: 形状 164">
              <a:extLst>
                <a:ext uri="{FF2B5EF4-FFF2-40B4-BE49-F238E27FC236}">
                  <a16:creationId xmlns:a16="http://schemas.microsoft.com/office/drawing/2014/main" id="{1E2B8201-4125-40FC-AAE1-FCA34B803CA7}"/>
                </a:ext>
              </a:extLst>
            </p:cNvPr>
            <p:cNvSpPr/>
            <p:nvPr/>
          </p:nvSpPr>
          <p:spPr>
            <a:xfrm>
              <a:off x="6930866" y="2849403"/>
              <a:ext cx="314325" cy="142875"/>
            </a:xfrm>
            <a:custGeom>
              <a:avLst/>
              <a:gdLst>
                <a:gd name="connsiteX0" fmla="*/ 312896 w 314325"/>
                <a:gd name="connsiteY0" fmla="*/ 63341 h 142875"/>
                <a:gd name="connsiteX1" fmla="*/ 274796 w 314325"/>
                <a:gd name="connsiteY1" fmla="*/ 72866 h 142875"/>
                <a:gd name="connsiteX2" fmla="*/ 285274 w 314325"/>
                <a:gd name="connsiteY2" fmla="*/ 83344 h 142875"/>
                <a:gd name="connsiteX3" fmla="*/ 239554 w 314325"/>
                <a:gd name="connsiteY3" fmla="*/ 128111 h 142875"/>
                <a:gd name="connsiteX4" fmla="*/ 84296 w 314325"/>
                <a:gd name="connsiteY4" fmla="*/ 7144 h 142875"/>
                <a:gd name="connsiteX5" fmla="*/ 7144 w 314325"/>
                <a:gd name="connsiteY5" fmla="*/ 64294 h 142875"/>
                <a:gd name="connsiteX6" fmla="*/ 12859 w 314325"/>
                <a:gd name="connsiteY6" fmla="*/ 72866 h 142875"/>
                <a:gd name="connsiteX7" fmla="*/ 84296 w 314325"/>
                <a:gd name="connsiteY7" fmla="*/ 18574 h 142875"/>
                <a:gd name="connsiteX8" fmla="*/ 240506 w 314325"/>
                <a:gd name="connsiteY8" fmla="*/ 140494 h 142875"/>
                <a:gd name="connsiteX9" fmla="*/ 291941 w 314325"/>
                <a:gd name="connsiteY9" fmla="*/ 90964 h 142875"/>
                <a:gd name="connsiteX10" fmla="*/ 301466 w 314325"/>
                <a:gd name="connsiteY10" fmla="*/ 101441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14325" h="142875">
                  <a:moveTo>
                    <a:pt x="312896" y="63341"/>
                  </a:moveTo>
                  <a:lnTo>
                    <a:pt x="274796" y="72866"/>
                  </a:lnTo>
                  <a:lnTo>
                    <a:pt x="285274" y="83344"/>
                  </a:lnTo>
                  <a:lnTo>
                    <a:pt x="239554" y="128111"/>
                  </a:lnTo>
                  <a:lnTo>
                    <a:pt x="84296" y="7144"/>
                  </a:lnTo>
                  <a:lnTo>
                    <a:pt x="7144" y="64294"/>
                  </a:lnTo>
                  <a:lnTo>
                    <a:pt x="12859" y="72866"/>
                  </a:lnTo>
                  <a:lnTo>
                    <a:pt x="84296" y="18574"/>
                  </a:lnTo>
                  <a:lnTo>
                    <a:pt x="240506" y="140494"/>
                  </a:lnTo>
                  <a:lnTo>
                    <a:pt x="291941" y="90964"/>
                  </a:lnTo>
                  <a:lnTo>
                    <a:pt x="301466" y="101441"/>
                  </a:lnTo>
                  <a:close/>
                </a:path>
              </a:pathLst>
            </a:custGeom>
            <a:solidFill>
              <a:srgbClr val="00BEB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6" name="任意多边形: 形状 165">
              <a:extLst>
                <a:ext uri="{FF2B5EF4-FFF2-40B4-BE49-F238E27FC236}">
                  <a16:creationId xmlns:a16="http://schemas.microsoft.com/office/drawing/2014/main" id="{0BA71361-6DBE-43F3-B959-235970FC8B90}"/>
                </a:ext>
              </a:extLst>
            </p:cNvPr>
            <p:cNvSpPr/>
            <p:nvPr/>
          </p:nvSpPr>
          <p:spPr>
            <a:xfrm>
              <a:off x="6567011" y="3000851"/>
              <a:ext cx="95250" cy="95250"/>
            </a:xfrm>
            <a:custGeom>
              <a:avLst/>
              <a:gdLst>
                <a:gd name="connsiteX0" fmla="*/ 96679 w 95250"/>
                <a:gd name="connsiteY0" fmla="*/ 51911 h 95250"/>
                <a:gd name="connsiteX1" fmla="*/ 51911 w 95250"/>
                <a:gd name="connsiteY1" fmla="*/ 96679 h 95250"/>
                <a:gd name="connsiteX2" fmla="*/ 7144 w 95250"/>
                <a:gd name="connsiteY2" fmla="*/ 51911 h 95250"/>
                <a:gd name="connsiteX3" fmla="*/ 51911 w 95250"/>
                <a:gd name="connsiteY3" fmla="*/ 7144 h 95250"/>
                <a:gd name="connsiteX4" fmla="*/ 96679 w 95250"/>
                <a:gd name="connsiteY4" fmla="*/ 51911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96679" y="51911"/>
                  </a:moveTo>
                  <a:cubicBezTo>
                    <a:pt x="96679" y="76676"/>
                    <a:pt x="76676" y="96679"/>
                    <a:pt x="51911" y="96679"/>
                  </a:cubicBezTo>
                  <a:cubicBezTo>
                    <a:pt x="27146" y="96679"/>
                    <a:pt x="7144" y="76676"/>
                    <a:pt x="7144" y="51911"/>
                  </a:cubicBezTo>
                  <a:cubicBezTo>
                    <a:pt x="7144" y="27146"/>
                    <a:pt x="27146" y="7144"/>
                    <a:pt x="51911" y="7144"/>
                  </a:cubicBezTo>
                  <a:cubicBezTo>
                    <a:pt x="76676" y="7144"/>
                    <a:pt x="96679" y="27146"/>
                    <a:pt x="96679" y="51911"/>
                  </a:cubicBezTo>
                  <a:close/>
                </a:path>
              </a:pathLst>
            </a:custGeom>
            <a:solidFill>
              <a:srgbClr val="5202B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7" name="任意多边形: 形状 166">
              <a:extLst>
                <a:ext uri="{FF2B5EF4-FFF2-40B4-BE49-F238E27FC236}">
                  <a16:creationId xmlns:a16="http://schemas.microsoft.com/office/drawing/2014/main" id="{94356082-2841-47FF-ADD5-12C00AACE33E}"/>
                </a:ext>
              </a:extLst>
            </p:cNvPr>
            <p:cNvSpPr/>
            <p:nvPr/>
          </p:nvSpPr>
          <p:spPr>
            <a:xfrm>
              <a:off x="6580346" y="3014186"/>
              <a:ext cx="76200" cy="76200"/>
            </a:xfrm>
            <a:custGeom>
              <a:avLst/>
              <a:gdLst>
                <a:gd name="connsiteX0" fmla="*/ 38576 w 76200"/>
                <a:gd name="connsiteY0" fmla="*/ 7144 h 76200"/>
                <a:gd name="connsiteX1" fmla="*/ 7144 w 76200"/>
                <a:gd name="connsiteY1" fmla="*/ 38576 h 76200"/>
                <a:gd name="connsiteX2" fmla="*/ 38576 w 76200"/>
                <a:gd name="connsiteY2" fmla="*/ 70009 h 76200"/>
                <a:gd name="connsiteX3" fmla="*/ 70009 w 76200"/>
                <a:gd name="connsiteY3" fmla="*/ 38576 h 76200"/>
                <a:gd name="connsiteX4" fmla="*/ 38576 w 76200"/>
                <a:gd name="connsiteY4" fmla="*/ 7144 h 76200"/>
                <a:gd name="connsiteX5" fmla="*/ 32861 w 76200"/>
                <a:gd name="connsiteY5" fmla="*/ 11906 h 76200"/>
                <a:gd name="connsiteX6" fmla="*/ 26194 w 76200"/>
                <a:gd name="connsiteY6" fmla="*/ 23336 h 76200"/>
                <a:gd name="connsiteX7" fmla="*/ 19526 w 76200"/>
                <a:gd name="connsiteY7" fmla="*/ 19526 h 76200"/>
                <a:gd name="connsiteX8" fmla="*/ 32861 w 76200"/>
                <a:gd name="connsiteY8" fmla="*/ 11906 h 76200"/>
                <a:gd name="connsiteX9" fmla="*/ 17621 w 76200"/>
                <a:gd name="connsiteY9" fmla="*/ 21431 h 76200"/>
                <a:gd name="connsiteX10" fmla="*/ 26194 w 76200"/>
                <a:gd name="connsiteY10" fmla="*/ 26194 h 76200"/>
                <a:gd name="connsiteX11" fmla="*/ 25241 w 76200"/>
                <a:gd name="connsiteY11" fmla="*/ 36671 h 76200"/>
                <a:gd name="connsiteX12" fmla="*/ 12859 w 76200"/>
                <a:gd name="connsiteY12" fmla="*/ 36671 h 76200"/>
                <a:gd name="connsiteX13" fmla="*/ 17621 w 76200"/>
                <a:gd name="connsiteY13" fmla="*/ 21431 h 76200"/>
                <a:gd name="connsiteX14" fmla="*/ 11906 w 76200"/>
                <a:gd name="connsiteY14" fmla="*/ 40481 h 76200"/>
                <a:gd name="connsiteX15" fmla="*/ 24289 w 76200"/>
                <a:gd name="connsiteY15" fmla="*/ 40481 h 76200"/>
                <a:gd name="connsiteX16" fmla="*/ 26194 w 76200"/>
                <a:gd name="connsiteY16" fmla="*/ 51911 h 76200"/>
                <a:gd name="connsiteX17" fmla="*/ 17621 w 76200"/>
                <a:gd name="connsiteY17" fmla="*/ 55721 h 76200"/>
                <a:gd name="connsiteX18" fmla="*/ 11906 w 76200"/>
                <a:gd name="connsiteY18" fmla="*/ 40481 h 76200"/>
                <a:gd name="connsiteX19" fmla="*/ 19526 w 76200"/>
                <a:gd name="connsiteY19" fmla="*/ 57626 h 76200"/>
                <a:gd name="connsiteX20" fmla="*/ 26194 w 76200"/>
                <a:gd name="connsiteY20" fmla="*/ 53816 h 76200"/>
                <a:gd name="connsiteX21" fmla="*/ 32861 w 76200"/>
                <a:gd name="connsiteY21" fmla="*/ 65246 h 76200"/>
                <a:gd name="connsiteX22" fmla="*/ 19526 w 76200"/>
                <a:gd name="connsiteY22" fmla="*/ 57626 h 76200"/>
                <a:gd name="connsiteX23" fmla="*/ 37624 w 76200"/>
                <a:gd name="connsiteY23" fmla="*/ 64294 h 76200"/>
                <a:gd name="connsiteX24" fmla="*/ 30004 w 76200"/>
                <a:gd name="connsiteY24" fmla="*/ 53816 h 76200"/>
                <a:gd name="connsiteX25" fmla="*/ 37624 w 76200"/>
                <a:gd name="connsiteY25" fmla="*/ 52864 h 76200"/>
                <a:gd name="connsiteX26" fmla="*/ 37624 w 76200"/>
                <a:gd name="connsiteY26" fmla="*/ 64294 h 76200"/>
                <a:gd name="connsiteX27" fmla="*/ 37624 w 76200"/>
                <a:gd name="connsiteY27" fmla="*/ 49054 h 76200"/>
                <a:gd name="connsiteX28" fmla="*/ 29051 w 76200"/>
                <a:gd name="connsiteY28" fmla="*/ 50006 h 76200"/>
                <a:gd name="connsiteX29" fmla="*/ 28099 w 76200"/>
                <a:gd name="connsiteY29" fmla="*/ 39529 h 76200"/>
                <a:gd name="connsiteX30" fmla="*/ 38576 w 76200"/>
                <a:gd name="connsiteY30" fmla="*/ 39529 h 76200"/>
                <a:gd name="connsiteX31" fmla="*/ 38576 w 76200"/>
                <a:gd name="connsiteY31" fmla="*/ 49054 h 76200"/>
                <a:gd name="connsiteX32" fmla="*/ 37624 w 76200"/>
                <a:gd name="connsiteY32" fmla="*/ 36671 h 76200"/>
                <a:gd name="connsiteX33" fmla="*/ 27146 w 76200"/>
                <a:gd name="connsiteY33" fmla="*/ 36671 h 76200"/>
                <a:gd name="connsiteX34" fmla="*/ 28099 w 76200"/>
                <a:gd name="connsiteY34" fmla="*/ 26194 h 76200"/>
                <a:gd name="connsiteX35" fmla="*/ 36671 w 76200"/>
                <a:gd name="connsiteY35" fmla="*/ 27146 h 76200"/>
                <a:gd name="connsiteX36" fmla="*/ 36671 w 76200"/>
                <a:gd name="connsiteY36" fmla="*/ 36671 h 76200"/>
                <a:gd name="connsiteX37" fmla="*/ 37624 w 76200"/>
                <a:gd name="connsiteY37" fmla="*/ 25241 h 76200"/>
                <a:gd name="connsiteX38" fmla="*/ 30004 w 76200"/>
                <a:gd name="connsiteY38" fmla="*/ 24289 h 76200"/>
                <a:gd name="connsiteX39" fmla="*/ 37624 w 76200"/>
                <a:gd name="connsiteY39" fmla="*/ 12859 h 76200"/>
                <a:gd name="connsiteX40" fmla="*/ 37624 w 76200"/>
                <a:gd name="connsiteY40" fmla="*/ 25241 h 76200"/>
                <a:gd name="connsiteX41" fmla="*/ 66199 w 76200"/>
                <a:gd name="connsiteY41" fmla="*/ 36671 h 76200"/>
                <a:gd name="connsiteX42" fmla="*/ 53816 w 76200"/>
                <a:gd name="connsiteY42" fmla="*/ 36671 h 76200"/>
                <a:gd name="connsiteX43" fmla="*/ 52864 w 76200"/>
                <a:gd name="connsiteY43" fmla="*/ 26194 h 76200"/>
                <a:gd name="connsiteX44" fmla="*/ 61436 w 76200"/>
                <a:gd name="connsiteY44" fmla="*/ 21431 h 76200"/>
                <a:gd name="connsiteX45" fmla="*/ 66199 w 76200"/>
                <a:gd name="connsiteY45" fmla="*/ 36671 h 76200"/>
                <a:gd name="connsiteX46" fmla="*/ 58579 w 76200"/>
                <a:gd name="connsiteY46" fmla="*/ 19526 h 76200"/>
                <a:gd name="connsiteX47" fmla="*/ 51911 w 76200"/>
                <a:gd name="connsiteY47" fmla="*/ 23336 h 76200"/>
                <a:gd name="connsiteX48" fmla="*/ 45244 w 76200"/>
                <a:gd name="connsiteY48" fmla="*/ 11906 h 76200"/>
                <a:gd name="connsiteX49" fmla="*/ 58579 w 76200"/>
                <a:gd name="connsiteY49" fmla="*/ 19526 h 76200"/>
                <a:gd name="connsiteX50" fmla="*/ 40481 w 76200"/>
                <a:gd name="connsiteY50" fmla="*/ 12859 h 76200"/>
                <a:gd name="connsiteX51" fmla="*/ 48101 w 76200"/>
                <a:gd name="connsiteY51" fmla="*/ 24289 h 76200"/>
                <a:gd name="connsiteX52" fmla="*/ 40481 w 76200"/>
                <a:gd name="connsiteY52" fmla="*/ 25241 h 76200"/>
                <a:gd name="connsiteX53" fmla="*/ 40481 w 76200"/>
                <a:gd name="connsiteY53" fmla="*/ 12859 h 76200"/>
                <a:gd name="connsiteX54" fmla="*/ 40481 w 76200"/>
                <a:gd name="connsiteY54" fmla="*/ 28099 h 76200"/>
                <a:gd name="connsiteX55" fmla="*/ 49054 w 76200"/>
                <a:gd name="connsiteY55" fmla="*/ 27146 h 76200"/>
                <a:gd name="connsiteX56" fmla="*/ 50006 w 76200"/>
                <a:gd name="connsiteY56" fmla="*/ 37624 h 76200"/>
                <a:gd name="connsiteX57" fmla="*/ 39529 w 76200"/>
                <a:gd name="connsiteY57" fmla="*/ 37624 h 76200"/>
                <a:gd name="connsiteX58" fmla="*/ 39529 w 76200"/>
                <a:gd name="connsiteY58" fmla="*/ 28099 h 76200"/>
                <a:gd name="connsiteX59" fmla="*/ 40481 w 76200"/>
                <a:gd name="connsiteY59" fmla="*/ 40481 h 76200"/>
                <a:gd name="connsiteX60" fmla="*/ 50959 w 76200"/>
                <a:gd name="connsiteY60" fmla="*/ 40481 h 76200"/>
                <a:gd name="connsiteX61" fmla="*/ 50006 w 76200"/>
                <a:gd name="connsiteY61" fmla="*/ 50959 h 76200"/>
                <a:gd name="connsiteX62" fmla="*/ 41434 w 76200"/>
                <a:gd name="connsiteY62" fmla="*/ 50006 h 76200"/>
                <a:gd name="connsiteX63" fmla="*/ 41434 w 76200"/>
                <a:gd name="connsiteY63" fmla="*/ 40481 h 76200"/>
                <a:gd name="connsiteX64" fmla="*/ 40481 w 76200"/>
                <a:gd name="connsiteY64" fmla="*/ 64294 h 76200"/>
                <a:gd name="connsiteX65" fmla="*/ 40481 w 76200"/>
                <a:gd name="connsiteY65" fmla="*/ 51911 h 76200"/>
                <a:gd name="connsiteX66" fmla="*/ 48101 w 76200"/>
                <a:gd name="connsiteY66" fmla="*/ 52864 h 76200"/>
                <a:gd name="connsiteX67" fmla="*/ 40481 w 76200"/>
                <a:gd name="connsiteY67" fmla="*/ 64294 h 76200"/>
                <a:gd name="connsiteX68" fmla="*/ 44291 w 76200"/>
                <a:gd name="connsiteY68" fmla="*/ 65246 h 76200"/>
                <a:gd name="connsiteX69" fmla="*/ 50959 w 76200"/>
                <a:gd name="connsiteY69" fmla="*/ 53816 h 76200"/>
                <a:gd name="connsiteX70" fmla="*/ 57626 w 76200"/>
                <a:gd name="connsiteY70" fmla="*/ 57626 h 76200"/>
                <a:gd name="connsiteX71" fmla="*/ 44291 w 76200"/>
                <a:gd name="connsiteY71" fmla="*/ 65246 h 76200"/>
                <a:gd name="connsiteX72" fmla="*/ 60484 w 76200"/>
                <a:gd name="connsiteY72" fmla="*/ 55721 h 76200"/>
                <a:gd name="connsiteX73" fmla="*/ 51911 w 76200"/>
                <a:gd name="connsiteY73" fmla="*/ 51911 h 76200"/>
                <a:gd name="connsiteX74" fmla="*/ 53816 w 76200"/>
                <a:gd name="connsiteY74" fmla="*/ 40481 h 76200"/>
                <a:gd name="connsiteX75" fmla="*/ 66199 w 76200"/>
                <a:gd name="connsiteY75" fmla="*/ 40481 h 76200"/>
                <a:gd name="connsiteX76" fmla="*/ 60484 w 76200"/>
                <a:gd name="connsiteY76" fmla="*/ 55721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76200" h="76200">
                  <a:moveTo>
                    <a:pt x="38576" y="7144"/>
                  </a:moveTo>
                  <a:cubicBezTo>
                    <a:pt x="21431" y="7144"/>
                    <a:pt x="7144" y="21431"/>
                    <a:pt x="7144" y="38576"/>
                  </a:cubicBezTo>
                  <a:cubicBezTo>
                    <a:pt x="7144" y="55721"/>
                    <a:pt x="21431" y="70009"/>
                    <a:pt x="38576" y="70009"/>
                  </a:cubicBezTo>
                  <a:cubicBezTo>
                    <a:pt x="55721" y="70009"/>
                    <a:pt x="70009" y="55721"/>
                    <a:pt x="70009" y="38576"/>
                  </a:cubicBezTo>
                  <a:cubicBezTo>
                    <a:pt x="70009" y="21431"/>
                    <a:pt x="55721" y="7144"/>
                    <a:pt x="38576" y="7144"/>
                  </a:cubicBezTo>
                  <a:close/>
                  <a:moveTo>
                    <a:pt x="32861" y="11906"/>
                  </a:moveTo>
                  <a:cubicBezTo>
                    <a:pt x="30004" y="13811"/>
                    <a:pt x="27146" y="18574"/>
                    <a:pt x="26194" y="23336"/>
                  </a:cubicBezTo>
                  <a:cubicBezTo>
                    <a:pt x="23336" y="22384"/>
                    <a:pt x="21431" y="21431"/>
                    <a:pt x="19526" y="19526"/>
                  </a:cubicBezTo>
                  <a:cubicBezTo>
                    <a:pt x="23336" y="15716"/>
                    <a:pt x="28099" y="12859"/>
                    <a:pt x="32861" y="11906"/>
                  </a:cubicBezTo>
                  <a:close/>
                  <a:moveTo>
                    <a:pt x="17621" y="21431"/>
                  </a:moveTo>
                  <a:cubicBezTo>
                    <a:pt x="19526" y="23336"/>
                    <a:pt x="22384" y="24289"/>
                    <a:pt x="26194" y="26194"/>
                  </a:cubicBezTo>
                  <a:cubicBezTo>
                    <a:pt x="25241" y="29051"/>
                    <a:pt x="25241" y="32861"/>
                    <a:pt x="25241" y="36671"/>
                  </a:cubicBezTo>
                  <a:lnTo>
                    <a:pt x="12859" y="36671"/>
                  </a:lnTo>
                  <a:cubicBezTo>
                    <a:pt x="11906" y="30956"/>
                    <a:pt x="13811" y="26194"/>
                    <a:pt x="17621" y="21431"/>
                  </a:cubicBezTo>
                  <a:close/>
                  <a:moveTo>
                    <a:pt x="11906" y="40481"/>
                  </a:moveTo>
                  <a:lnTo>
                    <a:pt x="24289" y="40481"/>
                  </a:lnTo>
                  <a:cubicBezTo>
                    <a:pt x="24289" y="44291"/>
                    <a:pt x="25241" y="48101"/>
                    <a:pt x="26194" y="51911"/>
                  </a:cubicBezTo>
                  <a:cubicBezTo>
                    <a:pt x="23336" y="52864"/>
                    <a:pt x="20479" y="54769"/>
                    <a:pt x="17621" y="55721"/>
                  </a:cubicBezTo>
                  <a:cubicBezTo>
                    <a:pt x="13811" y="50959"/>
                    <a:pt x="11906" y="46196"/>
                    <a:pt x="11906" y="40481"/>
                  </a:cubicBezTo>
                  <a:close/>
                  <a:moveTo>
                    <a:pt x="19526" y="57626"/>
                  </a:moveTo>
                  <a:cubicBezTo>
                    <a:pt x="21431" y="55721"/>
                    <a:pt x="24289" y="54769"/>
                    <a:pt x="26194" y="53816"/>
                  </a:cubicBezTo>
                  <a:cubicBezTo>
                    <a:pt x="28099" y="58579"/>
                    <a:pt x="30004" y="62389"/>
                    <a:pt x="32861" y="65246"/>
                  </a:cubicBezTo>
                  <a:cubicBezTo>
                    <a:pt x="28099" y="64294"/>
                    <a:pt x="23336" y="61436"/>
                    <a:pt x="19526" y="57626"/>
                  </a:cubicBezTo>
                  <a:close/>
                  <a:moveTo>
                    <a:pt x="37624" y="64294"/>
                  </a:moveTo>
                  <a:cubicBezTo>
                    <a:pt x="34766" y="63341"/>
                    <a:pt x="31909" y="59531"/>
                    <a:pt x="30004" y="53816"/>
                  </a:cubicBezTo>
                  <a:cubicBezTo>
                    <a:pt x="32861" y="52864"/>
                    <a:pt x="34766" y="52864"/>
                    <a:pt x="37624" y="52864"/>
                  </a:cubicBezTo>
                  <a:lnTo>
                    <a:pt x="37624" y="64294"/>
                  </a:lnTo>
                  <a:close/>
                  <a:moveTo>
                    <a:pt x="37624" y="49054"/>
                  </a:moveTo>
                  <a:cubicBezTo>
                    <a:pt x="34766" y="49054"/>
                    <a:pt x="31909" y="50006"/>
                    <a:pt x="29051" y="50006"/>
                  </a:cubicBezTo>
                  <a:cubicBezTo>
                    <a:pt x="28099" y="47149"/>
                    <a:pt x="28099" y="43339"/>
                    <a:pt x="28099" y="39529"/>
                  </a:cubicBezTo>
                  <a:lnTo>
                    <a:pt x="38576" y="39529"/>
                  </a:lnTo>
                  <a:lnTo>
                    <a:pt x="38576" y="49054"/>
                  </a:lnTo>
                  <a:close/>
                  <a:moveTo>
                    <a:pt x="37624" y="36671"/>
                  </a:moveTo>
                  <a:lnTo>
                    <a:pt x="27146" y="36671"/>
                  </a:lnTo>
                  <a:cubicBezTo>
                    <a:pt x="27146" y="32861"/>
                    <a:pt x="28099" y="30004"/>
                    <a:pt x="28099" y="26194"/>
                  </a:cubicBezTo>
                  <a:cubicBezTo>
                    <a:pt x="30956" y="27146"/>
                    <a:pt x="33814" y="27146"/>
                    <a:pt x="36671" y="27146"/>
                  </a:cubicBezTo>
                  <a:lnTo>
                    <a:pt x="36671" y="36671"/>
                  </a:lnTo>
                  <a:close/>
                  <a:moveTo>
                    <a:pt x="37624" y="25241"/>
                  </a:moveTo>
                  <a:cubicBezTo>
                    <a:pt x="34766" y="25241"/>
                    <a:pt x="31909" y="24289"/>
                    <a:pt x="30004" y="24289"/>
                  </a:cubicBezTo>
                  <a:cubicBezTo>
                    <a:pt x="31909" y="18574"/>
                    <a:pt x="34766" y="13811"/>
                    <a:pt x="37624" y="12859"/>
                  </a:cubicBezTo>
                  <a:lnTo>
                    <a:pt x="37624" y="25241"/>
                  </a:lnTo>
                  <a:close/>
                  <a:moveTo>
                    <a:pt x="66199" y="36671"/>
                  </a:moveTo>
                  <a:lnTo>
                    <a:pt x="53816" y="36671"/>
                  </a:lnTo>
                  <a:cubicBezTo>
                    <a:pt x="53816" y="32861"/>
                    <a:pt x="52864" y="29051"/>
                    <a:pt x="52864" y="26194"/>
                  </a:cubicBezTo>
                  <a:cubicBezTo>
                    <a:pt x="55721" y="25241"/>
                    <a:pt x="58579" y="23336"/>
                    <a:pt x="61436" y="21431"/>
                  </a:cubicBezTo>
                  <a:cubicBezTo>
                    <a:pt x="63341" y="26194"/>
                    <a:pt x="66199" y="30956"/>
                    <a:pt x="66199" y="36671"/>
                  </a:cubicBezTo>
                  <a:close/>
                  <a:moveTo>
                    <a:pt x="58579" y="19526"/>
                  </a:moveTo>
                  <a:cubicBezTo>
                    <a:pt x="56674" y="21431"/>
                    <a:pt x="53816" y="22384"/>
                    <a:pt x="51911" y="23336"/>
                  </a:cubicBezTo>
                  <a:cubicBezTo>
                    <a:pt x="50006" y="18574"/>
                    <a:pt x="48101" y="13811"/>
                    <a:pt x="45244" y="11906"/>
                  </a:cubicBezTo>
                  <a:cubicBezTo>
                    <a:pt x="50006" y="12859"/>
                    <a:pt x="54769" y="15716"/>
                    <a:pt x="58579" y="19526"/>
                  </a:cubicBezTo>
                  <a:close/>
                  <a:moveTo>
                    <a:pt x="40481" y="12859"/>
                  </a:moveTo>
                  <a:cubicBezTo>
                    <a:pt x="43339" y="13811"/>
                    <a:pt x="47149" y="17621"/>
                    <a:pt x="48101" y="24289"/>
                  </a:cubicBezTo>
                  <a:cubicBezTo>
                    <a:pt x="45244" y="25241"/>
                    <a:pt x="42386" y="25241"/>
                    <a:pt x="40481" y="25241"/>
                  </a:cubicBezTo>
                  <a:lnTo>
                    <a:pt x="40481" y="12859"/>
                  </a:lnTo>
                  <a:close/>
                  <a:moveTo>
                    <a:pt x="40481" y="28099"/>
                  </a:moveTo>
                  <a:cubicBezTo>
                    <a:pt x="43339" y="28099"/>
                    <a:pt x="46196" y="27146"/>
                    <a:pt x="49054" y="27146"/>
                  </a:cubicBezTo>
                  <a:cubicBezTo>
                    <a:pt x="50006" y="30004"/>
                    <a:pt x="50006" y="33814"/>
                    <a:pt x="50006" y="37624"/>
                  </a:cubicBezTo>
                  <a:lnTo>
                    <a:pt x="39529" y="37624"/>
                  </a:lnTo>
                  <a:lnTo>
                    <a:pt x="39529" y="28099"/>
                  </a:lnTo>
                  <a:close/>
                  <a:moveTo>
                    <a:pt x="40481" y="40481"/>
                  </a:moveTo>
                  <a:lnTo>
                    <a:pt x="50959" y="40481"/>
                  </a:lnTo>
                  <a:cubicBezTo>
                    <a:pt x="50959" y="44291"/>
                    <a:pt x="50006" y="48101"/>
                    <a:pt x="50006" y="50959"/>
                  </a:cubicBezTo>
                  <a:cubicBezTo>
                    <a:pt x="47149" y="50006"/>
                    <a:pt x="44291" y="50006"/>
                    <a:pt x="41434" y="50006"/>
                  </a:cubicBezTo>
                  <a:lnTo>
                    <a:pt x="41434" y="40481"/>
                  </a:lnTo>
                  <a:close/>
                  <a:moveTo>
                    <a:pt x="40481" y="64294"/>
                  </a:moveTo>
                  <a:lnTo>
                    <a:pt x="40481" y="51911"/>
                  </a:lnTo>
                  <a:cubicBezTo>
                    <a:pt x="43339" y="51911"/>
                    <a:pt x="46196" y="52864"/>
                    <a:pt x="48101" y="52864"/>
                  </a:cubicBezTo>
                  <a:cubicBezTo>
                    <a:pt x="46196" y="58579"/>
                    <a:pt x="43339" y="63341"/>
                    <a:pt x="40481" y="64294"/>
                  </a:cubicBezTo>
                  <a:close/>
                  <a:moveTo>
                    <a:pt x="44291" y="65246"/>
                  </a:moveTo>
                  <a:cubicBezTo>
                    <a:pt x="47149" y="63341"/>
                    <a:pt x="49054" y="59531"/>
                    <a:pt x="50959" y="53816"/>
                  </a:cubicBezTo>
                  <a:cubicBezTo>
                    <a:pt x="53816" y="54769"/>
                    <a:pt x="55721" y="55721"/>
                    <a:pt x="57626" y="57626"/>
                  </a:cubicBezTo>
                  <a:cubicBezTo>
                    <a:pt x="54769" y="61436"/>
                    <a:pt x="50006" y="64294"/>
                    <a:pt x="44291" y="65246"/>
                  </a:cubicBezTo>
                  <a:close/>
                  <a:moveTo>
                    <a:pt x="60484" y="55721"/>
                  </a:moveTo>
                  <a:cubicBezTo>
                    <a:pt x="58579" y="53816"/>
                    <a:pt x="55721" y="52864"/>
                    <a:pt x="51911" y="51911"/>
                  </a:cubicBezTo>
                  <a:cubicBezTo>
                    <a:pt x="52864" y="48101"/>
                    <a:pt x="52864" y="44291"/>
                    <a:pt x="53816" y="40481"/>
                  </a:cubicBezTo>
                  <a:lnTo>
                    <a:pt x="66199" y="40481"/>
                  </a:lnTo>
                  <a:cubicBezTo>
                    <a:pt x="66199" y="46196"/>
                    <a:pt x="63341" y="50959"/>
                    <a:pt x="60484" y="5572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8" name="任意多边形: 形状 167">
              <a:extLst>
                <a:ext uri="{FF2B5EF4-FFF2-40B4-BE49-F238E27FC236}">
                  <a16:creationId xmlns:a16="http://schemas.microsoft.com/office/drawing/2014/main" id="{E69E7146-F5F0-4E8E-90AB-01B624EC2694}"/>
                </a:ext>
              </a:extLst>
            </p:cNvPr>
            <p:cNvSpPr/>
            <p:nvPr/>
          </p:nvSpPr>
          <p:spPr>
            <a:xfrm>
              <a:off x="6675596" y="3001803"/>
              <a:ext cx="95250" cy="95250"/>
            </a:xfrm>
            <a:custGeom>
              <a:avLst/>
              <a:gdLst>
                <a:gd name="connsiteX0" fmla="*/ 94774 w 95250"/>
                <a:gd name="connsiteY0" fmla="*/ 50959 h 95250"/>
                <a:gd name="connsiteX1" fmla="*/ 50959 w 95250"/>
                <a:gd name="connsiteY1" fmla="*/ 94774 h 95250"/>
                <a:gd name="connsiteX2" fmla="*/ 7144 w 95250"/>
                <a:gd name="connsiteY2" fmla="*/ 50959 h 95250"/>
                <a:gd name="connsiteX3" fmla="*/ 50959 w 95250"/>
                <a:gd name="connsiteY3" fmla="*/ 7144 h 95250"/>
                <a:gd name="connsiteX4" fmla="*/ 94774 w 95250"/>
                <a:gd name="connsiteY4" fmla="*/ 50959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94774" y="50959"/>
                  </a:moveTo>
                  <a:cubicBezTo>
                    <a:pt x="94774" y="75157"/>
                    <a:pt x="75157" y="94774"/>
                    <a:pt x="50959" y="94774"/>
                  </a:cubicBezTo>
                  <a:cubicBezTo>
                    <a:pt x="26760" y="94774"/>
                    <a:pt x="7144" y="75157"/>
                    <a:pt x="7144" y="50959"/>
                  </a:cubicBezTo>
                  <a:cubicBezTo>
                    <a:pt x="7144" y="26760"/>
                    <a:pt x="26760" y="7144"/>
                    <a:pt x="50959" y="7144"/>
                  </a:cubicBezTo>
                  <a:cubicBezTo>
                    <a:pt x="75157" y="7144"/>
                    <a:pt x="94774" y="26760"/>
                    <a:pt x="94774" y="50959"/>
                  </a:cubicBezTo>
                  <a:close/>
                </a:path>
              </a:pathLst>
            </a:custGeom>
            <a:solidFill>
              <a:srgbClr val="E3493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9" name="任意多边形: 形状 168">
              <a:extLst>
                <a:ext uri="{FF2B5EF4-FFF2-40B4-BE49-F238E27FC236}">
                  <a16:creationId xmlns:a16="http://schemas.microsoft.com/office/drawing/2014/main" id="{CE48ED18-9FAC-4BF7-9EFA-E65C1E40C5AC}"/>
                </a:ext>
              </a:extLst>
            </p:cNvPr>
            <p:cNvSpPr/>
            <p:nvPr/>
          </p:nvSpPr>
          <p:spPr>
            <a:xfrm>
              <a:off x="6690836" y="3017043"/>
              <a:ext cx="66675" cy="66675"/>
            </a:xfrm>
            <a:custGeom>
              <a:avLst/>
              <a:gdLst>
                <a:gd name="connsiteX0" fmla="*/ 62389 w 66675"/>
                <a:gd name="connsiteY0" fmla="*/ 30004 h 66675"/>
                <a:gd name="connsiteX1" fmla="*/ 56674 w 66675"/>
                <a:gd name="connsiteY1" fmla="*/ 30004 h 66675"/>
                <a:gd name="connsiteX2" fmla="*/ 54769 w 66675"/>
                <a:gd name="connsiteY2" fmla="*/ 26194 h 66675"/>
                <a:gd name="connsiteX3" fmla="*/ 58579 w 66675"/>
                <a:gd name="connsiteY3" fmla="*/ 22384 h 66675"/>
                <a:gd name="connsiteX4" fmla="*/ 58579 w 66675"/>
                <a:gd name="connsiteY4" fmla="*/ 18574 h 66675"/>
                <a:gd name="connsiteX5" fmla="*/ 53816 w 66675"/>
                <a:gd name="connsiteY5" fmla="*/ 13811 h 66675"/>
                <a:gd name="connsiteX6" fmla="*/ 50006 w 66675"/>
                <a:gd name="connsiteY6" fmla="*/ 13811 h 66675"/>
                <a:gd name="connsiteX7" fmla="*/ 46196 w 66675"/>
                <a:gd name="connsiteY7" fmla="*/ 17621 h 66675"/>
                <a:gd name="connsiteX8" fmla="*/ 42386 w 66675"/>
                <a:gd name="connsiteY8" fmla="*/ 15716 h 66675"/>
                <a:gd name="connsiteX9" fmla="*/ 42386 w 66675"/>
                <a:gd name="connsiteY9" fmla="*/ 10001 h 66675"/>
                <a:gd name="connsiteX10" fmla="*/ 39529 w 66675"/>
                <a:gd name="connsiteY10" fmla="*/ 7144 h 66675"/>
                <a:gd name="connsiteX11" fmla="*/ 32861 w 66675"/>
                <a:gd name="connsiteY11" fmla="*/ 7144 h 66675"/>
                <a:gd name="connsiteX12" fmla="*/ 30004 w 66675"/>
                <a:gd name="connsiteY12" fmla="*/ 10001 h 66675"/>
                <a:gd name="connsiteX13" fmla="*/ 30004 w 66675"/>
                <a:gd name="connsiteY13" fmla="*/ 15716 h 66675"/>
                <a:gd name="connsiteX14" fmla="*/ 26194 w 66675"/>
                <a:gd name="connsiteY14" fmla="*/ 17621 h 66675"/>
                <a:gd name="connsiteX15" fmla="*/ 22384 w 66675"/>
                <a:gd name="connsiteY15" fmla="*/ 13811 h 66675"/>
                <a:gd name="connsiteX16" fmla="*/ 18574 w 66675"/>
                <a:gd name="connsiteY16" fmla="*/ 13811 h 66675"/>
                <a:gd name="connsiteX17" fmla="*/ 13811 w 66675"/>
                <a:gd name="connsiteY17" fmla="*/ 18574 h 66675"/>
                <a:gd name="connsiteX18" fmla="*/ 13811 w 66675"/>
                <a:gd name="connsiteY18" fmla="*/ 22384 h 66675"/>
                <a:gd name="connsiteX19" fmla="*/ 17621 w 66675"/>
                <a:gd name="connsiteY19" fmla="*/ 26194 h 66675"/>
                <a:gd name="connsiteX20" fmla="*/ 15716 w 66675"/>
                <a:gd name="connsiteY20" fmla="*/ 30004 h 66675"/>
                <a:gd name="connsiteX21" fmla="*/ 10001 w 66675"/>
                <a:gd name="connsiteY21" fmla="*/ 30004 h 66675"/>
                <a:gd name="connsiteX22" fmla="*/ 7144 w 66675"/>
                <a:gd name="connsiteY22" fmla="*/ 32861 h 66675"/>
                <a:gd name="connsiteX23" fmla="*/ 7144 w 66675"/>
                <a:gd name="connsiteY23" fmla="*/ 39529 h 66675"/>
                <a:gd name="connsiteX24" fmla="*/ 10001 w 66675"/>
                <a:gd name="connsiteY24" fmla="*/ 42386 h 66675"/>
                <a:gd name="connsiteX25" fmla="*/ 15716 w 66675"/>
                <a:gd name="connsiteY25" fmla="*/ 42386 h 66675"/>
                <a:gd name="connsiteX26" fmla="*/ 17621 w 66675"/>
                <a:gd name="connsiteY26" fmla="*/ 46196 h 66675"/>
                <a:gd name="connsiteX27" fmla="*/ 13811 w 66675"/>
                <a:gd name="connsiteY27" fmla="*/ 50006 h 66675"/>
                <a:gd name="connsiteX28" fmla="*/ 13811 w 66675"/>
                <a:gd name="connsiteY28" fmla="*/ 53816 h 66675"/>
                <a:gd name="connsiteX29" fmla="*/ 18574 w 66675"/>
                <a:gd name="connsiteY29" fmla="*/ 58579 h 66675"/>
                <a:gd name="connsiteX30" fmla="*/ 22384 w 66675"/>
                <a:gd name="connsiteY30" fmla="*/ 58579 h 66675"/>
                <a:gd name="connsiteX31" fmla="*/ 26194 w 66675"/>
                <a:gd name="connsiteY31" fmla="*/ 54769 h 66675"/>
                <a:gd name="connsiteX32" fmla="*/ 30004 w 66675"/>
                <a:gd name="connsiteY32" fmla="*/ 56674 h 66675"/>
                <a:gd name="connsiteX33" fmla="*/ 30004 w 66675"/>
                <a:gd name="connsiteY33" fmla="*/ 62389 h 66675"/>
                <a:gd name="connsiteX34" fmla="*/ 32861 w 66675"/>
                <a:gd name="connsiteY34" fmla="*/ 65246 h 66675"/>
                <a:gd name="connsiteX35" fmla="*/ 39529 w 66675"/>
                <a:gd name="connsiteY35" fmla="*/ 65246 h 66675"/>
                <a:gd name="connsiteX36" fmla="*/ 42386 w 66675"/>
                <a:gd name="connsiteY36" fmla="*/ 62389 h 66675"/>
                <a:gd name="connsiteX37" fmla="*/ 42386 w 66675"/>
                <a:gd name="connsiteY37" fmla="*/ 56674 h 66675"/>
                <a:gd name="connsiteX38" fmla="*/ 46196 w 66675"/>
                <a:gd name="connsiteY38" fmla="*/ 54769 h 66675"/>
                <a:gd name="connsiteX39" fmla="*/ 50006 w 66675"/>
                <a:gd name="connsiteY39" fmla="*/ 58579 h 66675"/>
                <a:gd name="connsiteX40" fmla="*/ 53816 w 66675"/>
                <a:gd name="connsiteY40" fmla="*/ 58579 h 66675"/>
                <a:gd name="connsiteX41" fmla="*/ 58579 w 66675"/>
                <a:gd name="connsiteY41" fmla="*/ 53816 h 66675"/>
                <a:gd name="connsiteX42" fmla="*/ 58579 w 66675"/>
                <a:gd name="connsiteY42" fmla="*/ 50006 h 66675"/>
                <a:gd name="connsiteX43" fmla="*/ 54769 w 66675"/>
                <a:gd name="connsiteY43" fmla="*/ 46196 h 66675"/>
                <a:gd name="connsiteX44" fmla="*/ 56674 w 66675"/>
                <a:gd name="connsiteY44" fmla="*/ 42386 h 66675"/>
                <a:gd name="connsiteX45" fmla="*/ 62389 w 66675"/>
                <a:gd name="connsiteY45" fmla="*/ 42386 h 66675"/>
                <a:gd name="connsiteX46" fmla="*/ 65246 w 66675"/>
                <a:gd name="connsiteY46" fmla="*/ 39529 h 66675"/>
                <a:gd name="connsiteX47" fmla="*/ 65246 w 66675"/>
                <a:gd name="connsiteY47" fmla="*/ 32861 h 66675"/>
                <a:gd name="connsiteX48" fmla="*/ 62389 w 66675"/>
                <a:gd name="connsiteY48" fmla="*/ 30004 h 66675"/>
                <a:gd name="connsiteX49" fmla="*/ 35719 w 66675"/>
                <a:gd name="connsiteY49" fmla="*/ 47149 h 66675"/>
                <a:gd name="connsiteX50" fmla="*/ 24289 w 66675"/>
                <a:gd name="connsiteY50" fmla="*/ 35719 h 66675"/>
                <a:gd name="connsiteX51" fmla="*/ 35719 w 66675"/>
                <a:gd name="connsiteY51" fmla="*/ 24289 h 66675"/>
                <a:gd name="connsiteX52" fmla="*/ 47149 w 66675"/>
                <a:gd name="connsiteY52" fmla="*/ 35719 h 66675"/>
                <a:gd name="connsiteX53" fmla="*/ 35719 w 66675"/>
                <a:gd name="connsiteY53" fmla="*/ 47149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66675" h="66675">
                  <a:moveTo>
                    <a:pt x="62389" y="30004"/>
                  </a:moveTo>
                  <a:lnTo>
                    <a:pt x="56674" y="30004"/>
                  </a:lnTo>
                  <a:cubicBezTo>
                    <a:pt x="56674" y="28099"/>
                    <a:pt x="55721" y="27146"/>
                    <a:pt x="54769" y="26194"/>
                  </a:cubicBezTo>
                  <a:lnTo>
                    <a:pt x="58579" y="22384"/>
                  </a:lnTo>
                  <a:cubicBezTo>
                    <a:pt x="59531" y="21431"/>
                    <a:pt x="59531" y="19526"/>
                    <a:pt x="58579" y="18574"/>
                  </a:cubicBezTo>
                  <a:lnTo>
                    <a:pt x="53816" y="13811"/>
                  </a:lnTo>
                  <a:cubicBezTo>
                    <a:pt x="52864" y="12859"/>
                    <a:pt x="50959" y="12859"/>
                    <a:pt x="50006" y="13811"/>
                  </a:cubicBezTo>
                  <a:lnTo>
                    <a:pt x="46196" y="17621"/>
                  </a:lnTo>
                  <a:cubicBezTo>
                    <a:pt x="45244" y="16669"/>
                    <a:pt x="43339" y="16669"/>
                    <a:pt x="42386" y="15716"/>
                  </a:cubicBezTo>
                  <a:lnTo>
                    <a:pt x="42386" y="10001"/>
                  </a:lnTo>
                  <a:cubicBezTo>
                    <a:pt x="42386" y="8096"/>
                    <a:pt x="41434" y="7144"/>
                    <a:pt x="39529" y="7144"/>
                  </a:cubicBezTo>
                  <a:lnTo>
                    <a:pt x="32861" y="7144"/>
                  </a:lnTo>
                  <a:cubicBezTo>
                    <a:pt x="30956" y="7144"/>
                    <a:pt x="30004" y="8096"/>
                    <a:pt x="30004" y="10001"/>
                  </a:cubicBezTo>
                  <a:lnTo>
                    <a:pt x="30004" y="15716"/>
                  </a:lnTo>
                  <a:cubicBezTo>
                    <a:pt x="28099" y="15716"/>
                    <a:pt x="27146" y="16669"/>
                    <a:pt x="26194" y="17621"/>
                  </a:cubicBezTo>
                  <a:lnTo>
                    <a:pt x="22384" y="13811"/>
                  </a:lnTo>
                  <a:cubicBezTo>
                    <a:pt x="21431" y="12859"/>
                    <a:pt x="19526" y="12859"/>
                    <a:pt x="18574" y="13811"/>
                  </a:cubicBezTo>
                  <a:lnTo>
                    <a:pt x="13811" y="18574"/>
                  </a:lnTo>
                  <a:cubicBezTo>
                    <a:pt x="12859" y="19526"/>
                    <a:pt x="12859" y="21431"/>
                    <a:pt x="13811" y="22384"/>
                  </a:cubicBezTo>
                  <a:lnTo>
                    <a:pt x="17621" y="26194"/>
                  </a:lnTo>
                  <a:cubicBezTo>
                    <a:pt x="16669" y="27146"/>
                    <a:pt x="16669" y="29051"/>
                    <a:pt x="15716" y="30004"/>
                  </a:cubicBezTo>
                  <a:lnTo>
                    <a:pt x="10001" y="30004"/>
                  </a:lnTo>
                  <a:cubicBezTo>
                    <a:pt x="8096" y="30004"/>
                    <a:pt x="7144" y="30956"/>
                    <a:pt x="7144" y="32861"/>
                  </a:cubicBezTo>
                  <a:lnTo>
                    <a:pt x="7144" y="39529"/>
                  </a:lnTo>
                  <a:cubicBezTo>
                    <a:pt x="7144" y="41434"/>
                    <a:pt x="8096" y="42386"/>
                    <a:pt x="10001" y="42386"/>
                  </a:cubicBezTo>
                  <a:lnTo>
                    <a:pt x="15716" y="42386"/>
                  </a:lnTo>
                  <a:cubicBezTo>
                    <a:pt x="15716" y="44291"/>
                    <a:pt x="16669" y="45244"/>
                    <a:pt x="17621" y="46196"/>
                  </a:cubicBezTo>
                  <a:lnTo>
                    <a:pt x="13811" y="50006"/>
                  </a:lnTo>
                  <a:cubicBezTo>
                    <a:pt x="12859" y="50959"/>
                    <a:pt x="12859" y="52864"/>
                    <a:pt x="13811" y="53816"/>
                  </a:cubicBezTo>
                  <a:lnTo>
                    <a:pt x="18574" y="58579"/>
                  </a:lnTo>
                  <a:cubicBezTo>
                    <a:pt x="19526" y="59531"/>
                    <a:pt x="21431" y="59531"/>
                    <a:pt x="22384" y="58579"/>
                  </a:cubicBezTo>
                  <a:lnTo>
                    <a:pt x="26194" y="54769"/>
                  </a:lnTo>
                  <a:cubicBezTo>
                    <a:pt x="27146" y="55721"/>
                    <a:pt x="29051" y="55721"/>
                    <a:pt x="30004" y="56674"/>
                  </a:cubicBezTo>
                  <a:lnTo>
                    <a:pt x="30004" y="62389"/>
                  </a:lnTo>
                  <a:cubicBezTo>
                    <a:pt x="30004" y="64294"/>
                    <a:pt x="30956" y="65246"/>
                    <a:pt x="32861" y="65246"/>
                  </a:cubicBezTo>
                  <a:lnTo>
                    <a:pt x="39529" y="65246"/>
                  </a:lnTo>
                  <a:cubicBezTo>
                    <a:pt x="41434" y="65246"/>
                    <a:pt x="42386" y="64294"/>
                    <a:pt x="42386" y="62389"/>
                  </a:cubicBezTo>
                  <a:lnTo>
                    <a:pt x="42386" y="56674"/>
                  </a:lnTo>
                  <a:cubicBezTo>
                    <a:pt x="44291" y="56674"/>
                    <a:pt x="45244" y="55721"/>
                    <a:pt x="46196" y="54769"/>
                  </a:cubicBezTo>
                  <a:lnTo>
                    <a:pt x="50006" y="58579"/>
                  </a:lnTo>
                  <a:cubicBezTo>
                    <a:pt x="50959" y="59531"/>
                    <a:pt x="52864" y="59531"/>
                    <a:pt x="53816" y="58579"/>
                  </a:cubicBezTo>
                  <a:lnTo>
                    <a:pt x="58579" y="53816"/>
                  </a:lnTo>
                  <a:cubicBezTo>
                    <a:pt x="59531" y="52864"/>
                    <a:pt x="59531" y="50959"/>
                    <a:pt x="58579" y="50006"/>
                  </a:cubicBezTo>
                  <a:lnTo>
                    <a:pt x="54769" y="46196"/>
                  </a:lnTo>
                  <a:cubicBezTo>
                    <a:pt x="55721" y="45244"/>
                    <a:pt x="55721" y="43339"/>
                    <a:pt x="56674" y="42386"/>
                  </a:cubicBezTo>
                  <a:lnTo>
                    <a:pt x="62389" y="42386"/>
                  </a:lnTo>
                  <a:cubicBezTo>
                    <a:pt x="64294" y="42386"/>
                    <a:pt x="65246" y="41434"/>
                    <a:pt x="65246" y="39529"/>
                  </a:cubicBezTo>
                  <a:lnTo>
                    <a:pt x="65246" y="32861"/>
                  </a:lnTo>
                  <a:cubicBezTo>
                    <a:pt x="64294" y="30956"/>
                    <a:pt x="63341" y="30004"/>
                    <a:pt x="62389" y="30004"/>
                  </a:cubicBezTo>
                  <a:close/>
                  <a:moveTo>
                    <a:pt x="35719" y="47149"/>
                  </a:moveTo>
                  <a:cubicBezTo>
                    <a:pt x="29051" y="47149"/>
                    <a:pt x="24289" y="42386"/>
                    <a:pt x="24289" y="35719"/>
                  </a:cubicBezTo>
                  <a:cubicBezTo>
                    <a:pt x="24289" y="29051"/>
                    <a:pt x="29051" y="24289"/>
                    <a:pt x="35719" y="24289"/>
                  </a:cubicBezTo>
                  <a:cubicBezTo>
                    <a:pt x="42386" y="24289"/>
                    <a:pt x="47149" y="29051"/>
                    <a:pt x="47149" y="35719"/>
                  </a:cubicBezTo>
                  <a:cubicBezTo>
                    <a:pt x="47149" y="42386"/>
                    <a:pt x="42386" y="47149"/>
                    <a:pt x="35719" y="4714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0" name="任意多边形: 形状 169">
              <a:extLst>
                <a:ext uri="{FF2B5EF4-FFF2-40B4-BE49-F238E27FC236}">
                  <a16:creationId xmlns:a16="http://schemas.microsoft.com/office/drawing/2014/main" id="{FFC49279-0BC4-445C-B8DB-F7188CD6C61E}"/>
                </a:ext>
              </a:extLst>
            </p:cNvPr>
            <p:cNvSpPr/>
            <p:nvPr/>
          </p:nvSpPr>
          <p:spPr>
            <a:xfrm>
              <a:off x="6795611" y="3008471"/>
              <a:ext cx="28575" cy="28575"/>
            </a:xfrm>
            <a:custGeom>
              <a:avLst/>
              <a:gdLst>
                <a:gd name="connsiteX0" fmla="*/ 7144 w 28575"/>
                <a:gd name="connsiteY0" fmla="*/ 7144 h 28575"/>
                <a:gd name="connsiteX1" fmla="*/ 25241 w 28575"/>
                <a:gd name="connsiteY1" fmla="*/ 7144 h 28575"/>
                <a:gd name="connsiteX2" fmla="*/ 25241 w 28575"/>
                <a:gd name="connsiteY2" fmla="*/ 25241 h 28575"/>
                <a:gd name="connsiteX3" fmla="*/ 7144 w 28575"/>
                <a:gd name="connsiteY3" fmla="*/ 25241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28575">
                  <a:moveTo>
                    <a:pt x="7144" y="7144"/>
                  </a:moveTo>
                  <a:lnTo>
                    <a:pt x="25241" y="7144"/>
                  </a:lnTo>
                  <a:lnTo>
                    <a:pt x="25241" y="25241"/>
                  </a:lnTo>
                  <a:lnTo>
                    <a:pt x="7144" y="25241"/>
                  </a:ln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1" name="任意多边形: 形状 170">
              <a:extLst>
                <a:ext uri="{FF2B5EF4-FFF2-40B4-BE49-F238E27FC236}">
                  <a16:creationId xmlns:a16="http://schemas.microsoft.com/office/drawing/2014/main" id="{C1454664-025C-4604-8D4F-AE07FCCD855D}"/>
                </a:ext>
              </a:extLst>
            </p:cNvPr>
            <p:cNvSpPr/>
            <p:nvPr/>
          </p:nvSpPr>
          <p:spPr>
            <a:xfrm>
              <a:off x="6825139" y="3008471"/>
              <a:ext cx="28575" cy="28575"/>
            </a:xfrm>
            <a:custGeom>
              <a:avLst/>
              <a:gdLst>
                <a:gd name="connsiteX0" fmla="*/ 7144 w 28575"/>
                <a:gd name="connsiteY0" fmla="*/ 7144 h 28575"/>
                <a:gd name="connsiteX1" fmla="*/ 25241 w 28575"/>
                <a:gd name="connsiteY1" fmla="*/ 7144 h 28575"/>
                <a:gd name="connsiteX2" fmla="*/ 25241 w 28575"/>
                <a:gd name="connsiteY2" fmla="*/ 25241 h 28575"/>
                <a:gd name="connsiteX3" fmla="*/ 7144 w 28575"/>
                <a:gd name="connsiteY3" fmla="*/ 25241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28575">
                  <a:moveTo>
                    <a:pt x="7144" y="7144"/>
                  </a:moveTo>
                  <a:lnTo>
                    <a:pt x="25241" y="7144"/>
                  </a:lnTo>
                  <a:lnTo>
                    <a:pt x="25241" y="25241"/>
                  </a:lnTo>
                  <a:lnTo>
                    <a:pt x="7144" y="25241"/>
                  </a:ln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2" name="任意多边形: 形状 171">
              <a:extLst>
                <a:ext uri="{FF2B5EF4-FFF2-40B4-BE49-F238E27FC236}">
                  <a16:creationId xmlns:a16="http://schemas.microsoft.com/office/drawing/2014/main" id="{49884AB5-331B-45BE-B9AD-E2F2802D4BAC}"/>
                </a:ext>
              </a:extLst>
            </p:cNvPr>
            <p:cNvSpPr/>
            <p:nvPr/>
          </p:nvSpPr>
          <p:spPr>
            <a:xfrm>
              <a:off x="6795611" y="3036093"/>
              <a:ext cx="28575" cy="28575"/>
            </a:xfrm>
            <a:custGeom>
              <a:avLst/>
              <a:gdLst>
                <a:gd name="connsiteX0" fmla="*/ 7144 w 28575"/>
                <a:gd name="connsiteY0" fmla="*/ 7144 h 28575"/>
                <a:gd name="connsiteX1" fmla="*/ 25241 w 28575"/>
                <a:gd name="connsiteY1" fmla="*/ 7144 h 28575"/>
                <a:gd name="connsiteX2" fmla="*/ 25241 w 28575"/>
                <a:gd name="connsiteY2" fmla="*/ 25241 h 28575"/>
                <a:gd name="connsiteX3" fmla="*/ 7144 w 28575"/>
                <a:gd name="connsiteY3" fmla="*/ 25241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28575">
                  <a:moveTo>
                    <a:pt x="7144" y="7144"/>
                  </a:moveTo>
                  <a:lnTo>
                    <a:pt x="25241" y="7144"/>
                  </a:lnTo>
                  <a:lnTo>
                    <a:pt x="25241" y="25241"/>
                  </a:lnTo>
                  <a:lnTo>
                    <a:pt x="7144" y="25241"/>
                  </a:ln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3" name="任意多边形: 形状 172">
              <a:extLst>
                <a:ext uri="{FF2B5EF4-FFF2-40B4-BE49-F238E27FC236}">
                  <a16:creationId xmlns:a16="http://schemas.microsoft.com/office/drawing/2014/main" id="{7B8A79F9-3A01-434A-A5D2-CB1CC6A3124E}"/>
                </a:ext>
              </a:extLst>
            </p:cNvPr>
            <p:cNvSpPr/>
            <p:nvPr/>
          </p:nvSpPr>
          <p:spPr>
            <a:xfrm>
              <a:off x="6825139" y="3036093"/>
              <a:ext cx="28575" cy="28575"/>
            </a:xfrm>
            <a:custGeom>
              <a:avLst/>
              <a:gdLst>
                <a:gd name="connsiteX0" fmla="*/ 7144 w 28575"/>
                <a:gd name="connsiteY0" fmla="*/ 7144 h 28575"/>
                <a:gd name="connsiteX1" fmla="*/ 25241 w 28575"/>
                <a:gd name="connsiteY1" fmla="*/ 7144 h 28575"/>
                <a:gd name="connsiteX2" fmla="*/ 25241 w 28575"/>
                <a:gd name="connsiteY2" fmla="*/ 25241 h 28575"/>
                <a:gd name="connsiteX3" fmla="*/ 7144 w 28575"/>
                <a:gd name="connsiteY3" fmla="*/ 25241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28575">
                  <a:moveTo>
                    <a:pt x="7144" y="7144"/>
                  </a:moveTo>
                  <a:lnTo>
                    <a:pt x="25241" y="7144"/>
                  </a:lnTo>
                  <a:lnTo>
                    <a:pt x="25241" y="25241"/>
                  </a:lnTo>
                  <a:lnTo>
                    <a:pt x="7144" y="25241"/>
                  </a:lnTo>
                  <a:close/>
                </a:path>
              </a:pathLst>
            </a:custGeom>
            <a:solidFill>
              <a:srgbClr val="F065A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4" name="任意多边形: 形状 173">
              <a:extLst>
                <a:ext uri="{FF2B5EF4-FFF2-40B4-BE49-F238E27FC236}">
                  <a16:creationId xmlns:a16="http://schemas.microsoft.com/office/drawing/2014/main" id="{CD250D7A-0F11-4C49-8ECA-A0107A85C2E0}"/>
                </a:ext>
              </a:extLst>
            </p:cNvPr>
            <p:cNvSpPr/>
            <p:nvPr/>
          </p:nvSpPr>
          <p:spPr>
            <a:xfrm>
              <a:off x="6795611" y="3064668"/>
              <a:ext cx="28575" cy="28575"/>
            </a:xfrm>
            <a:custGeom>
              <a:avLst/>
              <a:gdLst>
                <a:gd name="connsiteX0" fmla="*/ 7144 w 28575"/>
                <a:gd name="connsiteY0" fmla="*/ 7144 h 28575"/>
                <a:gd name="connsiteX1" fmla="*/ 25241 w 28575"/>
                <a:gd name="connsiteY1" fmla="*/ 7144 h 28575"/>
                <a:gd name="connsiteX2" fmla="*/ 25241 w 28575"/>
                <a:gd name="connsiteY2" fmla="*/ 25241 h 28575"/>
                <a:gd name="connsiteX3" fmla="*/ 7144 w 28575"/>
                <a:gd name="connsiteY3" fmla="*/ 25241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28575">
                  <a:moveTo>
                    <a:pt x="7144" y="7144"/>
                  </a:moveTo>
                  <a:lnTo>
                    <a:pt x="25241" y="7144"/>
                  </a:lnTo>
                  <a:lnTo>
                    <a:pt x="25241" y="25241"/>
                  </a:lnTo>
                  <a:lnTo>
                    <a:pt x="7144" y="25241"/>
                  </a:lnTo>
                  <a:close/>
                </a:path>
              </a:pathLst>
            </a:custGeom>
            <a:solidFill>
              <a:srgbClr val="F065A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5" name="任意多边形: 形状 174">
              <a:extLst>
                <a:ext uri="{FF2B5EF4-FFF2-40B4-BE49-F238E27FC236}">
                  <a16:creationId xmlns:a16="http://schemas.microsoft.com/office/drawing/2014/main" id="{AE40FF33-EB7D-4F4A-AF47-1FD43CFA6DDB}"/>
                </a:ext>
              </a:extLst>
            </p:cNvPr>
            <p:cNvSpPr/>
            <p:nvPr/>
          </p:nvSpPr>
          <p:spPr>
            <a:xfrm>
              <a:off x="6825139" y="3064668"/>
              <a:ext cx="28575" cy="28575"/>
            </a:xfrm>
            <a:custGeom>
              <a:avLst/>
              <a:gdLst>
                <a:gd name="connsiteX0" fmla="*/ 7144 w 28575"/>
                <a:gd name="connsiteY0" fmla="*/ 7144 h 28575"/>
                <a:gd name="connsiteX1" fmla="*/ 25241 w 28575"/>
                <a:gd name="connsiteY1" fmla="*/ 7144 h 28575"/>
                <a:gd name="connsiteX2" fmla="*/ 25241 w 28575"/>
                <a:gd name="connsiteY2" fmla="*/ 25241 h 28575"/>
                <a:gd name="connsiteX3" fmla="*/ 7144 w 28575"/>
                <a:gd name="connsiteY3" fmla="*/ 25241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28575">
                  <a:moveTo>
                    <a:pt x="7144" y="7144"/>
                  </a:moveTo>
                  <a:lnTo>
                    <a:pt x="25241" y="7144"/>
                  </a:lnTo>
                  <a:lnTo>
                    <a:pt x="25241" y="25241"/>
                  </a:lnTo>
                  <a:lnTo>
                    <a:pt x="7144" y="25241"/>
                  </a:lnTo>
                  <a:close/>
                </a:path>
              </a:pathLst>
            </a:custGeom>
            <a:solidFill>
              <a:srgbClr val="F065A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6" name="任意多边形: 形状 175">
              <a:extLst>
                <a:ext uri="{FF2B5EF4-FFF2-40B4-BE49-F238E27FC236}">
                  <a16:creationId xmlns:a16="http://schemas.microsoft.com/office/drawing/2014/main" id="{9D1151DD-20EF-46C1-B29E-3D4FEECBEC9C}"/>
                </a:ext>
              </a:extLst>
            </p:cNvPr>
            <p:cNvSpPr/>
            <p:nvPr/>
          </p:nvSpPr>
          <p:spPr>
            <a:xfrm>
              <a:off x="7174159" y="3001668"/>
              <a:ext cx="314325" cy="314325"/>
            </a:xfrm>
            <a:custGeom>
              <a:avLst/>
              <a:gdLst>
                <a:gd name="connsiteX0" fmla="*/ 305823 w 314325"/>
                <a:gd name="connsiteY0" fmla="*/ 176824 h 314325"/>
                <a:gd name="connsiteX1" fmla="*/ 156281 w 314325"/>
                <a:gd name="connsiteY1" fmla="*/ 218734 h 314325"/>
                <a:gd name="connsiteX2" fmla="*/ 61031 w 314325"/>
                <a:gd name="connsiteY2" fmla="*/ 66334 h 314325"/>
                <a:gd name="connsiteX3" fmla="*/ 61031 w 314325"/>
                <a:gd name="connsiteY3" fmla="*/ 31091 h 314325"/>
                <a:gd name="connsiteX4" fmla="*/ 48648 w 314325"/>
                <a:gd name="connsiteY4" fmla="*/ 7279 h 314325"/>
                <a:gd name="connsiteX5" fmla="*/ 34361 w 314325"/>
                <a:gd name="connsiteY5" fmla="*/ 71096 h 314325"/>
                <a:gd name="connsiteX6" fmla="*/ 184856 w 314325"/>
                <a:gd name="connsiteY6" fmla="*/ 313031 h 314325"/>
                <a:gd name="connsiteX7" fmla="*/ 316301 w 314325"/>
                <a:gd name="connsiteY7" fmla="*/ 288266 h 314325"/>
                <a:gd name="connsiteX8" fmla="*/ 305823 w 314325"/>
                <a:gd name="connsiteY8" fmla="*/ 176824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4325" h="314325">
                  <a:moveTo>
                    <a:pt x="305823" y="176824"/>
                  </a:moveTo>
                  <a:cubicBezTo>
                    <a:pt x="305823" y="176824"/>
                    <a:pt x="225813" y="241594"/>
                    <a:pt x="156281" y="218734"/>
                  </a:cubicBezTo>
                  <a:cubicBezTo>
                    <a:pt x="87701" y="195874"/>
                    <a:pt x="61031" y="66334"/>
                    <a:pt x="61031" y="66334"/>
                  </a:cubicBezTo>
                  <a:cubicBezTo>
                    <a:pt x="61031" y="66334"/>
                    <a:pt x="76271" y="39664"/>
                    <a:pt x="61031" y="31091"/>
                  </a:cubicBezTo>
                  <a:cubicBezTo>
                    <a:pt x="61031" y="31091"/>
                    <a:pt x="63888" y="9184"/>
                    <a:pt x="48648" y="7279"/>
                  </a:cubicBezTo>
                  <a:cubicBezTo>
                    <a:pt x="33409" y="5374"/>
                    <a:pt x="-27552" y="23471"/>
                    <a:pt x="34361" y="71096"/>
                  </a:cubicBezTo>
                  <a:cubicBezTo>
                    <a:pt x="34361" y="71096"/>
                    <a:pt x="51506" y="305411"/>
                    <a:pt x="184856" y="313031"/>
                  </a:cubicBezTo>
                  <a:cubicBezTo>
                    <a:pt x="317253" y="321604"/>
                    <a:pt x="316301" y="288266"/>
                    <a:pt x="316301" y="288266"/>
                  </a:cubicBezTo>
                  <a:lnTo>
                    <a:pt x="305823" y="176824"/>
                  </a:lnTo>
                  <a:close/>
                </a:path>
              </a:pathLst>
            </a:custGeom>
            <a:solidFill>
              <a:srgbClr val="5202B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7" name="任意多边形: 形状 176">
              <a:extLst>
                <a:ext uri="{FF2B5EF4-FFF2-40B4-BE49-F238E27FC236}">
                  <a16:creationId xmlns:a16="http://schemas.microsoft.com/office/drawing/2014/main" id="{3C6921C8-AA96-4939-BFF0-6542BBB78E66}"/>
                </a:ext>
              </a:extLst>
            </p:cNvPr>
            <p:cNvSpPr/>
            <p:nvPr/>
          </p:nvSpPr>
          <p:spPr>
            <a:xfrm>
              <a:off x="7173981" y="2966383"/>
              <a:ext cx="76200" cy="171450"/>
            </a:xfrm>
            <a:custGeom>
              <a:avLst/>
              <a:gdLst>
                <a:gd name="connsiteX0" fmla="*/ 60257 w 76200"/>
                <a:gd name="connsiteY0" fmla="*/ 101619 h 171450"/>
                <a:gd name="connsiteX1" fmla="*/ 65972 w 76200"/>
                <a:gd name="connsiteY1" fmla="*/ 89237 h 171450"/>
                <a:gd name="connsiteX2" fmla="*/ 65972 w 76200"/>
                <a:gd name="connsiteY2" fmla="*/ 89237 h 171450"/>
                <a:gd name="connsiteX3" fmla="*/ 66924 w 76200"/>
                <a:gd name="connsiteY3" fmla="*/ 42564 h 171450"/>
                <a:gd name="connsiteX4" fmla="*/ 52637 w 76200"/>
                <a:gd name="connsiteY4" fmla="*/ 42564 h 171450"/>
                <a:gd name="connsiteX5" fmla="*/ 23109 w 76200"/>
                <a:gd name="connsiteY5" fmla="*/ 7322 h 171450"/>
                <a:gd name="connsiteX6" fmla="*/ 28824 w 76200"/>
                <a:gd name="connsiteY6" fmla="*/ 45422 h 171450"/>
                <a:gd name="connsiteX7" fmla="*/ 34539 w 76200"/>
                <a:gd name="connsiteY7" fmla="*/ 106382 h 171450"/>
                <a:gd name="connsiteX8" fmla="*/ 44064 w 76200"/>
                <a:gd name="connsiteY8" fmla="*/ 166389 h 171450"/>
                <a:gd name="connsiteX9" fmla="*/ 78354 w 76200"/>
                <a:gd name="connsiteY9" fmla="*/ 155912 h 171450"/>
                <a:gd name="connsiteX10" fmla="*/ 60257 w 76200"/>
                <a:gd name="connsiteY10" fmla="*/ 101619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6200" h="171450">
                  <a:moveTo>
                    <a:pt x="60257" y="101619"/>
                  </a:moveTo>
                  <a:cubicBezTo>
                    <a:pt x="60257" y="101619"/>
                    <a:pt x="63114" y="95904"/>
                    <a:pt x="65972" y="89237"/>
                  </a:cubicBezTo>
                  <a:cubicBezTo>
                    <a:pt x="65972" y="89237"/>
                    <a:pt x="65972" y="89237"/>
                    <a:pt x="65972" y="89237"/>
                  </a:cubicBezTo>
                  <a:cubicBezTo>
                    <a:pt x="80259" y="84474"/>
                    <a:pt x="72639" y="48279"/>
                    <a:pt x="66924" y="42564"/>
                  </a:cubicBezTo>
                  <a:cubicBezTo>
                    <a:pt x="62162" y="37802"/>
                    <a:pt x="55494" y="40659"/>
                    <a:pt x="52637" y="42564"/>
                  </a:cubicBezTo>
                  <a:cubicBezTo>
                    <a:pt x="49779" y="36849"/>
                    <a:pt x="32634" y="4464"/>
                    <a:pt x="23109" y="7322"/>
                  </a:cubicBezTo>
                  <a:cubicBezTo>
                    <a:pt x="16442" y="9227"/>
                    <a:pt x="23109" y="31134"/>
                    <a:pt x="28824" y="45422"/>
                  </a:cubicBezTo>
                  <a:cubicBezTo>
                    <a:pt x="8822" y="53042"/>
                    <a:pt x="-10228" y="72092"/>
                    <a:pt x="34539" y="106382"/>
                  </a:cubicBezTo>
                  <a:cubicBezTo>
                    <a:pt x="34539" y="106382"/>
                    <a:pt x="36444" y="132099"/>
                    <a:pt x="44064" y="166389"/>
                  </a:cubicBezTo>
                  <a:cubicBezTo>
                    <a:pt x="55494" y="163532"/>
                    <a:pt x="66924" y="160674"/>
                    <a:pt x="78354" y="155912"/>
                  </a:cubicBezTo>
                  <a:cubicBezTo>
                    <a:pt x="65972" y="125432"/>
                    <a:pt x="60257" y="101619"/>
                    <a:pt x="60257" y="101619"/>
                  </a:cubicBez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8" name="任意多边形: 形状 177">
              <a:extLst>
                <a:ext uri="{FF2B5EF4-FFF2-40B4-BE49-F238E27FC236}">
                  <a16:creationId xmlns:a16="http://schemas.microsoft.com/office/drawing/2014/main" id="{7C3F5973-F5A8-48C6-B0E1-A8C637518621}"/>
                </a:ext>
              </a:extLst>
            </p:cNvPr>
            <p:cNvSpPr/>
            <p:nvPr/>
          </p:nvSpPr>
          <p:spPr>
            <a:xfrm>
              <a:off x="7569994" y="3412331"/>
              <a:ext cx="95250" cy="95250"/>
            </a:xfrm>
            <a:custGeom>
              <a:avLst/>
              <a:gdLst>
                <a:gd name="connsiteX0" fmla="*/ 65246 w 95250"/>
                <a:gd name="connsiteY0" fmla="*/ 7144 h 95250"/>
                <a:gd name="connsiteX1" fmla="*/ 7144 w 95250"/>
                <a:gd name="connsiteY1" fmla="*/ 81439 h 95250"/>
                <a:gd name="connsiteX2" fmla="*/ 19526 w 95250"/>
                <a:gd name="connsiteY2" fmla="*/ 95726 h 95250"/>
                <a:gd name="connsiteX3" fmla="*/ 95726 w 95250"/>
                <a:gd name="connsiteY3" fmla="*/ 34766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250" h="95250">
                  <a:moveTo>
                    <a:pt x="65246" y="7144"/>
                  </a:moveTo>
                  <a:lnTo>
                    <a:pt x="7144" y="81439"/>
                  </a:lnTo>
                  <a:lnTo>
                    <a:pt x="19526" y="95726"/>
                  </a:lnTo>
                  <a:lnTo>
                    <a:pt x="95726" y="34766"/>
                  </a:ln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9" name="任意多边形: 形状 178">
              <a:extLst>
                <a:ext uri="{FF2B5EF4-FFF2-40B4-BE49-F238E27FC236}">
                  <a16:creationId xmlns:a16="http://schemas.microsoft.com/office/drawing/2014/main" id="{C2DDF2D5-609C-4168-8614-AB3ABD241C3B}"/>
                </a:ext>
              </a:extLst>
            </p:cNvPr>
            <p:cNvSpPr/>
            <p:nvPr/>
          </p:nvSpPr>
          <p:spPr>
            <a:xfrm>
              <a:off x="7512844" y="3153251"/>
              <a:ext cx="209550" cy="304800"/>
            </a:xfrm>
            <a:custGeom>
              <a:avLst/>
              <a:gdLst>
                <a:gd name="connsiteX0" fmla="*/ 7144 w 209550"/>
                <a:gd name="connsiteY0" fmla="*/ 7144 h 304800"/>
                <a:gd name="connsiteX1" fmla="*/ 121444 w 209550"/>
                <a:gd name="connsiteY1" fmla="*/ 47149 h 304800"/>
                <a:gd name="connsiteX2" fmla="*/ 210026 w 209550"/>
                <a:gd name="connsiteY2" fmla="*/ 223361 h 304800"/>
                <a:gd name="connsiteX3" fmla="*/ 166211 w 209550"/>
                <a:gd name="connsiteY3" fmla="*/ 305276 h 304800"/>
                <a:gd name="connsiteX4" fmla="*/ 121444 w 209550"/>
                <a:gd name="connsiteY4" fmla="*/ 266224 h 304800"/>
                <a:gd name="connsiteX5" fmla="*/ 145256 w 209550"/>
                <a:gd name="connsiteY5" fmla="*/ 219551 h 304800"/>
                <a:gd name="connsiteX6" fmla="*/ 75724 w 209550"/>
                <a:gd name="connsiteY6" fmla="*/ 133826 h 304800"/>
                <a:gd name="connsiteX7" fmla="*/ 25241 w 209550"/>
                <a:gd name="connsiteY7" fmla="*/ 31909 h 304800"/>
                <a:gd name="connsiteX8" fmla="*/ 7144 w 209550"/>
                <a:gd name="connsiteY8" fmla="*/ 7144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550" h="304800">
                  <a:moveTo>
                    <a:pt x="7144" y="7144"/>
                  </a:moveTo>
                  <a:cubicBezTo>
                    <a:pt x="7144" y="7144"/>
                    <a:pt x="100489" y="16669"/>
                    <a:pt x="121444" y="47149"/>
                  </a:cubicBezTo>
                  <a:cubicBezTo>
                    <a:pt x="142399" y="77629"/>
                    <a:pt x="218599" y="160496"/>
                    <a:pt x="210026" y="223361"/>
                  </a:cubicBezTo>
                  <a:cubicBezTo>
                    <a:pt x="202406" y="286226"/>
                    <a:pt x="166211" y="305276"/>
                    <a:pt x="166211" y="305276"/>
                  </a:cubicBezTo>
                  <a:lnTo>
                    <a:pt x="121444" y="266224"/>
                  </a:lnTo>
                  <a:cubicBezTo>
                    <a:pt x="121444" y="266224"/>
                    <a:pt x="150971" y="242411"/>
                    <a:pt x="145256" y="219551"/>
                  </a:cubicBezTo>
                  <a:cubicBezTo>
                    <a:pt x="140494" y="195739"/>
                    <a:pt x="75724" y="133826"/>
                    <a:pt x="75724" y="133826"/>
                  </a:cubicBezTo>
                  <a:lnTo>
                    <a:pt x="25241" y="31909"/>
                  </a:lnTo>
                  <a:lnTo>
                    <a:pt x="7144" y="7144"/>
                  </a:lnTo>
                  <a:close/>
                </a:path>
              </a:pathLst>
            </a:custGeom>
            <a:solidFill>
              <a:srgbClr val="5202B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0" name="任意多边形: 形状 179">
              <a:extLst>
                <a:ext uri="{FF2B5EF4-FFF2-40B4-BE49-F238E27FC236}">
                  <a16:creationId xmlns:a16="http://schemas.microsoft.com/office/drawing/2014/main" id="{D77AC00D-73FB-46F5-A605-819DF230B437}"/>
                </a:ext>
              </a:extLst>
            </p:cNvPr>
            <p:cNvSpPr/>
            <p:nvPr/>
          </p:nvSpPr>
          <p:spPr>
            <a:xfrm>
              <a:off x="7169944" y="4039039"/>
              <a:ext cx="552450" cy="47625"/>
            </a:xfrm>
            <a:custGeom>
              <a:avLst/>
              <a:gdLst>
                <a:gd name="connsiteX0" fmla="*/ 553879 w 552450"/>
                <a:gd name="connsiteY0" fmla="*/ 24325 h 47625"/>
                <a:gd name="connsiteX1" fmla="*/ 280511 w 552450"/>
                <a:gd name="connsiteY1" fmla="*/ 41470 h 47625"/>
                <a:gd name="connsiteX2" fmla="*/ 7144 w 552450"/>
                <a:gd name="connsiteY2" fmla="*/ 24325 h 47625"/>
                <a:gd name="connsiteX3" fmla="*/ 280511 w 552450"/>
                <a:gd name="connsiteY3" fmla="*/ 7180 h 47625"/>
                <a:gd name="connsiteX4" fmla="*/ 553879 w 552450"/>
                <a:gd name="connsiteY4" fmla="*/ 243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2450" h="47625">
                  <a:moveTo>
                    <a:pt x="553879" y="24325"/>
                  </a:moveTo>
                  <a:cubicBezTo>
                    <a:pt x="553879" y="24325"/>
                    <a:pt x="431006" y="41470"/>
                    <a:pt x="280511" y="41470"/>
                  </a:cubicBezTo>
                  <a:cubicBezTo>
                    <a:pt x="129064" y="41470"/>
                    <a:pt x="7144" y="24325"/>
                    <a:pt x="7144" y="24325"/>
                  </a:cubicBezTo>
                  <a:cubicBezTo>
                    <a:pt x="7144" y="24325"/>
                    <a:pt x="130016" y="7180"/>
                    <a:pt x="280511" y="7180"/>
                  </a:cubicBezTo>
                  <a:cubicBezTo>
                    <a:pt x="431006" y="6228"/>
                    <a:pt x="553879" y="24325"/>
                    <a:pt x="553879" y="24325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1" name="任意多边形: 形状 180">
              <a:extLst>
                <a:ext uri="{FF2B5EF4-FFF2-40B4-BE49-F238E27FC236}">
                  <a16:creationId xmlns:a16="http://schemas.microsoft.com/office/drawing/2014/main" id="{DBACFE97-C4FD-44D0-969D-567EB5A702CC}"/>
                </a:ext>
              </a:extLst>
            </p:cNvPr>
            <p:cNvSpPr/>
            <p:nvPr/>
          </p:nvSpPr>
          <p:spPr>
            <a:xfrm>
              <a:off x="7473760" y="4014311"/>
              <a:ext cx="104775" cy="66675"/>
            </a:xfrm>
            <a:custGeom>
              <a:avLst/>
              <a:gdLst>
                <a:gd name="connsiteX0" fmla="*/ 91948 w 104775"/>
                <a:gd name="connsiteY0" fmla="*/ 7144 h 66675"/>
                <a:gd name="connsiteX1" fmla="*/ 94806 w 104775"/>
                <a:gd name="connsiteY1" fmla="*/ 22384 h 66675"/>
                <a:gd name="connsiteX2" fmla="*/ 98615 w 104775"/>
                <a:gd name="connsiteY2" fmla="*/ 42386 h 66675"/>
                <a:gd name="connsiteX3" fmla="*/ 13843 w 104775"/>
                <a:gd name="connsiteY3" fmla="*/ 63341 h 66675"/>
                <a:gd name="connsiteX4" fmla="*/ 8128 w 104775"/>
                <a:gd name="connsiteY4" fmla="*/ 54769 h 66675"/>
                <a:gd name="connsiteX5" fmla="*/ 24321 w 104775"/>
                <a:gd name="connsiteY5" fmla="*/ 38576 h 66675"/>
                <a:gd name="connsiteX6" fmla="*/ 56706 w 104775"/>
                <a:gd name="connsiteY6" fmla="*/ 15716 h 66675"/>
                <a:gd name="connsiteX7" fmla="*/ 91948 w 104775"/>
                <a:gd name="connsiteY7" fmla="*/ 714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775" h="66675">
                  <a:moveTo>
                    <a:pt x="91948" y="7144"/>
                  </a:moveTo>
                  <a:lnTo>
                    <a:pt x="94806" y="22384"/>
                  </a:lnTo>
                  <a:lnTo>
                    <a:pt x="98615" y="42386"/>
                  </a:lnTo>
                  <a:lnTo>
                    <a:pt x="13843" y="63341"/>
                  </a:lnTo>
                  <a:cubicBezTo>
                    <a:pt x="9081" y="64294"/>
                    <a:pt x="5271" y="59531"/>
                    <a:pt x="8128" y="54769"/>
                  </a:cubicBezTo>
                  <a:cubicBezTo>
                    <a:pt x="11938" y="49054"/>
                    <a:pt x="17653" y="43339"/>
                    <a:pt x="24321" y="38576"/>
                  </a:cubicBezTo>
                  <a:cubicBezTo>
                    <a:pt x="39560" y="26194"/>
                    <a:pt x="56706" y="15716"/>
                    <a:pt x="56706" y="15716"/>
                  </a:cubicBezTo>
                  <a:lnTo>
                    <a:pt x="91948" y="714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2" name="任意多边形: 形状 181">
              <a:extLst>
                <a:ext uri="{FF2B5EF4-FFF2-40B4-BE49-F238E27FC236}">
                  <a16:creationId xmlns:a16="http://schemas.microsoft.com/office/drawing/2014/main" id="{0237BCC0-33ED-496D-AC31-5E53DADBF16C}"/>
                </a:ext>
              </a:extLst>
            </p:cNvPr>
            <p:cNvSpPr/>
            <p:nvPr/>
          </p:nvSpPr>
          <p:spPr>
            <a:xfrm>
              <a:off x="7318673" y="4014311"/>
              <a:ext cx="104775" cy="47625"/>
            </a:xfrm>
            <a:custGeom>
              <a:avLst/>
              <a:gdLst>
                <a:gd name="connsiteX0" fmla="*/ 101302 w 104775"/>
                <a:gd name="connsiteY0" fmla="*/ 7144 h 47625"/>
                <a:gd name="connsiteX1" fmla="*/ 100349 w 104775"/>
                <a:gd name="connsiteY1" fmla="*/ 22384 h 47625"/>
                <a:gd name="connsiteX2" fmla="*/ 99397 w 104775"/>
                <a:gd name="connsiteY2" fmla="*/ 42386 h 47625"/>
                <a:gd name="connsiteX3" fmla="*/ 12719 w 104775"/>
                <a:gd name="connsiteY3" fmla="*/ 44291 h 47625"/>
                <a:gd name="connsiteX4" fmla="*/ 8909 w 104775"/>
                <a:gd name="connsiteY4" fmla="*/ 34766 h 47625"/>
                <a:gd name="connsiteX5" fmla="*/ 27959 w 104775"/>
                <a:gd name="connsiteY5" fmla="*/ 22384 h 47625"/>
                <a:gd name="connsiteX6" fmla="*/ 64154 w 104775"/>
                <a:gd name="connsiteY6" fmla="*/ 8096 h 47625"/>
                <a:gd name="connsiteX7" fmla="*/ 101302 w 104775"/>
                <a:gd name="connsiteY7" fmla="*/ 7144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775" h="47625">
                  <a:moveTo>
                    <a:pt x="101302" y="7144"/>
                  </a:moveTo>
                  <a:lnTo>
                    <a:pt x="100349" y="22384"/>
                  </a:lnTo>
                  <a:lnTo>
                    <a:pt x="99397" y="42386"/>
                  </a:lnTo>
                  <a:lnTo>
                    <a:pt x="12719" y="44291"/>
                  </a:lnTo>
                  <a:cubicBezTo>
                    <a:pt x="7957" y="44291"/>
                    <a:pt x="5099" y="38576"/>
                    <a:pt x="8909" y="34766"/>
                  </a:cubicBezTo>
                  <a:cubicBezTo>
                    <a:pt x="13672" y="30004"/>
                    <a:pt x="21292" y="26194"/>
                    <a:pt x="27959" y="22384"/>
                  </a:cubicBezTo>
                  <a:cubicBezTo>
                    <a:pt x="45104" y="13811"/>
                    <a:pt x="64154" y="8096"/>
                    <a:pt x="64154" y="8096"/>
                  </a:cubicBezTo>
                  <a:lnTo>
                    <a:pt x="101302" y="714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3" name="任意多边形: 形状 182">
              <a:extLst>
                <a:ext uri="{FF2B5EF4-FFF2-40B4-BE49-F238E27FC236}">
                  <a16:creationId xmlns:a16="http://schemas.microsoft.com/office/drawing/2014/main" id="{D8A17DB8-4793-4240-9457-5F184F4C681C}"/>
                </a:ext>
              </a:extLst>
            </p:cNvPr>
            <p:cNvSpPr/>
            <p:nvPr/>
          </p:nvSpPr>
          <p:spPr>
            <a:xfrm>
              <a:off x="7343299" y="3460908"/>
              <a:ext cx="238125" cy="571500"/>
            </a:xfrm>
            <a:custGeom>
              <a:avLst/>
              <a:gdLst>
                <a:gd name="connsiteX0" fmla="*/ 236696 w 238125"/>
                <a:gd name="connsiteY0" fmla="*/ 37624 h 571500"/>
                <a:gd name="connsiteX1" fmla="*/ 196691 w 238125"/>
                <a:gd name="connsiteY1" fmla="*/ 289084 h 571500"/>
                <a:gd name="connsiteX2" fmla="*/ 226219 w 238125"/>
                <a:gd name="connsiteY2" fmla="*/ 566261 h 571500"/>
                <a:gd name="connsiteX3" fmla="*/ 179546 w 238125"/>
                <a:gd name="connsiteY3" fmla="*/ 571024 h 571500"/>
                <a:gd name="connsiteX4" fmla="*/ 117634 w 238125"/>
                <a:gd name="connsiteY4" fmla="*/ 346234 h 571500"/>
                <a:gd name="connsiteX5" fmla="*/ 117634 w 238125"/>
                <a:gd name="connsiteY5" fmla="*/ 179546 h 571500"/>
                <a:gd name="connsiteX6" fmla="*/ 76676 w 238125"/>
                <a:gd name="connsiteY6" fmla="*/ 314801 h 571500"/>
                <a:gd name="connsiteX7" fmla="*/ 81439 w 238125"/>
                <a:gd name="connsiteY7" fmla="*/ 561499 h 571500"/>
                <a:gd name="connsiteX8" fmla="*/ 34766 w 238125"/>
                <a:gd name="connsiteY8" fmla="*/ 561499 h 571500"/>
                <a:gd name="connsiteX9" fmla="*/ 7144 w 238125"/>
                <a:gd name="connsiteY9" fmla="*/ 290989 h 571500"/>
                <a:gd name="connsiteX10" fmla="*/ 68104 w 238125"/>
                <a:gd name="connsiteY10" fmla="*/ 7144 h 571500"/>
                <a:gd name="connsiteX11" fmla="*/ 236696 w 238125"/>
                <a:gd name="connsiteY11" fmla="*/ 37624 h 571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8125" h="571500">
                  <a:moveTo>
                    <a:pt x="236696" y="37624"/>
                  </a:moveTo>
                  <a:cubicBezTo>
                    <a:pt x="236696" y="37624"/>
                    <a:pt x="226219" y="170974"/>
                    <a:pt x="196691" y="289084"/>
                  </a:cubicBezTo>
                  <a:lnTo>
                    <a:pt x="226219" y="566261"/>
                  </a:lnTo>
                  <a:lnTo>
                    <a:pt x="179546" y="571024"/>
                  </a:lnTo>
                  <a:cubicBezTo>
                    <a:pt x="179546" y="571024"/>
                    <a:pt x="130969" y="389096"/>
                    <a:pt x="117634" y="346234"/>
                  </a:cubicBezTo>
                  <a:cubicBezTo>
                    <a:pt x="102394" y="298609"/>
                    <a:pt x="117634" y="179546"/>
                    <a:pt x="117634" y="179546"/>
                  </a:cubicBezTo>
                  <a:cubicBezTo>
                    <a:pt x="117634" y="179546"/>
                    <a:pt x="76676" y="270986"/>
                    <a:pt x="76676" y="314801"/>
                  </a:cubicBezTo>
                  <a:cubicBezTo>
                    <a:pt x="76676" y="358616"/>
                    <a:pt x="81439" y="561499"/>
                    <a:pt x="81439" y="561499"/>
                  </a:cubicBezTo>
                  <a:cubicBezTo>
                    <a:pt x="81439" y="561499"/>
                    <a:pt x="50006" y="570071"/>
                    <a:pt x="34766" y="561499"/>
                  </a:cubicBezTo>
                  <a:cubicBezTo>
                    <a:pt x="19526" y="552926"/>
                    <a:pt x="7144" y="290989"/>
                    <a:pt x="7144" y="290989"/>
                  </a:cubicBezTo>
                  <a:lnTo>
                    <a:pt x="68104" y="7144"/>
                  </a:lnTo>
                  <a:cubicBezTo>
                    <a:pt x="67151" y="7144"/>
                    <a:pt x="148114" y="29051"/>
                    <a:pt x="236696" y="37624"/>
                  </a:cubicBezTo>
                  <a:close/>
                </a:path>
              </a:pathLst>
            </a:custGeom>
            <a:solidFill>
              <a:srgbClr val="0E0E1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4" name="任意多边形: 形状 183">
              <a:extLst>
                <a:ext uri="{FF2B5EF4-FFF2-40B4-BE49-F238E27FC236}">
                  <a16:creationId xmlns:a16="http://schemas.microsoft.com/office/drawing/2014/main" id="{CAFB52DB-9035-4968-9BFF-6E7A4E6CBD12}"/>
                </a:ext>
              </a:extLst>
            </p:cNvPr>
            <p:cNvSpPr/>
            <p:nvPr/>
          </p:nvSpPr>
          <p:spPr>
            <a:xfrm>
              <a:off x="7383304" y="3153241"/>
              <a:ext cx="228600" cy="371475"/>
            </a:xfrm>
            <a:custGeom>
              <a:avLst/>
              <a:gdLst>
                <a:gd name="connsiteX0" fmla="*/ 218599 w 228600"/>
                <a:gd name="connsiteY0" fmla="*/ 354816 h 371475"/>
                <a:gd name="connsiteX1" fmla="*/ 217646 w 228600"/>
                <a:gd name="connsiteY1" fmla="*/ 97641 h 371475"/>
                <a:gd name="connsiteX2" fmla="*/ 135731 w 228600"/>
                <a:gd name="connsiteY2" fmla="*/ 7153 h 371475"/>
                <a:gd name="connsiteX3" fmla="*/ 83344 w 228600"/>
                <a:gd name="connsiteY3" fmla="*/ 19536 h 371475"/>
                <a:gd name="connsiteX4" fmla="*/ 41434 w 228600"/>
                <a:gd name="connsiteY4" fmla="*/ 161458 h 371475"/>
                <a:gd name="connsiteX5" fmla="*/ 7144 w 228600"/>
                <a:gd name="connsiteY5" fmla="*/ 325288 h 371475"/>
                <a:gd name="connsiteX6" fmla="*/ 218599 w 228600"/>
                <a:gd name="connsiteY6" fmla="*/ 354816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8600" h="371475">
                  <a:moveTo>
                    <a:pt x="218599" y="354816"/>
                  </a:moveTo>
                  <a:cubicBezTo>
                    <a:pt x="221456" y="327193"/>
                    <a:pt x="230029" y="139551"/>
                    <a:pt x="217646" y="97641"/>
                  </a:cubicBezTo>
                  <a:cubicBezTo>
                    <a:pt x="191929" y="4296"/>
                    <a:pt x="135731" y="7153"/>
                    <a:pt x="135731" y="7153"/>
                  </a:cubicBezTo>
                  <a:cubicBezTo>
                    <a:pt x="118586" y="47158"/>
                    <a:pt x="83344" y="19536"/>
                    <a:pt x="83344" y="19536"/>
                  </a:cubicBezTo>
                  <a:cubicBezTo>
                    <a:pt x="83344" y="19536"/>
                    <a:pt x="20479" y="57636"/>
                    <a:pt x="41434" y="161458"/>
                  </a:cubicBezTo>
                  <a:cubicBezTo>
                    <a:pt x="54769" y="228133"/>
                    <a:pt x="28099" y="290046"/>
                    <a:pt x="7144" y="325288"/>
                  </a:cubicBezTo>
                  <a:cubicBezTo>
                    <a:pt x="68104" y="368151"/>
                    <a:pt x="148114" y="378628"/>
                    <a:pt x="218599" y="354816"/>
                  </a:cubicBezTo>
                  <a:close/>
                </a:path>
              </a:pathLst>
            </a:custGeom>
            <a:solidFill>
              <a:srgbClr val="5202B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5" name="任意多边形: 形状 184">
              <a:extLst>
                <a:ext uri="{FF2B5EF4-FFF2-40B4-BE49-F238E27FC236}">
                  <a16:creationId xmlns:a16="http://schemas.microsoft.com/office/drawing/2014/main" id="{429CE46F-D6CE-4D36-A10C-0BC014E656A7}"/>
                </a:ext>
              </a:extLst>
            </p:cNvPr>
            <p:cNvSpPr/>
            <p:nvPr/>
          </p:nvSpPr>
          <p:spPr>
            <a:xfrm>
              <a:off x="7432834" y="3139608"/>
              <a:ext cx="104775" cy="104775"/>
            </a:xfrm>
            <a:custGeom>
              <a:avLst/>
              <a:gdLst>
                <a:gd name="connsiteX0" fmla="*/ 30004 w 104775"/>
                <a:gd name="connsiteY0" fmla="*/ 36979 h 104775"/>
                <a:gd name="connsiteX1" fmla="*/ 7144 w 104775"/>
                <a:gd name="connsiteY1" fmla="*/ 62696 h 104775"/>
                <a:gd name="connsiteX2" fmla="*/ 22384 w 104775"/>
                <a:gd name="connsiteY2" fmla="*/ 93176 h 104775"/>
                <a:gd name="connsiteX3" fmla="*/ 44291 w 104775"/>
                <a:gd name="connsiteY3" fmla="*/ 67459 h 104775"/>
                <a:gd name="connsiteX4" fmla="*/ 65246 w 104775"/>
                <a:gd name="connsiteY4" fmla="*/ 97939 h 104775"/>
                <a:gd name="connsiteX5" fmla="*/ 89059 w 104775"/>
                <a:gd name="connsiteY5" fmla="*/ 16024 h 104775"/>
                <a:gd name="connsiteX6" fmla="*/ 30004 w 104775"/>
                <a:gd name="connsiteY6" fmla="*/ 3697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775" h="104775">
                  <a:moveTo>
                    <a:pt x="30004" y="36979"/>
                  </a:moveTo>
                  <a:cubicBezTo>
                    <a:pt x="30004" y="36979"/>
                    <a:pt x="7144" y="50314"/>
                    <a:pt x="7144" y="62696"/>
                  </a:cubicBezTo>
                  <a:cubicBezTo>
                    <a:pt x="7144" y="75079"/>
                    <a:pt x="22384" y="93176"/>
                    <a:pt x="22384" y="93176"/>
                  </a:cubicBezTo>
                  <a:lnTo>
                    <a:pt x="44291" y="67459"/>
                  </a:lnTo>
                  <a:lnTo>
                    <a:pt x="65246" y="97939"/>
                  </a:lnTo>
                  <a:cubicBezTo>
                    <a:pt x="65246" y="97939"/>
                    <a:pt x="133826" y="45551"/>
                    <a:pt x="89059" y="16024"/>
                  </a:cubicBezTo>
                  <a:cubicBezTo>
                    <a:pt x="44291" y="-12551"/>
                    <a:pt x="30004" y="36979"/>
                    <a:pt x="30004" y="3697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6" name="任意多边形: 形状 185">
              <a:extLst>
                <a:ext uri="{FF2B5EF4-FFF2-40B4-BE49-F238E27FC236}">
                  <a16:creationId xmlns:a16="http://schemas.microsoft.com/office/drawing/2014/main" id="{A4608AFA-ABB0-47EB-B699-69E475E2A362}"/>
                </a:ext>
              </a:extLst>
            </p:cNvPr>
            <p:cNvSpPr/>
            <p:nvPr/>
          </p:nvSpPr>
          <p:spPr>
            <a:xfrm>
              <a:off x="7411993" y="3023207"/>
              <a:ext cx="114300" cy="142875"/>
            </a:xfrm>
            <a:custGeom>
              <a:avLst/>
              <a:gdLst>
                <a:gd name="connsiteX0" fmla="*/ 9887 w 114300"/>
                <a:gd name="connsiteY0" fmla="*/ 46700 h 142875"/>
                <a:gd name="connsiteX1" fmla="*/ 44177 w 114300"/>
                <a:gd name="connsiteY1" fmla="*/ 139093 h 142875"/>
                <a:gd name="connsiteX2" fmla="*/ 110852 w 114300"/>
                <a:gd name="connsiteY2" fmla="*/ 79085 h 142875"/>
                <a:gd name="connsiteX3" fmla="*/ 60369 w 114300"/>
                <a:gd name="connsiteY3" fmla="*/ 7648 h 142875"/>
                <a:gd name="connsiteX4" fmla="*/ 9887 w 114300"/>
                <a:gd name="connsiteY4" fmla="*/ 46700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0" h="142875">
                  <a:moveTo>
                    <a:pt x="9887" y="46700"/>
                  </a:moveTo>
                  <a:cubicBezTo>
                    <a:pt x="9887" y="46700"/>
                    <a:pt x="-7258" y="140045"/>
                    <a:pt x="44177" y="139093"/>
                  </a:cubicBezTo>
                  <a:cubicBezTo>
                    <a:pt x="95612" y="138140"/>
                    <a:pt x="114662" y="100993"/>
                    <a:pt x="110852" y="79085"/>
                  </a:cubicBezTo>
                  <a:cubicBezTo>
                    <a:pt x="107042" y="57178"/>
                    <a:pt x="104184" y="13363"/>
                    <a:pt x="60369" y="7648"/>
                  </a:cubicBezTo>
                  <a:cubicBezTo>
                    <a:pt x="16554" y="1933"/>
                    <a:pt x="9887" y="46700"/>
                    <a:pt x="9887" y="46700"/>
                  </a:cubicBez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7" name="任意多边形: 形状 186">
              <a:extLst>
                <a:ext uri="{FF2B5EF4-FFF2-40B4-BE49-F238E27FC236}">
                  <a16:creationId xmlns:a16="http://schemas.microsoft.com/office/drawing/2014/main" id="{31D76CC2-E28B-4C1E-9CD5-9189B34288A6}"/>
                </a:ext>
              </a:extLst>
            </p:cNvPr>
            <p:cNvSpPr/>
            <p:nvPr/>
          </p:nvSpPr>
          <p:spPr>
            <a:xfrm>
              <a:off x="7417289" y="2985611"/>
              <a:ext cx="152400" cy="133350"/>
            </a:xfrm>
            <a:custGeom>
              <a:avLst/>
              <a:gdLst>
                <a:gd name="connsiteX0" fmla="*/ 150323 w 152400"/>
                <a:gd name="connsiteY0" fmla="*/ 63341 h 133350"/>
                <a:gd name="connsiteX1" fmla="*/ 134130 w 152400"/>
                <a:gd name="connsiteY1" fmla="*/ 48101 h 133350"/>
                <a:gd name="connsiteX2" fmla="*/ 134130 w 152400"/>
                <a:gd name="connsiteY2" fmla="*/ 48101 h 133350"/>
                <a:gd name="connsiteX3" fmla="*/ 132226 w 152400"/>
                <a:gd name="connsiteY3" fmla="*/ 35719 h 133350"/>
                <a:gd name="connsiteX4" fmla="*/ 124605 w 152400"/>
                <a:gd name="connsiteY4" fmla="*/ 24289 h 133350"/>
                <a:gd name="connsiteX5" fmla="*/ 124605 w 152400"/>
                <a:gd name="connsiteY5" fmla="*/ 40481 h 133350"/>
                <a:gd name="connsiteX6" fmla="*/ 116033 w 152400"/>
                <a:gd name="connsiteY6" fmla="*/ 26194 h 133350"/>
                <a:gd name="connsiteX7" fmla="*/ 106508 w 152400"/>
                <a:gd name="connsiteY7" fmla="*/ 19526 h 133350"/>
                <a:gd name="connsiteX8" fmla="*/ 54121 w 152400"/>
                <a:gd name="connsiteY8" fmla="*/ 10954 h 133350"/>
                <a:gd name="connsiteX9" fmla="*/ 41738 w 152400"/>
                <a:gd name="connsiteY9" fmla="*/ 11906 h 133350"/>
                <a:gd name="connsiteX10" fmla="*/ 30308 w 152400"/>
                <a:gd name="connsiteY10" fmla="*/ 7144 h 133350"/>
                <a:gd name="connsiteX11" fmla="*/ 39833 w 152400"/>
                <a:gd name="connsiteY11" fmla="*/ 22384 h 133350"/>
                <a:gd name="connsiteX12" fmla="*/ 7448 w 152400"/>
                <a:gd name="connsiteY12" fmla="*/ 71914 h 133350"/>
                <a:gd name="connsiteX13" fmla="*/ 33166 w 152400"/>
                <a:gd name="connsiteY13" fmla="*/ 73819 h 133350"/>
                <a:gd name="connsiteX14" fmla="*/ 95078 w 152400"/>
                <a:gd name="connsiteY14" fmla="*/ 124301 h 133350"/>
                <a:gd name="connsiteX15" fmla="*/ 116986 w 152400"/>
                <a:gd name="connsiteY15" fmla="*/ 120491 h 133350"/>
                <a:gd name="connsiteX16" fmla="*/ 124605 w 152400"/>
                <a:gd name="connsiteY16" fmla="*/ 131921 h 133350"/>
                <a:gd name="connsiteX17" fmla="*/ 142703 w 152400"/>
                <a:gd name="connsiteY17" fmla="*/ 69056 h 133350"/>
                <a:gd name="connsiteX18" fmla="*/ 154133 w 152400"/>
                <a:gd name="connsiteY18" fmla="*/ 70009 h 133350"/>
                <a:gd name="connsiteX19" fmla="*/ 150323 w 152400"/>
                <a:gd name="connsiteY19" fmla="*/ 63341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2400" h="133350">
                  <a:moveTo>
                    <a:pt x="150323" y="63341"/>
                  </a:moveTo>
                  <a:cubicBezTo>
                    <a:pt x="146513" y="56674"/>
                    <a:pt x="140798" y="51911"/>
                    <a:pt x="134130" y="48101"/>
                  </a:cubicBezTo>
                  <a:cubicBezTo>
                    <a:pt x="134130" y="48101"/>
                    <a:pt x="134130" y="48101"/>
                    <a:pt x="134130" y="48101"/>
                  </a:cubicBezTo>
                  <a:cubicBezTo>
                    <a:pt x="134130" y="44291"/>
                    <a:pt x="133178" y="39529"/>
                    <a:pt x="132226" y="35719"/>
                  </a:cubicBezTo>
                  <a:cubicBezTo>
                    <a:pt x="130321" y="31909"/>
                    <a:pt x="127463" y="28099"/>
                    <a:pt x="124605" y="24289"/>
                  </a:cubicBezTo>
                  <a:cubicBezTo>
                    <a:pt x="125558" y="29051"/>
                    <a:pt x="125558" y="35719"/>
                    <a:pt x="124605" y="40481"/>
                  </a:cubicBezTo>
                  <a:cubicBezTo>
                    <a:pt x="122701" y="35719"/>
                    <a:pt x="119843" y="30004"/>
                    <a:pt x="116033" y="26194"/>
                  </a:cubicBezTo>
                  <a:cubicBezTo>
                    <a:pt x="113176" y="23336"/>
                    <a:pt x="109366" y="21431"/>
                    <a:pt x="106508" y="19526"/>
                  </a:cubicBezTo>
                  <a:cubicBezTo>
                    <a:pt x="90316" y="11906"/>
                    <a:pt x="72218" y="9049"/>
                    <a:pt x="54121" y="10954"/>
                  </a:cubicBezTo>
                  <a:cubicBezTo>
                    <a:pt x="50311" y="10954"/>
                    <a:pt x="45548" y="11906"/>
                    <a:pt x="41738" y="11906"/>
                  </a:cubicBezTo>
                  <a:cubicBezTo>
                    <a:pt x="37928" y="11906"/>
                    <a:pt x="33166" y="10001"/>
                    <a:pt x="30308" y="7144"/>
                  </a:cubicBezTo>
                  <a:cubicBezTo>
                    <a:pt x="32213" y="12859"/>
                    <a:pt x="36023" y="18574"/>
                    <a:pt x="39833" y="22384"/>
                  </a:cubicBezTo>
                  <a:cubicBezTo>
                    <a:pt x="1733" y="35719"/>
                    <a:pt x="7448" y="71914"/>
                    <a:pt x="7448" y="71914"/>
                  </a:cubicBezTo>
                  <a:cubicBezTo>
                    <a:pt x="19830" y="67151"/>
                    <a:pt x="33166" y="73819"/>
                    <a:pt x="33166" y="73819"/>
                  </a:cubicBezTo>
                  <a:cubicBezTo>
                    <a:pt x="32213" y="108109"/>
                    <a:pt x="95078" y="124301"/>
                    <a:pt x="95078" y="124301"/>
                  </a:cubicBezTo>
                  <a:cubicBezTo>
                    <a:pt x="104603" y="115729"/>
                    <a:pt x="116986" y="120491"/>
                    <a:pt x="116986" y="120491"/>
                  </a:cubicBezTo>
                  <a:cubicBezTo>
                    <a:pt x="124605" y="125254"/>
                    <a:pt x="124605" y="131921"/>
                    <a:pt x="124605" y="131921"/>
                  </a:cubicBezTo>
                  <a:cubicBezTo>
                    <a:pt x="138893" y="121444"/>
                    <a:pt x="142703" y="69056"/>
                    <a:pt x="142703" y="69056"/>
                  </a:cubicBezTo>
                  <a:cubicBezTo>
                    <a:pt x="146513" y="68104"/>
                    <a:pt x="150323" y="68104"/>
                    <a:pt x="154133" y="70009"/>
                  </a:cubicBezTo>
                  <a:cubicBezTo>
                    <a:pt x="152228" y="68104"/>
                    <a:pt x="151276" y="65246"/>
                    <a:pt x="150323" y="63341"/>
                  </a:cubicBezTo>
                  <a:close/>
                </a:path>
              </a:pathLst>
            </a:custGeom>
            <a:solidFill>
              <a:srgbClr val="0E0E1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8" name="任意多边形: 形状 187">
              <a:extLst>
                <a:ext uri="{FF2B5EF4-FFF2-40B4-BE49-F238E27FC236}">
                  <a16:creationId xmlns:a16="http://schemas.microsoft.com/office/drawing/2014/main" id="{0072EFA5-864D-4504-AD57-9069E0FA7EB2}"/>
                </a:ext>
              </a:extLst>
            </p:cNvPr>
            <p:cNvSpPr/>
            <p:nvPr/>
          </p:nvSpPr>
          <p:spPr>
            <a:xfrm>
              <a:off x="7501311" y="3096950"/>
              <a:ext cx="47625" cy="47625"/>
            </a:xfrm>
            <a:custGeom>
              <a:avLst/>
              <a:gdLst>
                <a:gd name="connsiteX0" fmla="*/ 7247 w 47625"/>
                <a:gd name="connsiteY0" fmla="*/ 26297 h 47625"/>
                <a:gd name="connsiteX1" fmla="*/ 26297 w 47625"/>
                <a:gd name="connsiteY1" fmla="*/ 40584 h 47625"/>
                <a:gd name="connsiteX2" fmla="*/ 40584 w 47625"/>
                <a:gd name="connsiteY2" fmla="*/ 21534 h 47625"/>
                <a:gd name="connsiteX3" fmla="*/ 21534 w 47625"/>
                <a:gd name="connsiteY3" fmla="*/ 7247 h 47625"/>
                <a:gd name="connsiteX4" fmla="*/ 7247 w 47625"/>
                <a:gd name="connsiteY4" fmla="*/ 26297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25" h="47625">
                  <a:moveTo>
                    <a:pt x="7247" y="26297"/>
                  </a:moveTo>
                  <a:cubicBezTo>
                    <a:pt x="9152" y="35822"/>
                    <a:pt x="17724" y="41537"/>
                    <a:pt x="26297" y="40584"/>
                  </a:cubicBezTo>
                  <a:cubicBezTo>
                    <a:pt x="35822" y="38679"/>
                    <a:pt x="41537" y="30107"/>
                    <a:pt x="40584" y="21534"/>
                  </a:cubicBezTo>
                  <a:cubicBezTo>
                    <a:pt x="38680" y="12009"/>
                    <a:pt x="30107" y="6294"/>
                    <a:pt x="21534" y="7247"/>
                  </a:cubicBezTo>
                  <a:cubicBezTo>
                    <a:pt x="12009" y="8199"/>
                    <a:pt x="6295" y="16772"/>
                    <a:pt x="7247" y="26297"/>
                  </a:cubicBez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9" name="任意多边形: 形状 188">
              <a:extLst>
                <a:ext uri="{FF2B5EF4-FFF2-40B4-BE49-F238E27FC236}">
                  <a16:creationId xmlns:a16="http://schemas.microsoft.com/office/drawing/2014/main" id="{00D1DE1D-64FE-4EB7-B1A4-F3DB0A299C1F}"/>
                </a:ext>
              </a:extLst>
            </p:cNvPr>
            <p:cNvSpPr/>
            <p:nvPr/>
          </p:nvSpPr>
          <p:spPr>
            <a:xfrm>
              <a:off x="7456646" y="3110388"/>
              <a:ext cx="66675" cy="85725"/>
            </a:xfrm>
            <a:custGeom>
              <a:avLst/>
              <a:gdLst>
                <a:gd name="connsiteX0" fmla="*/ 62389 w 66675"/>
                <a:gd name="connsiteY0" fmla="*/ 7144 h 85725"/>
                <a:gd name="connsiteX1" fmla="*/ 64294 w 66675"/>
                <a:gd name="connsiteY1" fmla="*/ 19526 h 85725"/>
                <a:gd name="connsiteX2" fmla="*/ 65246 w 66675"/>
                <a:gd name="connsiteY2" fmla="*/ 25241 h 85725"/>
                <a:gd name="connsiteX3" fmla="*/ 66199 w 66675"/>
                <a:gd name="connsiteY3" fmla="*/ 45244 h 85725"/>
                <a:gd name="connsiteX4" fmla="*/ 60484 w 66675"/>
                <a:gd name="connsiteY4" fmla="*/ 72866 h 85725"/>
                <a:gd name="connsiteX5" fmla="*/ 10001 w 66675"/>
                <a:gd name="connsiteY5" fmla="*/ 81439 h 85725"/>
                <a:gd name="connsiteX6" fmla="*/ 7144 w 66675"/>
                <a:gd name="connsiteY6" fmla="*/ 66199 h 85725"/>
                <a:gd name="connsiteX7" fmla="*/ 7144 w 66675"/>
                <a:gd name="connsiteY7" fmla="*/ 50959 h 85725"/>
                <a:gd name="connsiteX8" fmla="*/ 7144 w 66675"/>
                <a:gd name="connsiteY8" fmla="*/ 50959 h 85725"/>
                <a:gd name="connsiteX9" fmla="*/ 8096 w 66675"/>
                <a:gd name="connsiteY9" fmla="*/ 19526 h 85725"/>
                <a:gd name="connsiteX10" fmla="*/ 62389 w 66675"/>
                <a:gd name="connsiteY10" fmla="*/ 7144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75" h="85725">
                  <a:moveTo>
                    <a:pt x="62389" y="7144"/>
                  </a:moveTo>
                  <a:lnTo>
                    <a:pt x="64294" y="19526"/>
                  </a:lnTo>
                  <a:cubicBezTo>
                    <a:pt x="64294" y="19526"/>
                    <a:pt x="64294" y="21431"/>
                    <a:pt x="65246" y="25241"/>
                  </a:cubicBezTo>
                  <a:cubicBezTo>
                    <a:pt x="65246" y="30004"/>
                    <a:pt x="66199" y="37624"/>
                    <a:pt x="66199" y="45244"/>
                  </a:cubicBezTo>
                  <a:cubicBezTo>
                    <a:pt x="66199" y="56674"/>
                    <a:pt x="65246" y="69056"/>
                    <a:pt x="60484" y="72866"/>
                  </a:cubicBezTo>
                  <a:cubicBezTo>
                    <a:pt x="50959" y="81439"/>
                    <a:pt x="14764" y="83344"/>
                    <a:pt x="10001" y="81439"/>
                  </a:cubicBezTo>
                  <a:cubicBezTo>
                    <a:pt x="8096" y="80486"/>
                    <a:pt x="7144" y="73819"/>
                    <a:pt x="7144" y="66199"/>
                  </a:cubicBezTo>
                  <a:cubicBezTo>
                    <a:pt x="7144" y="61436"/>
                    <a:pt x="7144" y="56674"/>
                    <a:pt x="7144" y="50959"/>
                  </a:cubicBezTo>
                  <a:cubicBezTo>
                    <a:pt x="7144" y="50959"/>
                    <a:pt x="7144" y="50959"/>
                    <a:pt x="7144" y="50959"/>
                  </a:cubicBezTo>
                  <a:cubicBezTo>
                    <a:pt x="7144" y="35719"/>
                    <a:pt x="8096" y="19526"/>
                    <a:pt x="8096" y="19526"/>
                  </a:cubicBezTo>
                  <a:lnTo>
                    <a:pt x="62389" y="7144"/>
                  </a:ln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0" name="任意多边形: 形状 189">
              <a:extLst>
                <a:ext uri="{FF2B5EF4-FFF2-40B4-BE49-F238E27FC236}">
                  <a16:creationId xmlns:a16="http://schemas.microsoft.com/office/drawing/2014/main" id="{4D9720D2-C033-4B2D-AAD4-761DACE4A5F7}"/>
                </a:ext>
              </a:extLst>
            </p:cNvPr>
            <p:cNvSpPr/>
            <p:nvPr/>
          </p:nvSpPr>
          <p:spPr>
            <a:xfrm>
              <a:off x="7456646" y="3129438"/>
              <a:ext cx="66675" cy="47625"/>
            </a:xfrm>
            <a:custGeom>
              <a:avLst/>
              <a:gdLst>
                <a:gd name="connsiteX0" fmla="*/ 65246 w 66675"/>
                <a:gd name="connsiteY0" fmla="*/ 7144 h 47625"/>
                <a:gd name="connsiteX1" fmla="*/ 66199 w 66675"/>
                <a:gd name="connsiteY1" fmla="*/ 27146 h 47625"/>
                <a:gd name="connsiteX2" fmla="*/ 7144 w 66675"/>
                <a:gd name="connsiteY2" fmla="*/ 47149 h 47625"/>
                <a:gd name="connsiteX3" fmla="*/ 7144 w 66675"/>
                <a:gd name="connsiteY3" fmla="*/ 31909 h 47625"/>
                <a:gd name="connsiteX4" fmla="*/ 7144 w 66675"/>
                <a:gd name="connsiteY4" fmla="*/ 31909 h 47625"/>
                <a:gd name="connsiteX5" fmla="*/ 65246 w 66675"/>
                <a:gd name="connsiteY5" fmla="*/ 7144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675" h="47625">
                  <a:moveTo>
                    <a:pt x="65246" y="7144"/>
                  </a:moveTo>
                  <a:cubicBezTo>
                    <a:pt x="65246" y="11906"/>
                    <a:pt x="66199" y="19526"/>
                    <a:pt x="66199" y="27146"/>
                  </a:cubicBezTo>
                  <a:cubicBezTo>
                    <a:pt x="51911" y="33814"/>
                    <a:pt x="23336" y="46196"/>
                    <a:pt x="7144" y="47149"/>
                  </a:cubicBezTo>
                  <a:cubicBezTo>
                    <a:pt x="7144" y="42386"/>
                    <a:pt x="7144" y="37624"/>
                    <a:pt x="7144" y="31909"/>
                  </a:cubicBezTo>
                  <a:cubicBezTo>
                    <a:pt x="7144" y="31909"/>
                    <a:pt x="7144" y="31909"/>
                    <a:pt x="7144" y="31909"/>
                  </a:cubicBezTo>
                  <a:cubicBezTo>
                    <a:pt x="7144" y="31909"/>
                    <a:pt x="58579" y="21431"/>
                    <a:pt x="65246" y="7144"/>
                  </a:cubicBezTo>
                  <a:close/>
                </a:path>
              </a:pathLst>
            </a:custGeom>
            <a:solidFill>
              <a:srgbClr val="EBE0B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1" name="任意多边形: 形状 190">
              <a:extLst>
                <a:ext uri="{FF2B5EF4-FFF2-40B4-BE49-F238E27FC236}">
                  <a16:creationId xmlns:a16="http://schemas.microsoft.com/office/drawing/2014/main" id="{9E9A57D4-B04D-438F-A686-4EC669C253C6}"/>
                </a:ext>
              </a:extLst>
            </p:cNvPr>
            <p:cNvSpPr/>
            <p:nvPr/>
          </p:nvSpPr>
          <p:spPr>
            <a:xfrm>
              <a:off x="7455694" y="2746533"/>
              <a:ext cx="238125" cy="228600"/>
            </a:xfrm>
            <a:custGeom>
              <a:avLst/>
              <a:gdLst>
                <a:gd name="connsiteX0" fmla="*/ 216694 w 238125"/>
                <a:gd name="connsiteY0" fmla="*/ 7144 h 228600"/>
                <a:gd name="connsiteX1" fmla="*/ 26194 w 238125"/>
                <a:gd name="connsiteY1" fmla="*/ 7144 h 228600"/>
                <a:gd name="connsiteX2" fmla="*/ 7144 w 238125"/>
                <a:gd name="connsiteY2" fmla="*/ 26194 h 228600"/>
                <a:gd name="connsiteX3" fmla="*/ 7144 w 238125"/>
                <a:gd name="connsiteY3" fmla="*/ 162401 h 228600"/>
                <a:gd name="connsiteX4" fmla="*/ 26194 w 238125"/>
                <a:gd name="connsiteY4" fmla="*/ 181451 h 228600"/>
                <a:gd name="connsiteX5" fmla="*/ 36671 w 238125"/>
                <a:gd name="connsiteY5" fmla="*/ 181451 h 228600"/>
                <a:gd name="connsiteX6" fmla="*/ 36671 w 238125"/>
                <a:gd name="connsiteY6" fmla="*/ 228124 h 228600"/>
                <a:gd name="connsiteX7" fmla="*/ 83344 w 238125"/>
                <a:gd name="connsiteY7" fmla="*/ 181451 h 228600"/>
                <a:gd name="connsiteX8" fmla="*/ 216694 w 238125"/>
                <a:gd name="connsiteY8" fmla="*/ 181451 h 228600"/>
                <a:gd name="connsiteX9" fmla="*/ 235744 w 238125"/>
                <a:gd name="connsiteY9" fmla="*/ 162401 h 228600"/>
                <a:gd name="connsiteX10" fmla="*/ 235744 w 238125"/>
                <a:gd name="connsiteY10" fmla="*/ 25241 h 228600"/>
                <a:gd name="connsiteX11" fmla="*/ 216694 w 238125"/>
                <a:gd name="connsiteY11" fmla="*/ 7144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8125" h="228600">
                  <a:moveTo>
                    <a:pt x="216694" y="7144"/>
                  </a:moveTo>
                  <a:lnTo>
                    <a:pt x="26194" y="7144"/>
                  </a:lnTo>
                  <a:cubicBezTo>
                    <a:pt x="15716" y="7144"/>
                    <a:pt x="7144" y="15716"/>
                    <a:pt x="7144" y="26194"/>
                  </a:cubicBezTo>
                  <a:lnTo>
                    <a:pt x="7144" y="162401"/>
                  </a:lnTo>
                  <a:cubicBezTo>
                    <a:pt x="7144" y="172879"/>
                    <a:pt x="15716" y="181451"/>
                    <a:pt x="26194" y="181451"/>
                  </a:cubicBezTo>
                  <a:lnTo>
                    <a:pt x="36671" y="181451"/>
                  </a:lnTo>
                  <a:lnTo>
                    <a:pt x="36671" y="228124"/>
                  </a:lnTo>
                  <a:lnTo>
                    <a:pt x="83344" y="181451"/>
                  </a:lnTo>
                  <a:lnTo>
                    <a:pt x="216694" y="181451"/>
                  </a:lnTo>
                  <a:cubicBezTo>
                    <a:pt x="227171" y="181451"/>
                    <a:pt x="235744" y="172879"/>
                    <a:pt x="235744" y="162401"/>
                  </a:cubicBezTo>
                  <a:lnTo>
                    <a:pt x="235744" y="25241"/>
                  </a:lnTo>
                  <a:cubicBezTo>
                    <a:pt x="235744" y="14764"/>
                    <a:pt x="227171" y="7144"/>
                    <a:pt x="216694" y="7144"/>
                  </a:cubicBezTo>
                  <a:close/>
                </a:path>
              </a:pathLst>
            </a:custGeom>
            <a:solidFill>
              <a:srgbClr val="00BEB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2" name="任意多边形: 形状 191">
              <a:extLst>
                <a:ext uri="{FF2B5EF4-FFF2-40B4-BE49-F238E27FC236}">
                  <a16:creationId xmlns:a16="http://schemas.microsoft.com/office/drawing/2014/main" id="{7F75EE10-7152-460F-80FF-1D6AD7CF7361}"/>
                </a:ext>
              </a:extLst>
            </p:cNvPr>
            <p:cNvSpPr/>
            <p:nvPr/>
          </p:nvSpPr>
          <p:spPr>
            <a:xfrm>
              <a:off x="7482364" y="2773203"/>
              <a:ext cx="180975" cy="28575"/>
            </a:xfrm>
            <a:custGeom>
              <a:avLst/>
              <a:gdLst>
                <a:gd name="connsiteX0" fmla="*/ 7144 w 180975"/>
                <a:gd name="connsiteY0" fmla="*/ 7144 h 28575"/>
                <a:gd name="connsiteX1" fmla="*/ 182404 w 180975"/>
                <a:gd name="connsiteY1" fmla="*/ 7144 h 28575"/>
                <a:gd name="connsiteX2" fmla="*/ 182404 w 180975"/>
                <a:gd name="connsiteY2" fmla="*/ 22384 h 28575"/>
                <a:gd name="connsiteX3" fmla="*/ 7144 w 180975"/>
                <a:gd name="connsiteY3" fmla="*/ 2238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975" h="28575">
                  <a:moveTo>
                    <a:pt x="7144" y="7144"/>
                  </a:moveTo>
                  <a:lnTo>
                    <a:pt x="182404" y="7144"/>
                  </a:lnTo>
                  <a:lnTo>
                    <a:pt x="182404" y="22384"/>
                  </a:lnTo>
                  <a:lnTo>
                    <a:pt x="7144" y="2238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3" name="任意多边形: 形状 192">
              <a:extLst>
                <a:ext uri="{FF2B5EF4-FFF2-40B4-BE49-F238E27FC236}">
                  <a16:creationId xmlns:a16="http://schemas.microsoft.com/office/drawing/2014/main" id="{22981CA4-0899-4E54-BC4F-E94A265FC8B9}"/>
                </a:ext>
              </a:extLst>
            </p:cNvPr>
            <p:cNvSpPr/>
            <p:nvPr/>
          </p:nvSpPr>
          <p:spPr>
            <a:xfrm>
              <a:off x="7482364" y="2807493"/>
              <a:ext cx="180975" cy="28575"/>
            </a:xfrm>
            <a:custGeom>
              <a:avLst/>
              <a:gdLst>
                <a:gd name="connsiteX0" fmla="*/ 7144 w 180975"/>
                <a:gd name="connsiteY0" fmla="*/ 7144 h 28575"/>
                <a:gd name="connsiteX1" fmla="*/ 182404 w 180975"/>
                <a:gd name="connsiteY1" fmla="*/ 7144 h 28575"/>
                <a:gd name="connsiteX2" fmla="*/ 182404 w 180975"/>
                <a:gd name="connsiteY2" fmla="*/ 22384 h 28575"/>
                <a:gd name="connsiteX3" fmla="*/ 7144 w 180975"/>
                <a:gd name="connsiteY3" fmla="*/ 2238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975" h="28575">
                  <a:moveTo>
                    <a:pt x="7144" y="7144"/>
                  </a:moveTo>
                  <a:lnTo>
                    <a:pt x="182404" y="7144"/>
                  </a:lnTo>
                  <a:lnTo>
                    <a:pt x="182404" y="22384"/>
                  </a:lnTo>
                  <a:lnTo>
                    <a:pt x="7144" y="2238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4" name="任意多边形: 形状 193">
              <a:extLst>
                <a:ext uri="{FF2B5EF4-FFF2-40B4-BE49-F238E27FC236}">
                  <a16:creationId xmlns:a16="http://schemas.microsoft.com/office/drawing/2014/main" id="{09299B68-6012-411D-AFFC-544525122B89}"/>
                </a:ext>
              </a:extLst>
            </p:cNvPr>
            <p:cNvSpPr/>
            <p:nvPr/>
          </p:nvSpPr>
          <p:spPr>
            <a:xfrm>
              <a:off x="7482364" y="2842736"/>
              <a:ext cx="180975" cy="28575"/>
            </a:xfrm>
            <a:custGeom>
              <a:avLst/>
              <a:gdLst>
                <a:gd name="connsiteX0" fmla="*/ 7144 w 180975"/>
                <a:gd name="connsiteY0" fmla="*/ 7144 h 28575"/>
                <a:gd name="connsiteX1" fmla="*/ 182404 w 180975"/>
                <a:gd name="connsiteY1" fmla="*/ 7144 h 28575"/>
                <a:gd name="connsiteX2" fmla="*/ 182404 w 180975"/>
                <a:gd name="connsiteY2" fmla="*/ 22384 h 28575"/>
                <a:gd name="connsiteX3" fmla="*/ 7144 w 180975"/>
                <a:gd name="connsiteY3" fmla="*/ 2238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975" h="28575">
                  <a:moveTo>
                    <a:pt x="7144" y="7144"/>
                  </a:moveTo>
                  <a:lnTo>
                    <a:pt x="182404" y="7144"/>
                  </a:lnTo>
                  <a:lnTo>
                    <a:pt x="182404" y="22384"/>
                  </a:lnTo>
                  <a:lnTo>
                    <a:pt x="7144" y="2238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5" name="任意多边形: 形状 194">
              <a:extLst>
                <a:ext uri="{FF2B5EF4-FFF2-40B4-BE49-F238E27FC236}">
                  <a16:creationId xmlns:a16="http://schemas.microsoft.com/office/drawing/2014/main" id="{0E4D3925-4440-4319-A60D-47B1B4C6FC13}"/>
                </a:ext>
              </a:extLst>
            </p:cNvPr>
            <p:cNvSpPr/>
            <p:nvPr/>
          </p:nvSpPr>
          <p:spPr>
            <a:xfrm>
              <a:off x="7482364" y="2877026"/>
              <a:ext cx="104775" cy="28575"/>
            </a:xfrm>
            <a:custGeom>
              <a:avLst/>
              <a:gdLst>
                <a:gd name="connsiteX0" fmla="*/ 7144 w 104775"/>
                <a:gd name="connsiteY0" fmla="*/ 7144 h 28575"/>
                <a:gd name="connsiteX1" fmla="*/ 101441 w 104775"/>
                <a:gd name="connsiteY1" fmla="*/ 7144 h 28575"/>
                <a:gd name="connsiteX2" fmla="*/ 101441 w 104775"/>
                <a:gd name="connsiteY2" fmla="*/ 22384 h 28575"/>
                <a:gd name="connsiteX3" fmla="*/ 7144 w 104775"/>
                <a:gd name="connsiteY3" fmla="*/ 2238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775" h="28575">
                  <a:moveTo>
                    <a:pt x="7144" y="7144"/>
                  </a:moveTo>
                  <a:lnTo>
                    <a:pt x="101441" y="7144"/>
                  </a:lnTo>
                  <a:lnTo>
                    <a:pt x="101441" y="22384"/>
                  </a:lnTo>
                  <a:lnTo>
                    <a:pt x="7144" y="2238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6" name="任意多边形: 形状 195">
              <a:extLst>
                <a:ext uri="{FF2B5EF4-FFF2-40B4-BE49-F238E27FC236}">
                  <a16:creationId xmlns:a16="http://schemas.microsoft.com/office/drawing/2014/main" id="{4E657B17-88E7-4496-AC17-2A4CC2D32B41}"/>
                </a:ext>
              </a:extLst>
            </p:cNvPr>
            <p:cNvSpPr/>
            <p:nvPr/>
          </p:nvSpPr>
          <p:spPr>
            <a:xfrm>
              <a:off x="6386036" y="3787616"/>
              <a:ext cx="257175" cy="38100"/>
            </a:xfrm>
            <a:custGeom>
              <a:avLst/>
              <a:gdLst>
                <a:gd name="connsiteX0" fmla="*/ 239554 w 257175"/>
                <a:gd name="connsiteY0" fmla="*/ 37624 h 38100"/>
                <a:gd name="connsiteX1" fmla="*/ 22384 w 257175"/>
                <a:gd name="connsiteY1" fmla="*/ 37624 h 38100"/>
                <a:gd name="connsiteX2" fmla="*/ 7144 w 257175"/>
                <a:gd name="connsiteY2" fmla="*/ 22384 h 38100"/>
                <a:gd name="connsiteX3" fmla="*/ 7144 w 257175"/>
                <a:gd name="connsiteY3" fmla="*/ 22384 h 38100"/>
                <a:gd name="connsiteX4" fmla="*/ 22384 w 257175"/>
                <a:gd name="connsiteY4" fmla="*/ 7144 h 38100"/>
                <a:gd name="connsiteX5" fmla="*/ 239554 w 257175"/>
                <a:gd name="connsiteY5" fmla="*/ 7144 h 38100"/>
                <a:gd name="connsiteX6" fmla="*/ 254794 w 257175"/>
                <a:gd name="connsiteY6" fmla="*/ 22384 h 38100"/>
                <a:gd name="connsiteX7" fmla="*/ 254794 w 257175"/>
                <a:gd name="connsiteY7" fmla="*/ 22384 h 38100"/>
                <a:gd name="connsiteX8" fmla="*/ 239554 w 257175"/>
                <a:gd name="connsiteY8" fmla="*/ 37624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7175" h="38100">
                  <a:moveTo>
                    <a:pt x="239554" y="37624"/>
                  </a:moveTo>
                  <a:lnTo>
                    <a:pt x="22384" y="37624"/>
                  </a:lnTo>
                  <a:cubicBezTo>
                    <a:pt x="13811" y="37624"/>
                    <a:pt x="7144" y="30956"/>
                    <a:pt x="7144" y="22384"/>
                  </a:cubicBezTo>
                  <a:lnTo>
                    <a:pt x="7144" y="22384"/>
                  </a:lnTo>
                  <a:cubicBezTo>
                    <a:pt x="7144" y="13811"/>
                    <a:pt x="13811" y="7144"/>
                    <a:pt x="22384" y="7144"/>
                  </a:cubicBezTo>
                  <a:lnTo>
                    <a:pt x="239554" y="7144"/>
                  </a:lnTo>
                  <a:cubicBezTo>
                    <a:pt x="248126" y="7144"/>
                    <a:pt x="254794" y="13811"/>
                    <a:pt x="254794" y="22384"/>
                  </a:cubicBezTo>
                  <a:lnTo>
                    <a:pt x="254794" y="22384"/>
                  </a:lnTo>
                  <a:cubicBezTo>
                    <a:pt x="254794" y="30004"/>
                    <a:pt x="248126" y="37624"/>
                    <a:pt x="239554" y="37624"/>
                  </a:cubicBez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7" name="任意多边形: 形状 196">
              <a:extLst>
                <a:ext uri="{FF2B5EF4-FFF2-40B4-BE49-F238E27FC236}">
                  <a16:creationId xmlns:a16="http://schemas.microsoft.com/office/drawing/2014/main" id="{CB1ECE5C-D26B-4B51-ADF7-AE350F4D9E57}"/>
                </a:ext>
              </a:extLst>
            </p:cNvPr>
            <p:cNvSpPr/>
            <p:nvPr/>
          </p:nvSpPr>
          <p:spPr>
            <a:xfrm>
              <a:off x="6494621" y="3841908"/>
              <a:ext cx="38100" cy="161925"/>
            </a:xfrm>
            <a:custGeom>
              <a:avLst/>
              <a:gdLst>
                <a:gd name="connsiteX0" fmla="*/ 7144 w 38100"/>
                <a:gd name="connsiteY0" fmla="*/ 7144 h 161925"/>
                <a:gd name="connsiteX1" fmla="*/ 36671 w 38100"/>
                <a:gd name="connsiteY1" fmla="*/ 7144 h 161925"/>
                <a:gd name="connsiteX2" fmla="*/ 36671 w 38100"/>
                <a:gd name="connsiteY2" fmla="*/ 156686 h 161925"/>
                <a:gd name="connsiteX3" fmla="*/ 7144 w 38100"/>
                <a:gd name="connsiteY3" fmla="*/ 156686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00" h="161925">
                  <a:moveTo>
                    <a:pt x="7144" y="7144"/>
                  </a:moveTo>
                  <a:lnTo>
                    <a:pt x="36671" y="7144"/>
                  </a:lnTo>
                  <a:lnTo>
                    <a:pt x="36671" y="156686"/>
                  </a:lnTo>
                  <a:lnTo>
                    <a:pt x="7144" y="156686"/>
                  </a:lnTo>
                  <a:close/>
                </a:path>
              </a:pathLst>
            </a:custGeom>
            <a:solidFill>
              <a:srgbClr val="EBE0B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8" name="任意多边形: 形状 197">
              <a:extLst>
                <a:ext uri="{FF2B5EF4-FFF2-40B4-BE49-F238E27FC236}">
                  <a16:creationId xmlns:a16="http://schemas.microsoft.com/office/drawing/2014/main" id="{299252DE-79D7-4B06-86FB-E36FFD3AAE6D}"/>
                </a:ext>
              </a:extLst>
            </p:cNvPr>
            <p:cNvSpPr/>
            <p:nvPr/>
          </p:nvSpPr>
          <p:spPr>
            <a:xfrm>
              <a:off x="6487001" y="3818096"/>
              <a:ext cx="57150" cy="66675"/>
            </a:xfrm>
            <a:custGeom>
              <a:avLst/>
              <a:gdLst>
                <a:gd name="connsiteX0" fmla="*/ 7144 w 57150"/>
                <a:gd name="connsiteY0" fmla="*/ 7144 h 66675"/>
                <a:gd name="connsiteX1" fmla="*/ 52864 w 57150"/>
                <a:gd name="connsiteY1" fmla="*/ 7144 h 66675"/>
                <a:gd name="connsiteX2" fmla="*/ 52864 w 57150"/>
                <a:gd name="connsiteY2" fmla="*/ 65246 h 66675"/>
                <a:gd name="connsiteX3" fmla="*/ 7144 w 57150"/>
                <a:gd name="connsiteY3" fmla="*/ 65246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150" h="66675">
                  <a:moveTo>
                    <a:pt x="7144" y="7144"/>
                  </a:moveTo>
                  <a:lnTo>
                    <a:pt x="52864" y="7144"/>
                  </a:lnTo>
                  <a:lnTo>
                    <a:pt x="52864" y="65246"/>
                  </a:lnTo>
                  <a:lnTo>
                    <a:pt x="7144" y="65246"/>
                  </a:ln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9" name="任意多边形: 形状 198">
              <a:extLst>
                <a:ext uri="{FF2B5EF4-FFF2-40B4-BE49-F238E27FC236}">
                  <a16:creationId xmlns:a16="http://schemas.microsoft.com/office/drawing/2014/main" id="{0DF2101A-E91F-4DC3-9FDC-6BE8C6E6AD4D}"/>
                </a:ext>
              </a:extLst>
            </p:cNvPr>
            <p:cNvSpPr/>
            <p:nvPr/>
          </p:nvSpPr>
          <p:spPr>
            <a:xfrm>
              <a:off x="6420326" y="3983831"/>
              <a:ext cx="190500" cy="28575"/>
            </a:xfrm>
            <a:custGeom>
              <a:avLst/>
              <a:gdLst>
                <a:gd name="connsiteX0" fmla="*/ 7144 w 190500"/>
                <a:gd name="connsiteY0" fmla="*/ 7144 h 28575"/>
                <a:gd name="connsiteX1" fmla="*/ 185261 w 190500"/>
                <a:gd name="connsiteY1" fmla="*/ 7144 h 28575"/>
                <a:gd name="connsiteX2" fmla="*/ 185261 w 190500"/>
                <a:gd name="connsiteY2" fmla="*/ 26194 h 28575"/>
                <a:gd name="connsiteX3" fmla="*/ 7144 w 190500"/>
                <a:gd name="connsiteY3" fmla="*/ 2619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28575">
                  <a:moveTo>
                    <a:pt x="7144" y="7144"/>
                  </a:moveTo>
                  <a:lnTo>
                    <a:pt x="185261" y="7144"/>
                  </a:lnTo>
                  <a:lnTo>
                    <a:pt x="185261" y="26194"/>
                  </a:lnTo>
                  <a:lnTo>
                    <a:pt x="7144" y="26194"/>
                  </a:ln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0" name="任意多边形: 形状 199">
              <a:extLst>
                <a:ext uri="{FF2B5EF4-FFF2-40B4-BE49-F238E27FC236}">
                  <a16:creationId xmlns:a16="http://schemas.microsoft.com/office/drawing/2014/main" id="{5760B578-50C4-4FCE-A863-FD21E4A34801}"/>
                </a:ext>
              </a:extLst>
            </p:cNvPr>
            <p:cNvSpPr/>
            <p:nvPr/>
          </p:nvSpPr>
          <p:spPr>
            <a:xfrm>
              <a:off x="6413659" y="4002881"/>
              <a:ext cx="38100" cy="38100"/>
            </a:xfrm>
            <a:custGeom>
              <a:avLst/>
              <a:gdLst>
                <a:gd name="connsiteX0" fmla="*/ 39529 w 38100"/>
                <a:gd name="connsiteY0" fmla="*/ 23336 h 38100"/>
                <a:gd name="connsiteX1" fmla="*/ 23336 w 38100"/>
                <a:gd name="connsiteY1" fmla="*/ 39529 h 38100"/>
                <a:gd name="connsiteX2" fmla="*/ 7144 w 38100"/>
                <a:gd name="connsiteY2" fmla="*/ 23336 h 38100"/>
                <a:gd name="connsiteX3" fmla="*/ 23336 w 38100"/>
                <a:gd name="connsiteY3" fmla="*/ 7144 h 38100"/>
                <a:gd name="connsiteX4" fmla="*/ 39529 w 38100"/>
                <a:gd name="connsiteY4" fmla="*/ 23336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9529" y="23336"/>
                  </a:moveTo>
                  <a:cubicBezTo>
                    <a:pt x="39529" y="31909"/>
                    <a:pt x="31909" y="39529"/>
                    <a:pt x="23336" y="39529"/>
                  </a:cubicBezTo>
                  <a:cubicBezTo>
                    <a:pt x="14764" y="39529"/>
                    <a:pt x="7144" y="31909"/>
                    <a:pt x="7144" y="23336"/>
                  </a:cubicBezTo>
                  <a:cubicBezTo>
                    <a:pt x="7144" y="14764"/>
                    <a:pt x="14764" y="7144"/>
                    <a:pt x="23336" y="7144"/>
                  </a:cubicBezTo>
                  <a:cubicBezTo>
                    <a:pt x="32861" y="7144"/>
                    <a:pt x="39529" y="14764"/>
                    <a:pt x="39529" y="23336"/>
                  </a:cubicBezTo>
                  <a:close/>
                </a:path>
              </a:pathLst>
            </a:custGeom>
            <a:solidFill>
              <a:srgbClr val="EBE0B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1" name="任意多边形: 形状 200">
              <a:extLst>
                <a:ext uri="{FF2B5EF4-FFF2-40B4-BE49-F238E27FC236}">
                  <a16:creationId xmlns:a16="http://schemas.microsoft.com/office/drawing/2014/main" id="{DE8C23BC-256A-49FA-9806-0E01C807549A}"/>
                </a:ext>
              </a:extLst>
            </p:cNvPr>
            <p:cNvSpPr/>
            <p:nvPr/>
          </p:nvSpPr>
          <p:spPr>
            <a:xfrm>
              <a:off x="6572726" y="4002881"/>
              <a:ext cx="38100" cy="38100"/>
            </a:xfrm>
            <a:custGeom>
              <a:avLst/>
              <a:gdLst>
                <a:gd name="connsiteX0" fmla="*/ 39529 w 38100"/>
                <a:gd name="connsiteY0" fmla="*/ 23336 h 38100"/>
                <a:gd name="connsiteX1" fmla="*/ 23336 w 38100"/>
                <a:gd name="connsiteY1" fmla="*/ 39529 h 38100"/>
                <a:gd name="connsiteX2" fmla="*/ 7144 w 38100"/>
                <a:gd name="connsiteY2" fmla="*/ 23336 h 38100"/>
                <a:gd name="connsiteX3" fmla="*/ 23336 w 38100"/>
                <a:gd name="connsiteY3" fmla="*/ 7144 h 38100"/>
                <a:gd name="connsiteX4" fmla="*/ 39529 w 38100"/>
                <a:gd name="connsiteY4" fmla="*/ 23336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9529" y="23336"/>
                  </a:moveTo>
                  <a:cubicBezTo>
                    <a:pt x="39529" y="31909"/>
                    <a:pt x="31909" y="39529"/>
                    <a:pt x="23336" y="39529"/>
                  </a:cubicBezTo>
                  <a:cubicBezTo>
                    <a:pt x="14764" y="39529"/>
                    <a:pt x="7144" y="31909"/>
                    <a:pt x="7144" y="23336"/>
                  </a:cubicBezTo>
                  <a:cubicBezTo>
                    <a:pt x="7144" y="14764"/>
                    <a:pt x="14764" y="7144"/>
                    <a:pt x="23336" y="7144"/>
                  </a:cubicBezTo>
                  <a:cubicBezTo>
                    <a:pt x="31909" y="7144"/>
                    <a:pt x="39529" y="14764"/>
                    <a:pt x="39529" y="23336"/>
                  </a:cubicBezTo>
                  <a:close/>
                </a:path>
              </a:pathLst>
            </a:custGeom>
            <a:solidFill>
              <a:srgbClr val="EBE0B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2" name="任意多边形: 形状 201">
              <a:extLst>
                <a:ext uri="{FF2B5EF4-FFF2-40B4-BE49-F238E27FC236}">
                  <a16:creationId xmlns:a16="http://schemas.microsoft.com/office/drawing/2014/main" id="{BCCD56E9-43F7-4A0F-AE14-3CEFE5E257FA}"/>
                </a:ext>
              </a:extLst>
            </p:cNvPr>
            <p:cNvSpPr/>
            <p:nvPr/>
          </p:nvSpPr>
          <p:spPr>
            <a:xfrm>
              <a:off x="6293600" y="3700938"/>
              <a:ext cx="428625" cy="342900"/>
            </a:xfrm>
            <a:custGeom>
              <a:avLst/>
              <a:gdLst>
                <a:gd name="connsiteX0" fmla="*/ 430097 w 428625"/>
                <a:gd name="connsiteY0" fmla="*/ 63341 h 342900"/>
                <a:gd name="connsiteX1" fmla="*/ 311988 w 428625"/>
                <a:gd name="connsiteY1" fmla="*/ 7144 h 342900"/>
                <a:gd name="connsiteX2" fmla="*/ 218643 w 428625"/>
                <a:gd name="connsiteY2" fmla="*/ 8096 h 342900"/>
                <a:gd name="connsiteX3" fmla="*/ 125297 w 428625"/>
                <a:gd name="connsiteY3" fmla="*/ 7144 h 342900"/>
                <a:gd name="connsiteX4" fmla="*/ 7187 w 428625"/>
                <a:gd name="connsiteY4" fmla="*/ 63341 h 342900"/>
                <a:gd name="connsiteX5" fmla="*/ 66243 w 428625"/>
                <a:gd name="connsiteY5" fmla="*/ 344329 h 342900"/>
                <a:gd name="connsiteX6" fmla="*/ 116725 w 428625"/>
                <a:gd name="connsiteY6" fmla="*/ 344329 h 342900"/>
                <a:gd name="connsiteX7" fmla="*/ 108153 w 428625"/>
                <a:gd name="connsiteY7" fmla="*/ 99536 h 342900"/>
                <a:gd name="connsiteX8" fmla="*/ 218643 w 428625"/>
                <a:gd name="connsiteY8" fmla="*/ 94774 h 342900"/>
                <a:gd name="connsiteX9" fmla="*/ 329132 w 428625"/>
                <a:gd name="connsiteY9" fmla="*/ 99536 h 342900"/>
                <a:gd name="connsiteX10" fmla="*/ 320560 w 428625"/>
                <a:gd name="connsiteY10" fmla="*/ 344329 h 342900"/>
                <a:gd name="connsiteX11" fmla="*/ 371043 w 428625"/>
                <a:gd name="connsiteY11" fmla="*/ 344329 h 342900"/>
                <a:gd name="connsiteX12" fmla="*/ 430097 w 428625"/>
                <a:gd name="connsiteY12" fmla="*/ 63341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8625" h="342900">
                  <a:moveTo>
                    <a:pt x="430097" y="63341"/>
                  </a:moveTo>
                  <a:cubicBezTo>
                    <a:pt x="428193" y="17621"/>
                    <a:pt x="311988" y="7144"/>
                    <a:pt x="311988" y="7144"/>
                  </a:cubicBezTo>
                  <a:cubicBezTo>
                    <a:pt x="307225" y="7144"/>
                    <a:pt x="257695" y="7144"/>
                    <a:pt x="218643" y="8096"/>
                  </a:cubicBezTo>
                  <a:cubicBezTo>
                    <a:pt x="179590" y="8096"/>
                    <a:pt x="131012" y="7144"/>
                    <a:pt x="125297" y="7144"/>
                  </a:cubicBezTo>
                  <a:cubicBezTo>
                    <a:pt x="125297" y="7144"/>
                    <a:pt x="9093" y="17621"/>
                    <a:pt x="7187" y="63341"/>
                  </a:cubicBezTo>
                  <a:cubicBezTo>
                    <a:pt x="5282" y="109061"/>
                    <a:pt x="66243" y="344329"/>
                    <a:pt x="66243" y="344329"/>
                  </a:cubicBezTo>
                  <a:lnTo>
                    <a:pt x="116725" y="344329"/>
                  </a:lnTo>
                  <a:cubicBezTo>
                    <a:pt x="116725" y="344329"/>
                    <a:pt x="121487" y="108109"/>
                    <a:pt x="108153" y="99536"/>
                  </a:cubicBezTo>
                  <a:cubicBezTo>
                    <a:pt x="108153" y="99536"/>
                    <a:pt x="171018" y="98584"/>
                    <a:pt x="218643" y="94774"/>
                  </a:cubicBezTo>
                  <a:cubicBezTo>
                    <a:pt x="266268" y="98584"/>
                    <a:pt x="329132" y="99536"/>
                    <a:pt x="329132" y="99536"/>
                  </a:cubicBezTo>
                  <a:cubicBezTo>
                    <a:pt x="315797" y="108109"/>
                    <a:pt x="320560" y="344329"/>
                    <a:pt x="320560" y="344329"/>
                  </a:cubicBezTo>
                  <a:lnTo>
                    <a:pt x="371043" y="344329"/>
                  </a:lnTo>
                  <a:cubicBezTo>
                    <a:pt x="370090" y="344329"/>
                    <a:pt x="432003" y="108109"/>
                    <a:pt x="430097" y="63341"/>
                  </a:cubicBezTo>
                  <a:close/>
                </a:path>
              </a:pathLst>
            </a:custGeom>
            <a:solidFill>
              <a:srgbClr val="5202B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3" name="任意多边形: 形状 202">
              <a:extLst>
                <a:ext uri="{FF2B5EF4-FFF2-40B4-BE49-F238E27FC236}">
                  <a16:creationId xmlns:a16="http://schemas.microsoft.com/office/drawing/2014/main" id="{043807AB-22C1-4FCB-9225-45A1C60BEAD9}"/>
                </a:ext>
              </a:extLst>
            </p:cNvPr>
            <p:cNvSpPr/>
            <p:nvPr/>
          </p:nvSpPr>
          <p:spPr>
            <a:xfrm>
              <a:off x="6309714" y="4037171"/>
              <a:ext cx="95250" cy="38100"/>
            </a:xfrm>
            <a:custGeom>
              <a:avLst/>
              <a:gdLst>
                <a:gd name="connsiteX0" fmla="*/ 93943 w 95250"/>
                <a:gd name="connsiteY0" fmla="*/ 8096 h 38100"/>
                <a:gd name="connsiteX1" fmla="*/ 92991 w 95250"/>
                <a:gd name="connsiteY1" fmla="*/ 21431 h 38100"/>
                <a:gd name="connsiteX2" fmla="*/ 92991 w 95250"/>
                <a:gd name="connsiteY2" fmla="*/ 25241 h 38100"/>
                <a:gd name="connsiteX3" fmla="*/ 92038 w 95250"/>
                <a:gd name="connsiteY3" fmla="*/ 39529 h 38100"/>
                <a:gd name="connsiteX4" fmla="*/ 12028 w 95250"/>
                <a:gd name="connsiteY4" fmla="*/ 39529 h 38100"/>
                <a:gd name="connsiteX5" fmla="*/ 9170 w 95250"/>
                <a:gd name="connsiteY5" fmla="*/ 30956 h 38100"/>
                <a:gd name="connsiteX6" fmla="*/ 12980 w 95250"/>
                <a:gd name="connsiteY6" fmla="*/ 28099 h 38100"/>
                <a:gd name="connsiteX7" fmla="*/ 27268 w 95250"/>
                <a:gd name="connsiteY7" fmla="*/ 19526 h 38100"/>
                <a:gd name="connsiteX8" fmla="*/ 60605 w 95250"/>
                <a:gd name="connsiteY8" fmla="*/ 7144 h 38100"/>
                <a:gd name="connsiteX9" fmla="*/ 93943 w 95250"/>
                <a:gd name="connsiteY9" fmla="*/ 7144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5250" h="38100">
                  <a:moveTo>
                    <a:pt x="93943" y="8096"/>
                  </a:moveTo>
                  <a:lnTo>
                    <a:pt x="92991" y="21431"/>
                  </a:lnTo>
                  <a:lnTo>
                    <a:pt x="92991" y="25241"/>
                  </a:lnTo>
                  <a:lnTo>
                    <a:pt x="92038" y="39529"/>
                  </a:lnTo>
                  <a:lnTo>
                    <a:pt x="12028" y="39529"/>
                  </a:lnTo>
                  <a:cubicBezTo>
                    <a:pt x="7266" y="39529"/>
                    <a:pt x="5361" y="33814"/>
                    <a:pt x="9170" y="30956"/>
                  </a:cubicBezTo>
                  <a:cubicBezTo>
                    <a:pt x="10123" y="30004"/>
                    <a:pt x="11076" y="29051"/>
                    <a:pt x="12980" y="28099"/>
                  </a:cubicBezTo>
                  <a:cubicBezTo>
                    <a:pt x="16791" y="25241"/>
                    <a:pt x="22505" y="22384"/>
                    <a:pt x="27268" y="19526"/>
                  </a:cubicBezTo>
                  <a:cubicBezTo>
                    <a:pt x="43461" y="11906"/>
                    <a:pt x="60605" y="7144"/>
                    <a:pt x="60605" y="7144"/>
                  </a:cubicBezTo>
                  <a:lnTo>
                    <a:pt x="93943" y="7144"/>
                  </a:ln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4" name="任意多边形: 形状 203">
              <a:extLst>
                <a:ext uri="{FF2B5EF4-FFF2-40B4-BE49-F238E27FC236}">
                  <a16:creationId xmlns:a16="http://schemas.microsoft.com/office/drawing/2014/main" id="{46D38B5F-D38D-4458-8B98-EC9C217EF781}"/>
                </a:ext>
              </a:extLst>
            </p:cNvPr>
            <p:cNvSpPr/>
            <p:nvPr/>
          </p:nvSpPr>
          <p:spPr>
            <a:xfrm>
              <a:off x="6309714" y="4056221"/>
              <a:ext cx="95250" cy="28575"/>
            </a:xfrm>
            <a:custGeom>
              <a:avLst/>
              <a:gdLst>
                <a:gd name="connsiteX0" fmla="*/ 92991 w 95250"/>
                <a:gd name="connsiteY0" fmla="*/ 7144 h 28575"/>
                <a:gd name="connsiteX1" fmla="*/ 92038 w 95250"/>
                <a:gd name="connsiteY1" fmla="*/ 21431 h 28575"/>
                <a:gd name="connsiteX2" fmla="*/ 12028 w 95250"/>
                <a:gd name="connsiteY2" fmla="*/ 21431 h 28575"/>
                <a:gd name="connsiteX3" fmla="*/ 9170 w 95250"/>
                <a:gd name="connsiteY3" fmla="*/ 12859 h 28575"/>
                <a:gd name="connsiteX4" fmla="*/ 12980 w 95250"/>
                <a:gd name="connsiteY4" fmla="*/ 10001 h 28575"/>
                <a:gd name="connsiteX5" fmla="*/ 92991 w 95250"/>
                <a:gd name="connsiteY5" fmla="*/ 714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250" h="28575">
                  <a:moveTo>
                    <a:pt x="92991" y="7144"/>
                  </a:moveTo>
                  <a:lnTo>
                    <a:pt x="92038" y="21431"/>
                  </a:lnTo>
                  <a:lnTo>
                    <a:pt x="12028" y="21431"/>
                  </a:lnTo>
                  <a:cubicBezTo>
                    <a:pt x="7266" y="21431"/>
                    <a:pt x="5361" y="15716"/>
                    <a:pt x="9170" y="12859"/>
                  </a:cubicBezTo>
                  <a:cubicBezTo>
                    <a:pt x="10123" y="11906"/>
                    <a:pt x="11076" y="10954"/>
                    <a:pt x="12980" y="10001"/>
                  </a:cubicBezTo>
                  <a:cubicBezTo>
                    <a:pt x="30126" y="10954"/>
                    <a:pt x="57748" y="10954"/>
                    <a:pt x="92991" y="714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5" name="任意多边形: 形状 204">
              <a:extLst>
                <a:ext uri="{FF2B5EF4-FFF2-40B4-BE49-F238E27FC236}">
                  <a16:creationId xmlns:a16="http://schemas.microsoft.com/office/drawing/2014/main" id="{BC2AFFE6-AD80-417F-818E-B79A08839038}"/>
                </a:ext>
              </a:extLst>
            </p:cNvPr>
            <p:cNvSpPr/>
            <p:nvPr/>
          </p:nvSpPr>
          <p:spPr>
            <a:xfrm>
              <a:off x="6616541" y="4037171"/>
              <a:ext cx="95250" cy="38100"/>
            </a:xfrm>
            <a:custGeom>
              <a:avLst/>
              <a:gdLst>
                <a:gd name="connsiteX0" fmla="*/ 7144 w 95250"/>
                <a:gd name="connsiteY0" fmla="*/ 8096 h 38100"/>
                <a:gd name="connsiteX1" fmla="*/ 8096 w 95250"/>
                <a:gd name="connsiteY1" fmla="*/ 21431 h 38100"/>
                <a:gd name="connsiteX2" fmla="*/ 8096 w 95250"/>
                <a:gd name="connsiteY2" fmla="*/ 25241 h 38100"/>
                <a:gd name="connsiteX3" fmla="*/ 9049 w 95250"/>
                <a:gd name="connsiteY3" fmla="*/ 39529 h 38100"/>
                <a:gd name="connsiteX4" fmla="*/ 89059 w 95250"/>
                <a:gd name="connsiteY4" fmla="*/ 39529 h 38100"/>
                <a:gd name="connsiteX5" fmla="*/ 91916 w 95250"/>
                <a:gd name="connsiteY5" fmla="*/ 30956 h 38100"/>
                <a:gd name="connsiteX6" fmla="*/ 88106 w 95250"/>
                <a:gd name="connsiteY6" fmla="*/ 28099 h 38100"/>
                <a:gd name="connsiteX7" fmla="*/ 73819 w 95250"/>
                <a:gd name="connsiteY7" fmla="*/ 19526 h 38100"/>
                <a:gd name="connsiteX8" fmla="*/ 40481 w 95250"/>
                <a:gd name="connsiteY8" fmla="*/ 7144 h 38100"/>
                <a:gd name="connsiteX9" fmla="*/ 7144 w 95250"/>
                <a:gd name="connsiteY9" fmla="*/ 7144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5250" h="38100">
                  <a:moveTo>
                    <a:pt x="7144" y="8096"/>
                  </a:moveTo>
                  <a:lnTo>
                    <a:pt x="8096" y="21431"/>
                  </a:lnTo>
                  <a:lnTo>
                    <a:pt x="8096" y="25241"/>
                  </a:lnTo>
                  <a:lnTo>
                    <a:pt x="9049" y="39529"/>
                  </a:lnTo>
                  <a:lnTo>
                    <a:pt x="89059" y="39529"/>
                  </a:lnTo>
                  <a:cubicBezTo>
                    <a:pt x="93821" y="39529"/>
                    <a:pt x="95726" y="33814"/>
                    <a:pt x="91916" y="30956"/>
                  </a:cubicBezTo>
                  <a:cubicBezTo>
                    <a:pt x="90964" y="30004"/>
                    <a:pt x="90011" y="29051"/>
                    <a:pt x="88106" y="28099"/>
                  </a:cubicBezTo>
                  <a:cubicBezTo>
                    <a:pt x="84296" y="25241"/>
                    <a:pt x="78581" y="22384"/>
                    <a:pt x="73819" y="19526"/>
                  </a:cubicBezTo>
                  <a:cubicBezTo>
                    <a:pt x="57626" y="11906"/>
                    <a:pt x="40481" y="7144"/>
                    <a:pt x="40481" y="7144"/>
                  </a:cubicBezTo>
                  <a:lnTo>
                    <a:pt x="7144" y="7144"/>
                  </a:ln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6" name="任意多边形: 形状 205">
              <a:extLst>
                <a:ext uri="{FF2B5EF4-FFF2-40B4-BE49-F238E27FC236}">
                  <a16:creationId xmlns:a16="http://schemas.microsoft.com/office/drawing/2014/main" id="{67E752E1-379E-468B-AD44-7BEBC439C808}"/>
                </a:ext>
              </a:extLst>
            </p:cNvPr>
            <p:cNvSpPr/>
            <p:nvPr/>
          </p:nvSpPr>
          <p:spPr>
            <a:xfrm>
              <a:off x="6618446" y="4056221"/>
              <a:ext cx="95250" cy="28575"/>
            </a:xfrm>
            <a:custGeom>
              <a:avLst/>
              <a:gdLst>
                <a:gd name="connsiteX0" fmla="*/ 7144 w 95250"/>
                <a:gd name="connsiteY0" fmla="*/ 7144 h 28575"/>
                <a:gd name="connsiteX1" fmla="*/ 8096 w 95250"/>
                <a:gd name="connsiteY1" fmla="*/ 21431 h 28575"/>
                <a:gd name="connsiteX2" fmla="*/ 88106 w 95250"/>
                <a:gd name="connsiteY2" fmla="*/ 21431 h 28575"/>
                <a:gd name="connsiteX3" fmla="*/ 90964 w 95250"/>
                <a:gd name="connsiteY3" fmla="*/ 12859 h 28575"/>
                <a:gd name="connsiteX4" fmla="*/ 87154 w 95250"/>
                <a:gd name="connsiteY4" fmla="*/ 10001 h 28575"/>
                <a:gd name="connsiteX5" fmla="*/ 7144 w 95250"/>
                <a:gd name="connsiteY5" fmla="*/ 714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250" h="28575">
                  <a:moveTo>
                    <a:pt x="7144" y="7144"/>
                  </a:moveTo>
                  <a:lnTo>
                    <a:pt x="8096" y="21431"/>
                  </a:lnTo>
                  <a:lnTo>
                    <a:pt x="88106" y="21431"/>
                  </a:lnTo>
                  <a:cubicBezTo>
                    <a:pt x="92869" y="21431"/>
                    <a:pt x="94774" y="15716"/>
                    <a:pt x="90964" y="12859"/>
                  </a:cubicBezTo>
                  <a:cubicBezTo>
                    <a:pt x="90011" y="11906"/>
                    <a:pt x="89059" y="10954"/>
                    <a:pt x="87154" y="10001"/>
                  </a:cubicBezTo>
                  <a:cubicBezTo>
                    <a:pt x="70009" y="10954"/>
                    <a:pt x="42386" y="10954"/>
                    <a:pt x="7144" y="714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7" name="任意多边形: 形状 206">
              <a:extLst>
                <a:ext uri="{FF2B5EF4-FFF2-40B4-BE49-F238E27FC236}">
                  <a16:creationId xmlns:a16="http://schemas.microsoft.com/office/drawing/2014/main" id="{CC2A8D21-A1FA-4A6D-9B9C-67A8A15AD902}"/>
                </a:ext>
              </a:extLst>
            </p:cNvPr>
            <p:cNvSpPr/>
            <p:nvPr/>
          </p:nvSpPr>
          <p:spPr>
            <a:xfrm>
              <a:off x="6377464" y="3369706"/>
              <a:ext cx="247650" cy="371475"/>
            </a:xfrm>
            <a:custGeom>
              <a:avLst/>
              <a:gdLst>
                <a:gd name="connsiteX0" fmla="*/ 248126 w 247650"/>
                <a:gd name="connsiteY0" fmla="*/ 339328 h 371475"/>
                <a:gd name="connsiteX1" fmla="*/ 246221 w 247650"/>
                <a:gd name="connsiteY1" fmla="*/ 340281 h 371475"/>
                <a:gd name="connsiteX2" fmla="*/ 7144 w 247650"/>
                <a:gd name="connsiteY2" fmla="*/ 344091 h 371475"/>
                <a:gd name="connsiteX3" fmla="*/ 30004 w 247650"/>
                <a:gd name="connsiteY3" fmla="*/ 157401 h 371475"/>
                <a:gd name="connsiteX4" fmla="*/ 60484 w 247650"/>
                <a:gd name="connsiteY4" fmla="*/ 19288 h 371475"/>
                <a:gd name="connsiteX5" fmla="*/ 60484 w 247650"/>
                <a:gd name="connsiteY5" fmla="*/ 19288 h 371475"/>
                <a:gd name="connsiteX6" fmla="*/ 60484 w 247650"/>
                <a:gd name="connsiteY6" fmla="*/ 19288 h 371475"/>
                <a:gd name="connsiteX7" fmla="*/ 69056 w 247650"/>
                <a:gd name="connsiteY7" fmla="*/ 16431 h 371475"/>
                <a:gd name="connsiteX8" fmla="*/ 179546 w 247650"/>
                <a:gd name="connsiteY8" fmla="*/ 16431 h 371475"/>
                <a:gd name="connsiteX9" fmla="*/ 189071 w 247650"/>
                <a:gd name="connsiteY9" fmla="*/ 19288 h 371475"/>
                <a:gd name="connsiteX10" fmla="*/ 248126 w 247650"/>
                <a:gd name="connsiteY10" fmla="*/ 339328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7650" h="371475">
                  <a:moveTo>
                    <a:pt x="248126" y="339328"/>
                  </a:moveTo>
                  <a:lnTo>
                    <a:pt x="246221" y="340281"/>
                  </a:lnTo>
                  <a:cubicBezTo>
                    <a:pt x="170974" y="376476"/>
                    <a:pt x="83344" y="378381"/>
                    <a:pt x="7144" y="344091"/>
                  </a:cubicBezTo>
                  <a:cubicBezTo>
                    <a:pt x="7144" y="344091"/>
                    <a:pt x="12859" y="259318"/>
                    <a:pt x="30004" y="157401"/>
                  </a:cubicBezTo>
                  <a:cubicBezTo>
                    <a:pt x="37624" y="112633"/>
                    <a:pt x="47149" y="65008"/>
                    <a:pt x="60484" y="19288"/>
                  </a:cubicBezTo>
                  <a:lnTo>
                    <a:pt x="60484" y="19288"/>
                  </a:lnTo>
                  <a:cubicBezTo>
                    <a:pt x="60484" y="19288"/>
                    <a:pt x="60484" y="19288"/>
                    <a:pt x="60484" y="19288"/>
                  </a:cubicBezTo>
                  <a:cubicBezTo>
                    <a:pt x="63341" y="18336"/>
                    <a:pt x="66199" y="17383"/>
                    <a:pt x="69056" y="16431"/>
                  </a:cubicBezTo>
                  <a:cubicBezTo>
                    <a:pt x="105251" y="4048"/>
                    <a:pt x="143351" y="4048"/>
                    <a:pt x="179546" y="16431"/>
                  </a:cubicBezTo>
                  <a:cubicBezTo>
                    <a:pt x="182404" y="17383"/>
                    <a:pt x="185261" y="18336"/>
                    <a:pt x="189071" y="19288"/>
                  </a:cubicBezTo>
                  <a:cubicBezTo>
                    <a:pt x="230029" y="166926"/>
                    <a:pt x="248126" y="339328"/>
                    <a:pt x="248126" y="339328"/>
                  </a:cubicBezTo>
                  <a:close/>
                </a:path>
              </a:pathLst>
            </a:custGeom>
            <a:solidFill>
              <a:srgbClr val="00BEB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8" name="任意多边形: 形状 207">
              <a:extLst>
                <a:ext uri="{FF2B5EF4-FFF2-40B4-BE49-F238E27FC236}">
                  <a16:creationId xmlns:a16="http://schemas.microsoft.com/office/drawing/2014/main" id="{FEAB1192-AD98-4749-A667-781D3E39BF14}"/>
                </a:ext>
              </a:extLst>
            </p:cNvPr>
            <p:cNvSpPr/>
            <p:nvPr/>
          </p:nvSpPr>
          <p:spPr>
            <a:xfrm>
              <a:off x="6281079" y="3381851"/>
              <a:ext cx="161925" cy="257175"/>
            </a:xfrm>
            <a:custGeom>
              <a:avLst/>
              <a:gdLst>
                <a:gd name="connsiteX0" fmla="*/ 156868 w 161925"/>
                <a:gd name="connsiteY0" fmla="*/ 7144 h 257175"/>
                <a:gd name="connsiteX1" fmla="*/ 156868 w 161925"/>
                <a:gd name="connsiteY1" fmla="*/ 7144 h 257175"/>
                <a:gd name="connsiteX2" fmla="*/ 126389 w 161925"/>
                <a:gd name="connsiteY2" fmla="*/ 145256 h 257175"/>
                <a:gd name="connsiteX3" fmla="*/ 79716 w 161925"/>
                <a:gd name="connsiteY3" fmla="*/ 194786 h 257175"/>
                <a:gd name="connsiteX4" fmla="*/ 99718 w 161925"/>
                <a:gd name="connsiteY4" fmla="*/ 215741 h 257175"/>
                <a:gd name="connsiteX5" fmla="*/ 87336 w 161925"/>
                <a:gd name="connsiteY5" fmla="*/ 257651 h 257175"/>
                <a:gd name="connsiteX6" fmla="*/ 60666 w 161925"/>
                <a:gd name="connsiteY6" fmla="*/ 257651 h 257175"/>
                <a:gd name="connsiteX7" fmla="*/ 7326 w 161925"/>
                <a:gd name="connsiteY7" fmla="*/ 193834 h 257175"/>
                <a:gd name="connsiteX8" fmla="*/ 112101 w 161925"/>
                <a:gd name="connsiteY8" fmla="*/ 28099 h 257175"/>
                <a:gd name="connsiteX9" fmla="*/ 156868 w 161925"/>
                <a:gd name="connsiteY9" fmla="*/ 7144 h 257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1925" h="257175">
                  <a:moveTo>
                    <a:pt x="156868" y="7144"/>
                  </a:moveTo>
                  <a:lnTo>
                    <a:pt x="156868" y="7144"/>
                  </a:lnTo>
                  <a:cubicBezTo>
                    <a:pt x="144486" y="52864"/>
                    <a:pt x="134009" y="100489"/>
                    <a:pt x="126389" y="145256"/>
                  </a:cubicBezTo>
                  <a:cubicBezTo>
                    <a:pt x="107339" y="159544"/>
                    <a:pt x="83526" y="179546"/>
                    <a:pt x="79716" y="194786"/>
                  </a:cubicBezTo>
                  <a:cubicBezTo>
                    <a:pt x="77811" y="203359"/>
                    <a:pt x="86384" y="210026"/>
                    <a:pt x="99718" y="215741"/>
                  </a:cubicBezTo>
                  <a:lnTo>
                    <a:pt x="87336" y="257651"/>
                  </a:lnTo>
                  <a:lnTo>
                    <a:pt x="60666" y="257651"/>
                  </a:lnTo>
                  <a:cubicBezTo>
                    <a:pt x="60666" y="257651"/>
                    <a:pt x="3516" y="240506"/>
                    <a:pt x="7326" y="193834"/>
                  </a:cubicBezTo>
                  <a:cubicBezTo>
                    <a:pt x="10184" y="147161"/>
                    <a:pt x="99718" y="46196"/>
                    <a:pt x="112101" y="28099"/>
                  </a:cubicBezTo>
                  <a:cubicBezTo>
                    <a:pt x="117816" y="19526"/>
                    <a:pt x="137818" y="11906"/>
                    <a:pt x="156868" y="7144"/>
                  </a:cubicBezTo>
                  <a:close/>
                </a:path>
              </a:pathLst>
            </a:custGeom>
            <a:solidFill>
              <a:srgbClr val="00A49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9" name="任意多边形: 形状 208">
              <a:extLst>
                <a:ext uri="{FF2B5EF4-FFF2-40B4-BE49-F238E27FC236}">
                  <a16:creationId xmlns:a16="http://schemas.microsoft.com/office/drawing/2014/main" id="{5691E9D6-F59E-490E-BCDB-ED584BAC518C}"/>
                </a:ext>
              </a:extLst>
            </p:cNvPr>
            <p:cNvSpPr/>
            <p:nvPr/>
          </p:nvSpPr>
          <p:spPr>
            <a:xfrm>
              <a:off x="6360319" y="3589496"/>
              <a:ext cx="95250" cy="57150"/>
            </a:xfrm>
            <a:custGeom>
              <a:avLst/>
              <a:gdLst>
                <a:gd name="connsiteX0" fmla="*/ 92869 w 95250"/>
                <a:gd name="connsiteY0" fmla="*/ 50006 h 57150"/>
                <a:gd name="connsiteX1" fmla="*/ 92869 w 95250"/>
                <a:gd name="connsiteY1" fmla="*/ 25241 h 57150"/>
                <a:gd name="connsiteX2" fmla="*/ 19526 w 95250"/>
                <a:gd name="connsiteY2" fmla="*/ 7144 h 57150"/>
                <a:gd name="connsiteX3" fmla="*/ 7144 w 95250"/>
                <a:gd name="connsiteY3" fmla="*/ 49054 h 57150"/>
                <a:gd name="connsiteX4" fmla="*/ 92869 w 95250"/>
                <a:gd name="connsiteY4" fmla="*/ 49054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57150">
                  <a:moveTo>
                    <a:pt x="92869" y="50006"/>
                  </a:moveTo>
                  <a:lnTo>
                    <a:pt x="92869" y="25241"/>
                  </a:lnTo>
                  <a:cubicBezTo>
                    <a:pt x="92869" y="25241"/>
                    <a:pt x="47149" y="19526"/>
                    <a:pt x="19526" y="7144"/>
                  </a:cubicBezTo>
                  <a:lnTo>
                    <a:pt x="7144" y="49054"/>
                  </a:lnTo>
                  <a:lnTo>
                    <a:pt x="92869" y="49054"/>
                  </a:ln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0" name="任意多边形: 形状 209">
              <a:extLst>
                <a:ext uri="{FF2B5EF4-FFF2-40B4-BE49-F238E27FC236}">
                  <a16:creationId xmlns:a16="http://schemas.microsoft.com/office/drawing/2014/main" id="{385D446C-C9C8-4F00-B79F-3B8F174A0AB0}"/>
                </a:ext>
              </a:extLst>
            </p:cNvPr>
            <p:cNvSpPr/>
            <p:nvPr/>
          </p:nvSpPr>
          <p:spPr>
            <a:xfrm>
              <a:off x="6557486" y="3381851"/>
              <a:ext cx="161925" cy="257175"/>
            </a:xfrm>
            <a:custGeom>
              <a:avLst/>
              <a:gdLst>
                <a:gd name="connsiteX0" fmla="*/ 7144 w 161925"/>
                <a:gd name="connsiteY0" fmla="*/ 7144 h 257175"/>
                <a:gd name="connsiteX1" fmla="*/ 8096 w 161925"/>
                <a:gd name="connsiteY1" fmla="*/ 7144 h 257175"/>
                <a:gd name="connsiteX2" fmla="*/ 37624 w 161925"/>
                <a:gd name="connsiteY2" fmla="*/ 145256 h 257175"/>
                <a:gd name="connsiteX3" fmla="*/ 84296 w 161925"/>
                <a:gd name="connsiteY3" fmla="*/ 194786 h 257175"/>
                <a:gd name="connsiteX4" fmla="*/ 64294 w 161925"/>
                <a:gd name="connsiteY4" fmla="*/ 215741 h 257175"/>
                <a:gd name="connsiteX5" fmla="*/ 76676 w 161925"/>
                <a:gd name="connsiteY5" fmla="*/ 257651 h 257175"/>
                <a:gd name="connsiteX6" fmla="*/ 103346 w 161925"/>
                <a:gd name="connsiteY6" fmla="*/ 257651 h 257175"/>
                <a:gd name="connsiteX7" fmla="*/ 156686 w 161925"/>
                <a:gd name="connsiteY7" fmla="*/ 193834 h 257175"/>
                <a:gd name="connsiteX8" fmla="*/ 51911 w 161925"/>
                <a:gd name="connsiteY8" fmla="*/ 28099 h 257175"/>
                <a:gd name="connsiteX9" fmla="*/ 7144 w 161925"/>
                <a:gd name="connsiteY9" fmla="*/ 7144 h 257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1925" h="257175">
                  <a:moveTo>
                    <a:pt x="7144" y="7144"/>
                  </a:moveTo>
                  <a:lnTo>
                    <a:pt x="8096" y="7144"/>
                  </a:lnTo>
                  <a:cubicBezTo>
                    <a:pt x="20479" y="52864"/>
                    <a:pt x="30004" y="100489"/>
                    <a:pt x="37624" y="145256"/>
                  </a:cubicBezTo>
                  <a:cubicBezTo>
                    <a:pt x="56674" y="159544"/>
                    <a:pt x="80486" y="179546"/>
                    <a:pt x="84296" y="194786"/>
                  </a:cubicBezTo>
                  <a:cubicBezTo>
                    <a:pt x="86201" y="203359"/>
                    <a:pt x="77629" y="210026"/>
                    <a:pt x="64294" y="215741"/>
                  </a:cubicBezTo>
                  <a:lnTo>
                    <a:pt x="76676" y="257651"/>
                  </a:lnTo>
                  <a:lnTo>
                    <a:pt x="103346" y="257651"/>
                  </a:lnTo>
                  <a:cubicBezTo>
                    <a:pt x="103346" y="257651"/>
                    <a:pt x="160496" y="240506"/>
                    <a:pt x="156686" y="193834"/>
                  </a:cubicBezTo>
                  <a:cubicBezTo>
                    <a:pt x="153829" y="147161"/>
                    <a:pt x="64294" y="46196"/>
                    <a:pt x="51911" y="28099"/>
                  </a:cubicBezTo>
                  <a:cubicBezTo>
                    <a:pt x="46196" y="19526"/>
                    <a:pt x="26194" y="11906"/>
                    <a:pt x="7144" y="7144"/>
                  </a:cubicBezTo>
                  <a:close/>
                </a:path>
              </a:pathLst>
            </a:custGeom>
            <a:solidFill>
              <a:srgbClr val="00A49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1" name="任意多边形: 形状 210">
              <a:extLst>
                <a:ext uri="{FF2B5EF4-FFF2-40B4-BE49-F238E27FC236}">
                  <a16:creationId xmlns:a16="http://schemas.microsoft.com/office/drawing/2014/main" id="{6C00F13B-E56F-4A31-9033-D2F006997BFC}"/>
                </a:ext>
              </a:extLst>
            </p:cNvPr>
            <p:cNvSpPr/>
            <p:nvPr/>
          </p:nvSpPr>
          <p:spPr>
            <a:xfrm>
              <a:off x="6541294" y="3589496"/>
              <a:ext cx="95250" cy="57150"/>
            </a:xfrm>
            <a:custGeom>
              <a:avLst/>
              <a:gdLst>
                <a:gd name="connsiteX0" fmla="*/ 7144 w 95250"/>
                <a:gd name="connsiteY0" fmla="*/ 50006 h 57150"/>
                <a:gd name="connsiteX1" fmla="*/ 7144 w 95250"/>
                <a:gd name="connsiteY1" fmla="*/ 25241 h 57150"/>
                <a:gd name="connsiteX2" fmla="*/ 80486 w 95250"/>
                <a:gd name="connsiteY2" fmla="*/ 7144 h 57150"/>
                <a:gd name="connsiteX3" fmla="*/ 92869 w 95250"/>
                <a:gd name="connsiteY3" fmla="*/ 49054 h 57150"/>
                <a:gd name="connsiteX4" fmla="*/ 7144 w 95250"/>
                <a:gd name="connsiteY4" fmla="*/ 49054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57150">
                  <a:moveTo>
                    <a:pt x="7144" y="50006"/>
                  </a:moveTo>
                  <a:lnTo>
                    <a:pt x="7144" y="25241"/>
                  </a:lnTo>
                  <a:cubicBezTo>
                    <a:pt x="7144" y="25241"/>
                    <a:pt x="52864" y="19526"/>
                    <a:pt x="80486" y="7144"/>
                  </a:cubicBezTo>
                  <a:lnTo>
                    <a:pt x="92869" y="49054"/>
                  </a:lnTo>
                  <a:lnTo>
                    <a:pt x="7144" y="49054"/>
                  </a:ln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2" name="任意多边形: 形状 211">
              <a:extLst>
                <a:ext uri="{FF2B5EF4-FFF2-40B4-BE49-F238E27FC236}">
                  <a16:creationId xmlns:a16="http://schemas.microsoft.com/office/drawing/2014/main" id="{D49B6B80-C976-4568-BA1C-8ADB711AA064}"/>
                </a:ext>
              </a:extLst>
            </p:cNvPr>
            <p:cNvSpPr/>
            <p:nvPr/>
          </p:nvSpPr>
          <p:spPr>
            <a:xfrm>
              <a:off x="6392704" y="3484721"/>
              <a:ext cx="238125" cy="161925"/>
            </a:xfrm>
            <a:custGeom>
              <a:avLst/>
              <a:gdLst>
                <a:gd name="connsiteX0" fmla="*/ 7144 w 238125"/>
                <a:gd name="connsiteY0" fmla="*/ 7144 h 161925"/>
                <a:gd name="connsiteX1" fmla="*/ 231934 w 238125"/>
                <a:gd name="connsiteY1" fmla="*/ 7144 h 161925"/>
                <a:gd name="connsiteX2" fmla="*/ 231934 w 238125"/>
                <a:gd name="connsiteY2" fmla="*/ 154781 h 161925"/>
                <a:gd name="connsiteX3" fmla="*/ 7144 w 238125"/>
                <a:gd name="connsiteY3" fmla="*/ 154781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8125" h="161925">
                  <a:moveTo>
                    <a:pt x="7144" y="7144"/>
                  </a:moveTo>
                  <a:lnTo>
                    <a:pt x="231934" y="7144"/>
                  </a:lnTo>
                  <a:lnTo>
                    <a:pt x="231934" y="154781"/>
                  </a:lnTo>
                  <a:lnTo>
                    <a:pt x="7144" y="154781"/>
                  </a:ln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3" name="任意多边形: 形状 212">
              <a:extLst>
                <a:ext uri="{FF2B5EF4-FFF2-40B4-BE49-F238E27FC236}">
                  <a16:creationId xmlns:a16="http://schemas.microsoft.com/office/drawing/2014/main" id="{2D81D9E2-B862-4D44-85C8-501B39018B02}"/>
                </a:ext>
              </a:extLst>
            </p:cNvPr>
            <p:cNvSpPr/>
            <p:nvPr/>
          </p:nvSpPr>
          <p:spPr>
            <a:xfrm>
              <a:off x="6439376" y="3370421"/>
              <a:ext cx="123825" cy="66675"/>
            </a:xfrm>
            <a:custGeom>
              <a:avLst/>
              <a:gdLst>
                <a:gd name="connsiteX0" fmla="*/ 117634 w 123825"/>
                <a:gd name="connsiteY0" fmla="*/ 14764 h 66675"/>
                <a:gd name="connsiteX1" fmla="*/ 66199 w 123825"/>
                <a:gd name="connsiteY1" fmla="*/ 60484 h 66675"/>
                <a:gd name="connsiteX2" fmla="*/ 7144 w 123825"/>
                <a:gd name="connsiteY2" fmla="*/ 15716 h 66675"/>
                <a:gd name="connsiteX3" fmla="*/ 17621 w 123825"/>
                <a:gd name="connsiteY3" fmla="*/ 12859 h 66675"/>
                <a:gd name="connsiteX4" fmla="*/ 109061 w 123825"/>
                <a:gd name="connsiteY4" fmla="*/ 12859 h 66675"/>
                <a:gd name="connsiteX5" fmla="*/ 117634 w 123825"/>
                <a:gd name="connsiteY5" fmla="*/ 1476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3825" h="66675">
                  <a:moveTo>
                    <a:pt x="117634" y="14764"/>
                  </a:moveTo>
                  <a:cubicBezTo>
                    <a:pt x="114776" y="30004"/>
                    <a:pt x="105251" y="60484"/>
                    <a:pt x="66199" y="60484"/>
                  </a:cubicBezTo>
                  <a:cubicBezTo>
                    <a:pt x="27146" y="60484"/>
                    <a:pt x="11906" y="30956"/>
                    <a:pt x="7144" y="15716"/>
                  </a:cubicBezTo>
                  <a:cubicBezTo>
                    <a:pt x="10954" y="14764"/>
                    <a:pt x="13811" y="13811"/>
                    <a:pt x="17621" y="12859"/>
                  </a:cubicBezTo>
                  <a:cubicBezTo>
                    <a:pt x="47149" y="5239"/>
                    <a:pt x="78581" y="5239"/>
                    <a:pt x="109061" y="12859"/>
                  </a:cubicBezTo>
                  <a:cubicBezTo>
                    <a:pt x="110966" y="12859"/>
                    <a:pt x="113824" y="13811"/>
                    <a:pt x="117634" y="14764"/>
                  </a:cubicBez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4" name="任意多边形: 形状 213">
              <a:extLst>
                <a:ext uri="{FF2B5EF4-FFF2-40B4-BE49-F238E27FC236}">
                  <a16:creationId xmlns:a16="http://schemas.microsoft.com/office/drawing/2014/main" id="{69CBD822-550D-427D-AB81-72BA93137757}"/>
                </a:ext>
              </a:extLst>
            </p:cNvPr>
            <p:cNvSpPr/>
            <p:nvPr/>
          </p:nvSpPr>
          <p:spPr>
            <a:xfrm>
              <a:off x="6449854" y="3369706"/>
              <a:ext cx="104775" cy="47625"/>
            </a:xfrm>
            <a:custGeom>
              <a:avLst/>
              <a:gdLst>
                <a:gd name="connsiteX0" fmla="*/ 97631 w 104775"/>
                <a:gd name="connsiteY0" fmla="*/ 13573 h 47625"/>
                <a:gd name="connsiteX1" fmla="*/ 49054 w 104775"/>
                <a:gd name="connsiteY1" fmla="*/ 41196 h 47625"/>
                <a:gd name="connsiteX2" fmla="*/ 7144 w 104775"/>
                <a:gd name="connsiteY2" fmla="*/ 13573 h 47625"/>
                <a:gd name="connsiteX3" fmla="*/ 97631 w 104775"/>
                <a:gd name="connsiteY3" fmla="*/ 13573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775" h="47625">
                  <a:moveTo>
                    <a:pt x="97631" y="13573"/>
                  </a:moveTo>
                  <a:cubicBezTo>
                    <a:pt x="87154" y="25003"/>
                    <a:pt x="69056" y="41196"/>
                    <a:pt x="49054" y="41196"/>
                  </a:cubicBezTo>
                  <a:cubicBezTo>
                    <a:pt x="25241" y="42148"/>
                    <a:pt x="11906" y="23098"/>
                    <a:pt x="7144" y="13573"/>
                  </a:cubicBezTo>
                  <a:cubicBezTo>
                    <a:pt x="36671" y="5001"/>
                    <a:pt x="68104" y="5001"/>
                    <a:pt x="97631" y="13573"/>
                  </a:cubicBezTo>
                  <a:close/>
                </a:path>
              </a:pathLst>
            </a:custGeom>
            <a:solidFill>
              <a:srgbClr val="EBE0B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5" name="任意多边形: 形状 214">
              <a:extLst>
                <a:ext uri="{FF2B5EF4-FFF2-40B4-BE49-F238E27FC236}">
                  <a16:creationId xmlns:a16="http://schemas.microsoft.com/office/drawing/2014/main" id="{0396844D-1D4D-4364-A852-A46892EB13EB}"/>
                </a:ext>
              </a:extLst>
            </p:cNvPr>
            <p:cNvSpPr/>
            <p:nvPr/>
          </p:nvSpPr>
          <p:spPr>
            <a:xfrm>
              <a:off x="6436519" y="3252290"/>
              <a:ext cx="123825" cy="152400"/>
            </a:xfrm>
            <a:custGeom>
              <a:avLst/>
              <a:gdLst>
                <a:gd name="connsiteX0" fmla="*/ 121444 w 123825"/>
                <a:gd name="connsiteY0" fmla="*/ 78602 h 152400"/>
                <a:gd name="connsiteX1" fmla="*/ 64294 w 123825"/>
                <a:gd name="connsiteY1" fmla="*/ 150039 h 152400"/>
                <a:gd name="connsiteX2" fmla="*/ 7144 w 123825"/>
                <a:gd name="connsiteY2" fmla="*/ 78602 h 152400"/>
                <a:gd name="connsiteX3" fmla="*/ 64294 w 123825"/>
                <a:gd name="connsiteY3" fmla="*/ 7164 h 152400"/>
                <a:gd name="connsiteX4" fmla="*/ 121444 w 123825"/>
                <a:gd name="connsiteY4" fmla="*/ 78602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825" h="152400">
                  <a:moveTo>
                    <a:pt x="121444" y="78602"/>
                  </a:moveTo>
                  <a:cubicBezTo>
                    <a:pt x="121444" y="118607"/>
                    <a:pt x="95726" y="150039"/>
                    <a:pt x="64294" y="150039"/>
                  </a:cubicBezTo>
                  <a:cubicBezTo>
                    <a:pt x="32861" y="150039"/>
                    <a:pt x="7144" y="117654"/>
                    <a:pt x="7144" y="78602"/>
                  </a:cubicBezTo>
                  <a:cubicBezTo>
                    <a:pt x="7144" y="38597"/>
                    <a:pt x="32861" y="7164"/>
                    <a:pt x="64294" y="7164"/>
                  </a:cubicBezTo>
                  <a:cubicBezTo>
                    <a:pt x="95726" y="6212"/>
                    <a:pt x="121444" y="38597"/>
                    <a:pt x="121444" y="78602"/>
                  </a:cubicBez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6" name="任意多边形: 形状 215">
              <a:extLst>
                <a:ext uri="{FF2B5EF4-FFF2-40B4-BE49-F238E27FC236}">
                  <a16:creationId xmlns:a16="http://schemas.microsoft.com/office/drawing/2014/main" id="{10AB9FDB-7679-44BC-98E8-D27B01A670CA}"/>
                </a:ext>
              </a:extLst>
            </p:cNvPr>
            <p:cNvSpPr/>
            <p:nvPr/>
          </p:nvSpPr>
          <p:spPr>
            <a:xfrm>
              <a:off x="6421279" y="3319938"/>
              <a:ext cx="47625" cy="47625"/>
            </a:xfrm>
            <a:custGeom>
              <a:avLst/>
              <a:gdLst>
                <a:gd name="connsiteX0" fmla="*/ 41434 w 47625"/>
                <a:gd name="connsiteY0" fmla="*/ 24289 h 47625"/>
                <a:gd name="connsiteX1" fmla="*/ 24289 w 47625"/>
                <a:gd name="connsiteY1" fmla="*/ 41434 h 47625"/>
                <a:gd name="connsiteX2" fmla="*/ 7144 w 47625"/>
                <a:gd name="connsiteY2" fmla="*/ 24289 h 47625"/>
                <a:gd name="connsiteX3" fmla="*/ 24289 w 47625"/>
                <a:gd name="connsiteY3" fmla="*/ 7144 h 47625"/>
                <a:gd name="connsiteX4" fmla="*/ 41434 w 47625"/>
                <a:gd name="connsiteY4" fmla="*/ 24289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25" h="47625">
                  <a:moveTo>
                    <a:pt x="41434" y="24289"/>
                  </a:moveTo>
                  <a:cubicBezTo>
                    <a:pt x="41434" y="33814"/>
                    <a:pt x="33814" y="41434"/>
                    <a:pt x="24289" y="41434"/>
                  </a:cubicBezTo>
                  <a:cubicBezTo>
                    <a:pt x="14764" y="41434"/>
                    <a:pt x="7144" y="33814"/>
                    <a:pt x="7144" y="24289"/>
                  </a:cubicBezTo>
                  <a:cubicBezTo>
                    <a:pt x="7144" y="14764"/>
                    <a:pt x="14764" y="7144"/>
                    <a:pt x="24289" y="7144"/>
                  </a:cubicBezTo>
                  <a:cubicBezTo>
                    <a:pt x="33814" y="7144"/>
                    <a:pt x="41434" y="14764"/>
                    <a:pt x="41434" y="24289"/>
                  </a:cubicBez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7" name="任意多边形: 形状 216">
              <a:extLst>
                <a:ext uri="{FF2B5EF4-FFF2-40B4-BE49-F238E27FC236}">
                  <a16:creationId xmlns:a16="http://schemas.microsoft.com/office/drawing/2014/main" id="{7AE5EBA2-B5CE-44B2-90CA-73ECA9909385}"/>
                </a:ext>
              </a:extLst>
            </p:cNvPr>
            <p:cNvSpPr/>
            <p:nvPr/>
          </p:nvSpPr>
          <p:spPr>
            <a:xfrm>
              <a:off x="6533674" y="3319938"/>
              <a:ext cx="47625" cy="47625"/>
            </a:xfrm>
            <a:custGeom>
              <a:avLst/>
              <a:gdLst>
                <a:gd name="connsiteX0" fmla="*/ 41434 w 47625"/>
                <a:gd name="connsiteY0" fmla="*/ 24289 h 47625"/>
                <a:gd name="connsiteX1" fmla="*/ 24289 w 47625"/>
                <a:gd name="connsiteY1" fmla="*/ 41434 h 47625"/>
                <a:gd name="connsiteX2" fmla="*/ 7144 w 47625"/>
                <a:gd name="connsiteY2" fmla="*/ 24289 h 47625"/>
                <a:gd name="connsiteX3" fmla="*/ 24289 w 47625"/>
                <a:gd name="connsiteY3" fmla="*/ 7144 h 47625"/>
                <a:gd name="connsiteX4" fmla="*/ 41434 w 47625"/>
                <a:gd name="connsiteY4" fmla="*/ 24289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25" h="47625">
                  <a:moveTo>
                    <a:pt x="41434" y="24289"/>
                  </a:moveTo>
                  <a:cubicBezTo>
                    <a:pt x="41434" y="33814"/>
                    <a:pt x="33814" y="41434"/>
                    <a:pt x="24289" y="41434"/>
                  </a:cubicBezTo>
                  <a:cubicBezTo>
                    <a:pt x="14764" y="41434"/>
                    <a:pt x="7144" y="33814"/>
                    <a:pt x="7144" y="24289"/>
                  </a:cubicBezTo>
                  <a:cubicBezTo>
                    <a:pt x="7144" y="14764"/>
                    <a:pt x="14764" y="7144"/>
                    <a:pt x="24289" y="7144"/>
                  </a:cubicBezTo>
                  <a:cubicBezTo>
                    <a:pt x="33814" y="7144"/>
                    <a:pt x="41434" y="14764"/>
                    <a:pt x="41434" y="24289"/>
                  </a:cubicBez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8" name="任意多边形: 形状 217">
              <a:extLst>
                <a:ext uri="{FF2B5EF4-FFF2-40B4-BE49-F238E27FC236}">
                  <a16:creationId xmlns:a16="http://schemas.microsoft.com/office/drawing/2014/main" id="{759CABDC-D089-4186-B942-16F7941AEF3B}"/>
                </a:ext>
              </a:extLst>
            </p:cNvPr>
            <p:cNvSpPr/>
            <p:nvPr/>
          </p:nvSpPr>
          <p:spPr>
            <a:xfrm>
              <a:off x="6423755" y="3229451"/>
              <a:ext cx="142875" cy="114300"/>
            </a:xfrm>
            <a:custGeom>
              <a:avLst/>
              <a:gdLst>
                <a:gd name="connsiteX0" fmla="*/ 139922 w 142875"/>
                <a:gd name="connsiteY0" fmla="*/ 98584 h 114300"/>
                <a:gd name="connsiteX1" fmla="*/ 131350 w 142875"/>
                <a:gd name="connsiteY1" fmla="*/ 110014 h 114300"/>
                <a:gd name="connsiteX2" fmla="*/ 123730 w 142875"/>
                <a:gd name="connsiteY2" fmla="*/ 95726 h 114300"/>
                <a:gd name="connsiteX3" fmla="*/ 101822 w 142875"/>
                <a:gd name="connsiteY3" fmla="*/ 69056 h 114300"/>
                <a:gd name="connsiteX4" fmla="*/ 74200 w 142875"/>
                <a:gd name="connsiteY4" fmla="*/ 69056 h 114300"/>
                <a:gd name="connsiteX5" fmla="*/ 45625 w 142875"/>
                <a:gd name="connsiteY5" fmla="*/ 55721 h 114300"/>
                <a:gd name="connsiteX6" fmla="*/ 22765 w 142875"/>
                <a:gd name="connsiteY6" fmla="*/ 110966 h 114300"/>
                <a:gd name="connsiteX7" fmla="*/ 12287 w 142875"/>
                <a:gd name="connsiteY7" fmla="*/ 100489 h 114300"/>
                <a:gd name="connsiteX8" fmla="*/ 17050 w 142875"/>
                <a:gd name="connsiteY8" fmla="*/ 45244 h 114300"/>
                <a:gd name="connsiteX9" fmla="*/ 39910 w 142875"/>
                <a:gd name="connsiteY9" fmla="*/ 17621 h 114300"/>
                <a:gd name="connsiteX10" fmla="*/ 133255 w 142875"/>
                <a:gd name="connsiteY10" fmla="*/ 7144 h 114300"/>
                <a:gd name="connsiteX11" fmla="*/ 133255 w 142875"/>
                <a:gd name="connsiteY11" fmla="*/ 48101 h 114300"/>
                <a:gd name="connsiteX12" fmla="*/ 139922 w 142875"/>
                <a:gd name="connsiteY12" fmla="*/ 98584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2875" h="114300">
                  <a:moveTo>
                    <a:pt x="139922" y="98584"/>
                  </a:moveTo>
                  <a:cubicBezTo>
                    <a:pt x="138970" y="104299"/>
                    <a:pt x="130397" y="104299"/>
                    <a:pt x="131350" y="110014"/>
                  </a:cubicBezTo>
                  <a:cubicBezTo>
                    <a:pt x="129445" y="105251"/>
                    <a:pt x="127540" y="99536"/>
                    <a:pt x="123730" y="95726"/>
                  </a:cubicBezTo>
                  <a:cubicBezTo>
                    <a:pt x="123730" y="83344"/>
                    <a:pt x="114205" y="70961"/>
                    <a:pt x="101822" y="69056"/>
                  </a:cubicBezTo>
                  <a:cubicBezTo>
                    <a:pt x="93250" y="67151"/>
                    <a:pt x="83725" y="70009"/>
                    <a:pt x="74200" y="69056"/>
                  </a:cubicBezTo>
                  <a:cubicBezTo>
                    <a:pt x="63722" y="68104"/>
                    <a:pt x="53245" y="63341"/>
                    <a:pt x="45625" y="55721"/>
                  </a:cubicBezTo>
                  <a:cubicBezTo>
                    <a:pt x="33242" y="70961"/>
                    <a:pt x="23717" y="90964"/>
                    <a:pt x="22765" y="110966"/>
                  </a:cubicBezTo>
                  <a:cubicBezTo>
                    <a:pt x="20860" y="106204"/>
                    <a:pt x="17050" y="102394"/>
                    <a:pt x="12287" y="100489"/>
                  </a:cubicBezTo>
                  <a:cubicBezTo>
                    <a:pt x="12287" y="100489"/>
                    <a:pt x="-2000" y="53816"/>
                    <a:pt x="17050" y="45244"/>
                  </a:cubicBezTo>
                  <a:cubicBezTo>
                    <a:pt x="17050" y="45244"/>
                    <a:pt x="9430" y="22384"/>
                    <a:pt x="39910" y="17621"/>
                  </a:cubicBezTo>
                  <a:cubicBezTo>
                    <a:pt x="70390" y="12859"/>
                    <a:pt x="124682" y="27146"/>
                    <a:pt x="133255" y="7144"/>
                  </a:cubicBezTo>
                  <a:cubicBezTo>
                    <a:pt x="133255" y="7144"/>
                    <a:pt x="145637" y="39529"/>
                    <a:pt x="133255" y="48101"/>
                  </a:cubicBezTo>
                  <a:cubicBezTo>
                    <a:pt x="134207" y="48101"/>
                    <a:pt x="147542" y="47149"/>
                    <a:pt x="139922" y="98584"/>
                  </a:cubicBezTo>
                  <a:close/>
                </a:path>
              </a:pathLst>
            </a:custGeom>
            <a:solidFill>
              <a:srgbClr val="5202B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9" name="任意多边形: 形状 218">
              <a:extLst>
                <a:ext uri="{FF2B5EF4-FFF2-40B4-BE49-F238E27FC236}">
                  <a16:creationId xmlns:a16="http://schemas.microsoft.com/office/drawing/2014/main" id="{65EDA1A7-DB40-45DA-B038-7CB61CDE3985}"/>
                </a:ext>
              </a:extLst>
            </p:cNvPr>
            <p:cNvSpPr/>
            <p:nvPr/>
          </p:nvSpPr>
          <p:spPr>
            <a:xfrm>
              <a:off x="5727836" y="3195222"/>
              <a:ext cx="219075" cy="295275"/>
            </a:xfrm>
            <a:custGeom>
              <a:avLst/>
              <a:gdLst>
                <a:gd name="connsiteX0" fmla="*/ 204334 w 219075"/>
                <a:gd name="connsiteY0" fmla="*/ 129002 h 295275"/>
                <a:gd name="connsiteX1" fmla="*/ 215764 w 219075"/>
                <a:gd name="connsiteY1" fmla="*/ 63280 h 295275"/>
                <a:gd name="connsiteX2" fmla="*/ 116704 w 219075"/>
                <a:gd name="connsiteY2" fmla="*/ 9940 h 295275"/>
                <a:gd name="connsiteX3" fmla="*/ 88129 w 219075"/>
                <a:gd name="connsiteY3" fmla="*/ 34705 h 295275"/>
                <a:gd name="connsiteX4" fmla="*/ 66221 w 219075"/>
                <a:gd name="connsiteY4" fmla="*/ 74710 h 295275"/>
                <a:gd name="connsiteX5" fmla="*/ 65269 w 219075"/>
                <a:gd name="connsiteY5" fmla="*/ 118525 h 295275"/>
                <a:gd name="connsiteX6" fmla="*/ 64316 w 219075"/>
                <a:gd name="connsiteY6" fmla="*/ 132812 h 295275"/>
                <a:gd name="connsiteX7" fmla="*/ 55744 w 219075"/>
                <a:gd name="connsiteY7" fmla="*/ 145195 h 295275"/>
                <a:gd name="connsiteX8" fmla="*/ 34789 w 219075"/>
                <a:gd name="connsiteY8" fmla="*/ 164245 h 295275"/>
                <a:gd name="connsiteX9" fmla="*/ 15739 w 219075"/>
                <a:gd name="connsiteY9" fmla="*/ 194725 h 295275"/>
                <a:gd name="connsiteX10" fmla="*/ 9071 w 219075"/>
                <a:gd name="connsiteY10" fmla="*/ 244255 h 295275"/>
                <a:gd name="connsiteX11" fmla="*/ 43361 w 219075"/>
                <a:gd name="connsiteY11" fmla="*/ 279497 h 295275"/>
                <a:gd name="connsiteX12" fmla="*/ 135754 w 219075"/>
                <a:gd name="connsiteY12" fmla="*/ 295690 h 295275"/>
                <a:gd name="connsiteX13" fmla="*/ 189094 w 219075"/>
                <a:gd name="connsiteY13" fmla="*/ 271877 h 295275"/>
                <a:gd name="connsiteX14" fmla="*/ 211954 w 219075"/>
                <a:gd name="connsiteY14" fmla="*/ 219490 h 295275"/>
                <a:gd name="connsiteX15" fmla="*/ 207191 w 219075"/>
                <a:gd name="connsiteY15" fmla="*/ 162340 h 295275"/>
                <a:gd name="connsiteX16" fmla="*/ 204334 w 219075"/>
                <a:gd name="connsiteY16" fmla="*/ 129002 h 295275"/>
                <a:gd name="connsiteX17" fmla="*/ 70031 w 219075"/>
                <a:gd name="connsiteY17" fmla="*/ 121382 h 295275"/>
                <a:gd name="connsiteX18" fmla="*/ 69079 w 219075"/>
                <a:gd name="connsiteY18" fmla="*/ 100427 h 295275"/>
                <a:gd name="connsiteX19" fmla="*/ 83366 w 219075"/>
                <a:gd name="connsiteY19" fmla="*/ 47087 h 295275"/>
                <a:gd name="connsiteX20" fmla="*/ 82414 w 219075"/>
                <a:gd name="connsiteY20" fmla="*/ 50897 h 295275"/>
                <a:gd name="connsiteX21" fmla="*/ 70031 w 219075"/>
                <a:gd name="connsiteY21" fmla="*/ 121382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19075" h="295275">
                  <a:moveTo>
                    <a:pt x="204334" y="129002"/>
                  </a:moveTo>
                  <a:cubicBezTo>
                    <a:pt x="205286" y="106142"/>
                    <a:pt x="218621" y="85187"/>
                    <a:pt x="215764" y="63280"/>
                  </a:cubicBezTo>
                  <a:cubicBezTo>
                    <a:pt x="210049" y="23275"/>
                    <a:pt x="152899" y="-1490"/>
                    <a:pt x="116704" y="9940"/>
                  </a:cubicBezTo>
                  <a:cubicBezTo>
                    <a:pt x="104321" y="13750"/>
                    <a:pt x="94796" y="23275"/>
                    <a:pt x="88129" y="34705"/>
                  </a:cubicBezTo>
                  <a:cubicBezTo>
                    <a:pt x="77651" y="46135"/>
                    <a:pt x="70031" y="59470"/>
                    <a:pt x="66221" y="74710"/>
                  </a:cubicBezTo>
                  <a:cubicBezTo>
                    <a:pt x="62411" y="88997"/>
                    <a:pt x="65269" y="103285"/>
                    <a:pt x="65269" y="118525"/>
                  </a:cubicBezTo>
                  <a:cubicBezTo>
                    <a:pt x="65269" y="123287"/>
                    <a:pt x="65269" y="128050"/>
                    <a:pt x="64316" y="132812"/>
                  </a:cubicBezTo>
                  <a:cubicBezTo>
                    <a:pt x="62411" y="137575"/>
                    <a:pt x="59554" y="141385"/>
                    <a:pt x="55744" y="145195"/>
                  </a:cubicBezTo>
                  <a:cubicBezTo>
                    <a:pt x="49076" y="151862"/>
                    <a:pt x="41456" y="157577"/>
                    <a:pt x="34789" y="164245"/>
                  </a:cubicBezTo>
                  <a:cubicBezTo>
                    <a:pt x="26216" y="172817"/>
                    <a:pt x="20501" y="183295"/>
                    <a:pt x="15739" y="194725"/>
                  </a:cubicBezTo>
                  <a:cubicBezTo>
                    <a:pt x="9071" y="210917"/>
                    <a:pt x="4309" y="228062"/>
                    <a:pt x="9071" y="244255"/>
                  </a:cubicBezTo>
                  <a:cubicBezTo>
                    <a:pt x="14786" y="260447"/>
                    <a:pt x="29074" y="271877"/>
                    <a:pt x="43361" y="279497"/>
                  </a:cubicBezTo>
                  <a:cubicBezTo>
                    <a:pt x="71936" y="294737"/>
                    <a:pt x="104321" y="300452"/>
                    <a:pt x="135754" y="295690"/>
                  </a:cubicBezTo>
                  <a:cubicBezTo>
                    <a:pt x="155756" y="292832"/>
                    <a:pt x="174806" y="286165"/>
                    <a:pt x="189094" y="271877"/>
                  </a:cubicBezTo>
                  <a:cubicBezTo>
                    <a:pt x="202429" y="258542"/>
                    <a:pt x="210049" y="238540"/>
                    <a:pt x="211954" y="219490"/>
                  </a:cubicBezTo>
                  <a:cubicBezTo>
                    <a:pt x="213859" y="200440"/>
                    <a:pt x="211001" y="180437"/>
                    <a:pt x="207191" y="162340"/>
                  </a:cubicBezTo>
                  <a:cubicBezTo>
                    <a:pt x="207191" y="151862"/>
                    <a:pt x="204334" y="140432"/>
                    <a:pt x="204334" y="129002"/>
                  </a:cubicBezTo>
                  <a:close/>
                  <a:moveTo>
                    <a:pt x="70031" y="121382"/>
                  </a:moveTo>
                  <a:cubicBezTo>
                    <a:pt x="70031" y="114715"/>
                    <a:pt x="70031" y="108047"/>
                    <a:pt x="69079" y="100427"/>
                  </a:cubicBezTo>
                  <a:cubicBezTo>
                    <a:pt x="68126" y="79472"/>
                    <a:pt x="72889" y="62327"/>
                    <a:pt x="83366" y="47087"/>
                  </a:cubicBezTo>
                  <a:cubicBezTo>
                    <a:pt x="83366" y="48040"/>
                    <a:pt x="82414" y="48992"/>
                    <a:pt x="82414" y="50897"/>
                  </a:cubicBezTo>
                  <a:cubicBezTo>
                    <a:pt x="75746" y="73757"/>
                    <a:pt x="77651" y="99475"/>
                    <a:pt x="70031" y="121382"/>
                  </a:cubicBezTo>
                  <a:close/>
                </a:path>
              </a:pathLst>
            </a:custGeom>
            <a:solidFill>
              <a:srgbClr val="FF674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0" name="任意多边形: 形状 219">
              <a:extLst>
                <a:ext uri="{FF2B5EF4-FFF2-40B4-BE49-F238E27FC236}">
                  <a16:creationId xmlns:a16="http://schemas.microsoft.com/office/drawing/2014/main" id="{03F4E836-1098-4805-AFC5-C2187F811CE5}"/>
                </a:ext>
              </a:extLst>
            </p:cNvPr>
            <p:cNvSpPr/>
            <p:nvPr/>
          </p:nvSpPr>
          <p:spPr>
            <a:xfrm>
              <a:off x="5594875" y="3521868"/>
              <a:ext cx="114300" cy="333375"/>
            </a:xfrm>
            <a:custGeom>
              <a:avLst/>
              <a:gdLst>
                <a:gd name="connsiteX0" fmla="*/ 108695 w 114300"/>
                <a:gd name="connsiteY0" fmla="*/ 330041 h 333375"/>
                <a:gd name="connsiteX1" fmla="*/ 16302 w 114300"/>
                <a:gd name="connsiteY1" fmla="*/ 273844 h 333375"/>
                <a:gd name="connsiteX2" fmla="*/ 94407 w 114300"/>
                <a:gd name="connsiteY2" fmla="*/ 7144 h 333375"/>
                <a:gd name="connsiteX3" fmla="*/ 107742 w 114300"/>
                <a:gd name="connsiteY3" fmla="*/ 16669 h 333375"/>
                <a:gd name="connsiteX4" fmla="*/ 30590 w 114300"/>
                <a:gd name="connsiteY4" fmla="*/ 267176 h 333375"/>
                <a:gd name="connsiteX5" fmla="*/ 109647 w 114300"/>
                <a:gd name="connsiteY5" fmla="*/ 313849 h 333375"/>
                <a:gd name="connsiteX6" fmla="*/ 108695 w 114300"/>
                <a:gd name="connsiteY6" fmla="*/ 330041 h 333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300" h="333375">
                  <a:moveTo>
                    <a:pt x="108695" y="330041"/>
                  </a:moveTo>
                  <a:cubicBezTo>
                    <a:pt x="62022" y="324326"/>
                    <a:pt x="30590" y="306229"/>
                    <a:pt x="16302" y="273844"/>
                  </a:cubicBezTo>
                  <a:cubicBezTo>
                    <a:pt x="-25608" y="182404"/>
                    <a:pt x="89645" y="14764"/>
                    <a:pt x="94407" y="7144"/>
                  </a:cubicBezTo>
                  <a:lnTo>
                    <a:pt x="107742" y="16669"/>
                  </a:lnTo>
                  <a:cubicBezTo>
                    <a:pt x="106790" y="18574"/>
                    <a:pt x="-7510" y="183356"/>
                    <a:pt x="30590" y="267176"/>
                  </a:cubicBezTo>
                  <a:cubicBezTo>
                    <a:pt x="42020" y="293846"/>
                    <a:pt x="68690" y="309086"/>
                    <a:pt x="109647" y="313849"/>
                  </a:cubicBezTo>
                  <a:lnTo>
                    <a:pt x="108695" y="330041"/>
                  </a:ln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1" name="任意多边形: 形状 220">
              <a:extLst>
                <a:ext uri="{FF2B5EF4-FFF2-40B4-BE49-F238E27FC236}">
                  <a16:creationId xmlns:a16="http://schemas.microsoft.com/office/drawing/2014/main" id="{13380F11-3760-4660-9C62-67DFFDADF63F}"/>
                </a:ext>
              </a:extLst>
            </p:cNvPr>
            <p:cNvSpPr/>
            <p:nvPr/>
          </p:nvSpPr>
          <p:spPr>
            <a:xfrm>
              <a:off x="5638324" y="3458051"/>
              <a:ext cx="180975" cy="180975"/>
            </a:xfrm>
            <a:custGeom>
              <a:avLst/>
              <a:gdLst>
                <a:gd name="connsiteX0" fmla="*/ 176689 w 180975"/>
                <a:gd name="connsiteY0" fmla="*/ 176689 h 180975"/>
                <a:gd name="connsiteX1" fmla="*/ 48101 w 180975"/>
                <a:gd name="connsiteY1" fmla="*/ 176689 h 180975"/>
                <a:gd name="connsiteX2" fmla="*/ 7144 w 180975"/>
                <a:gd name="connsiteY2" fmla="*/ 135731 h 180975"/>
                <a:gd name="connsiteX3" fmla="*/ 7144 w 180975"/>
                <a:gd name="connsiteY3" fmla="*/ 48101 h 180975"/>
                <a:gd name="connsiteX4" fmla="*/ 48101 w 180975"/>
                <a:gd name="connsiteY4" fmla="*/ 7144 h 180975"/>
                <a:gd name="connsiteX5" fmla="*/ 176689 w 180975"/>
                <a:gd name="connsiteY5" fmla="*/ 7144 h 180975"/>
                <a:gd name="connsiteX6" fmla="*/ 176689 w 180975"/>
                <a:gd name="connsiteY6" fmla="*/ 176689 h 180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0975" h="180975">
                  <a:moveTo>
                    <a:pt x="176689" y="176689"/>
                  </a:moveTo>
                  <a:lnTo>
                    <a:pt x="48101" y="176689"/>
                  </a:lnTo>
                  <a:cubicBezTo>
                    <a:pt x="25241" y="176689"/>
                    <a:pt x="7144" y="158591"/>
                    <a:pt x="7144" y="135731"/>
                  </a:cubicBezTo>
                  <a:lnTo>
                    <a:pt x="7144" y="48101"/>
                  </a:lnTo>
                  <a:cubicBezTo>
                    <a:pt x="7144" y="25241"/>
                    <a:pt x="25241" y="7144"/>
                    <a:pt x="48101" y="7144"/>
                  </a:cubicBezTo>
                  <a:lnTo>
                    <a:pt x="176689" y="7144"/>
                  </a:lnTo>
                  <a:lnTo>
                    <a:pt x="176689" y="176689"/>
                  </a:ln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2" name="任意多边形: 形状 221">
              <a:extLst>
                <a:ext uri="{FF2B5EF4-FFF2-40B4-BE49-F238E27FC236}">
                  <a16:creationId xmlns:a16="http://schemas.microsoft.com/office/drawing/2014/main" id="{0D7F9CC7-381B-40CA-89CD-56029BB80600}"/>
                </a:ext>
              </a:extLst>
            </p:cNvPr>
            <p:cNvSpPr/>
            <p:nvPr/>
          </p:nvSpPr>
          <p:spPr>
            <a:xfrm>
              <a:off x="5638324" y="3822858"/>
              <a:ext cx="257175" cy="38100"/>
            </a:xfrm>
            <a:custGeom>
              <a:avLst/>
              <a:gdLst>
                <a:gd name="connsiteX0" fmla="*/ 239554 w 257175"/>
                <a:gd name="connsiteY0" fmla="*/ 37624 h 38100"/>
                <a:gd name="connsiteX1" fmla="*/ 22384 w 257175"/>
                <a:gd name="connsiteY1" fmla="*/ 37624 h 38100"/>
                <a:gd name="connsiteX2" fmla="*/ 7144 w 257175"/>
                <a:gd name="connsiteY2" fmla="*/ 22384 h 38100"/>
                <a:gd name="connsiteX3" fmla="*/ 7144 w 257175"/>
                <a:gd name="connsiteY3" fmla="*/ 22384 h 38100"/>
                <a:gd name="connsiteX4" fmla="*/ 22384 w 257175"/>
                <a:gd name="connsiteY4" fmla="*/ 7144 h 38100"/>
                <a:gd name="connsiteX5" fmla="*/ 239554 w 257175"/>
                <a:gd name="connsiteY5" fmla="*/ 7144 h 38100"/>
                <a:gd name="connsiteX6" fmla="*/ 254794 w 257175"/>
                <a:gd name="connsiteY6" fmla="*/ 22384 h 38100"/>
                <a:gd name="connsiteX7" fmla="*/ 254794 w 257175"/>
                <a:gd name="connsiteY7" fmla="*/ 22384 h 38100"/>
                <a:gd name="connsiteX8" fmla="*/ 239554 w 257175"/>
                <a:gd name="connsiteY8" fmla="*/ 37624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7175" h="38100">
                  <a:moveTo>
                    <a:pt x="239554" y="37624"/>
                  </a:moveTo>
                  <a:lnTo>
                    <a:pt x="22384" y="37624"/>
                  </a:lnTo>
                  <a:cubicBezTo>
                    <a:pt x="13811" y="37624"/>
                    <a:pt x="7144" y="30956"/>
                    <a:pt x="7144" y="22384"/>
                  </a:cubicBezTo>
                  <a:lnTo>
                    <a:pt x="7144" y="22384"/>
                  </a:lnTo>
                  <a:cubicBezTo>
                    <a:pt x="7144" y="13811"/>
                    <a:pt x="13811" y="7144"/>
                    <a:pt x="22384" y="7144"/>
                  </a:cubicBezTo>
                  <a:lnTo>
                    <a:pt x="239554" y="7144"/>
                  </a:lnTo>
                  <a:cubicBezTo>
                    <a:pt x="248126" y="7144"/>
                    <a:pt x="254794" y="13811"/>
                    <a:pt x="254794" y="22384"/>
                  </a:cubicBezTo>
                  <a:lnTo>
                    <a:pt x="254794" y="22384"/>
                  </a:lnTo>
                  <a:cubicBezTo>
                    <a:pt x="254794" y="30004"/>
                    <a:pt x="248126" y="37624"/>
                    <a:pt x="239554" y="37624"/>
                  </a:cubicBez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3" name="任意多边形: 形状 222">
              <a:extLst>
                <a:ext uri="{FF2B5EF4-FFF2-40B4-BE49-F238E27FC236}">
                  <a16:creationId xmlns:a16="http://schemas.microsoft.com/office/drawing/2014/main" id="{0242D333-6B46-48D9-AAF7-B6A39B8C7EDE}"/>
                </a:ext>
              </a:extLst>
            </p:cNvPr>
            <p:cNvSpPr/>
            <p:nvPr/>
          </p:nvSpPr>
          <p:spPr>
            <a:xfrm>
              <a:off x="5757386" y="3716040"/>
              <a:ext cx="247650" cy="333375"/>
            </a:xfrm>
            <a:custGeom>
              <a:avLst/>
              <a:gdLst>
                <a:gd name="connsiteX0" fmla="*/ 13811 w 247650"/>
                <a:gd name="connsiteY0" fmla="*/ 112057 h 333375"/>
                <a:gd name="connsiteX1" fmla="*/ 162401 w 247650"/>
                <a:gd name="connsiteY1" fmla="*/ 112057 h 333375"/>
                <a:gd name="connsiteX2" fmla="*/ 128111 w 247650"/>
                <a:gd name="connsiteY2" fmla="*/ 329227 h 333375"/>
                <a:gd name="connsiteX3" fmla="*/ 171926 w 247650"/>
                <a:gd name="connsiteY3" fmla="*/ 329227 h 333375"/>
                <a:gd name="connsiteX4" fmla="*/ 234791 w 247650"/>
                <a:gd name="connsiteY4" fmla="*/ 35857 h 333375"/>
                <a:gd name="connsiteX5" fmla="*/ 100489 w 247650"/>
                <a:gd name="connsiteY5" fmla="*/ 7282 h 333375"/>
                <a:gd name="connsiteX6" fmla="*/ 7144 w 247650"/>
                <a:gd name="connsiteY6" fmla="*/ 55860 h 333375"/>
                <a:gd name="connsiteX7" fmla="*/ 13811 w 247650"/>
                <a:gd name="connsiteY7" fmla="*/ 112057 h 333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7650" h="333375">
                  <a:moveTo>
                    <a:pt x="13811" y="112057"/>
                  </a:moveTo>
                  <a:cubicBezTo>
                    <a:pt x="13811" y="112057"/>
                    <a:pt x="127159" y="116819"/>
                    <a:pt x="162401" y="112057"/>
                  </a:cubicBezTo>
                  <a:lnTo>
                    <a:pt x="128111" y="329227"/>
                  </a:lnTo>
                  <a:lnTo>
                    <a:pt x="171926" y="329227"/>
                  </a:lnTo>
                  <a:cubicBezTo>
                    <a:pt x="171926" y="329227"/>
                    <a:pt x="267176" y="68242"/>
                    <a:pt x="234791" y="35857"/>
                  </a:cubicBezTo>
                  <a:cubicBezTo>
                    <a:pt x="202406" y="3472"/>
                    <a:pt x="100489" y="7282"/>
                    <a:pt x="100489" y="7282"/>
                  </a:cubicBezTo>
                  <a:lnTo>
                    <a:pt x="7144" y="55860"/>
                  </a:lnTo>
                  <a:lnTo>
                    <a:pt x="13811" y="112057"/>
                  </a:lnTo>
                  <a:close/>
                </a:path>
              </a:pathLst>
            </a:custGeom>
            <a:solidFill>
              <a:srgbClr val="5202B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4" name="任意多边形: 形状 223">
              <a:extLst>
                <a:ext uri="{FF2B5EF4-FFF2-40B4-BE49-F238E27FC236}">
                  <a16:creationId xmlns:a16="http://schemas.microsoft.com/office/drawing/2014/main" id="{8E308B5F-66DF-40BE-9745-CD33A38CFBA8}"/>
                </a:ext>
              </a:extLst>
            </p:cNvPr>
            <p:cNvSpPr/>
            <p:nvPr/>
          </p:nvSpPr>
          <p:spPr>
            <a:xfrm>
              <a:off x="5885974" y="4038123"/>
              <a:ext cx="95250" cy="38100"/>
            </a:xfrm>
            <a:custGeom>
              <a:avLst/>
              <a:gdLst>
                <a:gd name="connsiteX0" fmla="*/ 7144 w 95250"/>
                <a:gd name="connsiteY0" fmla="*/ 7144 h 38100"/>
                <a:gd name="connsiteX1" fmla="*/ 8096 w 95250"/>
                <a:gd name="connsiteY1" fmla="*/ 20479 h 38100"/>
                <a:gd name="connsiteX2" fmla="*/ 10001 w 95250"/>
                <a:gd name="connsiteY2" fmla="*/ 39529 h 38100"/>
                <a:gd name="connsiteX3" fmla="*/ 90011 w 95250"/>
                <a:gd name="connsiteY3" fmla="*/ 39529 h 38100"/>
                <a:gd name="connsiteX4" fmla="*/ 92869 w 95250"/>
                <a:gd name="connsiteY4" fmla="*/ 30956 h 38100"/>
                <a:gd name="connsiteX5" fmla="*/ 74771 w 95250"/>
                <a:gd name="connsiteY5" fmla="*/ 19526 h 38100"/>
                <a:gd name="connsiteX6" fmla="*/ 41434 w 95250"/>
                <a:gd name="connsiteY6" fmla="*/ 7144 h 38100"/>
                <a:gd name="connsiteX7" fmla="*/ 7144 w 95250"/>
                <a:gd name="connsiteY7" fmla="*/ 7144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250" h="38100">
                  <a:moveTo>
                    <a:pt x="7144" y="7144"/>
                  </a:moveTo>
                  <a:lnTo>
                    <a:pt x="8096" y="20479"/>
                  </a:lnTo>
                  <a:lnTo>
                    <a:pt x="10001" y="39529"/>
                  </a:lnTo>
                  <a:lnTo>
                    <a:pt x="90011" y="39529"/>
                  </a:lnTo>
                  <a:cubicBezTo>
                    <a:pt x="94774" y="39529"/>
                    <a:pt x="96679" y="33814"/>
                    <a:pt x="92869" y="30956"/>
                  </a:cubicBezTo>
                  <a:cubicBezTo>
                    <a:pt x="88106" y="27146"/>
                    <a:pt x="81439" y="23336"/>
                    <a:pt x="74771" y="19526"/>
                  </a:cubicBezTo>
                  <a:cubicBezTo>
                    <a:pt x="58579" y="11906"/>
                    <a:pt x="41434" y="7144"/>
                    <a:pt x="41434" y="7144"/>
                  </a:cubicBezTo>
                  <a:lnTo>
                    <a:pt x="7144" y="7144"/>
                  </a:ln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5" name="任意多边形: 形状 224">
              <a:extLst>
                <a:ext uri="{FF2B5EF4-FFF2-40B4-BE49-F238E27FC236}">
                  <a16:creationId xmlns:a16="http://schemas.microsoft.com/office/drawing/2014/main" id="{EDA43843-C178-476C-9DC9-248041043F3B}"/>
                </a:ext>
              </a:extLst>
            </p:cNvPr>
            <p:cNvSpPr/>
            <p:nvPr/>
          </p:nvSpPr>
          <p:spPr>
            <a:xfrm>
              <a:off x="5885974" y="4038123"/>
              <a:ext cx="76200" cy="28575"/>
            </a:xfrm>
            <a:custGeom>
              <a:avLst/>
              <a:gdLst>
                <a:gd name="connsiteX0" fmla="*/ 7144 w 76200"/>
                <a:gd name="connsiteY0" fmla="*/ 7144 h 28575"/>
                <a:gd name="connsiteX1" fmla="*/ 8096 w 76200"/>
                <a:gd name="connsiteY1" fmla="*/ 20479 h 28575"/>
                <a:gd name="connsiteX2" fmla="*/ 24289 w 76200"/>
                <a:gd name="connsiteY2" fmla="*/ 26194 h 28575"/>
                <a:gd name="connsiteX3" fmla="*/ 51911 w 76200"/>
                <a:gd name="connsiteY3" fmla="*/ 28099 h 28575"/>
                <a:gd name="connsiteX4" fmla="*/ 73819 w 76200"/>
                <a:gd name="connsiteY4" fmla="*/ 19526 h 28575"/>
                <a:gd name="connsiteX5" fmla="*/ 40481 w 76200"/>
                <a:gd name="connsiteY5" fmla="*/ 7144 h 28575"/>
                <a:gd name="connsiteX6" fmla="*/ 7144 w 76200"/>
                <a:gd name="connsiteY6" fmla="*/ 714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200" h="28575">
                  <a:moveTo>
                    <a:pt x="7144" y="7144"/>
                  </a:moveTo>
                  <a:lnTo>
                    <a:pt x="8096" y="20479"/>
                  </a:lnTo>
                  <a:cubicBezTo>
                    <a:pt x="12859" y="23336"/>
                    <a:pt x="18574" y="25241"/>
                    <a:pt x="24289" y="26194"/>
                  </a:cubicBezTo>
                  <a:cubicBezTo>
                    <a:pt x="33814" y="28099"/>
                    <a:pt x="43339" y="28099"/>
                    <a:pt x="51911" y="28099"/>
                  </a:cubicBezTo>
                  <a:cubicBezTo>
                    <a:pt x="60484" y="28099"/>
                    <a:pt x="69056" y="26194"/>
                    <a:pt x="73819" y="19526"/>
                  </a:cubicBezTo>
                  <a:cubicBezTo>
                    <a:pt x="57626" y="11906"/>
                    <a:pt x="40481" y="7144"/>
                    <a:pt x="40481" y="7144"/>
                  </a:cubicBezTo>
                  <a:lnTo>
                    <a:pt x="7144" y="7144"/>
                  </a:ln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6" name="任意多边形: 形状 225">
              <a:extLst>
                <a:ext uri="{FF2B5EF4-FFF2-40B4-BE49-F238E27FC236}">
                  <a16:creationId xmlns:a16="http://schemas.microsoft.com/office/drawing/2014/main" id="{9CAD7088-2938-4D8F-97C0-0930C9E2EB2E}"/>
                </a:ext>
              </a:extLst>
            </p:cNvPr>
            <p:cNvSpPr/>
            <p:nvPr/>
          </p:nvSpPr>
          <p:spPr>
            <a:xfrm>
              <a:off x="5878354" y="3339941"/>
              <a:ext cx="171450" cy="295275"/>
            </a:xfrm>
            <a:custGeom>
              <a:avLst/>
              <a:gdLst>
                <a:gd name="connsiteX0" fmla="*/ 33814 w 171450"/>
                <a:gd name="connsiteY0" fmla="*/ 7144 h 295275"/>
                <a:gd name="connsiteX1" fmla="*/ 69056 w 171450"/>
                <a:gd name="connsiteY1" fmla="*/ 64294 h 295275"/>
                <a:gd name="connsiteX2" fmla="*/ 88106 w 171450"/>
                <a:gd name="connsiteY2" fmla="*/ 226219 h 295275"/>
                <a:gd name="connsiteX3" fmla="*/ 168116 w 171450"/>
                <a:gd name="connsiteY3" fmla="*/ 251936 h 295275"/>
                <a:gd name="connsiteX4" fmla="*/ 169069 w 171450"/>
                <a:gd name="connsiteY4" fmla="*/ 288131 h 295275"/>
                <a:gd name="connsiteX5" fmla="*/ 7144 w 171450"/>
                <a:gd name="connsiteY5" fmla="*/ 295751 h 295275"/>
                <a:gd name="connsiteX6" fmla="*/ 11906 w 171450"/>
                <a:gd name="connsiteY6" fmla="*/ 154781 h 295275"/>
                <a:gd name="connsiteX7" fmla="*/ 33814 w 171450"/>
                <a:gd name="connsiteY7" fmla="*/ 7144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450" h="295275">
                  <a:moveTo>
                    <a:pt x="33814" y="7144"/>
                  </a:moveTo>
                  <a:cubicBezTo>
                    <a:pt x="33814" y="7144"/>
                    <a:pt x="57626" y="17621"/>
                    <a:pt x="69056" y="64294"/>
                  </a:cubicBezTo>
                  <a:cubicBezTo>
                    <a:pt x="79534" y="111919"/>
                    <a:pt x="88106" y="226219"/>
                    <a:pt x="88106" y="226219"/>
                  </a:cubicBezTo>
                  <a:lnTo>
                    <a:pt x="168116" y="251936"/>
                  </a:lnTo>
                  <a:lnTo>
                    <a:pt x="169069" y="288131"/>
                  </a:lnTo>
                  <a:lnTo>
                    <a:pt x="7144" y="295751"/>
                  </a:lnTo>
                  <a:lnTo>
                    <a:pt x="11906" y="154781"/>
                  </a:lnTo>
                  <a:lnTo>
                    <a:pt x="33814" y="7144"/>
                  </a:lnTo>
                  <a:close/>
                </a:path>
              </a:pathLst>
            </a:custGeom>
            <a:solidFill>
              <a:srgbClr val="00A49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7" name="任意多边形: 形状 226">
              <a:extLst>
                <a:ext uri="{FF2B5EF4-FFF2-40B4-BE49-F238E27FC236}">
                  <a16:creationId xmlns:a16="http://schemas.microsoft.com/office/drawing/2014/main" id="{41B98CCA-5957-4765-BCEC-8E72E87E75F8}"/>
                </a:ext>
              </a:extLst>
            </p:cNvPr>
            <p:cNvSpPr/>
            <p:nvPr/>
          </p:nvSpPr>
          <p:spPr>
            <a:xfrm>
              <a:off x="6110764" y="3966533"/>
              <a:ext cx="104775" cy="47625"/>
            </a:xfrm>
            <a:custGeom>
              <a:avLst/>
              <a:gdLst>
                <a:gd name="connsiteX0" fmla="*/ 7144 w 104775"/>
                <a:gd name="connsiteY0" fmla="*/ 18726 h 47625"/>
                <a:gd name="connsiteX1" fmla="*/ 11906 w 104775"/>
                <a:gd name="connsiteY1" fmla="*/ 31109 h 47625"/>
                <a:gd name="connsiteX2" fmla="*/ 18574 w 104775"/>
                <a:gd name="connsiteY2" fmla="*/ 48254 h 47625"/>
                <a:gd name="connsiteX3" fmla="*/ 94774 w 104775"/>
                <a:gd name="connsiteY3" fmla="*/ 24441 h 47625"/>
                <a:gd name="connsiteX4" fmla="*/ 95726 w 104775"/>
                <a:gd name="connsiteY4" fmla="*/ 14916 h 47625"/>
                <a:gd name="connsiteX5" fmla="*/ 75724 w 104775"/>
                <a:gd name="connsiteY5" fmla="*/ 9201 h 47625"/>
                <a:gd name="connsiteX6" fmla="*/ 39529 w 104775"/>
                <a:gd name="connsiteY6" fmla="*/ 7296 h 47625"/>
                <a:gd name="connsiteX7" fmla="*/ 7144 w 104775"/>
                <a:gd name="connsiteY7" fmla="*/ 18726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775" h="47625">
                  <a:moveTo>
                    <a:pt x="7144" y="18726"/>
                  </a:moveTo>
                  <a:lnTo>
                    <a:pt x="11906" y="31109"/>
                  </a:lnTo>
                  <a:lnTo>
                    <a:pt x="18574" y="48254"/>
                  </a:lnTo>
                  <a:lnTo>
                    <a:pt x="94774" y="24441"/>
                  </a:lnTo>
                  <a:cubicBezTo>
                    <a:pt x="99536" y="23489"/>
                    <a:pt x="99536" y="16821"/>
                    <a:pt x="95726" y="14916"/>
                  </a:cubicBezTo>
                  <a:cubicBezTo>
                    <a:pt x="90011" y="12059"/>
                    <a:pt x="82391" y="11106"/>
                    <a:pt x="75724" y="9201"/>
                  </a:cubicBezTo>
                  <a:cubicBezTo>
                    <a:pt x="58579" y="6344"/>
                    <a:pt x="39529" y="7296"/>
                    <a:pt x="39529" y="7296"/>
                  </a:cubicBezTo>
                  <a:lnTo>
                    <a:pt x="7144" y="18726"/>
                  </a:ln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8" name="任意多边形: 形状 227">
              <a:extLst>
                <a:ext uri="{FF2B5EF4-FFF2-40B4-BE49-F238E27FC236}">
                  <a16:creationId xmlns:a16="http://schemas.microsoft.com/office/drawing/2014/main" id="{AF6CE342-E81B-4E5F-B1D2-AC863B1A5B98}"/>
                </a:ext>
              </a:extLst>
            </p:cNvPr>
            <p:cNvSpPr/>
            <p:nvPr/>
          </p:nvSpPr>
          <p:spPr>
            <a:xfrm>
              <a:off x="6110764" y="3967486"/>
              <a:ext cx="76200" cy="38100"/>
            </a:xfrm>
            <a:custGeom>
              <a:avLst/>
              <a:gdLst>
                <a:gd name="connsiteX0" fmla="*/ 7144 w 76200"/>
                <a:gd name="connsiteY0" fmla="*/ 17774 h 38100"/>
                <a:gd name="connsiteX1" fmla="*/ 11906 w 76200"/>
                <a:gd name="connsiteY1" fmla="*/ 30156 h 38100"/>
                <a:gd name="connsiteX2" fmla="*/ 29051 w 76200"/>
                <a:gd name="connsiteY2" fmla="*/ 31109 h 38100"/>
                <a:gd name="connsiteX3" fmla="*/ 56674 w 76200"/>
                <a:gd name="connsiteY3" fmla="*/ 24441 h 38100"/>
                <a:gd name="connsiteX4" fmla="*/ 74771 w 76200"/>
                <a:gd name="connsiteY4" fmla="*/ 9201 h 38100"/>
                <a:gd name="connsiteX5" fmla="*/ 38576 w 76200"/>
                <a:gd name="connsiteY5" fmla="*/ 7296 h 38100"/>
                <a:gd name="connsiteX6" fmla="*/ 7144 w 76200"/>
                <a:gd name="connsiteY6" fmla="*/ 17774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200" h="38100">
                  <a:moveTo>
                    <a:pt x="7144" y="17774"/>
                  </a:moveTo>
                  <a:lnTo>
                    <a:pt x="11906" y="30156"/>
                  </a:lnTo>
                  <a:cubicBezTo>
                    <a:pt x="17621" y="31109"/>
                    <a:pt x="23336" y="31109"/>
                    <a:pt x="29051" y="31109"/>
                  </a:cubicBezTo>
                  <a:cubicBezTo>
                    <a:pt x="38576" y="30156"/>
                    <a:pt x="47149" y="27299"/>
                    <a:pt x="56674" y="24441"/>
                  </a:cubicBezTo>
                  <a:cubicBezTo>
                    <a:pt x="64294" y="21584"/>
                    <a:pt x="71914" y="17774"/>
                    <a:pt x="74771" y="9201"/>
                  </a:cubicBezTo>
                  <a:cubicBezTo>
                    <a:pt x="57626" y="6344"/>
                    <a:pt x="38576" y="7296"/>
                    <a:pt x="38576" y="7296"/>
                  </a:cubicBezTo>
                  <a:lnTo>
                    <a:pt x="7144" y="17774"/>
                  </a:ln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9" name="任意多边形: 形状 228">
              <a:extLst>
                <a:ext uri="{FF2B5EF4-FFF2-40B4-BE49-F238E27FC236}">
                  <a16:creationId xmlns:a16="http://schemas.microsoft.com/office/drawing/2014/main" id="{20E51025-0332-4C7E-9AED-E0595DD2754B}"/>
                </a:ext>
              </a:extLst>
            </p:cNvPr>
            <p:cNvSpPr/>
            <p:nvPr/>
          </p:nvSpPr>
          <p:spPr>
            <a:xfrm>
              <a:off x="5694421" y="3673527"/>
              <a:ext cx="466725" cy="314325"/>
            </a:xfrm>
            <a:custGeom>
              <a:avLst/>
              <a:gdLst>
                <a:gd name="connsiteX0" fmla="*/ 12959 w 466725"/>
                <a:gd name="connsiteY0" fmla="*/ 9790 h 314325"/>
                <a:gd name="connsiteX1" fmla="*/ 53917 w 466725"/>
                <a:gd name="connsiteY1" fmla="*/ 150760 h 314325"/>
                <a:gd name="connsiteX2" fmla="*/ 317759 w 466725"/>
                <a:gd name="connsiteY2" fmla="*/ 87895 h 314325"/>
                <a:gd name="connsiteX3" fmla="*/ 415867 w 466725"/>
                <a:gd name="connsiteY3" fmla="*/ 313637 h 314325"/>
                <a:gd name="connsiteX4" fmla="*/ 463492 w 466725"/>
                <a:gd name="connsiteY4" fmla="*/ 300302 h 314325"/>
                <a:gd name="connsiteX5" fmla="*/ 371099 w 466725"/>
                <a:gd name="connsiteY5" fmla="*/ 8837 h 314325"/>
                <a:gd name="connsiteX6" fmla="*/ 217747 w 466725"/>
                <a:gd name="connsiteY6" fmla="*/ 8837 h 314325"/>
                <a:gd name="connsiteX7" fmla="*/ 12959 w 466725"/>
                <a:gd name="connsiteY7" fmla="*/ 8837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6725" h="314325">
                  <a:moveTo>
                    <a:pt x="12959" y="9790"/>
                  </a:moveTo>
                  <a:cubicBezTo>
                    <a:pt x="12959" y="9790"/>
                    <a:pt x="-15616" y="128852"/>
                    <a:pt x="53917" y="150760"/>
                  </a:cubicBezTo>
                  <a:cubicBezTo>
                    <a:pt x="122497" y="172667"/>
                    <a:pt x="317759" y="87895"/>
                    <a:pt x="317759" y="87895"/>
                  </a:cubicBezTo>
                  <a:lnTo>
                    <a:pt x="415867" y="313637"/>
                  </a:lnTo>
                  <a:lnTo>
                    <a:pt x="463492" y="300302"/>
                  </a:lnTo>
                  <a:cubicBezTo>
                    <a:pt x="463492" y="300302"/>
                    <a:pt x="407294" y="12647"/>
                    <a:pt x="371099" y="8837"/>
                  </a:cubicBezTo>
                  <a:cubicBezTo>
                    <a:pt x="334904" y="5027"/>
                    <a:pt x="217747" y="8837"/>
                    <a:pt x="217747" y="8837"/>
                  </a:cubicBezTo>
                  <a:lnTo>
                    <a:pt x="12959" y="8837"/>
                  </a:lnTo>
                  <a:close/>
                </a:path>
              </a:pathLst>
            </a:custGeom>
            <a:solidFill>
              <a:srgbClr val="6D26D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0" name="任意多边形: 形状 229">
              <a:extLst>
                <a:ext uri="{FF2B5EF4-FFF2-40B4-BE49-F238E27FC236}">
                  <a16:creationId xmlns:a16="http://schemas.microsoft.com/office/drawing/2014/main" id="{30FBFC10-D084-497E-9B6A-BC329E8DB856}"/>
                </a:ext>
              </a:extLst>
            </p:cNvPr>
            <p:cNvSpPr/>
            <p:nvPr/>
          </p:nvSpPr>
          <p:spPr>
            <a:xfrm>
              <a:off x="5684044" y="3339941"/>
              <a:ext cx="257175" cy="390525"/>
            </a:xfrm>
            <a:custGeom>
              <a:avLst/>
              <a:gdLst>
                <a:gd name="connsiteX0" fmla="*/ 228124 w 257175"/>
                <a:gd name="connsiteY0" fmla="*/ 343376 h 390525"/>
                <a:gd name="connsiteX1" fmla="*/ 210026 w 257175"/>
                <a:gd name="connsiteY1" fmla="*/ 346234 h 390525"/>
                <a:gd name="connsiteX2" fmla="*/ 158591 w 257175"/>
                <a:gd name="connsiteY2" fmla="*/ 355759 h 390525"/>
                <a:gd name="connsiteX3" fmla="*/ 7144 w 257175"/>
                <a:gd name="connsiteY3" fmla="*/ 383381 h 390525"/>
                <a:gd name="connsiteX4" fmla="*/ 73819 w 257175"/>
                <a:gd name="connsiteY4" fmla="*/ 187166 h 390525"/>
                <a:gd name="connsiteX5" fmla="*/ 73819 w 257175"/>
                <a:gd name="connsiteY5" fmla="*/ 71914 h 390525"/>
                <a:gd name="connsiteX6" fmla="*/ 117634 w 257175"/>
                <a:gd name="connsiteY6" fmla="*/ 7144 h 390525"/>
                <a:gd name="connsiteX7" fmla="*/ 227171 w 257175"/>
                <a:gd name="connsiteY7" fmla="*/ 7144 h 390525"/>
                <a:gd name="connsiteX8" fmla="*/ 228124 w 257175"/>
                <a:gd name="connsiteY8" fmla="*/ 8096 h 390525"/>
                <a:gd name="connsiteX9" fmla="*/ 228124 w 257175"/>
                <a:gd name="connsiteY9" fmla="*/ 343376 h 39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7175" h="390525">
                  <a:moveTo>
                    <a:pt x="228124" y="343376"/>
                  </a:moveTo>
                  <a:lnTo>
                    <a:pt x="210026" y="346234"/>
                  </a:lnTo>
                  <a:lnTo>
                    <a:pt x="158591" y="355759"/>
                  </a:lnTo>
                  <a:lnTo>
                    <a:pt x="7144" y="383381"/>
                  </a:lnTo>
                  <a:cubicBezTo>
                    <a:pt x="7144" y="383381"/>
                    <a:pt x="70009" y="210026"/>
                    <a:pt x="73819" y="187166"/>
                  </a:cubicBezTo>
                  <a:cubicBezTo>
                    <a:pt x="77629" y="164306"/>
                    <a:pt x="78581" y="102394"/>
                    <a:pt x="73819" y="71914"/>
                  </a:cubicBezTo>
                  <a:cubicBezTo>
                    <a:pt x="69056" y="41434"/>
                    <a:pt x="117634" y="7144"/>
                    <a:pt x="117634" y="7144"/>
                  </a:cubicBezTo>
                  <a:lnTo>
                    <a:pt x="227171" y="7144"/>
                  </a:lnTo>
                  <a:cubicBezTo>
                    <a:pt x="227171" y="7144"/>
                    <a:pt x="228124" y="8096"/>
                    <a:pt x="228124" y="8096"/>
                  </a:cubicBezTo>
                  <a:cubicBezTo>
                    <a:pt x="286226" y="74771"/>
                    <a:pt x="228124" y="343376"/>
                    <a:pt x="228124" y="343376"/>
                  </a:cubicBezTo>
                  <a:close/>
                </a:path>
              </a:pathLst>
            </a:custGeom>
            <a:solidFill>
              <a:srgbClr val="00BEB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1" name="任意多边形: 形状 230">
              <a:extLst>
                <a:ext uri="{FF2B5EF4-FFF2-40B4-BE49-F238E27FC236}">
                  <a16:creationId xmlns:a16="http://schemas.microsoft.com/office/drawing/2014/main" id="{C27927DD-02F1-4D2A-BA8A-C7A5C1AAB86E}"/>
                </a:ext>
              </a:extLst>
            </p:cNvPr>
            <p:cNvSpPr/>
            <p:nvPr/>
          </p:nvSpPr>
          <p:spPr>
            <a:xfrm>
              <a:off x="5815489" y="3339941"/>
              <a:ext cx="114300" cy="361950"/>
            </a:xfrm>
            <a:custGeom>
              <a:avLst/>
              <a:gdLst>
                <a:gd name="connsiteX0" fmla="*/ 78581 w 114300"/>
                <a:gd name="connsiteY0" fmla="*/ 346234 h 361950"/>
                <a:gd name="connsiteX1" fmla="*/ 27146 w 114300"/>
                <a:gd name="connsiteY1" fmla="*/ 355759 h 361950"/>
                <a:gd name="connsiteX2" fmla="*/ 7144 w 114300"/>
                <a:gd name="connsiteY2" fmla="*/ 7144 h 361950"/>
                <a:gd name="connsiteX3" fmla="*/ 95726 w 114300"/>
                <a:gd name="connsiteY3" fmla="*/ 7144 h 361950"/>
                <a:gd name="connsiteX4" fmla="*/ 96679 w 114300"/>
                <a:gd name="connsiteY4" fmla="*/ 8096 h 361950"/>
                <a:gd name="connsiteX5" fmla="*/ 78581 w 114300"/>
                <a:gd name="connsiteY5" fmla="*/ 346234 h 361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4300" h="361950">
                  <a:moveTo>
                    <a:pt x="78581" y="346234"/>
                  </a:moveTo>
                  <a:lnTo>
                    <a:pt x="27146" y="355759"/>
                  </a:lnTo>
                  <a:cubicBezTo>
                    <a:pt x="60484" y="132874"/>
                    <a:pt x="7144" y="7144"/>
                    <a:pt x="7144" y="7144"/>
                  </a:cubicBezTo>
                  <a:lnTo>
                    <a:pt x="95726" y="7144"/>
                  </a:lnTo>
                  <a:cubicBezTo>
                    <a:pt x="95726" y="7144"/>
                    <a:pt x="96679" y="8096"/>
                    <a:pt x="96679" y="8096"/>
                  </a:cubicBezTo>
                  <a:cubicBezTo>
                    <a:pt x="130969" y="50006"/>
                    <a:pt x="87154" y="300514"/>
                    <a:pt x="78581" y="346234"/>
                  </a:cubicBezTo>
                  <a:close/>
                </a:path>
              </a:pathLst>
            </a:custGeom>
            <a:solidFill>
              <a:srgbClr val="5202B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2" name="任意多边形: 形状 231">
              <a:extLst>
                <a:ext uri="{FF2B5EF4-FFF2-40B4-BE49-F238E27FC236}">
                  <a16:creationId xmlns:a16="http://schemas.microsoft.com/office/drawing/2014/main" id="{478B9807-78F7-40A9-9AD7-239185449D1B}"/>
                </a:ext>
              </a:extLst>
            </p:cNvPr>
            <p:cNvSpPr/>
            <p:nvPr/>
          </p:nvSpPr>
          <p:spPr>
            <a:xfrm>
              <a:off x="5816441" y="3339941"/>
              <a:ext cx="104775" cy="47625"/>
            </a:xfrm>
            <a:custGeom>
              <a:avLst/>
              <a:gdLst>
                <a:gd name="connsiteX0" fmla="*/ 7144 w 104775"/>
                <a:gd name="connsiteY0" fmla="*/ 7144 h 47625"/>
                <a:gd name="connsiteX1" fmla="*/ 73819 w 104775"/>
                <a:gd name="connsiteY1" fmla="*/ 45244 h 47625"/>
                <a:gd name="connsiteX2" fmla="*/ 96679 w 104775"/>
                <a:gd name="connsiteY2" fmla="*/ 7144 h 47625"/>
                <a:gd name="connsiteX3" fmla="*/ 7144 w 104775"/>
                <a:gd name="connsiteY3" fmla="*/ 7144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775" h="47625">
                  <a:moveTo>
                    <a:pt x="7144" y="7144"/>
                  </a:moveTo>
                  <a:cubicBezTo>
                    <a:pt x="7144" y="7144"/>
                    <a:pt x="38576" y="55721"/>
                    <a:pt x="73819" y="45244"/>
                  </a:cubicBezTo>
                  <a:cubicBezTo>
                    <a:pt x="108109" y="34766"/>
                    <a:pt x="96679" y="7144"/>
                    <a:pt x="96679" y="7144"/>
                  </a:cubicBezTo>
                  <a:lnTo>
                    <a:pt x="7144" y="7144"/>
                  </a:ln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3" name="任意多边形: 形状 232">
              <a:extLst>
                <a:ext uri="{FF2B5EF4-FFF2-40B4-BE49-F238E27FC236}">
                  <a16:creationId xmlns:a16="http://schemas.microsoft.com/office/drawing/2014/main" id="{DE330551-9B2B-4B83-9831-188B964A57C7}"/>
                </a:ext>
              </a:extLst>
            </p:cNvPr>
            <p:cNvSpPr/>
            <p:nvPr/>
          </p:nvSpPr>
          <p:spPr>
            <a:xfrm>
              <a:off x="5863114" y="3585643"/>
              <a:ext cx="228600" cy="57150"/>
            </a:xfrm>
            <a:custGeom>
              <a:avLst/>
              <a:gdLst>
                <a:gd name="connsiteX0" fmla="*/ 219551 w 228600"/>
                <a:gd name="connsiteY0" fmla="*/ 35762 h 57150"/>
                <a:gd name="connsiteX1" fmla="*/ 182404 w 228600"/>
                <a:gd name="connsiteY1" fmla="*/ 7187 h 57150"/>
                <a:gd name="connsiteX2" fmla="*/ 137636 w 228600"/>
                <a:gd name="connsiteY2" fmla="*/ 21474 h 57150"/>
                <a:gd name="connsiteX3" fmla="*/ 10001 w 228600"/>
                <a:gd name="connsiteY3" fmla="*/ 13854 h 57150"/>
                <a:gd name="connsiteX4" fmla="*/ 7144 w 228600"/>
                <a:gd name="connsiteY4" fmla="*/ 51002 h 57150"/>
                <a:gd name="connsiteX5" fmla="*/ 140494 w 228600"/>
                <a:gd name="connsiteY5" fmla="*/ 48144 h 57150"/>
                <a:gd name="connsiteX6" fmla="*/ 217646 w 228600"/>
                <a:gd name="connsiteY6" fmla="*/ 44334 h 57150"/>
                <a:gd name="connsiteX7" fmla="*/ 219551 w 228600"/>
                <a:gd name="connsiteY7" fmla="*/ 35762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8600" h="57150">
                  <a:moveTo>
                    <a:pt x="219551" y="35762"/>
                  </a:moveTo>
                  <a:cubicBezTo>
                    <a:pt x="211931" y="29094"/>
                    <a:pt x="195739" y="9092"/>
                    <a:pt x="182404" y="7187"/>
                  </a:cubicBezTo>
                  <a:cubicBezTo>
                    <a:pt x="176689" y="6234"/>
                    <a:pt x="137636" y="21474"/>
                    <a:pt x="137636" y="21474"/>
                  </a:cubicBezTo>
                  <a:cubicBezTo>
                    <a:pt x="137636" y="21474"/>
                    <a:pt x="70961" y="18617"/>
                    <a:pt x="10001" y="13854"/>
                  </a:cubicBezTo>
                  <a:lnTo>
                    <a:pt x="7144" y="51002"/>
                  </a:lnTo>
                  <a:cubicBezTo>
                    <a:pt x="50006" y="50049"/>
                    <a:pt x="99536" y="49097"/>
                    <a:pt x="140494" y="48144"/>
                  </a:cubicBezTo>
                  <a:cubicBezTo>
                    <a:pt x="170974" y="56717"/>
                    <a:pt x="202406" y="49097"/>
                    <a:pt x="217646" y="44334"/>
                  </a:cubicBezTo>
                  <a:cubicBezTo>
                    <a:pt x="222409" y="43382"/>
                    <a:pt x="223361" y="38619"/>
                    <a:pt x="219551" y="35762"/>
                  </a:cubicBez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4" name="任意多边形: 形状 233">
              <a:extLst>
                <a:ext uri="{FF2B5EF4-FFF2-40B4-BE49-F238E27FC236}">
                  <a16:creationId xmlns:a16="http://schemas.microsoft.com/office/drawing/2014/main" id="{34F4C0B3-A7BE-45BF-8537-2F074D754617}"/>
                </a:ext>
              </a:extLst>
            </p:cNvPr>
            <p:cNvSpPr/>
            <p:nvPr/>
          </p:nvSpPr>
          <p:spPr>
            <a:xfrm>
              <a:off x="5722986" y="3339941"/>
              <a:ext cx="161925" cy="323850"/>
            </a:xfrm>
            <a:custGeom>
              <a:avLst/>
              <a:gdLst>
                <a:gd name="connsiteX0" fmla="*/ 79644 w 161925"/>
                <a:gd name="connsiteY0" fmla="*/ 7144 h 323850"/>
                <a:gd name="connsiteX1" fmla="*/ 12969 w 161925"/>
                <a:gd name="connsiteY1" fmla="*/ 89059 h 323850"/>
                <a:gd name="connsiteX2" fmla="*/ 27257 w 161925"/>
                <a:gd name="connsiteY2" fmla="*/ 315754 h 323850"/>
                <a:gd name="connsiteX3" fmla="*/ 163464 w 161925"/>
                <a:gd name="connsiteY3" fmla="*/ 310039 h 323850"/>
                <a:gd name="connsiteX4" fmla="*/ 163464 w 161925"/>
                <a:gd name="connsiteY4" fmla="*/ 257651 h 323850"/>
                <a:gd name="connsiteX5" fmla="*/ 85359 w 161925"/>
                <a:gd name="connsiteY5" fmla="*/ 252889 h 323850"/>
                <a:gd name="connsiteX6" fmla="*/ 79644 w 161925"/>
                <a:gd name="connsiteY6" fmla="*/ 7144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1925" h="323850">
                  <a:moveTo>
                    <a:pt x="79644" y="7144"/>
                  </a:moveTo>
                  <a:cubicBezTo>
                    <a:pt x="79644" y="7144"/>
                    <a:pt x="24399" y="25241"/>
                    <a:pt x="12969" y="89059"/>
                  </a:cubicBezTo>
                  <a:cubicBezTo>
                    <a:pt x="1539" y="153829"/>
                    <a:pt x="7254" y="304324"/>
                    <a:pt x="27257" y="315754"/>
                  </a:cubicBezTo>
                  <a:cubicBezTo>
                    <a:pt x="46307" y="326231"/>
                    <a:pt x="163464" y="310039"/>
                    <a:pt x="163464" y="310039"/>
                  </a:cubicBezTo>
                  <a:lnTo>
                    <a:pt x="163464" y="257651"/>
                  </a:lnTo>
                  <a:lnTo>
                    <a:pt x="85359" y="252889"/>
                  </a:lnTo>
                  <a:cubicBezTo>
                    <a:pt x="85359" y="253841"/>
                    <a:pt x="129174" y="47149"/>
                    <a:pt x="79644" y="7144"/>
                  </a:cubicBezTo>
                  <a:close/>
                </a:path>
              </a:pathLst>
            </a:custGeom>
            <a:solidFill>
              <a:srgbClr val="00A49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5" name="任意多边形: 形状 234">
              <a:extLst>
                <a:ext uri="{FF2B5EF4-FFF2-40B4-BE49-F238E27FC236}">
                  <a16:creationId xmlns:a16="http://schemas.microsoft.com/office/drawing/2014/main" id="{DC581BC9-2B1D-4CD1-95F4-98258EA14627}"/>
                </a:ext>
              </a:extLst>
            </p:cNvPr>
            <p:cNvSpPr/>
            <p:nvPr/>
          </p:nvSpPr>
          <p:spPr>
            <a:xfrm>
              <a:off x="5746909" y="3877151"/>
              <a:ext cx="38100" cy="161925"/>
            </a:xfrm>
            <a:custGeom>
              <a:avLst/>
              <a:gdLst>
                <a:gd name="connsiteX0" fmla="*/ 7144 w 38100"/>
                <a:gd name="connsiteY0" fmla="*/ 7144 h 161925"/>
                <a:gd name="connsiteX1" fmla="*/ 36671 w 38100"/>
                <a:gd name="connsiteY1" fmla="*/ 7144 h 161925"/>
                <a:gd name="connsiteX2" fmla="*/ 36671 w 38100"/>
                <a:gd name="connsiteY2" fmla="*/ 156686 h 161925"/>
                <a:gd name="connsiteX3" fmla="*/ 7144 w 38100"/>
                <a:gd name="connsiteY3" fmla="*/ 156686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00" h="161925">
                  <a:moveTo>
                    <a:pt x="7144" y="7144"/>
                  </a:moveTo>
                  <a:lnTo>
                    <a:pt x="36671" y="7144"/>
                  </a:lnTo>
                  <a:lnTo>
                    <a:pt x="36671" y="156686"/>
                  </a:lnTo>
                  <a:lnTo>
                    <a:pt x="7144" y="156686"/>
                  </a:lnTo>
                  <a:close/>
                </a:path>
              </a:pathLst>
            </a:custGeom>
            <a:solidFill>
              <a:srgbClr val="EBE0B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6" name="任意多边形: 形状 235">
              <a:extLst>
                <a:ext uri="{FF2B5EF4-FFF2-40B4-BE49-F238E27FC236}">
                  <a16:creationId xmlns:a16="http://schemas.microsoft.com/office/drawing/2014/main" id="{520B23A8-7D1F-4839-892B-4881D29CC509}"/>
                </a:ext>
              </a:extLst>
            </p:cNvPr>
            <p:cNvSpPr/>
            <p:nvPr/>
          </p:nvSpPr>
          <p:spPr>
            <a:xfrm>
              <a:off x="5739289" y="3853338"/>
              <a:ext cx="57150" cy="66675"/>
            </a:xfrm>
            <a:custGeom>
              <a:avLst/>
              <a:gdLst>
                <a:gd name="connsiteX0" fmla="*/ 7144 w 57150"/>
                <a:gd name="connsiteY0" fmla="*/ 7144 h 66675"/>
                <a:gd name="connsiteX1" fmla="*/ 52864 w 57150"/>
                <a:gd name="connsiteY1" fmla="*/ 7144 h 66675"/>
                <a:gd name="connsiteX2" fmla="*/ 52864 w 57150"/>
                <a:gd name="connsiteY2" fmla="*/ 65246 h 66675"/>
                <a:gd name="connsiteX3" fmla="*/ 7144 w 57150"/>
                <a:gd name="connsiteY3" fmla="*/ 65246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150" h="66675">
                  <a:moveTo>
                    <a:pt x="7144" y="7144"/>
                  </a:moveTo>
                  <a:lnTo>
                    <a:pt x="52864" y="7144"/>
                  </a:lnTo>
                  <a:lnTo>
                    <a:pt x="52864" y="65246"/>
                  </a:lnTo>
                  <a:lnTo>
                    <a:pt x="7144" y="65246"/>
                  </a:ln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7" name="任意多边形: 形状 236">
              <a:extLst>
                <a:ext uri="{FF2B5EF4-FFF2-40B4-BE49-F238E27FC236}">
                  <a16:creationId xmlns:a16="http://schemas.microsoft.com/office/drawing/2014/main" id="{726F860C-AA6E-4166-803B-87DFEA4A9080}"/>
                </a:ext>
              </a:extLst>
            </p:cNvPr>
            <p:cNvSpPr/>
            <p:nvPr/>
          </p:nvSpPr>
          <p:spPr>
            <a:xfrm>
              <a:off x="5672614" y="4019073"/>
              <a:ext cx="190500" cy="28575"/>
            </a:xfrm>
            <a:custGeom>
              <a:avLst/>
              <a:gdLst>
                <a:gd name="connsiteX0" fmla="*/ 7144 w 190500"/>
                <a:gd name="connsiteY0" fmla="*/ 7144 h 28575"/>
                <a:gd name="connsiteX1" fmla="*/ 185261 w 190500"/>
                <a:gd name="connsiteY1" fmla="*/ 7144 h 28575"/>
                <a:gd name="connsiteX2" fmla="*/ 185261 w 190500"/>
                <a:gd name="connsiteY2" fmla="*/ 26194 h 28575"/>
                <a:gd name="connsiteX3" fmla="*/ 7144 w 190500"/>
                <a:gd name="connsiteY3" fmla="*/ 2619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28575">
                  <a:moveTo>
                    <a:pt x="7144" y="7144"/>
                  </a:moveTo>
                  <a:lnTo>
                    <a:pt x="185261" y="7144"/>
                  </a:lnTo>
                  <a:lnTo>
                    <a:pt x="185261" y="26194"/>
                  </a:lnTo>
                  <a:lnTo>
                    <a:pt x="7144" y="26194"/>
                  </a:ln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8" name="任意多边形: 形状 237">
              <a:extLst>
                <a:ext uri="{FF2B5EF4-FFF2-40B4-BE49-F238E27FC236}">
                  <a16:creationId xmlns:a16="http://schemas.microsoft.com/office/drawing/2014/main" id="{F5E9CD60-4F58-4D5F-BB7F-880B4B097931}"/>
                </a:ext>
              </a:extLst>
            </p:cNvPr>
            <p:cNvSpPr/>
            <p:nvPr/>
          </p:nvSpPr>
          <p:spPr>
            <a:xfrm>
              <a:off x="5666899" y="4038123"/>
              <a:ext cx="38100" cy="38100"/>
            </a:xfrm>
            <a:custGeom>
              <a:avLst/>
              <a:gdLst>
                <a:gd name="connsiteX0" fmla="*/ 39529 w 38100"/>
                <a:gd name="connsiteY0" fmla="*/ 23336 h 38100"/>
                <a:gd name="connsiteX1" fmla="*/ 23336 w 38100"/>
                <a:gd name="connsiteY1" fmla="*/ 39529 h 38100"/>
                <a:gd name="connsiteX2" fmla="*/ 7144 w 38100"/>
                <a:gd name="connsiteY2" fmla="*/ 23336 h 38100"/>
                <a:gd name="connsiteX3" fmla="*/ 23336 w 38100"/>
                <a:gd name="connsiteY3" fmla="*/ 7144 h 38100"/>
                <a:gd name="connsiteX4" fmla="*/ 39529 w 38100"/>
                <a:gd name="connsiteY4" fmla="*/ 23336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9529" y="23336"/>
                  </a:moveTo>
                  <a:cubicBezTo>
                    <a:pt x="39529" y="31909"/>
                    <a:pt x="31909" y="39529"/>
                    <a:pt x="23336" y="39529"/>
                  </a:cubicBezTo>
                  <a:cubicBezTo>
                    <a:pt x="14764" y="39529"/>
                    <a:pt x="7144" y="31909"/>
                    <a:pt x="7144" y="23336"/>
                  </a:cubicBezTo>
                  <a:cubicBezTo>
                    <a:pt x="7144" y="14764"/>
                    <a:pt x="14764" y="7144"/>
                    <a:pt x="23336" y="7144"/>
                  </a:cubicBezTo>
                  <a:cubicBezTo>
                    <a:pt x="31909" y="7144"/>
                    <a:pt x="39529" y="14764"/>
                    <a:pt x="39529" y="23336"/>
                  </a:cubicBezTo>
                  <a:close/>
                </a:path>
              </a:pathLst>
            </a:custGeom>
            <a:solidFill>
              <a:srgbClr val="EBE0B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9" name="任意多边形: 形状 238">
              <a:extLst>
                <a:ext uri="{FF2B5EF4-FFF2-40B4-BE49-F238E27FC236}">
                  <a16:creationId xmlns:a16="http://schemas.microsoft.com/office/drawing/2014/main" id="{7DDC6A61-1553-480D-AB94-E49E50CEBC18}"/>
                </a:ext>
              </a:extLst>
            </p:cNvPr>
            <p:cNvSpPr/>
            <p:nvPr/>
          </p:nvSpPr>
          <p:spPr>
            <a:xfrm>
              <a:off x="5825014" y="4038123"/>
              <a:ext cx="38100" cy="38100"/>
            </a:xfrm>
            <a:custGeom>
              <a:avLst/>
              <a:gdLst>
                <a:gd name="connsiteX0" fmla="*/ 39529 w 38100"/>
                <a:gd name="connsiteY0" fmla="*/ 23336 h 38100"/>
                <a:gd name="connsiteX1" fmla="*/ 23336 w 38100"/>
                <a:gd name="connsiteY1" fmla="*/ 39529 h 38100"/>
                <a:gd name="connsiteX2" fmla="*/ 7144 w 38100"/>
                <a:gd name="connsiteY2" fmla="*/ 23336 h 38100"/>
                <a:gd name="connsiteX3" fmla="*/ 23336 w 38100"/>
                <a:gd name="connsiteY3" fmla="*/ 7144 h 38100"/>
                <a:gd name="connsiteX4" fmla="*/ 39529 w 38100"/>
                <a:gd name="connsiteY4" fmla="*/ 23336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9529" y="23336"/>
                  </a:moveTo>
                  <a:cubicBezTo>
                    <a:pt x="39529" y="31909"/>
                    <a:pt x="31909" y="39529"/>
                    <a:pt x="23336" y="39529"/>
                  </a:cubicBezTo>
                  <a:cubicBezTo>
                    <a:pt x="14764" y="39529"/>
                    <a:pt x="7144" y="31909"/>
                    <a:pt x="7144" y="23336"/>
                  </a:cubicBezTo>
                  <a:cubicBezTo>
                    <a:pt x="7144" y="14764"/>
                    <a:pt x="14764" y="7144"/>
                    <a:pt x="23336" y="7144"/>
                  </a:cubicBezTo>
                  <a:cubicBezTo>
                    <a:pt x="31909" y="7144"/>
                    <a:pt x="39529" y="14764"/>
                    <a:pt x="39529" y="23336"/>
                  </a:cubicBezTo>
                  <a:close/>
                </a:path>
              </a:pathLst>
            </a:custGeom>
            <a:solidFill>
              <a:srgbClr val="EBE0B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0" name="任意多边形: 形状 239">
              <a:extLst>
                <a:ext uri="{FF2B5EF4-FFF2-40B4-BE49-F238E27FC236}">
                  <a16:creationId xmlns:a16="http://schemas.microsoft.com/office/drawing/2014/main" id="{88B426FD-9D38-4CF8-AA24-95884A2C2D4D}"/>
                </a:ext>
              </a:extLst>
            </p:cNvPr>
            <p:cNvSpPr/>
            <p:nvPr/>
          </p:nvSpPr>
          <p:spPr>
            <a:xfrm>
              <a:off x="5893594" y="3632358"/>
              <a:ext cx="1085850" cy="38100"/>
            </a:xfrm>
            <a:custGeom>
              <a:avLst/>
              <a:gdLst>
                <a:gd name="connsiteX0" fmla="*/ 7144 w 1085850"/>
                <a:gd name="connsiteY0" fmla="*/ 7144 h 38100"/>
                <a:gd name="connsiteX1" fmla="*/ 1085374 w 1085850"/>
                <a:gd name="connsiteY1" fmla="*/ 7144 h 38100"/>
                <a:gd name="connsiteX2" fmla="*/ 1085374 w 1085850"/>
                <a:gd name="connsiteY2" fmla="*/ 30956 h 38100"/>
                <a:gd name="connsiteX3" fmla="*/ 7144 w 1085850"/>
                <a:gd name="connsiteY3" fmla="*/ 30956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5850" h="38100">
                  <a:moveTo>
                    <a:pt x="7144" y="7144"/>
                  </a:moveTo>
                  <a:lnTo>
                    <a:pt x="1085374" y="7144"/>
                  </a:lnTo>
                  <a:lnTo>
                    <a:pt x="1085374" y="30956"/>
                  </a:lnTo>
                  <a:lnTo>
                    <a:pt x="7144" y="30956"/>
                  </a:lnTo>
                  <a:close/>
                </a:path>
              </a:pathLst>
            </a:custGeom>
            <a:solidFill>
              <a:srgbClr val="FF674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1" name="任意多边形: 形状 240">
              <a:extLst>
                <a:ext uri="{FF2B5EF4-FFF2-40B4-BE49-F238E27FC236}">
                  <a16:creationId xmlns:a16="http://schemas.microsoft.com/office/drawing/2014/main" id="{5113E544-9779-43CD-941B-930E0B8A171B}"/>
                </a:ext>
              </a:extLst>
            </p:cNvPr>
            <p:cNvSpPr/>
            <p:nvPr/>
          </p:nvSpPr>
          <p:spPr>
            <a:xfrm>
              <a:off x="5924074" y="3656171"/>
              <a:ext cx="1028700" cy="38100"/>
            </a:xfrm>
            <a:custGeom>
              <a:avLst/>
              <a:gdLst>
                <a:gd name="connsiteX0" fmla="*/ 7144 w 1028700"/>
                <a:gd name="connsiteY0" fmla="*/ 7144 h 38100"/>
                <a:gd name="connsiteX1" fmla="*/ 1025366 w 1028700"/>
                <a:gd name="connsiteY1" fmla="*/ 7144 h 38100"/>
                <a:gd name="connsiteX2" fmla="*/ 1025366 w 1028700"/>
                <a:gd name="connsiteY2" fmla="*/ 33814 h 38100"/>
                <a:gd name="connsiteX3" fmla="*/ 7144 w 1028700"/>
                <a:gd name="connsiteY3" fmla="*/ 33814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8700" h="38100">
                  <a:moveTo>
                    <a:pt x="7144" y="7144"/>
                  </a:moveTo>
                  <a:lnTo>
                    <a:pt x="1025366" y="7144"/>
                  </a:lnTo>
                  <a:lnTo>
                    <a:pt x="1025366" y="33814"/>
                  </a:lnTo>
                  <a:lnTo>
                    <a:pt x="7144" y="33814"/>
                  </a:lnTo>
                  <a:close/>
                </a:path>
              </a:pathLst>
            </a:custGeom>
            <a:solidFill>
              <a:srgbClr val="E3493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2" name="任意多边形: 形状 241">
              <a:extLst>
                <a:ext uri="{FF2B5EF4-FFF2-40B4-BE49-F238E27FC236}">
                  <a16:creationId xmlns:a16="http://schemas.microsoft.com/office/drawing/2014/main" id="{072D71E8-2D58-4392-9CCD-E1C56E472E0C}"/>
                </a:ext>
              </a:extLst>
            </p:cNvPr>
            <p:cNvSpPr/>
            <p:nvPr/>
          </p:nvSpPr>
          <p:spPr>
            <a:xfrm>
              <a:off x="5948839" y="3681888"/>
              <a:ext cx="76200" cy="419100"/>
            </a:xfrm>
            <a:custGeom>
              <a:avLst/>
              <a:gdLst>
                <a:gd name="connsiteX0" fmla="*/ 27146 w 76200"/>
                <a:gd name="connsiteY0" fmla="*/ 416719 h 419100"/>
                <a:gd name="connsiteX1" fmla="*/ 70961 w 76200"/>
                <a:gd name="connsiteY1" fmla="*/ 7144 h 419100"/>
                <a:gd name="connsiteX2" fmla="*/ 38576 w 76200"/>
                <a:gd name="connsiteY2" fmla="*/ 7144 h 419100"/>
                <a:gd name="connsiteX3" fmla="*/ 7144 w 76200"/>
                <a:gd name="connsiteY3" fmla="*/ 416719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200" h="419100">
                  <a:moveTo>
                    <a:pt x="27146" y="416719"/>
                  </a:moveTo>
                  <a:lnTo>
                    <a:pt x="70961" y="7144"/>
                  </a:lnTo>
                  <a:lnTo>
                    <a:pt x="38576" y="7144"/>
                  </a:lnTo>
                  <a:lnTo>
                    <a:pt x="7144" y="416719"/>
                  </a:ln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3" name="任意多边形: 形状 242">
              <a:extLst>
                <a:ext uri="{FF2B5EF4-FFF2-40B4-BE49-F238E27FC236}">
                  <a16:creationId xmlns:a16="http://schemas.microsoft.com/office/drawing/2014/main" id="{36A1930A-1D47-460A-A3A6-3F8AFE8A4F28}"/>
                </a:ext>
              </a:extLst>
            </p:cNvPr>
            <p:cNvSpPr/>
            <p:nvPr/>
          </p:nvSpPr>
          <p:spPr>
            <a:xfrm>
              <a:off x="6853714" y="3681888"/>
              <a:ext cx="76200" cy="419100"/>
            </a:xfrm>
            <a:custGeom>
              <a:avLst/>
              <a:gdLst>
                <a:gd name="connsiteX0" fmla="*/ 70009 w 76200"/>
                <a:gd name="connsiteY0" fmla="*/ 416719 h 419100"/>
                <a:gd name="connsiteX1" fmla="*/ 38576 w 76200"/>
                <a:gd name="connsiteY1" fmla="*/ 7144 h 419100"/>
                <a:gd name="connsiteX2" fmla="*/ 7144 w 76200"/>
                <a:gd name="connsiteY2" fmla="*/ 7144 h 419100"/>
                <a:gd name="connsiteX3" fmla="*/ 50006 w 76200"/>
                <a:gd name="connsiteY3" fmla="*/ 416719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200" h="419100">
                  <a:moveTo>
                    <a:pt x="70009" y="416719"/>
                  </a:moveTo>
                  <a:lnTo>
                    <a:pt x="38576" y="7144"/>
                  </a:lnTo>
                  <a:lnTo>
                    <a:pt x="7144" y="7144"/>
                  </a:lnTo>
                  <a:lnTo>
                    <a:pt x="50006" y="416719"/>
                  </a:ln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4" name="任意多边形: 形状 243">
              <a:extLst>
                <a:ext uri="{FF2B5EF4-FFF2-40B4-BE49-F238E27FC236}">
                  <a16:creationId xmlns:a16="http://schemas.microsoft.com/office/drawing/2014/main" id="{584EA4C6-6357-49A3-BC9F-84366F833752}"/>
                </a:ext>
              </a:extLst>
            </p:cNvPr>
            <p:cNvSpPr/>
            <p:nvPr/>
          </p:nvSpPr>
          <p:spPr>
            <a:xfrm>
              <a:off x="5945981" y="3616166"/>
              <a:ext cx="133350" cy="28575"/>
            </a:xfrm>
            <a:custGeom>
              <a:avLst/>
              <a:gdLst>
                <a:gd name="connsiteX0" fmla="*/ 7144 w 133350"/>
                <a:gd name="connsiteY0" fmla="*/ 7144 h 28575"/>
                <a:gd name="connsiteX1" fmla="*/ 133826 w 133350"/>
                <a:gd name="connsiteY1" fmla="*/ 7144 h 28575"/>
                <a:gd name="connsiteX2" fmla="*/ 133826 w 133350"/>
                <a:gd name="connsiteY2" fmla="*/ 23336 h 28575"/>
                <a:gd name="connsiteX3" fmla="*/ 7144 w 133350"/>
                <a:gd name="connsiteY3" fmla="*/ 23336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350" h="28575">
                  <a:moveTo>
                    <a:pt x="7144" y="7144"/>
                  </a:moveTo>
                  <a:lnTo>
                    <a:pt x="133826" y="7144"/>
                  </a:lnTo>
                  <a:lnTo>
                    <a:pt x="133826" y="23336"/>
                  </a:lnTo>
                  <a:lnTo>
                    <a:pt x="7144" y="23336"/>
                  </a:ln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5" name="任意多边形: 形状 244">
              <a:extLst>
                <a:ext uri="{FF2B5EF4-FFF2-40B4-BE49-F238E27FC236}">
                  <a16:creationId xmlns:a16="http://schemas.microsoft.com/office/drawing/2014/main" id="{077D9AD4-2EA7-4F92-9226-FC13125DE6EC}"/>
                </a:ext>
              </a:extLst>
            </p:cNvPr>
            <p:cNvSpPr/>
            <p:nvPr/>
          </p:nvSpPr>
          <p:spPr>
            <a:xfrm>
              <a:off x="6028849" y="3484721"/>
              <a:ext cx="247650" cy="161925"/>
            </a:xfrm>
            <a:custGeom>
              <a:avLst/>
              <a:gdLst>
                <a:gd name="connsiteX0" fmla="*/ 210979 w 247650"/>
                <a:gd name="connsiteY0" fmla="*/ 154781 h 161925"/>
                <a:gd name="connsiteX1" fmla="*/ 7144 w 247650"/>
                <a:gd name="connsiteY1" fmla="*/ 154781 h 161925"/>
                <a:gd name="connsiteX2" fmla="*/ 39529 w 247650"/>
                <a:gd name="connsiteY2" fmla="*/ 7144 h 161925"/>
                <a:gd name="connsiteX3" fmla="*/ 243364 w 247650"/>
                <a:gd name="connsiteY3" fmla="*/ 7144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650" h="161925">
                  <a:moveTo>
                    <a:pt x="210979" y="154781"/>
                  </a:moveTo>
                  <a:lnTo>
                    <a:pt x="7144" y="154781"/>
                  </a:lnTo>
                  <a:lnTo>
                    <a:pt x="39529" y="7144"/>
                  </a:lnTo>
                  <a:lnTo>
                    <a:pt x="243364" y="7144"/>
                  </a:lnTo>
                  <a:close/>
                </a:path>
              </a:pathLst>
            </a:custGeom>
            <a:solidFill>
              <a:srgbClr val="3535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6" name="任意多边形: 形状 245">
              <a:extLst>
                <a:ext uri="{FF2B5EF4-FFF2-40B4-BE49-F238E27FC236}">
                  <a16:creationId xmlns:a16="http://schemas.microsoft.com/office/drawing/2014/main" id="{59CB6BEE-980E-4135-AA19-0DD9A5BA4479}"/>
                </a:ext>
              </a:extLst>
            </p:cNvPr>
            <p:cNvSpPr/>
            <p:nvPr/>
          </p:nvSpPr>
          <p:spPr>
            <a:xfrm>
              <a:off x="5835881" y="3224414"/>
              <a:ext cx="95250" cy="123825"/>
            </a:xfrm>
            <a:custGeom>
              <a:avLst/>
              <a:gdLst>
                <a:gd name="connsiteX0" fmla="*/ 92479 w 95250"/>
                <a:gd name="connsiteY0" fmla="*/ 40756 h 123825"/>
                <a:gd name="connsiteX1" fmla="*/ 61999 w 95250"/>
                <a:gd name="connsiteY1" fmla="*/ 117908 h 123825"/>
                <a:gd name="connsiteX2" fmla="*/ 7707 w 95250"/>
                <a:gd name="connsiteY2" fmla="*/ 66473 h 123825"/>
                <a:gd name="connsiteX3" fmla="*/ 51522 w 95250"/>
                <a:gd name="connsiteY3" fmla="*/ 7418 h 123825"/>
                <a:gd name="connsiteX4" fmla="*/ 92479 w 95250"/>
                <a:gd name="connsiteY4" fmla="*/ 40756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23825">
                  <a:moveTo>
                    <a:pt x="92479" y="40756"/>
                  </a:moveTo>
                  <a:cubicBezTo>
                    <a:pt x="92479" y="40756"/>
                    <a:pt x="104862" y="118860"/>
                    <a:pt x="61999" y="117908"/>
                  </a:cubicBezTo>
                  <a:cubicBezTo>
                    <a:pt x="19137" y="116003"/>
                    <a:pt x="3897" y="85523"/>
                    <a:pt x="7707" y="66473"/>
                  </a:cubicBezTo>
                  <a:cubicBezTo>
                    <a:pt x="11517" y="48376"/>
                    <a:pt x="14374" y="11228"/>
                    <a:pt x="51522" y="7418"/>
                  </a:cubicBezTo>
                  <a:cubicBezTo>
                    <a:pt x="87717" y="3608"/>
                    <a:pt x="92479" y="40756"/>
                    <a:pt x="92479" y="40756"/>
                  </a:cubicBez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7" name="任意多边形: 形状 246">
              <a:extLst>
                <a:ext uri="{FF2B5EF4-FFF2-40B4-BE49-F238E27FC236}">
                  <a16:creationId xmlns:a16="http://schemas.microsoft.com/office/drawing/2014/main" id="{14EA1035-B063-4145-B8F1-41106A1F2F9C}"/>
                </a:ext>
              </a:extLst>
            </p:cNvPr>
            <p:cNvSpPr/>
            <p:nvPr/>
          </p:nvSpPr>
          <p:spPr>
            <a:xfrm>
              <a:off x="5820130" y="3284575"/>
              <a:ext cx="38100" cy="38100"/>
            </a:xfrm>
            <a:custGeom>
              <a:avLst/>
              <a:gdLst>
                <a:gd name="connsiteX0" fmla="*/ 34887 w 38100"/>
                <a:gd name="connsiteY0" fmla="*/ 23457 h 38100"/>
                <a:gd name="connsiteX1" fmla="*/ 18695 w 38100"/>
                <a:gd name="connsiteY1" fmla="*/ 34887 h 38100"/>
                <a:gd name="connsiteX2" fmla="*/ 7265 w 38100"/>
                <a:gd name="connsiteY2" fmla="*/ 18695 h 38100"/>
                <a:gd name="connsiteX3" fmla="*/ 23457 w 38100"/>
                <a:gd name="connsiteY3" fmla="*/ 7265 h 38100"/>
                <a:gd name="connsiteX4" fmla="*/ 34887 w 38100"/>
                <a:gd name="connsiteY4" fmla="*/ 2345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4887" y="23457"/>
                  </a:moveTo>
                  <a:cubicBezTo>
                    <a:pt x="33935" y="31077"/>
                    <a:pt x="26315" y="35840"/>
                    <a:pt x="18695" y="34887"/>
                  </a:cubicBezTo>
                  <a:cubicBezTo>
                    <a:pt x="11074" y="33934"/>
                    <a:pt x="6312" y="26315"/>
                    <a:pt x="7265" y="18695"/>
                  </a:cubicBezTo>
                  <a:cubicBezTo>
                    <a:pt x="8217" y="11074"/>
                    <a:pt x="15837" y="6312"/>
                    <a:pt x="23457" y="7265"/>
                  </a:cubicBezTo>
                  <a:cubicBezTo>
                    <a:pt x="31077" y="8217"/>
                    <a:pt x="35840" y="15837"/>
                    <a:pt x="34887" y="23457"/>
                  </a:cubicBez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8" name="任意多边形: 形状 247">
              <a:extLst>
                <a:ext uri="{FF2B5EF4-FFF2-40B4-BE49-F238E27FC236}">
                  <a16:creationId xmlns:a16="http://schemas.microsoft.com/office/drawing/2014/main" id="{85A920CB-1C34-4C5A-AAA5-6978EA873718}"/>
                </a:ext>
              </a:extLst>
            </p:cNvPr>
            <p:cNvSpPr/>
            <p:nvPr/>
          </p:nvSpPr>
          <p:spPr>
            <a:xfrm>
              <a:off x="5810704" y="3213710"/>
              <a:ext cx="114300" cy="95250"/>
            </a:xfrm>
            <a:custGeom>
              <a:avLst/>
              <a:gdLst>
                <a:gd name="connsiteX0" fmla="*/ 22406 w 114300"/>
                <a:gd name="connsiteY0" fmla="*/ 80034 h 95250"/>
                <a:gd name="connsiteX1" fmla="*/ 41456 w 114300"/>
                <a:gd name="connsiteY1" fmla="*/ 83844 h 95250"/>
                <a:gd name="connsiteX2" fmla="*/ 93843 w 114300"/>
                <a:gd name="connsiteY2" fmla="*/ 42887 h 95250"/>
                <a:gd name="connsiteX3" fmla="*/ 114798 w 114300"/>
                <a:gd name="connsiteY3" fmla="*/ 41934 h 95250"/>
                <a:gd name="connsiteX4" fmla="*/ 44313 w 114300"/>
                <a:gd name="connsiteY4" fmla="*/ 10502 h 95250"/>
                <a:gd name="connsiteX5" fmla="*/ 15738 w 114300"/>
                <a:gd name="connsiteY5" fmla="*/ 89559 h 95250"/>
                <a:gd name="connsiteX6" fmla="*/ 22406 w 114300"/>
                <a:gd name="connsiteY6" fmla="*/ 80034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300" h="95250">
                  <a:moveTo>
                    <a:pt x="22406" y="80034"/>
                  </a:moveTo>
                  <a:cubicBezTo>
                    <a:pt x="22406" y="80034"/>
                    <a:pt x="32883" y="76224"/>
                    <a:pt x="41456" y="83844"/>
                  </a:cubicBezTo>
                  <a:cubicBezTo>
                    <a:pt x="41456" y="83844"/>
                    <a:pt x="94796" y="71462"/>
                    <a:pt x="93843" y="42887"/>
                  </a:cubicBezTo>
                  <a:cubicBezTo>
                    <a:pt x="93843" y="42887"/>
                    <a:pt x="104321" y="38124"/>
                    <a:pt x="114798" y="41934"/>
                  </a:cubicBezTo>
                  <a:cubicBezTo>
                    <a:pt x="114798" y="41934"/>
                    <a:pt x="105273" y="-5691"/>
                    <a:pt x="44313" y="10502"/>
                  </a:cubicBezTo>
                  <a:cubicBezTo>
                    <a:pt x="-16647" y="26694"/>
                    <a:pt x="15738" y="89559"/>
                    <a:pt x="15738" y="89559"/>
                  </a:cubicBezTo>
                  <a:cubicBezTo>
                    <a:pt x="15738" y="89559"/>
                    <a:pt x="16691" y="83844"/>
                    <a:pt x="22406" y="80034"/>
                  </a:cubicBezTo>
                  <a:close/>
                </a:path>
              </a:pathLst>
            </a:custGeom>
            <a:solidFill>
              <a:srgbClr val="FF674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9" name="任意多边形: 形状 248">
              <a:extLst>
                <a:ext uri="{FF2B5EF4-FFF2-40B4-BE49-F238E27FC236}">
                  <a16:creationId xmlns:a16="http://schemas.microsoft.com/office/drawing/2014/main" id="{26E1B587-4963-4A1A-8567-405E2C75DD68}"/>
                </a:ext>
              </a:extLst>
            </p:cNvPr>
            <p:cNvSpPr/>
            <p:nvPr/>
          </p:nvSpPr>
          <p:spPr>
            <a:xfrm>
              <a:off x="5835491" y="3296126"/>
              <a:ext cx="57150" cy="76200"/>
            </a:xfrm>
            <a:custGeom>
              <a:avLst/>
              <a:gdLst>
                <a:gd name="connsiteX0" fmla="*/ 10954 w 57150"/>
                <a:gd name="connsiteY0" fmla="*/ 7144 h 76200"/>
                <a:gd name="connsiteX1" fmla="*/ 9049 w 57150"/>
                <a:gd name="connsiteY1" fmla="*/ 17621 h 76200"/>
                <a:gd name="connsiteX2" fmla="*/ 8096 w 57150"/>
                <a:gd name="connsiteY2" fmla="*/ 22384 h 76200"/>
                <a:gd name="connsiteX3" fmla="*/ 7144 w 57150"/>
                <a:gd name="connsiteY3" fmla="*/ 38576 h 76200"/>
                <a:gd name="connsiteX4" fmla="*/ 11906 w 57150"/>
                <a:gd name="connsiteY4" fmla="*/ 61436 h 76200"/>
                <a:gd name="connsiteX5" fmla="*/ 53816 w 57150"/>
                <a:gd name="connsiteY5" fmla="*/ 69056 h 76200"/>
                <a:gd name="connsiteX6" fmla="*/ 56674 w 57150"/>
                <a:gd name="connsiteY6" fmla="*/ 55721 h 76200"/>
                <a:gd name="connsiteX7" fmla="*/ 57626 w 57150"/>
                <a:gd name="connsiteY7" fmla="*/ 43339 h 76200"/>
                <a:gd name="connsiteX8" fmla="*/ 57626 w 57150"/>
                <a:gd name="connsiteY8" fmla="*/ 43339 h 76200"/>
                <a:gd name="connsiteX9" fmla="*/ 57626 w 57150"/>
                <a:gd name="connsiteY9" fmla="*/ 17621 h 76200"/>
                <a:gd name="connsiteX10" fmla="*/ 10954 w 57150"/>
                <a:gd name="connsiteY10" fmla="*/ 7144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7150" h="76200">
                  <a:moveTo>
                    <a:pt x="10954" y="7144"/>
                  </a:moveTo>
                  <a:lnTo>
                    <a:pt x="9049" y="17621"/>
                  </a:lnTo>
                  <a:cubicBezTo>
                    <a:pt x="9049" y="17621"/>
                    <a:pt x="9049" y="19526"/>
                    <a:pt x="8096" y="22384"/>
                  </a:cubicBezTo>
                  <a:cubicBezTo>
                    <a:pt x="8096" y="26194"/>
                    <a:pt x="7144" y="32861"/>
                    <a:pt x="7144" y="38576"/>
                  </a:cubicBezTo>
                  <a:cubicBezTo>
                    <a:pt x="7144" y="48101"/>
                    <a:pt x="8096" y="58579"/>
                    <a:pt x="11906" y="61436"/>
                  </a:cubicBezTo>
                  <a:cubicBezTo>
                    <a:pt x="19526" y="69056"/>
                    <a:pt x="50006" y="70961"/>
                    <a:pt x="53816" y="69056"/>
                  </a:cubicBezTo>
                  <a:cubicBezTo>
                    <a:pt x="54769" y="68104"/>
                    <a:pt x="55721" y="63341"/>
                    <a:pt x="56674" y="55721"/>
                  </a:cubicBezTo>
                  <a:cubicBezTo>
                    <a:pt x="56674" y="51911"/>
                    <a:pt x="56674" y="48101"/>
                    <a:pt x="57626" y="43339"/>
                  </a:cubicBezTo>
                  <a:cubicBezTo>
                    <a:pt x="57626" y="43339"/>
                    <a:pt x="57626" y="43339"/>
                    <a:pt x="57626" y="43339"/>
                  </a:cubicBezTo>
                  <a:cubicBezTo>
                    <a:pt x="57626" y="30004"/>
                    <a:pt x="57626" y="17621"/>
                    <a:pt x="57626" y="17621"/>
                  </a:cubicBezTo>
                  <a:lnTo>
                    <a:pt x="10954" y="7144"/>
                  </a:ln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0" name="任意多边形: 形状 249">
              <a:extLst>
                <a:ext uri="{FF2B5EF4-FFF2-40B4-BE49-F238E27FC236}">
                  <a16:creationId xmlns:a16="http://schemas.microsoft.com/office/drawing/2014/main" id="{76FD29D9-B8A1-4477-A038-E2D7EE08E473}"/>
                </a:ext>
              </a:extLst>
            </p:cNvPr>
            <p:cNvSpPr/>
            <p:nvPr/>
          </p:nvSpPr>
          <p:spPr>
            <a:xfrm>
              <a:off x="5835491" y="3312318"/>
              <a:ext cx="57150" cy="47625"/>
            </a:xfrm>
            <a:custGeom>
              <a:avLst/>
              <a:gdLst>
                <a:gd name="connsiteX0" fmla="*/ 8096 w 57150"/>
                <a:gd name="connsiteY0" fmla="*/ 7144 h 47625"/>
                <a:gd name="connsiteX1" fmla="*/ 7144 w 57150"/>
                <a:gd name="connsiteY1" fmla="*/ 23336 h 47625"/>
                <a:gd name="connsiteX2" fmla="*/ 56674 w 57150"/>
                <a:gd name="connsiteY2" fmla="*/ 41434 h 47625"/>
                <a:gd name="connsiteX3" fmla="*/ 57626 w 57150"/>
                <a:gd name="connsiteY3" fmla="*/ 29051 h 47625"/>
                <a:gd name="connsiteX4" fmla="*/ 57626 w 57150"/>
                <a:gd name="connsiteY4" fmla="*/ 29051 h 47625"/>
                <a:gd name="connsiteX5" fmla="*/ 8096 w 57150"/>
                <a:gd name="connsiteY5" fmla="*/ 7144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150" h="47625">
                  <a:moveTo>
                    <a:pt x="8096" y="7144"/>
                  </a:moveTo>
                  <a:cubicBezTo>
                    <a:pt x="8096" y="10954"/>
                    <a:pt x="7144" y="17621"/>
                    <a:pt x="7144" y="23336"/>
                  </a:cubicBezTo>
                  <a:cubicBezTo>
                    <a:pt x="18574" y="29051"/>
                    <a:pt x="43339" y="40481"/>
                    <a:pt x="56674" y="41434"/>
                  </a:cubicBezTo>
                  <a:cubicBezTo>
                    <a:pt x="56674" y="37624"/>
                    <a:pt x="56674" y="33814"/>
                    <a:pt x="57626" y="29051"/>
                  </a:cubicBezTo>
                  <a:cubicBezTo>
                    <a:pt x="57626" y="29051"/>
                    <a:pt x="57626" y="29051"/>
                    <a:pt x="57626" y="29051"/>
                  </a:cubicBezTo>
                  <a:cubicBezTo>
                    <a:pt x="55721" y="28099"/>
                    <a:pt x="13811" y="18574"/>
                    <a:pt x="8096" y="7144"/>
                  </a:cubicBezTo>
                  <a:close/>
                </a:path>
              </a:pathLst>
            </a:custGeom>
            <a:solidFill>
              <a:srgbClr val="EBE0B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1" name="任意多边形: 形状 250">
              <a:extLst>
                <a:ext uri="{FF2B5EF4-FFF2-40B4-BE49-F238E27FC236}">
                  <a16:creationId xmlns:a16="http://schemas.microsoft.com/office/drawing/2014/main" id="{F1145F15-9AC7-4704-90DC-3267E2B68031}"/>
                </a:ext>
              </a:extLst>
            </p:cNvPr>
            <p:cNvSpPr/>
            <p:nvPr/>
          </p:nvSpPr>
          <p:spPr>
            <a:xfrm>
              <a:off x="5911691" y="2966561"/>
              <a:ext cx="238125" cy="228600"/>
            </a:xfrm>
            <a:custGeom>
              <a:avLst/>
              <a:gdLst>
                <a:gd name="connsiteX0" fmla="*/ 216694 w 238125"/>
                <a:gd name="connsiteY0" fmla="*/ 7144 h 228600"/>
                <a:gd name="connsiteX1" fmla="*/ 26194 w 238125"/>
                <a:gd name="connsiteY1" fmla="*/ 7144 h 228600"/>
                <a:gd name="connsiteX2" fmla="*/ 7144 w 238125"/>
                <a:gd name="connsiteY2" fmla="*/ 26194 h 228600"/>
                <a:gd name="connsiteX3" fmla="*/ 7144 w 238125"/>
                <a:gd name="connsiteY3" fmla="*/ 162401 h 228600"/>
                <a:gd name="connsiteX4" fmla="*/ 26194 w 238125"/>
                <a:gd name="connsiteY4" fmla="*/ 181451 h 228600"/>
                <a:gd name="connsiteX5" fmla="*/ 36671 w 238125"/>
                <a:gd name="connsiteY5" fmla="*/ 181451 h 228600"/>
                <a:gd name="connsiteX6" fmla="*/ 36671 w 238125"/>
                <a:gd name="connsiteY6" fmla="*/ 228124 h 228600"/>
                <a:gd name="connsiteX7" fmla="*/ 83344 w 238125"/>
                <a:gd name="connsiteY7" fmla="*/ 181451 h 228600"/>
                <a:gd name="connsiteX8" fmla="*/ 216694 w 238125"/>
                <a:gd name="connsiteY8" fmla="*/ 181451 h 228600"/>
                <a:gd name="connsiteX9" fmla="*/ 235744 w 238125"/>
                <a:gd name="connsiteY9" fmla="*/ 162401 h 228600"/>
                <a:gd name="connsiteX10" fmla="*/ 235744 w 238125"/>
                <a:gd name="connsiteY10" fmla="*/ 26194 h 228600"/>
                <a:gd name="connsiteX11" fmla="*/ 216694 w 238125"/>
                <a:gd name="connsiteY11" fmla="*/ 7144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8125" h="228600">
                  <a:moveTo>
                    <a:pt x="216694" y="7144"/>
                  </a:moveTo>
                  <a:lnTo>
                    <a:pt x="26194" y="7144"/>
                  </a:lnTo>
                  <a:cubicBezTo>
                    <a:pt x="15716" y="7144"/>
                    <a:pt x="7144" y="15716"/>
                    <a:pt x="7144" y="26194"/>
                  </a:cubicBezTo>
                  <a:lnTo>
                    <a:pt x="7144" y="162401"/>
                  </a:lnTo>
                  <a:cubicBezTo>
                    <a:pt x="7144" y="172879"/>
                    <a:pt x="15716" y="181451"/>
                    <a:pt x="26194" y="181451"/>
                  </a:cubicBezTo>
                  <a:lnTo>
                    <a:pt x="36671" y="181451"/>
                  </a:lnTo>
                  <a:lnTo>
                    <a:pt x="36671" y="228124"/>
                  </a:lnTo>
                  <a:lnTo>
                    <a:pt x="83344" y="181451"/>
                  </a:lnTo>
                  <a:lnTo>
                    <a:pt x="216694" y="181451"/>
                  </a:lnTo>
                  <a:cubicBezTo>
                    <a:pt x="227171" y="181451"/>
                    <a:pt x="235744" y="172879"/>
                    <a:pt x="235744" y="162401"/>
                  </a:cubicBezTo>
                  <a:lnTo>
                    <a:pt x="235744" y="26194"/>
                  </a:lnTo>
                  <a:cubicBezTo>
                    <a:pt x="235744" y="15716"/>
                    <a:pt x="227171" y="7144"/>
                    <a:pt x="216694" y="7144"/>
                  </a:cubicBezTo>
                  <a:close/>
                </a:path>
              </a:pathLst>
            </a:custGeom>
            <a:solidFill>
              <a:srgbClr val="5202B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2" name="任意多边形: 形状 251">
              <a:extLst>
                <a:ext uri="{FF2B5EF4-FFF2-40B4-BE49-F238E27FC236}">
                  <a16:creationId xmlns:a16="http://schemas.microsoft.com/office/drawing/2014/main" id="{13302C3E-5CAB-42E4-83CA-EECC4596D09C}"/>
                </a:ext>
              </a:extLst>
            </p:cNvPr>
            <p:cNvSpPr/>
            <p:nvPr/>
          </p:nvSpPr>
          <p:spPr>
            <a:xfrm>
              <a:off x="5941219" y="3006566"/>
              <a:ext cx="180975" cy="95250"/>
            </a:xfrm>
            <a:custGeom>
              <a:avLst/>
              <a:gdLst>
                <a:gd name="connsiteX0" fmla="*/ 179546 w 180975"/>
                <a:gd name="connsiteY0" fmla="*/ 7144 h 95250"/>
                <a:gd name="connsiteX1" fmla="*/ 130016 w 180975"/>
                <a:gd name="connsiteY1" fmla="*/ 20479 h 95250"/>
                <a:gd name="connsiteX2" fmla="*/ 143351 w 180975"/>
                <a:gd name="connsiteY2" fmla="*/ 34766 h 95250"/>
                <a:gd name="connsiteX3" fmla="*/ 117634 w 180975"/>
                <a:gd name="connsiteY3" fmla="*/ 60484 h 95250"/>
                <a:gd name="connsiteX4" fmla="*/ 66199 w 180975"/>
                <a:gd name="connsiteY4" fmla="*/ 23336 h 95250"/>
                <a:gd name="connsiteX5" fmla="*/ 7144 w 180975"/>
                <a:gd name="connsiteY5" fmla="*/ 85249 h 95250"/>
                <a:gd name="connsiteX6" fmla="*/ 16669 w 180975"/>
                <a:gd name="connsiteY6" fmla="*/ 94774 h 95250"/>
                <a:gd name="connsiteX7" fmla="*/ 68104 w 180975"/>
                <a:gd name="connsiteY7" fmla="*/ 40481 h 95250"/>
                <a:gd name="connsiteX8" fmla="*/ 119539 w 180975"/>
                <a:gd name="connsiteY8" fmla="*/ 77629 h 95250"/>
                <a:gd name="connsiteX9" fmla="*/ 152876 w 180975"/>
                <a:gd name="connsiteY9" fmla="*/ 43339 h 95250"/>
                <a:gd name="connsiteX10" fmla="*/ 167164 w 180975"/>
                <a:gd name="connsiteY10" fmla="*/ 56674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0975" h="95250">
                  <a:moveTo>
                    <a:pt x="179546" y="7144"/>
                  </a:moveTo>
                  <a:lnTo>
                    <a:pt x="130016" y="20479"/>
                  </a:lnTo>
                  <a:lnTo>
                    <a:pt x="143351" y="34766"/>
                  </a:lnTo>
                  <a:lnTo>
                    <a:pt x="117634" y="60484"/>
                  </a:lnTo>
                  <a:lnTo>
                    <a:pt x="66199" y="23336"/>
                  </a:lnTo>
                  <a:lnTo>
                    <a:pt x="7144" y="85249"/>
                  </a:lnTo>
                  <a:lnTo>
                    <a:pt x="16669" y="94774"/>
                  </a:lnTo>
                  <a:lnTo>
                    <a:pt x="68104" y="40481"/>
                  </a:lnTo>
                  <a:lnTo>
                    <a:pt x="119539" y="77629"/>
                  </a:lnTo>
                  <a:lnTo>
                    <a:pt x="152876" y="43339"/>
                  </a:lnTo>
                  <a:lnTo>
                    <a:pt x="167164" y="5667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3" name="任意多边形: 形状 252">
              <a:extLst>
                <a:ext uri="{FF2B5EF4-FFF2-40B4-BE49-F238E27FC236}">
                  <a16:creationId xmlns:a16="http://schemas.microsoft.com/office/drawing/2014/main" id="{40C56D57-571F-48F0-A7F6-CBBA164BD564}"/>
                </a:ext>
              </a:extLst>
            </p:cNvPr>
            <p:cNvSpPr/>
            <p:nvPr/>
          </p:nvSpPr>
          <p:spPr>
            <a:xfrm>
              <a:off x="6186011" y="2713196"/>
              <a:ext cx="200025" cy="200025"/>
            </a:xfrm>
            <a:custGeom>
              <a:avLst/>
              <a:gdLst>
                <a:gd name="connsiteX0" fmla="*/ 195739 w 200025"/>
                <a:gd name="connsiteY0" fmla="*/ 101441 h 200025"/>
                <a:gd name="connsiteX1" fmla="*/ 101441 w 200025"/>
                <a:gd name="connsiteY1" fmla="*/ 195739 h 200025"/>
                <a:gd name="connsiteX2" fmla="*/ 7144 w 200025"/>
                <a:gd name="connsiteY2" fmla="*/ 101441 h 200025"/>
                <a:gd name="connsiteX3" fmla="*/ 101441 w 200025"/>
                <a:gd name="connsiteY3" fmla="*/ 7144 h 200025"/>
                <a:gd name="connsiteX4" fmla="*/ 195739 w 200025"/>
                <a:gd name="connsiteY4" fmla="*/ 101441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025" h="200025">
                  <a:moveTo>
                    <a:pt x="195739" y="101441"/>
                  </a:moveTo>
                  <a:cubicBezTo>
                    <a:pt x="195739" y="152876"/>
                    <a:pt x="153829" y="195739"/>
                    <a:pt x="101441" y="195739"/>
                  </a:cubicBezTo>
                  <a:cubicBezTo>
                    <a:pt x="50006" y="195739"/>
                    <a:pt x="7144" y="153829"/>
                    <a:pt x="7144" y="101441"/>
                  </a:cubicBezTo>
                  <a:cubicBezTo>
                    <a:pt x="7144" y="50006"/>
                    <a:pt x="49054" y="7144"/>
                    <a:pt x="101441" y="7144"/>
                  </a:cubicBezTo>
                  <a:cubicBezTo>
                    <a:pt x="153829" y="8096"/>
                    <a:pt x="195739" y="50006"/>
                    <a:pt x="195739" y="10144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4" name="任意多边形: 形状 253">
              <a:extLst>
                <a:ext uri="{FF2B5EF4-FFF2-40B4-BE49-F238E27FC236}">
                  <a16:creationId xmlns:a16="http://schemas.microsoft.com/office/drawing/2014/main" id="{6AEE7024-D1E2-44B1-974A-893FFD52CF6C}"/>
                </a:ext>
              </a:extLst>
            </p:cNvPr>
            <p:cNvSpPr/>
            <p:nvPr/>
          </p:nvSpPr>
          <p:spPr>
            <a:xfrm>
              <a:off x="6200299" y="2727483"/>
              <a:ext cx="171450" cy="171450"/>
            </a:xfrm>
            <a:custGeom>
              <a:avLst/>
              <a:gdLst>
                <a:gd name="connsiteX0" fmla="*/ 87154 w 171450"/>
                <a:gd name="connsiteY0" fmla="*/ 168116 h 171450"/>
                <a:gd name="connsiteX1" fmla="*/ 77629 w 171450"/>
                <a:gd name="connsiteY1" fmla="*/ 167164 h 171450"/>
                <a:gd name="connsiteX2" fmla="*/ 78581 w 171450"/>
                <a:gd name="connsiteY2" fmla="*/ 160496 h 171450"/>
                <a:gd name="connsiteX3" fmla="*/ 96679 w 171450"/>
                <a:gd name="connsiteY3" fmla="*/ 160496 h 171450"/>
                <a:gd name="connsiteX4" fmla="*/ 97631 w 171450"/>
                <a:gd name="connsiteY4" fmla="*/ 167164 h 171450"/>
                <a:gd name="connsiteX5" fmla="*/ 87154 w 171450"/>
                <a:gd name="connsiteY5" fmla="*/ 168116 h 171450"/>
                <a:gd name="connsiteX6" fmla="*/ 58579 w 171450"/>
                <a:gd name="connsiteY6" fmla="*/ 163354 h 171450"/>
                <a:gd name="connsiteX7" fmla="*/ 41434 w 171450"/>
                <a:gd name="connsiteY7" fmla="*/ 153829 h 171450"/>
                <a:gd name="connsiteX8" fmla="*/ 45244 w 171450"/>
                <a:gd name="connsiteY8" fmla="*/ 148114 h 171450"/>
                <a:gd name="connsiteX9" fmla="*/ 61436 w 171450"/>
                <a:gd name="connsiteY9" fmla="*/ 156686 h 171450"/>
                <a:gd name="connsiteX10" fmla="*/ 58579 w 171450"/>
                <a:gd name="connsiteY10" fmla="*/ 163354 h 171450"/>
                <a:gd name="connsiteX11" fmla="*/ 115729 w 171450"/>
                <a:gd name="connsiteY11" fmla="*/ 163354 h 171450"/>
                <a:gd name="connsiteX12" fmla="*/ 113824 w 171450"/>
                <a:gd name="connsiteY12" fmla="*/ 157639 h 171450"/>
                <a:gd name="connsiteX13" fmla="*/ 130016 w 171450"/>
                <a:gd name="connsiteY13" fmla="*/ 149066 h 171450"/>
                <a:gd name="connsiteX14" fmla="*/ 133826 w 171450"/>
                <a:gd name="connsiteY14" fmla="*/ 154781 h 171450"/>
                <a:gd name="connsiteX15" fmla="*/ 115729 w 171450"/>
                <a:gd name="connsiteY15" fmla="*/ 163354 h 171450"/>
                <a:gd name="connsiteX16" fmla="*/ 27146 w 171450"/>
                <a:gd name="connsiteY16" fmla="*/ 141446 h 171450"/>
                <a:gd name="connsiteX17" fmla="*/ 15716 w 171450"/>
                <a:gd name="connsiteY17" fmla="*/ 125254 h 171450"/>
                <a:gd name="connsiteX18" fmla="*/ 21431 w 171450"/>
                <a:gd name="connsiteY18" fmla="*/ 122396 h 171450"/>
                <a:gd name="connsiteX19" fmla="*/ 31909 w 171450"/>
                <a:gd name="connsiteY19" fmla="*/ 136684 h 171450"/>
                <a:gd name="connsiteX20" fmla="*/ 27146 w 171450"/>
                <a:gd name="connsiteY20" fmla="*/ 141446 h 171450"/>
                <a:gd name="connsiteX21" fmla="*/ 148114 w 171450"/>
                <a:gd name="connsiteY21" fmla="*/ 141446 h 171450"/>
                <a:gd name="connsiteX22" fmla="*/ 143351 w 171450"/>
                <a:gd name="connsiteY22" fmla="*/ 136684 h 171450"/>
                <a:gd name="connsiteX23" fmla="*/ 153829 w 171450"/>
                <a:gd name="connsiteY23" fmla="*/ 121444 h 171450"/>
                <a:gd name="connsiteX24" fmla="*/ 159544 w 171450"/>
                <a:gd name="connsiteY24" fmla="*/ 124301 h 171450"/>
                <a:gd name="connsiteX25" fmla="*/ 148114 w 171450"/>
                <a:gd name="connsiteY25" fmla="*/ 141446 h 171450"/>
                <a:gd name="connsiteX26" fmla="*/ 9049 w 171450"/>
                <a:gd name="connsiteY26" fmla="*/ 107156 h 171450"/>
                <a:gd name="connsiteX27" fmla="*/ 7144 w 171450"/>
                <a:gd name="connsiteY27" fmla="*/ 88106 h 171450"/>
                <a:gd name="connsiteX28" fmla="*/ 13811 w 171450"/>
                <a:gd name="connsiteY28" fmla="*/ 88106 h 171450"/>
                <a:gd name="connsiteX29" fmla="*/ 15716 w 171450"/>
                <a:gd name="connsiteY29" fmla="*/ 106204 h 171450"/>
                <a:gd name="connsiteX30" fmla="*/ 9049 w 171450"/>
                <a:gd name="connsiteY30" fmla="*/ 107156 h 171450"/>
                <a:gd name="connsiteX31" fmla="*/ 166211 w 171450"/>
                <a:gd name="connsiteY31" fmla="*/ 107156 h 171450"/>
                <a:gd name="connsiteX32" fmla="*/ 159544 w 171450"/>
                <a:gd name="connsiteY32" fmla="*/ 105251 h 171450"/>
                <a:gd name="connsiteX33" fmla="*/ 161449 w 171450"/>
                <a:gd name="connsiteY33" fmla="*/ 87154 h 171450"/>
                <a:gd name="connsiteX34" fmla="*/ 168116 w 171450"/>
                <a:gd name="connsiteY34" fmla="*/ 87154 h 171450"/>
                <a:gd name="connsiteX35" fmla="*/ 168116 w 171450"/>
                <a:gd name="connsiteY35" fmla="*/ 87154 h 171450"/>
                <a:gd name="connsiteX36" fmla="*/ 166211 w 171450"/>
                <a:gd name="connsiteY36" fmla="*/ 107156 h 171450"/>
                <a:gd name="connsiteX37" fmla="*/ 14764 w 171450"/>
                <a:gd name="connsiteY37" fmla="*/ 70009 h 171450"/>
                <a:gd name="connsiteX38" fmla="*/ 8096 w 171450"/>
                <a:gd name="connsiteY38" fmla="*/ 68104 h 171450"/>
                <a:gd name="connsiteX39" fmla="*/ 14764 w 171450"/>
                <a:gd name="connsiteY39" fmla="*/ 50006 h 171450"/>
                <a:gd name="connsiteX40" fmla="*/ 20479 w 171450"/>
                <a:gd name="connsiteY40" fmla="*/ 52864 h 171450"/>
                <a:gd name="connsiteX41" fmla="*/ 14764 w 171450"/>
                <a:gd name="connsiteY41" fmla="*/ 70009 h 171450"/>
                <a:gd name="connsiteX42" fmla="*/ 159544 w 171450"/>
                <a:gd name="connsiteY42" fmla="*/ 69056 h 171450"/>
                <a:gd name="connsiteX43" fmla="*/ 152876 w 171450"/>
                <a:gd name="connsiteY43" fmla="*/ 51911 h 171450"/>
                <a:gd name="connsiteX44" fmla="*/ 158591 w 171450"/>
                <a:gd name="connsiteY44" fmla="*/ 49054 h 171450"/>
                <a:gd name="connsiteX45" fmla="*/ 165259 w 171450"/>
                <a:gd name="connsiteY45" fmla="*/ 67151 h 171450"/>
                <a:gd name="connsiteX46" fmla="*/ 159544 w 171450"/>
                <a:gd name="connsiteY46" fmla="*/ 69056 h 171450"/>
                <a:gd name="connsiteX47" fmla="*/ 30956 w 171450"/>
                <a:gd name="connsiteY47" fmla="*/ 38576 h 171450"/>
                <a:gd name="connsiteX48" fmla="*/ 26194 w 171450"/>
                <a:gd name="connsiteY48" fmla="*/ 34766 h 171450"/>
                <a:gd name="connsiteX49" fmla="*/ 40481 w 171450"/>
                <a:gd name="connsiteY49" fmla="*/ 21431 h 171450"/>
                <a:gd name="connsiteX50" fmla="*/ 44291 w 171450"/>
                <a:gd name="connsiteY50" fmla="*/ 27146 h 171450"/>
                <a:gd name="connsiteX51" fmla="*/ 30956 w 171450"/>
                <a:gd name="connsiteY51" fmla="*/ 38576 h 171450"/>
                <a:gd name="connsiteX52" fmla="*/ 143351 w 171450"/>
                <a:gd name="connsiteY52" fmla="*/ 37624 h 171450"/>
                <a:gd name="connsiteX53" fmla="*/ 130016 w 171450"/>
                <a:gd name="connsiteY53" fmla="*/ 26194 h 171450"/>
                <a:gd name="connsiteX54" fmla="*/ 133826 w 171450"/>
                <a:gd name="connsiteY54" fmla="*/ 20479 h 171450"/>
                <a:gd name="connsiteX55" fmla="*/ 148114 w 171450"/>
                <a:gd name="connsiteY55" fmla="*/ 33814 h 171450"/>
                <a:gd name="connsiteX56" fmla="*/ 143351 w 171450"/>
                <a:gd name="connsiteY56" fmla="*/ 37624 h 171450"/>
                <a:gd name="connsiteX57" fmla="*/ 60484 w 171450"/>
                <a:gd name="connsiteY57" fmla="*/ 17621 h 171450"/>
                <a:gd name="connsiteX58" fmla="*/ 58579 w 171450"/>
                <a:gd name="connsiteY58" fmla="*/ 11906 h 171450"/>
                <a:gd name="connsiteX59" fmla="*/ 77629 w 171450"/>
                <a:gd name="connsiteY59" fmla="*/ 7144 h 171450"/>
                <a:gd name="connsiteX60" fmla="*/ 78581 w 171450"/>
                <a:gd name="connsiteY60" fmla="*/ 13811 h 171450"/>
                <a:gd name="connsiteX61" fmla="*/ 60484 w 171450"/>
                <a:gd name="connsiteY61" fmla="*/ 17621 h 171450"/>
                <a:gd name="connsiteX62" fmla="*/ 113824 w 171450"/>
                <a:gd name="connsiteY62" fmla="*/ 17621 h 171450"/>
                <a:gd name="connsiteX63" fmla="*/ 96679 w 171450"/>
                <a:gd name="connsiteY63" fmla="*/ 13811 h 171450"/>
                <a:gd name="connsiteX64" fmla="*/ 97631 w 171450"/>
                <a:gd name="connsiteY64" fmla="*/ 7144 h 171450"/>
                <a:gd name="connsiteX65" fmla="*/ 116681 w 171450"/>
                <a:gd name="connsiteY65" fmla="*/ 11906 h 171450"/>
                <a:gd name="connsiteX66" fmla="*/ 113824 w 171450"/>
                <a:gd name="connsiteY66" fmla="*/ 1762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71450" h="171450">
                  <a:moveTo>
                    <a:pt x="87154" y="168116"/>
                  </a:moveTo>
                  <a:cubicBezTo>
                    <a:pt x="84296" y="168116"/>
                    <a:pt x="80486" y="168116"/>
                    <a:pt x="77629" y="167164"/>
                  </a:cubicBezTo>
                  <a:lnTo>
                    <a:pt x="78581" y="160496"/>
                  </a:lnTo>
                  <a:cubicBezTo>
                    <a:pt x="84296" y="161449"/>
                    <a:pt x="90964" y="161449"/>
                    <a:pt x="96679" y="160496"/>
                  </a:cubicBezTo>
                  <a:lnTo>
                    <a:pt x="97631" y="167164"/>
                  </a:lnTo>
                  <a:cubicBezTo>
                    <a:pt x="93821" y="168116"/>
                    <a:pt x="90964" y="168116"/>
                    <a:pt x="87154" y="168116"/>
                  </a:cubicBezTo>
                  <a:close/>
                  <a:moveTo>
                    <a:pt x="58579" y="163354"/>
                  </a:moveTo>
                  <a:cubicBezTo>
                    <a:pt x="52864" y="161449"/>
                    <a:pt x="46196" y="157639"/>
                    <a:pt x="41434" y="153829"/>
                  </a:cubicBezTo>
                  <a:lnTo>
                    <a:pt x="45244" y="148114"/>
                  </a:lnTo>
                  <a:cubicBezTo>
                    <a:pt x="50006" y="151924"/>
                    <a:pt x="55721" y="154781"/>
                    <a:pt x="61436" y="156686"/>
                  </a:cubicBezTo>
                  <a:lnTo>
                    <a:pt x="58579" y="163354"/>
                  </a:lnTo>
                  <a:close/>
                  <a:moveTo>
                    <a:pt x="115729" y="163354"/>
                  </a:moveTo>
                  <a:lnTo>
                    <a:pt x="113824" y="157639"/>
                  </a:lnTo>
                  <a:cubicBezTo>
                    <a:pt x="119539" y="155734"/>
                    <a:pt x="124301" y="152876"/>
                    <a:pt x="130016" y="149066"/>
                  </a:cubicBezTo>
                  <a:lnTo>
                    <a:pt x="133826" y="154781"/>
                  </a:lnTo>
                  <a:cubicBezTo>
                    <a:pt x="128111" y="157639"/>
                    <a:pt x="122396" y="160496"/>
                    <a:pt x="115729" y="163354"/>
                  </a:cubicBezTo>
                  <a:close/>
                  <a:moveTo>
                    <a:pt x="27146" y="141446"/>
                  </a:moveTo>
                  <a:cubicBezTo>
                    <a:pt x="22384" y="136684"/>
                    <a:pt x="19526" y="130969"/>
                    <a:pt x="15716" y="125254"/>
                  </a:cubicBezTo>
                  <a:lnTo>
                    <a:pt x="21431" y="122396"/>
                  </a:lnTo>
                  <a:cubicBezTo>
                    <a:pt x="24289" y="128111"/>
                    <a:pt x="28099" y="132874"/>
                    <a:pt x="31909" y="136684"/>
                  </a:cubicBezTo>
                  <a:lnTo>
                    <a:pt x="27146" y="141446"/>
                  </a:lnTo>
                  <a:close/>
                  <a:moveTo>
                    <a:pt x="148114" y="141446"/>
                  </a:moveTo>
                  <a:lnTo>
                    <a:pt x="143351" y="136684"/>
                  </a:lnTo>
                  <a:cubicBezTo>
                    <a:pt x="147161" y="131921"/>
                    <a:pt x="150971" y="127159"/>
                    <a:pt x="153829" y="121444"/>
                  </a:cubicBezTo>
                  <a:lnTo>
                    <a:pt x="159544" y="124301"/>
                  </a:lnTo>
                  <a:cubicBezTo>
                    <a:pt x="155734" y="130969"/>
                    <a:pt x="151924" y="136684"/>
                    <a:pt x="148114" y="141446"/>
                  </a:cubicBezTo>
                  <a:close/>
                  <a:moveTo>
                    <a:pt x="9049" y="107156"/>
                  </a:moveTo>
                  <a:cubicBezTo>
                    <a:pt x="7144" y="100489"/>
                    <a:pt x="7144" y="94774"/>
                    <a:pt x="7144" y="88106"/>
                  </a:cubicBezTo>
                  <a:lnTo>
                    <a:pt x="13811" y="88106"/>
                  </a:lnTo>
                  <a:cubicBezTo>
                    <a:pt x="13811" y="93821"/>
                    <a:pt x="14764" y="100489"/>
                    <a:pt x="15716" y="106204"/>
                  </a:cubicBezTo>
                  <a:lnTo>
                    <a:pt x="9049" y="107156"/>
                  </a:lnTo>
                  <a:close/>
                  <a:moveTo>
                    <a:pt x="166211" y="107156"/>
                  </a:moveTo>
                  <a:lnTo>
                    <a:pt x="159544" y="105251"/>
                  </a:lnTo>
                  <a:cubicBezTo>
                    <a:pt x="160496" y="99536"/>
                    <a:pt x="161449" y="93821"/>
                    <a:pt x="161449" y="87154"/>
                  </a:cubicBezTo>
                  <a:lnTo>
                    <a:pt x="168116" y="87154"/>
                  </a:lnTo>
                  <a:lnTo>
                    <a:pt x="168116" y="87154"/>
                  </a:lnTo>
                  <a:cubicBezTo>
                    <a:pt x="168116" y="93821"/>
                    <a:pt x="167164" y="100489"/>
                    <a:pt x="166211" y="107156"/>
                  </a:cubicBezTo>
                  <a:close/>
                  <a:moveTo>
                    <a:pt x="14764" y="70009"/>
                  </a:moveTo>
                  <a:lnTo>
                    <a:pt x="8096" y="68104"/>
                  </a:lnTo>
                  <a:cubicBezTo>
                    <a:pt x="10001" y="61436"/>
                    <a:pt x="11906" y="55721"/>
                    <a:pt x="14764" y="50006"/>
                  </a:cubicBezTo>
                  <a:lnTo>
                    <a:pt x="20479" y="52864"/>
                  </a:lnTo>
                  <a:cubicBezTo>
                    <a:pt x="18574" y="58579"/>
                    <a:pt x="16669" y="64294"/>
                    <a:pt x="14764" y="70009"/>
                  </a:cubicBezTo>
                  <a:close/>
                  <a:moveTo>
                    <a:pt x="159544" y="69056"/>
                  </a:moveTo>
                  <a:cubicBezTo>
                    <a:pt x="157639" y="63341"/>
                    <a:pt x="155734" y="57626"/>
                    <a:pt x="152876" y="51911"/>
                  </a:cubicBezTo>
                  <a:lnTo>
                    <a:pt x="158591" y="49054"/>
                  </a:lnTo>
                  <a:cubicBezTo>
                    <a:pt x="161449" y="54769"/>
                    <a:pt x="164306" y="60484"/>
                    <a:pt x="165259" y="67151"/>
                  </a:cubicBezTo>
                  <a:lnTo>
                    <a:pt x="159544" y="69056"/>
                  </a:lnTo>
                  <a:close/>
                  <a:moveTo>
                    <a:pt x="30956" y="38576"/>
                  </a:moveTo>
                  <a:lnTo>
                    <a:pt x="26194" y="34766"/>
                  </a:lnTo>
                  <a:cubicBezTo>
                    <a:pt x="30956" y="30004"/>
                    <a:pt x="35719" y="25241"/>
                    <a:pt x="40481" y="21431"/>
                  </a:cubicBezTo>
                  <a:lnTo>
                    <a:pt x="44291" y="27146"/>
                  </a:lnTo>
                  <a:cubicBezTo>
                    <a:pt x="39529" y="30004"/>
                    <a:pt x="35719" y="33814"/>
                    <a:pt x="30956" y="38576"/>
                  </a:cubicBezTo>
                  <a:close/>
                  <a:moveTo>
                    <a:pt x="143351" y="37624"/>
                  </a:moveTo>
                  <a:cubicBezTo>
                    <a:pt x="139541" y="32861"/>
                    <a:pt x="134779" y="29051"/>
                    <a:pt x="130016" y="26194"/>
                  </a:cubicBezTo>
                  <a:lnTo>
                    <a:pt x="133826" y="20479"/>
                  </a:lnTo>
                  <a:cubicBezTo>
                    <a:pt x="139541" y="24289"/>
                    <a:pt x="144304" y="28099"/>
                    <a:pt x="148114" y="33814"/>
                  </a:cubicBezTo>
                  <a:lnTo>
                    <a:pt x="143351" y="37624"/>
                  </a:lnTo>
                  <a:close/>
                  <a:moveTo>
                    <a:pt x="60484" y="17621"/>
                  </a:moveTo>
                  <a:lnTo>
                    <a:pt x="58579" y="11906"/>
                  </a:lnTo>
                  <a:cubicBezTo>
                    <a:pt x="64294" y="10001"/>
                    <a:pt x="70961" y="8096"/>
                    <a:pt x="77629" y="7144"/>
                  </a:cubicBezTo>
                  <a:lnTo>
                    <a:pt x="78581" y="13811"/>
                  </a:lnTo>
                  <a:cubicBezTo>
                    <a:pt x="71914" y="14764"/>
                    <a:pt x="66199" y="15716"/>
                    <a:pt x="60484" y="17621"/>
                  </a:cubicBezTo>
                  <a:close/>
                  <a:moveTo>
                    <a:pt x="113824" y="17621"/>
                  </a:moveTo>
                  <a:cubicBezTo>
                    <a:pt x="108109" y="15716"/>
                    <a:pt x="102394" y="13811"/>
                    <a:pt x="96679" y="13811"/>
                  </a:cubicBezTo>
                  <a:lnTo>
                    <a:pt x="97631" y="7144"/>
                  </a:lnTo>
                  <a:cubicBezTo>
                    <a:pt x="104299" y="8096"/>
                    <a:pt x="110966" y="9049"/>
                    <a:pt x="116681" y="11906"/>
                  </a:cubicBezTo>
                  <a:lnTo>
                    <a:pt x="113824" y="17621"/>
                  </a:lnTo>
                  <a:close/>
                </a:path>
              </a:pathLst>
            </a:custGeom>
            <a:solidFill>
              <a:srgbClr val="5202B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5" name="任意多边形: 形状 254">
              <a:extLst>
                <a:ext uri="{FF2B5EF4-FFF2-40B4-BE49-F238E27FC236}">
                  <a16:creationId xmlns:a16="http://schemas.microsoft.com/office/drawing/2014/main" id="{D698411C-95A8-4E72-A7A7-0C75E66A33B4}"/>
                </a:ext>
              </a:extLst>
            </p:cNvPr>
            <p:cNvSpPr/>
            <p:nvPr/>
          </p:nvSpPr>
          <p:spPr>
            <a:xfrm>
              <a:off x="6273641" y="2757963"/>
              <a:ext cx="47625" cy="104775"/>
            </a:xfrm>
            <a:custGeom>
              <a:avLst/>
              <a:gdLst>
                <a:gd name="connsiteX0" fmla="*/ 34766 w 47625"/>
                <a:gd name="connsiteY0" fmla="*/ 99536 h 104775"/>
                <a:gd name="connsiteX1" fmla="*/ 7144 w 47625"/>
                <a:gd name="connsiteY1" fmla="*/ 72866 h 104775"/>
                <a:gd name="connsiteX2" fmla="*/ 7144 w 47625"/>
                <a:gd name="connsiteY2" fmla="*/ 7144 h 104775"/>
                <a:gd name="connsiteX3" fmla="*/ 20479 w 47625"/>
                <a:gd name="connsiteY3" fmla="*/ 7144 h 104775"/>
                <a:gd name="connsiteX4" fmla="*/ 20479 w 47625"/>
                <a:gd name="connsiteY4" fmla="*/ 68104 h 104775"/>
                <a:gd name="connsiteX5" fmla="*/ 43339 w 47625"/>
                <a:gd name="connsiteY5" fmla="*/ 90964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625" h="104775">
                  <a:moveTo>
                    <a:pt x="34766" y="99536"/>
                  </a:moveTo>
                  <a:lnTo>
                    <a:pt x="7144" y="72866"/>
                  </a:lnTo>
                  <a:lnTo>
                    <a:pt x="7144" y="7144"/>
                  </a:lnTo>
                  <a:lnTo>
                    <a:pt x="20479" y="7144"/>
                  </a:lnTo>
                  <a:lnTo>
                    <a:pt x="20479" y="68104"/>
                  </a:lnTo>
                  <a:lnTo>
                    <a:pt x="43339" y="90964"/>
                  </a:lnTo>
                  <a:close/>
                </a:path>
              </a:pathLst>
            </a:custGeom>
            <a:solidFill>
              <a:srgbClr val="5202B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6" name="任意多边形: 形状 255">
              <a:extLst>
                <a:ext uri="{FF2B5EF4-FFF2-40B4-BE49-F238E27FC236}">
                  <a16:creationId xmlns:a16="http://schemas.microsoft.com/office/drawing/2014/main" id="{0019EA47-E0C3-46BC-A57A-258F78EE1169}"/>
                </a:ext>
              </a:extLst>
            </p:cNvPr>
            <p:cNvSpPr/>
            <p:nvPr/>
          </p:nvSpPr>
          <p:spPr>
            <a:xfrm>
              <a:off x="6360319" y="3107531"/>
              <a:ext cx="76200" cy="76200"/>
            </a:xfrm>
            <a:custGeom>
              <a:avLst/>
              <a:gdLst>
                <a:gd name="connsiteX0" fmla="*/ 71914 w 76200"/>
                <a:gd name="connsiteY0" fmla="*/ 7144 h 76200"/>
                <a:gd name="connsiteX1" fmla="*/ 71914 w 76200"/>
                <a:gd name="connsiteY1" fmla="*/ 50006 h 76200"/>
                <a:gd name="connsiteX2" fmla="*/ 50006 w 76200"/>
                <a:gd name="connsiteY2" fmla="*/ 71914 h 76200"/>
                <a:gd name="connsiteX3" fmla="*/ 7144 w 76200"/>
                <a:gd name="connsiteY3" fmla="*/ 71914 h 76200"/>
                <a:gd name="connsiteX4" fmla="*/ 7144 w 76200"/>
                <a:gd name="connsiteY4" fmla="*/ 7144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76200">
                  <a:moveTo>
                    <a:pt x="71914" y="7144"/>
                  </a:moveTo>
                  <a:lnTo>
                    <a:pt x="71914" y="50006"/>
                  </a:lnTo>
                  <a:lnTo>
                    <a:pt x="50006" y="71914"/>
                  </a:lnTo>
                  <a:lnTo>
                    <a:pt x="7144" y="71914"/>
                  </a:lnTo>
                  <a:lnTo>
                    <a:pt x="7144" y="7144"/>
                  </a:lnTo>
                  <a:close/>
                </a:path>
              </a:pathLst>
            </a:custGeom>
            <a:solidFill>
              <a:srgbClr val="F4E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7" name="任意多边形: 形状 256">
              <a:extLst>
                <a:ext uri="{FF2B5EF4-FFF2-40B4-BE49-F238E27FC236}">
                  <a16:creationId xmlns:a16="http://schemas.microsoft.com/office/drawing/2014/main" id="{05DA3C2C-F306-43F7-8DBA-588D650BB3B4}"/>
                </a:ext>
              </a:extLst>
            </p:cNvPr>
            <p:cNvSpPr/>
            <p:nvPr/>
          </p:nvSpPr>
          <p:spPr>
            <a:xfrm>
              <a:off x="6403181" y="3150393"/>
              <a:ext cx="28575" cy="28575"/>
            </a:xfrm>
            <a:custGeom>
              <a:avLst/>
              <a:gdLst>
                <a:gd name="connsiteX0" fmla="*/ 29051 w 28575"/>
                <a:gd name="connsiteY0" fmla="*/ 7144 h 28575"/>
                <a:gd name="connsiteX1" fmla="*/ 7144 w 28575"/>
                <a:gd name="connsiteY1" fmla="*/ 29051 h 28575"/>
                <a:gd name="connsiteX2" fmla="*/ 7144 w 28575"/>
                <a:gd name="connsiteY2" fmla="*/ 714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575" h="28575">
                  <a:moveTo>
                    <a:pt x="29051" y="7144"/>
                  </a:moveTo>
                  <a:lnTo>
                    <a:pt x="7144" y="29051"/>
                  </a:lnTo>
                  <a:lnTo>
                    <a:pt x="7144" y="7144"/>
                  </a:lnTo>
                  <a:close/>
                </a:path>
              </a:pathLst>
            </a:custGeom>
            <a:solidFill>
              <a:srgbClr val="EBE0B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8" name="任意多边形: 形状 257">
              <a:extLst>
                <a:ext uri="{FF2B5EF4-FFF2-40B4-BE49-F238E27FC236}">
                  <a16:creationId xmlns:a16="http://schemas.microsoft.com/office/drawing/2014/main" id="{680D9A60-8CEA-4D47-9654-91AADAA14A88}"/>
                </a:ext>
              </a:extLst>
            </p:cNvPr>
            <p:cNvSpPr/>
            <p:nvPr/>
          </p:nvSpPr>
          <p:spPr>
            <a:xfrm>
              <a:off x="6266974" y="3044666"/>
              <a:ext cx="76200" cy="76200"/>
            </a:xfrm>
            <a:custGeom>
              <a:avLst/>
              <a:gdLst>
                <a:gd name="connsiteX0" fmla="*/ 7144 w 76200"/>
                <a:gd name="connsiteY0" fmla="*/ 7144 h 76200"/>
                <a:gd name="connsiteX1" fmla="*/ 71914 w 76200"/>
                <a:gd name="connsiteY1" fmla="*/ 7144 h 76200"/>
                <a:gd name="connsiteX2" fmla="*/ 71914 w 76200"/>
                <a:gd name="connsiteY2" fmla="*/ 71914 h 76200"/>
                <a:gd name="connsiteX3" fmla="*/ 7144 w 76200"/>
                <a:gd name="connsiteY3" fmla="*/ 71914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200" h="76200">
                  <a:moveTo>
                    <a:pt x="7144" y="7144"/>
                  </a:moveTo>
                  <a:lnTo>
                    <a:pt x="71914" y="7144"/>
                  </a:lnTo>
                  <a:lnTo>
                    <a:pt x="71914" y="71914"/>
                  </a:lnTo>
                  <a:lnTo>
                    <a:pt x="7144" y="7191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9" name="任意多边形: 形状 258">
              <a:extLst>
                <a:ext uri="{FF2B5EF4-FFF2-40B4-BE49-F238E27FC236}">
                  <a16:creationId xmlns:a16="http://schemas.microsoft.com/office/drawing/2014/main" id="{F4F00330-1773-4E05-BEE4-D9F6DD6AB16E}"/>
                </a:ext>
              </a:extLst>
            </p:cNvPr>
            <p:cNvSpPr/>
            <p:nvPr/>
          </p:nvSpPr>
          <p:spPr>
            <a:xfrm>
              <a:off x="6879431" y="2583656"/>
              <a:ext cx="123825" cy="123825"/>
            </a:xfrm>
            <a:custGeom>
              <a:avLst/>
              <a:gdLst>
                <a:gd name="connsiteX0" fmla="*/ 119539 w 123825"/>
                <a:gd name="connsiteY0" fmla="*/ 63341 h 123825"/>
                <a:gd name="connsiteX1" fmla="*/ 63341 w 123825"/>
                <a:gd name="connsiteY1" fmla="*/ 119539 h 123825"/>
                <a:gd name="connsiteX2" fmla="*/ 7144 w 123825"/>
                <a:gd name="connsiteY2" fmla="*/ 63341 h 123825"/>
                <a:gd name="connsiteX3" fmla="*/ 63341 w 123825"/>
                <a:gd name="connsiteY3" fmla="*/ 7144 h 123825"/>
                <a:gd name="connsiteX4" fmla="*/ 119539 w 123825"/>
                <a:gd name="connsiteY4" fmla="*/ 63341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825" h="123825">
                  <a:moveTo>
                    <a:pt x="119539" y="63341"/>
                  </a:moveTo>
                  <a:cubicBezTo>
                    <a:pt x="119539" y="93821"/>
                    <a:pt x="94774" y="119539"/>
                    <a:pt x="63341" y="119539"/>
                  </a:cubicBezTo>
                  <a:cubicBezTo>
                    <a:pt x="32861" y="119539"/>
                    <a:pt x="7144" y="94774"/>
                    <a:pt x="7144" y="63341"/>
                  </a:cubicBezTo>
                  <a:cubicBezTo>
                    <a:pt x="7144" y="32861"/>
                    <a:pt x="31909" y="7144"/>
                    <a:pt x="63341" y="7144"/>
                  </a:cubicBezTo>
                  <a:cubicBezTo>
                    <a:pt x="94774" y="7144"/>
                    <a:pt x="119539" y="31909"/>
                    <a:pt x="119539" y="63341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0" name="任意多边形: 形状 259">
              <a:extLst>
                <a:ext uri="{FF2B5EF4-FFF2-40B4-BE49-F238E27FC236}">
                  <a16:creationId xmlns:a16="http://schemas.microsoft.com/office/drawing/2014/main" id="{9F35EEAF-B52A-4EEB-9716-432C499E1494}"/>
                </a:ext>
              </a:extLst>
            </p:cNvPr>
            <p:cNvSpPr/>
            <p:nvPr/>
          </p:nvSpPr>
          <p:spPr>
            <a:xfrm>
              <a:off x="7151846" y="4197191"/>
              <a:ext cx="123825" cy="123825"/>
            </a:xfrm>
            <a:custGeom>
              <a:avLst/>
              <a:gdLst>
                <a:gd name="connsiteX0" fmla="*/ 119539 w 123825"/>
                <a:gd name="connsiteY0" fmla="*/ 63341 h 123825"/>
                <a:gd name="connsiteX1" fmla="*/ 63341 w 123825"/>
                <a:gd name="connsiteY1" fmla="*/ 119539 h 123825"/>
                <a:gd name="connsiteX2" fmla="*/ 7144 w 123825"/>
                <a:gd name="connsiteY2" fmla="*/ 63341 h 123825"/>
                <a:gd name="connsiteX3" fmla="*/ 63341 w 123825"/>
                <a:gd name="connsiteY3" fmla="*/ 7144 h 123825"/>
                <a:gd name="connsiteX4" fmla="*/ 119539 w 123825"/>
                <a:gd name="connsiteY4" fmla="*/ 63341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825" h="123825">
                  <a:moveTo>
                    <a:pt x="119539" y="63341"/>
                  </a:moveTo>
                  <a:cubicBezTo>
                    <a:pt x="119539" y="93821"/>
                    <a:pt x="94774" y="119539"/>
                    <a:pt x="63341" y="119539"/>
                  </a:cubicBezTo>
                  <a:cubicBezTo>
                    <a:pt x="32861" y="119539"/>
                    <a:pt x="7144" y="94774"/>
                    <a:pt x="7144" y="63341"/>
                  </a:cubicBezTo>
                  <a:cubicBezTo>
                    <a:pt x="7144" y="32861"/>
                    <a:pt x="31909" y="7144"/>
                    <a:pt x="63341" y="7144"/>
                  </a:cubicBezTo>
                  <a:cubicBezTo>
                    <a:pt x="94774" y="7144"/>
                    <a:pt x="119539" y="32861"/>
                    <a:pt x="119539" y="6334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1" name="任意多边形: 形状 260">
              <a:extLst>
                <a:ext uri="{FF2B5EF4-FFF2-40B4-BE49-F238E27FC236}">
                  <a16:creationId xmlns:a16="http://schemas.microsoft.com/office/drawing/2014/main" id="{5CDADC3C-5C9E-4CAA-9692-E9C1CD1E137F}"/>
                </a:ext>
              </a:extLst>
            </p:cNvPr>
            <p:cNvSpPr/>
            <p:nvPr/>
          </p:nvSpPr>
          <p:spPr>
            <a:xfrm>
              <a:off x="6828949" y="2486501"/>
              <a:ext cx="76200" cy="76200"/>
            </a:xfrm>
            <a:custGeom>
              <a:avLst/>
              <a:gdLst>
                <a:gd name="connsiteX0" fmla="*/ 75724 w 76200"/>
                <a:gd name="connsiteY0" fmla="*/ 41434 h 76200"/>
                <a:gd name="connsiteX1" fmla="*/ 41434 w 76200"/>
                <a:gd name="connsiteY1" fmla="*/ 75724 h 76200"/>
                <a:gd name="connsiteX2" fmla="*/ 7144 w 76200"/>
                <a:gd name="connsiteY2" fmla="*/ 41434 h 76200"/>
                <a:gd name="connsiteX3" fmla="*/ 41434 w 76200"/>
                <a:gd name="connsiteY3" fmla="*/ 7144 h 76200"/>
                <a:gd name="connsiteX4" fmla="*/ 75724 w 76200"/>
                <a:gd name="connsiteY4" fmla="*/ 41434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76200">
                  <a:moveTo>
                    <a:pt x="75724" y="41434"/>
                  </a:moveTo>
                  <a:cubicBezTo>
                    <a:pt x="75724" y="60484"/>
                    <a:pt x="60484" y="75724"/>
                    <a:pt x="41434" y="75724"/>
                  </a:cubicBezTo>
                  <a:cubicBezTo>
                    <a:pt x="22384" y="75724"/>
                    <a:pt x="7144" y="60484"/>
                    <a:pt x="7144" y="41434"/>
                  </a:cubicBezTo>
                  <a:cubicBezTo>
                    <a:pt x="7144" y="22384"/>
                    <a:pt x="22384" y="7144"/>
                    <a:pt x="41434" y="7144"/>
                  </a:cubicBezTo>
                  <a:cubicBezTo>
                    <a:pt x="60484" y="7144"/>
                    <a:pt x="75724" y="22384"/>
                    <a:pt x="75724" y="41434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2" name="任意多边形: 形状 261">
              <a:extLst>
                <a:ext uri="{FF2B5EF4-FFF2-40B4-BE49-F238E27FC236}">
                  <a16:creationId xmlns:a16="http://schemas.microsoft.com/office/drawing/2014/main" id="{78ABDA50-B7B2-42E9-BAB0-5C93D2DD73B8}"/>
                </a:ext>
              </a:extLst>
            </p:cNvPr>
            <p:cNvSpPr/>
            <p:nvPr/>
          </p:nvSpPr>
          <p:spPr>
            <a:xfrm>
              <a:off x="7050881" y="4132421"/>
              <a:ext cx="76200" cy="76200"/>
            </a:xfrm>
            <a:custGeom>
              <a:avLst/>
              <a:gdLst>
                <a:gd name="connsiteX0" fmla="*/ 75724 w 76200"/>
                <a:gd name="connsiteY0" fmla="*/ 41434 h 76200"/>
                <a:gd name="connsiteX1" fmla="*/ 41434 w 76200"/>
                <a:gd name="connsiteY1" fmla="*/ 75724 h 76200"/>
                <a:gd name="connsiteX2" fmla="*/ 7144 w 76200"/>
                <a:gd name="connsiteY2" fmla="*/ 41434 h 76200"/>
                <a:gd name="connsiteX3" fmla="*/ 41434 w 76200"/>
                <a:gd name="connsiteY3" fmla="*/ 7144 h 76200"/>
                <a:gd name="connsiteX4" fmla="*/ 75724 w 76200"/>
                <a:gd name="connsiteY4" fmla="*/ 41434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76200">
                  <a:moveTo>
                    <a:pt x="75724" y="41434"/>
                  </a:moveTo>
                  <a:cubicBezTo>
                    <a:pt x="75724" y="60484"/>
                    <a:pt x="60484" y="75724"/>
                    <a:pt x="41434" y="75724"/>
                  </a:cubicBezTo>
                  <a:cubicBezTo>
                    <a:pt x="22384" y="75724"/>
                    <a:pt x="7144" y="60484"/>
                    <a:pt x="7144" y="41434"/>
                  </a:cubicBezTo>
                  <a:cubicBezTo>
                    <a:pt x="7144" y="22384"/>
                    <a:pt x="22384" y="7144"/>
                    <a:pt x="41434" y="7144"/>
                  </a:cubicBezTo>
                  <a:cubicBezTo>
                    <a:pt x="60484" y="7144"/>
                    <a:pt x="75724" y="22384"/>
                    <a:pt x="75724" y="41434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3" name="任意多边形: 形状 262">
              <a:extLst>
                <a:ext uri="{FF2B5EF4-FFF2-40B4-BE49-F238E27FC236}">
                  <a16:creationId xmlns:a16="http://schemas.microsoft.com/office/drawing/2014/main" id="{45A30330-1D6A-429A-AAA9-AA03FC27176D}"/>
                </a:ext>
              </a:extLst>
            </p:cNvPr>
            <p:cNvSpPr/>
            <p:nvPr/>
          </p:nvSpPr>
          <p:spPr>
            <a:xfrm>
              <a:off x="6354604" y="3277076"/>
              <a:ext cx="47625" cy="66675"/>
            </a:xfrm>
            <a:custGeom>
              <a:avLst/>
              <a:gdLst>
                <a:gd name="connsiteX0" fmla="*/ 22384 w 47625"/>
                <a:gd name="connsiteY0" fmla="*/ 52864 h 66675"/>
                <a:gd name="connsiteX1" fmla="*/ 25241 w 47625"/>
                <a:gd name="connsiteY1" fmla="*/ 62389 h 66675"/>
                <a:gd name="connsiteX2" fmla="*/ 28099 w 47625"/>
                <a:gd name="connsiteY2" fmla="*/ 52864 h 66675"/>
                <a:gd name="connsiteX3" fmla="*/ 43339 w 47625"/>
                <a:gd name="connsiteY3" fmla="*/ 34766 h 66675"/>
                <a:gd name="connsiteX4" fmla="*/ 43339 w 47625"/>
                <a:gd name="connsiteY4" fmla="*/ 34766 h 66675"/>
                <a:gd name="connsiteX5" fmla="*/ 43339 w 47625"/>
                <a:gd name="connsiteY5" fmla="*/ 34766 h 66675"/>
                <a:gd name="connsiteX6" fmla="*/ 28099 w 47625"/>
                <a:gd name="connsiteY6" fmla="*/ 16669 h 66675"/>
                <a:gd name="connsiteX7" fmla="*/ 25241 w 47625"/>
                <a:gd name="connsiteY7" fmla="*/ 7144 h 66675"/>
                <a:gd name="connsiteX8" fmla="*/ 22384 w 47625"/>
                <a:gd name="connsiteY8" fmla="*/ 16669 h 66675"/>
                <a:gd name="connsiteX9" fmla="*/ 7144 w 47625"/>
                <a:gd name="connsiteY9" fmla="*/ 34766 h 66675"/>
                <a:gd name="connsiteX10" fmla="*/ 7144 w 47625"/>
                <a:gd name="connsiteY10" fmla="*/ 34766 h 66675"/>
                <a:gd name="connsiteX11" fmla="*/ 7144 w 47625"/>
                <a:gd name="connsiteY11" fmla="*/ 34766 h 66675"/>
                <a:gd name="connsiteX12" fmla="*/ 22384 w 47625"/>
                <a:gd name="connsiteY12" fmla="*/ 5286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7625" h="66675">
                  <a:moveTo>
                    <a:pt x="22384" y="52864"/>
                  </a:moveTo>
                  <a:lnTo>
                    <a:pt x="25241" y="62389"/>
                  </a:lnTo>
                  <a:lnTo>
                    <a:pt x="28099" y="52864"/>
                  </a:lnTo>
                  <a:cubicBezTo>
                    <a:pt x="30004" y="45244"/>
                    <a:pt x="35719" y="38576"/>
                    <a:pt x="43339" y="34766"/>
                  </a:cubicBezTo>
                  <a:lnTo>
                    <a:pt x="43339" y="34766"/>
                  </a:lnTo>
                  <a:lnTo>
                    <a:pt x="43339" y="34766"/>
                  </a:lnTo>
                  <a:cubicBezTo>
                    <a:pt x="35719" y="30956"/>
                    <a:pt x="30956" y="24289"/>
                    <a:pt x="28099" y="16669"/>
                  </a:cubicBezTo>
                  <a:lnTo>
                    <a:pt x="25241" y="7144"/>
                  </a:lnTo>
                  <a:lnTo>
                    <a:pt x="22384" y="16669"/>
                  </a:lnTo>
                  <a:cubicBezTo>
                    <a:pt x="20479" y="24289"/>
                    <a:pt x="14764" y="30956"/>
                    <a:pt x="7144" y="34766"/>
                  </a:cubicBezTo>
                  <a:lnTo>
                    <a:pt x="7144" y="34766"/>
                  </a:lnTo>
                  <a:lnTo>
                    <a:pt x="7144" y="34766"/>
                  </a:lnTo>
                  <a:cubicBezTo>
                    <a:pt x="14764" y="37624"/>
                    <a:pt x="19526" y="44291"/>
                    <a:pt x="22384" y="5286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4" name="任意多边形: 形状 263">
              <a:extLst>
                <a:ext uri="{FF2B5EF4-FFF2-40B4-BE49-F238E27FC236}">
                  <a16:creationId xmlns:a16="http://schemas.microsoft.com/office/drawing/2014/main" id="{012834A8-708B-4BA3-AE44-6151E7826A4A}"/>
                </a:ext>
              </a:extLst>
            </p:cNvPr>
            <p:cNvSpPr/>
            <p:nvPr/>
          </p:nvSpPr>
          <p:spPr>
            <a:xfrm>
              <a:off x="6333649" y="3324701"/>
              <a:ext cx="38100" cy="57150"/>
            </a:xfrm>
            <a:custGeom>
              <a:avLst/>
              <a:gdLst>
                <a:gd name="connsiteX0" fmla="*/ 18574 w 38100"/>
                <a:gd name="connsiteY0" fmla="*/ 43339 h 57150"/>
                <a:gd name="connsiteX1" fmla="*/ 20479 w 38100"/>
                <a:gd name="connsiteY1" fmla="*/ 50959 h 57150"/>
                <a:gd name="connsiteX2" fmla="*/ 22384 w 38100"/>
                <a:gd name="connsiteY2" fmla="*/ 43339 h 57150"/>
                <a:gd name="connsiteX3" fmla="*/ 33814 w 38100"/>
                <a:gd name="connsiteY3" fmla="*/ 29051 h 57150"/>
                <a:gd name="connsiteX4" fmla="*/ 33814 w 38100"/>
                <a:gd name="connsiteY4" fmla="*/ 29051 h 57150"/>
                <a:gd name="connsiteX5" fmla="*/ 33814 w 38100"/>
                <a:gd name="connsiteY5" fmla="*/ 29051 h 57150"/>
                <a:gd name="connsiteX6" fmla="*/ 22384 w 38100"/>
                <a:gd name="connsiteY6" fmla="*/ 14764 h 57150"/>
                <a:gd name="connsiteX7" fmla="*/ 20479 w 38100"/>
                <a:gd name="connsiteY7" fmla="*/ 7144 h 57150"/>
                <a:gd name="connsiteX8" fmla="*/ 18574 w 38100"/>
                <a:gd name="connsiteY8" fmla="*/ 14764 h 57150"/>
                <a:gd name="connsiteX9" fmla="*/ 7144 w 38100"/>
                <a:gd name="connsiteY9" fmla="*/ 29051 h 57150"/>
                <a:gd name="connsiteX10" fmla="*/ 7144 w 38100"/>
                <a:gd name="connsiteY10" fmla="*/ 29051 h 57150"/>
                <a:gd name="connsiteX11" fmla="*/ 7144 w 38100"/>
                <a:gd name="connsiteY11" fmla="*/ 29051 h 57150"/>
                <a:gd name="connsiteX12" fmla="*/ 18574 w 38100"/>
                <a:gd name="connsiteY12" fmla="*/ 43339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100" h="57150">
                  <a:moveTo>
                    <a:pt x="18574" y="43339"/>
                  </a:moveTo>
                  <a:lnTo>
                    <a:pt x="20479" y="50959"/>
                  </a:lnTo>
                  <a:lnTo>
                    <a:pt x="22384" y="43339"/>
                  </a:lnTo>
                  <a:cubicBezTo>
                    <a:pt x="24289" y="37624"/>
                    <a:pt x="28099" y="31909"/>
                    <a:pt x="33814" y="29051"/>
                  </a:cubicBezTo>
                  <a:lnTo>
                    <a:pt x="33814" y="29051"/>
                  </a:lnTo>
                  <a:lnTo>
                    <a:pt x="33814" y="29051"/>
                  </a:lnTo>
                  <a:cubicBezTo>
                    <a:pt x="28099" y="26194"/>
                    <a:pt x="24289" y="20479"/>
                    <a:pt x="22384" y="14764"/>
                  </a:cubicBezTo>
                  <a:lnTo>
                    <a:pt x="20479" y="7144"/>
                  </a:lnTo>
                  <a:lnTo>
                    <a:pt x="18574" y="14764"/>
                  </a:lnTo>
                  <a:cubicBezTo>
                    <a:pt x="16669" y="20479"/>
                    <a:pt x="12859" y="26194"/>
                    <a:pt x="7144" y="29051"/>
                  </a:cubicBezTo>
                  <a:lnTo>
                    <a:pt x="7144" y="29051"/>
                  </a:lnTo>
                  <a:lnTo>
                    <a:pt x="7144" y="29051"/>
                  </a:lnTo>
                  <a:cubicBezTo>
                    <a:pt x="11906" y="31909"/>
                    <a:pt x="16669" y="36671"/>
                    <a:pt x="18574" y="4333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5" name="任意多边形: 形状 264">
              <a:extLst>
                <a:ext uri="{FF2B5EF4-FFF2-40B4-BE49-F238E27FC236}">
                  <a16:creationId xmlns:a16="http://schemas.microsoft.com/office/drawing/2014/main" id="{60EC6F06-AD2B-4C67-B227-37DDE455D85E}"/>
                </a:ext>
              </a:extLst>
            </p:cNvPr>
            <p:cNvSpPr/>
            <p:nvPr/>
          </p:nvSpPr>
          <p:spPr>
            <a:xfrm>
              <a:off x="7620476" y="3031331"/>
              <a:ext cx="47625" cy="66675"/>
            </a:xfrm>
            <a:custGeom>
              <a:avLst/>
              <a:gdLst>
                <a:gd name="connsiteX0" fmla="*/ 22384 w 47625"/>
                <a:gd name="connsiteY0" fmla="*/ 52864 h 66675"/>
                <a:gd name="connsiteX1" fmla="*/ 25241 w 47625"/>
                <a:gd name="connsiteY1" fmla="*/ 62389 h 66675"/>
                <a:gd name="connsiteX2" fmla="*/ 28099 w 47625"/>
                <a:gd name="connsiteY2" fmla="*/ 52864 h 66675"/>
                <a:gd name="connsiteX3" fmla="*/ 43339 w 47625"/>
                <a:gd name="connsiteY3" fmla="*/ 34766 h 66675"/>
                <a:gd name="connsiteX4" fmla="*/ 43339 w 47625"/>
                <a:gd name="connsiteY4" fmla="*/ 34766 h 66675"/>
                <a:gd name="connsiteX5" fmla="*/ 43339 w 47625"/>
                <a:gd name="connsiteY5" fmla="*/ 34766 h 66675"/>
                <a:gd name="connsiteX6" fmla="*/ 28099 w 47625"/>
                <a:gd name="connsiteY6" fmla="*/ 16669 h 66675"/>
                <a:gd name="connsiteX7" fmla="*/ 25241 w 47625"/>
                <a:gd name="connsiteY7" fmla="*/ 7144 h 66675"/>
                <a:gd name="connsiteX8" fmla="*/ 22384 w 47625"/>
                <a:gd name="connsiteY8" fmla="*/ 16669 h 66675"/>
                <a:gd name="connsiteX9" fmla="*/ 7144 w 47625"/>
                <a:gd name="connsiteY9" fmla="*/ 34766 h 66675"/>
                <a:gd name="connsiteX10" fmla="*/ 7144 w 47625"/>
                <a:gd name="connsiteY10" fmla="*/ 34766 h 66675"/>
                <a:gd name="connsiteX11" fmla="*/ 7144 w 47625"/>
                <a:gd name="connsiteY11" fmla="*/ 34766 h 66675"/>
                <a:gd name="connsiteX12" fmla="*/ 22384 w 47625"/>
                <a:gd name="connsiteY12" fmla="*/ 5286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7625" h="66675">
                  <a:moveTo>
                    <a:pt x="22384" y="52864"/>
                  </a:moveTo>
                  <a:lnTo>
                    <a:pt x="25241" y="62389"/>
                  </a:lnTo>
                  <a:lnTo>
                    <a:pt x="28099" y="52864"/>
                  </a:lnTo>
                  <a:cubicBezTo>
                    <a:pt x="30004" y="45244"/>
                    <a:pt x="35719" y="38576"/>
                    <a:pt x="43339" y="34766"/>
                  </a:cubicBezTo>
                  <a:lnTo>
                    <a:pt x="43339" y="34766"/>
                  </a:lnTo>
                  <a:lnTo>
                    <a:pt x="43339" y="34766"/>
                  </a:lnTo>
                  <a:cubicBezTo>
                    <a:pt x="35719" y="30956"/>
                    <a:pt x="30956" y="24289"/>
                    <a:pt x="28099" y="16669"/>
                  </a:cubicBezTo>
                  <a:lnTo>
                    <a:pt x="25241" y="7144"/>
                  </a:lnTo>
                  <a:lnTo>
                    <a:pt x="22384" y="16669"/>
                  </a:lnTo>
                  <a:cubicBezTo>
                    <a:pt x="20479" y="24289"/>
                    <a:pt x="14764" y="30956"/>
                    <a:pt x="7144" y="34766"/>
                  </a:cubicBezTo>
                  <a:lnTo>
                    <a:pt x="7144" y="34766"/>
                  </a:lnTo>
                  <a:lnTo>
                    <a:pt x="7144" y="34766"/>
                  </a:lnTo>
                  <a:cubicBezTo>
                    <a:pt x="14764" y="38576"/>
                    <a:pt x="20479" y="45244"/>
                    <a:pt x="22384" y="5286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6" name="任意多边形: 形状 265">
              <a:extLst>
                <a:ext uri="{FF2B5EF4-FFF2-40B4-BE49-F238E27FC236}">
                  <a16:creationId xmlns:a16="http://schemas.microsoft.com/office/drawing/2014/main" id="{F1907D39-41EF-4489-BBA4-F6F9864F514E}"/>
                </a:ext>
              </a:extLst>
            </p:cNvPr>
            <p:cNvSpPr/>
            <p:nvPr/>
          </p:nvSpPr>
          <p:spPr>
            <a:xfrm>
              <a:off x="7599521" y="3078956"/>
              <a:ext cx="38100" cy="57150"/>
            </a:xfrm>
            <a:custGeom>
              <a:avLst/>
              <a:gdLst>
                <a:gd name="connsiteX0" fmla="*/ 18574 w 38100"/>
                <a:gd name="connsiteY0" fmla="*/ 43339 h 57150"/>
                <a:gd name="connsiteX1" fmla="*/ 20479 w 38100"/>
                <a:gd name="connsiteY1" fmla="*/ 50959 h 57150"/>
                <a:gd name="connsiteX2" fmla="*/ 22384 w 38100"/>
                <a:gd name="connsiteY2" fmla="*/ 43339 h 57150"/>
                <a:gd name="connsiteX3" fmla="*/ 33814 w 38100"/>
                <a:gd name="connsiteY3" fmla="*/ 29051 h 57150"/>
                <a:gd name="connsiteX4" fmla="*/ 33814 w 38100"/>
                <a:gd name="connsiteY4" fmla="*/ 29051 h 57150"/>
                <a:gd name="connsiteX5" fmla="*/ 33814 w 38100"/>
                <a:gd name="connsiteY5" fmla="*/ 29051 h 57150"/>
                <a:gd name="connsiteX6" fmla="*/ 22384 w 38100"/>
                <a:gd name="connsiteY6" fmla="*/ 14764 h 57150"/>
                <a:gd name="connsiteX7" fmla="*/ 20479 w 38100"/>
                <a:gd name="connsiteY7" fmla="*/ 7144 h 57150"/>
                <a:gd name="connsiteX8" fmla="*/ 18574 w 38100"/>
                <a:gd name="connsiteY8" fmla="*/ 14764 h 57150"/>
                <a:gd name="connsiteX9" fmla="*/ 7144 w 38100"/>
                <a:gd name="connsiteY9" fmla="*/ 29051 h 57150"/>
                <a:gd name="connsiteX10" fmla="*/ 7144 w 38100"/>
                <a:gd name="connsiteY10" fmla="*/ 29051 h 57150"/>
                <a:gd name="connsiteX11" fmla="*/ 7144 w 38100"/>
                <a:gd name="connsiteY11" fmla="*/ 29051 h 57150"/>
                <a:gd name="connsiteX12" fmla="*/ 18574 w 38100"/>
                <a:gd name="connsiteY12" fmla="*/ 43339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100" h="57150">
                  <a:moveTo>
                    <a:pt x="18574" y="43339"/>
                  </a:moveTo>
                  <a:lnTo>
                    <a:pt x="20479" y="50959"/>
                  </a:lnTo>
                  <a:lnTo>
                    <a:pt x="22384" y="43339"/>
                  </a:lnTo>
                  <a:cubicBezTo>
                    <a:pt x="24289" y="37624"/>
                    <a:pt x="28099" y="31909"/>
                    <a:pt x="33814" y="29051"/>
                  </a:cubicBezTo>
                  <a:lnTo>
                    <a:pt x="33814" y="29051"/>
                  </a:lnTo>
                  <a:lnTo>
                    <a:pt x="33814" y="29051"/>
                  </a:lnTo>
                  <a:cubicBezTo>
                    <a:pt x="28099" y="26194"/>
                    <a:pt x="24289" y="20479"/>
                    <a:pt x="22384" y="14764"/>
                  </a:cubicBezTo>
                  <a:lnTo>
                    <a:pt x="20479" y="7144"/>
                  </a:lnTo>
                  <a:lnTo>
                    <a:pt x="18574" y="14764"/>
                  </a:lnTo>
                  <a:cubicBezTo>
                    <a:pt x="16669" y="20479"/>
                    <a:pt x="12859" y="26194"/>
                    <a:pt x="7144" y="29051"/>
                  </a:cubicBezTo>
                  <a:lnTo>
                    <a:pt x="7144" y="29051"/>
                  </a:lnTo>
                  <a:lnTo>
                    <a:pt x="7144" y="29051"/>
                  </a:lnTo>
                  <a:cubicBezTo>
                    <a:pt x="12859" y="32861"/>
                    <a:pt x="17621" y="37624"/>
                    <a:pt x="18574" y="4333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7" name="任意多边形: 形状 266">
              <a:extLst>
                <a:ext uri="{FF2B5EF4-FFF2-40B4-BE49-F238E27FC236}">
                  <a16:creationId xmlns:a16="http://schemas.microsoft.com/office/drawing/2014/main" id="{0055980D-6EA4-4CF4-92C8-A8B17C56D535}"/>
                </a:ext>
              </a:extLst>
            </p:cNvPr>
            <p:cNvSpPr/>
            <p:nvPr/>
          </p:nvSpPr>
          <p:spPr>
            <a:xfrm>
              <a:off x="7250906" y="3366611"/>
              <a:ext cx="57150" cy="85725"/>
            </a:xfrm>
            <a:custGeom>
              <a:avLst/>
              <a:gdLst>
                <a:gd name="connsiteX0" fmla="*/ 33814 w 57150"/>
                <a:gd name="connsiteY0" fmla="*/ 67151 h 85725"/>
                <a:gd name="connsiteX1" fmla="*/ 30004 w 57150"/>
                <a:gd name="connsiteY1" fmla="*/ 79534 h 85725"/>
                <a:gd name="connsiteX2" fmla="*/ 26194 w 57150"/>
                <a:gd name="connsiteY2" fmla="*/ 67151 h 85725"/>
                <a:gd name="connsiteX3" fmla="*/ 7144 w 57150"/>
                <a:gd name="connsiteY3" fmla="*/ 43339 h 85725"/>
                <a:gd name="connsiteX4" fmla="*/ 7144 w 57150"/>
                <a:gd name="connsiteY4" fmla="*/ 43339 h 85725"/>
                <a:gd name="connsiteX5" fmla="*/ 7144 w 57150"/>
                <a:gd name="connsiteY5" fmla="*/ 43339 h 85725"/>
                <a:gd name="connsiteX6" fmla="*/ 26194 w 57150"/>
                <a:gd name="connsiteY6" fmla="*/ 19526 h 85725"/>
                <a:gd name="connsiteX7" fmla="*/ 30004 w 57150"/>
                <a:gd name="connsiteY7" fmla="*/ 7144 h 85725"/>
                <a:gd name="connsiteX8" fmla="*/ 33814 w 57150"/>
                <a:gd name="connsiteY8" fmla="*/ 19526 h 85725"/>
                <a:gd name="connsiteX9" fmla="*/ 52864 w 57150"/>
                <a:gd name="connsiteY9" fmla="*/ 43339 h 85725"/>
                <a:gd name="connsiteX10" fmla="*/ 52864 w 57150"/>
                <a:gd name="connsiteY10" fmla="*/ 43339 h 85725"/>
                <a:gd name="connsiteX11" fmla="*/ 52864 w 57150"/>
                <a:gd name="connsiteY11" fmla="*/ 43339 h 85725"/>
                <a:gd name="connsiteX12" fmla="*/ 33814 w 57150"/>
                <a:gd name="connsiteY12" fmla="*/ 67151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150" h="85725">
                  <a:moveTo>
                    <a:pt x="33814" y="67151"/>
                  </a:moveTo>
                  <a:lnTo>
                    <a:pt x="30004" y="79534"/>
                  </a:lnTo>
                  <a:lnTo>
                    <a:pt x="26194" y="67151"/>
                  </a:lnTo>
                  <a:cubicBezTo>
                    <a:pt x="23336" y="56674"/>
                    <a:pt x="16669" y="48101"/>
                    <a:pt x="7144" y="43339"/>
                  </a:cubicBezTo>
                  <a:lnTo>
                    <a:pt x="7144" y="43339"/>
                  </a:lnTo>
                  <a:lnTo>
                    <a:pt x="7144" y="43339"/>
                  </a:lnTo>
                  <a:cubicBezTo>
                    <a:pt x="16669" y="38576"/>
                    <a:pt x="23336" y="30004"/>
                    <a:pt x="26194" y="19526"/>
                  </a:cubicBezTo>
                  <a:lnTo>
                    <a:pt x="30004" y="7144"/>
                  </a:lnTo>
                  <a:lnTo>
                    <a:pt x="33814" y="19526"/>
                  </a:lnTo>
                  <a:cubicBezTo>
                    <a:pt x="36671" y="30004"/>
                    <a:pt x="43339" y="38576"/>
                    <a:pt x="52864" y="43339"/>
                  </a:cubicBezTo>
                  <a:lnTo>
                    <a:pt x="52864" y="43339"/>
                  </a:lnTo>
                  <a:lnTo>
                    <a:pt x="52864" y="43339"/>
                  </a:lnTo>
                  <a:cubicBezTo>
                    <a:pt x="44291" y="48101"/>
                    <a:pt x="36671" y="56674"/>
                    <a:pt x="33814" y="6715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8" name="任意多边形: 形状 267">
              <a:extLst>
                <a:ext uri="{FF2B5EF4-FFF2-40B4-BE49-F238E27FC236}">
                  <a16:creationId xmlns:a16="http://schemas.microsoft.com/office/drawing/2014/main" id="{C2C4DF64-B87C-44E8-8700-1BC2FFB0FEC4}"/>
                </a:ext>
              </a:extLst>
            </p:cNvPr>
            <p:cNvSpPr/>
            <p:nvPr/>
          </p:nvSpPr>
          <p:spPr>
            <a:xfrm>
              <a:off x="7289959" y="3429476"/>
              <a:ext cx="47625" cy="66675"/>
            </a:xfrm>
            <a:custGeom>
              <a:avLst/>
              <a:gdLst>
                <a:gd name="connsiteX0" fmla="*/ 27146 w 47625"/>
                <a:gd name="connsiteY0" fmla="*/ 52864 h 66675"/>
                <a:gd name="connsiteX1" fmla="*/ 24289 w 47625"/>
                <a:gd name="connsiteY1" fmla="*/ 62389 h 66675"/>
                <a:gd name="connsiteX2" fmla="*/ 21431 w 47625"/>
                <a:gd name="connsiteY2" fmla="*/ 52864 h 66675"/>
                <a:gd name="connsiteX3" fmla="*/ 7144 w 47625"/>
                <a:gd name="connsiteY3" fmla="*/ 34766 h 66675"/>
                <a:gd name="connsiteX4" fmla="*/ 7144 w 47625"/>
                <a:gd name="connsiteY4" fmla="*/ 34766 h 66675"/>
                <a:gd name="connsiteX5" fmla="*/ 7144 w 47625"/>
                <a:gd name="connsiteY5" fmla="*/ 34766 h 66675"/>
                <a:gd name="connsiteX6" fmla="*/ 21431 w 47625"/>
                <a:gd name="connsiteY6" fmla="*/ 16669 h 66675"/>
                <a:gd name="connsiteX7" fmla="*/ 24289 w 47625"/>
                <a:gd name="connsiteY7" fmla="*/ 7144 h 66675"/>
                <a:gd name="connsiteX8" fmla="*/ 27146 w 47625"/>
                <a:gd name="connsiteY8" fmla="*/ 16669 h 66675"/>
                <a:gd name="connsiteX9" fmla="*/ 41434 w 47625"/>
                <a:gd name="connsiteY9" fmla="*/ 34766 h 66675"/>
                <a:gd name="connsiteX10" fmla="*/ 41434 w 47625"/>
                <a:gd name="connsiteY10" fmla="*/ 34766 h 66675"/>
                <a:gd name="connsiteX11" fmla="*/ 41434 w 47625"/>
                <a:gd name="connsiteY11" fmla="*/ 34766 h 66675"/>
                <a:gd name="connsiteX12" fmla="*/ 27146 w 47625"/>
                <a:gd name="connsiteY12" fmla="*/ 5286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7625" h="66675">
                  <a:moveTo>
                    <a:pt x="27146" y="52864"/>
                  </a:moveTo>
                  <a:lnTo>
                    <a:pt x="24289" y="62389"/>
                  </a:lnTo>
                  <a:lnTo>
                    <a:pt x="21431" y="52864"/>
                  </a:lnTo>
                  <a:cubicBezTo>
                    <a:pt x="19526" y="45244"/>
                    <a:pt x="13811" y="38576"/>
                    <a:pt x="7144" y="34766"/>
                  </a:cubicBezTo>
                  <a:lnTo>
                    <a:pt x="7144" y="34766"/>
                  </a:lnTo>
                  <a:lnTo>
                    <a:pt x="7144" y="34766"/>
                  </a:lnTo>
                  <a:cubicBezTo>
                    <a:pt x="14764" y="30956"/>
                    <a:pt x="19526" y="24289"/>
                    <a:pt x="21431" y="16669"/>
                  </a:cubicBezTo>
                  <a:lnTo>
                    <a:pt x="24289" y="7144"/>
                  </a:lnTo>
                  <a:lnTo>
                    <a:pt x="27146" y="16669"/>
                  </a:lnTo>
                  <a:cubicBezTo>
                    <a:pt x="29051" y="24289"/>
                    <a:pt x="34766" y="30956"/>
                    <a:pt x="41434" y="34766"/>
                  </a:cubicBezTo>
                  <a:lnTo>
                    <a:pt x="41434" y="34766"/>
                  </a:lnTo>
                  <a:lnTo>
                    <a:pt x="41434" y="34766"/>
                  </a:lnTo>
                  <a:cubicBezTo>
                    <a:pt x="34766" y="38576"/>
                    <a:pt x="29051" y="45244"/>
                    <a:pt x="27146" y="5286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9" name="任意多边形: 形状 268">
              <a:extLst>
                <a:ext uri="{FF2B5EF4-FFF2-40B4-BE49-F238E27FC236}">
                  <a16:creationId xmlns:a16="http://schemas.microsoft.com/office/drawing/2014/main" id="{67E47918-3833-4823-842D-5B09D01605DC}"/>
                </a:ext>
              </a:extLst>
            </p:cNvPr>
            <p:cNvSpPr/>
            <p:nvPr/>
          </p:nvSpPr>
          <p:spPr>
            <a:xfrm>
              <a:off x="5974556" y="3282791"/>
              <a:ext cx="47625" cy="66675"/>
            </a:xfrm>
            <a:custGeom>
              <a:avLst/>
              <a:gdLst>
                <a:gd name="connsiteX0" fmla="*/ 28099 w 47625"/>
                <a:gd name="connsiteY0" fmla="*/ 52864 h 66675"/>
                <a:gd name="connsiteX1" fmla="*/ 25241 w 47625"/>
                <a:gd name="connsiteY1" fmla="*/ 62389 h 66675"/>
                <a:gd name="connsiteX2" fmla="*/ 22384 w 47625"/>
                <a:gd name="connsiteY2" fmla="*/ 52864 h 66675"/>
                <a:gd name="connsiteX3" fmla="*/ 7144 w 47625"/>
                <a:gd name="connsiteY3" fmla="*/ 34766 h 66675"/>
                <a:gd name="connsiteX4" fmla="*/ 7144 w 47625"/>
                <a:gd name="connsiteY4" fmla="*/ 34766 h 66675"/>
                <a:gd name="connsiteX5" fmla="*/ 7144 w 47625"/>
                <a:gd name="connsiteY5" fmla="*/ 34766 h 66675"/>
                <a:gd name="connsiteX6" fmla="*/ 22384 w 47625"/>
                <a:gd name="connsiteY6" fmla="*/ 16669 h 66675"/>
                <a:gd name="connsiteX7" fmla="*/ 25241 w 47625"/>
                <a:gd name="connsiteY7" fmla="*/ 7144 h 66675"/>
                <a:gd name="connsiteX8" fmla="*/ 28099 w 47625"/>
                <a:gd name="connsiteY8" fmla="*/ 16669 h 66675"/>
                <a:gd name="connsiteX9" fmla="*/ 43339 w 47625"/>
                <a:gd name="connsiteY9" fmla="*/ 34766 h 66675"/>
                <a:gd name="connsiteX10" fmla="*/ 43339 w 47625"/>
                <a:gd name="connsiteY10" fmla="*/ 34766 h 66675"/>
                <a:gd name="connsiteX11" fmla="*/ 43339 w 47625"/>
                <a:gd name="connsiteY11" fmla="*/ 34766 h 66675"/>
                <a:gd name="connsiteX12" fmla="*/ 28099 w 47625"/>
                <a:gd name="connsiteY12" fmla="*/ 5286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7625" h="66675">
                  <a:moveTo>
                    <a:pt x="28099" y="52864"/>
                  </a:moveTo>
                  <a:lnTo>
                    <a:pt x="25241" y="62389"/>
                  </a:lnTo>
                  <a:lnTo>
                    <a:pt x="22384" y="52864"/>
                  </a:lnTo>
                  <a:cubicBezTo>
                    <a:pt x="20479" y="45244"/>
                    <a:pt x="14764" y="38576"/>
                    <a:pt x="7144" y="34766"/>
                  </a:cubicBezTo>
                  <a:lnTo>
                    <a:pt x="7144" y="34766"/>
                  </a:lnTo>
                  <a:lnTo>
                    <a:pt x="7144" y="34766"/>
                  </a:lnTo>
                  <a:cubicBezTo>
                    <a:pt x="14764" y="30956"/>
                    <a:pt x="19526" y="24289"/>
                    <a:pt x="22384" y="16669"/>
                  </a:cubicBezTo>
                  <a:lnTo>
                    <a:pt x="25241" y="7144"/>
                  </a:lnTo>
                  <a:lnTo>
                    <a:pt x="28099" y="16669"/>
                  </a:lnTo>
                  <a:cubicBezTo>
                    <a:pt x="30004" y="24289"/>
                    <a:pt x="35719" y="30956"/>
                    <a:pt x="43339" y="34766"/>
                  </a:cubicBezTo>
                  <a:lnTo>
                    <a:pt x="43339" y="34766"/>
                  </a:lnTo>
                  <a:lnTo>
                    <a:pt x="43339" y="34766"/>
                  </a:lnTo>
                  <a:cubicBezTo>
                    <a:pt x="35719" y="38576"/>
                    <a:pt x="30004" y="45244"/>
                    <a:pt x="28099" y="52864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0" name="任意多边形: 形状 269">
              <a:extLst>
                <a:ext uri="{FF2B5EF4-FFF2-40B4-BE49-F238E27FC236}">
                  <a16:creationId xmlns:a16="http://schemas.microsoft.com/office/drawing/2014/main" id="{9A868080-5C64-48E7-A522-A62A4D0848AB}"/>
                </a:ext>
              </a:extLst>
            </p:cNvPr>
            <p:cNvSpPr/>
            <p:nvPr/>
          </p:nvSpPr>
          <p:spPr>
            <a:xfrm>
              <a:off x="6004084" y="3330416"/>
              <a:ext cx="38100" cy="57150"/>
            </a:xfrm>
            <a:custGeom>
              <a:avLst/>
              <a:gdLst>
                <a:gd name="connsiteX0" fmla="*/ 22384 w 38100"/>
                <a:gd name="connsiteY0" fmla="*/ 43339 h 57150"/>
                <a:gd name="connsiteX1" fmla="*/ 20479 w 38100"/>
                <a:gd name="connsiteY1" fmla="*/ 50959 h 57150"/>
                <a:gd name="connsiteX2" fmla="*/ 18574 w 38100"/>
                <a:gd name="connsiteY2" fmla="*/ 43339 h 57150"/>
                <a:gd name="connsiteX3" fmla="*/ 7144 w 38100"/>
                <a:gd name="connsiteY3" fmla="*/ 29051 h 57150"/>
                <a:gd name="connsiteX4" fmla="*/ 7144 w 38100"/>
                <a:gd name="connsiteY4" fmla="*/ 29051 h 57150"/>
                <a:gd name="connsiteX5" fmla="*/ 7144 w 38100"/>
                <a:gd name="connsiteY5" fmla="*/ 29051 h 57150"/>
                <a:gd name="connsiteX6" fmla="*/ 18574 w 38100"/>
                <a:gd name="connsiteY6" fmla="*/ 14764 h 57150"/>
                <a:gd name="connsiteX7" fmla="*/ 20479 w 38100"/>
                <a:gd name="connsiteY7" fmla="*/ 7144 h 57150"/>
                <a:gd name="connsiteX8" fmla="*/ 22384 w 38100"/>
                <a:gd name="connsiteY8" fmla="*/ 14764 h 57150"/>
                <a:gd name="connsiteX9" fmla="*/ 33814 w 38100"/>
                <a:gd name="connsiteY9" fmla="*/ 29051 h 57150"/>
                <a:gd name="connsiteX10" fmla="*/ 33814 w 38100"/>
                <a:gd name="connsiteY10" fmla="*/ 29051 h 57150"/>
                <a:gd name="connsiteX11" fmla="*/ 33814 w 38100"/>
                <a:gd name="connsiteY11" fmla="*/ 29051 h 57150"/>
                <a:gd name="connsiteX12" fmla="*/ 22384 w 38100"/>
                <a:gd name="connsiteY12" fmla="*/ 43339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100" h="57150">
                  <a:moveTo>
                    <a:pt x="22384" y="43339"/>
                  </a:moveTo>
                  <a:lnTo>
                    <a:pt x="20479" y="50959"/>
                  </a:lnTo>
                  <a:lnTo>
                    <a:pt x="18574" y="43339"/>
                  </a:lnTo>
                  <a:cubicBezTo>
                    <a:pt x="16669" y="37624"/>
                    <a:pt x="12859" y="31909"/>
                    <a:pt x="7144" y="29051"/>
                  </a:cubicBezTo>
                  <a:lnTo>
                    <a:pt x="7144" y="29051"/>
                  </a:lnTo>
                  <a:lnTo>
                    <a:pt x="7144" y="29051"/>
                  </a:lnTo>
                  <a:cubicBezTo>
                    <a:pt x="12859" y="26194"/>
                    <a:pt x="16669" y="20479"/>
                    <a:pt x="18574" y="14764"/>
                  </a:cubicBezTo>
                  <a:lnTo>
                    <a:pt x="20479" y="7144"/>
                  </a:lnTo>
                  <a:lnTo>
                    <a:pt x="22384" y="14764"/>
                  </a:lnTo>
                  <a:cubicBezTo>
                    <a:pt x="24289" y="20479"/>
                    <a:pt x="28099" y="26194"/>
                    <a:pt x="33814" y="29051"/>
                  </a:cubicBezTo>
                  <a:lnTo>
                    <a:pt x="33814" y="29051"/>
                  </a:lnTo>
                  <a:lnTo>
                    <a:pt x="33814" y="29051"/>
                  </a:lnTo>
                  <a:cubicBezTo>
                    <a:pt x="29051" y="31909"/>
                    <a:pt x="24289" y="37624"/>
                    <a:pt x="22384" y="43339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1" name="任意多边形: 形状 270">
              <a:extLst>
                <a:ext uri="{FF2B5EF4-FFF2-40B4-BE49-F238E27FC236}">
                  <a16:creationId xmlns:a16="http://schemas.microsoft.com/office/drawing/2014/main" id="{2E7A873F-9DA7-4F2C-BE8E-50F66A145183}"/>
                </a:ext>
              </a:extLst>
            </p:cNvPr>
            <p:cNvSpPr/>
            <p:nvPr/>
          </p:nvSpPr>
          <p:spPr>
            <a:xfrm>
              <a:off x="4299697" y="3002755"/>
              <a:ext cx="47625" cy="66675"/>
            </a:xfrm>
            <a:custGeom>
              <a:avLst/>
              <a:gdLst>
                <a:gd name="connsiteX0" fmla="*/ 28099 w 47625"/>
                <a:gd name="connsiteY0" fmla="*/ 52864 h 66675"/>
                <a:gd name="connsiteX1" fmla="*/ 25241 w 47625"/>
                <a:gd name="connsiteY1" fmla="*/ 62389 h 66675"/>
                <a:gd name="connsiteX2" fmla="*/ 22384 w 47625"/>
                <a:gd name="connsiteY2" fmla="*/ 52864 h 66675"/>
                <a:gd name="connsiteX3" fmla="*/ 7144 w 47625"/>
                <a:gd name="connsiteY3" fmla="*/ 34766 h 66675"/>
                <a:gd name="connsiteX4" fmla="*/ 7144 w 47625"/>
                <a:gd name="connsiteY4" fmla="*/ 34766 h 66675"/>
                <a:gd name="connsiteX5" fmla="*/ 7144 w 47625"/>
                <a:gd name="connsiteY5" fmla="*/ 34766 h 66675"/>
                <a:gd name="connsiteX6" fmla="*/ 22384 w 47625"/>
                <a:gd name="connsiteY6" fmla="*/ 16669 h 66675"/>
                <a:gd name="connsiteX7" fmla="*/ 25241 w 47625"/>
                <a:gd name="connsiteY7" fmla="*/ 7144 h 66675"/>
                <a:gd name="connsiteX8" fmla="*/ 28099 w 47625"/>
                <a:gd name="connsiteY8" fmla="*/ 16669 h 66675"/>
                <a:gd name="connsiteX9" fmla="*/ 43339 w 47625"/>
                <a:gd name="connsiteY9" fmla="*/ 34766 h 66675"/>
                <a:gd name="connsiteX10" fmla="*/ 43339 w 47625"/>
                <a:gd name="connsiteY10" fmla="*/ 34766 h 66675"/>
                <a:gd name="connsiteX11" fmla="*/ 43339 w 47625"/>
                <a:gd name="connsiteY11" fmla="*/ 34766 h 66675"/>
                <a:gd name="connsiteX12" fmla="*/ 28099 w 47625"/>
                <a:gd name="connsiteY12" fmla="*/ 5286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7625" h="66675">
                  <a:moveTo>
                    <a:pt x="28099" y="52864"/>
                  </a:moveTo>
                  <a:lnTo>
                    <a:pt x="25241" y="62389"/>
                  </a:lnTo>
                  <a:lnTo>
                    <a:pt x="22384" y="52864"/>
                  </a:lnTo>
                  <a:cubicBezTo>
                    <a:pt x="20479" y="45244"/>
                    <a:pt x="14764" y="38576"/>
                    <a:pt x="7144" y="34766"/>
                  </a:cubicBezTo>
                  <a:lnTo>
                    <a:pt x="7144" y="34766"/>
                  </a:lnTo>
                  <a:lnTo>
                    <a:pt x="7144" y="34766"/>
                  </a:lnTo>
                  <a:cubicBezTo>
                    <a:pt x="14764" y="30956"/>
                    <a:pt x="19526" y="24289"/>
                    <a:pt x="22384" y="16669"/>
                  </a:cubicBezTo>
                  <a:lnTo>
                    <a:pt x="25241" y="7144"/>
                  </a:lnTo>
                  <a:lnTo>
                    <a:pt x="28099" y="16669"/>
                  </a:lnTo>
                  <a:cubicBezTo>
                    <a:pt x="30004" y="24289"/>
                    <a:pt x="35719" y="30956"/>
                    <a:pt x="43339" y="34766"/>
                  </a:cubicBezTo>
                  <a:lnTo>
                    <a:pt x="43339" y="34766"/>
                  </a:lnTo>
                  <a:lnTo>
                    <a:pt x="43339" y="34766"/>
                  </a:lnTo>
                  <a:cubicBezTo>
                    <a:pt x="35719" y="38576"/>
                    <a:pt x="30004" y="45244"/>
                    <a:pt x="28099" y="52864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2" name="任意多边形: 形状 271">
              <a:extLst>
                <a:ext uri="{FF2B5EF4-FFF2-40B4-BE49-F238E27FC236}">
                  <a16:creationId xmlns:a16="http://schemas.microsoft.com/office/drawing/2014/main" id="{E3056F91-4A36-47D3-A943-9173C7AA2D3F}"/>
                </a:ext>
              </a:extLst>
            </p:cNvPr>
            <p:cNvSpPr/>
            <p:nvPr/>
          </p:nvSpPr>
          <p:spPr>
            <a:xfrm>
              <a:off x="4370109" y="3043713"/>
              <a:ext cx="31506" cy="44109"/>
            </a:xfrm>
            <a:custGeom>
              <a:avLst/>
              <a:gdLst>
                <a:gd name="connsiteX0" fmla="*/ 28099 w 47625"/>
                <a:gd name="connsiteY0" fmla="*/ 52864 h 66675"/>
                <a:gd name="connsiteX1" fmla="*/ 25241 w 47625"/>
                <a:gd name="connsiteY1" fmla="*/ 62389 h 66675"/>
                <a:gd name="connsiteX2" fmla="*/ 22384 w 47625"/>
                <a:gd name="connsiteY2" fmla="*/ 52864 h 66675"/>
                <a:gd name="connsiteX3" fmla="*/ 7144 w 47625"/>
                <a:gd name="connsiteY3" fmla="*/ 34766 h 66675"/>
                <a:gd name="connsiteX4" fmla="*/ 7144 w 47625"/>
                <a:gd name="connsiteY4" fmla="*/ 34766 h 66675"/>
                <a:gd name="connsiteX5" fmla="*/ 7144 w 47625"/>
                <a:gd name="connsiteY5" fmla="*/ 34766 h 66675"/>
                <a:gd name="connsiteX6" fmla="*/ 22384 w 47625"/>
                <a:gd name="connsiteY6" fmla="*/ 16669 h 66675"/>
                <a:gd name="connsiteX7" fmla="*/ 25241 w 47625"/>
                <a:gd name="connsiteY7" fmla="*/ 7144 h 66675"/>
                <a:gd name="connsiteX8" fmla="*/ 28099 w 47625"/>
                <a:gd name="connsiteY8" fmla="*/ 16669 h 66675"/>
                <a:gd name="connsiteX9" fmla="*/ 43339 w 47625"/>
                <a:gd name="connsiteY9" fmla="*/ 34766 h 66675"/>
                <a:gd name="connsiteX10" fmla="*/ 43339 w 47625"/>
                <a:gd name="connsiteY10" fmla="*/ 34766 h 66675"/>
                <a:gd name="connsiteX11" fmla="*/ 43339 w 47625"/>
                <a:gd name="connsiteY11" fmla="*/ 34766 h 66675"/>
                <a:gd name="connsiteX12" fmla="*/ 28099 w 47625"/>
                <a:gd name="connsiteY12" fmla="*/ 5286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7625" h="66675">
                  <a:moveTo>
                    <a:pt x="28099" y="52864"/>
                  </a:moveTo>
                  <a:lnTo>
                    <a:pt x="25241" y="62389"/>
                  </a:lnTo>
                  <a:lnTo>
                    <a:pt x="22384" y="52864"/>
                  </a:lnTo>
                  <a:cubicBezTo>
                    <a:pt x="20479" y="45244"/>
                    <a:pt x="14764" y="38576"/>
                    <a:pt x="7144" y="34766"/>
                  </a:cubicBezTo>
                  <a:lnTo>
                    <a:pt x="7144" y="34766"/>
                  </a:lnTo>
                  <a:lnTo>
                    <a:pt x="7144" y="34766"/>
                  </a:lnTo>
                  <a:cubicBezTo>
                    <a:pt x="14764" y="30956"/>
                    <a:pt x="19526" y="24289"/>
                    <a:pt x="22384" y="16669"/>
                  </a:cubicBezTo>
                  <a:lnTo>
                    <a:pt x="25241" y="7144"/>
                  </a:lnTo>
                  <a:lnTo>
                    <a:pt x="28099" y="16669"/>
                  </a:lnTo>
                  <a:cubicBezTo>
                    <a:pt x="30004" y="24289"/>
                    <a:pt x="35719" y="30956"/>
                    <a:pt x="43339" y="34766"/>
                  </a:cubicBezTo>
                  <a:lnTo>
                    <a:pt x="43339" y="34766"/>
                  </a:lnTo>
                  <a:lnTo>
                    <a:pt x="43339" y="34766"/>
                  </a:lnTo>
                  <a:cubicBezTo>
                    <a:pt x="35719" y="38576"/>
                    <a:pt x="30004" y="45244"/>
                    <a:pt x="28099" y="52864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085494" y="3927138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b="1" smtClean="0">
                <a:solidFill>
                  <a:schemeClr val="accent2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085494" y="3630867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1">
                <a:solidFill>
                  <a:schemeClr val="accent2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085494" y="1862757"/>
            <a:ext cx="4470400" cy="1332948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" name="任意多边形: 形状 303">
            <a:extLst>
              <a:ext uri="{FF2B5EF4-FFF2-40B4-BE49-F238E27FC236}">
                <a16:creationId xmlns:a16="http://schemas.microsoft.com/office/drawing/2014/main" id="{79C95C24-E70A-4963-9404-FBF1E662458F}"/>
              </a:ext>
            </a:extLst>
          </p:cNvPr>
          <p:cNvSpPr/>
          <p:nvPr userDrawn="1"/>
        </p:nvSpPr>
        <p:spPr>
          <a:xfrm>
            <a:off x="-1" y="469702"/>
            <a:ext cx="1654629" cy="3309258"/>
          </a:xfrm>
          <a:custGeom>
            <a:avLst/>
            <a:gdLst>
              <a:gd name="connsiteX0" fmla="*/ 0 w 1161612"/>
              <a:gd name="connsiteY0" fmla="*/ 0 h 2323224"/>
              <a:gd name="connsiteX1" fmla="*/ 1161612 w 1161612"/>
              <a:gd name="connsiteY1" fmla="*/ 1161612 h 2323224"/>
              <a:gd name="connsiteX2" fmla="*/ 0 w 1161612"/>
              <a:gd name="connsiteY2" fmla="*/ 2323224 h 2323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61612" h="2323224">
                <a:moveTo>
                  <a:pt x="0" y="0"/>
                </a:moveTo>
                <a:cubicBezTo>
                  <a:pt x="641541" y="0"/>
                  <a:pt x="1161612" y="520071"/>
                  <a:pt x="1161612" y="1161612"/>
                </a:cubicBezTo>
                <a:cubicBezTo>
                  <a:pt x="1161612" y="1803153"/>
                  <a:pt x="641541" y="2323224"/>
                  <a:pt x="0" y="2323224"/>
                </a:cubicBezTo>
                <a:close/>
              </a:path>
            </a:pathLst>
          </a:custGeom>
          <a:solidFill>
            <a:srgbClr val="F1F4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3" name="Freeform 301_1">
            <a:extLst>
              <a:ext uri="{FF2B5EF4-FFF2-40B4-BE49-F238E27FC236}">
                <a16:creationId xmlns:a16="http://schemas.microsoft.com/office/drawing/2014/main" id="{4558FACA-7F12-40AC-BD90-879072271DB8}"/>
              </a:ext>
            </a:extLst>
          </p:cNvPr>
          <p:cNvSpPr/>
          <p:nvPr userDrawn="1"/>
        </p:nvSpPr>
        <p:spPr>
          <a:xfrm>
            <a:off x="4191000" y="5077"/>
            <a:ext cx="8016311" cy="3437551"/>
          </a:xfrm>
          <a:custGeom>
            <a:avLst/>
            <a:gdLst>
              <a:gd name="connsiteX0" fmla="*/ 0 w 3440415"/>
              <a:gd name="connsiteY0" fmla="*/ 0 h 3390900"/>
              <a:gd name="connsiteX1" fmla="*/ 3440415 w 3440415"/>
              <a:gd name="connsiteY1" fmla="*/ 0 h 3390900"/>
              <a:gd name="connsiteX2" fmla="*/ 3440415 w 3440415"/>
              <a:gd name="connsiteY2" fmla="*/ 3390900 h 3390900"/>
              <a:gd name="connsiteX3" fmla="*/ 3193 w 3440415"/>
              <a:gd name="connsiteY3" fmla="*/ 126310 h 3390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40415" h="3390900">
                <a:moveTo>
                  <a:pt x="0" y="0"/>
                </a:moveTo>
                <a:lnTo>
                  <a:pt x="3440415" y="0"/>
                </a:lnTo>
                <a:lnTo>
                  <a:pt x="3440415" y="3390900"/>
                </a:lnTo>
                <a:cubicBezTo>
                  <a:pt x="1599017" y="3390900"/>
                  <a:pt x="95373" y="1944800"/>
                  <a:pt x="3193" y="126310"/>
                </a:cubicBezTo>
                <a:close/>
              </a:path>
            </a:pathLst>
          </a:custGeom>
          <a:solidFill>
            <a:srgbClr val="F1F4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2" name="任意多边形: 形状 301">
            <a:extLst>
              <a:ext uri="{FF2B5EF4-FFF2-40B4-BE49-F238E27FC236}">
                <a16:creationId xmlns:a16="http://schemas.microsoft.com/office/drawing/2014/main" id="{C18BB513-F0F3-42A8-892C-C43F93CC7E2D}"/>
              </a:ext>
            </a:extLst>
          </p:cNvPr>
          <p:cNvSpPr/>
          <p:nvPr userDrawn="1"/>
        </p:nvSpPr>
        <p:spPr>
          <a:xfrm>
            <a:off x="5842769" y="5077"/>
            <a:ext cx="6364542" cy="4716052"/>
          </a:xfrm>
          <a:custGeom>
            <a:avLst/>
            <a:gdLst>
              <a:gd name="connsiteX0" fmla="*/ 0 w 3440415"/>
              <a:gd name="connsiteY0" fmla="*/ 0 h 3390900"/>
              <a:gd name="connsiteX1" fmla="*/ 3440415 w 3440415"/>
              <a:gd name="connsiteY1" fmla="*/ 0 h 3390900"/>
              <a:gd name="connsiteX2" fmla="*/ 3440415 w 3440415"/>
              <a:gd name="connsiteY2" fmla="*/ 3390900 h 3390900"/>
              <a:gd name="connsiteX3" fmla="*/ 3193 w 3440415"/>
              <a:gd name="connsiteY3" fmla="*/ 126310 h 3390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40415" h="3390900">
                <a:moveTo>
                  <a:pt x="0" y="0"/>
                </a:moveTo>
                <a:lnTo>
                  <a:pt x="3440415" y="0"/>
                </a:lnTo>
                <a:lnTo>
                  <a:pt x="3440415" y="3390900"/>
                </a:lnTo>
                <a:cubicBezTo>
                  <a:pt x="1599017" y="3390900"/>
                  <a:pt x="95373" y="1944800"/>
                  <a:pt x="3193" y="12631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96657" y="4524100"/>
            <a:ext cx="5223383" cy="558799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96657" y="1130300"/>
            <a:ext cx="5223383" cy="3371712"/>
          </a:xfrm>
        </p:spPr>
        <p:txBody>
          <a:bodyPr anchor="b" anchorCtr="0">
            <a:norm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99395" y="5828039"/>
            <a:ext cx="301950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732901" y="5828039"/>
            <a:ext cx="2187139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grpSp>
        <p:nvGrpSpPr>
          <p:cNvPr id="9968" name="组合 9967">
            <a:extLst>
              <a:ext uri="{FF2B5EF4-FFF2-40B4-BE49-F238E27FC236}">
                <a16:creationId xmlns:a16="http://schemas.microsoft.com/office/drawing/2014/main" id="{5E710BF4-B93B-432F-8B67-840A9FA1D255}"/>
              </a:ext>
            </a:extLst>
          </p:cNvPr>
          <p:cNvGrpSpPr/>
          <p:nvPr userDrawn="1"/>
        </p:nvGrpSpPr>
        <p:grpSpPr>
          <a:xfrm>
            <a:off x="8550784" y="1552896"/>
            <a:ext cx="2944558" cy="3673318"/>
            <a:chOff x="8876478" y="1692941"/>
            <a:chExt cx="2348532" cy="2929779"/>
          </a:xfrm>
        </p:grpSpPr>
        <p:grpSp>
          <p:nvGrpSpPr>
            <p:cNvPr id="9967" name="组合 9966">
              <a:extLst>
                <a:ext uri="{FF2B5EF4-FFF2-40B4-BE49-F238E27FC236}">
                  <a16:creationId xmlns:a16="http://schemas.microsoft.com/office/drawing/2014/main" id="{77F66DC8-1046-4E46-BB4F-1BCB022C5954}"/>
                </a:ext>
              </a:extLst>
            </p:cNvPr>
            <p:cNvGrpSpPr/>
            <p:nvPr userDrawn="1"/>
          </p:nvGrpSpPr>
          <p:grpSpPr>
            <a:xfrm>
              <a:off x="8876478" y="1692941"/>
              <a:ext cx="1401185" cy="1999402"/>
              <a:chOff x="7825308" y="991357"/>
              <a:chExt cx="1915276" cy="2732978"/>
            </a:xfrm>
          </p:grpSpPr>
          <p:sp>
            <p:nvSpPr>
              <p:cNvPr id="3330" name="Freeform 7">
                <a:extLst>
                  <a:ext uri="{FF2B5EF4-FFF2-40B4-BE49-F238E27FC236}">
                    <a16:creationId xmlns:a16="http://schemas.microsoft.com/office/drawing/2014/main" id="{C72F4660-E1F9-4D07-8695-2022F6BCF6E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9563555" y="1928763"/>
                <a:ext cx="123077" cy="1795571"/>
              </a:xfrm>
              <a:custGeom>
                <a:avLst/>
                <a:gdLst>
                  <a:gd name="T0" fmla="*/ 0 w 73"/>
                  <a:gd name="T1" fmla="*/ 0 h 1065"/>
                  <a:gd name="T2" fmla="*/ 28 w 73"/>
                  <a:gd name="T3" fmla="*/ 1065 h 1065"/>
                  <a:gd name="T4" fmla="*/ 73 w 73"/>
                  <a:gd name="T5" fmla="*/ 1065 h 1065"/>
                  <a:gd name="T6" fmla="*/ 48 w 73"/>
                  <a:gd name="T7" fmla="*/ 0 h 1065"/>
                  <a:gd name="T8" fmla="*/ 0 w 73"/>
                  <a:gd name="T9" fmla="*/ 0 h 10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1065">
                    <a:moveTo>
                      <a:pt x="0" y="0"/>
                    </a:moveTo>
                    <a:lnTo>
                      <a:pt x="28" y="1065"/>
                    </a:lnTo>
                    <a:lnTo>
                      <a:pt x="73" y="1065"/>
                    </a:lnTo>
                    <a:lnTo>
                      <a:pt x="48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848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31" name="Freeform 8">
                <a:extLst>
                  <a:ext uri="{FF2B5EF4-FFF2-40B4-BE49-F238E27FC236}">
                    <a16:creationId xmlns:a16="http://schemas.microsoft.com/office/drawing/2014/main" id="{CF6A76D9-4478-480D-8E89-05C0E6841ED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329416" y="1923706"/>
                <a:ext cx="241096" cy="1800629"/>
              </a:xfrm>
              <a:custGeom>
                <a:avLst/>
                <a:gdLst>
                  <a:gd name="T0" fmla="*/ 0 w 143"/>
                  <a:gd name="T1" fmla="*/ 6 h 1068"/>
                  <a:gd name="T2" fmla="*/ 99 w 143"/>
                  <a:gd name="T3" fmla="*/ 1068 h 1068"/>
                  <a:gd name="T4" fmla="*/ 143 w 143"/>
                  <a:gd name="T5" fmla="*/ 1068 h 1068"/>
                  <a:gd name="T6" fmla="*/ 44 w 143"/>
                  <a:gd name="T7" fmla="*/ 0 h 1068"/>
                  <a:gd name="T8" fmla="*/ 0 w 143"/>
                  <a:gd name="T9" fmla="*/ 6 h 10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3" h="1068">
                    <a:moveTo>
                      <a:pt x="0" y="6"/>
                    </a:moveTo>
                    <a:lnTo>
                      <a:pt x="99" y="1068"/>
                    </a:lnTo>
                    <a:lnTo>
                      <a:pt x="143" y="1068"/>
                    </a:lnTo>
                    <a:lnTo>
                      <a:pt x="44" y="0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1848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32" name="Freeform 9">
                <a:extLst>
                  <a:ext uri="{FF2B5EF4-FFF2-40B4-BE49-F238E27FC236}">
                    <a16:creationId xmlns:a16="http://schemas.microsoft.com/office/drawing/2014/main" id="{47A7EC21-6502-430F-A9C3-3924D6FF73E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076519" y="991357"/>
                <a:ext cx="1664065" cy="2201892"/>
              </a:xfrm>
              <a:custGeom>
                <a:avLst/>
                <a:gdLst>
                  <a:gd name="T0" fmla="*/ 0 w 987"/>
                  <a:gd name="T1" fmla="*/ 0 h 1306"/>
                  <a:gd name="T2" fmla="*/ 99 w 987"/>
                  <a:gd name="T3" fmla="*/ 1306 h 1306"/>
                  <a:gd name="T4" fmla="*/ 987 w 987"/>
                  <a:gd name="T5" fmla="*/ 1306 h 1306"/>
                  <a:gd name="T6" fmla="*/ 895 w 987"/>
                  <a:gd name="T7" fmla="*/ 0 h 1306"/>
                  <a:gd name="T8" fmla="*/ 0 w 987"/>
                  <a:gd name="T9" fmla="*/ 0 h 13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87" h="1306">
                    <a:moveTo>
                      <a:pt x="0" y="0"/>
                    </a:moveTo>
                    <a:lnTo>
                      <a:pt x="99" y="1306"/>
                    </a:lnTo>
                    <a:lnTo>
                      <a:pt x="987" y="1306"/>
                    </a:lnTo>
                    <a:lnTo>
                      <a:pt x="89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848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33" name="Freeform 10">
                <a:extLst>
                  <a:ext uri="{FF2B5EF4-FFF2-40B4-BE49-F238E27FC236}">
                    <a16:creationId xmlns:a16="http://schemas.microsoft.com/office/drawing/2014/main" id="{C9B5FF96-6774-4A96-AC9E-3EC3584AD31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833525" y="1923706"/>
                <a:ext cx="370916" cy="1800629"/>
              </a:xfrm>
              <a:custGeom>
                <a:avLst/>
                <a:gdLst>
                  <a:gd name="T0" fmla="*/ 0 w 220"/>
                  <a:gd name="T1" fmla="*/ 1068 h 1068"/>
                  <a:gd name="T2" fmla="*/ 45 w 220"/>
                  <a:gd name="T3" fmla="*/ 1068 h 1068"/>
                  <a:gd name="T4" fmla="*/ 220 w 220"/>
                  <a:gd name="T5" fmla="*/ 6 h 1068"/>
                  <a:gd name="T6" fmla="*/ 172 w 220"/>
                  <a:gd name="T7" fmla="*/ 0 h 1068"/>
                  <a:gd name="T8" fmla="*/ 0 w 220"/>
                  <a:gd name="T9" fmla="*/ 1068 h 10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" h="1068">
                    <a:moveTo>
                      <a:pt x="0" y="1068"/>
                    </a:moveTo>
                    <a:lnTo>
                      <a:pt x="45" y="1068"/>
                    </a:lnTo>
                    <a:lnTo>
                      <a:pt x="220" y="6"/>
                    </a:lnTo>
                    <a:lnTo>
                      <a:pt x="172" y="0"/>
                    </a:lnTo>
                    <a:lnTo>
                      <a:pt x="0" y="1068"/>
                    </a:lnTo>
                    <a:close/>
                  </a:path>
                </a:pathLst>
              </a:custGeom>
              <a:solidFill>
                <a:srgbClr val="DBDA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34" name="Freeform 11">
                <a:extLst>
                  <a:ext uri="{FF2B5EF4-FFF2-40B4-BE49-F238E27FC236}">
                    <a16:creationId xmlns:a16="http://schemas.microsoft.com/office/drawing/2014/main" id="{C8180AA4-DA35-4F8D-BEB9-3EB3E247DA9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857341" y="1923706"/>
                <a:ext cx="369231" cy="1800629"/>
              </a:xfrm>
              <a:custGeom>
                <a:avLst/>
                <a:gdLst>
                  <a:gd name="T0" fmla="*/ 0 w 219"/>
                  <a:gd name="T1" fmla="*/ 1068 h 1068"/>
                  <a:gd name="T2" fmla="*/ 48 w 219"/>
                  <a:gd name="T3" fmla="*/ 1068 h 1068"/>
                  <a:gd name="T4" fmla="*/ 219 w 219"/>
                  <a:gd name="T5" fmla="*/ 6 h 1068"/>
                  <a:gd name="T6" fmla="*/ 175 w 219"/>
                  <a:gd name="T7" fmla="*/ 0 h 1068"/>
                  <a:gd name="T8" fmla="*/ 0 w 219"/>
                  <a:gd name="T9" fmla="*/ 1068 h 10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9" h="1068">
                    <a:moveTo>
                      <a:pt x="0" y="1068"/>
                    </a:moveTo>
                    <a:lnTo>
                      <a:pt x="48" y="1068"/>
                    </a:lnTo>
                    <a:lnTo>
                      <a:pt x="219" y="6"/>
                    </a:lnTo>
                    <a:lnTo>
                      <a:pt x="175" y="0"/>
                    </a:lnTo>
                    <a:lnTo>
                      <a:pt x="0" y="1068"/>
                    </a:lnTo>
                    <a:close/>
                  </a:path>
                </a:pathLst>
              </a:custGeom>
              <a:solidFill>
                <a:srgbClr val="DBDA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35" name="Freeform 12">
                <a:extLst>
                  <a:ext uri="{FF2B5EF4-FFF2-40B4-BE49-F238E27FC236}">
                    <a16:creationId xmlns:a16="http://schemas.microsoft.com/office/drawing/2014/main" id="{E4C84F78-CF60-46CC-A0B6-D55D32F4BD0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825308" y="1168386"/>
                <a:ext cx="1615171" cy="1940566"/>
              </a:xfrm>
              <a:custGeom>
                <a:avLst/>
                <a:gdLst>
                  <a:gd name="T0" fmla="*/ 60 w 301"/>
                  <a:gd name="T1" fmla="*/ 0 h 362"/>
                  <a:gd name="T2" fmla="*/ 29 w 301"/>
                  <a:gd name="T3" fmla="*/ 27 h 362"/>
                  <a:gd name="T4" fmla="*/ 10 w 301"/>
                  <a:gd name="T5" fmla="*/ 209 h 362"/>
                  <a:gd name="T6" fmla="*/ 0 w 301"/>
                  <a:gd name="T7" fmla="*/ 362 h 362"/>
                  <a:gd name="T8" fmla="*/ 259 w 301"/>
                  <a:gd name="T9" fmla="*/ 362 h 362"/>
                  <a:gd name="T10" fmla="*/ 271 w 301"/>
                  <a:gd name="T11" fmla="*/ 223 h 362"/>
                  <a:gd name="T12" fmla="*/ 301 w 301"/>
                  <a:gd name="T13" fmla="*/ 0 h 362"/>
                  <a:gd name="T14" fmla="*/ 60 w 301"/>
                  <a:gd name="T15" fmla="*/ 0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1" h="362">
                    <a:moveTo>
                      <a:pt x="60" y="0"/>
                    </a:moveTo>
                    <a:cubicBezTo>
                      <a:pt x="50" y="2"/>
                      <a:pt x="36" y="16"/>
                      <a:pt x="29" y="27"/>
                    </a:cubicBezTo>
                    <a:cubicBezTo>
                      <a:pt x="6" y="66"/>
                      <a:pt x="1" y="144"/>
                      <a:pt x="10" y="209"/>
                    </a:cubicBezTo>
                    <a:cubicBezTo>
                      <a:pt x="20" y="280"/>
                      <a:pt x="9" y="330"/>
                      <a:pt x="0" y="362"/>
                    </a:cubicBezTo>
                    <a:cubicBezTo>
                      <a:pt x="259" y="362"/>
                      <a:pt x="259" y="362"/>
                      <a:pt x="259" y="362"/>
                    </a:cubicBezTo>
                    <a:cubicBezTo>
                      <a:pt x="268" y="336"/>
                      <a:pt x="281" y="292"/>
                      <a:pt x="271" y="223"/>
                    </a:cubicBezTo>
                    <a:cubicBezTo>
                      <a:pt x="258" y="125"/>
                      <a:pt x="275" y="49"/>
                      <a:pt x="301" y="0"/>
                    </a:cubicBezTo>
                    <a:lnTo>
                      <a:pt x="6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36" name="Freeform 13">
                <a:extLst>
                  <a:ext uri="{FF2B5EF4-FFF2-40B4-BE49-F238E27FC236}">
                    <a16:creationId xmlns:a16="http://schemas.microsoft.com/office/drawing/2014/main" id="{A39DCC0A-9148-4698-9990-1A42F660125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044485" y="991357"/>
                <a:ext cx="1448259" cy="177029"/>
              </a:xfrm>
              <a:custGeom>
                <a:avLst/>
                <a:gdLst>
                  <a:gd name="T0" fmla="*/ 0 w 859"/>
                  <a:gd name="T1" fmla="*/ 105 h 105"/>
                  <a:gd name="T2" fmla="*/ 847 w 859"/>
                  <a:gd name="T3" fmla="*/ 105 h 105"/>
                  <a:gd name="T4" fmla="*/ 859 w 859"/>
                  <a:gd name="T5" fmla="*/ 0 h 105"/>
                  <a:gd name="T6" fmla="*/ 10 w 859"/>
                  <a:gd name="T7" fmla="*/ 0 h 105"/>
                  <a:gd name="T8" fmla="*/ 0 w 859"/>
                  <a:gd name="T9" fmla="*/ 105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59" h="105">
                    <a:moveTo>
                      <a:pt x="0" y="105"/>
                    </a:moveTo>
                    <a:lnTo>
                      <a:pt x="847" y="105"/>
                    </a:lnTo>
                    <a:lnTo>
                      <a:pt x="859" y="0"/>
                    </a:lnTo>
                    <a:lnTo>
                      <a:pt x="10" y="0"/>
                    </a:lnTo>
                    <a:lnTo>
                      <a:pt x="0" y="105"/>
                    </a:lnTo>
                    <a:close/>
                  </a:path>
                </a:pathLst>
              </a:custGeom>
              <a:solidFill>
                <a:srgbClr val="D1DB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37" name="Rectangle 14">
                <a:extLst>
                  <a:ext uri="{FF2B5EF4-FFF2-40B4-BE49-F238E27FC236}">
                    <a16:creationId xmlns:a16="http://schemas.microsoft.com/office/drawing/2014/main" id="{3F3671BB-5DD9-491E-A0A4-214A7326584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8039427" y="1859639"/>
                <a:ext cx="80927" cy="150053"/>
              </a:xfrm>
              <a:prstGeom prst="rect">
                <a:avLst/>
              </a:prstGeom>
              <a:solidFill>
                <a:srgbClr val="DBDA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38" name="Freeform 15">
                <a:extLst>
                  <a:ext uri="{FF2B5EF4-FFF2-40B4-BE49-F238E27FC236}">
                    <a16:creationId xmlns:a16="http://schemas.microsoft.com/office/drawing/2014/main" id="{411D86E8-4036-4CA4-9BB8-16EB9136CF1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980418" y="1709586"/>
                <a:ext cx="198946" cy="182086"/>
              </a:xfrm>
              <a:custGeom>
                <a:avLst/>
                <a:gdLst>
                  <a:gd name="T0" fmla="*/ 0 w 118"/>
                  <a:gd name="T1" fmla="*/ 108 h 108"/>
                  <a:gd name="T2" fmla="*/ 118 w 118"/>
                  <a:gd name="T3" fmla="*/ 108 h 108"/>
                  <a:gd name="T4" fmla="*/ 57 w 118"/>
                  <a:gd name="T5" fmla="*/ 0 h 108"/>
                  <a:gd name="T6" fmla="*/ 0 w 118"/>
                  <a:gd name="T7" fmla="*/ 108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8" h="108">
                    <a:moveTo>
                      <a:pt x="0" y="108"/>
                    </a:moveTo>
                    <a:lnTo>
                      <a:pt x="118" y="108"/>
                    </a:lnTo>
                    <a:lnTo>
                      <a:pt x="57" y="0"/>
                    </a:lnTo>
                    <a:lnTo>
                      <a:pt x="0" y="108"/>
                    </a:lnTo>
                    <a:close/>
                  </a:path>
                </a:pathLst>
              </a:custGeom>
              <a:solidFill>
                <a:srgbClr val="DBDA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39" name="Rectangle 16">
                <a:extLst>
                  <a:ext uri="{FF2B5EF4-FFF2-40B4-BE49-F238E27FC236}">
                    <a16:creationId xmlns:a16="http://schemas.microsoft.com/office/drawing/2014/main" id="{E9ECCC90-E7B7-4AF2-884C-D8E0A6B49C5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8344590" y="1731504"/>
                <a:ext cx="75870" cy="278188"/>
              </a:xfrm>
              <a:prstGeom prst="rect">
                <a:avLst/>
              </a:prstGeom>
              <a:solidFill>
                <a:srgbClr val="1848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41" name="Freeform 17">
                <a:extLst>
                  <a:ext uri="{FF2B5EF4-FFF2-40B4-BE49-F238E27FC236}">
                    <a16:creationId xmlns:a16="http://schemas.microsoft.com/office/drawing/2014/main" id="{DBC257F3-623A-40A3-AD12-7BD5D920E97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285580" y="1574707"/>
                <a:ext cx="193888" cy="182086"/>
              </a:xfrm>
              <a:custGeom>
                <a:avLst/>
                <a:gdLst>
                  <a:gd name="T0" fmla="*/ 0 w 115"/>
                  <a:gd name="T1" fmla="*/ 108 h 108"/>
                  <a:gd name="T2" fmla="*/ 115 w 115"/>
                  <a:gd name="T3" fmla="*/ 108 h 108"/>
                  <a:gd name="T4" fmla="*/ 58 w 115"/>
                  <a:gd name="T5" fmla="*/ 0 h 108"/>
                  <a:gd name="T6" fmla="*/ 0 w 115"/>
                  <a:gd name="T7" fmla="*/ 108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5" h="108">
                    <a:moveTo>
                      <a:pt x="0" y="108"/>
                    </a:moveTo>
                    <a:lnTo>
                      <a:pt x="115" y="108"/>
                    </a:lnTo>
                    <a:lnTo>
                      <a:pt x="58" y="0"/>
                    </a:lnTo>
                    <a:lnTo>
                      <a:pt x="0" y="108"/>
                    </a:lnTo>
                    <a:close/>
                  </a:path>
                </a:pathLst>
              </a:custGeom>
              <a:solidFill>
                <a:srgbClr val="1848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42" name="Rectangle 18">
                <a:extLst>
                  <a:ext uri="{FF2B5EF4-FFF2-40B4-BE49-F238E27FC236}">
                    <a16:creationId xmlns:a16="http://schemas.microsoft.com/office/drawing/2014/main" id="{3B65A7DA-9571-4E48-9EF8-A50A20F14DF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8629521" y="1606741"/>
                <a:ext cx="80927" cy="402950"/>
              </a:xfrm>
              <a:prstGeom prst="rect">
                <a:avLst/>
              </a:prstGeom>
              <a:solidFill>
                <a:srgbClr val="6855C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43" name="Freeform 19">
                <a:extLst>
                  <a:ext uri="{FF2B5EF4-FFF2-40B4-BE49-F238E27FC236}">
                    <a16:creationId xmlns:a16="http://schemas.microsoft.com/office/drawing/2014/main" id="{59AB4AC4-0E98-4639-BCFA-59BB6E96627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570512" y="1456688"/>
                <a:ext cx="198946" cy="183773"/>
              </a:xfrm>
              <a:custGeom>
                <a:avLst/>
                <a:gdLst>
                  <a:gd name="T0" fmla="*/ 0 w 118"/>
                  <a:gd name="T1" fmla="*/ 109 h 109"/>
                  <a:gd name="T2" fmla="*/ 118 w 118"/>
                  <a:gd name="T3" fmla="*/ 109 h 109"/>
                  <a:gd name="T4" fmla="*/ 57 w 118"/>
                  <a:gd name="T5" fmla="*/ 0 h 109"/>
                  <a:gd name="T6" fmla="*/ 0 w 118"/>
                  <a:gd name="T7" fmla="*/ 109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8" h="109">
                    <a:moveTo>
                      <a:pt x="0" y="109"/>
                    </a:moveTo>
                    <a:lnTo>
                      <a:pt x="118" y="109"/>
                    </a:lnTo>
                    <a:lnTo>
                      <a:pt x="57" y="0"/>
                    </a:lnTo>
                    <a:lnTo>
                      <a:pt x="0" y="109"/>
                    </a:lnTo>
                    <a:close/>
                  </a:path>
                </a:pathLst>
              </a:custGeom>
              <a:solidFill>
                <a:srgbClr val="6855C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44" name="Rectangle 20">
                <a:extLst>
                  <a:ext uri="{FF2B5EF4-FFF2-40B4-BE49-F238E27FC236}">
                    <a16:creationId xmlns:a16="http://schemas.microsoft.com/office/drawing/2014/main" id="{6563E939-0849-4807-87A7-03BD01A127F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8978519" y="1478607"/>
                <a:ext cx="80927" cy="531085"/>
              </a:xfrm>
              <a:prstGeom prst="rect">
                <a:avLst/>
              </a:prstGeom>
              <a:solidFill>
                <a:srgbClr val="FFC4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46" name="Freeform 21">
                <a:extLst>
                  <a:ext uri="{FF2B5EF4-FFF2-40B4-BE49-F238E27FC236}">
                    <a16:creationId xmlns:a16="http://schemas.microsoft.com/office/drawing/2014/main" id="{97C0755F-337C-46F3-8348-85B53F5A42B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919510" y="1323496"/>
                <a:ext cx="198946" cy="182086"/>
              </a:xfrm>
              <a:custGeom>
                <a:avLst/>
                <a:gdLst>
                  <a:gd name="T0" fmla="*/ 0 w 118"/>
                  <a:gd name="T1" fmla="*/ 108 h 108"/>
                  <a:gd name="T2" fmla="*/ 118 w 118"/>
                  <a:gd name="T3" fmla="*/ 108 h 108"/>
                  <a:gd name="T4" fmla="*/ 57 w 118"/>
                  <a:gd name="T5" fmla="*/ 0 h 108"/>
                  <a:gd name="T6" fmla="*/ 0 w 118"/>
                  <a:gd name="T7" fmla="*/ 108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8" h="108">
                    <a:moveTo>
                      <a:pt x="0" y="108"/>
                    </a:moveTo>
                    <a:lnTo>
                      <a:pt x="118" y="108"/>
                    </a:lnTo>
                    <a:lnTo>
                      <a:pt x="57" y="0"/>
                    </a:lnTo>
                    <a:lnTo>
                      <a:pt x="0" y="108"/>
                    </a:lnTo>
                    <a:close/>
                  </a:path>
                </a:pathLst>
              </a:custGeom>
              <a:solidFill>
                <a:srgbClr val="FFC4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47" name="Rectangle 22">
                <a:extLst>
                  <a:ext uri="{FF2B5EF4-FFF2-40B4-BE49-F238E27FC236}">
                    <a16:creationId xmlns:a16="http://schemas.microsoft.com/office/drawing/2014/main" id="{7524513F-4286-4D9A-8E2E-CBA9937071C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8024254" y="2105792"/>
                <a:ext cx="192202" cy="53951"/>
              </a:xfrm>
              <a:prstGeom prst="rect">
                <a:avLst/>
              </a:prstGeom>
              <a:solidFill>
                <a:srgbClr val="B0C1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48" name="Rectangle 23">
                <a:extLst>
                  <a:ext uri="{FF2B5EF4-FFF2-40B4-BE49-F238E27FC236}">
                    <a16:creationId xmlns:a16="http://schemas.microsoft.com/office/drawing/2014/main" id="{62AEB7D7-4053-4139-A1BC-24CE485E28C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8024254" y="2196835"/>
                <a:ext cx="288303" cy="48894"/>
              </a:xfrm>
              <a:prstGeom prst="rect">
                <a:avLst/>
              </a:prstGeom>
              <a:solidFill>
                <a:srgbClr val="B0C1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49" name="Rectangle 24">
                <a:extLst>
                  <a:ext uri="{FF2B5EF4-FFF2-40B4-BE49-F238E27FC236}">
                    <a16:creationId xmlns:a16="http://schemas.microsoft.com/office/drawing/2014/main" id="{C20A0D88-1B75-4EDE-BC8B-F19646415E0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8292324" y="2105792"/>
                <a:ext cx="278188" cy="53951"/>
              </a:xfrm>
              <a:prstGeom prst="rect">
                <a:avLst/>
              </a:prstGeom>
              <a:solidFill>
                <a:srgbClr val="B0C1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50" name="Rectangle 25">
                <a:extLst>
                  <a:ext uri="{FF2B5EF4-FFF2-40B4-BE49-F238E27FC236}">
                    <a16:creationId xmlns:a16="http://schemas.microsoft.com/office/drawing/2014/main" id="{202C635D-2CCB-4D17-9C23-178AFA6D349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8607603" y="2105792"/>
                <a:ext cx="151738" cy="53951"/>
              </a:xfrm>
              <a:prstGeom prst="rect">
                <a:avLst/>
              </a:prstGeom>
              <a:solidFill>
                <a:srgbClr val="B0C1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51" name="Rectangle 26">
                <a:extLst>
                  <a:ext uri="{FF2B5EF4-FFF2-40B4-BE49-F238E27FC236}">
                    <a16:creationId xmlns:a16="http://schemas.microsoft.com/office/drawing/2014/main" id="{0C4C7ABD-4B31-4CC7-8A85-82F71533AEA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8806549" y="2105792"/>
                <a:ext cx="188830" cy="53951"/>
              </a:xfrm>
              <a:prstGeom prst="rect">
                <a:avLst/>
              </a:prstGeom>
              <a:solidFill>
                <a:srgbClr val="B0C1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52" name="Rectangle 27">
                <a:extLst>
                  <a:ext uri="{FF2B5EF4-FFF2-40B4-BE49-F238E27FC236}">
                    <a16:creationId xmlns:a16="http://schemas.microsoft.com/office/drawing/2014/main" id="{86A809ED-2356-41E1-9729-EFD079AABAE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8575569" y="2196835"/>
                <a:ext cx="322023" cy="48894"/>
              </a:xfrm>
              <a:prstGeom prst="rect">
                <a:avLst/>
              </a:prstGeom>
              <a:solidFill>
                <a:srgbClr val="B0C1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53" name="Rectangle 28">
                <a:extLst>
                  <a:ext uri="{FF2B5EF4-FFF2-40B4-BE49-F238E27FC236}">
                    <a16:creationId xmlns:a16="http://schemas.microsoft.com/office/drawing/2014/main" id="{C790A1B4-D343-4E1E-949F-310F851EEEB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8024254" y="2282820"/>
                <a:ext cx="192202" cy="53951"/>
              </a:xfrm>
              <a:prstGeom prst="rect">
                <a:avLst/>
              </a:prstGeom>
              <a:solidFill>
                <a:srgbClr val="B0C1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54" name="Rectangle 29">
                <a:extLst>
                  <a:ext uri="{FF2B5EF4-FFF2-40B4-BE49-F238E27FC236}">
                    <a16:creationId xmlns:a16="http://schemas.microsoft.com/office/drawing/2014/main" id="{89F73014-F980-4052-88C4-64641D8F69F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8024254" y="2373863"/>
                <a:ext cx="578292" cy="53951"/>
              </a:xfrm>
              <a:prstGeom prst="rect">
                <a:avLst/>
              </a:prstGeom>
              <a:solidFill>
                <a:srgbClr val="B0C1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55" name="Rectangle 30">
                <a:extLst>
                  <a:ext uri="{FF2B5EF4-FFF2-40B4-BE49-F238E27FC236}">
                    <a16:creationId xmlns:a16="http://schemas.microsoft.com/office/drawing/2014/main" id="{1DCF441F-BB56-4E64-8C31-7703354E38F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8292324" y="2282820"/>
                <a:ext cx="354056" cy="53951"/>
              </a:xfrm>
              <a:prstGeom prst="rect">
                <a:avLst/>
              </a:prstGeom>
              <a:solidFill>
                <a:srgbClr val="B0C1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56" name="Rectangle 31">
                <a:extLst>
                  <a:ext uri="{FF2B5EF4-FFF2-40B4-BE49-F238E27FC236}">
                    <a16:creationId xmlns:a16="http://schemas.microsoft.com/office/drawing/2014/main" id="{71D50059-EC52-4DD2-BB4E-21CE3E75409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8705390" y="2282820"/>
                <a:ext cx="192202" cy="53951"/>
              </a:xfrm>
              <a:prstGeom prst="rect">
                <a:avLst/>
              </a:prstGeom>
              <a:solidFill>
                <a:srgbClr val="B0C1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57" name="Rectangle 32">
                <a:extLst>
                  <a:ext uri="{FF2B5EF4-FFF2-40B4-BE49-F238E27FC236}">
                    <a16:creationId xmlns:a16="http://schemas.microsoft.com/office/drawing/2014/main" id="{BD1AA398-96B0-485C-B891-24A1ABB68FB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8961660" y="2282820"/>
                <a:ext cx="236037" cy="53951"/>
              </a:xfrm>
              <a:prstGeom prst="rect">
                <a:avLst/>
              </a:prstGeom>
              <a:solidFill>
                <a:srgbClr val="B0C1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58" name="Rectangle 33">
                <a:extLst>
                  <a:ext uri="{FF2B5EF4-FFF2-40B4-BE49-F238E27FC236}">
                    <a16:creationId xmlns:a16="http://schemas.microsoft.com/office/drawing/2014/main" id="{5E0DF7ED-2A35-45C4-BFCF-9B13680E938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8661555" y="2373863"/>
                <a:ext cx="333824" cy="53951"/>
              </a:xfrm>
              <a:prstGeom prst="rect">
                <a:avLst/>
              </a:prstGeom>
              <a:solidFill>
                <a:srgbClr val="B0C1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59" name="Rectangle 34">
                <a:extLst>
                  <a:ext uri="{FF2B5EF4-FFF2-40B4-BE49-F238E27FC236}">
                    <a16:creationId xmlns:a16="http://schemas.microsoft.com/office/drawing/2014/main" id="{54B68F8B-62F5-40CB-9FCC-1A89B2C26C7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8366507" y="2196835"/>
                <a:ext cx="144994" cy="48894"/>
              </a:xfrm>
              <a:prstGeom prst="rect">
                <a:avLst/>
              </a:prstGeom>
              <a:solidFill>
                <a:srgbClr val="B0C1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24" name="Rectangle 35">
                <a:extLst>
                  <a:ext uri="{FF2B5EF4-FFF2-40B4-BE49-F238E27FC236}">
                    <a16:creationId xmlns:a16="http://schemas.microsoft.com/office/drawing/2014/main" id="{4908B28C-B322-4550-91C4-3436E13AA28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8206340" y="2550891"/>
                <a:ext cx="165226" cy="53951"/>
              </a:xfrm>
              <a:prstGeom prst="rect">
                <a:avLst/>
              </a:prstGeom>
              <a:solidFill>
                <a:srgbClr val="B0C1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25" name="Rectangle 36">
                <a:extLst>
                  <a:ext uri="{FF2B5EF4-FFF2-40B4-BE49-F238E27FC236}">
                    <a16:creationId xmlns:a16="http://schemas.microsoft.com/office/drawing/2014/main" id="{3C778A39-0EBA-4DCE-82EE-D158832D912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8462609" y="2550891"/>
                <a:ext cx="515910" cy="53951"/>
              </a:xfrm>
              <a:prstGeom prst="rect">
                <a:avLst/>
              </a:prstGeom>
              <a:solidFill>
                <a:srgbClr val="B0C1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26" name="Rectangle 37">
                <a:extLst>
                  <a:ext uri="{FF2B5EF4-FFF2-40B4-BE49-F238E27FC236}">
                    <a16:creationId xmlns:a16="http://schemas.microsoft.com/office/drawing/2014/main" id="{8E4D7981-044A-40B5-A44A-9C7C60B0CD7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7990534" y="2641934"/>
                <a:ext cx="328767" cy="48894"/>
              </a:xfrm>
              <a:prstGeom prst="rect">
                <a:avLst/>
              </a:prstGeom>
              <a:solidFill>
                <a:srgbClr val="B0C1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27" name="Rectangle 38">
                <a:extLst>
                  <a:ext uri="{FF2B5EF4-FFF2-40B4-BE49-F238E27FC236}">
                    <a16:creationId xmlns:a16="http://schemas.microsoft.com/office/drawing/2014/main" id="{12E2E664-7600-41A5-B2CA-AFDDB9DDDED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8024254" y="2732977"/>
                <a:ext cx="364172" cy="48894"/>
              </a:xfrm>
              <a:prstGeom prst="rect">
                <a:avLst/>
              </a:prstGeom>
              <a:solidFill>
                <a:srgbClr val="B0C1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28" name="Rectangle 39">
                <a:extLst>
                  <a:ext uri="{FF2B5EF4-FFF2-40B4-BE49-F238E27FC236}">
                    <a16:creationId xmlns:a16="http://schemas.microsoft.com/office/drawing/2014/main" id="{64105DA9-82E5-4BEA-9A4A-538CB7C7FC5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8024254" y="2818962"/>
                <a:ext cx="251212" cy="53951"/>
              </a:xfrm>
              <a:prstGeom prst="rect">
                <a:avLst/>
              </a:prstGeom>
              <a:solidFill>
                <a:srgbClr val="B0C1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29" name="Rectangle 40">
                <a:extLst>
                  <a:ext uri="{FF2B5EF4-FFF2-40B4-BE49-F238E27FC236}">
                    <a16:creationId xmlns:a16="http://schemas.microsoft.com/office/drawing/2014/main" id="{69C7AF39-FAD2-4D86-82F9-62452EE73C7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8462609" y="2732977"/>
                <a:ext cx="274816" cy="48894"/>
              </a:xfrm>
              <a:prstGeom prst="rect">
                <a:avLst/>
              </a:prstGeom>
              <a:solidFill>
                <a:srgbClr val="B0C1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30" name="Rectangle 41">
                <a:extLst>
                  <a:ext uri="{FF2B5EF4-FFF2-40B4-BE49-F238E27FC236}">
                    <a16:creationId xmlns:a16="http://schemas.microsoft.com/office/drawing/2014/main" id="{60EEE605-6576-4547-9CD6-C1895C5AB56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8334474" y="2818962"/>
                <a:ext cx="472075" cy="53951"/>
              </a:xfrm>
              <a:prstGeom prst="rect">
                <a:avLst/>
              </a:prstGeom>
              <a:solidFill>
                <a:srgbClr val="B0C1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31" name="Rectangle 42">
                <a:extLst>
                  <a:ext uri="{FF2B5EF4-FFF2-40B4-BE49-F238E27FC236}">
                    <a16:creationId xmlns:a16="http://schemas.microsoft.com/office/drawing/2014/main" id="{99610F92-CC53-480B-8424-34F6565C328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8855442" y="2818962"/>
                <a:ext cx="128135" cy="53951"/>
              </a:xfrm>
              <a:prstGeom prst="rect">
                <a:avLst/>
              </a:prstGeom>
              <a:solidFill>
                <a:srgbClr val="B0C1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32" name="Rectangle 43">
                <a:extLst>
                  <a:ext uri="{FF2B5EF4-FFF2-40B4-BE49-F238E27FC236}">
                    <a16:creationId xmlns:a16="http://schemas.microsoft.com/office/drawing/2014/main" id="{E744D11C-AFCC-42F8-9CDB-033774EE946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8221513" y="2910005"/>
                <a:ext cx="236037" cy="48894"/>
              </a:xfrm>
              <a:prstGeom prst="rect">
                <a:avLst/>
              </a:prstGeom>
              <a:solidFill>
                <a:srgbClr val="B0C1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33" name="Rectangle 44">
                <a:extLst>
                  <a:ext uri="{FF2B5EF4-FFF2-40B4-BE49-F238E27FC236}">
                    <a16:creationId xmlns:a16="http://schemas.microsoft.com/office/drawing/2014/main" id="{5E8AF836-865C-4AA1-B30E-1B275B3EAFD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8496329" y="2910005"/>
                <a:ext cx="428239" cy="48894"/>
              </a:xfrm>
              <a:prstGeom prst="rect">
                <a:avLst/>
              </a:prstGeom>
              <a:solidFill>
                <a:srgbClr val="B0C1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34" name="Rectangle 45">
                <a:extLst>
                  <a:ext uri="{FF2B5EF4-FFF2-40B4-BE49-F238E27FC236}">
                    <a16:creationId xmlns:a16="http://schemas.microsoft.com/office/drawing/2014/main" id="{0EE251AD-D6F4-4053-8BEF-F7456CBAF270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8978519" y="2910005"/>
                <a:ext cx="134879" cy="48894"/>
              </a:xfrm>
              <a:prstGeom prst="rect">
                <a:avLst/>
              </a:prstGeom>
              <a:solidFill>
                <a:srgbClr val="B0C1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9966" name="组合 9965">
              <a:extLst>
                <a:ext uri="{FF2B5EF4-FFF2-40B4-BE49-F238E27FC236}">
                  <a16:creationId xmlns:a16="http://schemas.microsoft.com/office/drawing/2014/main" id="{819B7765-9B52-484E-896B-154168913C57}"/>
                </a:ext>
              </a:extLst>
            </p:cNvPr>
            <p:cNvGrpSpPr/>
            <p:nvPr userDrawn="1"/>
          </p:nvGrpSpPr>
          <p:grpSpPr>
            <a:xfrm>
              <a:off x="9779285" y="1994157"/>
              <a:ext cx="1445725" cy="2628563"/>
              <a:chOff x="9485418" y="3213968"/>
              <a:chExt cx="1906785" cy="3466846"/>
            </a:xfrm>
          </p:grpSpPr>
          <p:sp>
            <p:nvSpPr>
              <p:cNvPr id="9835" name="Rectangle 49">
                <a:extLst>
                  <a:ext uri="{FF2B5EF4-FFF2-40B4-BE49-F238E27FC236}">
                    <a16:creationId xmlns:a16="http://schemas.microsoft.com/office/drawing/2014/main" id="{19910D07-5690-493B-A6FC-A8B3F9656D2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1059074" y="4164114"/>
                <a:ext cx="85106" cy="290576"/>
              </a:xfrm>
              <a:prstGeom prst="rect">
                <a:avLst/>
              </a:prstGeom>
              <a:solidFill>
                <a:srgbClr val="9EA6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36" name="Rectangle 50">
                <a:extLst>
                  <a:ext uri="{FF2B5EF4-FFF2-40B4-BE49-F238E27FC236}">
                    <a16:creationId xmlns:a16="http://schemas.microsoft.com/office/drawing/2014/main" id="{5F3918CE-D618-4098-8E79-EF8C092EA62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1059074" y="4164114"/>
                <a:ext cx="85106" cy="2905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08" name="Rectangle 75">
                <a:extLst>
                  <a:ext uri="{FF2B5EF4-FFF2-40B4-BE49-F238E27FC236}">
                    <a16:creationId xmlns:a16="http://schemas.microsoft.com/office/drawing/2014/main" id="{C7711406-2479-4979-8D43-8DEA63DFCE1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1071232" y="4589642"/>
                <a:ext cx="134954" cy="26748"/>
              </a:xfrm>
              <a:prstGeom prst="rect">
                <a:avLst/>
              </a:prstGeom>
              <a:solidFill>
                <a:srgbClr val="A1A9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09" name="Rectangle 76">
                <a:extLst>
                  <a:ext uri="{FF2B5EF4-FFF2-40B4-BE49-F238E27FC236}">
                    <a16:creationId xmlns:a16="http://schemas.microsoft.com/office/drawing/2014/main" id="{C343A2E5-E79A-40F7-9FB9-3C83CC21E8A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1071232" y="4589642"/>
                <a:ext cx="134954" cy="267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16" name="Rectangle 83">
                <a:extLst>
                  <a:ext uri="{FF2B5EF4-FFF2-40B4-BE49-F238E27FC236}">
                    <a16:creationId xmlns:a16="http://schemas.microsoft.com/office/drawing/2014/main" id="{39EF79B6-AFF1-4C45-B1DA-40FA6847846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1071232" y="4674749"/>
                <a:ext cx="37690" cy="26748"/>
              </a:xfrm>
              <a:prstGeom prst="rect">
                <a:avLst/>
              </a:prstGeom>
              <a:solidFill>
                <a:srgbClr val="A1A9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17" name="Rectangle 84">
                <a:extLst>
                  <a:ext uri="{FF2B5EF4-FFF2-40B4-BE49-F238E27FC236}">
                    <a16:creationId xmlns:a16="http://schemas.microsoft.com/office/drawing/2014/main" id="{8F128715-C5CD-4DED-9F68-7E4CEC51600B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1071232" y="4674749"/>
                <a:ext cx="37690" cy="267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23" name="Rectangle 87">
                <a:extLst>
                  <a:ext uri="{FF2B5EF4-FFF2-40B4-BE49-F238E27FC236}">
                    <a16:creationId xmlns:a16="http://schemas.microsoft.com/office/drawing/2014/main" id="{869086AE-39CA-482B-B664-99CD3357887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1085822" y="4747696"/>
                <a:ext cx="159270" cy="26748"/>
              </a:xfrm>
              <a:prstGeom prst="rect">
                <a:avLst/>
              </a:prstGeom>
              <a:solidFill>
                <a:srgbClr val="A1A9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24" name="Rectangle 88">
                <a:extLst>
                  <a:ext uri="{FF2B5EF4-FFF2-40B4-BE49-F238E27FC236}">
                    <a16:creationId xmlns:a16="http://schemas.microsoft.com/office/drawing/2014/main" id="{8B6B51B7-3EF2-4653-9822-105688FC1F0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1085822" y="4747696"/>
                <a:ext cx="159270" cy="267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16" name="Freeform 159">
                <a:extLst>
                  <a:ext uri="{FF2B5EF4-FFF2-40B4-BE49-F238E27FC236}">
                    <a16:creationId xmlns:a16="http://schemas.microsoft.com/office/drawing/2014/main" id="{F3AC87E0-86E2-4E24-905E-C6C1084F3FF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660292" y="6540997"/>
                <a:ext cx="209117" cy="139817"/>
              </a:xfrm>
              <a:custGeom>
                <a:avLst/>
                <a:gdLst>
                  <a:gd name="T0" fmla="*/ 51 w 54"/>
                  <a:gd name="T1" fmla="*/ 9 h 36"/>
                  <a:gd name="T2" fmla="*/ 36 w 54"/>
                  <a:gd name="T3" fmla="*/ 0 h 36"/>
                  <a:gd name="T4" fmla="*/ 30 w 54"/>
                  <a:gd name="T5" fmla="*/ 8 h 36"/>
                  <a:gd name="T6" fmla="*/ 0 w 54"/>
                  <a:gd name="T7" fmla="*/ 27 h 36"/>
                  <a:gd name="T8" fmla="*/ 17 w 54"/>
                  <a:gd name="T9" fmla="*/ 36 h 36"/>
                  <a:gd name="T10" fmla="*/ 35 w 54"/>
                  <a:gd name="T11" fmla="*/ 34 h 36"/>
                  <a:gd name="T12" fmla="*/ 51 w 54"/>
                  <a:gd name="T13" fmla="*/ 25 h 36"/>
                  <a:gd name="T14" fmla="*/ 52 w 54"/>
                  <a:gd name="T15" fmla="*/ 15 h 36"/>
                  <a:gd name="T16" fmla="*/ 51 w 54"/>
                  <a:gd name="T17" fmla="*/ 9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4" h="36">
                    <a:moveTo>
                      <a:pt x="51" y="9"/>
                    </a:moveTo>
                    <a:cubicBezTo>
                      <a:pt x="36" y="0"/>
                      <a:pt x="36" y="0"/>
                      <a:pt x="36" y="0"/>
                    </a:cubicBezTo>
                    <a:cubicBezTo>
                      <a:pt x="36" y="0"/>
                      <a:pt x="33" y="5"/>
                      <a:pt x="30" y="8"/>
                    </a:cubicBezTo>
                    <a:cubicBezTo>
                      <a:pt x="25" y="14"/>
                      <a:pt x="0" y="19"/>
                      <a:pt x="0" y="27"/>
                    </a:cubicBezTo>
                    <a:cubicBezTo>
                      <a:pt x="0" y="32"/>
                      <a:pt x="9" y="36"/>
                      <a:pt x="17" y="36"/>
                    </a:cubicBezTo>
                    <a:cubicBezTo>
                      <a:pt x="24" y="36"/>
                      <a:pt x="31" y="35"/>
                      <a:pt x="35" y="34"/>
                    </a:cubicBezTo>
                    <a:cubicBezTo>
                      <a:pt x="39" y="32"/>
                      <a:pt x="50" y="28"/>
                      <a:pt x="51" y="25"/>
                    </a:cubicBezTo>
                    <a:cubicBezTo>
                      <a:pt x="54" y="21"/>
                      <a:pt x="52" y="15"/>
                      <a:pt x="52" y="15"/>
                    </a:cubicBezTo>
                    <a:cubicBezTo>
                      <a:pt x="53" y="10"/>
                      <a:pt x="51" y="9"/>
                      <a:pt x="51" y="9"/>
                    </a:cubicBezTo>
                    <a:close/>
                  </a:path>
                </a:pathLst>
              </a:custGeom>
              <a:solidFill>
                <a:srgbClr val="1848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17" name="Freeform 160">
                <a:extLst>
                  <a:ext uri="{FF2B5EF4-FFF2-40B4-BE49-F238E27FC236}">
                    <a16:creationId xmlns:a16="http://schemas.microsoft.com/office/drawing/2014/main" id="{C43E0B9C-ECAF-434B-AB12-6D7DBD23949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777009" y="6540997"/>
                <a:ext cx="88753" cy="74164"/>
              </a:xfrm>
              <a:custGeom>
                <a:avLst/>
                <a:gdLst>
                  <a:gd name="T0" fmla="*/ 2 w 23"/>
                  <a:gd name="T1" fmla="*/ 0 h 19"/>
                  <a:gd name="T2" fmla="*/ 0 w 23"/>
                  <a:gd name="T3" fmla="*/ 8 h 19"/>
                  <a:gd name="T4" fmla="*/ 9 w 23"/>
                  <a:gd name="T5" fmla="*/ 17 h 19"/>
                  <a:gd name="T6" fmla="*/ 22 w 23"/>
                  <a:gd name="T7" fmla="*/ 15 h 19"/>
                  <a:gd name="T8" fmla="*/ 22 w 23"/>
                  <a:gd name="T9" fmla="*/ 3 h 19"/>
                  <a:gd name="T10" fmla="*/ 2 w 23"/>
                  <a:gd name="T11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3" h="19">
                    <a:moveTo>
                      <a:pt x="2" y="0"/>
                    </a:moveTo>
                    <a:cubicBezTo>
                      <a:pt x="2" y="0"/>
                      <a:pt x="4" y="3"/>
                      <a:pt x="0" y="8"/>
                    </a:cubicBezTo>
                    <a:cubicBezTo>
                      <a:pt x="0" y="8"/>
                      <a:pt x="3" y="14"/>
                      <a:pt x="9" y="17"/>
                    </a:cubicBezTo>
                    <a:cubicBezTo>
                      <a:pt x="12" y="19"/>
                      <a:pt x="22" y="15"/>
                      <a:pt x="22" y="15"/>
                    </a:cubicBezTo>
                    <a:cubicBezTo>
                      <a:pt x="23" y="10"/>
                      <a:pt x="22" y="3"/>
                      <a:pt x="22" y="3"/>
                    </a:cubicBez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CD2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18" name="Freeform 161">
                <a:extLst>
                  <a:ext uri="{FF2B5EF4-FFF2-40B4-BE49-F238E27FC236}">
                    <a16:creationId xmlns:a16="http://schemas.microsoft.com/office/drawing/2014/main" id="{B106EA5C-A8F4-4B10-A7E3-49066664521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594639" y="4605448"/>
                <a:ext cx="434040" cy="1974455"/>
              </a:xfrm>
              <a:custGeom>
                <a:avLst/>
                <a:gdLst>
                  <a:gd name="T0" fmla="*/ 15 w 112"/>
                  <a:gd name="T1" fmla="*/ 0 h 511"/>
                  <a:gd name="T2" fmla="*/ 11 w 112"/>
                  <a:gd name="T3" fmla="*/ 287 h 511"/>
                  <a:gd name="T4" fmla="*/ 46 w 112"/>
                  <a:gd name="T5" fmla="*/ 504 h 511"/>
                  <a:gd name="T6" fmla="*/ 74 w 112"/>
                  <a:gd name="T7" fmla="*/ 504 h 511"/>
                  <a:gd name="T8" fmla="*/ 70 w 112"/>
                  <a:gd name="T9" fmla="*/ 269 h 511"/>
                  <a:gd name="T10" fmla="*/ 112 w 112"/>
                  <a:gd name="T11" fmla="*/ 105 h 511"/>
                  <a:gd name="T12" fmla="*/ 112 w 112"/>
                  <a:gd name="T13" fmla="*/ 9 h 511"/>
                  <a:gd name="T14" fmla="*/ 15 w 112"/>
                  <a:gd name="T15" fmla="*/ 0 h 5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2" h="511">
                    <a:moveTo>
                      <a:pt x="15" y="0"/>
                    </a:moveTo>
                    <a:cubicBezTo>
                      <a:pt x="13" y="11"/>
                      <a:pt x="0" y="156"/>
                      <a:pt x="11" y="287"/>
                    </a:cubicBezTo>
                    <a:cubicBezTo>
                      <a:pt x="20" y="400"/>
                      <a:pt x="46" y="504"/>
                      <a:pt x="46" y="504"/>
                    </a:cubicBezTo>
                    <a:cubicBezTo>
                      <a:pt x="46" y="505"/>
                      <a:pt x="64" y="511"/>
                      <a:pt x="74" y="504"/>
                    </a:cubicBezTo>
                    <a:cubicBezTo>
                      <a:pt x="70" y="269"/>
                      <a:pt x="70" y="269"/>
                      <a:pt x="70" y="269"/>
                    </a:cubicBezTo>
                    <a:cubicBezTo>
                      <a:pt x="70" y="269"/>
                      <a:pt x="105" y="111"/>
                      <a:pt x="112" y="105"/>
                    </a:cubicBezTo>
                    <a:cubicBezTo>
                      <a:pt x="112" y="9"/>
                      <a:pt x="112" y="9"/>
                      <a:pt x="112" y="9"/>
                    </a:cubicBezTo>
                    <a:cubicBezTo>
                      <a:pt x="76" y="11"/>
                      <a:pt x="27" y="6"/>
                      <a:pt x="15" y="0"/>
                    </a:cubicBezTo>
                    <a:close/>
                  </a:path>
                </a:pathLst>
              </a:custGeom>
              <a:solidFill>
                <a:srgbClr val="1848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19" name="Freeform 162">
                <a:extLst>
                  <a:ext uri="{FF2B5EF4-FFF2-40B4-BE49-F238E27FC236}">
                    <a16:creationId xmlns:a16="http://schemas.microsoft.com/office/drawing/2014/main" id="{0CAF85FD-EE05-4479-82F0-B5C0E3427EE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074879" y="6530055"/>
                <a:ext cx="209117" cy="145896"/>
              </a:xfrm>
              <a:custGeom>
                <a:avLst/>
                <a:gdLst>
                  <a:gd name="T0" fmla="*/ 50 w 54"/>
                  <a:gd name="T1" fmla="*/ 8 h 38"/>
                  <a:gd name="T2" fmla="*/ 35 w 54"/>
                  <a:gd name="T3" fmla="*/ 0 h 38"/>
                  <a:gd name="T4" fmla="*/ 29 w 54"/>
                  <a:gd name="T5" fmla="*/ 9 h 38"/>
                  <a:gd name="T6" fmla="*/ 1 w 54"/>
                  <a:gd name="T7" fmla="*/ 31 h 38"/>
                  <a:gd name="T8" fmla="*/ 18 w 54"/>
                  <a:gd name="T9" fmla="*/ 38 h 38"/>
                  <a:gd name="T10" fmla="*/ 36 w 54"/>
                  <a:gd name="T11" fmla="*/ 34 h 38"/>
                  <a:gd name="T12" fmla="*/ 52 w 54"/>
                  <a:gd name="T13" fmla="*/ 24 h 38"/>
                  <a:gd name="T14" fmla="*/ 51 w 54"/>
                  <a:gd name="T15" fmla="*/ 14 h 38"/>
                  <a:gd name="T16" fmla="*/ 50 w 54"/>
                  <a:gd name="T17" fmla="*/ 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4" h="38">
                    <a:moveTo>
                      <a:pt x="50" y="8"/>
                    </a:moveTo>
                    <a:cubicBezTo>
                      <a:pt x="35" y="0"/>
                      <a:pt x="35" y="0"/>
                      <a:pt x="35" y="0"/>
                    </a:cubicBezTo>
                    <a:cubicBezTo>
                      <a:pt x="35" y="0"/>
                      <a:pt x="32" y="6"/>
                      <a:pt x="29" y="9"/>
                    </a:cubicBezTo>
                    <a:cubicBezTo>
                      <a:pt x="25" y="16"/>
                      <a:pt x="0" y="22"/>
                      <a:pt x="1" y="31"/>
                    </a:cubicBezTo>
                    <a:cubicBezTo>
                      <a:pt x="1" y="35"/>
                      <a:pt x="11" y="38"/>
                      <a:pt x="18" y="38"/>
                    </a:cubicBezTo>
                    <a:cubicBezTo>
                      <a:pt x="26" y="38"/>
                      <a:pt x="32" y="37"/>
                      <a:pt x="36" y="34"/>
                    </a:cubicBezTo>
                    <a:cubicBezTo>
                      <a:pt x="41" y="31"/>
                      <a:pt x="50" y="27"/>
                      <a:pt x="52" y="24"/>
                    </a:cubicBezTo>
                    <a:cubicBezTo>
                      <a:pt x="54" y="19"/>
                      <a:pt x="51" y="14"/>
                      <a:pt x="51" y="14"/>
                    </a:cubicBezTo>
                    <a:cubicBezTo>
                      <a:pt x="52" y="9"/>
                      <a:pt x="50" y="8"/>
                      <a:pt x="50" y="8"/>
                    </a:cubicBezTo>
                    <a:close/>
                  </a:path>
                </a:pathLst>
              </a:custGeom>
              <a:solidFill>
                <a:srgbClr val="1848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20" name="Freeform 163">
                <a:extLst>
                  <a:ext uri="{FF2B5EF4-FFF2-40B4-BE49-F238E27FC236}">
                    <a16:creationId xmlns:a16="http://schemas.microsoft.com/office/drawing/2014/main" id="{AD85A5E3-B09F-4075-B806-71D99996EAD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86733" y="6530055"/>
                <a:ext cx="88753" cy="69301"/>
              </a:xfrm>
              <a:custGeom>
                <a:avLst/>
                <a:gdLst>
                  <a:gd name="T0" fmla="*/ 2 w 23"/>
                  <a:gd name="T1" fmla="*/ 0 h 18"/>
                  <a:gd name="T2" fmla="*/ 0 w 23"/>
                  <a:gd name="T3" fmla="*/ 9 h 18"/>
                  <a:gd name="T4" fmla="*/ 10 w 23"/>
                  <a:gd name="T5" fmla="*/ 17 h 18"/>
                  <a:gd name="T6" fmla="*/ 22 w 23"/>
                  <a:gd name="T7" fmla="*/ 14 h 18"/>
                  <a:gd name="T8" fmla="*/ 23 w 23"/>
                  <a:gd name="T9" fmla="*/ 2 h 18"/>
                  <a:gd name="T10" fmla="*/ 2 w 23"/>
                  <a:gd name="T11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3" h="18">
                    <a:moveTo>
                      <a:pt x="2" y="0"/>
                    </a:moveTo>
                    <a:cubicBezTo>
                      <a:pt x="2" y="0"/>
                      <a:pt x="4" y="4"/>
                      <a:pt x="0" y="9"/>
                    </a:cubicBezTo>
                    <a:cubicBezTo>
                      <a:pt x="0" y="9"/>
                      <a:pt x="4" y="14"/>
                      <a:pt x="10" y="17"/>
                    </a:cubicBezTo>
                    <a:cubicBezTo>
                      <a:pt x="13" y="18"/>
                      <a:pt x="22" y="14"/>
                      <a:pt x="22" y="14"/>
                    </a:cubicBezTo>
                    <a:cubicBezTo>
                      <a:pt x="23" y="9"/>
                      <a:pt x="23" y="2"/>
                      <a:pt x="23" y="2"/>
                    </a:cubicBez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CD2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21" name="Freeform 164">
                <a:extLst>
                  <a:ext uri="{FF2B5EF4-FFF2-40B4-BE49-F238E27FC236}">
                    <a16:creationId xmlns:a16="http://schemas.microsoft.com/office/drawing/2014/main" id="{FEE80D95-6DEF-4BB0-810F-84CADC8B1BE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931415" y="4678395"/>
                <a:ext cx="460788" cy="1897860"/>
              </a:xfrm>
              <a:custGeom>
                <a:avLst/>
                <a:gdLst>
                  <a:gd name="T0" fmla="*/ 82 w 119"/>
                  <a:gd name="T1" fmla="*/ 0 h 491"/>
                  <a:gd name="T2" fmla="*/ 0 w 119"/>
                  <a:gd name="T3" fmla="*/ 23 h 491"/>
                  <a:gd name="T4" fmla="*/ 18 w 119"/>
                  <a:gd name="T5" fmla="*/ 274 h 491"/>
                  <a:gd name="T6" fmla="*/ 63 w 119"/>
                  <a:gd name="T7" fmla="*/ 479 h 491"/>
                  <a:gd name="T8" fmla="*/ 98 w 119"/>
                  <a:gd name="T9" fmla="*/ 482 h 491"/>
                  <a:gd name="T10" fmla="*/ 81 w 119"/>
                  <a:gd name="T11" fmla="*/ 265 h 491"/>
                  <a:gd name="T12" fmla="*/ 82 w 119"/>
                  <a:gd name="T13" fmla="*/ 0 h 4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9" h="491">
                    <a:moveTo>
                      <a:pt x="82" y="0"/>
                    </a:moveTo>
                    <a:cubicBezTo>
                      <a:pt x="46" y="5"/>
                      <a:pt x="13" y="27"/>
                      <a:pt x="0" y="23"/>
                    </a:cubicBezTo>
                    <a:cubicBezTo>
                      <a:pt x="0" y="33"/>
                      <a:pt x="2" y="193"/>
                      <a:pt x="18" y="274"/>
                    </a:cubicBezTo>
                    <a:cubicBezTo>
                      <a:pt x="41" y="385"/>
                      <a:pt x="63" y="479"/>
                      <a:pt x="63" y="479"/>
                    </a:cubicBezTo>
                    <a:cubicBezTo>
                      <a:pt x="63" y="479"/>
                      <a:pt x="76" y="491"/>
                      <a:pt x="98" y="482"/>
                    </a:cubicBezTo>
                    <a:cubicBezTo>
                      <a:pt x="81" y="265"/>
                      <a:pt x="81" y="265"/>
                      <a:pt x="81" y="265"/>
                    </a:cubicBezTo>
                    <a:cubicBezTo>
                      <a:pt x="77" y="205"/>
                      <a:pt x="119" y="80"/>
                      <a:pt x="82" y="0"/>
                    </a:cubicBezTo>
                    <a:close/>
                  </a:path>
                </a:pathLst>
              </a:custGeom>
              <a:solidFill>
                <a:srgbClr val="1848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grpSp>
            <p:nvGrpSpPr>
              <p:cNvPr id="9965" name="组合 9964">
                <a:extLst>
                  <a:ext uri="{FF2B5EF4-FFF2-40B4-BE49-F238E27FC236}">
                    <a16:creationId xmlns:a16="http://schemas.microsoft.com/office/drawing/2014/main" id="{4074EF87-8232-4AC3-A405-C72FD9533AA7}"/>
                  </a:ext>
                </a:extLst>
              </p:cNvPr>
              <p:cNvGrpSpPr/>
              <p:nvPr userDrawn="1"/>
            </p:nvGrpSpPr>
            <p:grpSpPr>
              <a:xfrm>
                <a:off x="9485418" y="3655302"/>
                <a:ext cx="189664" cy="181154"/>
                <a:chOff x="9461516" y="3642536"/>
                <a:chExt cx="189664" cy="181154"/>
              </a:xfrm>
            </p:grpSpPr>
            <p:sp>
              <p:nvSpPr>
                <p:cNvPr id="9923" name="Freeform 166">
                  <a:extLst>
                    <a:ext uri="{FF2B5EF4-FFF2-40B4-BE49-F238E27FC236}">
                      <a16:creationId xmlns:a16="http://schemas.microsoft.com/office/drawing/2014/main" id="{36BC7F6B-EB1D-4820-8520-E574D95E8011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9596470" y="3677795"/>
                  <a:ext cx="46200" cy="65653"/>
                </a:xfrm>
                <a:custGeom>
                  <a:avLst/>
                  <a:gdLst>
                    <a:gd name="T0" fmla="*/ 3 w 12"/>
                    <a:gd name="T1" fmla="*/ 2 h 17"/>
                    <a:gd name="T2" fmla="*/ 3 w 12"/>
                    <a:gd name="T3" fmla="*/ 12 h 17"/>
                    <a:gd name="T4" fmla="*/ 12 w 12"/>
                    <a:gd name="T5" fmla="*/ 17 h 17"/>
                    <a:gd name="T6" fmla="*/ 6 w 12"/>
                    <a:gd name="T7" fmla="*/ 5 h 17"/>
                    <a:gd name="T8" fmla="*/ 3 w 12"/>
                    <a:gd name="T9" fmla="*/ 2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2" h="17">
                      <a:moveTo>
                        <a:pt x="3" y="2"/>
                      </a:moveTo>
                      <a:cubicBezTo>
                        <a:pt x="0" y="3"/>
                        <a:pt x="2" y="11"/>
                        <a:pt x="3" y="12"/>
                      </a:cubicBezTo>
                      <a:cubicBezTo>
                        <a:pt x="6" y="15"/>
                        <a:pt x="9" y="14"/>
                        <a:pt x="12" y="17"/>
                      </a:cubicBezTo>
                      <a:cubicBezTo>
                        <a:pt x="10" y="13"/>
                        <a:pt x="8" y="9"/>
                        <a:pt x="6" y="5"/>
                      </a:cubicBezTo>
                      <a:cubicBezTo>
                        <a:pt x="6" y="3"/>
                        <a:pt x="6" y="0"/>
                        <a:pt x="3" y="2"/>
                      </a:cubicBezTo>
                      <a:close/>
                    </a:path>
                  </a:pathLst>
                </a:custGeom>
                <a:solidFill>
                  <a:srgbClr val="FCD2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9924" name="Freeform 167">
                  <a:extLst>
                    <a:ext uri="{FF2B5EF4-FFF2-40B4-BE49-F238E27FC236}">
                      <a16:creationId xmlns:a16="http://schemas.microsoft.com/office/drawing/2014/main" id="{BB1068D4-5370-435D-B12B-48724A2B6076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9461516" y="3642536"/>
                  <a:ext cx="189664" cy="181154"/>
                </a:xfrm>
                <a:custGeom>
                  <a:avLst/>
                  <a:gdLst>
                    <a:gd name="T0" fmla="*/ 38 w 49"/>
                    <a:gd name="T1" fmla="*/ 19 h 47"/>
                    <a:gd name="T2" fmla="*/ 22 w 49"/>
                    <a:gd name="T3" fmla="*/ 8 h 47"/>
                    <a:gd name="T4" fmla="*/ 11 w 49"/>
                    <a:gd name="T5" fmla="*/ 1 h 47"/>
                    <a:gd name="T6" fmla="*/ 4 w 49"/>
                    <a:gd name="T7" fmla="*/ 3 h 47"/>
                    <a:gd name="T8" fmla="*/ 3 w 49"/>
                    <a:gd name="T9" fmla="*/ 7 h 47"/>
                    <a:gd name="T10" fmla="*/ 5 w 49"/>
                    <a:gd name="T11" fmla="*/ 14 h 47"/>
                    <a:gd name="T12" fmla="*/ 13 w 49"/>
                    <a:gd name="T13" fmla="*/ 26 h 47"/>
                    <a:gd name="T14" fmla="*/ 39 w 49"/>
                    <a:gd name="T15" fmla="*/ 47 h 47"/>
                    <a:gd name="T16" fmla="*/ 49 w 49"/>
                    <a:gd name="T17" fmla="*/ 30 h 47"/>
                    <a:gd name="T18" fmla="*/ 38 w 49"/>
                    <a:gd name="T19" fmla="*/ 19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9" h="47">
                      <a:moveTo>
                        <a:pt x="38" y="19"/>
                      </a:moveTo>
                      <a:cubicBezTo>
                        <a:pt x="35" y="15"/>
                        <a:pt x="24" y="9"/>
                        <a:pt x="22" y="8"/>
                      </a:cubicBezTo>
                      <a:cubicBezTo>
                        <a:pt x="17" y="4"/>
                        <a:pt x="14" y="2"/>
                        <a:pt x="11" y="1"/>
                      </a:cubicBezTo>
                      <a:cubicBezTo>
                        <a:pt x="8" y="0"/>
                        <a:pt x="6" y="2"/>
                        <a:pt x="4" y="3"/>
                      </a:cubicBezTo>
                      <a:cubicBezTo>
                        <a:pt x="2" y="4"/>
                        <a:pt x="3" y="5"/>
                        <a:pt x="3" y="7"/>
                      </a:cubicBezTo>
                      <a:cubicBezTo>
                        <a:pt x="0" y="8"/>
                        <a:pt x="5" y="12"/>
                        <a:pt x="5" y="14"/>
                      </a:cubicBezTo>
                      <a:cubicBezTo>
                        <a:pt x="1" y="19"/>
                        <a:pt x="7" y="21"/>
                        <a:pt x="13" y="26"/>
                      </a:cubicBezTo>
                      <a:cubicBezTo>
                        <a:pt x="13" y="26"/>
                        <a:pt x="35" y="45"/>
                        <a:pt x="39" y="47"/>
                      </a:cubicBezTo>
                      <a:cubicBezTo>
                        <a:pt x="42" y="46"/>
                        <a:pt x="49" y="30"/>
                        <a:pt x="49" y="30"/>
                      </a:cubicBezTo>
                      <a:cubicBezTo>
                        <a:pt x="47" y="24"/>
                        <a:pt x="42" y="22"/>
                        <a:pt x="38" y="19"/>
                      </a:cubicBezTo>
                      <a:close/>
                    </a:path>
                  </a:pathLst>
                </a:custGeom>
                <a:solidFill>
                  <a:srgbClr val="FCD2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</p:grpSp>
          <p:sp>
            <p:nvSpPr>
              <p:cNvPr id="9927" name="Freeform 170">
                <a:extLst>
                  <a:ext uri="{FF2B5EF4-FFF2-40B4-BE49-F238E27FC236}">
                    <a16:creationId xmlns:a16="http://schemas.microsoft.com/office/drawing/2014/main" id="{7ADD7C54-4D30-425D-BF1F-13DAE09F01F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9608628" y="3747095"/>
                <a:ext cx="1175677" cy="417019"/>
              </a:xfrm>
              <a:custGeom>
                <a:avLst/>
                <a:gdLst>
                  <a:gd name="T0" fmla="*/ 271 w 304"/>
                  <a:gd name="T1" fmla="*/ 17 h 108"/>
                  <a:gd name="T2" fmla="*/ 137 w 304"/>
                  <a:gd name="T3" fmla="*/ 56 h 108"/>
                  <a:gd name="T4" fmla="*/ 16 w 304"/>
                  <a:gd name="T5" fmla="*/ 0 h 108"/>
                  <a:gd name="T6" fmla="*/ 0 w 304"/>
                  <a:gd name="T7" fmla="*/ 23 h 108"/>
                  <a:gd name="T8" fmla="*/ 134 w 304"/>
                  <a:gd name="T9" fmla="*/ 103 h 108"/>
                  <a:gd name="T10" fmla="*/ 293 w 304"/>
                  <a:gd name="T11" fmla="*/ 71 h 108"/>
                  <a:gd name="T12" fmla="*/ 271 w 304"/>
                  <a:gd name="T13" fmla="*/ 17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4" h="108">
                    <a:moveTo>
                      <a:pt x="271" y="17"/>
                    </a:moveTo>
                    <a:cubicBezTo>
                      <a:pt x="253" y="21"/>
                      <a:pt x="161" y="51"/>
                      <a:pt x="137" y="56"/>
                    </a:cubicBezTo>
                    <a:cubicBezTo>
                      <a:pt x="95" y="37"/>
                      <a:pt x="49" y="21"/>
                      <a:pt x="16" y="0"/>
                    </a:cubicBezTo>
                    <a:cubicBezTo>
                      <a:pt x="11" y="8"/>
                      <a:pt x="5" y="15"/>
                      <a:pt x="0" y="23"/>
                    </a:cubicBezTo>
                    <a:cubicBezTo>
                      <a:pt x="34" y="47"/>
                      <a:pt x="97" y="98"/>
                      <a:pt x="134" y="103"/>
                    </a:cubicBezTo>
                    <a:cubicBezTo>
                      <a:pt x="170" y="107"/>
                      <a:pt x="262" y="108"/>
                      <a:pt x="293" y="71"/>
                    </a:cubicBezTo>
                    <a:cubicBezTo>
                      <a:pt x="304" y="59"/>
                      <a:pt x="304" y="9"/>
                      <a:pt x="271" y="17"/>
                    </a:cubicBezTo>
                    <a:close/>
                  </a:path>
                </a:pathLst>
              </a:custGeom>
              <a:solidFill>
                <a:srgbClr val="D1DB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28" name="Freeform 171">
                <a:extLst>
                  <a:ext uri="{FF2B5EF4-FFF2-40B4-BE49-F238E27FC236}">
                    <a16:creationId xmlns:a16="http://schemas.microsoft.com/office/drawing/2014/main" id="{BD6B6C31-1842-4FFE-8FFB-A1F11264AB2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559381" y="3720347"/>
                <a:ext cx="797563" cy="1379930"/>
              </a:xfrm>
              <a:custGeom>
                <a:avLst/>
                <a:gdLst>
                  <a:gd name="T0" fmla="*/ 59 w 206"/>
                  <a:gd name="T1" fmla="*/ 16 h 357"/>
                  <a:gd name="T2" fmla="*/ 11 w 206"/>
                  <a:gd name="T3" fmla="*/ 34 h 357"/>
                  <a:gd name="T4" fmla="*/ 4 w 206"/>
                  <a:gd name="T5" fmla="*/ 91 h 357"/>
                  <a:gd name="T6" fmla="*/ 16 w 206"/>
                  <a:gd name="T7" fmla="*/ 302 h 357"/>
                  <a:gd name="T8" fmla="*/ 35 w 206"/>
                  <a:gd name="T9" fmla="*/ 331 h 357"/>
                  <a:gd name="T10" fmla="*/ 172 w 206"/>
                  <a:gd name="T11" fmla="*/ 313 h 357"/>
                  <a:gd name="T12" fmla="*/ 199 w 206"/>
                  <a:gd name="T13" fmla="*/ 302 h 357"/>
                  <a:gd name="T14" fmla="*/ 160 w 206"/>
                  <a:gd name="T15" fmla="*/ 43 h 357"/>
                  <a:gd name="T16" fmla="*/ 59 w 206"/>
                  <a:gd name="T17" fmla="*/ 16 h 3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6" h="357">
                    <a:moveTo>
                      <a:pt x="59" y="16"/>
                    </a:moveTo>
                    <a:cubicBezTo>
                      <a:pt x="34" y="15"/>
                      <a:pt x="16" y="28"/>
                      <a:pt x="11" y="34"/>
                    </a:cubicBezTo>
                    <a:cubicBezTo>
                      <a:pt x="0" y="48"/>
                      <a:pt x="2" y="72"/>
                      <a:pt x="4" y="91"/>
                    </a:cubicBezTo>
                    <a:cubicBezTo>
                      <a:pt x="13" y="163"/>
                      <a:pt x="18" y="228"/>
                      <a:pt x="16" y="302"/>
                    </a:cubicBezTo>
                    <a:cubicBezTo>
                      <a:pt x="15" y="311"/>
                      <a:pt x="20" y="326"/>
                      <a:pt x="35" y="331"/>
                    </a:cubicBezTo>
                    <a:cubicBezTo>
                      <a:pt x="105" y="357"/>
                      <a:pt x="135" y="314"/>
                      <a:pt x="172" y="313"/>
                    </a:cubicBezTo>
                    <a:cubicBezTo>
                      <a:pt x="202" y="312"/>
                      <a:pt x="199" y="308"/>
                      <a:pt x="199" y="302"/>
                    </a:cubicBezTo>
                    <a:cubicBezTo>
                      <a:pt x="206" y="228"/>
                      <a:pt x="194" y="91"/>
                      <a:pt x="160" y="43"/>
                    </a:cubicBezTo>
                    <a:cubicBezTo>
                      <a:pt x="130" y="0"/>
                      <a:pt x="71" y="16"/>
                      <a:pt x="59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29" name="Freeform 172">
                <a:extLst>
                  <a:ext uri="{FF2B5EF4-FFF2-40B4-BE49-F238E27FC236}">
                    <a16:creationId xmlns:a16="http://schemas.microsoft.com/office/drawing/2014/main" id="{F9C1B595-DE89-48CE-8267-CD40A65306D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997069" y="4953165"/>
                <a:ext cx="54711" cy="62006"/>
              </a:xfrm>
              <a:custGeom>
                <a:avLst/>
                <a:gdLst>
                  <a:gd name="T0" fmla="*/ 4 w 14"/>
                  <a:gd name="T1" fmla="*/ 9 h 16"/>
                  <a:gd name="T2" fmla="*/ 2 w 14"/>
                  <a:gd name="T3" fmla="*/ 14 h 16"/>
                  <a:gd name="T4" fmla="*/ 12 w 14"/>
                  <a:gd name="T5" fmla="*/ 11 h 16"/>
                  <a:gd name="T6" fmla="*/ 14 w 14"/>
                  <a:gd name="T7" fmla="*/ 0 h 16"/>
                  <a:gd name="T8" fmla="*/ 4 w 14"/>
                  <a:gd name="T9" fmla="*/ 9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6">
                    <a:moveTo>
                      <a:pt x="4" y="9"/>
                    </a:moveTo>
                    <a:cubicBezTo>
                      <a:pt x="2" y="10"/>
                      <a:pt x="0" y="11"/>
                      <a:pt x="2" y="14"/>
                    </a:cubicBezTo>
                    <a:cubicBezTo>
                      <a:pt x="3" y="16"/>
                      <a:pt x="11" y="12"/>
                      <a:pt x="12" y="11"/>
                    </a:cubicBezTo>
                    <a:cubicBezTo>
                      <a:pt x="14" y="7"/>
                      <a:pt x="12" y="4"/>
                      <a:pt x="14" y="0"/>
                    </a:cubicBezTo>
                    <a:cubicBezTo>
                      <a:pt x="11" y="4"/>
                      <a:pt x="8" y="7"/>
                      <a:pt x="4" y="9"/>
                    </a:cubicBezTo>
                    <a:close/>
                  </a:path>
                </a:pathLst>
              </a:custGeom>
              <a:solidFill>
                <a:srgbClr val="FCD2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30" name="Freeform 173">
                <a:extLst>
                  <a:ext uri="{FF2B5EF4-FFF2-40B4-BE49-F238E27FC236}">
                    <a16:creationId xmlns:a16="http://schemas.microsoft.com/office/drawing/2014/main" id="{8C7B01A1-0C77-48C0-9AFC-DF559EA9C6A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997069" y="4941008"/>
                <a:ext cx="143464" cy="205470"/>
              </a:xfrm>
              <a:custGeom>
                <a:avLst/>
                <a:gdLst>
                  <a:gd name="T0" fmla="*/ 17 w 37"/>
                  <a:gd name="T1" fmla="*/ 0 h 53"/>
                  <a:gd name="T2" fmla="*/ 9 w 37"/>
                  <a:gd name="T3" fmla="*/ 14 h 53"/>
                  <a:gd name="T4" fmla="*/ 3 w 37"/>
                  <a:gd name="T5" fmla="*/ 33 h 53"/>
                  <a:gd name="T6" fmla="*/ 0 w 37"/>
                  <a:gd name="T7" fmla="*/ 45 h 53"/>
                  <a:gd name="T8" fmla="*/ 3 w 37"/>
                  <a:gd name="T9" fmla="*/ 51 h 53"/>
                  <a:gd name="T10" fmla="*/ 7 w 37"/>
                  <a:gd name="T11" fmla="*/ 51 h 53"/>
                  <a:gd name="T12" fmla="*/ 13 w 37"/>
                  <a:gd name="T13" fmla="*/ 48 h 53"/>
                  <a:gd name="T14" fmla="*/ 23 w 37"/>
                  <a:gd name="T15" fmla="*/ 36 h 53"/>
                  <a:gd name="T16" fmla="*/ 37 w 37"/>
                  <a:gd name="T17" fmla="*/ 6 h 53"/>
                  <a:gd name="T18" fmla="*/ 17 w 37"/>
                  <a:gd name="T19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7" h="53">
                    <a:moveTo>
                      <a:pt x="17" y="0"/>
                    </a:moveTo>
                    <a:cubicBezTo>
                      <a:pt x="12" y="4"/>
                      <a:pt x="11" y="10"/>
                      <a:pt x="9" y="14"/>
                    </a:cubicBezTo>
                    <a:cubicBezTo>
                      <a:pt x="7" y="18"/>
                      <a:pt x="4" y="31"/>
                      <a:pt x="3" y="33"/>
                    </a:cubicBezTo>
                    <a:cubicBezTo>
                      <a:pt x="1" y="39"/>
                      <a:pt x="0" y="42"/>
                      <a:pt x="0" y="45"/>
                    </a:cubicBezTo>
                    <a:cubicBezTo>
                      <a:pt x="0" y="49"/>
                      <a:pt x="2" y="50"/>
                      <a:pt x="3" y="51"/>
                    </a:cubicBezTo>
                    <a:cubicBezTo>
                      <a:pt x="4" y="53"/>
                      <a:pt x="6" y="52"/>
                      <a:pt x="7" y="51"/>
                    </a:cubicBezTo>
                    <a:cubicBezTo>
                      <a:pt x="10" y="53"/>
                      <a:pt x="12" y="47"/>
                      <a:pt x="13" y="48"/>
                    </a:cubicBezTo>
                    <a:cubicBezTo>
                      <a:pt x="19" y="50"/>
                      <a:pt x="20" y="43"/>
                      <a:pt x="23" y="36"/>
                    </a:cubicBezTo>
                    <a:cubicBezTo>
                      <a:pt x="23" y="36"/>
                      <a:pt x="36" y="10"/>
                      <a:pt x="37" y="6"/>
                    </a:cubicBezTo>
                    <a:cubicBezTo>
                      <a:pt x="35" y="3"/>
                      <a:pt x="17" y="0"/>
                      <a:pt x="17" y="0"/>
                    </a:cubicBezTo>
                    <a:close/>
                  </a:path>
                </a:pathLst>
              </a:custGeom>
              <a:solidFill>
                <a:srgbClr val="FCD2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31" name="Freeform 174">
                <a:extLst>
                  <a:ext uri="{FF2B5EF4-FFF2-40B4-BE49-F238E27FC236}">
                    <a16:creationId xmlns:a16="http://schemas.microsoft.com/office/drawing/2014/main" id="{73072B7C-93A5-4C17-A8C2-B2D9DD94374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055427" y="4261377"/>
                <a:ext cx="274770" cy="711242"/>
              </a:xfrm>
              <a:custGeom>
                <a:avLst/>
                <a:gdLst>
                  <a:gd name="T0" fmla="*/ 30 w 71"/>
                  <a:gd name="T1" fmla="*/ 25 h 184"/>
                  <a:gd name="T2" fmla="*/ 28 w 71"/>
                  <a:gd name="T3" fmla="*/ 30 h 184"/>
                  <a:gd name="T4" fmla="*/ 0 w 71"/>
                  <a:gd name="T5" fmla="*/ 178 h 184"/>
                  <a:gd name="T6" fmla="*/ 21 w 71"/>
                  <a:gd name="T7" fmla="*/ 184 h 184"/>
                  <a:gd name="T8" fmla="*/ 59 w 71"/>
                  <a:gd name="T9" fmla="*/ 27 h 184"/>
                  <a:gd name="T10" fmla="*/ 30 w 71"/>
                  <a:gd name="T11" fmla="*/ 25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1" h="184">
                    <a:moveTo>
                      <a:pt x="30" y="25"/>
                    </a:moveTo>
                    <a:cubicBezTo>
                      <a:pt x="29" y="25"/>
                      <a:pt x="29" y="27"/>
                      <a:pt x="28" y="30"/>
                    </a:cubicBezTo>
                    <a:cubicBezTo>
                      <a:pt x="18" y="78"/>
                      <a:pt x="16" y="130"/>
                      <a:pt x="0" y="178"/>
                    </a:cubicBezTo>
                    <a:cubicBezTo>
                      <a:pt x="7" y="179"/>
                      <a:pt x="14" y="182"/>
                      <a:pt x="21" y="184"/>
                    </a:cubicBezTo>
                    <a:cubicBezTo>
                      <a:pt x="40" y="151"/>
                      <a:pt x="71" y="54"/>
                      <a:pt x="59" y="27"/>
                    </a:cubicBezTo>
                    <a:cubicBezTo>
                      <a:pt x="46" y="0"/>
                      <a:pt x="39" y="24"/>
                      <a:pt x="30" y="25"/>
                    </a:cubicBezTo>
                    <a:close/>
                  </a:path>
                </a:pathLst>
              </a:custGeom>
              <a:solidFill>
                <a:srgbClr val="FCD2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32" name="Freeform 175">
                <a:extLst>
                  <a:ext uri="{FF2B5EF4-FFF2-40B4-BE49-F238E27FC236}">
                    <a16:creationId xmlns:a16="http://schemas.microsoft.com/office/drawing/2014/main" id="{AB8AF15F-F148-420A-B134-B44D0E4814C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950868" y="3843143"/>
                <a:ext cx="340423" cy="673552"/>
              </a:xfrm>
              <a:custGeom>
                <a:avLst/>
                <a:gdLst>
                  <a:gd name="T0" fmla="*/ 41 w 88"/>
                  <a:gd name="T1" fmla="*/ 10 h 174"/>
                  <a:gd name="T2" fmla="*/ 2 w 88"/>
                  <a:gd name="T3" fmla="*/ 35 h 174"/>
                  <a:gd name="T4" fmla="*/ 47 w 88"/>
                  <a:gd name="T5" fmla="*/ 136 h 174"/>
                  <a:gd name="T6" fmla="*/ 87 w 88"/>
                  <a:gd name="T7" fmla="*/ 141 h 174"/>
                  <a:gd name="T8" fmla="*/ 41 w 88"/>
                  <a:gd name="T9" fmla="*/ 1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8" h="174">
                    <a:moveTo>
                      <a:pt x="41" y="10"/>
                    </a:moveTo>
                    <a:cubicBezTo>
                      <a:pt x="27" y="0"/>
                      <a:pt x="0" y="29"/>
                      <a:pt x="2" y="35"/>
                    </a:cubicBezTo>
                    <a:cubicBezTo>
                      <a:pt x="10" y="73"/>
                      <a:pt x="35" y="104"/>
                      <a:pt x="47" y="136"/>
                    </a:cubicBezTo>
                    <a:cubicBezTo>
                      <a:pt x="61" y="174"/>
                      <a:pt x="87" y="159"/>
                      <a:pt x="87" y="141"/>
                    </a:cubicBezTo>
                    <a:cubicBezTo>
                      <a:pt x="88" y="94"/>
                      <a:pt x="72" y="33"/>
                      <a:pt x="41" y="10"/>
                    </a:cubicBezTo>
                    <a:close/>
                  </a:path>
                </a:pathLst>
              </a:custGeom>
              <a:solidFill>
                <a:srgbClr val="FCD2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33" name="Freeform 176">
                <a:extLst>
                  <a:ext uri="{FF2B5EF4-FFF2-40B4-BE49-F238E27FC236}">
                    <a16:creationId xmlns:a16="http://schemas.microsoft.com/office/drawing/2014/main" id="{9C9BEF7E-3B1E-4A0C-9992-A4E177D28E4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924121" y="3770195"/>
                <a:ext cx="397566" cy="1209719"/>
              </a:xfrm>
              <a:custGeom>
                <a:avLst/>
                <a:gdLst>
                  <a:gd name="T0" fmla="*/ 65 w 103"/>
                  <a:gd name="T1" fmla="*/ 36 h 313"/>
                  <a:gd name="T2" fmla="*/ 8 w 103"/>
                  <a:gd name="T3" fmla="*/ 55 h 313"/>
                  <a:gd name="T4" fmla="*/ 54 w 103"/>
                  <a:gd name="T5" fmla="*/ 168 h 313"/>
                  <a:gd name="T6" fmla="*/ 29 w 103"/>
                  <a:gd name="T7" fmla="*/ 302 h 313"/>
                  <a:gd name="T8" fmla="*/ 60 w 103"/>
                  <a:gd name="T9" fmla="*/ 313 h 313"/>
                  <a:gd name="T10" fmla="*/ 100 w 103"/>
                  <a:gd name="T11" fmla="*/ 158 h 313"/>
                  <a:gd name="T12" fmla="*/ 65 w 103"/>
                  <a:gd name="T13" fmla="*/ 36 h 3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313">
                    <a:moveTo>
                      <a:pt x="65" y="36"/>
                    </a:moveTo>
                    <a:cubicBezTo>
                      <a:pt x="41" y="0"/>
                      <a:pt x="0" y="30"/>
                      <a:pt x="8" y="55"/>
                    </a:cubicBezTo>
                    <a:cubicBezTo>
                      <a:pt x="15" y="77"/>
                      <a:pt x="41" y="144"/>
                      <a:pt x="54" y="168"/>
                    </a:cubicBezTo>
                    <a:cubicBezTo>
                      <a:pt x="47" y="213"/>
                      <a:pt x="42" y="259"/>
                      <a:pt x="29" y="302"/>
                    </a:cubicBezTo>
                    <a:cubicBezTo>
                      <a:pt x="39" y="306"/>
                      <a:pt x="49" y="310"/>
                      <a:pt x="60" y="313"/>
                    </a:cubicBezTo>
                    <a:cubicBezTo>
                      <a:pt x="77" y="267"/>
                      <a:pt x="103" y="207"/>
                      <a:pt x="100" y="158"/>
                    </a:cubicBezTo>
                    <a:cubicBezTo>
                      <a:pt x="96" y="109"/>
                      <a:pt x="74" y="50"/>
                      <a:pt x="65" y="36"/>
                    </a:cubicBezTo>
                    <a:close/>
                  </a:path>
                </a:pathLst>
              </a:custGeom>
              <a:solidFill>
                <a:srgbClr val="D1DB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38" name="Freeform 181">
                <a:extLst>
                  <a:ext uri="{FF2B5EF4-FFF2-40B4-BE49-F238E27FC236}">
                    <a16:creationId xmlns:a16="http://schemas.microsoft.com/office/drawing/2014/main" id="{F5332DE9-6597-4376-AF90-83B2EB3C0E4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734456" y="3828554"/>
                <a:ext cx="119148" cy="99696"/>
              </a:xfrm>
              <a:custGeom>
                <a:avLst/>
                <a:gdLst>
                  <a:gd name="T0" fmla="*/ 3 w 31"/>
                  <a:gd name="T1" fmla="*/ 7 h 26"/>
                  <a:gd name="T2" fmla="*/ 13 w 31"/>
                  <a:gd name="T3" fmla="*/ 25 h 26"/>
                  <a:gd name="T4" fmla="*/ 28 w 31"/>
                  <a:gd name="T5" fmla="*/ 12 h 26"/>
                  <a:gd name="T6" fmla="*/ 3 w 31"/>
                  <a:gd name="T7" fmla="*/ 7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1" h="26">
                    <a:moveTo>
                      <a:pt x="3" y="7"/>
                    </a:moveTo>
                    <a:cubicBezTo>
                      <a:pt x="0" y="13"/>
                      <a:pt x="7" y="24"/>
                      <a:pt x="13" y="25"/>
                    </a:cubicBezTo>
                    <a:cubicBezTo>
                      <a:pt x="19" y="26"/>
                      <a:pt x="31" y="18"/>
                      <a:pt x="28" y="12"/>
                    </a:cubicBezTo>
                    <a:cubicBezTo>
                      <a:pt x="25" y="6"/>
                      <a:pt x="7" y="0"/>
                      <a:pt x="3" y="7"/>
                    </a:cubicBezTo>
                    <a:close/>
                  </a:path>
                </a:pathLst>
              </a:custGeom>
              <a:solidFill>
                <a:srgbClr val="BD40A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39" name="Freeform 182">
                <a:extLst>
                  <a:ext uri="{FF2B5EF4-FFF2-40B4-BE49-F238E27FC236}">
                    <a16:creationId xmlns:a16="http://schemas.microsoft.com/office/drawing/2014/main" id="{1349DED9-C0FF-4641-ABE1-CB50F53450B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626250" y="3882049"/>
                <a:ext cx="255317" cy="761089"/>
              </a:xfrm>
              <a:custGeom>
                <a:avLst/>
                <a:gdLst>
                  <a:gd name="T0" fmla="*/ 47 w 66"/>
                  <a:gd name="T1" fmla="*/ 6 h 197"/>
                  <a:gd name="T2" fmla="*/ 41 w 66"/>
                  <a:gd name="T3" fmla="*/ 1 h 197"/>
                  <a:gd name="T4" fmla="*/ 33 w 66"/>
                  <a:gd name="T5" fmla="*/ 194 h 197"/>
                  <a:gd name="T6" fmla="*/ 66 w 66"/>
                  <a:gd name="T7" fmla="*/ 197 h 197"/>
                  <a:gd name="T8" fmla="*/ 66 w 66"/>
                  <a:gd name="T9" fmla="*/ 164 h 197"/>
                  <a:gd name="T10" fmla="*/ 47 w 66"/>
                  <a:gd name="T11" fmla="*/ 6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6" h="197">
                    <a:moveTo>
                      <a:pt x="47" y="6"/>
                    </a:moveTo>
                    <a:cubicBezTo>
                      <a:pt x="47" y="5"/>
                      <a:pt x="42" y="0"/>
                      <a:pt x="41" y="1"/>
                    </a:cubicBezTo>
                    <a:cubicBezTo>
                      <a:pt x="10" y="60"/>
                      <a:pt x="0" y="133"/>
                      <a:pt x="33" y="194"/>
                    </a:cubicBezTo>
                    <a:cubicBezTo>
                      <a:pt x="44" y="195"/>
                      <a:pt x="55" y="196"/>
                      <a:pt x="66" y="197"/>
                    </a:cubicBezTo>
                    <a:cubicBezTo>
                      <a:pt x="66" y="186"/>
                      <a:pt x="66" y="175"/>
                      <a:pt x="66" y="164"/>
                    </a:cubicBezTo>
                    <a:cubicBezTo>
                      <a:pt x="24" y="119"/>
                      <a:pt x="33" y="61"/>
                      <a:pt x="47" y="6"/>
                    </a:cubicBezTo>
                    <a:close/>
                  </a:path>
                </a:pathLst>
              </a:custGeom>
              <a:solidFill>
                <a:srgbClr val="BD40A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grpSp>
            <p:nvGrpSpPr>
              <p:cNvPr id="9964" name="组合 9963">
                <a:extLst>
                  <a:ext uri="{FF2B5EF4-FFF2-40B4-BE49-F238E27FC236}">
                    <a16:creationId xmlns:a16="http://schemas.microsoft.com/office/drawing/2014/main" id="{B9BCA76E-AEB8-48F9-8302-6123B4F102ED}"/>
                  </a:ext>
                </a:extLst>
              </p:cNvPr>
              <p:cNvGrpSpPr/>
              <p:nvPr userDrawn="1"/>
            </p:nvGrpSpPr>
            <p:grpSpPr>
              <a:xfrm>
                <a:off x="10554740" y="3213968"/>
                <a:ext cx="526440" cy="657747"/>
                <a:chOff x="10559381" y="3217007"/>
                <a:chExt cx="526440" cy="657747"/>
              </a:xfrm>
            </p:grpSpPr>
            <p:sp>
              <p:nvSpPr>
                <p:cNvPr id="9922" name="Freeform 165">
                  <a:extLst>
                    <a:ext uri="{FF2B5EF4-FFF2-40B4-BE49-F238E27FC236}">
                      <a16:creationId xmlns:a16="http://schemas.microsoft.com/office/drawing/2014/main" id="{49902E9A-70EF-43D9-A2A5-14C19322F42C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0559381" y="3271718"/>
                  <a:ext cx="437687" cy="452276"/>
                </a:xfrm>
                <a:custGeom>
                  <a:avLst/>
                  <a:gdLst>
                    <a:gd name="T0" fmla="*/ 36 w 113"/>
                    <a:gd name="T1" fmla="*/ 19 h 117"/>
                    <a:gd name="T2" fmla="*/ 53 w 113"/>
                    <a:gd name="T3" fmla="*/ 115 h 117"/>
                    <a:gd name="T4" fmla="*/ 71 w 113"/>
                    <a:gd name="T5" fmla="*/ 42 h 117"/>
                    <a:gd name="T6" fmla="*/ 113 w 113"/>
                    <a:gd name="T7" fmla="*/ 42 h 117"/>
                    <a:gd name="T8" fmla="*/ 36 w 113"/>
                    <a:gd name="T9" fmla="*/ 19 h 1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3" h="117">
                      <a:moveTo>
                        <a:pt x="36" y="19"/>
                      </a:moveTo>
                      <a:cubicBezTo>
                        <a:pt x="0" y="43"/>
                        <a:pt x="3" y="102"/>
                        <a:pt x="53" y="115"/>
                      </a:cubicBezTo>
                      <a:cubicBezTo>
                        <a:pt x="63" y="117"/>
                        <a:pt x="77" y="53"/>
                        <a:pt x="71" y="42"/>
                      </a:cubicBezTo>
                      <a:cubicBezTo>
                        <a:pt x="86" y="39"/>
                        <a:pt x="99" y="41"/>
                        <a:pt x="113" y="42"/>
                      </a:cubicBezTo>
                      <a:cubicBezTo>
                        <a:pt x="97" y="17"/>
                        <a:pt x="63" y="0"/>
                        <a:pt x="36" y="19"/>
                      </a:cubicBezTo>
                      <a:close/>
                    </a:path>
                  </a:pathLst>
                </a:custGeom>
                <a:solidFill>
                  <a:srgbClr val="18486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9934" name="Freeform 177">
                  <a:extLst>
                    <a:ext uri="{FF2B5EF4-FFF2-40B4-BE49-F238E27FC236}">
                      <a16:creationId xmlns:a16="http://schemas.microsoft.com/office/drawing/2014/main" id="{A5913668-54BC-4E3D-89FD-AFFC5D95B019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0730809" y="3623083"/>
                  <a:ext cx="188449" cy="251671"/>
                </a:xfrm>
                <a:custGeom>
                  <a:avLst/>
                  <a:gdLst>
                    <a:gd name="T0" fmla="*/ 42 w 49"/>
                    <a:gd name="T1" fmla="*/ 0 h 65"/>
                    <a:gd name="T2" fmla="*/ 0 w 49"/>
                    <a:gd name="T3" fmla="*/ 6 h 65"/>
                    <a:gd name="T4" fmla="*/ 4 w 49"/>
                    <a:gd name="T5" fmla="*/ 49 h 65"/>
                    <a:gd name="T6" fmla="*/ 49 w 49"/>
                    <a:gd name="T7" fmla="*/ 44 h 65"/>
                    <a:gd name="T8" fmla="*/ 42 w 49"/>
                    <a:gd name="T9" fmla="*/ 0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9" h="65">
                      <a:moveTo>
                        <a:pt x="42" y="0"/>
                      </a:moveTo>
                      <a:cubicBezTo>
                        <a:pt x="29" y="4"/>
                        <a:pt x="14" y="8"/>
                        <a:pt x="0" y="6"/>
                      </a:cubicBezTo>
                      <a:cubicBezTo>
                        <a:pt x="2" y="20"/>
                        <a:pt x="5" y="34"/>
                        <a:pt x="4" y="49"/>
                      </a:cubicBezTo>
                      <a:cubicBezTo>
                        <a:pt x="16" y="65"/>
                        <a:pt x="39" y="60"/>
                        <a:pt x="49" y="44"/>
                      </a:cubicBezTo>
                      <a:cubicBezTo>
                        <a:pt x="41" y="31"/>
                        <a:pt x="38" y="15"/>
                        <a:pt x="42" y="0"/>
                      </a:cubicBezTo>
                      <a:close/>
                    </a:path>
                  </a:pathLst>
                </a:custGeom>
                <a:solidFill>
                  <a:srgbClr val="FCD2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9935" name="Freeform 178">
                  <a:extLst>
                    <a:ext uri="{FF2B5EF4-FFF2-40B4-BE49-F238E27FC236}">
                      <a16:creationId xmlns:a16="http://schemas.microsoft.com/office/drawing/2014/main" id="{BA483417-A10B-4434-A3B9-2DAD109B2DF5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0606797" y="3353176"/>
                  <a:ext cx="297871" cy="397566"/>
                </a:xfrm>
                <a:custGeom>
                  <a:avLst/>
                  <a:gdLst>
                    <a:gd name="T0" fmla="*/ 55 w 77"/>
                    <a:gd name="T1" fmla="*/ 13 h 103"/>
                    <a:gd name="T2" fmla="*/ 9 w 77"/>
                    <a:gd name="T3" fmla="*/ 22 h 103"/>
                    <a:gd name="T4" fmla="*/ 31 w 77"/>
                    <a:gd name="T5" fmla="*/ 100 h 103"/>
                    <a:gd name="T6" fmla="*/ 67 w 77"/>
                    <a:gd name="T7" fmla="*/ 75 h 103"/>
                    <a:gd name="T8" fmla="*/ 71 w 77"/>
                    <a:gd name="T9" fmla="*/ 58 h 103"/>
                    <a:gd name="T10" fmla="*/ 55 w 77"/>
                    <a:gd name="T11" fmla="*/ 13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7" h="103">
                      <a:moveTo>
                        <a:pt x="55" y="13"/>
                      </a:moveTo>
                      <a:cubicBezTo>
                        <a:pt x="44" y="8"/>
                        <a:pt x="17" y="0"/>
                        <a:pt x="9" y="22"/>
                      </a:cubicBezTo>
                      <a:cubicBezTo>
                        <a:pt x="5" y="32"/>
                        <a:pt x="0" y="93"/>
                        <a:pt x="31" y="100"/>
                      </a:cubicBezTo>
                      <a:cubicBezTo>
                        <a:pt x="45" y="103"/>
                        <a:pt x="63" y="89"/>
                        <a:pt x="67" y="75"/>
                      </a:cubicBezTo>
                      <a:cubicBezTo>
                        <a:pt x="68" y="71"/>
                        <a:pt x="71" y="58"/>
                        <a:pt x="71" y="58"/>
                      </a:cubicBezTo>
                      <a:cubicBezTo>
                        <a:pt x="77" y="39"/>
                        <a:pt x="72" y="21"/>
                        <a:pt x="55" y="13"/>
                      </a:cubicBezTo>
                      <a:close/>
                    </a:path>
                  </a:pathLst>
                </a:custGeom>
                <a:solidFill>
                  <a:srgbClr val="FCD2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9936" name="Freeform 179">
                  <a:extLst>
                    <a:ext uri="{FF2B5EF4-FFF2-40B4-BE49-F238E27FC236}">
                      <a16:creationId xmlns:a16="http://schemas.microsoft.com/office/drawing/2014/main" id="{B6F7F674-F9C3-46FD-BC5B-6F8882C11419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0575186" y="3217007"/>
                  <a:ext cx="510635" cy="506988"/>
                </a:xfrm>
                <a:custGeom>
                  <a:avLst/>
                  <a:gdLst>
                    <a:gd name="T0" fmla="*/ 105 w 132"/>
                    <a:gd name="T1" fmla="*/ 36 h 131"/>
                    <a:gd name="T2" fmla="*/ 43 w 132"/>
                    <a:gd name="T3" fmla="*/ 15 h 131"/>
                    <a:gd name="T4" fmla="*/ 14 w 132"/>
                    <a:gd name="T5" fmla="*/ 5 h 131"/>
                    <a:gd name="T6" fmla="*/ 7 w 132"/>
                    <a:gd name="T7" fmla="*/ 32 h 131"/>
                    <a:gd name="T8" fmla="*/ 66 w 132"/>
                    <a:gd name="T9" fmla="*/ 62 h 131"/>
                    <a:gd name="T10" fmla="*/ 65 w 132"/>
                    <a:gd name="T11" fmla="*/ 86 h 131"/>
                    <a:gd name="T12" fmla="*/ 78 w 132"/>
                    <a:gd name="T13" fmla="*/ 72 h 131"/>
                    <a:gd name="T14" fmla="*/ 79 w 132"/>
                    <a:gd name="T15" fmla="*/ 119 h 131"/>
                    <a:gd name="T16" fmla="*/ 99 w 132"/>
                    <a:gd name="T17" fmla="*/ 117 h 131"/>
                    <a:gd name="T18" fmla="*/ 105 w 132"/>
                    <a:gd name="T19" fmla="*/ 36 h 1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32" h="131">
                      <a:moveTo>
                        <a:pt x="105" y="36"/>
                      </a:moveTo>
                      <a:cubicBezTo>
                        <a:pt x="86" y="21"/>
                        <a:pt x="59" y="28"/>
                        <a:pt x="43" y="15"/>
                      </a:cubicBezTo>
                      <a:cubicBezTo>
                        <a:pt x="32" y="6"/>
                        <a:pt x="27" y="0"/>
                        <a:pt x="14" y="5"/>
                      </a:cubicBezTo>
                      <a:cubicBezTo>
                        <a:pt x="4" y="9"/>
                        <a:pt x="0" y="19"/>
                        <a:pt x="7" y="32"/>
                      </a:cubicBezTo>
                      <a:cubicBezTo>
                        <a:pt x="16" y="48"/>
                        <a:pt x="46" y="63"/>
                        <a:pt x="66" y="62"/>
                      </a:cubicBezTo>
                      <a:cubicBezTo>
                        <a:pt x="62" y="70"/>
                        <a:pt x="58" y="84"/>
                        <a:pt x="65" y="86"/>
                      </a:cubicBezTo>
                      <a:cubicBezTo>
                        <a:pt x="68" y="86"/>
                        <a:pt x="77" y="74"/>
                        <a:pt x="78" y="72"/>
                      </a:cubicBezTo>
                      <a:cubicBezTo>
                        <a:pt x="76" y="83"/>
                        <a:pt x="72" y="107"/>
                        <a:pt x="79" y="119"/>
                      </a:cubicBezTo>
                      <a:cubicBezTo>
                        <a:pt x="82" y="123"/>
                        <a:pt x="85" y="131"/>
                        <a:pt x="99" y="117"/>
                      </a:cubicBezTo>
                      <a:cubicBezTo>
                        <a:pt x="113" y="103"/>
                        <a:pt x="132" y="57"/>
                        <a:pt x="105" y="36"/>
                      </a:cubicBezTo>
                      <a:close/>
                    </a:path>
                  </a:pathLst>
                </a:custGeom>
                <a:solidFill>
                  <a:srgbClr val="18486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9942" name="Freeform 185">
                  <a:extLst>
                    <a:ext uri="{FF2B5EF4-FFF2-40B4-BE49-F238E27FC236}">
                      <a16:creationId xmlns:a16="http://schemas.microsoft.com/office/drawing/2014/main" id="{B5201AD8-B843-4F3B-979B-E927C8617ECB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0803756" y="3441930"/>
                  <a:ext cx="189664" cy="216412"/>
                </a:xfrm>
                <a:custGeom>
                  <a:avLst/>
                  <a:gdLst>
                    <a:gd name="T0" fmla="*/ 32 w 49"/>
                    <a:gd name="T1" fmla="*/ 4 h 56"/>
                    <a:gd name="T2" fmla="*/ 4 w 49"/>
                    <a:gd name="T3" fmla="*/ 21 h 56"/>
                    <a:gd name="T4" fmla="*/ 16 w 49"/>
                    <a:gd name="T5" fmla="*/ 52 h 56"/>
                    <a:gd name="T6" fmla="*/ 44 w 49"/>
                    <a:gd name="T7" fmla="*/ 35 h 56"/>
                    <a:gd name="T8" fmla="*/ 32 w 49"/>
                    <a:gd name="T9" fmla="*/ 4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9" h="56">
                      <a:moveTo>
                        <a:pt x="32" y="4"/>
                      </a:moveTo>
                      <a:cubicBezTo>
                        <a:pt x="21" y="0"/>
                        <a:pt x="9" y="8"/>
                        <a:pt x="4" y="21"/>
                      </a:cubicBezTo>
                      <a:cubicBezTo>
                        <a:pt x="0" y="35"/>
                        <a:pt x="5" y="49"/>
                        <a:pt x="16" y="52"/>
                      </a:cubicBezTo>
                      <a:cubicBezTo>
                        <a:pt x="27" y="56"/>
                        <a:pt x="39" y="48"/>
                        <a:pt x="44" y="35"/>
                      </a:cubicBezTo>
                      <a:cubicBezTo>
                        <a:pt x="49" y="22"/>
                        <a:pt x="43" y="8"/>
                        <a:pt x="32" y="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9943" name="Freeform 186">
                  <a:extLst>
                    <a:ext uri="{FF2B5EF4-FFF2-40B4-BE49-F238E27FC236}">
                      <a16:creationId xmlns:a16="http://schemas.microsoft.com/office/drawing/2014/main" id="{19E3EB12-EEE2-4509-9EBA-99BE91BD6D74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0853605" y="3475972"/>
                  <a:ext cx="143464" cy="166565"/>
                </a:xfrm>
                <a:custGeom>
                  <a:avLst/>
                  <a:gdLst>
                    <a:gd name="T0" fmla="*/ 25 w 37"/>
                    <a:gd name="T1" fmla="*/ 3 h 43"/>
                    <a:gd name="T2" fmla="*/ 3 w 37"/>
                    <a:gd name="T3" fmla="*/ 16 h 43"/>
                    <a:gd name="T4" fmla="*/ 12 w 37"/>
                    <a:gd name="T5" fmla="*/ 40 h 43"/>
                    <a:gd name="T6" fmla="*/ 33 w 37"/>
                    <a:gd name="T7" fmla="*/ 27 h 43"/>
                    <a:gd name="T8" fmla="*/ 25 w 37"/>
                    <a:gd name="T9" fmla="*/ 3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7" h="43">
                      <a:moveTo>
                        <a:pt x="25" y="3"/>
                      </a:moveTo>
                      <a:cubicBezTo>
                        <a:pt x="16" y="0"/>
                        <a:pt x="7" y="6"/>
                        <a:pt x="3" y="16"/>
                      </a:cubicBezTo>
                      <a:cubicBezTo>
                        <a:pt x="0" y="27"/>
                        <a:pt x="4" y="37"/>
                        <a:pt x="12" y="40"/>
                      </a:cubicBezTo>
                      <a:cubicBezTo>
                        <a:pt x="20" y="43"/>
                        <a:pt x="30" y="37"/>
                        <a:pt x="33" y="27"/>
                      </a:cubicBezTo>
                      <a:cubicBezTo>
                        <a:pt x="37" y="17"/>
                        <a:pt x="33" y="6"/>
                        <a:pt x="25" y="3"/>
                      </a:cubicBezTo>
                      <a:close/>
                    </a:path>
                  </a:pathLst>
                </a:custGeom>
                <a:solidFill>
                  <a:srgbClr val="FFC4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9944" name="Freeform 187">
                  <a:extLst>
                    <a:ext uri="{FF2B5EF4-FFF2-40B4-BE49-F238E27FC236}">
                      <a16:creationId xmlns:a16="http://schemas.microsoft.com/office/drawing/2014/main" id="{46B31A11-E91B-451A-9765-75B8F48F722E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0773362" y="3294818"/>
                  <a:ext cx="161701" cy="173859"/>
                </a:xfrm>
                <a:custGeom>
                  <a:avLst/>
                  <a:gdLst>
                    <a:gd name="T0" fmla="*/ 28 w 42"/>
                    <a:gd name="T1" fmla="*/ 14 h 45"/>
                    <a:gd name="T2" fmla="*/ 15 w 42"/>
                    <a:gd name="T3" fmla="*/ 5 h 45"/>
                    <a:gd name="T4" fmla="*/ 0 w 42"/>
                    <a:gd name="T5" fmla="*/ 0 h 45"/>
                    <a:gd name="T6" fmla="*/ 13 w 42"/>
                    <a:gd name="T7" fmla="*/ 8 h 45"/>
                    <a:gd name="T8" fmla="*/ 22 w 42"/>
                    <a:gd name="T9" fmla="*/ 19 h 45"/>
                    <a:gd name="T10" fmla="*/ 26 w 42"/>
                    <a:gd name="T11" fmla="*/ 32 h 45"/>
                    <a:gd name="T12" fmla="*/ 27 w 42"/>
                    <a:gd name="T13" fmla="*/ 45 h 45"/>
                    <a:gd name="T14" fmla="*/ 42 w 42"/>
                    <a:gd name="T15" fmla="*/ 44 h 45"/>
                    <a:gd name="T16" fmla="*/ 37 w 42"/>
                    <a:gd name="T17" fmla="*/ 28 h 45"/>
                    <a:gd name="T18" fmla="*/ 28 w 42"/>
                    <a:gd name="T19" fmla="*/ 14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2" h="45">
                      <a:moveTo>
                        <a:pt x="28" y="14"/>
                      </a:moveTo>
                      <a:cubicBezTo>
                        <a:pt x="24" y="10"/>
                        <a:pt x="20" y="7"/>
                        <a:pt x="15" y="5"/>
                      </a:cubicBezTo>
                      <a:cubicBezTo>
                        <a:pt x="10" y="2"/>
                        <a:pt x="5" y="1"/>
                        <a:pt x="0" y="0"/>
                      </a:cubicBezTo>
                      <a:cubicBezTo>
                        <a:pt x="5" y="2"/>
                        <a:pt x="9" y="4"/>
                        <a:pt x="13" y="8"/>
                      </a:cubicBezTo>
                      <a:cubicBezTo>
                        <a:pt x="17" y="11"/>
                        <a:pt x="20" y="15"/>
                        <a:pt x="22" y="19"/>
                      </a:cubicBezTo>
                      <a:cubicBezTo>
                        <a:pt x="24" y="23"/>
                        <a:pt x="25" y="27"/>
                        <a:pt x="26" y="32"/>
                      </a:cubicBezTo>
                      <a:cubicBezTo>
                        <a:pt x="27" y="36"/>
                        <a:pt x="27" y="41"/>
                        <a:pt x="27" y="45"/>
                      </a:cubicBezTo>
                      <a:cubicBezTo>
                        <a:pt x="42" y="44"/>
                        <a:pt x="42" y="44"/>
                        <a:pt x="42" y="44"/>
                      </a:cubicBezTo>
                      <a:cubicBezTo>
                        <a:pt x="41" y="38"/>
                        <a:pt x="40" y="33"/>
                        <a:pt x="37" y="28"/>
                      </a:cubicBezTo>
                      <a:cubicBezTo>
                        <a:pt x="35" y="23"/>
                        <a:pt x="32" y="18"/>
                        <a:pt x="28" y="1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</p:grpSp>
          <p:sp>
            <p:nvSpPr>
              <p:cNvPr id="9940" name="Freeform 183">
                <a:extLst>
                  <a:ext uri="{FF2B5EF4-FFF2-40B4-BE49-F238E27FC236}">
                    <a16:creationId xmlns:a16="http://schemas.microsoft.com/office/drawing/2014/main" id="{16CA5DCD-E63C-4EAE-97C6-3378203D6CF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796462" y="3754389"/>
                <a:ext cx="165349" cy="170211"/>
              </a:xfrm>
              <a:custGeom>
                <a:avLst/>
                <a:gdLst>
                  <a:gd name="T0" fmla="*/ 0 w 43"/>
                  <a:gd name="T1" fmla="*/ 24 h 44"/>
                  <a:gd name="T2" fmla="*/ 24 w 43"/>
                  <a:gd name="T3" fmla="*/ 44 h 44"/>
                  <a:gd name="T4" fmla="*/ 43 w 43"/>
                  <a:gd name="T5" fmla="*/ 5 h 44"/>
                  <a:gd name="T6" fmla="*/ 27 w 43"/>
                  <a:gd name="T7" fmla="*/ 0 h 44"/>
                  <a:gd name="T8" fmla="*/ 0 w 43"/>
                  <a:gd name="T9" fmla="*/ 2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44">
                    <a:moveTo>
                      <a:pt x="0" y="24"/>
                    </a:moveTo>
                    <a:cubicBezTo>
                      <a:pt x="9" y="33"/>
                      <a:pt x="24" y="44"/>
                      <a:pt x="24" y="44"/>
                    </a:cubicBezTo>
                    <a:cubicBezTo>
                      <a:pt x="24" y="44"/>
                      <a:pt x="40" y="19"/>
                      <a:pt x="43" y="5"/>
                    </a:cubicBezTo>
                    <a:cubicBezTo>
                      <a:pt x="38" y="1"/>
                      <a:pt x="33" y="2"/>
                      <a:pt x="27" y="0"/>
                    </a:cubicBezTo>
                    <a:cubicBezTo>
                      <a:pt x="25" y="13"/>
                      <a:pt x="11" y="21"/>
                      <a:pt x="0" y="24"/>
                    </a:cubicBezTo>
                    <a:close/>
                  </a:path>
                </a:pathLst>
              </a:custGeom>
              <a:solidFill>
                <a:srgbClr val="D1DB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41" name="Freeform 184">
                <a:extLst>
                  <a:ext uri="{FF2B5EF4-FFF2-40B4-BE49-F238E27FC236}">
                    <a16:creationId xmlns:a16="http://schemas.microsoft.com/office/drawing/2014/main" id="{FC689D55-A76D-47DE-BC09-4F1C91A48DD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718650" y="3782353"/>
                <a:ext cx="77811" cy="119148"/>
              </a:xfrm>
              <a:custGeom>
                <a:avLst/>
                <a:gdLst>
                  <a:gd name="T0" fmla="*/ 7 w 20"/>
                  <a:gd name="T1" fmla="*/ 0 h 31"/>
                  <a:gd name="T2" fmla="*/ 1 w 20"/>
                  <a:gd name="T3" fmla="*/ 7 h 31"/>
                  <a:gd name="T4" fmla="*/ 1 w 20"/>
                  <a:gd name="T5" fmla="*/ 31 h 31"/>
                  <a:gd name="T6" fmla="*/ 20 w 20"/>
                  <a:gd name="T7" fmla="*/ 17 h 31"/>
                  <a:gd name="T8" fmla="*/ 7 w 20"/>
                  <a:gd name="T9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31">
                    <a:moveTo>
                      <a:pt x="7" y="0"/>
                    </a:moveTo>
                    <a:cubicBezTo>
                      <a:pt x="4" y="2"/>
                      <a:pt x="3" y="2"/>
                      <a:pt x="1" y="7"/>
                    </a:cubicBezTo>
                    <a:cubicBezTo>
                      <a:pt x="0" y="13"/>
                      <a:pt x="1" y="24"/>
                      <a:pt x="1" y="31"/>
                    </a:cubicBezTo>
                    <a:cubicBezTo>
                      <a:pt x="6" y="24"/>
                      <a:pt x="11" y="18"/>
                      <a:pt x="20" y="17"/>
                    </a:cubicBezTo>
                    <a:cubicBezTo>
                      <a:pt x="14" y="12"/>
                      <a:pt x="9" y="7"/>
                      <a:pt x="7" y="0"/>
                    </a:cubicBezTo>
                    <a:close/>
                  </a:path>
                </a:pathLst>
              </a:custGeom>
              <a:solidFill>
                <a:srgbClr val="D1DB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</p:grpSp>
      <p:grpSp>
        <p:nvGrpSpPr>
          <p:cNvPr id="2" name="组合 1">
            <a:extLst>
              <a:ext uri="{FF2B5EF4-FFF2-40B4-BE49-F238E27FC236}">
                <a16:creationId xmlns:a16="http://schemas.microsoft.com/office/drawing/2014/main" id="{C209CEBF-8EBF-4A6D-9CC5-AC294CD0E4EC}"/>
              </a:ext>
            </a:extLst>
          </p:cNvPr>
          <p:cNvGrpSpPr/>
          <p:nvPr userDrawn="1"/>
        </p:nvGrpSpPr>
        <p:grpSpPr>
          <a:xfrm>
            <a:off x="5829339" y="2926659"/>
            <a:ext cx="4240200" cy="2955347"/>
            <a:chOff x="6065142" y="3542249"/>
            <a:chExt cx="3744567" cy="2609899"/>
          </a:xfrm>
        </p:grpSpPr>
        <p:sp>
          <p:nvSpPr>
            <p:cNvPr id="9945" name="Freeform 188">
              <a:extLst>
                <a:ext uri="{FF2B5EF4-FFF2-40B4-BE49-F238E27FC236}">
                  <a16:creationId xmlns:a16="http://schemas.microsoft.com/office/drawing/2014/main" id="{2AC91A78-3BBC-4EE8-876F-6C76F4E41E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14452" y="4356577"/>
              <a:ext cx="895257" cy="627185"/>
            </a:xfrm>
            <a:custGeom>
              <a:avLst/>
              <a:gdLst>
                <a:gd name="T0" fmla="*/ 163 w 167"/>
                <a:gd name="T1" fmla="*/ 0 h 117"/>
                <a:gd name="T2" fmla="*/ 34 w 167"/>
                <a:gd name="T3" fmla="*/ 0 h 117"/>
                <a:gd name="T4" fmla="*/ 32 w 167"/>
                <a:gd name="T5" fmla="*/ 2 h 117"/>
                <a:gd name="T6" fmla="*/ 1 w 167"/>
                <a:gd name="T7" fmla="*/ 113 h 117"/>
                <a:gd name="T8" fmla="*/ 4 w 167"/>
                <a:gd name="T9" fmla="*/ 117 h 117"/>
                <a:gd name="T10" fmla="*/ 124 w 167"/>
                <a:gd name="T11" fmla="*/ 117 h 117"/>
                <a:gd name="T12" fmla="*/ 138 w 167"/>
                <a:gd name="T13" fmla="*/ 106 h 117"/>
                <a:gd name="T14" fmla="*/ 166 w 167"/>
                <a:gd name="T15" fmla="*/ 4 h 117"/>
                <a:gd name="T16" fmla="*/ 163 w 167"/>
                <a:gd name="T17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7" h="117">
                  <a:moveTo>
                    <a:pt x="163" y="0"/>
                  </a:move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2" y="1"/>
                    <a:pt x="32" y="2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0" y="115"/>
                    <a:pt x="2" y="117"/>
                    <a:pt x="4" y="117"/>
                  </a:cubicBezTo>
                  <a:cubicBezTo>
                    <a:pt x="124" y="117"/>
                    <a:pt x="124" y="117"/>
                    <a:pt x="124" y="117"/>
                  </a:cubicBezTo>
                  <a:cubicBezTo>
                    <a:pt x="130" y="117"/>
                    <a:pt x="136" y="112"/>
                    <a:pt x="138" y="106"/>
                  </a:cubicBezTo>
                  <a:cubicBezTo>
                    <a:pt x="166" y="4"/>
                    <a:pt x="166" y="4"/>
                    <a:pt x="166" y="4"/>
                  </a:cubicBezTo>
                  <a:cubicBezTo>
                    <a:pt x="167" y="2"/>
                    <a:pt x="165" y="0"/>
                    <a:pt x="163" y="0"/>
                  </a:cubicBezTo>
                </a:path>
              </a:pathLst>
            </a:custGeom>
            <a:solidFill>
              <a:srgbClr val="194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46" name="Freeform 189">
              <a:extLst>
                <a:ext uri="{FF2B5EF4-FFF2-40B4-BE49-F238E27FC236}">
                  <a16:creationId xmlns:a16="http://schemas.microsoft.com/office/drawing/2014/main" id="{50D4C0F8-25CB-4884-BE89-2436FE86A4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61660" y="4378496"/>
              <a:ext cx="821074" cy="504109"/>
            </a:xfrm>
            <a:custGeom>
              <a:avLst/>
              <a:gdLst>
                <a:gd name="T0" fmla="*/ 0 w 487"/>
                <a:gd name="T1" fmla="*/ 299 h 299"/>
                <a:gd name="T2" fmla="*/ 405 w 487"/>
                <a:gd name="T3" fmla="*/ 299 h 299"/>
                <a:gd name="T4" fmla="*/ 487 w 487"/>
                <a:gd name="T5" fmla="*/ 0 h 299"/>
                <a:gd name="T6" fmla="*/ 86 w 487"/>
                <a:gd name="T7" fmla="*/ 0 h 299"/>
                <a:gd name="T8" fmla="*/ 0 w 487"/>
                <a:gd name="T9" fmla="*/ 299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7" h="299">
                  <a:moveTo>
                    <a:pt x="0" y="299"/>
                  </a:moveTo>
                  <a:lnTo>
                    <a:pt x="405" y="299"/>
                  </a:lnTo>
                  <a:lnTo>
                    <a:pt x="487" y="0"/>
                  </a:lnTo>
                  <a:lnTo>
                    <a:pt x="86" y="0"/>
                  </a:lnTo>
                  <a:lnTo>
                    <a:pt x="0" y="299"/>
                  </a:lnTo>
                  <a:close/>
                </a:path>
              </a:pathLst>
            </a:custGeom>
            <a:solidFill>
              <a:srgbClr val="6855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47" name="Freeform 190">
              <a:extLst>
                <a:ext uri="{FF2B5EF4-FFF2-40B4-BE49-F238E27FC236}">
                  <a16:creationId xmlns:a16="http://schemas.microsoft.com/office/drawing/2014/main" id="{C03B2DCA-A313-42BB-8AA6-3E35144C13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61660" y="4378496"/>
              <a:ext cx="821074" cy="504109"/>
            </a:xfrm>
            <a:custGeom>
              <a:avLst/>
              <a:gdLst>
                <a:gd name="T0" fmla="*/ 0 w 487"/>
                <a:gd name="T1" fmla="*/ 299 h 299"/>
                <a:gd name="T2" fmla="*/ 405 w 487"/>
                <a:gd name="T3" fmla="*/ 299 h 299"/>
                <a:gd name="T4" fmla="*/ 487 w 487"/>
                <a:gd name="T5" fmla="*/ 0 h 299"/>
                <a:gd name="T6" fmla="*/ 86 w 487"/>
                <a:gd name="T7" fmla="*/ 0 h 299"/>
                <a:gd name="T8" fmla="*/ 0 w 487"/>
                <a:gd name="T9" fmla="*/ 299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7" h="299">
                  <a:moveTo>
                    <a:pt x="0" y="299"/>
                  </a:moveTo>
                  <a:lnTo>
                    <a:pt x="405" y="299"/>
                  </a:lnTo>
                  <a:lnTo>
                    <a:pt x="487" y="0"/>
                  </a:lnTo>
                  <a:lnTo>
                    <a:pt x="86" y="0"/>
                  </a:lnTo>
                  <a:lnTo>
                    <a:pt x="0" y="29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48" name="Freeform 191">
              <a:extLst>
                <a:ext uri="{FF2B5EF4-FFF2-40B4-BE49-F238E27FC236}">
                  <a16:creationId xmlns:a16="http://schemas.microsoft.com/office/drawing/2014/main" id="{7FD66BB0-AA2B-4562-98A4-4A6F84DEB4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37528" y="4479655"/>
              <a:ext cx="638988" cy="327080"/>
            </a:xfrm>
            <a:custGeom>
              <a:avLst/>
              <a:gdLst>
                <a:gd name="T0" fmla="*/ 117 w 119"/>
                <a:gd name="T1" fmla="*/ 0 h 61"/>
                <a:gd name="T2" fmla="*/ 116 w 119"/>
                <a:gd name="T3" fmla="*/ 0 h 61"/>
                <a:gd name="T4" fmla="*/ 91 w 119"/>
                <a:gd name="T5" fmla="*/ 23 h 61"/>
                <a:gd name="T6" fmla="*/ 66 w 119"/>
                <a:gd name="T7" fmla="*/ 31 h 61"/>
                <a:gd name="T8" fmla="*/ 65 w 119"/>
                <a:gd name="T9" fmla="*/ 32 h 61"/>
                <a:gd name="T10" fmla="*/ 65 w 119"/>
                <a:gd name="T11" fmla="*/ 32 h 61"/>
                <a:gd name="T12" fmla="*/ 46 w 119"/>
                <a:gd name="T13" fmla="*/ 52 h 61"/>
                <a:gd name="T14" fmla="*/ 21 w 119"/>
                <a:gd name="T15" fmla="*/ 39 h 61"/>
                <a:gd name="T16" fmla="*/ 21 w 119"/>
                <a:gd name="T17" fmla="*/ 38 h 61"/>
                <a:gd name="T18" fmla="*/ 19 w 119"/>
                <a:gd name="T19" fmla="*/ 39 h 61"/>
                <a:gd name="T20" fmla="*/ 0 w 119"/>
                <a:gd name="T21" fmla="*/ 58 h 61"/>
                <a:gd name="T22" fmla="*/ 2 w 119"/>
                <a:gd name="T23" fmla="*/ 61 h 61"/>
                <a:gd name="T24" fmla="*/ 21 w 119"/>
                <a:gd name="T25" fmla="*/ 43 h 61"/>
                <a:gd name="T26" fmla="*/ 46 w 119"/>
                <a:gd name="T27" fmla="*/ 56 h 61"/>
                <a:gd name="T28" fmla="*/ 46 w 119"/>
                <a:gd name="T29" fmla="*/ 56 h 61"/>
                <a:gd name="T30" fmla="*/ 48 w 119"/>
                <a:gd name="T31" fmla="*/ 55 h 61"/>
                <a:gd name="T32" fmla="*/ 67 w 119"/>
                <a:gd name="T33" fmla="*/ 35 h 61"/>
                <a:gd name="T34" fmla="*/ 92 w 119"/>
                <a:gd name="T35" fmla="*/ 27 h 61"/>
                <a:gd name="T36" fmla="*/ 118 w 119"/>
                <a:gd name="T37" fmla="*/ 3 h 61"/>
                <a:gd name="T38" fmla="*/ 119 w 119"/>
                <a:gd name="T39" fmla="*/ 1 h 61"/>
                <a:gd name="T40" fmla="*/ 117 w 119"/>
                <a:gd name="T41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61">
                  <a:moveTo>
                    <a:pt x="117" y="0"/>
                  </a:moveTo>
                  <a:cubicBezTo>
                    <a:pt x="116" y="0"/>
                    <a:pt x="116" y="0"/>
                    <a:pt x="116" y="0"/>
                  </a:cubicBezTo>
                  <a:cubicBezTo>
                    <a:pt x="91" y="23"/>
                    <a:pt x="91" y="23"/>
                    <a:pt x="91" y="23"/>
                  </a:cubicBezTo>
                  <a:cubicBezTo>
                    <a:pt x="66" y="31"/>
                    <a:pt x="66" y="31"/>
                    <a:pt x="66" y="31"/>
                  </a:cubicBezTo>
                  <a:cubicBezTo>
                    <a:pt x="65" y="32"/>
                    <a:pt x="65" y="32"/>
                    <a:pt x="65" y="32"/>
                  </a:cubicBezTo>
                  <a:cubicBezTo>
                    <a:pt x="65" y="32"/>
                    <a:pt x="65" y="32"/>
                    <a:pt x="65" y="32"/>
                  </a:cubicBezTo>
                  <a:cubicBezTo>
                    <a:pt x="46" y="52"/>
                    <a:pt x="46" y="52"/>
                    <a:pt x="46" y="52"/>
                  </a:cubicBezTo>
                  <a:cubicBezTo>
                    <a:pt x="21" y="39"/>
                    <a:pt x="21" y="39"/>
                    <a:pt x="21" y="39"/>
                  </a:cubicBezTo>
                  <a:cubicBezTo>
                    <a:pt x="21" y="38"/>
                    <a:pt x="21" y="38"/>
                    <a:pt x="21" y="38"/>
                  </a:cubicBezTo>
                  <a:cubicBezTo>
                    <a:pt x="20" y="38"/>
                    <a:pt x="20" y="39"/>
                    <a:pt x="19" y="39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2" y="61"/>
                    <a:pt x="2" y="61"/>
                    <a:pt x="2" y="61"/>
                  </a:cubicBezTo>
                  <a:cubicBezTo>
                    <a:pt x="10" y="53"/>
                    <a:pt x="20" y="44"/>
                    <a:pt x="21" y="43"/>
                  </a:cubicBezTo>
                  <a:cubicBezTo>
                    <a:pt x="46" y="56"/>
                    <a:pt x="46" y="56"/>
                    <a:pt x="46" y="56"/>
                  </a:cubicBezTo>
                  <a:cubicBezTo>
                    <a:pt x="46" y="56"/>
                    <a:pt x="46" y="56"/>
                    <a:pt x="46" y="56"/>
                  </a:cubicBezTo>
                  <a:cubicBezTo>
                    <a:pt x="47" y="56"/>
                    <a:pt x="47" y="56"/>
                    <a:pt x="48" y="55"/>
                  </a:cubicBezTo>
                  <a:cubicBezTo>
                    <a:pt x="67" y="35"/>
                    <a:pt x="67" y="35"/>
                    <a:pt x="67" y="35"/>
                  </a:cubicBezTo>
                  <a:cubicBezTo>
                    <a:pt x="69" y="34"/>
                    <a:pt x="92" y="27"/>
                    <a:pt x="92" y="27"/>
                  </a:cubicBezTo>
                  <a:cubicBezTo>
                    <a:pt x="93" y="26"/>
                    <a:pt x="118" y="3"/>
                    <a:pt x="118" y="3"/>
                  </a:cubicBezTo>
                  <a:cubicBezTo>
                    <a:pt x="119" y="2"/>
                    <a:pt x="119" y="2"/>
                    <a:pt x="119" y="1"/>
                  </a:cubicBezTo>
                  <a:cubicBezTo>
                    <a:pt x="118" y="0"/>
                    <a:pt x="118" y="0"/>
                    <a:pt x="117" y="0"/>
                  </a:cubicBezTo>
                </a:path>
              </a:pathLst>
            </a:custGeom>
            <a:solidFill>
              <a:srgbClr val="FFC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49" name="Freeform 192">
              <a:extLst>
                <a:ext uri="{FF2B5EF4-FFF2-40B4-BE49-F238E27FC236}">
                  <a16:creationId xmlns:a16="http://schemas.microsoft.com/office/drawing/2014/main" id="{8CE68435-382E-4300-8BE1-63B21F650C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05705" y="4459423"/>
              <a:ext cx="91043" cy="85986"/>
            </a:xfrm>
            <a:custGeom>
              <a:avLst/>
              <a:gdLst>
                <a:gd name="T0" fmla="*/ 32 w 54"/>
                <a:gd name="T1" fmla="*/ 22 h 51"/>
                <a:gd name="T2" fmla="*/ 32 w 54"/>
                <a:gd name="T3" fmla="*/ 51 h 51"/>
                <a:gd name="T4" fmla="*/ 54 w 54"/>
                <a:gd name="T5" fmla="*/ 0 h 51"/>
                <a:gd name="T6" fmla="*/ 0 w 54"/>
                <a:gd name="T7" fmla="*/ 19 h 51"/>
                <a:gd name="T8" fmla="*/ 32 w 54"/>
                <a:gd name="T9" fmla="*/ 2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51">
                  <a:moveTo>
                    <a:pt x="32" y="22"/>
                  </a:moveTo>
                  <a:lnTo>
                    <a:pt x="32" y="51"/>
                  </a:lnTo>
                  <a:lnTo>
                    <a:pt x="54" y="0"/>
                  </a:lnTo>
                  <a:lnTo>
                    <a:pt x="0" y="19"/>
                  </a:lnTo>
                  <a:lnTo>
                    <a:pt x="32" y="22"/>
                  </a:lnTo>
                  <a:close/>
                </a:path>
              </a:pathLst>
            </a:custGeom>
            <a:solidFill>
              <a:srgbClr val="FFC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50" name="Freeform 193">
              <a:extLst>
                <a:ext uri="{FF2B5EF4-FFF2-40B4-BE49-F238E27FC236}">
                  <a16:creationId xmlns:a16="http://schemas.microsoft.com/office/drawing/2014/main" id="{C6AEA24C-8225-4DAC-88A9-A610123CAB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69563" y="4506630"/>
              <a:ext cx="96102" cy="48894"/>
            </a:xfrm>
            <a:custGeom>
              <a:avLst/>
              <a:gdLst>
                <a:gd name="T0" fmla="*/ 57 w 57"/>
                <a:gd name="T1" fmla="*/ 0 h 29"/>
                <a:gd name="T2" fmla="*/ 10 w 57"/>
                <a:gd name="T3" fmla="*/ 0 h 29"/>
                <a:gd name="T4" fmla="*/ 0 w 57"/>
                <a:gd name="T5" fmla="*/ 29 h 29"/>
                <a:gd name="T6" fmla="*/ 48 w 57"/>
                <a:gd name="T7" fmla="*/ 29 h 29"/>
                <a:gd name="T8" fmla="*/ 57 w 57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29">
                  <a:moveTo>
                    <a:pt x="57" y="0"/>
                  </a:moveTo>
                  <a:lnTo>
                    <a:pt x="10" y="0"/>
                  </a:lnTo>
                  <a:lnTo>
                    <a:pt x="0" y="29"/>
                  </a:lnTo>
                  <a:lnTo>
                    <a:pt x="48" y="29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8A74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51" name="Freeform 194">
              <a:extLst>
                <a:ext uri="{FF2B5EF4-FFF2-40B4-BE49-F238E27FC236}">
                  <a16:creationId xmlns:a16="http://schemas.microsoft.com/office/drawing/2014/main" id="{60F4BC2A-45E0-4D2C-A9E3-2F1F733A0B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69563" y="4506630"/>
              <a:ext cx="96102" cy="48894"/>
            </a:xfrm>
            <a:custGeom>
              <a:avLst/>
              <a:gdLst>
                <a:gd name="T0" fmla="*/ 57 w 57"/>
                <a:gd name="T1" fmla="*/ 0 h 29"/>
                <a:gd name="T2" fmla="*/ 10 w 57"/>
                <a:gd name="T3" fmla="*/ 0 h 29"/>
                <a:gd name="T4" fmla="*/ 0 w 57"/>
                <a:gd name="T5" fmla="*/ 29 h 29"/>
                <a:gd name="T6" fmla="*/ 48 w 57"/>
                <a:gd name="T7" fmla="*/ 29 h 29"/>
                <a:gd name="T8" fmla="*/ 57 w 57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29">
                  <a:moveTo>
                    <a:pt x="57" y="0"/>
                  </a:moveTo>
                  <a:lnTo>
                    <a:pt x="10" y="0"/>
                  </a:lnTo>
                  <a:lnTo>
                    <a:pt x="0" y="29"/>
                  </a:lnTo>
                  <a:lnTo>
                    <a:pt x="48" y="29"/>
                  </a:lnTo>
                  <a:lnTo>
                    <a:pt x="5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52" name="Freeform 195">
              <a:extLst>
                <a:ext uri="{FF2B5EF4-FFF2-40B4-BE49-F238E27FC236}">
                  <a16:creationId xmlns:a16="http://schemas.microsoft.com/office/drawing/2014/main" id="{1FA1503F-AC6E-49C9-A279-29F140B3E1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54388" y="4570698"/>
              <a:ext cx="91043" cy="48894"/>
            </a:xfrm>
            <a:custGeom>
              <a:avLst/>
              <a:gdLst>
                <a:gd name="T0" fmla="*/ 54 w 54"/>
                <a:gd name="T1" fmla="*/ 0 h 29"/>
                <a:gd name="T2" fmla="*/ 6 w 54"/>
                <a:gd name="T3" fmla="*/ 0 h 29"/>
                <a:gd name="T4" fmla="*/ 0 w 54"/>
                <a:gd name="T5" fmla="*/ 29 h 29"/>
                <a:gd name="T6" fmla="*/ 47 w 54"/>
                <a:gd name="T7" fmla="*/ 29 h 29"/>
                <a:gd name="T8" fmla="*/ 54 w 54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29">
                  <a:moveTo>
                    <a:pt x="54" y="0"/>
                  </a:moveTo>
                  <a:lnTo>
                    <a:pt x="6" y="0"/>
                  </a:lnTo>
                  <a:lnTo>
                    <a:pt x="0" y="29"/>
                  </a:lnTo>
                  <a:lnTo>
                    <a:pt x="47" y="29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8A74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53" name="Freeform 196">
              <a:extLst>
                <a:ext uri="{FF2B5EF4-FFF2-40B4-BE49-F238E27FC236}">
                  <a16:creationId xmlns:a16="http://schemas.microsoft.com/office/drawing/2014/main" id="{D323830F-6DFE-4A38-99FB-DCD9193144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54388" y="4570698"/>
              <a:ext cx="91043" cy="48894"/>
            </a:xfrm>
            <a:custGeom>
              <a:avLst/>
              <a:gdLst>
                <a:gd name="T0" fmla="*/ 54 w 54"/>
                <a:gd name="T1" fmla="*/ 0 h 29"/>
                <a:gd name="T2" fmla="*/ 6 w 54"/>
                <a:gd name="T3" fmla="*/ 0 h 29"/>
                <a:gd name="T4" fmla="*/ 0 w 54"/>
                <a:gd name="T5" fmla="*/ 29 h 29"/>
                <a:gd name="T6" fmla="*/ 47 w 54"/>
                <a:gd name="T7" fmla="*/ 29 h 29"/>
                <a:gd name="T8" fmla="*/ 54 w 54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29">
                  <a:moveTo>
                    <a:pt x="54" y="0"/>
                  </a:moveTo>
                  <a:lnTo>
                    <a:pt x="6" y="0"/>
                  </a:lnTo>
                  <a:lnTo>
                    <a:pt x="0" y="29"/>
                  </a:lnTo>
                  <a:lnTo>
                    <a:pt x="47" y="29"/>
                  </a:lnTo>
                  <a:lnTo>
                    <a:pt x="5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54" name="Freeform 197">
              <a:extLst>
                <a:ext uri="{FF2B5EF4-FFF2-40B4-BE49-F238E27FC236}">
                  <a16:creationId xmlns:a16="http://schemas.microsoft.com/office/drawing/2014/main" id="{1D94CF9F-E1E4-49C5-BCE2-200A262EE8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32471" y="4636450"/>
              <a:ext cx="96102" cy="47207"/>
            </a:xfrm>
            <a:custGeom>
              <a:avLst/>
              <a:gdLst>
                <a:gd name="T0" fmla="*/ 57 w 57"/>
                <a:gd name="T1" fmla="*/ 0 h 28"/>
                <a:gd name="T2" fmla="*/ 9 w 57"/>
                <a:gd name="T3" fmla="*/ 0 h 28"/>
                <a:gd name="T4" fmla="*/ 0 w 57"/>
                <a:gd name="T5" fmla="*/ 28 h 28"/>
                <a:gd name="T6" fmla="*/ 48 w 57"/>
                <a:gd name="T7" fmla="*/ 28 h 28"/>
                <a:gd name="T8" fmla="*/ 57 w 57"/>
                <a:gd name="T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28">
                  <a:moveTo>
                    <a:pt x="57" y="0"/>
                  </a:moveTo>
                  <a:lnTo>
                    <a:pt x="9" y="0"/>
                  </a:lnTo>
                  <a:lnTo>
                    <a:pt x="0" y="28"/>
                  </a:lnTo>
                  <a:lnTo>
                    <a:pt x="48" y="28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8A74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55" name="Freeform 198">
              <a:extLst>
                <a:ext uri="{FF2B5EF4-FFF2-40B4-BE49-F238E27FC236}">
                  <a16:creationId xmlns:a16="http://schemas.microsoft.com/office/drawing/2014/main" id="{D5BD7B56-DD90-4496-B351-598F6B8D9A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32471" y="4636450"/>
              <a:ext cx="96102" cy="47207"/>
            </a:xfrm>
            <a:custGeom>
              <a:avLst/>
              <a:gdLst>
                <a:gd name="T0" fmla="*/ 57 w 57"/>
                <a:gd name="T1" fmla="*/ 0 h 28"/>
                <a:gd name="T2" fmla="*/ 9 w 57"/>
                <a:gd name="T3" fmla="*/ 0 h 28"/>
                <a:gd name="T4" fmla="*/ 0 w 57"/>
                <a:gd name="T5" fmla="*/ 28 h 28"/>
                <a:gd name="T6" fmla="*/ 48 w 57"/>
                <a:gd name="T7" fmla="*/ 28 h 28"/>
                <a:gd name="T8" fmla="*/ 57 w 57"/>
                <a:gd name="T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28">
                  <a:moveTo>
                    <a:pt x="57" y="0"/>
                  </a:moveTo>
                  <a:lnTo>
                    <a:pt x="9" y="0"/>
                  </a:lnTo>
                  <a:lnTo>
                    <a:pt x="0" y="28"/>
                  </a:lnTo>
                  <a:lnTo>
                    <a:pt x="48" y="28"/>
                  </a:lnTo>
                  <a:lnTo>
                    <a:pt x="5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56" name="Freeform 199">
              <a:extLst>
                <a:ext uri="{FF2B5EF4-FFF2-40B4-BE49-F238E27FC236}">
                  <a16:creationId xmlns:a16="http://schemas.microsoft.com/office/drawing/2014/main" id="{3321D819-B295-4539-90AA-73E30282B1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15611" y="4705576"/>
              <a:ext cx="91043" cy="42150"/>
            </a:xfrm>
            <a:custGeom>
              <a:avLst/>
              <a:gdLst>
                <a:gd name="T0" fmla="*/ 54 w 54"/>
                <a:gd name="T1" fmla="*/ 0 h 25"/>
                <a:gd name="T2" fmla="*/ 7 w 54"/>
                <a:gd name="T3" fmla="*/ 0 h 25"/>
                <a:gd name="T4" fmla="*/ 0 w 54"/>
                <a:gd name="T5" fmla="*/ 25 h 25"/>
                <a:gd name="T6" fmla="*/ 38 w 54"/>
                <a:gd name="T7" fmla="*/ 25 h 25"/>
                <a:gd name="T8" fmla="*/ 51 w 54"/>
                <a:gd name="T9" fmla="*/ 16 h 25"/>
                <a:gd name="T10" fmla="*/ 54 w 54"/>
                <a:gd name="T1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4" h="25">
                  <a:moveTo>
                    <a:pt x="54" y="0"/>
                  </a:moveTo>
                  <a:lnTo>
                    <a:pt x="7" y="0"/>
                  </a:lnTo>
                  <a:lnTo>
                    <a:pt x="0" y="25"/>
                  </a:lnTo>
                  <a:lnTo>
                    <a:pt x="38" y="25"/>
                  </a:lnTo>
                  <a:lnTo>
                    <a:pt x="51" y="16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8A74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57" name="Freeform 200">
              <a:extLst>
                <a:ext uri="{FF2B5EF4-FFF2-40B4-BE49-F238E27FC236}">
                  <a16:creationId xmlns:a16="http://schemas.microsoft.com/office/drawing/2014/main" id="{76093F70-3679-4EEA-9E4E-B002DCE2AC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15611" y="4705576"/>
              <a:ext cx="91043" cy="42150"/>
            </a:xfrm>
            <a:custGeom>
              <a:avLst/>
              <a:gdLst>
                <a:gd name="T0" fmla="*/ 54 w 54"/>
                <a:gd name="T1" fmla="*/ 0 h 25"/>
                <a:gd name="T2" fmla="*/ 7 w 54"/>
                <a:gd name="T3" fmla="*/ 0 h 25"/>
                <a:gd name="T4" fmla="*/ 0 w 54"/>
                <a:gd name="T5" fmla="*/ 25 h 25"/>
                <a:gd name="T6" fmla="*/ 38 w 54"/>
                <a:gd name="T7" fmla="*/ 25 h 25"/>
                <a:gd name="T8" fmla="*/ 51 w 54"/>
                <a:gd name="T9" fmla="*/ 16 h 25"/>
                <a:gd name="T10" fmla="*/ 54 w 54"/>
                <a:gd name="T1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4" h="25">
                  <a:moveTo>
                    <a:pt x="54" y="0"/>
                  </a:moveTo>
                  <a:lnTo>
                    <a:pt x="7" y="0"/>
                  </a:lnTo>
                  <a:lnTo>
                    <a:pt x="0" y="25"/>
                  </a:lnTo>
                  <a:lnTo>
                    <a:pt x="38" y="25"/>
                  </a:lnTo>
                  <a:lnTo>
                    <a:pt x="51" y="16"/>
                  </a:lnTo>
                  <a:lnTo>
                    <a:pt x="5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58" name="Freeform 201">
              <a:extLst>
                <a:ext uri="{FF2B5EF4-FFF2-40B4-BE49-F238E27FC236}">
                  <a16:creationId xmlns:a16="http://schemas.microsoft.com/office/drawing/2014/main" id="{01A5F37A-D410-496A-983F-CBFA0ECE88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79678" y="4732552"/>
              <a:ext cx="21918" cy="15174"/>
            </a:xfrm>
            <a:custGeom>
              <a:avLst/>
              <a:gdLst>
                <a:gd name="T0" fmla="*/ 13 w 13"/>
                <a:gd name="T1" fmla="*/ 0 h 9"/>
                <a:gd name="T2" fmla="*/ 0 w 13"/>
                <a:gd name="T3" fmla="*/ 9 h 9"/>
                <a:gd name="T4" fmla="*/ 10 w 13"/>
                <a:gd name="T5" fmla="*/ 9 h 9"/>
                <a:gd name="T6" fmla="*/ 13 w 13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9">
                  <a:moveTo>
                    <a:pt x="13" y="0"/>
                  </a:moveTo>
                  <a:lnTo>
                    <a:pt x="0" y="9"/>
                  </a:lnTo>
                  <a:lnTo>
                    <a:pt x="10" y="9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CF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59" name="Freeform 202">
              <a:extLst>
                <a:ext uri="{FF2B5EF4-FFF2-40B4-BE49-F238E27FC236}">
                  <a16:creationId xmlns:a16="http://schemas.microsoft.com/office/drawing/2014/main" id="{4DFB9F1C-C5A9-463A-B74B-6095F5A676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79678" y="4732552"/>
              <a:ext cx="21918" cy="15174"/>
            </a:xfrm>
            <a:custGeom>
              <a:avLst/>
              <a:gdLst>
                <a:gd name="T0" fmla="*/ 13 w 13"/>
                <a:gd name="T1" fmla="*/ 0 h 9"/>
                <a:gd name="T2" fmla="*/ 0 w 13"/>
                <a:gd name="T3" fmla="*/ 9 h 9"/>
                <a:gd name="T4" fmla="*/ 10 w 13"/>
                <a:gd name="T5" fmla="*/ 9 h 9"/>
                <a:gd name="T6" fmla="*/ 13 w 13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9">
                  <a:moveTo>
                    <a:pt x="13" y="0"/>
                  </a:moveTo>
                  <a:lnTo>
                    <a:pt x="0" y="9"/>
                  </a:lnTo>
                  <a:lnTo>
                    <a:pt x="10" y="9"/>
                  </a:lnTo>
                  <a:lnTo>
                    <a:pt x="1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60" name="Freeform 203">
              <a:extLst>
                <a:ext uri="{FF2B5EF4-FFF2-40B4-BE49-F238E27FC236}">
                  <a16:creationId xmlns:a16="http://schemas.microsoft.com/office/drawing/2014/main" id="{6BD76498-C533-4F84-B0D7-0C64194E8D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19300" y="4811792"/>
              <a:ext cx="728344" cy="139937"/>
            </a:xfrm>
            <a:custGeom>
              <a:avLst/>
              <a:gdLst>
                <a:gd name="T0" fmla="*/ 131 w 136"/>
                <a:gd name="T1" fmla="*/ 15 h 26"/>
                <a:gd name="T2" fmla="*/ 6 w 136"/>
                <a:gd name="T3" fmla="*/ 0 h 26"/>
                <a:gd name="T4" fmla="*/ 0 w 136"/>
                <a:gd name="T5" fmla="*/ 5 h 26"/>
                <a:gd name="T6" fmla="*/ 5 w 136"/>
                <a:gd name="T7" fmla="*/ 11 h 26"/>
                <a:gd name="T8" fmla="*/ 130 w 136"/>
                <a:gd name="T9" fmla="*/ 25 h 26"/>
                <a:gd name="T10" fmla="*/ 136 w 136"/>
                <a:gd name="T11" fmla="*/ 21 h 26"/>
                <a:gd name="T12" fmla="*/ 131 w 136"/>
                <a:gd name="T13" fmla="*/ 1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6" h="26">
                  <a:moveTo>
                    <a:pt x="131" y="15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1" y="2"/>
                    <a:pt x="0" y="5"/>
                  </a:cubicBezTo>
                  <a:cubicBezTo>
                    <a:pt x="0" y="8"/>
                    <a:pt x="2" y="10"/>
                    <a:pt x="5" y="11"/>
                  </a:cubicBezTo>
                  <a:cubicBezTo>
                    <a:pt x="130" y="25"/>
                    <a:pt x="130" y="25"/>
                    <a:pt x="130" y="25"/>
                  </a:cubicBezTo>
                  <a:cubicBezTo>
                    <a:pt x="133" y="26"/>
                    <a:pt x="136" y="24"/>
                    <a:pt x="136" y="21"/>
                  </a:cubicBezTo>
                  <a:cubicBezTo>
                    <a:pt x="136" y="18"/>
                    <a:pt x="134" y="15"/>
                    <a:pt x="131" y="15"/>
                  </a:cubicBezTo>
                  <a:close/>
                </a:path>
              </a:pathLst>
            </a:custGeom>
            <a:solidFill>
              <a:srgbClr val="B0C1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61" name="Freeform 204">
              <a:extLst>
                <a:ext uri="{FF2B5EF4-FFF2-40B4-BE49-F238E27FC236}">
                  <a16:creationId xmlns:a16="http://schemas.microsoft.com/office/drawing/2014/main" id="{D4A9AA87-DEF0-4CA1-BEA6-86D707EF90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51544" y="4882604"/>
              <a:ext cx="681137" cy="138251"/>
            </a:xfrm>
            <a:custGeom>
              <a:avLst/>
              <a:gdLst>
                <a:gd name="T0" fmla="*/ 122 w 127"/>
                <a:gd name="T1" fmla="*/ 14 h 26"/>
                <a:gd name="T2" fmla="*/ 7 w 127"/>
                <a:gd name="T3" fmla="*/ 1 h 26"/>
                <a:gd name="T4" fmla="*/ 1 w 127"/>
                <a:gd name="T5" fmla="*/ 6 h 26"/>
                <a:gd name="T6" fmla="*/ 5 w 127"/>
                <a:gd name="T7" fmla="*/ 12 h 26"/>
                <a:gd name="T8" fmla="*/ 121 w 127"/>
                <a:gd name="T9" fmla="*/ 25 h 26"/>
                <a:gd name="T10" fmla="*/ 127 w 127"/>
                <a:gd name="T11" fmla="*/ 20 h 26"/>
                <a:gd name="T12" fmla="*/ 122 w 127"/>
                <a:gd name="T13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7" h="26">
                  <a:moveTo>
                    <a:pt x="122" y="14"/>
                  </a:moveTo>
                  <a:cubicBezTo>
                    <a:pt x="7" y="1"/>
                    <a:pt x="7" y="1"/>
                    <a:pt x="7" y="1"/>
                  </a:cubicBezTo>
                  <a:cubicBezTo>
                    <a:pt x="4" y="0"/>
                    <a:pt x="1" y="3"/>
                    <a:pt x="1" y="6"/>
                  </a:cubicBezTo>
                  <a:cubicBezTo>
                    <a:pt x="0" y="9"/>
                    <a:pt x="2" y="11"/>
                    <a:pt x="5" y="12"/>
                  </a:cubicBezTo>
                  <a:cubicBezTo>
                    <a:pt x="121" y="25"/>
                    <a:pt x="121" y="25"/>
                    <a:pt x="121" y="25"/>
                  </a:cubicBezTo>
                  <a:cubicBezTo>
                    <a:pt x="124" y="26"/>
                    <a:pt x="126" y="23"/>
                    <a:pt x="127" y="20"/>
                  </a:cubicBezTo>
                  <a:cubicBezTo>
                    <a:pt x="127" y="17"/>
                    <a:pt x="125" y="15"/>
                    <a:pt x="122" y="14"/>
                  </a:cubicBezTo>
                  <a:close/>
                </a:path>
              </a:pathLst>
            </a:custGeom>
            <a:solidFill>
              <a:srgbClr val="D1DB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62" name="Freeform 205">
              <a:extLst>
                <a:ext uri="{FF2B5EF4-FFF2-40B4-BE49-F238E27FC236}">
                  <a16:creationId xmlns:a16="http://schemas.microsoft.com/office/drawing/2014/main" id="{59AAF92D-D986-4740-8FB7-EC36157216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08444" y="4956787"/>
              <a:ext cx="59010" cy="21918"/>
            </a:xfrm>
            <a:custGeom>
              <a:avLst/>
              <a:gdLst>
                <a:gd name="T0" fmla="*/ 0 w 35"/>
                <a:gd name="T1" fmla="*/ 10 h 13"/>
                <a:gd name="T2" fmla="*/ 31 w 35"/>
                <a:gd name="T3" fmla="*/ 13 h 13"/>
                <a:gd name="T4" fmla="*/ 35 w 35"/>
                <a:gd name="T5" fmla="*/ 3 h 13"/>
                <a:gd name="T6" fmla="*/ 0 w 35"/>
                <a:gd name="T7" fmla="*/ 0 h 13"/>
                <a:gd name="T8" fmla="*/ 0 w 35"/>
                <a:gd name="T9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3">
                  <a:moveTo>
                    <a:pt x="0" y="10"/>
                  </a:moveTo>
                  <a:lnTo>
                    <a:pt x="31" y="13"/>
                  </a:lnTo>
                  <a:lnTo>
                    <a:pt x="35" y="3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194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" name="Freeform 207">
              <a:extLst>
                <a:ext uri="{FF2B5EF4-FFF2-40B4-BE49-F238E27FC236}">
                  <a16:creationId xmlns:a16="http://schemas.microsoft.com/office/drawing/2014/main" id="{C709FFF2-DC54-44B8-A502-3FF4085A59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49434" y="4946671"/>
              <a:ext cx="42150" cy="21918"/>
            </a:xfrm>
            <a:custGeom>
              <a:avLst/>
              <a:gdLst>
                <a:gd name="T0" fmla="*/ 0 w 25"/>
                <a:gd name="T1" fmla="*/ 9 h 13"/>
                <a:gd name="T2" fmla="*/ 25 w 25"/>
                <a:gd name="T3" fmla="*/ 13 h 13"/>
                <a:gd name="T4" fmla="*/ 25 w 25"/>
                <a:gd name="T5" fmla="*/ 3 h 13"/>
                <a:gd name="T6" fmla="*/ 3 w 25"/>
                <a:gd name="T7" fmla="*/ 0 h 13"/>
                <a:gd name="T8" fmla="*/ 0 w 25"/>
                <a:gd name="T9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3">
                  <a:moveTo>
                    <a:pt x="0" y="9"/>
                  </a:moveTo>
                  <a:lnTo>
                    <a:pt x="25" y="13"/>
                  </a:lnTo>
                  <a:lnTo>
                    <a:pt x="25" y="3"/>
                  </a:lnTo>
                  <a:lnTo>
                    <a:pt x="3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194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" name="Freeform 208">
              <a:extLst>
                <a:ext uri="{FF2B5EF4-FFF2-40B4-BE49-F238E27FC236}">
                  <a16:creationId xmlns:a16="http://schemas.microsoft.com/office/drawing/2014/main" id="{E039658D-E166-4DFD-B6FC-FDD52DCF2D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13397" y="4400413"/>
              <a:ext cx="59010" cy="59010"/>
            </a:xfrm>
            <a:custGeom>
              <a:avLst/>
              <a:gdLst>
                <a:gd name="T0" fmla="*/ 6 w 11"/>
                <a:gd name="T1" fmla="*/ 0 h 11"/>
                <a:gd name="T2" fmla="*/ 0 w 11"/>
                <a:gd name="T3" fmla="*/ 6 h 11"/>
                <a:gd name="T4" fmla="*/ 5 w 11"/>
                <a:gd name="T5" fmla="*/ 11 h 11"/>
                <a:gd name="T6" fmla="*/ 11 w 11"/>
                <a:gd name="T7" fmla="*/ 6 h 11"/>
                <a:gd name="T8" fmla="*/ 6 w 11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1">
                  <a:moveTo>
                    <a:pt x="6" y="0"/>
                  </a:moveTo>
                  <a:cubicBezTo>
                    <a:pt x="2" y="0"/>
                    <a:pt x="0" y="2"/>
                    <a:pt x="0" y="6"/>
                  </a:cubicBezTo>
                  <a:cubicBezTo>
                    <a:pt x="0" y="9"/>
                    <a:pt x="2" y="11"/>
                    <a:pt x="5" y="11"/>
                  </a:cubicBezTo>
                  <a:cubicBezTo>
                    <a:pt x="8" y="11"/>
                    <a:pt x="11" y="9"/>
                    <a:pt x="11" y="6"/>
                  </a:cubicBezTo>
                  <a:cubicBezTo>
                    <a:pt x="11" y="2"/>
                    <a:pt x="9" y="0"/>
                    <a:pt x="6" y="0"/>
                  </a:cubicBezTo>
                </a:path>
              </a:pathLst>
            </a:custGeom>
            <a:solidFill>
              <a:srgbClr val="8A74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" name="Freeform 209">
              <a:extLst>
                <a:ext uri="{FF2B5EF4-FFF2-40B4-BE49-F238E27FC236}">
                  <a16:creationId xmlns:a16="http://schemas.microsoft.com/office/drawing/2014/main" id="{ECC5A7DE-E3E7-432D-BDA1-59000DC30F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68403" y="5005681"/>
              <a:ext cx="47207" cy="21918"/>
            </a:xfrm>
            <a:custGeom>
              <a:avLst/>
              <a:gdLst>
                <a:gd name="T0" fmla="*/ 7 w 9"/>
                <a:gd name="T1" fmla="*/ 1 h 4"/>
                <a:gd name="T2" fmla="*/ 0 w 9"/>
                <a:gd name="T3" fmla="*/ 0 h 4"/>
                <a:gd name="T4" fmla="*/ 3 w 9"/>
                <a:gd name="T5" fmla="*/ 4 h 4"/>
                <a:gd name="T6" fmla="*/ 9 w 9"/>
                <a:gd name="T7" fmla="*/ 2 h 4"/>
                <a:gd name="T8" fmla="*/ 7 w 9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4">
                  <a:moveTo>
                    <a:pt x="7" y="1"/>
                  </a:moveTo>
                  <a:cubicBezTo>
                    <a:pt x="4" y="1"/>
                    <a:pt x="2" y="1"/>
                    <a:pt x="0" y="0"/>
                  </a:cubicBezTo>
                  <a:cubicBezTo>
                    <a:pt x="2" y="1"/>
                    <a:pt x="1" y="3"/>
                    <a:pt x="3" y="4"/>
                  </a:cubicBezTo>
                  <a:cubicBezTo>
                    <a:pt x="5" y="4"/>
                    <a:pt x="9" y="3"/>
                    <a:pt x="9" y="2"/>
                  </a:cubicBezTo>
                  <a:cubicBezTo>
                    <a:pt x="9" y="1"/>
                    <a:pt x="8" y="1"/>
                    <a:pt x="7" y="1"/>
                  </a:cubicBezTo>
                  <a:close/>
                </a:path>
              </a:pathLst>
            </a:custGeom>
            <a:solidFill>
              <a:srgbClr val="FCD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" name="Freeform 210">
              <a:extLst>
                <a:ext uri="{FF2B5EF4-FFF2-40B4-BE49-F238E27FC236}">
                  <a16:creationId xmlns:a16="http://schemas.microsoft.com/office/drawing/2014/main" id="{5C640CA2-B5A4-4421-951B-F713D6DC19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14451" y="5000622"/>
              <a:ext cx="155110" cy="123077"/>
            </a:xfrm>
            <a:custGeom>
              <a:avLst/>
              <a:gdLst>
                <a:gd name="T0" fmla="*/ 24 w 29"/>
                <a:gd name="T1" fmla="*/ 11 h 23"/>
                <a:gd name="T2" fmla="*/ 15 w 29"/>
                <a:gd name="T3" fmla="*/ 4 h 23"/>
                <a:gd name="T4" fmla="*/ 8 w 29"/>
                <a:gd name="T5" fmla="*/ 0 h 23"/>
                <a:gd name="T6" fmla="*/ 0 w 29"/>
                <a:gd name="T7" fmla="*/ 9 h 23"/>
                <a:gd name="T8" fmla="*/ 17 w 29"/>
                <a:gd name="T9" fmla="*/ 19 h 23"/>
                <a:gd name="T10" fmla="*/ 23 w 29"/>
                <a:gd name="T11" fmla="*/ 20 h 23"/>
                <a:gd name="T12" fmla="*/ 27 w 29"/>
                <a:gd name="T13" fmla="*/ 20 h 23"/>
                <a:gd name="T14" fmla="*/ 29 w 29"/>
                <a:gd name="T15" fmla="*/ 19 h 23"/>
                <a:gd name="T16" fmla="*/ 29 w 29"/>
                <a:gd name="T17" fmla="*/ 15 h 23"/>
                <a:gd name="T18" fmla="*/ 24 w 29"/>
                <a:gd name="T1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23">
                  <a:moveTo>
                    <a:pt x="24" y="11"/>
                  </a:moveTo>
                  <a:cubicBezTo>
                    <a:pt x="23" y="11"/>
                    <a:pt x="18" y="6"/>
                    <a:pt x="15" y="4"/>
                  </a:cubicBezTo>
                  <a:cubicBezTo>
                    <a:pt x="13" y="3"/>
                    <a:pt x="10" y="1"/>
                    <a:pt x="8" y="0"/>
                  </a:cubicBezTo>
                  <a:cubicBezTo>
                    <a:pt x="8" y="0"/>
                    <a:pt x="1" y="7"/>
                    <a:pt x="0" y="9"/>
                  </a:cubicBezTo>
                  <a:cubicBezTo>
                    <a:pt x="4" y="12"/>
                    <a:pt x="16" y="19"/>
                    <a:pt x="17" y="19"/>
                  </a:cubicBezTo>
                  <a:cubicBezTo>
                    <a:pt x="21" y="23"/>
                    <a:pt x="23" y="22"/>
                    <a:pt x="23" y="20"/>
                  </a:cubicBezTo>
                  <a:cubicBezTo>
                    <a:pt x="23" y="20"/>
                    <a:pt x="27" y="21"/>
                    <a:pt x="27" y="20"/>
                  </a:cubicBezTo>
                  <a:cubicBezTo>
                    <a:pt x="27" y="20"/>
                    <a:pt x="28" y="20"/>
                    <a:pt x="29" y="19"/>
                  </a:cubicBezTo>
                  <a:cubicBezTo>
                    <a:pt x="29" y="18"/>
                    <a:pt x="29" y="16"/>
                    <a:pt x="29" y="15"/>
                  </a:cubicBezTo>
                  <a:cubicBezTo>
                    <a:pt x="28" y="14"/>
                    <a:pt x="25" y="12"/>
                    <a:pt x="24" y="11"/>
                  </a:cubicBezTo>
                  <a:close/>
                </a:path>
              </a:pathLst>
            </a:custGeom>
            <a:solidFill>
              <a:srgbClr val="FCD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" name="Freeform 211">
              <a:extLst>
                <a:ext uri="{FF2B5EF4-FFF2-40B4-BE49-F238E27FC236}">
                  <a16:creationId xmlns:a16="http://schemas.microsoft.com/office/drawing/2014/main" id="{7E83350B-A90A-453D-80F3-B2BAC542EA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60395" y="4688716"/>
              <a:ext cx="401264" cy="364172"/>
            </a:xfrm>
            <a:custGeom>
              <a:avLst/>
              <a:gdLst>
                <a:gd name="T0" fmla="*/ 18 w 75"/>
                <a:gd name="T1" fmla="*/ 3 h 68"/>
                <a:gd name="T2" fmla="*/ 16 w 75"/>
                <a:gd name="T3" fmla="*/ 1 h 68"/>
                <a:gd name="T4" fmla="*/ 3 w 75"/>
                <a:gd name="T5" fmla="*/ 9 h 68"/>
                <a:gd name="T6" fmla="*/ 68 w 75"/>
                <a:gd name="T7" fmla="*/ 68 h 68"/>
                <a:gd name="T8" fmla="*/ 75 w 75"/>
                <a:gd name="T9" fmla="*/ 59 h 68"/>
                <a:gd name="T10" fmla="*/ 18 w 75"/>
                <a:gd name="T11" fmla="*/ 3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" h="68">
                  <a:moveTo>
                    <a:pt x="18" y="3"/>
                  </a:moveTo>
                  <a:cubicBezTo>
                    <a:pt x="17" y="2"/>
                    <a:pt x="17" y="2"/>
                    <a:pt x="16" y="1"/>
                  </a:cubicBezTo>
                  <a:cubicBezTo>
                    <a:pt x="12" y="0"/>
                    <a:pt x="5" y="0"/>
                    <a:pt x="3" y="9"/>
                  </a:cubicBezTo>
                  <a:cubicBezTo>
                    <a:pt x="0" y="18"/>
                    <a:pt x="47" y="55"/>
                    <a:pt x="68" y="68"/>
                  </a:cubicBezTo>
                  <a:cubicBezTo>
                    <a:pt x="69" y="65"/>
                    <a:pt x="71" y="62"/>
                    <a:pt x="75" y="59"/>
                  </a:cubicBezTo>
                  <a:cubicBezTo>
                    <a:pt x="62" y="51"/>
                    <a:pt x="29" y="11"/>
                    <a:pt x="18" y="3"/>
                  </a:cubicBezTo>
                  <a:close/>
                </a:path>
              </a:pathLst>
            </a:custGeom>
            <a:solidFill>
              <a:srgbClr val="FCD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" name="Freeform 212">
              <a:extLst>
                <a:ext uri="{FF2B5EF4-FFF2-40B4-BE49-F238E27FC236}">
                  <a16:creationId xmlns:a16="http://schemas.microsoft.com/office/drawing/2014/main" id="{1A996404-4B45-4151-82D6-6BE98C68BB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37319" y="4287453"/>
              <a:ext cx="263013" cy="536142"/>
            </a:xfrm>
            <a:custGeom>
              <a:avLst/>
              <a:gdLst>
                <a:gd name="T0" fmla="*/ 37 w 49"/>
                <a:gd name="T1" fmla="*/ 3 h 100"/>
                <a:gd name="T2" fmla="*/ 9 w 49"/>
                <a:gd name="T3" fmla="*/ 10 h 100"/>
                <a:gd name="T4" fmla="*/ 27 w 49"/>
                <a:gd name="T5" fmla="*/ 88 h 100"/>
                <a:gd name="T6" fmla="*/ 44 w 49"/>
                <a:gd name="T7" fmla="*/ 76 h 100"/>
                <a:gd name="T8" fmla="*/ 37 w 49"/>
                <a:gd name="T9" fmla="*/ 3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100">
                  <a:moveTo>
                    <a:pt x="37" y="3"/>
                  </a:moveTo>
                  <a:cubicBezTo>
                    <a:pt x="36" y="0"/>
                    <a:pt x="13" y="7"/>
                    <a:pt x="9" y="10"/>
                  </a:cubicBezTo>
                  <a:cubicBezTo>
                    <a:pt x="0" y="16"/>
                    <a:pt x="17" y="70"/>
                    <a:pt x="27" y="88"/>
                  </a:cubicBezTo>
                  <a:cubicBezTo>
                    <a:pt x="31" y="95"/>
                    <a:pt x="49" y="100"/>
                    <a:pt x="44" y="76"/>
                  </a:cubicBezTo>
                  <a:cubicBezTo>
                    <a:pt x="40" y="56"/>
                    <a:pt x="40" y="15"/>
                    <a:pt x="37" y="3"/>
                  </a:cubicBezTo>
                  <a:close/>
                </a:path>
              </a:pathLst>
            </a:custGeom>
            <a:solidFill>
              <a:srgbClr val="FCD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" name="Freeform 213">
              <a:extLst>
                <a:ext uri="{FF2B5EF4-FFF2-40B4-BE49-F238E27FC236}">
                  <a16:creationId xmlns:a16="http://schemas.microsoft.com/office/drawing/2014/main" id="{676AFED1-FA9E-412B-B6D2-FE36D7A84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25516" y="4238559"/>
              <a:ext cx="542886" cy="826131"/>
            </a:xfrm>
            <a:custGeom>
              <a:avLst/>
              <a:gdLst>
                <a:gd name="T0" fmla="*/ 66 w 101"/>
                <a:gd name="T1" fmla="*/ 106 h 154"/>
                <a:gd name="T2" fmla="*/ 50 w 101"/>
                <a:gd name="T3" fmla="*/ 89 h 154"/>
                <a:gd name="T4" fmla="*/ 49 w 101"/>
                <a:gd name="T5" fmla="*/ 84 h 154"/>
                <a:gd name="T6" fmla="*/ 43 w 101"/>
                <a:gd name="T7" fmla="*/ 10 h 154"/>
                <a:gd name="T8" fmla="*/ 7 w 101"/>
                <a:gd name="T9" fmla="*/ 20 h 154"/>
                <a:gd name="T10" fmla="*/ 26 w 101"/>
                <a:gd name="T11" fmla="*/ 98 h 154"/>
                <a:gd name="T12" fmla="*/ 91 w 101"/>
                <a:gd name="T13" fmla="*/ 154 h 154"/>
                <a:gd name="T14" fmla="*/ 101 w 101"/>
                <a:gd name="T15" fmla="*/ 140 h 154"/>
                <a:gd name="T16" fmla="*/ 66 w 101"/>
                <a:gd name="T17" fmla="*/ 10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154">
                  <a:moveTo>
                    <a:pt x="66" y="106"/>
                  </a:moveTo>
                  <a:cubicBezTo>
                    <a:pt x="60" y="99"/>
                    <a:pt x="54" y="93"/>
                    <a:pt x="50" y="89"/>
                  </a:cubicBezTo>
                  <a:cubicBezTo>
                    <a:pt x="50" y="88"/>
                    <a:pt x="50" y="86"/>
                    <a:pt x="49" y="84"/>
                  </a:cubicBezTo>
                  <a:cubicBezTo>
                    <a:pt x="47" y="75"/>
                    <a:pt x="51" y="20"/>
                    <a:pt x="43" y="10"/>
                  </a:cubicBezTo>
                  <a:cubicBezTo>
                    <a:pt x="35" y="1"/>
                    <a:pt x="16" y="0"/>
                    <a:pt x="7" y="20"/>
                  </a:cubicBezTo>
                  <a:cubicBezTo>
                    <a:pt x="0" y="33"/>
                    <a:pt x="18" y="84"/>
                    <a:pt x="26" y="98"/>
                  </a:cubicBezTo>
                  <a:cubicBezTo>
                    <a:pt x="34" y="113"/>
                    <a:pt x="73" y="143"/>
                    <a:pt x="91" y="154"/>
                  </a:cubicBezTo>
                  <a:cubicBezTo>
                    <a:pt x="101" y="140"/>
                    <a:pt x="101" y="140"/>
                    <a:pt x="101" y="140"/>
                  </a:cubicBezTo>
                  <a:cubicBezTo>
                    <a:pt x="94" y="136"/>
                    <a:pt x="78" y="119"/>
                    <a:pt x="66" y="106"/>
                  </a:cubicBezTo>
                  <a:close/>
                </a:path>
              </a:pathLst>
            </a:custGeom>
            <a:solidFill>
              <a:srgbClr val="C6F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" name="Freeform 214">
              <a:extLst>
                <a:ext uri="{FF2B5EF4-FFF2-40B4-BE49-F238E27FC236}">
                  <a16:creationId xmlns:a16="http://schemas.microsoft.com/office/drawing/2014/main" id="{8C8AA1DD-70B7-4714-B8E6-DFE355C495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3419" y="5000622"/>
              <a:ext cx="1040251" cy="411380"/>
            </a:xfrm>
            <a:custGeom>
              <a:avLst/>
              <a:gdLst>
                <a:gd name="T0" fmla="*/ 170 w 194"/>
                <a:gd name="T1" fmla="*/ 30 h 77"/>
                <a:gd name="T2" fmla="*/ 21 w 194"/>
                <a:gd name="T3" fmla="*/ 1 h 77"/>
                <a:gd name="T4" fmla="*/ 27 w 194"/>
                <a:gd name="T5" fmla="*/ 60 h 77"/>
                <a:gd name="T6" fmla="*/ 174 w 194"/>
                <a:gd name="T7" fmla="*/ 70 h 77"/>
                <a:gd name="T8" fmla="*/ 170 w 194"/>
                <a:gd name="T9" fmla="*/ 3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4" h="77">
                  <a:moveTo>
                    <a:pt x="170" y="30"/>
                  </a:moveTo>
                  <a:cubicBezTo>
                    <a:pt x="128" y="8"/>
                    <a:pt x="40" y="0"/>
                    <a:pt x="21" y="1"/>
                  </a:cubicBezTo>
                  <a:cubicBezTo>
                    <a:pt x="11" y="2"/>
                    <a:pt x="0" y="46"/>
                    <a:pt x="27" y="60"/>
                  </a:cubicBezTo>
                  <a:cubicBezTo>
                    <a:pt x="62" y="77"/>
                    <a:pt x="151" y="73"/>
                    <a:pt x="174" y="70"/>
                  </a:cubicBezTo>
                  <a:cubicBezTo>
                    <a:pt x="182" y="69"/>
                    <a:pt x="194" y="42"/>
                    <a:pt x="170" y="30"/>
                  </a:cubicBezTo>
                  <a:close/>
                </a:path>
              </a:pathLst>
            </a:custGeom>
            <a:solidFill>
              <a:srgbClr val="B0C1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" name="Freeform 215">
              <a:extLst>
                <a:ext uri="{FF2B5EF4-FFF2-40B4-BE49-F238E27FC236}">
                  <a16:creationId xmlns:a16="http://schemas.microsoft.com/office/drawing/2014/main" id="{E0D526EF-9D85-4B60-9FC1-CCFB5BE059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74620" y="5965004"/>
              <a:ext cx="70811" cy="74183"/>
            </a:xfrm>
            <a:custGeom>
              <a:avLst/>
              <a:gdLst>
                <a:gd name="T0" fmla="*/ 1 w 13"/>
                <a:gd name="T1" fmla="*/ 2 h 14"/>
                <a:gd name="T2" fmla="*/ 1 w 13"/>
                <a:gd name="T3" fmla="*/ 14 h 14"/>
                <a:gd name="T4" fmla="*/ 12 w 13"/>
                <a:gd name="T5" fmla="*/ 10 h 14"/>
                <a:gd name="T6" fmla="*/ 13 w 13"/>
                <a:gd name="T7" fmla="*/ 3 h 14"/>
                <a:gd name="T8" fmla="*/ 3 w 13"/>
                <a:gd name="T9" fmla="*/ 1 h 14"/>
                <a:gd name="T10" fmla="*/ 1 w 13"/>
                <a:gd name="T11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4">
                  <a:moveTo>
                    <a:pt x="1" y="2"/>
                  </a:moveTo>
                  <a:cubicBezTo>
                    <a:pt x="0" y="9"/>
                    <a:pt x="1" y="14"/>
                    <a:pt x="1" y="14"/>
                  </a:cubicBezTo>
                  <a:cubicBezTo>
                    <a:pt x="1" y="14"/>
                    <a:pt x="8" y="14"/>
                    <a:pt x="12" y="10"/>
                  </a:cubicBezTo>
                  <a:cubicBezTo>
                    <a:pt x="12" y="10"/>
                    <a:pt x="12" y="7"/>
                    <a:pt x="13" y="3"/>
                  </a:cubicBezTo>
                  <a:cubicBezTo>
                    <a:pt x="10" y="0"/>
                    <a:pt x="6" y="0"/>
                    <a:pt x="3" y="1"/>
                  </a:cubicBezTo>
                  <a:cubicBezTo>
                    <a:pt x="2" y="2"/>
                    <a:pt x="1" y="2"/>
                    <a:pt x="1" y="2"/>
                  </a:cubicBezTo>
                </a:path>
              </a:pathLst>
            </a:custGeom>
            <a:solidFill>
              <a:srgbClr val="FCD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" name="Freeform 216">
              <a:extLst>
                <a:ext uri="{FF2B5EF4-FFF2-40B4-BE49-F238E27FC236}">
                  <a16:creationId xmlns:a16="http://schemas.microsoft.com/office/drawing/2014/main" id="{7723D2F0-59F7-4390-91BC-7C4C3D0927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74620" y="5145617"/>
              <a:ext cx="493993" cy="861537"/>
            </a:xfrm>
            <a:custGeom>
              <a:avLst/>
              <a:gdLst>
                <a:gd name="T0" fmla="*/ 38 w 92"/>
                <a:gd name="T1" fmla="*/ 36 h 161"/>
                <a:gd name="T2" fmla="*/ 0 w 92"/>
                <a:gd name="T3" fmla="*/ 156 h 161"/>
                <a:gd name="T4" fmla="*/ 13 w 92"/>
                <a:gd name="T5" fmla="*/ 161 h 161"/>
                <a:gd name="T6" fmla="*/ 78 w 92"/>
                <a:gd name="T7" fmla="*/ 42 h 161"/>
                <a:gd name="T8" fmla="*/ 38 w 92"/>
                <a:gd name="T9" fmla="*/ 36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61">
                  <a:moveTo>
                    <a:pt x="38" y="36"/>
                  </a:moveTo>
                  <a:cubicBezTo>
                    <a:pt x="19" y="92"/>
                    <a:pt x="0" y="156"/>
                    <a:pt x="0" y="156"/>
                  </a:cubicBezTo>
                  <a:cubicBezTo>
                    <a:pt x="5" y="154"/>
                    <a:pt x="11" y="157"/>
                    <a:pt x="13" y="161"/>
                  </a:cubicBezTo>
                  <a:cubicBezTo>
                    <a:pt x="13" y="161"/>
                    <a:pt x="46" y="100"/>
                    <a:pt x="78" y="42"/>
                  </a:cubicBezTo>
                  <a:cubicBezTo>
                    <a:pt x="92" y="18"/>
                    <a:pt x="50" y="0"/>
                    <a:pt x="38" y="36"/>
                  </a:cubicBezTo>
                  <a:close/>
                </a:path>
              </a:pathLst>
            </a:custGeom>
            <a:solidFill>
              <a:srgbClr val="B0C1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" name="Freeform 217">
              <a:extLst>
                <a:ext uri="{FF2B5EF4-FFF2-40B4-BE49-F238E27FC236}">
                  <a16:creationId xmlns:a16="http://schemas.microsoft.com/office/drawing/2014/main" id="{48B9438D-7C87-4534-9B50-2D3461BC86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74620" y="5991980"/>
              <a:ext cx="182086" cy="144994"/>
            </a:xfrm>
            <a:custGeom>
              <a:avLst/>
              <a:gdLst>
                <a:gd name="T0" fmla="*/ 14 w 34"/>
                <a:gd name="T1" fmla="*/ 5 h 27"/>
                <a:gd name="T2" fmla="*/ 12 w 34"/>
                <a:gd name="T3" fmla="*/ 2 h 27"/>
                <a:gd name="T4" fmla="*/ 1 w 34"/>
                <a:gd name="T5" fmla="*/ 6 h 27"/>
                <a:gd name="T6" fmla="*/ 3 w 34"/>
                <a:gd name="T7" fmla="*/ 16 h 27"/>
                <a:gd name="T8" fmla="*/ 13 w 34"/>
                <a:gd name="T9" fmla="*/ 25 h 27"/>
                <a:gd name="T10" fmla="*/ 24 w 34"/>
                <a:gd name="T11" fmla="*/ 26 h 27"/>
                <a:gd name="T12" fmla="*/ 34 w 34"/>
                <a:gd name="T13" fmla="*/ 20 h 27"/>
                <a:gd name="T14" fmla="*/ 14 w 34"/>
                <a:gd name="T15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7">
                  <a:moveTo>
                    <a:pt x="14" y="5"/>
                  </a:moveTo>
                  <a:cubicBezTo>
                    <a:pt x="12" y="3"/>
                    <a:pt x="12" y="2"/>
                    <a:pt x="12" y="2"/>
                  </a:cubicBezTo>
                  <a:cubicBezTo>
                    <a:pt x="12" y="2"/>
                    <a:pt x="3" y="0"/>
                    <a:pt x="1" y="6"/>
                  </a:cubicBezTo>
                  <a:cubicBezTo>
                    <a:pt x="1" y="6"/>
                    <a:pt x="0" y="12"/>
                    <a:pt x="3" y="16"/>
                  </a:cubicBezTo>
                  <a:cubicBezTo>
                    <a:pt x="4" y="17"/>
                    <a:pt x="10" y="24"/>
                    <a:pt x="13" y="25"/>
                  </a:cubicBezTo>
                  <a:cubicBezTo>
                    <a:pt x="16" y="27"/>
                    <a:pt x="20" y="26"/>
                    <a:pt x="24" y="26"/>
                  </a:cubicBezTo>
                  <a:cubicBezTo>
                    <a:pt x="29" y="25"/>
                    <a:pt x="34" y="22"/>
                    <a:pt x="34" y="20"/>
                  </a:cubicBezTo>
                  <a:cubicBezTo>
                    <a:pt x="33" y="15"/>
                    <a:pt x="18" y="8"/>
                    <a:pt x="14" y="5"/>
                  </a:cubicBezTo>
                </a:path>
              </a:pathLst>
            </a:custGeom>
            <a:solidFill>
              <a:srgbClr val="6855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pic>
          <p:nvPicPr>
            <p:cNvPr id="3290" name="Picture 218">
              <a:extLst>
                <a:ext uri="{FF2B5EF4-FFF2-40B4-BE49-F238E27FC236}">
                  <a16:creationId xmlns:a16="http://schemas.microsoft.com/office/drawing/2014/main" id="{8964C872-8DB1-4A3C-95C9-698C2D56E860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45431" y="6104941"/>
              <a:ext cx="64067" cy="472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9" name="Freeform 219">
              <a:extLst>
                <a:ext uri="{FF2B5EF4-FFF2-40B4-BE49-F238E27FC236}">
                  <a16:creationId xmlns:a16="http://schemas.microsoft.com/office/drawing/2014/main" id="{D00BACBE-9216-4C61-9D53-2C15A165B8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79677" y="6034130"/>
              <a:ext cx="161854" cy="96102"/>
            </a:xfrm>
            <a:custGeom>
              <a:avLst/>
              <a:gdLst>
                <a:gd name="T0" fmla="*/ 8 w 30"/>
                <a:gd name="T1" fmla="*/ 0 h 18"/>
                <a:gd name="T2" fmla="*/ 4 w 30"/>
                <a:gd name="T3" fmla="*/ 10 h 18"/>
                <a:gd name="T4" fmla="*/ 13 w 30"/>
                <a:gd name="T5" fmla="*/ 18 h 18"/>
                <a:gd name="T6" fmla="*/ 16 w 30"/>
                <a:gd name="T7" fmla="*/ 18 h 18"/>
                <a:gd name="T8" fmla="*/ 17 w 30"/>
                <a:gd name="T9" fmla="*/ 18 h 18"/>
                <a:gd name="T10" fmla="*/ 21 w 30"/>
                <a:gd name="T11" fmla="*/ 18 h 18"/>
                <a:gd name="T12" fmla="*/ 22 w 30"/>
                <a:gd name="T13" fmla="*/ 18 h 18"/>
                <a:gd name="T14" fmla="*/ 30 w 30"/>
                <a:gd name="T15" fmla="*/ 13 h 18"/>
                <a:gd name="T16" fmla="*/ 11 w 30"/>
                <a:gd name="T17" fmla="*/ 0 h 18"/>
                <a:gd name="T18" fmla="*/ 8 w 30"/>
                <a:gd name="T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18">
                  <a:moveTo>
                    <a:pt x="8" y="0"/>
                  </a:moveTo>
                  <a:cubicBezTo>
                    <a:pt x="4" y="0"/>
                    <a:pt x="0" y="4"/>
                    <a:pt x="4" y="10"/>
                  </a:cubicBezTo>
                  <a:cubicBezTo>
                    <a:pt x="5" y="11"/>
                    <a:pt x="11" y="16"/>
                    <a:pt x="13" y="18"/>
                  </a:cubicBezTo>
                  <a:cubicBezTo>
                    <a:pt x="14" y="18"/>
                    <a:pt x="15" y="18"/>
                    <a:pt x="16" y="18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18" y="18"/>
                    <a:pt x="19" y="18"/>
                    <a:pt x="21" y="18"/>
                  </a:cubicBezTo>
                  <a:cubicBezTo>
                    <a:pt x="21" y="18"/>
                    <a:pt x="22" y="18"/>
                    <a:pt x="22" y="18"/>
                  </a:cubicBezTo>
                  <a:cubicBezTo>
                    <a:pt x="26" y="17"/>
                    <a:pt x="30" y="15"/>
                    <a:pt x="30" y="13"/>
                  </a:cubicBezTo>
                  <a:cubicBezTo>
                    <a:pt x="30" y="9"/>
                    <a:pt x="16" y="3"/>
                    <a:pt x="11" y="0"/>
                  </a:cubicBezTo>
                  <a:cubicBezTo>
                    <a:pt x="10" y="0"/>
                    <a:pt x="9" y="0"/>
                    <a:pt x="8" y="0"/>
                  </a:cubicBezTo>
                </a:path>
              </a:pathLst>
            </a:custGeom>
            <a:solidFill>
              <a:srgbClr val="2A1C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" name="Freeform 220">
              <a:extLst>
                <a:ext uri="{FF2B5EF4-FFF2-40B4-BE49-F238E27FC236}">
                  <a16:creationId xmlns:a16="http://schemas.microsoft.com/office/drawing/2014/main" id="{9D1C693A-F56D-49BC-970D-92277637A0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02545" y="5959947"/>
              <a:ext cx="85986" cy="96102"/>
            </a:xfrm>
            <a:custGeom>
              <a:avLst/>
              <a:gdLst>
                <a:gd name="T0" fmla="*/ 5 w 16"/>
                <a:gd name="T1" fmla="*/ 2 h 18"/>
                <a:gd name="T2" fmla="*/ 0 w 16"/>
                <a:gd name="T3" fmla="*/ 11 h 18"/>
                <a:gd name="T4" fmla="*/ 13 w 16"/>
                <a:gd name="T5" fmla="*/ 18 h 18"/>
                <a:gd name="T6" fmla="*/ 16 w 16"/>
                <a:gd name="T7" fmla="*/ 5 h 18"/>
                <a:gd name="T8" fmla="*/ 14 w 16"/>
                <a:gd name="T9" fmla="*/ 3 h 18"/>
                <a:gd name="T10" fmla="*/ 5 w 16"/>
                <a:gd name="T11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8">
                  <a:moveTo>
                    <a:pt x="5" y="2"/>
                  </a:moveTo>
                  <a:cubicBezTo>
                    <a:pt x="3" y="7"/>
                    <a:pt x="0" y="11"/>
                    <a:pt x="0" y="11"/>
                  </a:cubicBezTo>
                  <a:cubicBezTo>
                    <a:pt x="4" y="15"/>
                    <a:pt x="13" y="18"/>
                    <a:pt x="13" y="18"/>
                  </a:cubicBezTo>
                  <a:cubicBezTo>
                    <a:pt x="13" y="18"/>
                    <a:pt x="15" y="11"/>
                    <a:pt x="16" y="5"/>
                  </a:cubicBezTo>
                  <a:cubicBezTo>
                    <a:pt x="16" y="5"/>
                    <a:pt x="15" y="4"/>
                    <a:pt x="14" y="3"/>
                  </a:cubicBezTo>
                  <a:cubicBezTo>
                    <a:pt x="11" y="1"/>
                    <a:pt x="8" y="0"/>
                    <a:pt x="5" y="2"/>
                  </a:cubicBezTo>
                </a:path>
              </a:pathLst>
            </a:custGeom>
            <a:solidFill>
              <a:srgbClr val="FCD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" name="Freeform 221">
              <a:extLst>
                <a:ext uri="{FF2B5EF4-FFF2-40B4-BE49-F238E27FC236}">
                  <a16:creationId xmlns:a16="http://schemas.microsoft.com/office/drawing/2014/main" id="{7F7D9177-E66F-43D2-B2EF-0641A7B110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24462" y="5236660"/>
              <a:ext cx="445099" cy="770494"/>
            </a:xfrm>
            <a:custGeom>
              <a:avLst/>
              <a:gdLst>
                <a:gd name="T0" fmla="*/ 35 w 83"/>
                <a:gd name="T1" fmla="*/ 37 h 144"/>
                <a:gd name="T2" fmla="*/ 0 w 83"/>
                <a:gd name="T3" fmla="*/ 139 h 144"/>
                <a:gd name="T4" fmla="*/ 13 w 83"/>
                <a:gd name="T5" fmla="*/ 144 h 144"/>
                <a:gd name="T6" fmla="*/ 69 w 83"/>
                <a:gd name="T7" fmla="*/ 45 h 144"/>
                <a:gd name="T8" fmla="*/ 35 w 83"/>
                <a:gd name="T9" fmla="*/ 37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144">
                  <a:moveTo>
                    <a:pt x="35" y="37"/>
                  </a:moveTo>
                  <a:cubicBezTo>
                    <a:pt x="16" y="92"/>
                    <a:pt x="0" y="139"/>
                    <a:pt x="0" y="139"/>
                  </a:cubicBezTo>
                  <a:cubicBezTo>
                    <a:pt x="5" y="137"/>
                    <a:pt x="11" y="140"/>
                    <a:pt x="13" y="144"/>
                  </a:cubicBezTo>
                  <a:cubicBezTo>
                    <a:pt x="13" y="144"/>
                    <a:pt x="37" y="104"/>
                    <a:pt x="69" y="45"/>
                  </a:cubicBezTo>
                  <a:cubicBezTo>
                    <a:pt x="83" y="21"/>
                    <a:pt x="47" y="0"/>
                    <a:pt x="35" y="37"/>
                  </a:cubicBezTo>
                  <a:close/>
                </a:path>
              </a:pathLst>
            </a:custGeom>
            <a:solidFill>
              <a:srgbClr val="B0C1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" name="Freeform 222">
              <a:extLst>
                <a:ext uri="{FF2B5EF4-FFF2-40B4-BE49-F238E27FC236}">
                  <a16:creationId xmlns:a16="http://schemas.microsoft.com/office/drawing/2014/main" id="{3FAC6F03-693D-410C-ACA9-7BFCBD60F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01386" y="5997038"/>
              <a:ext cx="177029" cy="139937"/>
            </a:xfrm>
            <a:custGeom>
              <a:avLst/>
              <a:gdLst>
                <a:gd name="T0" fmla="*/ 29 w 33"/>
                <a:gd name="T1" fmla="*/ 1 h 26"/>
                <a:gd name="T2" fmla="*/ 29 w 33"/>
                <a:gd name="T3" fmla="*/ 1 h 26"/>
                <a:gd name="T4" fmla="*/ 20 w 33"/>
                <a:gd name="T5" fmla="*/ 3 h 26"/>
                <a:gd name="T6" fmla="*/ 19 w 33"/>
                <a:gd name="T7" fmla="*/ 4 h 26"/>
                <a:gd name="T8" fmla="*/ 0 w 33"/>
                <a:gd name="T9" fmla="*/ 19 h 26"/>
                <a:gd name="T10" fmla="*/ 9 w 33"/>
                <a:gd name="T11" fmla="*/ 25 h 26"/>
                <a:gd name="T12" fmla="*/ 20 w 33"/>
                <a:gd name="T13" fmla="*/ 24 h 26"/>
                <a:gd name="T14" fmla="*/ 31 w 33"/>
                <a:gd name="T15" fmla="*/ 15 h 26"/>
                <a:gd name="T16" fmla="*/ 33 w 33"/>
                <a:gd name="T17" fmla="*/ 8 h 26"/>
                <a:gd name="T18" fmla="*/ 29 w 33"/>
                <a:gd name="T19" fmla="*/ 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26">
                  <a:moveTo>
                    <a:pt x="29" y="1"/>
                  </a:moveTo>
                  <a:cubicBezTo>
                    <a:pt x="29" y="1"/>
                    <a:pt x="29" y="1"/>
                    <a:pt x="29" y="1"/>
                  </a:cubicBezTo>
                  <a:cubicBezTo>
                    <a:pt x="26" y="0"/>
                    <a:pt x="22" y="1"/>
                    <a:pt x="20" y="3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6" y="7"/>
                    <a:pt x="1" y="14"/>
                    <a:pt x="0" y="19"/>
                  </a:cubicBezTo>
                  <a:cubicBezTo>
                    <a:pt x="0" y="21"/>
                    <a:pt x="5" y="24"/>
                    <a:pt x="9" y="25"/>
                  </a:cubicBezTo>
                  <a:cubicBezTo>
                    <a:pt x="14" y="25"/>
                    <a:pt x="18" y="26"/>
                    <a:pt x="20" y="24"/>
                  </a:cubicBezTo>
                  <a:cubicBezTo>
                    <a:pt x="23" y="23"/>
                    <a:pt x="30" y="16"/>
                    <a:pt x="31" y="15"/>
                  </a:cubicBezTo>
                  <a:cubicBezTo>
                    <a:pt x="32" y="13"/>
                    <a:pt x="32" y="10"/>
                    <a:pt x="33" y="8"/>
                  </a:cubicBezTo>
                  <a:cubicBezTo>
                    <a:pt x="33" y="5"/>
                    <a:pt x="31" y="2"/>
                    <a:pt x="29" y="1"/>
                  </a:cubicBezTo>
                </a:path>
              </a:pathLst>
            </a:custGeom>
            <a:solidFill>
              <a:srgbClr val="6855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pic>
          <p:nvPicPr>
            <p:cNvPr id="3295" name="Picture 223">
              <a:extLst>
                <a:ext uri="{FF2B5EF4-FFF2-40B4-BE49-F238E27FC236}">
                  <a16:creationId xmlns:a16="http://schemas.microsoft.com/office/drawing/2014/main" id="{E73E3D22-9C7A-472C-923C-E4FCCFAF3EAD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43535" y="6104941"/>
              <a:ext cx="64067" cy="472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3" name="Freeform 224">
              <a:extLst>
                <a:ext uri="{FF2B5EF4-FFF2-40B4-BE49-F238E27FC236}">
                  <a16:creationId xmlns:a16="http://schemas.microsoft.com/office/drawing/2014/main" id="{34ECB645-698A-4940-9360-422B7A2007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11502" y="6034130"/>
              <a:ext cx="161854" cy="96102"/>
            </a:xfrm>
            <a:custGeom>
              <a:avLst/>
              <a:gdLst>
                <a:gd name="T0" fmla="*/ 22 w 30"/>
                <a:gd name="T1" fmla="*/ 0 h 18"/>
                <a:gd name="T2" fmla="*/ 20 w 30"/>
                <a:gd name="T3" fmla="*/ 0 h 18"/>
                <a:gd name="T4" fmla="*/ 0 w 30"/>
                <a:gd name="T5" fmla="*/ 13 h 18"/>
                <a:gd name="T6" fmla="*/ 8 w 30"/>
                <a:gd name="T7" fmla="*/ 18 h 18"/>
                <a:gd name="T8" fmla="*/ 10 w 30"/>
                <a:gd name="T9" fmla="*/ 18 h 18"/>
                <a:gd name="T10" fmla="*/ 13 w 30"/>
                <a:gd name="T11" fmla="*/ 18 h 18"/>
                <a:gd name="T12" fmla="*/ 14 w 30"/>
                <a:gd name="T13" fmla="*/ 18 h 18"/>
                <a:gd name="T14" fmla="*/ 17 w 30"/>
                <a:gd name="T15" fmla="*/ 18 h 18"/>
                <a:gd name="T16" fmla="*/ 26 w 30"/>
                <a:gd name="T17" fmla="*/ 10 h 18"/>
                <a:gd name="T18" fmla="*/ 22 w 30"/>
                <a:gd name="T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18">
                  <a:moveTo>
                    <a:pt x="22" y="0"/>
                  </a:moveTo>
                  <a:cubicBezTo>
                    <a:pt x="21" y="0"/>
                    <a:pt x="20" y="0"/>
                    <a:pt x="20" y="0"/>
                  </a:cubicBezTo>
                  <a:cubicBezTo>
                    <a:pt x="15" y="3"/>
                    <a:pt x="1" y="9"/>
                    <a:pt x="0" y="13"/>
                  </a:cubicBezTo>
                  <a:cubicBezTo>
                    <a:pt x="0" y="15"/>
                    <a:pt x="5" y="17"/>
                    <a:pt x="8" y="18"/>
                  </a:cubicBezTo>
                  <a:cubicBezTo>
                    <a:pt x="9" y="18"/>
                    <a:pt x="9" y="18"/>
                    <a:pt x="10" y="18"/>
                  </a:cubicBezTo>
                  <a:cubicBezTo>
                    <a:pt x="11" y="18"/>
                    <a:pt x="12" y="18"/>
                    <a:pt x="13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6" y="18"/>
                    <a:pt x="17" y="18"/>
                    <a:pt x="17" y="18"/>
                  </a:cubicBezTo>
                  <a:cubicBezTo>
                    <a:pt x="20" y="16"/>
                    <a:pt x="25" y="11"/>
                    <a:pt x="26" y="10"/>
                  </a:cubicBezTo>
                  <a:cubicBezTo>
                    <a:pt x="30" y="4"/>
                    <a:pt x="26" y="0"/>
                    <a:pt x="22" y="0"/>
                  </a:cubicBezTo>
                </a:path>
              </a:pathLst>
            </a:custGeom>
            <a:solidFill>
              <a:srgbClr val="2A1C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" name="Freeform 225">
              <a:extLst>
                <a:ext uri="{FF2B5EF4-FFF2-40B4-BE49-F238E27FC236}">
                  <a16:creationId xmlns:a16="http://schemas.microsoft.com/office/drawing/2014/main" id="{41D19132-162F-4FB9-AEFA-CCAA617FEC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51333" y="4870802"/>
              <a:ext cx="696311" cy="456902"/>
            </a:xfrm>
            <a:custGeom>
              <a:avLst/>
              <a:gdLst>
                <a:gd name="T0" fmla="*/ 117 w 130"/>
                <a:gd name="T1" fmla="*/ 4 h 85"/>
                <a:gd name="T2" fmla="*/ 80 w 130"/>
                <a:gd name="T3" fmla="*/ 8 h 85"/>
                <a:gd name="T4" fmla="*/ 18 w 130"/>
                <a:gd name="T5" fmla="*/ 2 h 85"/>
                <a:gd name="T6" fmla="*/ 4 w 130"/>
                <a:gd name="T7" fmla="*/ 0 h 85"/>
                <a:gd name="T8" fmla="*/ 0 w 130"/>
                <a:gd name="T9" fmla="*/ 52 h 85"/>
                <a:gd name="T10" fmla="*/ 101 w 130"/>
                <a:gd name="T11" fmla="*/ 65 h 85"/>
                <a:gd name="T12" fmla="*/ 130 w 130"/>
                <a:gd name="T13" fmla="*/ 33 h 85"/>
                <a:gd name="T14" fmla="*/ 117 w 130"/>
                <a:gd name="T15" fmla="*/ 4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0" h="85">
                  <a:moveTo>
                    <a:pt x="117" y="4"/>
                  </a:moveTo>
                  <a:cubicBezTo>
                    <a:pt x="106" y="7"/>
                    <a:pt x="93" y="9"/>
                    <a:pt x="80" y="8"/>
                  </a:cubicBezTo>
                  <a:cubicBezTo>
                    <a:pt x="59" y="8"/>
                    <a:pt x="39" y="5"/>
                    <a:pt x="18" y="2"/>
                  </a:cubicBezTo>
                  <a:cubicBezTo>
                    <a:pt x="13" y="1"/>
                    <a:pt x="8" y="1"/>
                    <a:pt x="4" y="0"/>
                  </a:cubicBezTo>
                  <a:cubicBezTo>
                    <a:pt x="2" y="18"/>
                    <a:pt x="0" y="36"/>
                    <a:pt x="0" y="52"/>
                  </a:cubicBezTo>
                  <a:cubicBezTo>
                    <a:pt x="2" y="52"/>
                    <a:pt x="46" y="85"/>
                    <a:pt x="101" y="65"/>
                  </a:cubicBezTo>
                  <a:cubicBezTo>
                    <a:pt x="111" y="61"/>
                    <a:pt x="124" y="55"/>
                    <a:pt x="130" y="33"/>
                  </a:cubicBezTo>
                  <a:cubicBezTo>
                    <a:pt x="121" y="27"/>
                    <a:pt x="117" y="24"/>
                    <a:pt x="117" y="4"/>
                  </a:cubicBezTo>
                  <a:close/>
                </a:path>
              </a:pathLst>
            </a:custGeom>
            <a:solidFill>
              <a:srgbClr val="6855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" name="Freeform 226">
              <a:extLst>
                <a:ext uri="{FF2B5EF4-FFF2-40B4-BE49-F238E27FC236}">
                  <a16:creationId xmlns:a16="http://schemas.microsoft.com/office/drawing/2014/main" id="{95D7FD9A-76DE-4439-A1DC-5C13612944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46381" y="4046357"/>
              <a:ext cx="133193" cy="204004"/>
            </a:xfrm>
            <a:custGeom>
              <a:avLst/>
              <a:gdLst>
                <a:gd name="T0" fmla="*/ 3 w 25"/>
                <a:gd name="T1" fmla="*/ 0 h 38"/>
                <a:gd name="T2" fmla="*/ 0 w 25"/>
                <a:gd name="T3" fmla="*/ 26 h 38"/>
                <a:gd name="T4" fmla="*/ 25 w 25"/>
                <a:gd name="T5" fmla="*/ 31 h 38"/>
                <a:gd name="T6" fmla="*/ 25 w 25"/>
                <a:gd name="T7" fmla="*/ 10 h 38"/>
                <a:gd name="T8" fmla="*/ 3 w 25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38">
                  <a:moveTo>
                    <a:pt x="3" y="0"/>
                  </a:moveTo>
                  <a:cubicBezTo>
                    <a:pt x="4" y="6"/>
                    <a:pt x="2" y="23"/>
                    <a:pt x="0" y="26"/>
                  </a:cubicBezTo>
                  <a:cubicBezTo>
                    <a:pt x="5" y="38"/>
                    <a:pt x="23" y="38"/>
                    <a:pt x="25" y="31"/>
                  </a:cubicBezTo>
                  <a:cubicBezTo>
                    <a:pt x="22" y="24"/>
                    <a:pt x="25" y="11"/>
                    <a:pt x="25" y="10"/>
                  </a:cubicBezTo>
                  <a:cubicBezTo>
                    <a:pt x="20" y="10"/>
                    <a:pt x="5" y="1"/>
                    <a:pt x="3" y="0"/>
                  </a:cubicBezTo>
                  <a:close/>
                </a:path>
              </a:pathLst>
            </a:custGeom>
            <a:solidFill>
              <a:srgbClr val="FCD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" name="Freeform 227">
              <a:extLst>
                <a:ext uri="{FF2B5EF4-FFF2-40B4-BE49-F238E27FC236}">
                  <a16:creationId xmlns:a16="http://schemas.microsoft.com/office/drawing/2014/main" id="{39C1B554-B34F-43AF-9F97-F2B0AF4D80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88530" y="3874387"/>
              <a:ext cx="220864" cy="289989"/>
            </a:xfrm>
            <a:custGeom>
              <a:avLst/>
              <a:gdLst>
                <a:gd name="T0" fmla="*/ 18 w 41"/>
                <a:gd name="T1" fmla="*/ 1 h 54"/>
                <a:gd name="T2" fmla="*/ 1 w 41"/>
                <a:gd name="T3" fmla="*/ 22 h 54"/>
                <a:gd name="T4" fmla="*/ 2 w 41"/>
                <a:gd name="T5" fmla="*/ 33 h 54"/>
                <a:gd name="T6" fmla="*/ 22 w 41"/>
                <a:gd name="T7" fmla="*/ 51 h 54"/>
                <a:gd name="T8" fmla="*/ 40 w 41"/>
                <a:gd name="T9" fmla="*/ 12 h 54"/>
                <a:gd name="T10" fmla="*/ 18 w 41"/>
                <a:gd name="T11" fmla="*/ 1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54">
                  <a:moveTo>
                    <a:pt x="18" y="1"/>
                  </a:moveTo>
                  <a:cubicBezTo>
                    <a:pt x="7" y="2"/>
                    <a:pt x="0" y="11"/>
                    <a:pt x="1" y="22"/>
                  </a:cubicBezTo>
                  <a:cubicBezTo>
                    <a:pt x="2" y="33"/>
                    <a:pt x="2" y="33"/>
                    <a:pt x="2" y="33"/>
                  </a:cubicBezTo>
                  <a:cubicBezTo>
                    <a:pt x="2" y="41"/>
                    <a:pt x="11" y="54"/>
                    <a:pt x="22" y="51"/>
                  </a:cubicBezTo>
                  <a:cubicBezTo>
                    <a:pt x="39" y="47"/>
                    <a:pt x="41" y="16"/>
                    <a:pt x="40" y="12"/>
                  </a:cubicBezTo>
                  <a:cubicBezTo>
                    <a:pt x="38" y="3"/>
                    <a:pt x="28" y="0"/>
                    <a:pt x="18" y="1"/>
                  </a:cubicBezTo>
                  <a:close/>
                </a:path>
              </a:pathLst>
            </a:custGeom>
            <a:solidFill>
              <a:srgbClr val="FCD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" name="Freeform 228">
              <a:extLst>
                <a:ext uri="{FF2B5EF4-FFF2-40B4-BE49-F238E27FC236}">
                  <a16:creationId xmlns:a16="http://schemas.microsoft.com/office/drawing/2014/main" id="{F49DA6D0-1CEB-4433-B515-BCDAE5F87C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29416" y="4186294"/>
              <a:ext cx="708112" cy="1011589"/>
            </a:xfrm>
            <a:custGeom>
              <a:avLst/>
              <a:gdLst>
                <a:gd name="T0" fmla="*/ 103 w 132"/>
                <a:gd name="T1" fmla="*/ 14 h 189"/>
                <a:gd name="T2" fmla="*/ 84 w 132"/>
                <a:gd name="T3" fmla="*/ 5 h 189"/>
                <a:gd name="T4" fmla="*/ 70 w 132"/>
                <a:gd name="T5" fmla="*/ 6 h 189"/>
                <a:gd name="T6" fmla="*/ 59 w 132"/>
                <a:gd name="T7" fmla="*/ 0 h 189"/>
                <a:gd name="T8" fmla="*/ 41 w 132"/>
                <a:gd name="T9" fmla="*/ 5 h 189"/>
                <a:gd name="T10" fmla="*/ 19 w 132"/>
                <a:gd name="T11" fmla="*/ 42 h 189"/>
                <a:gd name="T12" fmla="*/ 0 w 132"/>
                <a:gd name="T13" fmla="*/ 169 h 189"/>
                <a:gd name="T14" fmla="*/ 7 w 132"/>
                <a:gd name="T15" fmla="*/ 170 h 189"/>
                <a:gd name="T16" fmla="*/ 15 w 132"/>
                <a:gd name="T17" fmla="*/ 130 h 189"/>
                <a:gd name="T18" fmla="*/ 17 w 132"/>
                <a:gd name="T19" fmla="*/ 171 h 189"/>
                <a:gd name="T20" fmla="*/ 104 w 132"/>
                <a:gd name="T21" fmla="*/ 181 h 189"/>
                <a:gd name="T22" fmla="*/ 108 w 132"/>
                <a:gd name="T23" fmla="*/ 149 h 189"/>
                <a:gd name="T24" fmla="*/ 111 w 132"/>
                <a:gd name="T25" fmla="*/ 180 h 189"/>
                <a:gd name="T26" fmla="*/ 132 w 132"/>
                <a:gd name="T27" fmla="*/ 160 h 189"/>
                <a:gd name="T28" fmla="*/ 116 w 132"/>
                <a:gd name="T29" fmla="*/ 51 h 189"/>
                <a:gd name="T30" fmla="*/ 103 w 132"/>
                <a:gd name="T31" fmla="*/ 14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2" h="189">
                  <a:moveTo>
                    <a:pt x="103" y="14"/>
                  </a:moveTo>
                  <a:cubicBezTo>
                    <a:pt x="100" y="12"/>
                    <a:pt x="84" y="5"/>
                    <a:pt x="84" y="5"/>
                  </a:cubicBezTo>
                  <a:cubicBezTo>
                    <a:pt x="84" y="5"/>
                    <a:pt x="78" y="8"/>
                    <a:pt x="70" y="6"/>
                  </a:cubicBezTo>
                  <a:cubicBezTo>
                    <a:pt x="62" y="4"/>
                    <a:pt x="59" y="0"/>
                    <a:pt x="59" y="0"/>
                  </a:cubicBezTo>
                  <a:cubicBezTo>
                    <a:pt x="59" y="0"/>
                    <a:pt x="45" y="4"/>
                    <a:pt x="41" y="5"/>
                  </a:cubicBezTo>
                  <a:cubicBezTo>
                    <a:pt x="27" y="9"/>
                    <a:pt x="22" y="30"/>
                    <a:pt x="19" y="42"/>
                  </a:cubicBezTo>
                  <a:cubicBezTo>
                    <a:pt x="18" y="45"/>
                    <a:pt x="0" y="106"/>
                    <a:pt x="0" y="169"/>
                  </a:cubicBezTo>
                  <a:cubicBezTo>
                    <a:pt x="2" y="169"/>
                    <a:pt x="4" y="169"/>
                    <a:pt x="7" y="170"/>
                  </a:cubicBezTo>
                  <a:cubicBezTo>
                    <a:pt x="15" y="130"/>
                    <a:pt x="15" y="130"/>
                    <a:pt x="15" y="130"/>
                  </a:cubicBezTo>
                  <a:cubicBezTo>
                    <a:pt x="17" y="171"/>
                    <a:pt x="17" y="171"/>
                    <a:pt x="17" y="171"/>
                  </a:cubicBezTo>
                  <a:cubicBezTo>
                    <a:pt x="45" y="175"/>
                    <a:pt x="70" y="189"/>
                    <a:pt x="104" y="181"/>
                  </a:cubicBezTo>
                  <a:cubicBezTo>
                    <a:pt x="108" y="149"/>
                    <a:pt x="108" y="149"/>
                    <a:pt x="108" y="149"/>
                  </a:cubicBezTo>
                  <a:cubicBezTo>
                    <a:pt x="111" y="180"/>
                    <a:pt x="111" y="180"/>
                    <a:pt x="111" y="180"/>
                  </a:cubicBezTo>
                  <a:cubicBezTo>
                    <a:pt x="126" y="176"/>
                    <a:pt x="132" y="161"/>
                    <a:pt x="132" y="160"/>
                  </a:cubicBezTo>
                  <a:cubicBezTo>
                    <a:pt x="115" y="134"/>
                    <a:pt x="117" y="58"/>
                    <a:pt x="116" y="51"/>
                  </a:cubicBezTo>
                  <a:cubicBezTo>
                    <a:pt x="116" y="35"/>
                    <a:pt x="120" y="24"/>
                    <a:pt x="103" y="14"/>
                  </a:cubicBezTo>
                  <a:close/>
                </a:path>
              </a:pathLst>
            </a:custGeom>
            <a:solidFill>
              <a:srgbClr val="FFC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" name="Freeform 229">
              <a:extLst>
                <a:ext uri="{FF2B5EF4-FFF2-40B4-BE49-F238E27FC236}">
                  <a16:creationId xmlns:a16="http://schemas.microsoft.com/office/drawing/2014/main" id="{FE6DB139-4231-402D-8997-3E3ABD724A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60395" y="3746252"/>
              <a:ext cx="401264" cy="433298"/>
            </a:xfrm>
            <a:custGeom>
              <a:avLst/>
              <a:gdLst>
                <a:gd name="T0" fmla="*/ 61 w 75"/>
                <a:gd name="T1" fmla="*/ 25 h 81"/>
                <a:gd name="T2" fmla="*/ 14 w 75"/>
                <a:gd name="T3" fmla="*/ 13 h 81"/>
                <a:gd name="T4" fmla="*/ 10 w 75"/>
                <a:gd name="T5" fmla="*/ 57 h 81"/>
                <a:gd name="T6" fmla="*/ 6 w 75"/>
                <a:gd name="T7" fmla="*/ 62 h 81"/>
                <a:gd name="T8" fmla="*/ 20 w 75"/>
                <a:gd name="T9" fmla="*/ 72 h 81"/>
                <a:gd name="T10" fmla="*/ 63 w 75"/>
                <a:gd name="T11" fmla="*/ 46 h 81"/>
                <a:gd name="T12" fmla="*/ 56 w 75"/>
                <a:gd name="T13" fmla="*/ 43 h 81"/>
                <a:gd name="T14" fmla="*/ 73 w 75"/>
                <a:gd name="T15" fmla="*/ 29 h 81"/>
                <a:gd name="T16" fmla="*/ 61 w 75"/>
                <a:gd name="T17" fmla="*/ 2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81">
                  <a:moveTo>
                    <a:pt x="61" y="25"/>
                  </a:moveTo>
                  <a:cubicBezTo>
                    <a:pt x="54" y="9"/>
                    <a:pt x="30" y="0"/>
                    <a:pt x="14" y="13"/>
                  </a:cubicBezTo>
                  <a:cubicBezTo>
                    <a:pt x="0" y="24"/>
                    <a:pt x="2" y="44"/>
                    <a:pt x="10" y="57"/>
                  </a:cubicBezTo>
                  <a:cubicBezTo>
                    <a:pt x="14" y="64"/>
                    <a:pt x="6" y="62"/>
                    <a:pt x="6" y="62"/>
                  </a:cubicBezTo>
                  <a:cubicBezTo>
                    <a:pt x="6" y="62"/>
                    <a:pt x="13" y="70"/>
                    <a:pt x="20" y="72"/>
                  </a:cubicBezTo>
                  <a:cubicBezTo>
                    <a:pt x="46" y="81"/>
                    <a:pt x="63" y="46"/>
                    <a:pt x="63" y="46"/>
                  </a:cubicBezTo>
                  <a:cubicBezTo>
                    <a:pt x="63" y="46"/>
                    <a:pt x="52" y="43"/>
                    <a:pt x="56" y="43"/>
                  </a:cubicBezTo>
                  <a:cubicBezTo>
                    <a:pt x="71" y="44"/>
                    <a:pt x="75" y="37"/>
                    <a:pt x="73" y="29"/>
                  </a:cubicBezTo>
                  <a:cubicBezTo>
                    <a:pt x="74" y="32"/>
                    <a:pt x="67" y="37"/>
                    <a:pt x="61" y="25"/>
                  </a:cubicBezTo>
                  <a:close/>
                </a:path>
              </a:pathLst>
            </a:custGeom>
            <a:solidFill>
              <a:srgbClr val="194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" name="Freeform 230">
              <a:extLst>
                <a:ext uri="{FF2B5EF4-FFF2-40B4-BE49-F238E27FC236}">
                  <a16:creationId xmlns:a16="http://schemas.microsoft.com/office/drawing/2014/main" id="{61C5588B-4AE4-48BD-998A-A45A5C4763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08444" y="4941614"/>
              <a:ext cx="64067" cy="37092"/>
            </a:xfrm>
            <a:custGeom>
              <a:avLst/>
              <a:gdLst>
                <a:gd name="T0" fmla="*/ 9 w 12"/>
                <a:gd name="T1" fmla="*/ 1 h 7"/>
                <a:gd name="T2" fmla="*/ 1 w 12"/>
                <a:gd name="T3" fmla="*/ 4 h 7"/>
                <a:gd name="T4" fmla="*/ 5 w 12"/>
                <a:gd name="T5" fmla="*/ 7 h 7"/>
                <a:gd name="T6" fmla="*/ 12 w 12"/>
                <a:gd name="T7" fmla="*/ 1 h 7"/>
                <a:gd name="T8" fmla="*/ 9 w 12"/>
                <a:gd name="T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7">
                  <a:moveTo>
                    <a:pt x="9" y="1"/>
                  </a:moveTo>
                  <a:cubicBezTo>
                    <a:pt x="7" y="2"/>
                    <a:pt x="3" y="4"/>
                    <a:pt x="1" y="4"/>
                  </a:cubicBezTo>
                  <a:cubicBezTo>
                    <a:pt x="0" y="6"/>
                    <a:pt x="2" y="7"/>
                    <a:pt x="5" y="7"/>
                  </a:cubicBezTo>
                  <a:cubicBezTo>
                    <a:pt x="6" y="7"/>
                    <a:pt x="12" y="2"/>
                    <a:pt x="12" y="1"/>
                  </a:cubicBezTo>
                  <a:cubicBezTo>
                    <a:pt x="11" y="0"/>
                    <a:pt x="10" y="1"/>
                    <a:pt x="9" y="1"/>
                  </a:cubicBezTo>
                  <a:close/>
                </a:path>
              </a:pathLst>
            </a:custGeom>
            <a:solidFill>
              <a:srgbClr val="FCD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" name="Freeform 231">
              <a:extLst>
                <a:ext uri="{FF2B5EF4-FFF2-40B4-BE49-F238E27FC236}">
                  <a16:creationId xmlns:a16="http://schemas.microsoft.com/office/drawing/2014/main" id="{56347698-7524-49A4-BFB5-7C82C7A3D3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74725" y="4961845"/>
              <a:ext cx="166913" cy="80927"/>
            </a:xfrm>
            <a:custGeom>
              <a:avLst/>
              <a:gdLst>
                <a:gd name="T0" fmla="*/ 28 w 31"/>
                <a:gd name="T1" fmla="*/ 5 h 15"/>
                <a:gd name="T2" fmla="*/ 11 w 31"/>
                <a:gd name="T3" fmla="*/ 1 h 15"/>
                <a:gd name="T4" fmla="*/ 3 w 31"/>
                <a:gd name="T5" fmla="*/ 0 h 15"/>
                <a:gd name="T6" fmla="*/ 0 w 31"/>
                <a:gd name="T7" fmla="*/ 11 h 15"/>
                <a:gd name="T8" fmla="*/ 19 w 31"/>
                <a:gd name="T9" fmla="*/ 14 h 15"/>
                <a:gd name="T10" fmla="*/ 26 w 31"/>
                <a:gd name="T11" fmla="*/ 13 h 15"/>
                <a:gd name="T12" fmla="*/ 29 w 31"/>
                <a:gd name="T13" fmla="*/ 10 h 15"/>
                <a:gd name="T14" fmla="*/ 31 w 31"/>
                <a:gd name="T15" fmla="*/ 8 h 15"/>
                <a:gd name="T16" fmla="*/ 28 w 31"/>
                <a:gd name="T17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15">
                  <a:moveTo>
                    <a:pt x="28" y="5"/>
                  </a:moveTo>
                  <a:cubicBezTo>
                    <a:pt x="27" y="4"/>
                    <a:pt x="15" y="1"/>
                    <a:pt x="11" y="1"/>
                  </a:cubicBezTo>
                  <a:cubicBezTo>
                    <a:pt x="9" y="0"/>
                    <a:pt x="6" y="0"/>
                    <a:pt x="3" y="0"/>
                  </a:cubicBezTo>
                  <a:cubicBezTo>
                    <a:pt x="3" y="0"/>
                    <a:pt x="0" y="9"/>
                    <a:pt x="0" y="11"/>
                  </a:cubicBezTo>
                  <a:cubicBezTo>
                    <a:pt x="7" y="13"/>
                    <a:pt x="14" y="13"/>
                    <a:pt x="19" y="14"/>
                  </a:cubicBezTo>
                  <a:cubicBezTo>
                    <a:pt x="24" y="15"/>
                    <a:pt x="27" y="14"/>
                    <a:pt x="26" y="13"/>
                  </a:cubicBezTo>
                  <a:cubicBezTo>
                    <a:pt x="25" y="12"/>
                    <a:pt x="30" y="13"/>
                    <a:pt x="29" y="10"/>
                  </a:cubicBezTo>
                  <a:cubicBezTo>
                    <a:pt x="29" y="10"/>
                    <a:pt x="31" y="9"/>
                    <a:pt x="31" y="8"/>
                  </a:cubicBezTo>
                  <a:cubicBezTo>
                    <a:pt x="31" y="6"/>
                    <a:pt x="29" y="5"/>
                    <a:pt x="28" y="5"/>
                  </a:cubicBezTo>
                  <a:close/>
                </a:path>
              </a:pathLst>
            </a:custGeom>
            <a:solidFill>
              <a:srgbClr val="FCD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" name="Freeform 232">
              <a:extLst>
                <a:ext uri="{FF2B5EF4-FFF2-40B4-BE49-F238E27FC236}">
                  <a16:creationId xmlns:a16="http://schemas.microsoft.com/office/drawing/2014/main" id="{8557D44E-520F-46A1-A9EB-583D1BE563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46485" y="4796619"/>
              <a:ext cx="461959" cy="224236"/>
            </a:xfrm>
            <a:custGeom>
              <a:avLst/>
              <a:gdLst>
                <a:gd name="T0" fmla="*/ 14 w 86"/>
                <a:gd name="T1" fmla="*/ 1 h 42"/>
                <a:gd name="T2" fmla="*/ 1 w 86"/>
                <a:gd name="T3" fmla="*/ 12 h 42"/>
                <a:gd name="T4" fmla="*/ 80 w 86"/>
                <a:gd name="T5" fmla="*/ 42 h 42"/>
                <a:gd name="T6" fmla="*/ 86 w 86"/>
                <a:gd name="T7" fmla="*/ 32 h 42"/>
                <a:gd name="T8" fmla="*/ 16 w 86"/>
                <a:gd name="T9" fmla="*/ 2 h 42"/>
                <a:gd name="T10" fmla="*/ 14 w 86"/>
                <a:gd name="T11" fmla="*/ 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42">
                  <a:moveTo>
                    <a:pt x="14" y="1"/>
                  </a:moveTo>
                  <a:cubicBezTo>
                    <a:pt x="9" y="0"/>
                    <a:pt x="2" y="4"/>
                    <a:pt x="1" y="12"/>
                  </a:cubicBezTo>
                  <a:cubicBezTo>
                    <a:pt x="0" y="22"/>
                    <a:pt x="60" y="38"/>
                    <a:pt x="80" y="42"/>
                  </a:cubicBezTo>
                  <a:cubicBezTo>
                    <a:pt x="81" y="39"/>
                    <a:pt x="83" y="36"/>
                    <a:pt x="86" y="32"/>
                  </a:cubicBezTo>
                  <a:cubicBezTo>
                    <a:pt x="72" y="27"/>
                    <a:pt x="28" y="9"/>
                    <a:pt x="16" y="2"/>
                  </a:cubicBezTo>
                  <a:cubicBezTo>
                    <a:pt x="15" y="1"/>
                    <a:pt x="14" y="1"/>
                    <a:pt x="14" y="1"/>
                  </a:cubicBezTo>
                  <a:close/>
                </a:path>
              </a:pathLst>
            </a:custGeom>
            <a:solidFill>
              <a:srgbClr val="FCD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64" name="Freeform 233">
              <a:extLst>
                <a:ext uri="{FF2B5EF4-FFF2-40B4-BE49-F238E27FC236}">
                  <a16:creationId xmlns:a16="http://schemas.microsoft.com/office/drawing/2014/main" id="{0556E5A3-835B-4DF2-8746-B878FE8AE5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32365" y="4378496"/>
              <a:ext cx="327080" cy="519282"/>
            </a:xfrm>
            <a:custGeom>
              <a:avLst/>
              <a:gdLst>
                <a:gd name="T0" fmla="*/ 37 w 61"/>
                <a:gd name="T1" fmla="*/ 2 h 97"/>
                <a:gd name="T2" fmla="*/ 8 w 61"/>
                <a:gd name="T3" fmla="*/ 12 h 97"/>
                <a:gd name="T4" fmla="*/ 37 w 61"/>
                <a:gd name="T5" fmla="*/ 88 h 97"/>
                <a:gd name="T6" fmla="*/ 53 w 61"/>
                <a:gd name="T7" fmla="*/ 74 h 97"/>
                <a:gd name="T8" fmla="*/ 37 w 61"/>
                <a:gd name="T9" fmla="*/ 2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97">
                  <a:moveTo>
                    <a:pt x="37" y="2"/>
                  </a:moveTo>
                  <a:cubicBezTo>
                    <a:pt x="36" y="0"/>
                    <a:pt x="11" y="9"/>
                    <a:pt x="8" y="12"/>
                  </a:cubicBezTo>
                  <a:cubicBezTo>
                    <a:pt x="0" y="19"/>
                    <a:pt x="25" y="71"/>
                    <a:pt x="37" y="88"/>
                  </a:cubicBezTo>
                  <a:cubicBezTo>
                    <a:pt x="42" y="94"/>
                    <a:pt x="61" y="97"/>
                    <a:pt x="53" y="74"/>
                  </a:cubicBezTo>
                  <a:cubicBezTo>
                    <a:pt x="47" y="55"/>
                    <a:pt x="42" y="14"/>
                    <a:pt x="37" y="2"/>
                  </a:cubicBezTo>
                  <a:close/>
                </a:path>
              </a:pathLst>
            </a:custGeom>
            <a:solidFill>
              <a:srgbClr val="FCD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65" name="Freeform 234">
              <a:extLst>
                <a:ext uri="{FF2B5EF4-FFF2-40B4-BE49-F238E27FC236}">
                  <a16:creationId xmlns:a16="http://schemas.microsoft.com/office/drawing/2014/main" id="{AACEED40-251E-4648-884C-811280876B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05389" y="4346461"/>
              <a:ext cx="659219" cy="681137"/>
            </a:xfrm>
            <a:custGeom>
              <a:avLst/>
              <a:gdLst>
                <a:gd name="T0" fmla="*/ 52 w 123"/>
                <a:gd name="T1" fmla="*/ 40 h 127"/>
                <a:gd name="T2" fmla="*/ 46 w 123"/>
                <a:gd name="T3" fmla="*/ 1 h 127"/>
                <a:gd name="T4" fmla="*/ 8 w 123"/>
                <a:gd name="T5" fmla="*/ 16 h 127"/>
                <a:gd name="T6" fmla="*/ 40 w 123"/>
                <a:gd name="T7" fmla="*/ 95 h 127"/>
                <a:gd name="T8" fmla="*/ 117 w 123"/>
                <a:gd name="T9" fmla="*/ 127 h 127"/>
                <a:gd name="T10" fmla="*/ 123 w 123"/>
                <a:gd name="T11" fmla="*/ 110 h 127"/>
                <a:gd name="T12" fmla="*/ 63 w 123"/>
                <a:gd name="T13" fmla="*/ 83 h 127"/>
                <a:gd name="T14" fmla="*/ 52 w 123"/>
                <a:gd name="T15" fmla="*/ 4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3" h="127">
                  <a:moveTo>
                    <a:pt x="52" y="40"/>
                  </a:moveTo>
                  <a:cubicBezTo>
                    <a:pt x="50" y="26"/>
                    <a:pt x="48" y="14"/>
                    <a:pt x="46" y="1"/>
                  </a:cubicBezTo>
                  <a:cubicBezTo>
                    <a:pt x="46" y="0"/>
                    <a:pt x="16" y="4"/>
                    <a:pt x="8" y="16"/>
                  </a:cubicBezTo>
                  <a:cubicBezTo>
                    <a:pt x="0" y="29"/>
                    <a:pt x="30" y="82"/>
                    <a:pt x="40" y="95"/>
                  </a:cubicBezTo>
                  <a:cubicBezTo>
                    <a:pt x="49" y="109"/>
                    <a:pt x="97" y="120"/>
                    <a:pt x="117" y="127"/>
                  </a:cubicBezTo>
                  <a:cubicBezTo>
                    <a:pt x="123" y="110"/>
                    <a:pt x="123" y="110"/>
                    <a:pt x="123" y="110"/>
                  </a:cubicBezTo>
                  <a:cubicBezTo>
                    <a:pt x="115" y="107"/>
                    <a:pt x="67" y="87"/>
                    <a:pt x="63" y="83"/>
                  </a:cubicBezTo>
                  <a:cubicBezTo>
                    <a:pt x="62" y="82"/>
                    <a:pt x="55" y="55"/>
                    <a:pt x="52" y="40"/>
                  </a:cubicBezTo>
                  <a:close/>
                </a:path>
              </a:pathLst>
            </a:custGeom>
            <a:solidFill>
              <a:srgbClr val="FFC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66" name="Freeform 235">
              <a:extLst>
                <a:ext uri="{FF2B5EF4-FFF2-40B4-BE49-F238E27FC236}">
                  <a16:creationId xmlns:a16="http://schemas.microsoft.com/office/drawing/2014/main" id="{3DCBBDF0-DAD1-490A-A40A-EA4E52A051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17509" y="5471012"/>
              <a:ext cx="252897" cy="659219"/>
            </a:xfrm>
            <a:custGeom>
              <a:avLst/>
              <a:gdLst>
                <a:gd name="T0" fmla="*/ 0 w 150"/>
                <a:gd name="T1" fmla="*/ 391 h 391"/>
                <a:gd name="T2" fmla="*/ 16 w 150"/>
                <a:gd name="T3" fmla="*/ 391 h 391"/>
                <a:gd name="T4" fmla="*/ 150 w 150"/>
                <a:gd name="T5" fmla="*/ 0 h 391"/>
                <a:gd name="T6" fmla="*/ 137 w 150"/>
                <a:gd name="T7" fmla="*/ 0 h 391"/>
                <a:gd name="T8" fmla="*/ 0 w 150"/>
                <a:gd name="T9" fmla="*/ 391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0" h="391">
                  <a:moveTo>
                    <a:pt x="0" y="391"/>
                  </a:moveTo>
                  <a:lnTo>
                    <a:pt x="16" y="391"/>
                  </a:lnTo>
                  <a:lnTo>
                    <a:pt x="150" y="0"/>
                  </a:lnTo>
                  <a:lnTo>
                    <a:pt x="137" y="0"/>
                  </a:lnTo>
                  <a:lnTo>
                    <a:pt x="0" y="391"/>
                  </a:lnTo>
                  <a:close/>
                </a:path>
              </a:pathLst>
            </a:custGeom>
            <a:solidFill>
              <a:srgbClr val="194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67" name="Freeform 236">
              <a:extLst>
                <a:ext uri="{FF2B5EF4-FFF2-40B4-BE49-F238E27FC236}">
                  <a16:creationId xmlns:a16="http://schemas.microsoft.com/office/drawing/2014/main" id="{7281D58A-735B-44BC-AB28-0600B843DA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03599" y="5471012"/>
              <a:ext cx="252897" cy="659219"/>
            </a:xfrm>
            <a:custGeom>
              <a:avLst/>
              <a:gdLst>
                <a:gd name="T0" fmla="*/ 0 w 150"/>
                <a:gd name="T1" fmla="*/ 391 h 391"/>
                <a:gd name="T2" fmla="*/ 16 w 150"/>
                <a:gd name="T3" fmla="*/ 391 h 391"/>
                <a:gd name="T4" fmla="*/ 150 w 150"/>
                <a:gd name="T5" fmla="*/ 0 h 391"/>
                <a:gd name="T6" fmla="*/ 137 w 150"/>
                <a:gd name="T7" fmla="*/ 0 h 391"/>
                <a:gd name="T8" fmla="*/ 0 w 150"/>
                <a:gd name="T9" fmla="*/ 391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0" h="391">
                  <a:moveTo>
                    <a:pt x="0" y="391"/>
                  </a:moveTo>
                  <a:lnTo>
                    <a:pt x="16" y="391"/>
                  </a:lnTo>
                  <a:lnTo>
                    <a:pt x="150" y="0"/>
                  </a:lnTo>
                  <a:lnTo>
                    <a:pt x="137" y="0"/>
                  </a:lnTo>
                  <a:lnTo>
                    <a:pt x="0" y="391"/>
                  </a:lnTo>
                  <a:close/>
                </a:path>
              </a:pathLst>
            </a:custGeom>
            <a:solidFill>
              <a:srgbClr val="194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68" name="Freeform 237">
              <a:extLst>
                <a:ext uri="{FF2B5EF4-FFF2-40B4-BE49-F238E27FC236}">
                  <a16:creationId xmlns:a16="http://schemas.microsoft.com/office/drawing/2014/main" id="{ACAEAC64-85A9-417D-B2C3-DFDCA6E185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58500" y="4491456"/>
              <a:ext cx="1186931" cy="979556"/>
            </a:xfrm>
            <a:custGeom>
              <a:avLst/>
              <a:gdLst>
                <a:gd name="T0" fmla="*/ 211 w 221"/>
                <a:gd name="T1" fmla="*/ 161 h 183"/>
                <a:gd name="T2" fmla="*/ 172 w 221"/>
                <a:gd name="T3" fmla="*/ 161 h 183"/>
                <a:gd name="T4" fmla="*/ 132 w 221"/>
                <a:gd name="T5" fmla="*/ 131 h 183"/>
                <a:gd name="T6" fmla="*/ 113 w 221"/>
                <a:gd name="T7" fmla="*/ 54 h 183"/>
                <a:gd name="T8" fmla="*/ 49 w 221"/>
                <a:gd name="T9" fmla="*/ 0 h 183"/>
                <a:gd name="T10" fmla="*/ 5 w 221"/>
                <a:gd name="T11" fmla="*/ 54 h 183"/>
                <a:gd name="T12" fmla="*/ 36 w 221"/>
                <a:gd name="T13" fmla="*/ 170 h 183"/>
                <a:gd name="T14" fmla="*/ 51 w 221"/>
                <a:gd name="T15" fmla="*/ 183 h 183"/>
                <a:gd name="T16" fmla="*/ 211 w 221"/>
                <a:gd name="T17" fmla="*/ 183 h 183"/>
                <a:gd name="T18" fmla="*/ 221 w 221"/>
                <a:gd name="T19" fmla="*/ 172 h 183"/>
                <a:gd name="T20" fmla="*/ 211 w 221"/>
                <a:gd name="T21" fmla="*/ 161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1" h="183">
                  <a:moveTo>
                    <a:pt x="211" y="161"/>
                  </a:moveTo>
                  <a:cubicBezTo>
                    <a:pt x="172" y="161"/>
                    <a:pt x="172" y="161"/>
                    <a:pt x="172" y="161"/>
                  </a:cubicBezTo>
                  <a:cubicBezTo>
                    <a:pt x="154" y="161"/>
                    <a:pt x="135" y="149"/>
                    <a:pt x="132" y="131"/>
                  </a:cubicBezTo>
                  <a:cubicBezTo>
                    <a:pt x="113" y="54"/>
                    <a:pt x="113" y="54"/>
                    <a:pt x="113" y="54"/>
                  </a:cubicBezTo>
                  <a:cubicBezTo>
                    <a:pt x="108" y="24"/>
                    <a:pt x="79" y="0"/>
                    <a:pt x="49" y="0"/>
                  </a:cubicBezTo>
                  <a:cubicBezTo>
                    <a:pt x="19" y="0"/>
                    <a:pt x="0" y="24"/>
                    <a:pt x="5" y="54"/>
                  </a:cubicBezTo>
                  <a:cubicBezTo>
                    <a:pt x="36" y="170"/>
                    <a:pt x="36" y="170"/>
                    <a:pt x="36" y="170"/>
                  </a:cubicBezTo>
                  <a:cubicBezTo>
                    <a:pt x="37" y="177"/>
                    <a:pt x="43" y="183"/>
                    <a:pt x="51" y="183"/>
                  </a:cubicBezTo>
                  <a:cubicBezTo>
                    <a:pt x="211" y="183"/>
                    <a:pt x="211" y="183"/>
                    <a:pt x="211" y="183"/>
                  </a:cubicBezTo>
                  <a:cubicBezTo>
                    <a:pt x="217" y="183"/>
                    <a:pt x="221" y="178"/>
                    <a:pt x="221" y="172"/>
                  </a:cubicBezTo>
                  <a:cubicBezTo>
                    <a:pt x="221" y="166"/>
                    <a:pt x="217" y="161"/>
                    <a:pt x="211" y="161"/>
                  </a:cubicBezTo>
                  <a:close/>
                </a:path>
              </a:pathLst>
            </a:custGeom>
            <a:solidFill>
              <a:srgbClr val="194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69" name="Freeform 238">
              <a:extLst>
                <a:ext uri="{FF2B5EF4-FFF2-40B4-BE49-F238E27FC236}">
                  <a16:creationId xmlns:a16="http://schemas.microsoft.com/office/drawing/2014/main" id="{528629E2-D4CA-4B6D-A07B-8E36DFA76E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12451" y="4491456"/>
              <a:ext cx="1132980" cy="979556"/>
            </a:xfrm>
            <a:custGeom>
              <a:avLst/>
              <a:gdLst>
                <a:gd name="T0" fmla="*/ 201 w 211"/>
                <a:gd name="T1" fmla="*/ 162 h 183"/>
                <a:gd name="T2" fmla="*/ 162 w 211"/>
                <a:gd name="T3" fmla="*/ 162 h 183"/>
                <a:gd name="T4" fmla="*/ 122 w 211"/>
                <a:gd name="T5" fmla="*/ 131 h 183"/>
                <a:gd name="T6" fmla="*/ 103 w 211"/>
                <a:gd name="T7" fmla="*/ 54 h 183"/>
                <a:gd name="T8" fmla="*/ 39 w 211"/>
                <a:gd name="T9" fmla="*/ 0 h 183"/>
                <a:gd name="T10" fmla="*/ 0 w 211"/>
                <a:gd name="T11" fmla="*/ 21 h 183"/>
                <a:gd name="T12" fmla="*/ 24 w 211"/>
                <a:gd name="T13" fmla="*/ 15 h 183"/>
                <a:gd name="T14" fmla="*/ 88 w 211"/>
                <a:gd name="T15" fmla="*/ 68 h 183"/>
                <a:gd name="T16" fmla="*/ 107 w 211"/>
                <a:gd name="T17" fmla="*/ 146 h 183"/>
                <a:gd name="T18" fmla="*/ 147 w 211"/>
                <a:gd name="T19" fmla="*/ 176 h 183"/>
                <a:gd name="T20" fmla="*/ 186 w 211"/>
                <a:gd name="T21" fmla="*/ 176 h 183"/>
                <a:gd name="T22" fmla="*/ 196 w 211"/>
                <a:gd name="T23" fmla="*/ 183 h 183"/>
                <a:gd name="T24" fmla="*/ 201 w 211"/>
                <a:gd name="T25" fmla="*/ 183 h 183"/>
                <a:gd name="T26" fmla="*/ 211 w 211"/>
                <a:gd name="T27" fmla="*/ 172 h 183"/>
                <a:gd name="T28" fmla="*/ 201 w 211"/>
                <a:gd name="T29" fmla="*/ 162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1" h="183">
                  <a:moveTo>
                    <a:pt x="201" y="162"/>
                  </a:moveTo>
                  <a:cubicBezTo>
                    <a:pt x="162" y="162"/>
                    <a:pt x="162" y="162"/>
                    <a:pt x="162" y="162"/>
                  </a:cubicBezTo>
                  <a:cubicBezTo>
                    <a:pt x="144" y="162"/>
                    <a:pt x="125" y="149"/>
                    <a:pt x="122" y="131"/>
                  </a:cubicBezTo>
                  <a:cubicBezTo>
                    <a:pt x="103" y="54"/>
                    <a:pt x="103" y="54"/>
                    <a:pt x="103" y="54"/>
                  </a:cubicBezTo>
                  <a:cubicBezTo>
                    <a:pt x="98" y="24"/>
                    <a:pt x="69" y="0"/>
                    <a:pt x="39" y="0"/>
                  </a:cubicBezTo>
                  <a:cubicBezTo>
                    <a:pt x="22" y="0"/>
                    <a:pt x="8" y="8"/>
                    <a:pt x="0" y="21"/>
                  </a:cubicBezTo>
                  <a:cubicBezTo>
                    <a:pt x="7" y="17"/>
                    <a:pt x="15" y="15"/>
                    <a:pt x="24" y="15"/>
                  </a:cubicBezTo>
                  <a:cubicBezTo>
                    <a:pt x="54" y="15"/>
                    <a:pt x="83" y="39"/>
                    <a:pt x="88" y="68"/>
                  </a:cubicBezTo>
                  <a:cubicBezTo>
                    <a:pt x="107" y="146"/>
                    <a:pt x="107" y="146"/>
                    <a:pt x="107" y="146"/>
                  </a:cubicBezTo>
                  <a:cubicBezTo>
                    <a:pt x="110" y="163"/>
                    <a:pt x="129" y="176"/>
                    <a:pt x="147" y="176"/>
                  </a:cubicBezTo>
                  <a:cubicBezTo>
                    <a:pt x="186" y="176"/>
                    <a:pt x="186" y="176"/>
                    <a:pt x="186" y="176"/>
                  </a:cubicBezTo>
                  <a:cubicBezTo>
                    <a:pt x="190" y="176"/>
                    <a:pt x="194" y="179"/>
                    <a:pt x="196" y="183"/>
                  </a:cubicBezTo>
                  <a:cubicBezTo>
                    <a:pt x="201" y="183"/>
                    <a:pt x="201" y="183"/>
                    <a:pt x="201" y="183"/>
                  </a:cubicBezTo>
                  <a:cubicBezTo>
                    <a:pt x="207" y="183"/>
                    <a:pt x="211" y="178"/>
                    <a:pt x="211" y="172"/>
                  </a:cubicBezTo>
                  <a:cubicBezTo>
                    <a:pt x="211" y="166"/>
                    <a:pt x="207" y="162"/>
                    <a:pt x="201" y="162"/>
                  </a:cubicBezTo>
                  <a:close/>
                </a:path>
              </a:pathLst>
            </a:custGeom>
            <a:solidFill>
              <a:srgbClr val="1231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70" name="Freeform 239">
              <a:extLst>
                <a:ext uri="{FF2B5EF4-FFF2-40B4-BE49-F238E27FC236}">
                  <a16:creationId xmlns:a16="http://schemas.microsoft.com/office/drawing/2014/main" id="{C359A26D-FF12-4835-A623-D7FB46BD33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02650" y="5471012"/>
              <a:ext cx="257956" cy="659219"/>
            </a:xfrm>
            <a:custGeom>
              <a:avLst/>
              <a:gdLst>
                <a:gd name="T0" fmla="*/ 0 w 153"/>
                <a:gd name="T1" fmla="*/ 0 h 391"/>
                <a:gd name="T2" fmla="*/ 137 w 153"/>
                <a:gd name="T3" fmla="*/ 391 h 391"/>
                <a:gd name="T4" fmla="*/ 153 w 153"/>
                <a:gd name="T5" fmla="*/ 391 h 391"/>
                <a:gd name="T6" fmla="*/ 16 w 153"/>
                <a:gd name="T7" fmla="*/ 0 h 391"/>
                <a:gd name="T8" fmla="*/ 0 w 153"/>
                <a:gd name="T9" fmla="*/ 0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391">
                  <a:moveTo>
                    <a:pt x="0" y="0"/>
                  </a:moveTo>
                  <a:lnTo>
                    <a:pt x="137" y="391"/>
                  </a:lnTo>
                  <a:lnTo>
                    <a:pt x="153" y="391"/>
                  </a:lnTo>
                  <a:lnTo>
                    <a:pt x="1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31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71" name="Freeform 240">
              <a:extLst>
                <a:ext uri="{FF2B5EF4-FFF2-40B4-BE49-F238E27FC236}">
                  <a16:creationId xmlns:a16="http://schemas.microsoft.com/office/drawing/2014/main" id="{E3635762-45DF-42CD-AB28-68E6B52F98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21618" y="5471012"/>
              <a:ext cx="252897" cy="659219"/>
            </a:xfrm>
            <a:custGeom>
              <a:avLst/>
              <a:gdLst>
                <a:gd name="T0" fmla="*/ 0 w 150"/>
                <a:gd name="T1" fmla="*/ 0 h 391"/>
                <a:gd name="T2" fmla="*/ 134 w 150"/>
                <a:gd name="T3" fmla="*/ 391 h 391"/>
                <a:gd name="T4" fmla="*/ 150 w 150"/>
                <a:gd name="T5" fmla="*/ 391 h 391"/>
                <a:gd name="T6" fmla="*/ 13 w 150"/>
                <a:gd name="T7" fmla="*/ 0 h 391"/>
                <a:gd name="T8" fmla="*/ 0 w 150"/>
                <a:gd name="T9" fmla="*/ 0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0" h="391">
                  <a:moveTo>
                    <a:pt x="0" y="0"/>
                  </a:moveTo>
                  <a:lnTo>
                    <a:pt x="134" y="391"/>
                  </a:lnTo>
                  <a:lnTo>
                    <a:pt x="150" y="391"/>
                  </a:lnTo>
                  <a:lnTo>
                    <a:pt x="1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31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72" name="Freeform 241">
              <a:extLst>
                <a:ext uri="{FF2B5EF4-FFF2-40B4-BE49-F238E27FC236}">
                  <a16:creationId xmlns:a16="http://schemas.microsoft.com/office/drawing/2014/main" id="{70F41C06-F0E0-42F2-9AE3-D5C6C61225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96432" y="3896305"/>
              <a:ext cx="133193" cy="155110"/>
            </a:xfrm>
            <a:custGeom>
              <a:avLst/>
              <a:gdLst>
                <a:gd name="T0" fmla="*/ 17 w 25"/>
                <a:gd name="T1" fmla="*/ 2 h 29"/>
                <a:gd name="T2" fmla="*/ 2 w 25"/>
                <a:gd name="T3" fmla="*/ 11 h 29"/>
                <a:gd name="T4" fmla="*/ 8 w 25"/>
                <a:gd name="T5" fmla="*/ 27 h 29"/>
                <a:gd name="T6" fmla="*/ 23 w 25"/>
                <a:gd name="T7" fmla="*/ 18 h 29"/>
                <a:gd name="T8" fmla="*/ 17 w 25"/>
                <a:gd name="T9" fmla="*/ 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29">
                  <a:moveTo>
                    <a:pt x="17" y="2"/>
                  </a:moveTo>
                  <a:cubicBezTo>
                    <a:pt x="11" y="0"/>
                    <a:pt x="5" y="4"/>
                    <a:pt x="2" y="11"/>
                  </a:cubicBezTo>
                  <a:cubicBezTo>
                    <a:pt x="0" y="18"/>
                    <a:pt x="3" y="25"/>
                    <a:pt x="8" y="27"/>
                  </a:cubicBezTo>
                  <a:cubicBezTo>
                    <a:pt x="14" y="29"/>
                    <a:pt x="21" y="25"/>
                    <a:pt x="23" y="18"/>
                  </a:cubicBezTo>
                  <a:cubicBezTo>
                    <a:pt x="25" y="11"/>
                    <a:pt x="23" y="3"/>
                    <a:pt x="17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73" name="Freeform 242">
              <a:extLst>
                <a:ext uri="{FF2B5EF4-FFF2-40B4-BE49-F238E27FC236}">
                  <a16:creationId xmlns:a16="http://schemas.microsoft.com/office/drawing/2014/main" id="{617060C2-2054-4DE0-8E3D-B9A29AE0DE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33524" y="3918222"/>
              <a:ext cx="102845" cy="118019"/>
            </a:xfrm>
            <a:custGeom>
              <a:avLst/>
              <a:gdLst>
                <a:gd name="T0" fmla="*/ 13 w 19"/>
                <a:gd name="T1" fmla="*/ 2 h 22"/>
                <a:gd name="T2" fmla="*/ 1 w 19"/>
                <a:gd name="T3" fmla="*/ 9 h 22"/>
                <a:gd name="T4" fmla="*/ 6 w 19"/>
                <a:gd name="T5" fmla="*/ 21 h 22"/>
                <a:gd name="T6" fmla="*/ 17 w 19"/>
                <a:gd name="T7" fmla="*/ 14 h 22"/>
                <a:gd name="T8" fmla="*/ 13 w 19"/>
                <a:gd name="T9" fmla="*/ 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2">
                  <a:moveTo>
                    <a:pt x="13" y="2"/>
                  </a:moveTo>
                  <a:cubicBezTo>
                    <a:pt x="8" y="0"/>
                    <a:pt x="3" y="3"/>
                    <a:pt x="1" y="9"/>
                  </a:cubicBezTo>
                  <a:cubicBezTo>
                    <a:pt x="0" y="14"/>
                    <a:pt x="2" y="19"/>
                    <a:pt x="6" y="21"/>
                  </a:cubicBezTo>
                  <a:cubicBezTo>
                    <a:pt x="10" y="22"/>
                    <a:pt x="15" y="19"/>
                    <a:pt x="17" y="14"/>
                  </a:cubicBezTo>
                  <a:cubicBezTo>
                    <a:pt x="19" y="9"/>
                    <a:pt x="17" y="3"/>
                    <a:pt x="13" y="2"/>
                  </a:cubicBezTo>
                  <a:close/>
                </a:path>
              </a:pathLst>
            </a:custGeom>
            <a:solidFill>
              <a:srgbClr val="FFC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74" name="Freeform 243">
              <a:extLst>
                <a:ext uri="{FF2B5EF4-FFF2-40B4-BE49-F238E27FC236}">
                  <a16:creationId xmlns:a16="http://schemas.microsoft.com/office/drawing/2014/main" id="{86E011BC-A8C0-4C59-9C1E-A2E4740C3E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74515" y="3788402"/>
              <a:ext cx="118019" cy="123077"/>
            </a:xfrm>
            <a:custGeom>
              <a:avLst/>
              <a:gdLst>
                <a:gd name="T0" fmla="*/ 14 w 22"/>
                <a:gd name="T1" fmla="*/ 7 h 23"/>
                <a:gd name="T2" fmla="*/ 8 w 22"/>
                <a:gd name="T3" fmla="*/ 2 h 23"/>
                <a:gd name="T4" fmla="*/ 0 w 22"/>
                <a:gd name="T5" fmla="*/ 0 h 23"/>
                <a:gd name="T6" fmla="*/ 7 w 22"/>
                <a:gd name="T7" fmla="*/ 4 h 23"/>
                <a:gd name="T8" fmla="*/ 11 w 22"/>
                <a:gd name="T9" fmla="*/ 10 h 23"/>
                <a:gd name="T10" fmla="*/ 14 w 22"/>
                <a:gd name="T11" fmla="*/ 16 h 23"/>
                <a:gd name="T12" fmla="*/ 14 w 22"/>
                <a:gd name="T13" fmla="*/ 23 h 23"/>
                <a:gd name="T14" fmla="*/ 22 w 22"/>
                <a:gd name="T15" fmla="*/ 23 h 23"/>
                <a:gd name="T16" fmla="*/ 19 w 22"/>
                <a:gd name="T17" fmla="*/ 14 h 23"/>
                <a:gd name="T18" fmla="*/ 14 w 22"/>
                <a:gd name="T19" fmla="*/ 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23">
                  <a:moveTo>
                    <a:pt x="14" y="7"/>
                  </a:moveTo>
                  <a:cubicBezTo>
                    <a:pt x="12" y="5"/>
                    <a:pt x="10" y="3"/>
                    <a:pt x="8" y="2"/>
                  </a:cubicBezTo>
                  <a:cubicBezTo>
                    <a:pt x="5" y="1"/>
                    <a:pt x="3" y="0"/>
                    <a:pt x="0" y="0"/>
                  </a:cubicBezTo>
                  <a:cubicBezTo>
                    <a:pt x="2" y="1"/>
                    <a:pt x="5" y="2"/>
                    <a:pt x="7" y="4"/>
                  </a:cubicBezTo>
                  <a:cubicBezTo>
                    <a:pt x="9" y="5"/>
                    <a:pt x="10" y="7"/>
                    <a:pt x="11" y="10"/>
                  </a:cubicBezTo>
                  <a:cubicBezTo>
                    <a:pt x="12" y="12"/>
                    <a:pt x="13" y="14"/>
                    <a:pt x="14" y="16"/>
                  </a:cubicBezTo>
                  <a:cubicBezTo>
                    <a:pt x="14" y="18"/>
                    <a:pt x="14" y="21"/>
                    <a:pt x="14" y="23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1" y="19"/>
                    <a:pt x="20" y="17"/>
                    <a:pt x="19" y="14"/>
                  </a:cubicBezTo>
                  <a:cubicBezTo>
                    <a:pt x="18" y="12"/>
                    <a:pt x="16" y="9"/>
                    <a:pt x="14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75" name="Freeform 244">
              <a:extLst>
                <a:ext uri="{FF2B5EF4-FFF2-40B4-BE49-F238E27FC236}">
                  <a16:creationId xmlns:a16="http://schemas.microsoft.com/office/drawing/2014/main" id="{C8FE7362-9182-4639-9AFE-D2EAB86468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08133" y="4206525"/>
              <a:ext cx="895257" cy="622128"/>
            </a:xfrm>
            <a:custGeom>
              <a:avLst/>
              <a:gdLst>
                <a:gd name="T0" fmla="*/ 164 w 167"/>
                <a:gd name="T1" fmla="*/ 0 h 116"/>
                <a:gd name="T2" fmla="*/ 35 w 167"/>
                <a:gd name="T3" fmla="*/ 0 h 116"/>
                <a:gd name="T4" fmla="*/ 32 w 167"/>
                <a:gd name="T5" fmla="*/ 2 h 116"/>
                <a:gd name="T6" fmla="*/ 1 w 167"/>
                <a:gd name="T7" fmla="*/ 113 h 116"/>
                <a:gd name="T8" fmla="*/ 4 w 167"/>
                <a:gd name="T9" fmla="*/ 116 h 116"/>
                <a:gd name="T10" fmla="*/ 124 w 167"/>
                <a:gd name="T11" fmla="*/ 116 h 116"/>
                <a:gd name="T12" fmla="*/ 138 w 167"/>
                <a:gd name="T13" fmla="*/ 106 h 116"/>
                <a:gd name="T14" fmla="*/ 166 w 167"/>
                <a:gd name="T15" fmla="*/ 3 h 116"/>
                <a:gd name="T16" fmla="*/ 164 w 167"/>
                <a:gd name="T17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7" h="116">
                  <a:moveTo>
                    <a:pt x="164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3" y="0"/>
                    <a:pt x="32" y="0"/>
                    <a:pt x="32" y="2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0" y="115"/>
                    <a:pt x="2" y="116"/>
                    <a:pt x="4" y="116"/>
                  </a:cubicBezTo>
                  <a:cubicBezTo>
                    <a:pt x="124" y="116"/>
                    <a:pt x="124" y="116"/>
                    <a:pt x="124" y="116"/>
                  </a:cubicBezTo>
                  <a:cubicBezTo>
                    <a:pt x="130" y="116"/>
                    <a:pt x="136" y="112"/>
                    <a:pt x="138" y="106"/>
                  </a:cubicBezTo>
                  <a:cubicBezTo>
                    <a:pt x="166" y="3"/>
                    <a:pt x="166" y="3"/>
                    <a:pt x="166" y="3"/>
                  </a:cubicBezTo>
                  <a:cubicBezTo>
                    <a:pt x="167" y="1"/>
                    <a:pt x="165" y="0"/>
                    <a:pt x="164" y="0"/>
                  </a:cubicBezTo>
                </a:path>
              </a:pathLst>
            </a:custGeom>
            <a:solidFill>
              <a:srgbClr val="194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76" name="Freeform 245">
              <a:extLst>
                <a:ext uri="{FF2B5EF4-FFF2-40B4-BE49-F238E27FC236}">
                  <a16:creationId xmlns:a16="http://schemas.microsoft.com/office/drawing/2014/main" id="{0C0C5EDC-BC3A-4EB4-B062-2E3CF86C41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5340" y="4228443"/>
              <a:ext cx="821074" cy="504109"/>
            </a:xfrm>
            <a:custGeom>
              <a:avLst/>
              <a:gdLst>
                <a:gd name="T0" fmla="*/ 0 w 487"/>
                <a:gd name="T1" fmla="*/ 299 h 299"/>
                <a:gd name="T2" fmla="*/ 404 w 487"/>
                <a:gd name="T3" fmla="*/ 299 h 299"/>
                <a:gd name="T4" fmla="*/ 487 w 487"/>
                <a:gd name="T5" fmla="*/ 0 h 299"/>
                <a:gd name="T6" fmla="*/ 86 w 487"/>
                <a:gd name="T7" fmla="*/ 0 h 299"/>
                <a:gd name="T8" fmla="*/ 0 w 487"/>
                <a:gd name="T9" fmla="*/ 299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7" h="299">
                  <a:moveTo>
                    <a:pt x="0" y="299"/>
                  </a:moveTo>
                  <a:lnTo>
                    <a:pt x="404" y="299"/>
                  </a:lnTo>
                  <a:lnTo>
                    <a:pt x="487" y="0"/>
                  </a:lnTo>
                  <a:lnTo>
                    <a:pt x="86" y="0"/>
                  </a:lnTo>
                  <a:lnTo>
                    <a:pt x="0" y="299"/>
                  </a:lnTo>
                  <a:close/>
                </a:path>
              </a:pathLst>
            </a:custGeom>
            <a:solidFill>
              <a:srgbClr val="6855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77" name="Freeform 246">
              <a:extLst>
                <a:ext uri="{FF2B5EF4-FFF2-40B4-BE49-F238E27FC236}">
                  <a16:creationId xmlns:a16="http://schemas.microsoft.com/office/drawing/2014/main" id="{C1482B2B-7A17-42F7-B6A2-7F879EE191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5340" y="4228443"/>
              <a:ext cx="821074" cy="504109"/>
            </a:xfrm>
            <a:custGeom>
              <a:avLst/>
              <a:gdLst>
                <a:gd name="T0" fmla="*/ 0 w 487"/>
                <a:gd name="T1" fmla="*/ 299 h 299"/>
                <a:gd name="T2" fmla="*/ 404 w 487"/>
                <a:gd name="T3" fmla="*/ 299 h 299"/>
                <a:gd name="T4" fmla="*/ 487 w 487"/>
                <a:gd name="T5" fmla="*/ 0 h 299"/>
                <a:gd name="T6" fmla="*/ 86 w 487"/>
                <a:gd name="T7" fmla="*/ 0 h 299"/>
                <a:gd name="T8" fmla="*/ 0 w 487"/>
                <a:gd name="T9" fmla="*/ 299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7" h="299">
                  <a:moveTo>
                    <a:pt x="0" y="299"/>
                  </a:moveTo>
                  <a:lnTo>
                    <a:pt x="404" y="299"/>
                  </a:lnTo>
                  <a:lnTo>
                    <a:pt x="487" y="0"/>
                  </a:lnTo>
                  <a:lnTo>
                    <a:pt x="86" y="0"/>
                  </a:lnTo>
                  <a:lnTo>
                    <a:pt x="0" y="29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78" name="Freeform 247">
              <a:extLst>
                <a:ext uri="{FF2B5EF4-FFF2-40B4-BE49-F238E27FC236}">
                  <a16:creationId xmlns:a16="http://schemas.microsoft.com/office/drawing/2014/main" id="{068F6E80-3B2A-496F-B3AA-AB328D7E9B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31210" y="4324544"/>
              <a:ext cx="638988" cy="327080"/>
            </a:xfrm>
            <a:custGeom>
              <a:avLst/>
              <a:gdLst>
                <a:gd name="T0" fmla="*/ 117 w 119"/>
                <a:gd name="T1" fmla="*/ 0 h 61"/>
                <a:gd name="T2" fmla="*/ 116 w 119"/>
                <a:gd name="T3" fmla="*/ 1 h 61"/>
                <a:gd name="T4" fmla="*/ 91 w 119"/>
                <a:gd name="T5" fmla="*/ 24 h 61"/>
                <a:gd name="T6" fmla="*/ 66 w 119"/>
                <a:gd name="T7" fmla="*/ 32 h 61"/>
                <a:gd name="T8" fmla="*/ 65 w 119"/>
                <a:gd name="T9" fmla="*/ 33 h 61"/>
                <a:gd name="T10" fmla="*/ 65 w 119"/>
                <a:gd name="T11" fmla="*/ 33 h 61"/>
                <a:gd name="T12" fmla="*/ 46 w 119"/>
                <a:gd name="T13" fmla="*/ 52 h 61"/>
                <a:gd name="T14" fmla="*/ 22 w 119"/>
                <a:gd name="T15" fmla="*/ 39 h 61"/>
                <a:gd name="T16" fmla="*/ 21 w 119"/>
                <a:gd name="T17" fmla="*/ 39 h 61"/>
                <a:gd name="T18" fmla="*/ 19 w 119"/>
                <a:gd name="T19" fmla="*/ 40 h 61"/>
                <a:gd name="T20" fmla="*/ 0 w 119"/>
                <a:gd name="T21" fmla="*/ 59 h 61"/>
                <a:gd name="T22" fmla="*/ 2 w 119"/>
                <a:gd name="T23" fmla="*/ 61 h 61"/>
                <a:gd name="T24" fmla="*/ 21 w 119"/>
                <a:gd name="T25" fmla="*/ 43 h 61"/>
                <a:gd name="T26" fmla="*/ 46 w 119"/>
                <a:gd name="T27" fmla="*/ 56 h 61"/>
                <a:gd name="T28" fmla="*/ 46 w 119"/>
                <a:gd name="T29" fmla="*/ 56 h 61"/>
                <a:gd name="T30" fmla="*/ 48 w 119"/>
                <a:gd name="T31" fmla="*/ 56 h 61"/>
                <a:gd name="T32" fmla="*/ 68 w 119"/>
                <a:gd name="T33" fmla="*/ 35 h 61"/>
                <a:gd name="T34" fmla="*/ 92 w 119"/>
                <a:gd name="T35" fmla="*/ 27 h 61"/>
                <a:gd name="T36" fmla="*/ 118 w 119"/>
                <a:gd name="T37" fmla="*/ 4 h 61"/>
                <a:gd name="T38" fmla="*/ 119 w 119"/>
                <a:gd name="T39" fmla="*/ 2 h 61"/>
                <a:gd name="T40" fmla="*/ 117 w 119"/>
                <a:gd name="T41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61">
                  <a:moveTo>
                    <a:pt x="117" y="0"/>
                  </a:moveTo>
                  <a:cubicBezTo>
                    <a:pt x="117" y="0"/>
                    <a:pt x="116" y="1"/>
                    <a:pt x="116" y="1"/>
                  </a:cubicBezTo>
                  <a:cubicBezTo>
                    <a:pt x="91" y="24"/>
                    <a:pt x="91" y="24"/>
                    <a:pt x="91" y="24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5" y="32"/>
                    <a:pt x="65" y="33"/>
                    <a:pt x="65" y="33"/>
                  </a:cubicBezTo>
                  <a:cubicBezTo>
                    <a:pt x="65" y="33"/>
                    <a:pt x="65" y="33"/>
                    <a:pt x="65" y="33"/>
                  </a:cubicBezTo>
                  <a:cubicBezTo>
                    <a:pt x="46" y="52"/>
                    <a:pt x="46" y="52"/>
                    <a:pt x="46" y="52"/>
                  </a:cubicBezTo>
                  <a:cubicBezTo>
                    <a:pt x="22" y="39"/>
                    <a:pt x="22" y="39"/>
                    <a:pt x="22" y="39"/>
                  </a:cubicBezTo>
                  <a:cubicBezTo>
                    <a:pt x="21" y="39"/>
                    <a:pt x="21" y="39"/>
                    <a:pt x="21" y="39"/>
                  </a:cubicBezTo>
                  <a:cubicBezTo>
                    <a:pt x="20" y="39"/>
                    <a:pt x="20" y="40"/>
                    <a:pt x="19" y="4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2" y="61"/>
                    <a:pt x="2" y="61"/>
                    <a:pt x="2" y="61"/>
                  </a:cubicBezTo>
                  <a:cubicBezTo>
                    <a:pt x="10" y="54"/>
                    <a:pt x="20" y="45"/>
                    <a:pt x="21" y="43"/>
                  </a:cubicBezTo>
                  <a:cubicBezTo>
                    <a:pt x="46" y="56"/>
                    <a:pt x="46" y="56"/>
                    <a:pt x="46" y="56"/>
                  </a:cubicBezTo>
                  <a:cubicBezTo>
                    <a:pt x="46" y="56"/>
                    <a:pt x="46" y="56"/>
                    <a:pt x="46" y="56"/>
                  </a:cubicBezTo>
                  <a:cubicBezTo>
                    <a:pt x="47" y="56"/>
                    <a:pt x="47" y="56"/>
                    <a:pt x="48" y="56"/>
                  </a:cubicBezTo>
                  <a:cubicBezTo>
                    <a:pt x="68" y="35"/>
                    <a:pt x="68" y="35"/>
                    <a:pt x="68" y="35"/>
                  </a:cubicBezTo>
                  <a:cubicBezTo>
                    <a:pt x="69" y="35"/>
                    <a:pt x="92" y="27"/>
                    <a:pt x="92" y="27"/>
                  </a:cubicBezTo>
                  <a:cubicBezTo>
                    <a:pt x="93" y="27"/>
                    <a:pt x="118" y="4"/>
                    <a:pt x="118" y="4"/>
                  </a:cubicBezTo>
                  <a:cubicBezTo>
                    <a:pt x="119" y="3"/>
                    <a:pt x="119" y="2"/>
                    <a:pt x="119" y="2"/>
                  </a:cubicBezTo>
                  <a:cubicBezTo>
                    <a:pt x="118" y="1"/>
                    <a:pt x="118" y="0"/>
                    <a:pt x="117" y="0"/>
                  </a:cubicBezTo>
                </a:path>
              </a:pathLst>
            </a:custGeom>
            <a:solidFill>
              <a:srgbClr val="FFC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79" name="Freeform 248">
              <a:extLst>
                <a:ext uri="{FF2B5EF4-FFF2-40B4-BE49-F238E27FC236}">
                  <a16:creationId xmlns:a16="http://schemas.microsoft.com/office/drawing/2014/main" id="{8C178351-D1E9-4D33-AE63-BC0CBF31E66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99385" y="4302626"/>
              <a:ext cx="91043" cy="85986"/>
            </a:xfrm>
            <a:custGeom>
              <a:avLst/>
              <a:gdLst>
                <a:gd name="T0" fmla="*/ 32 w 54"/>
                <a:gd name="T1" fmla="*/ 23 h 51"/>
                <a:gd name="T2" fmla="*/ 35 w 54"/>
                <a:gd name="T3" fmla="*/ 51 h 51"/>
                <a:gd name="T4" fmla="*/ 54 w 54"/>
                <a:gd name="T5" fmla="*/ 0 h 51"/>
                <a:gd name="T6" fmla="*/ 0 w 54"/>
                <a:gd name="T7" fmla="*/ 23 h 51"/>
                <a:gd name="T8" fmla="*/ 32 w 54"/>
                <a:gd name="T9" fmla="*/ 23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51">
                  <a:moveTo>
                    <a:pt x="32" y="23"/>
                  </a:moveTo>
                  <a:lnTo>
                    <a:pt x="35" y="51"/>
                  </a:lnTo>
                  <a:lnTo>
                    <a:pt x="54" y="0"/>
                  </a:lnTo>
                  <a:lnTo>
                    <a:pt x="0" y="23"/>
                  </a:lnTo>
                  <a:lnTo>
                    <a:pt x="32" y="23"/>
                  </a:lnTo>
                  <a:close/>
                </a:path>
              </a:pathLst>
            </a:custGeom>
            <a:solidFill>
              <a:srgbClr val="FFC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80" name="Freeform 249">
              <a:extLst>
                <a:ext uri="{FF2B5EF4-FFF2-40B4-BE49-F238E27FC236}">
                  <a16:creationId xmlns:a16="http://schemas.microsoft.com/office/drawing/2014/main" id="{436D5149-DCA8-4817-960E-560CAC146A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63243" y="4356577"/>
              <a:ext cx="96102" cy="43836"/>
            </a:xfrm>
            <a:custGeom>
              <a:avLst/>
              <a:gdLst>
                <a:gd name="T0" fmla="*/ 57 w 57"/>
                <a:gd name="T1" fmla="*/ 0 h 26"/>
                <a:gd name="T2" fmla="*/ 10 w 57"/>
                <a:gd name="T3" fmla="*/ 0 h 26"/>
                <a:gd name="T4" fmla="*/ 0 w 57"/>
                <a:gd name="T5" fmla="*/ 26 h 26"/>
                <a:gd name="T6" fmla="*/ 48 w 57"/>
                <a:gd name="T7" fmla="*/ 26 h 26"/>
                <a:gd name="T8" fmla="*/ 57 w 57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26">
                  <a:moveTo>
                    <a:pt x="57" y="0"/>
                  </a:moveTo>
                  <a:lnTo>
                    <a:pt x="10" y="0"/>
                  </a:lnTo>
                  <a:lnTo>
                    <a:pt x="0" y="26"/>
                  </a:lnTo>
                  <a:lnTo>
                    <a:pt x="48" y="26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8A74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81" name="Freeform 250">
              <a:extLst>
                <a:ext uri="{FF2B5EF4-FFF2-40B4-BE49-F238E27FC236}">
                  <a16:creationId xmlns:a16="http://schemas.microsoft.com/office/drawing/2014/main" id="{0BF8AF87-6222-4309-B506-F5D69AC8B0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63243" y="4356577"/>
              <a:ext cx="96102" cy="43836"/>
            </a:xfrm>
            <a:custGeom>
              <a:avLst/>
              <a:gdLst>
                <a:gd name="T0" fmla="*/ 57 w 57"/>
                <a:gd name="T1" fmla="*/ 0 h 26"/>
                <a:gd name="T2" fmla="*/ 10 w 57"/>
                <a:gd name="T3" fmla="*/ 0 h 26"/>
                <a:gd name="T4" fmla="*/ 0 w 57"/>
                <a:gd name="T5" fmla="*/ 26 h 26"/>
                <a:gd name="T6" fmla="*/ 48 w 57"/>
                <a:gd name="T7" fmla="*/ 26 h 26"/>
                <a:gd name="T8" fmla="*/ 57 w 57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26">
                  <a:moveTo>
                    <a:pt x="57" y="0"/>
                  </a:moveTo>
                  <a:lnTo>
                    <a:pt x="10" y="0"/>
                  </a:lnTo>
                  <a:lnTo>
                    <a:pt x="0" y="26"/>
                  </a:lnTo>
                  <a:lnTo>
                    <a:pt x="48" y="26"/>
                  </a:lnTo>
                  <a:lnTo>
                    <a:pt x="5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82" name="Freeform 251">
              <a:extLst>
                <a:ext uri="{FF2B5EF4-FFF2-40B4-BE49-F238E27FC236}">
                  <a16:creationId xmlns:a16="http://schemas.microsoft.com/office/drawing/2014/main" id="{4BC9715A-9B5F-4447-8656-D3D65602C9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46383" y="4420645"/>
              <a:ext cx="92730" cy="43836"/>
            </a:xfrm>
            <a:custGeom>
              <a:avLst/>
              <a:gdLst>
                <a:gd name="T0" fmla="*/ 55 w 55"/>
                <a:gd name="T1" fmla="*/ 0 h 26"/>
                <a:gd name="T2" fmla="*/ 7 w 55"/>
                <a:gd name="T3" fmla="*/ 0 h 26"/>
                <a:gd name="T4" fmla="*/ 0 w 55"/>
                <a:gd name="T5" fmla="*/ 26 h 26"/>
                <a:gd name="T6" fmla="*/ 48 w 55"/>
                <a:gd name="T7" fmla="*/ 26 h 26"/>
                <a:gd name="T8" fmla="*/ 55 w 55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26">
                  <a:moveTo>
                    <a:pt x="55" y="0"/>
                  </a:moveTo>
                  <a:lnTo>
                    <a:pt x="7" y="0"/>
                  </a:lnTo>
                  <a:lnTo>
                    <a:pt x="0" y="26"/>
                  </a:lnTo>
                  <a:lnTo>
                    <a:pt x="48" y="26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rgbClr val="8A74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83" name="Freeform 252">
              <a:extLst>
                <a:ext uri="{FF2B5EF4-FFF2-40B4-BE49-F238E27FC236}">
                  <a16:creationId xmlns:a16="http://schemas.microsoft.com/office/drawing/2014/main" id="{186B0FB7-4570-40BD-BA6C-8C34F7D41E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46383" y="4420645"/>
              <a:ext cx="92730" cy="43836"/>
            </a:xfrm>
            <a:custGeom>
              <a:avLst/>
              <a:gdLst>
                <a:gd name="T0" fmla="*/ 55 w 55"/>
                <a:gd name="T1" fmla="*/ 0 h 26"/>
                <a:gd name="T2" fmla="*/ 7 w 55"/>
                <a:gd name="T3" fmla="*/ 0 h 26"/>
                <a:gd name="T4" fmla="*/ 0 w 55"/>
                <a:gd name="T5" fmla="*/ 26 h 26"/>
                <a:gd name="T6" fmla="*/ 48 w 55"/>
                <a:gd name="T7" fmla="*/ 26 h 26"/>
                <a:gd name="T8" fmla="*/ 55 w 55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26">
                  <a:moveTo>
                    <a:pt x="55" y="0"/>
                  </a:moveTo>
                  <a:lnTo>
                    <a:pt x="7" y="0"/>
                  </a:lnTo>
                  <a:lnTo>
                    <a:pt x="0" y="26"/>
                  </a:lnTo>
                  <a:lnTo>
                    <a:pt x="48" y="26"/>
                  </a:lnTo>
                  <a:lnTo>
                    <a:pt x="5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84" name="Freeform 253">
              <a:extLst>
                <a:ext uri="{FF2B5EF4-FFF2-40B4-BE49-F238E27FC236}">
                  <a16:creationId xmlns:a16="http://schemas.microsoft.com/office/drawing/2014/main" id="{82D6EF49-0C3D-4DFE-8B67-EA663ABE24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26151" y="4486398"/>
              <a:ext cx="96102" cy="42150"/>
            </a:xfrm>
            <a:custGeom>
              <a:avLst/>
              <a:gdLst>
                <a:gd name="T0" fmla="*/ 57 w 57"/>
                <a:gd name="T1" fmla="*/ 0 h 25"/>
                <a:gd name="T2" fmla="*/ 9 w 57"/>
                <a:gd name="T3" fmla="*/ 0 h 25"/>
                <a:gd name="T4" fmla="*/ 0 w 57"/>
                <a:gd name="T5" fmla="*/ 25 h 25"/>
                <a:gd name="T6" fmla="*/ 47 w 57"/>
                <a:gd name="T7" fmla="*/ 25 h 25"/>
                <a:gd name="T8" fmla="*/ 57 w 57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25">
                  <a:moveTo>
                    <a:pt x="57" y="0"/>
                  </a:moveTo>
                  <a:lnTo>
                    <a:pt x="9" y="0"/>
                  </a:lnTo>
                  <a:lnTo>
                    <a:pt x="0" y="25"/>
                  </a:lnTo>
                  <a:lnTo>
                    <a:pt x="47" y="25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8A74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85" name="Freeform 254">
              <a:extLst>
                <a:ext uri="{FF2B5EF4-FFF2-40B4-BE49-F238E27FC236}">
                  <a16:creationId xmlns:a16="http://schemas.microsoft.com/office/drawing/2014/main" id="{EF4219BC-98B7-4E7C-95AA-1CDCE758BC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26151" y="4486398"/>
              <a:ext cx="96102" cy="42150"/>
            </a:xfrm>
            <a:custGeom>
              <a:avLst/>
              <a:gdLst>
                <a:gd name="T0" fmla="*/ 57 w 57"/>
                <a:gd name="T1" fmla="*/ 0 h 25"/>
                <a:gd name="T2" fmla="*/ 9 w 57"/>
                <a:gd name="T3" fmla="*/ 0 h 25"/>
                <a:gd name="T4" fmla="*/ 0 w 57"/>
                <a:gd name="T5" fmla="*/ 25 h 25"/>
                <a:gd name="T6" fmla="*/ 47 w 57"/>
                <a:gd name="T7" fmla="*/ 25 h 25"/>
                <a:gd name="T8" fmla="*/ 57 w 57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25">
                  <a:moveTo>
                    <a:pt x="57" y="0"/>
                  </a:moveTo>
                  <a:lnTo>
                    <a:pt x="9" y="0"/>
                  </a:lnTo>
                  <a:lnTo>
                    <a:pt x="0" y="25"/>
                  </a:lnTo>
                  <a:lnTo>
                    <a:pt x="47" y="25"/>
                  </a:lnTo>
                  <a:lnTo>
                    <a:pt x="5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86" name="Freeform 255">
              <a:extLst>
                <a:ext uri="{FF2B5EF4-FFF2-40B4-BE49-F238E27FC236}">
                  <a16:creationId xmlns:a16="http://schemas.microsoft.com/office/drawing/2014/main" id="{5B0701CF-C3D2-4642-98C7-4224C29744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09292" y="4550466"/>
              <a:ext cx="91043" cy="47207"/>
            </a:xfrm>
            <a:custGeom>
              <a:avLst/>
              <a:gdLst>
                <a:gd name="T0" fmla="*/ 54 w 54"/>
                <a:gd name="T1" fmla="*/ 0 h 28"/>
                <a:gd name="T2" fmla="*/ 7 w 54"/>
                <a:gd name="T3" fmla="*/ 0 h 28"/>
                <a:gd name="T4" fmla="*/ 0 w 54"/>
                <a:gd name="T5" fmla="*/ 28 h 28"/>
                <a:gd name="T6" fmla="*/ 38 w 54"/>
                <a:gd name="T7" fmla="*/ 28 h 28"/>
                <a:gd name="T8" fmla="*/ 51 w 54"/>
                <a:gd name="T9" fmla="*/ 16 h 28"/>
                <a:gd name="T10" fmla="*/ 54 w 54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4" h="28">
                  <a:moveTo>
                    <a:pt x="54" y="0"/>
                  </a:moveTo>
                  <a:lnTo>
                    <a:pt x="7" y="0"/>
                  </a:lnTo>
                  <a:lnTo>
                    <a:pt x="0" y="28"/>
                  </a:lnTo>
                  <a:lnTo>
                    <a:pt x="38" y="28"/>
                  </a:lnTo>
                  <a:lnTo>
                    <a:pt x="51" y="16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8A74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87" name="Freeform 256">
              <a:extLst>
                <a:ext uri="{FF2B5EF4-FFF2-40B4-BE49-F238E27FC236}">
                  <a16:creationId xmlns:a16="http://schemas.microsoft.com/office/drawing/2014/main" id="{1DFDA715-4DD6-42CB-BF38-3E1A3E8985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09292" y="4550466"/>
              <a:ext cx="91043" cy="47207"/>
            </a:xfrm>
            <a:custGeom>
              <a:avLst/>
              <a:gdLst>
                <a:gd name="T0" fmla="*/ 54 w 54"/>
                <a:gd name="T1" fmla="*/ 0 h 28"/>
                <a:gd name="T2" fmla="*/ 7 w 54"/>
                <a:gd name="T3" fmla="*/ 0 h 28"/>
                <a:gd name="T4" fmla="*/ 0 w 54"/>
                <a:gd name="T5" fmla="*/ 28 h 28"/>
                <a:gd name="T6" fmla="*/ 38 w 54"/>
                <a:gd name="T7" fmla="*/ 28 h 28"/>
                <a:gd name="T8" fmla="*/ 51 w 54"/>
                <a:gd name="T9" fmla="*/ 16 h 28"/>
                <a:gd name="T10" fmla="*/ 54 w 54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4" h="28">
                  <a:moveTo>
                    <a:pt x="54" y="0"/>
                  </a:moveTo>
                  <a:lnTo>
                    <a:pt x="7" y="0"/>
                  </a:lnTo>
                  <a:lnTo>
                    <a:pt x="0" y="28"/>
                  </a:lnTo>
                  <a:lnTo>
                    <a:pt x="38" y="28"/>
                  </a:lnTo>
                  <a:lnTo>
                    <a:pt x="51" y="16"/>
                  </a:lnTo>
                  <a:lnTo>
                    <a:pt x="5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88" name="Freeform 257">
              <a:extLst>
                <a:ext uri="{FF2B5EF4-FFF2-40B4-BE49-F238E27FC236}">
                  <a16:creationId xmlns:a16="http://schemas.microsoft.com/office/drawing/2014/main" id="{4D7ABC1C-5387-4926-8928-D353FB81B1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73359" y="4577442"/>
              <a:ext cx="21918" cy="20232"/>
            </a:xfrm>
            <a:custGeom>
              <a:avLst/>
              <a:gdLst>
                <a:gd name="T0" fmla="*/ 13 w 13"/>
                <a:gd name="T1" fmla="*/ 0 h 12"/>
                <a:gd name="T2" fmla="*/ 0 w 13"/>
                <a:gd name="T3" fmla="*/ 12 h 12"/>
                <a:gd name="T4" fmla="*/ 10 w 13"/>
                <a:gd name="T5" fmla="*/ 12 h 12"/>
                <a:gd name="T6" fmla="*/ 13 w 13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2">
                  <a:moveTo>
                    <a:pt x="13" y="0"/>
                  </a:moveTo>
                  <a:lnTo>
                    <a:pt x="0" y="12"/>
                  </a:lnTo>
                  <a:lnTo>
                    <a:pt x="10" y="12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CF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89" name="Freeform 258">
              <a:extLst>
                <a:ext uri="{FF2B5EF4-FFF2-40B4-BE49-F238E27FC236}">
                  <a16:creationId xmlns:a16="http://schemas.microsoft.com/office/drawing/2014/main" id="{0F77BBD3-0602-49BD-95F6-D1B4D3F063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73359" y="4577442"/>
              <a:ext cx="21918" cy="20232"/>
            </a:xfrm>
            <a:custGeom>
              <a:avLst/>
              <a:gdLst>
                <a:gd name="T0" fmla="*/ 13 w 13"/>
                <a:gd name="T1" fmla="*/ 0 h 12"/>
                <a:gd name="T2" fmla="*/ 0 w 13"/>
                <a:gd name="T3" fmla="*/ 12 h 12"/>
                <a:gd name="T4" fmla="*/ 10 w 13"/>
                <a:gd name="T5" fmla="*/ 12 h 12"/>
                <a:gd name="T6" fmla="*/ 13 w 13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2">
                  <a:moveTo>
                    <a:pt x="13" y="0"/>
                  </a:moveTo>
                  <a:lnTo>
                    <a:pt x="0" y="12"/>
                  </a:lnTo>
                  <a:lnTo>
                    <a:pt x="10" y="12"/>
                  </a:lnTo>
                  <a:lnTo>
                    <a:pt x="1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91" name="Freeform 259">
              <a:extLst>
                <a:ext uri="{FF2B5EF4-FFF2-40B4-BE49-F238E27FC236}">
                  <a16:creationId xmlns:a16="http://schemas.microsoft.com/office/drawing/2014/main" id="{10F78F36-0D8E-49B5-81DA-713B673A6F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1295" y="4656682"/>
              <a:ext cx="730031" cy="139937"/>
            </a:xfrm>
            <a:custGeom>
              <a:avLst/>
              <a:gdLst>
                <a:gd name="T0" fmla="*/ 131 w 136"/>
                <a:gd name="T1" fmla="*/ 15 h 26"/>
                <a:gd name="T2" fmla="*/ 6 w 136"/>
                <a:gd name="T3" fmla="*/ 1 h 26"/>
                <a:gd name="T4" fmla="*/ 0 w 136"/>
                <a:gd name="T5" fmla="*/ 5 h 26"/>
                <a:gd name="T6" fmla="*/ 5 w 136"/>
                <a:gd name="T7" fmla="*/ 11 h 26"/>
                <a:gd name="T8" fmla="*/ 130 w 136"/>
                <a:gd name="T9" fmla="*/ 26 h 26"/>
                <a:gd name="T10" fmla="*/ 136 w 136"/>
                <a:gd name="T11" fmla="*/ 21 h 26"/>
                <a:gd name="T12" fmla="*/ 131 w 136"/>
                <a:gd name="T13" fmla="*/ 1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6" h="26">
                  <a:moveTo>
                    <a:pt x="131" y="15"/>
                  </a:moveTo>
                  <a:cubicBezTo>
                    <a:pt x="6" y="1"/>
                    <a:pt x="6" y="1"/>
                    <a:pt x="6" y="1"/>
                  </a:cubicBezTo>
                  <a:cubicBezTo>
                    <a:pt x="3" y="0"/>
                    <a:pt x="1" y="3"/>
                    <a:pt x="0" y="5"/>
                  </a:cubicBezTo>
                  <a:cubicBezTo>
                    <a:pt x="0" y="8"/>
                    <a:pt x="2" y="11"/>
                    <a:pt x="5" y="11"/>
                  </a:cubicBezTo>
                  <a:cubicBezTo>
                    <a:pt x="130" y="26"/>
                    <a:pt x="130" y="26"/>
                    <a:pt x="130" y="26"/>
                  </a:cubicBezTo>
                  <a:cubicBezTo>
                    <a:pt x="133" y="26"/>
                    <a:pt x="136" y="24"/>
                    <a:pt x="136" y="21"/>
                  </a:cubicBezTo>
                  <a:cubicBezTo>
                    <a:pt x="136" y="18"/>
                    <a:pt x="134" y="16"/>
                    <a:pt x="131" y="15"/>
                  </a:cubicBezTo>
                  <a:close/>
                </a:path>
              </a:pathLst>
            </a:custGeom>
            <a:solidFill>
              <a:srgbClr val="B0C1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92" name="Freeform 260">
              <a:extLst>
                <a:ext uri="{FF2B5EF4-FFF2-40B4-BE49-F238E27FC236}">
                  <a16:creationId xmlns:a16="http://schemas.microsoft.com/office/drawing/2014/main" id="{C324DD65-6DE4-40A3-B58F-12F746D967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45224" y="4732552"/>
              <a:ext cx="681137" cy="133193"/>
            </a:xfrm>
            <a:custGeom>
              <a:avLst/>
              <a:gdLst>
                <a:gd name="T0" fmla="*/ 122 w 127"/>
                <a:gd name="T1" fmla="*/ 14 h 25"/>
                <a:gd name="T2" fmla="*/ 7 w 127"/>
                <a:gd name="T3" fmla="*/ 0 h 25"/>
                <a:gd name="T4" fmla="*/ 1 w 127"/>
                <a:gd name="T5" fmla="*/ 5 h 25"/>
                <a:gd name="T6" fmla="*/ 6 w 127"/>
                <a:gd name="T7" fmla="*/ 11 h 25"/>
                <a:gd name="T8" fmla="*/ 121 w 127"/>
                <a:gd name="T9" fmla="*/ 25 h 25"/>
                <a:gd name="T10" fmla="*/ 127 w 127"/>
                <a:gd name="T11" fmla="*/ 20 h 25"/>
                <a:gd name="T12" fmla="*/ 122 w 127"/>
                <a:gd name="T13" fmla="*/ 1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7" h="25">
                  <a:moveTo>
                    <a:pt x="122" y="14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1" y="2"/>
                    <a:pt x="1" y="5"/>
                  </a:cubicBezTo>
                  <a:cubicBezTo>
                    <a:pt x="0" y="8"/>
                    <a:pt x="3" y="11"/>
                    <a:pt x="6" y="11"/>
                  </a:cubicBezTo>
                  <a:cubicBezTo>
                    <a:pt x="121" y="25"/>
                    <a:pt x="121" y="25"/>
                    <a:pt x="121" y="25"/>
                  </a:cubicBezTo>
                  <a:cubicBezTo>
                    <a:pt x="124" y="25"/>
                    <a:pt x="126" y="23"/>
                    <a:pt x="127" y="20"/>
                  </a:cubicBezTo>
                  <a:cubicBezTo>
                    <a:pt x="127" y="17"/>
                    <a:pt x="125" y="14"/>
                    <a:pt x="122" y="14"/>
                  </a:cubicBezTo>
                  <a:close/>
                </a:path>
              </a:pathLst>
            </a:custGeom>
            <a:solidFill>
              <a:srgbClr val="D1DB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93" name="Freeform 261">
              <a:extLst>
                <a:ext uri="{FF2B5EF4-FFF2-40B4-BE49-F238E27FC236}">
                  <a16:creationId xmlns:a16="http://schemas.microsoft.com/office/drawing/2014/main" id="{F5E48974-F14A-442F-B7D2-B70008CE43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00439" y="4801677"/>
              <a:ext cx="59010" cy="21918"/>
            </a:xfrm>
            <a:custGeom>
              <a:avLst/>
              <a:gdLst>
                <a:gd name="T0" fmla="*/ 0 w 35"/>
                <a:gd name="T1" fmla="*/ 10 h 13"/>
                <a:gd name="T2" fmla="*/ 32 w 35"/>
                <a:gd name="T3" fmla="*/ 13 h 13"/>
                <a:gd name="T4" fmla="*/ 35 w 35"/>
                <a:gd name="T5" fmla="*/ 3 h 13"/>
                <a:gd name="T6" fmla="*/ 0 w 35"/>
                <a:gd name="T7" fmla="*/ 0 h 13"/>
                <a:gd name="T8" fmla="*/ 0 w 35"/>
                <a:gd name="T9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3">
                  <a:moveTo>
                    <a:pt x="0" y="10"/>
                  </a:moveTo>
                  <a:lnTo>
                    <a:pt x="32" y="13"/>
                  </a:lnTo>
                  <a:lnTo>
                    <a:pt x="35" y="3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194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94" name="Freeform 262">
              <a:extLst>
                <a:ext uri="{FF2B5EF4-FFF2-40B4-BE49-F238E27FC236}">
                  <a16:creationId xmlns:a16="http://schemas.microsoft.com/office/drawing/2014/main" id="{DE9171FC-D837-40DF-B422-5B00A696BD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41430" y="4796619"/>
              <a:ext cx="43836" cy="21918"/>
            </a:xfrm>
            <a:custGeom>
              <a:avLst/>
              <a:gdLst>
                <a:gd name="T0" fmla="*/ 0 w 26"/>
                <a:gd name="T1" fmla="*/ 9 h 13"/>
                <a:gd name="T2" fmla="*/ 26 w 26"/>
                <a:gd name="T3" fmla="*/ 13 h 13"/>
                <a:gd name="T4" fmla="*/ 26 w 26"/>
                <a:gd name="T5" fmla="*/ 3 h 13"/>
                <a:gd name="T6" fmla="*/ 4 w 26"/>
                <a:gd name="T7" fmla="*/ 0 h 13"/>
                <a:gd name="T8" fmla="*/ 0 w 26"/>
                <a:gd name="T9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3">
                  <a:moveTo>
                    <a:pt x="0" y="9"/>
                  </a:moveTo>
                  <a:lnTo>
                    <a:pt x="26" y="13"/>
                  </a:lnTo>
                  <a:lnTo>
                    <a:pt x="26" y="3"/>
                  </a:lnTo>
                  <a:lnTo>
                    <a:pt x="4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194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2" name="Freeform 263">
              <a:extLst>
                <a:ext uri="{FF2B5EF4-FFF2-40B4-BE49-F238E27FC236}">
                  <a16:creationId xmlns:a16="http://schemas.microsoft.com/office/drawing/2014/main" id="{466F8235-E791-4059-ACDA-A64D5B45C4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05393" y="4243617"/>
              <a:ext cx="59010" cy="65754"/>
            </a:xfrm>
            <a:custGeom>
              <a:avLst/>
              <a:gdLst>
                <a:gd name="T0" fmla="*/ 6 w 11"/>
                <a:gd name="T1" fmla="*/ 0 h 12"/>
                <a:gd name="T2" fmla="*/ 0 w 11"/>
                <a:gd name="T3" fmla="*/ 6 h 12"/>
                <a:gd name="T4" fmla="*/ 5 w 11"/>
                <a:gd name="T5" fmla="*/ 12 h 12"/>
                <a:gd name="T6" fmla="*/ 11 w 11"/>
                <a:gd name="T7" fmla="*/ 6 h 12"/>
                <a:gd name="T8" fmla="*/ 6 w 11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2" y="12"/>
                    <a:pt x="5" y="12"/>
                  </a:cubicBezTo>
                  <a:cubicBezTo>
                    <a:pt x="8" y="12"/>
                    <a:pt x="11" y="9"/>
                    <a:pt x="11" y="6"/>
                  </a:cubicBezTo>
                  <a:cubicBezTo>
                    <a:pt x="11" y="3"/>
                    <a:pt x="9" y="0"/>
                    <a:pt x="6" y="0"/>
                  </a:cubicBezTo>
                </a:path>
              </a:pathLst>
            </a:custGeom>
            <a:solidFill>
              <a:srgbClr val="8A74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3" name="Freeform 264">
              <a:extLst>
                <a:ext uri="{FF2B5EF4-FFF2-40B4-BE49-F238E27FC236}">
                  <a16:creationId xmlns:a16="http://schemas.microsoft.com/office/drawing/2014/main" id="{F5535969-2729-43EB-A1E4-97BD6CAFBE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47332" y="4978705"/>
              <a:ext cx="982928" cy="413066"/>
            </a:xfrm>
            <a:custGeom>
              <a:avLst/>
              <a:gdLst>
                <a:gd name="T0" fmla="*/ 162 w 183"/>
                <a:gd name="T1" fmla="*/ 41 h 77"/>
                <a:gd name="T2" fmla="*/ 26 w 183"/>
                <a:gd name="T3" fmla="*/ 0 h 77"/>
                <a:gd name="T4" fmla="*/ 24 w 183"/>
                <a:gd name="T5" fmla="*/ 48 h 77"/>
                <a:gd name="T6" fmla="*/ 157 w 183"/>
                <a:gd name="T7" fmla="*/ 72 h 77"/>
                <a:gd name="T8" fmla="*/ 162 w 183"/>
                <a:gd name="T9" fmla="*/ 41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77">
                  <a:moveTo>
                    <a:pt x="162" y="41"/>
                  </a:moveTo>
                  <a:cubicBezTo>
                    <a:pt x="125" y="19"/>
                    <a:pt x="44" y="2"/>
                    <a:pt x="26" y="0"/>
                  </a:cubicBezTo>
                  <a:cubicBezTo>
                    <a:pt x="17" y="0"/>
                    <a:pt x="0" y="34"/>
                    <a:pt x="24" y="48"/>
                  </a:cubicBezTo>
                  <a:cubicBezTo>
                    <a:pt x="55" y="66"/>
                    <a:pt x="135" y="77"/>
                    <a:pt x="157" y="72"/>
                  </a:cubicBezTo>
                  <a:cubicBezTo>
                    <a:pt x="170" y="70"/>
                    <a:pt x="183" y="54"/>
                    <a:pt x="162" y="41"/>
                  </a:cubicBezTo>
                  <a:close/>
                </a:path>
              </a:pathLst>
            </a:custGeom>
            <a:solidFill>
              <a:srgbClr val="B0C1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4" name="Freeform 265">
              <a:extLst>
                <a:ext uri="{FF2B5EF4-FFF2-40B4-BE49-F238E27FC236}">
                  <a16:creationId xmlns:a16="http://schemas.microsoft.com/office/drawing/2014/main" id="{B4B1CD1B-609B-48DF-8020-0289E1B17A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26151" y="5954888"/>
              <a:ext cx="79242" cy="84299"/>
            </a:xfrm>
            <a:custGeom>
              <a:avLst/>
              <a:gdLst>
                <a:gd name="T0" fmla="*/ 2 w 15"/>
                <a:gd name="T1" fmla="*/ 4 h 16"/>
                <a:gd name="T2" fmla="*/ 3 w 15"/>
                <a:gd name="T3" fmla="*/ 16 h 16"/>
                <a:gd name="T4" fmla="*/ 14 w 15"/>
                <a:gd name="T5" fmla="*/ 12 h 16"/>
                <a:gd name="T6" fmla="*/ 15 w 15"/>
                <a:gd name="T7" fmla="*/ 5 h 16"/>
                <a:gd name="T8" fmla="*/ 2 w 15"/>
                <a:gd name="T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2" y="4"/>
                  </a:moveTo>
                  <a:cubicBezTo>
                    <a:pt x="0" y="10"/>
                    <a:pt x="3" y="16"/>
                    <a:pt x="3" y="16"/>
                  </a:cubicBezTo>
                  <a:cubicBezTo>
                    <a:pt x="3" y="16"/>
                    <a:pt x="10" y="16"/>
                    <a:pt x="14" y="12"/>
                  </a:cubicBezTo>
                  <a:cubicBezTo>
                    <a:pt x="14" y="12"/>
                    <a:pt x="14" y="9"/>
                    <a:pt x="15" y="5"/>
                  </a:cubicBezTo>
                  <a:cubicBezTo>
                    <a:pt x="10" y="0"/>
                    <a:pt x="3" y="2"/>
                    <a:pt x="2" y="4"/>
                  </a:cubicBezTo>
                </a:path>
              </a:pathLst>
            </a:custGeom>
            <a:solidFill>
              <a:srgbClr val="FCD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5" name="Freeform 266">
              <a:extLst>
                <a:ext uri="{FF2B5EF4-FFF2-40B4-BE49-F238E27FC236}">
                  <a16:creationId xmlns:a16="http://schemas.microsoft.com/office/drawing/2014/main" id="{65BDCD70-10F9-4427-BB5C-50D7F5A428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36267" y="5145617"/>
              <a:ext cx="499051" cy="846363"/>
            </a:xfrm>
            <a:custGeom>
              <a:avLst/>
              <a:gdLst>
                <a:gd name="T0" fmla="*/ 38 w 93"/>
                <a:gd name="T1" fmla="*/ 36 h 158"/>
                <a:gd name="T2" fmla="*/ 0 w 93"/>
                <a:gd name="T3" fmla="*/ 155 h 158"/>
                <a:gd name="T4" fmla="*/ 12 w 93"/>
                <a:gd name="T5" fmla="*/ 158 h 158"/>
                <a:gd name="T6" fmla="*/ 79 w 93"/>
                <a:gd name="T7" fmla="*/ 34 h 158"/>
                <a:gd name="T8" fmla="*/ 38 w 93"/>
                <a:gd name="T9" fmla="*/ 36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158">
                  <a:moveTo>
                    <a:pt x="38" y="36"/>
                  </a:moveTo>
                  <a:cubicBezTo>
                    <a:pt x="19" y="92"/>
                    <a:pt x="0" y="155"/>
                    <a:pt x="0" y="155"/>
                  </a:cubicBezTo>
                  <a:cubicBezTo>
                    <a:pt x="3" y="158"/>
                    <a:pt x="7" y="156"/>
                    <a:pt x="12" y="158"/>
                  </a:cubicBezTo>
                  <a:cubicBezTo>
                    <a:pt x="12" y="158"/>
                    <a:pt x="47" y="92"/>
                    <a:pt x="79" y="34"/>
                  </a:cubicBezTo>
                  <a:cubicBezTo>
                    <a:pt x="93" y="10"/>
                    <a:pt x="50" y="0"/>
                    <a:pt x="38" y="36"/>
                  </a:cubicBezTo>
                  <a:close/>
                </a:path>
              </a:pathLst>
            </a:custGeom>
            <a:solidFill>
              <a:srgbClr val="FCD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6" name="Freeform 267">
              <a:extLst>
                <a:ext uri="{FF2B5EF4-FFF2-40B4-BE49-F238E27FC236}">
                  <a16:creationId xmlns:a16="http://schemas.microsoft.com/office/drawing/2014/main" id="{DDD47410-A605-47A5-AA0D-9E8C50C39A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36267" y="5991980"/>
              <a:ext cx="182086" cy="144994"/>
            </a:xfrm>
            <a:custGeom>
              <a:avLst/>
              <a:gdLst>
                <a:gd name="T0" fmla="*/ 14 w 34"/>
                <a:gd name="T1" fmla="*/ 5 h 27"/>
                <a:gd name="T2" fmla="*/ 12 w 34"/>
                <a:gd name="T3" fmla="*/ 2 h 27"/>
                <a:gd name="T4" fmla="*/ 1 w 34"/>
                <a:gd name="T5" fmla="*/ 6 h 27"/>
                <a:gd name="T6" fmla="*/ 3 w 34"/>
                <a:gd name="T7" fmla="*/ 16 h 27"/>
                <a:gd name="T8" fmla="*/ 13 w 34"/>
                <a:gd name="T9" fmla="*/ 25 h 27"/>
                <a:gd name="T10" fmla="*/ 24 w 34"/>
                <a:gd name="T11" fmla="*/ 26 h 27"/>
                <a:gd name="T12" fmla="*/ 33 w 34"/>
                <a:gd name="T13" fmla="*/ 20 h 27"/>
                <a:gd name="T14" fmla="*/ 14 w 34"/>
                <a:gd name="T15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7">
                  <a:moveTo>
                    <a:pt x="14" y="5"/>
                  </a:moveTo>
                  <a:cubicBezTo>
                    <a:pt x="12" y="3"/>
                    <a:pt x="12" y="2"/>
                    <a:pt x="12" y="2"/>
                  </a:cubicBezTo>
                  <a:cubicBezTo>
                    <a:pt x="12" y="2"/>
                    <a:pt x="3" y="0"/>
                    <a:pt x="1" y="6"/>
                  </a:cubicBezTo>
                  <a:cubicBezTo>
                    <a:pt x="1" y="6"/>
                    <a:pt x="0" y="12"/>
                    <a:pt x="3" y="16"/>
                  </a:cubicBezTo>
                  <a:cubicBezTo>
                    <a:pt x="4" y="17"/>
                    <a:pt x="10" y="24"/>
                    <a:pt x="13" y="25"/>
                  </a:cubicBezTo>
                  <a:cubicBezTo>
                    <a:pt x="16" y="27"/>
                    <a:pt x="20" y="26"/>
                    <a:pt x="24" y="26"/>
                  </a:cubicBezTo>
                  <a:cubicBezTo>
                    <a:pt x="28" y="25"/>
                    <a:pt x="34" y="22"/>
                    <a:pt x="33" y="20"/>
                  </a:cubicBezTo>
                  <a:cubicBezTo>
                    <a:pt x="33" y="15"/>
                    <a:pt x="17" y="8"/>
                    <a:pt x="14" y="5"/>
                  </a:cubicBezTo>
                </a:path>
              </a:pathLst>
            </a:custGeom>
            <a:solidFill>
              <a:srgbClr val="6855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pic>
          <p:nvPicPr>
            <p:cNvPr id="3340" name="Picture 268">
              <a:extLst>
                <a:ext uri="{FF2B5EF4-FFF2-40B4-BE49-F238E27FC236}">
                  <a16:creationId xmlns:a16="http://schemas.microsoft.com/office/drawing/2014/main" id="{E5A56B97-4A6A-417A-9E1B-A97F1B1F4783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00335" y="6104941"/>
              <a:ext cx="64067" cy="472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797" name="Freeform 269">
              <a:extLst>
                <a:ext uri="{FF2B5EF4-FFF2-40B4-BE49-F238E27FC236}">
                  <a16:creationId xmlns:a16="http://schemas.microsoft.com/office/drawing/2014/main" id="{1D03210A-1BE3-4337-B5C4-C7A7F84D2C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41326" y="6034130"/>
              <a:ext cx="161854" cy="96102"/>
            </a:xfrm>
            <a:custGeom>
              <a:avLst/>
              <a:gdLst>
                <a:gd name="T0" fmla="*/ 8 w 30"/>
                <a:gd name="T1" fmla="*/ 0 h 18"/>
                <a:gd name="T2" fmla="*/ 4 w 30"/>
                <a:gd name="T3" fmla="*/ 10 h 18"/>
                <a:gd name="T4" fmla="*/ 13 w 30"/>
                <a:gd name="T5" fmla="*/ 18 h 18"/>
                <a:gd name="T6" fmla="*/ 16 w 30"/>
                <a:gd name="T7" fmla="*/ 18 h 18"/>
                <a:gd name="T8" fmla="*/ 17 w 30"/>
                <a:gd name="T9" fmla="*/ 18 h 18"/>
                <a:gd name="T10" fmla="*/ 20 w 30"/>
                <a:gd name="T11" fmla="*/ 18 h 18"/>
                <a:gd name="T12" fmla="*/ 22 w 30"/>
                <a:gd name="T13" fmla="*/ 18 h 18"/>
                <a:gd name="T14" fmla="*/ 30 w 30"/>
                <a:gd name="T15" fmla="*/ 13 h 18"/>
                <a:gd name="T16" fmla="*/ 11 w 30"/>
                <a:gd name="T17" fmla="*/ 0 h 18"/>
                <a:gd name="T18" fmla="*/ 8 w 30"/>
                <a:gd name="T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18">
                  <a:moveTo>
                    <a:pt x="8" y="0"/>
                  </a:moveTo>
                  <a:cubicBezTo>
                    <a:pt x="4" y="0"/>
                    <a:pt x="0" y="4"/>
                    <a:pt x="4" y="10"/>
                  </a:cubicBezTo>
                  <a:cubicBezTo>
                    <a:pt x="5" y="11"/>
                    <a:pt x="10" y="16"/>
                    <a:pt x="13" y="18"/>
                  </a:cubicBezTo>
                  <a:cubicBezTo>
                    <a:pt x="14" y="18"/>
                    <a:pt x="15" y="18"/>
                    <a:pt x="16" y="18"/>
                  </a:cubicBezTo>
                  <a:cubicBezTo>
                    <a:pt x="16" y="18"/>
                    <a:pt x="17" y="18"/>
                    <a:pt x="17" y="18"/>
                  </a:cubicBezTo>
                  <a:cubicBezTo>
                    <a:pt x="18" y="18"/>
                    <a:pt x="19" y="18"/>
                    <a:pt x="20" y="18"/>
                  </a:cubicBezTo>
                  <a:cubicBezTo>
                    <a:pt x="21" y="18"/>
                    <a:pt x="22" y="18"/>
                    <a:pt x="22" y="18"/>
                  </a:cubicBezTo>
                  <a:cubicBezTo>
                    <a:pt x="26" y="17"/>
                    <a:pt x="30" y="15"/>
                    <a:pt x="30" y="13"/>
                  </a:cubicBezTo>
                  <a:cubicBezTo>
                    <a:pt x="30" y="9"/>
                    <a:pt x="15" y="3"/>
                    <a:pt x="11" y="0"/>
                  </a:cubicBezTo>
                  <a:cubicBezTo>
                    <a:pt x="10" y="0"/>
                    <a:pt x="9" y="0"/>
                    <a:pt x="8" y="0"/>
                  </a:cubicBezTo>
                </a:path>
              </a:pathLst>
            </a:custGeom>
            <a:solidFill>
              <a:srgbClr val="2A1C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8" name="Freeform 270">
              <a:extLst>
                <a:ext uri="{FF2B5EF4-FFF2-40B4-BE49-F238E27FC236}">
                  <a16:creationId xmlns:a16="http://schemas.microsoft.com/office/drawing/2014/main" id="{48329C93-EED5-4947-B0EE-708E625FA2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96226" y="5959947"/>
              <a:ext cx="91043" cy="96102"/>
            </a:xfrm>
            <a:custGeom>
              <a:avLst/>
              <a:gdLst>
                <a:gd name="T0" fmla="*/ 5 w 17"/>
                <a:gd name="T1" fmla="*/ 2 h 18"/>
                <a:gd name="T2" fmla="*/ 0 w 17"/>
                <a:gd name="T3" fmla="*/ 11 h 18"/>
                <a:gd name="T4" fmla="*/ 13 w 17"/>
                <a:gd name="T5" fmla="*/ 18 h 18"/>
                <a:gd name="T6" fmla="*/ 16 w 17"/>
                <a:gd name="T7" fmla="*/ 6 h 18"/>
                <a:gd name="T8" fmla="*/ 5 w 17"/>
                <a:gd name="T9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8">
                  <a:moveTo>
                    <a:pt x="5" y="2"/>
                  </a:moveTo>
                  <a:cubicBezTo>
                    <a:pt x="3" y="7"/>
                    <a:pt x="0" y="11"/>
                    <a:pt x="0" y="11"/>
                  </a:cubicBezTo>
                  <a:cubicBezTo>
                    <a:pt x="3" y="15"/>
                    <a:pt x="13" y="18"/>
                    <a:pt x="13" y="18"/>
                  </a:cubicBezTo>
                  <a:cubicBezTo>
                    <a:pt x="15" y="14"/>
                    <a:pt x="14" y="10"/>
                    <a:pt x="16" y="6"/>
                  </a:cubicBezTo>
                  <a:cubicBezTo>
                    <a:pt x="17" y="6"/>
                    <a:pt x="11" y="0"/>
                    <a:pt x="5" y="2"/>
                  </a:cubicBezTo>
                </a:path>
              </a:pathLst>
            </a:custGeom>
            <a:solidFill>
              <a:srgbClr val="FCD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9" name="Freeform 271">
              <a:extLst>
                <a:ext uri="{FF2B5EF4-FFF2-40B4-BE49-F238E27FC236}">
                  <a16:creationId xmlns:a16="http://schemas.microsoft.com/office/drawing/2014/main" id="{2A992130-2F2E-45BD-9CDF-6B9F03ED00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18144" y="5236660"/>
              <a:ext cx="445099" cy="760378"/>
            </a:xfrm>
            <a:custGeom>
              <a:avLst/>
              <a:gdLst>
                <a:gd name="T0" fmla="*/ 34 w 83"/>
                <a:gd name="T1" fmla="*/ 37 h 142"/>
                <a:gd name="T2" fmla="*/ 0 w 83"/>
                <a:gd name="T3" fmla="*/ 138 h 142"/>
                <a:gd name="T4" fmla="*/ 12 w 83"/>
                <a:gd name="T5" fmla="*/ 142 h 142"/>
                <a:gd name="T6" fmla="*/ 69 w 83"/>
                <a:gd name="T7" fmla="*/ 45 h 142"/>
                <a:gd name="T8" fmla="*/ 34 w 83"/>
                <a:gd name="T9" fmla="*/ 37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142">
                  <a:moveTo>
                    <a:pt x="34" y="37"/>
                  </a:moveTo>
                  <a:cubicBezTo>
                    <a:pt x="15" y="92"/>
                    <a:pt x="0" y="138"/>
                    <a:pt x="0" y="138"/>
                  </a:cubicBezTo>
                  <a:cubicBezTo>
                    <a:pt x="5" y="137"/>
                    <a:pt x="10" y="139"/>
                    <a:pt x="12" y="142"/>
                  </a:cubicBezTo>
                  <a:cubicBezTo>
                    <a:pt x="12" y="142"/>
                    <a:pt x="37" y="104"/>
                    <a:pt x="69" y="45"/>
                  </a:cubicBezTo>
                  <a:cubicBezTo>
                    <a:pt x="83" y="21"/>
                    <a:pt x="47" y="0"/>
                    <a:pt x="34" y="37"/>
                  </a:cubicBezTo>
                  <a:close/>
                </a:path>
              </a:pathLst>
            </a:custGeom>
            <a:solidFill>
              <a:srgbClr val="FCD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0" name="Freeform 272">
              <a:extLst>
                <a:ext uri="{FF2B5EF4-FFF2-40B4-BE49-F238E27FC236}">
                  <a16:creationId xmlns:a16="http://schemas.microsoft.com/office/drawing/2014/main" id="{9D40910D-69E3-4A5E-BB46-C990AB2753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95068" y="5997038"/>
              <a:ext cx="177029" cy="139937"/>
            </a:xfrm>
            <a:custGeom>
              <a:avLst/>
              <a:gdLst>
                <a:gd name="T0" fmla="*/ 29 w 33"/>
                <a:gd name="T1" fmla="*/ 1 h 26"/>
                <a:gd name="T2" fmla="*/ 29 w 33"/>
                <a:gd name="T3" fmla="*/ 1 h 26"/>
                <a:gd name="T4" fmla="*/ 19 w 33"/>
                <a:gd name="T5" fmla="*/ 3 h 26"/>
                <a:gd name="T6" fmla="*/ 19 w 33"/>
                <a:gd name="T7" fmla="*/ 4 h 26"/>
                <a:gd name="T8" fmla="*/ 0 w 33"/>
                <a:gd name="T9" fmla="*/ 19 h 26"/>
                <a:gd name="T10" fmla="*/ 9 w 33"/>
                <a:gd name="T11" fmla="*/ 25 h 26"/>
                <a:gd name="T12" fmla="*/ 20 w 33"/>
                <a:gd name="T13" fmla="*/ 24 h 26"/>
                <a:gd name="T14" fmla="*/ 31 w 33"/>
                <a:gd name="T15" fmla="*/ 15 h 26"/>
                <a:gd name="T16" fmla="*/ 32 w 33"/>
                <a:gd name="T17" fmla="*/ 8 h 26"/>
                <a:gd name="T18" fmla="*/ 29 w 33"/>
                <a:gd name="T19" fmla="*/ 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26">
                  <a:moveTo>
                    <a:pt x="29" y="1"/>
                  </a:moveTo>
                  <a:cubicBezTo>
                    <a:pt x="29" y="1"/>
                    <a:pt x="29" y="1"/>
                    <a:pt x="29" y="1"/>
                  </a:cubicBezTo>
                  <a:cubicBezTo>
                    <a:pt x="25" y="0"/>
                    <a:pt x="22" y="1"/>
                    <a:pt x="19" y="3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6" y="7"/>
                    <a:pt x="0" y="14"/>
                    <a:pt x="0" y="19"/>
                  </a:cubicBezTo>
                  <a:cubicBezTo>
                    <a:pt x="0" y="21"/>
                    <a:pt x="5" y="24"/>
                    <a:pt x="9" y="25"/>
                  </a:cubicBezTo>
                  <a:cubicBezTo>
                    <a:pt x="14" y="25"/>
                    <a:pt x="18" y="26"/>
                    <a:pt x="20" y="24"/>
                  </a:cubicBezTo>
                  <a:cubicBezTo>
                    <a:pt x="23" y="23"/>
                    <a:pt x="30" y="16"/>
                    <a:pt x="31" y="15"/>
                  </a:cubicBezTo>
                  <a:cubicBezTo>
                    <a:pt x="32" y="13"/>
                    <a:pt x="32" y="10"/>
                    <a:pt x="32" y="8"/>
                  </a:cubicBezTo>
                  <a:cubicBezTo>
                    <a:pt x="33" y="5"/>
                    <a:pt x="31" y="2"/>
                    <a:pt x="29" y="1"/>
                  </a:cubicBezTo>
                </a:path>
              </a:pathLst>
            </a:custGeom>
            <a:solidFill>
              <a:srgbClr val="6855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pic>
          <p:nvPicPr>
            <p:cNvPr id="3345" name="Picture 273">
              <a:extLst>
                <a:ext uri="{FF2B5EF4-FFF2-40B4-BE49-F238E27FC236}">
                  <a16:creationId xmlns:a16="http://schemas.microsoft.com/office/drawing/2014/main" id="{5001AD79-35B2-447C-BE86-EE9DB8EE0215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32159" y="6104941"/>
              <a:ext cx="64067" cy="472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803" name="Freeform 274">
              <a:extLst>
                <a:ext uri="{FF2B5EF4-FFF2-40B4-BE49-F238E27FC236}">
                  <a16:creationId xmlns:a16="http://schemas.microsoft.com/office/drawing/2014/main" id="{827030FB-6DFC-4D63-8200-EB8B70E2B0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05183" y="6034130"/>
              <a:ext cx="160169" cy="96102"/>
            </a:xfrm>
            <a:custGeom>
              <a:avLst/>
              <a:gdLst>
                <a:gd name="T0" fmla="*/ 22 w 30"/>
                <a:gd name="T1" fmla="*/ 0 h 18"/>
                <a:gd name="T2" fmla="*/ 19 w 30"/>
                <a:gd name="T3" fmla="*/ 0 h 18"/>
                <a:gd name="T4" fmla="*/ 0 w 30"/>
                <a:gd name="T5" fmla="*/ 13 h 18"/>
                <a:gd name="T6" fmla="*/ 8 w 30"/>
                <a:gd name="T7" fmla="*/ 18 h 18"/>
                <a:gd name="T8" fmla="*/ 10 w 30"/>
                <a:gd name="T9" fmla="*/ 18 h 18"/>
                <a:gd name="T10" fmla="*/ 13 w 30"/>
                <a:gd name="T11" fmla="*/ 18 h 18"/>
                <a:gd name="T12" fmla="*/ 14 w 30"/>
                <a:gd name="T13" fmla="*/ 18 h 18"/>
                <a:gd name="T14" fmla="*/ 17 w 30"/>
                <a:gd name="T15" fmla="*/ 18 h 18"/>
                <a:gd name="T16" fmla="*/ 26 w 30"/>
                <a:gd name="T17" fmla="*/ 10 h 18"/>
                <a:gd name="T18" fmla="*/ 22 w 30"/>
                <a:gd name="T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18">
                  <a:moveTo>
                    <a:pt x="22" y="0"/>
                  </a:moveTo>
                  <a:cubicBezTo>
                    <a:pt x="21" y="0"/>
                    <a:pt x="20" y="0"/>
                    <a:pt x="19" y="0"/>
                  </a:cubicBezTo>
                  <a:cubicBezTo>
                    <a:pt x="15" y="3"/>
                    <a:pt x="1" y="9"/>
                    <a:pt x="0" y="13"/>
                  </a:cubicBezTo>
                  <a:cubicBezTo>
                    <a:pt x="0" y="15"/>
                    <a:pt x="4" y="17"/>
                    <a:pt x="8" y="18"/>
                  </a:cubicBezTo>
                  <a:cubicBezTo>
                    <a:pt x="9" y="18"/>
                    <a:pt x="9" y="18"/>
                    <a:pt x="10" y="18"/>
                  </a:cubicBezTo>
                  <a:cubicBezTo>
                    <a:pt x="11" y="18"/>
                    <a:pt x="12" y="18"/>
                    <a:pt x="13" y="18"/>
                  </a:cubicBezTo>
                  <a:cubicBezTo>
                    <a:pt x="13" y="18"/>
                    <a:pt x="14" y="18"/>
                    <a:pt x="14" y="18"/>
                  </a:cubicBezTo>
                  <a:cubicBezTo>
                    <a:pt x="15" y="18"/>
                    <a:pt x="16" y="18"/>
                    <a:pt x="17" y="18"/>
                  </a:cubicBezTo>
                  <a:cubicBezTo>
                    <a:pt x="20" y="16"/>
                    <a:pt x="25" y="11"/>
                    <a:pt x="26" y="10"/>
                  </a:cubicBezTo>
                  <a:cubicBezTo>
                    <a:pt x="30" y="4"/>
                    <a:pt x="26" y="0"/>
                    <a:pt x="22" y="0"/>
                  </a:cubicBezTo>
                </a:path>
              </a:pathLst>
            </a:custGeom>
            <a:solidFill>
              <a:srgbClr val="2A1C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4" name="Freeform 275">
              <a:extLst>
                <a:ext uri="{FF2B5EF4-FFF2-40B4-BE49-F238E27FC236}">
                  <a16:creationId xmlns:a16="http://schemas.microsoft.com/office/drawing/2014/main" id="{9C2AFA88-0131-4058-AEEF-05796B697D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45015" y="4897778"/>
              <a:ext cx="1153212" cy="697997"/>
            </a:xfrm>
            <a:custGeom>
              <a:avLst/>
              <a:gdLst>
                <a:gd name="T0" fmla="*/ 97 w 215"/>
                <a:gd name="T1" fmla="*/ 2 h 130"/>
                <a:gd name="T2" fmla="*/ 8 w 215"/>
                <a:gd name="T3" fmla="*/ 0 h 130"/>
                <a:gd name="T4" fmla="*/ 0 w 215"/>
                <a:gd name="T5" fmla="*/ 66 h 130"/>
                <a:gd name="T6" fmla="*/ 119 w 215"/>
                <a:gd name="T7" fmla="*/ 120 h 130"/>
                <a:gd name="T8" fmla="*/ 215 w 215"/>
                <a:gd name="T9" fmla="*/ 70 h 130"/>
                <a:gd name="T10" fmla="*/ 97 w 215"/>
                <a:gd name="T11" fmla="*/ 2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5" h="130">
                  <a:moveTo>
                    <a:pt x="97" y="2"/>
                  </a:moveTo>
                  <a:cubicBezTo>
                    <a:pt x="86" y="5"/>
                    <a:pt x="12" y="1"/>
                    <a:pt x="8" y="0"/>
                  </a:cubicBezTo>
                  <a:cubicBezTo>
                    <a:pt x="6" y="18"/>
                    <a:pt x="0" y="50"/>
                    <a:pt x="0" y="66"/>
                  </a:cubicBezTo>
                  <a:cubicBezTo>
                    <a:pt x="18" y="92"/>
                    <a:pt x="58" y="130"/>
                    <a:pt x="119" y="120"/>
                  </a:cubicBezTo>
                  <a:cubicBezTo>
                    <a:pt x="160" y="113"/>
                    <a:pt x="179" y="66"/>
                    <a:pt x="215" y="70"/>
                  </a:cubicBezTo>
                  <a:cubicBezTo>
                    <a:pt x="202" y="31"/>
                    <a:pt x="108" y="31"/>
                    <a:pt x="97" y="2"/>
                  </a:cubicBezTo>
                  <a:close/>
                </a:path>
              </a:pathLst>
            </a:custGeom>
            <a:solidFill>
              <a:srgbClr val="6855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5" name="Freeform 276">
              <a:extLst>
                <a:ext uri="{FF2B5EF4-FFF2-40B4-BE49-F238E27FC236}">
                  <a16:creationId xmlns:a16="http://schemas.microsoft.com/office/drawing/2014/main" id="{489D4D0F-897A-4A7F-A170-7EE2413098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318" y="4046357"/>
              <a:ext cx="139937" cy="219178"/>
            </a:xfrm>
            <a:custGeom>
              <a:avLst/>
              <a:gdLst>
                <a:gd name="T0" fmla="*/ 4 w 26"/>
                <a:gd name="T1" fmla="*/ 0 h 41"/>
                <a:gd name="T2" fmla="*/ 0 w 26"/>
                <a:gd name="T3" fmla="*/ 30 h 41"/>
                <a:gd name="T4" fmla="*/ 25 w 26"/>
                <a:gd name="T5" fmla="*/ 31 h 41"/>
                <a:gd name="T6" fmla="*/ 26 w 26"/>
                <a:gd name="T7" fmla="*/ 10 h 41"/>
                <a:gd name="T8" fmla="*/ 4 w 26"/>
                <a:gd name="T9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41">
                  <a:moveTo>
                    <a:pt x="4" y="0"/>
                  </a:moveTo>
                  <a:cubicBezTo>
                    <a:pt x="5" y="6"/>
                    <a:pt x="2" y="26"/>
                    <a:pt x="0" y="30"/>
                  </a:cubicBezTo>
                  <a:cubicBezTo>
                    <a:pt x="5" y="41"/>
                    <a:pt x="24" y="38"/>
                    <a:pt x="25" y="31"/>
                  </a:cubicBezTo>
                  <a:cubicBezTo>
                    <a:pt x="22" y="24"/>
                    <a:pt x="26" y="11"/>
                    <a:pt x="26" y="10"/>
                  </a:cubicBezTo>
                  <a:cubicBezTo>
                    <a:pt x="21" y="10"/>
                    <a:pt x="5" y="1"/>
                    <a:pt x="4" y="0"/>
                  </a:cubicBezTo>
                  <a:close/>
                </a:path>
              </a:pathLst>
            </a:custGeom>
            <a:solidFill>
              <a:srgbClr val="FCD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6" name="Freeform 277">
              <a:extLst>
                <a:ext uri="{FF2B5EF4-FFF2-40B4-BE49-F238E27FC236}">
                  <a16:creationId xmlns:a16="http://schemas.microsoft.com/office/drawing/2014/main" id="{F731F1B5-C41C-4C97-81B2-4429329E97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2211" y="3874387"/>
              <a:ext cx="214120" cy="289989"/>
            </a:xfrm>
            <a:custGeom>
              <a:avLst/>
              <a:gdLst>
                <a:gd name="T0" fmla="*/ 17 w 40"/>
                <a:gd name="T1" fmla="*/ 1 h 54"/>
                <a:gd name="T2" fmla="*/ 1 w 40"/>
                <a:gd name="T3" fmla="*/ 22 h 54"/>
                <a:gd name="T4" fmla="*/ 1 w 40"/>
                <a:gd name="T5" fmla="*/ 33 h 54"/>
                <a:gd name="T6" fmla="*/ 22 w 40"/>
                <a:gd name="T7" fmla="*/ 51 h 54"/>
                <a:gd name="T8" fmla="*/ 40 w 40"/>
                <a:gd name="T9" fmla="*/ 12 h 54"/>
                <a:gd name="T10" fmla="*/ 17 w 40"/>
                <a:gd name="T11" fmla="*/ 1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54">
                  <a:moveTo>
                    <a:pt x="17" y="1"/>
                  </a:moveTo>
                  <a:cubicBezTo>
                    <a:pt x="7" y="2"/>
                    <a:pt x="0" y="11"/>
                    <a:pt x="1" y="22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2" y="41"/>
                    <a:pt x="10" y="54"/>
                    <a:pt x="22" y="51"/>
                  </a:cubicBezTo>
                  <a:cubicBezTo>
                    <a:pt x="39" y="47"/>
                    <a:pt x="40" y="16"/>
                    <a:pt x="40" y="12"/>
                  </a:cubicBezTo>
                  <a:cubicBezTo>
                    <a:pt x="37" y="3"/>
                    <a:pt x="28" y="0"/>
                    <a:pt x="17" y="1"/>
                  </a:cubicBezTo>
                  <a:close/>
                </a:path>
              </a:pathLst>
            </a:custGeom>
            <a:solidFill>
              <a:srgbClr val="FCD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7" name="Freeform 278">
              <a:extLst>
                <a:ext uri="{FF2B5EF4-FFF2-40B4-BE49-F238E27FC236}">
                  <a16:creationId xmlns:a16="http://schemas.microsoft.com/office/drawing/2014/main" id="{CC764B31-6702-416E-A62E-D997315021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45015" y="4186294"/>
              <a:ext cx="627185" cy="900314"/>
            </a:xfrm>
            <a:custGeom>
              <a:avLst/>
              <a:gdLst>
                <a:gd name="T0" fmla="*/ 79 w 117"/>
                <a:gd name="T1" fmla="*/ 5 h 168"/>
                <a:gd name="T2" fmla="*/ 60 w 117"/>
                <a:gd name="T3" fmla="*/ 5 h 168"/>
                <a:gd name="T4" fmla="*/ 55 w 117"/>
                <a:gd name="T5" fmla="*/ 0 h 168"/>
                <a:gd name="T6" fmla="*/ 19 w 117"/>
                <a:gd name="T7" fmla="*/ 57 h 168"/>
                <a:gd name="T8" fmla="*/ 0 w 117"/>
                <a:gd name="T9" fmla="*/ 168 h 168"/>
                <a:gd name="T10" fmla="*/ 101 w 117"/>
                <a:gd name="T11" fmla="*/ 141 h 168"/>
                <a:gd name="T12" fmla="*/ 113 w 117"/>
                <a:gd name="T13" fmla="*/ 61 h 168"/>
                <a:gd name="T14" fmla="*/ 98 w 117"/>
                <a:gd name="T15" fmla="*/ 26 h 168"/>
                <a:gd name="T16" fmla="*/ 79 w 117"/>
                <a:gd name="T17" fmla="*/ 5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7" h="168">
                  <a:moveTo>
                    <a:pt x="79" y="5"/>
                  </a:moveTo>
                  <a:cubicBezTo>
                    <a:pt x="79" y="5"/>
                    <a:pt x="68" y="6"/>
                    <a:pt x="60" y="5"/>
                  </a:cubicBezTo>
                  <a:cubicBezTo>
                    <a:pt x="55" y="4"/>
                    <a:pt x="55" y="0"/>
                    <a:pt x="55" y="0"/>
                  </a:cubicBezTo>
                  <a:cubicBezTo>
                    <a:pt x="55" y="0"/>
                    <a:pt x="19" y="17"/>
                    <a:pt x="19" y="57"/>
                  </a:cubicBezTo>
                  <a:cubicBezTo>
                    <a:pt x="20" y="109"/>
                    <a:pt x="1" y="106"/>
                    <a:pt x="0" y="168"/>
                  </a:cubicBezTo>
                  <a:cubicBezTo>
                    <a:pt x="77" y="168"/>
                    <a:pt x="101" y="141"/>
                    <a:pt x="101" y="141"/>
                  </a:cubicBezTo>
                  <a:cubicBezTo>
                    <a:pt x="83" y="105"/>
                    <a:pt x="110" y="68"/>
                    <a:pt x="113" y="61"/>
                  </a:cubicBezTo>
                  <a:cubicBezTo>
                    <a:pt x="117" y="50"/>
                    <a:pt x="109" y="37"/>
                    <a:pt x="98" y="26"/>
                  </a:cubicBezTo>
                  <a:cubicBezTo>
                    <a:pt x="91" y="19"/>
                    <a:pt x="90" y="8"/>
                    <a:pt x="79" y="5"/>
                  </a:cubicBezTo>
                  <a:close/>
                </a:path>
              </a:pathLst>
            </a:custGeom>
            <a:solidFill>
              <a:srgbClr val="D1DB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8" name="Freeform 279">
              <a:extLst>
                <a:ext uri="{FF2B5EF4-FFF2-40B4-BE49-F238E27FC236}">
                  <a16:creationId xmlns:a16="http://schemas.microsoft.com/office/drawing/2014/main" id="{FEE72735-75FE-4264-9854-CDBB543BEE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59135" y="3761426"/>
              <a:ext cx="369231" cy="424867"/>
            </a:xfrm>
            <a:custGeom>
              <a:avLst/>
              <a:gdLst>
                <a:gd name="T0" fmla="*/ 15 w 69"/>
                <a:gd name="T1" fmla="*/ 13 h 79"/>
                <a:gd name="T2" fmla="*/ 9 w 69"/>
                <a:gd name="T3" fmla="*/ 54 h 79"/>
                <a:gd name="T4" fmla="*/ 19 w 69"/>
                <a:gd name="T5" fmla="*/ 69 h 79"/>
                <a:gd name="T6" fmla="*/ 61 w 69"/>
                <a:gd name="T7" fmla="*/ 39 h 79"/>
                <a:gd name="T8" fmla="*/ 61 w 69"/>
                <a:gd name="T9" fmla="*/ 57 h 79"/>
                <a:gd name="T10" fmla="*/ 60 w 69"/>
                <a:gd name="T11" fmla="*/ 22 h 79"/>
                <a:gd name="T12" fmla="*/ 15 w 69"/>
                <a:gd name="T13" fmla="*/ 13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" h="79">
                  <a:moveTo>
                    <a:pt x="15" y="13"/>
                  </a:moveTo>
                  <a:cubicBezTo>
                    <a:pt x="1" y="24"/>
                    <a:pt x="0" y="41"/>
                    <a:pt x="9" y="54"/>
                  </a:cubicBezTo>
                  <a:cubicBezTo>
                    <a:pt x="13" y="61"/>
                    <a:pt x="12" y="66"/>
                    <a:pt x="19" y="69"/>
                  </a:cubicBezTo>
                  <a:cubicBezTo>
                    <a:pt x="43" y="79"/>
                    <a:pt x="61" y="39"/>
                    <a:pt x="61" y="39"/>
                  </a:cubicBezTo>
                  <a:cubicBezTo>
                    <a:pt x="61" y="39"/>
                    <a:pt x="64" y="48"/>
                    <a:pt x="61" y="57"/>
                  </a:cubicBezTo>
                  <a:cubicBezTo>
                    <a:pt x="69" y="47"/>
                    <a:pt x="68" y="35"/>
                    <a:pt x="60" y="22"/>
                  </a:cubicBezTo>
                  <a:cubicBezTo>
                    <a:pt x="51" y="7"/>
                    <a:pt x="31" y="0"/>
                    <a:pt x="15" y="13"/>
                  </a:cubicBezTo>
                  <a:close/>
                </a:path>
              </a:pathLst>
            </a:custGeom>
            <a:solidFill>
              <a:srgbClr val="BD40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9" name="Freeform 280">
              <a:extLst>
                <a:ext uri="{FF2B5EF4-FFF2-40B4-BE49-F238E27FC236}">
                  <a16:creationId xmlns:a16="http://schemas.microsoft.com/office/drawing/2014/main" id="{43A93E28-585D-4026-8912-A1A497733D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40062" y="3788402"/>
              <a:ext cx="111275" cy="102845"/>
            </a:xfrm>
            <a:custGeom>
              <a:avLst/>
              <a:gdLst>
                <a:gd name="T0" fmla="*/ 5 w 21"/>
                <a:gd name="T1" fmla="*/ 3 h 19"/>
                <a:gd name="T2" fmla="*/ 3 w 21"/>
                <a:gd name="T3" fmla="*/ 16 h 19"/>
                <a:gd name="T4" fmla="*/ 16 w 21"/>
                <a:gd name="T5" fmla="*/ 16 h 19"/>
                <a:gd name="T6" fmla="*/ 18 w 21"/>
                <a:gd name="T7" fmla="*/ 3 h 19"/>
                <a:gd name="T8" fmla="*/ 5 w 21"/>
                <a:gd name="T9" fmla="*/ 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9">
                  <a:moveTo>
                    <a:pt x="5" y="3"/>
                  </a:moveTo>
                  <a:cubicBezTo>
                    <a:pt x="1" y="7"/>
                    <a:pt x="0" y="12"/>
                    <a:pt x="3" y="16"/>
                  </a:cubicBezTo>
                  <a:cubicBezTo>
                    <a:pt x="6" y="19"/>
                    <a:pt x="12" y="19"/>
                    <a:pt x="16" y="16"/>
                  </a:cubicBezTo>
                  <a:cubicBezTo>
                    <a:pt x="20" y="12"/>
                    <a:pt x="21" y="7"/>
                    <a:pt x="18" y="3"/>
                  </a:cubicBezTo>
                  <a:cubicBezTo>
                    <a:pt x="15" y="0"/>
                    <a:pt x="9" y="0"/>
                    <a:pt x="5" y="3"/>
                  </a:cubicBezTo>
                  <a:close/>
                </a:path>
              </a:pathLst>
            </a:custGeom>
            <a:solidFill>
              <a:srgbClr val="194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0" name="Freeform 281">
              <a:extLst>
                <a:ext uri="{FF2B5EF4-FFF2-40B4-BE49-F238E27FC236}">
                  <a16:creationId xmlns:a16="http://schemas.microsoft.com/office/drawing/2014/main" id="{0564E6CE-879D-45CD-BE97-1C4D0C3C9C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5266" y="4786503"/>
              <a:ext cx="59010" cy="47207"/>
            </a:xfrm>
            <a:custGeom>
              <a:avLst/>
              <a:gdLst>
                <a:gd name="T0" fmla="*/ 7 w 11"/>
                <a:gd name="T1" fmla="*/ 2 h 9"/>
                <a:gd name="T2" fmla="*/ 0 w 11"/>
                <a:gd name="T3" fmla="*/ 6 h 9"/>
                <a:gd name="T4" fmla="*/ 4 w 11"/>
                <a:gd name="T5" fmla="*/ 8 h 9"/>
                <a:gd name="T6" fmla="*/ 10 w 11"/>
                <a:gd name="T7" fmla="*/ 1 h 9"/>
                <a:gd name="T8" fmla="*/ 7 w 11"/>
                <a:gd name="T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9">
                  <a:moveTo>
                    <a:pt x="7" y="2"/>
                  </a:moveTo>
                  <a:cubicBezTo>
                    <a:pt x="5" y="3"/>
                    <a:pt x="2" y="5"/>
                    <a:pt x="0" y="6"/>
                  </a:cubicBezTo>
                  <a:cubicBezTo>
                    <a:pt x="0" y="8"/>
                    <a:pt x="2" y="9"/>
                    <a:pt x="4" y="8"/>
                  </a:cubicBezTo>
                  <a:cubicBezTo>
                    <a:pt x="5" y="8"/>
                    <a:pt x="11" y="2"/>
                    <a:pt x="10" y="1"/>
                  </a:cubicBezTo>
                  <a:cubicBezTo>
                    <a:pt x="9" y="0"/>
                    <a:pt x="8" y="1"/>
                    <a:pt x="7" y="2"/>
                  </a:cubicBezTo>
                  <a:close/>
                </a:path>
              </a:pathLst>
            </a:custGeom>
            <a:solidFill>
              <a:srgbClr val="FCD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1" name="Freeform 282">
              <a:extLst>
                <a:ext uri="{FF2B5EF4-FFF2-40B4-BE49-F238E27FC236}">
                  <a16:creationId xmlns:a16="http://schemas.microsoft.com/office/drawing/2014/main" id="{79AFBB91-2F44-4AD5-A62B-577B26F1F4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53232" y="4818536"/>
              <a:ext cx="165226" cy="64067"/>
            </a:xfrm>
            <a:custGeom>
              <a:avLst/>
              <a:gdLst>
                <a:gd name="T0" fmla="*/ 28 w 31"/>
                <a:gd name="T1" fmla="*/ 2 h 12"/>
                <a:gd name="T2" fmla="*/ 10 w 31"/>
                <a:gd name="T3" fmla="*/ 0 h 12"/>
                <a:gd name="T4" fmla="*/ 2 w 31"/>
                <a:gd name="T5" fmla="*/ 0 h 12"/>
                <a:gd name="T6" fmla="*/ 0 w 31"/>
                <a:gd name="T7" fmla="*/ 12 h 12"/>
                <a:gd name="T8" fmla="*/ 19 w 31"/>
                <a:gd name="T9" fmla="*/ 12 h 12"/>
                <a:gd name="T10" fmla="*/ 26 w 31"/>
                <a:gd name="T11" fmla="*/ 9 h 12"/>
                <a:gd name="T12" fmla="*/ 29 w 31"/>
                <a:gd name="T13" fmla="*/ 6 h 12"/>
                <a:gd name="T14" fmla="*/ 31 w 31"/>
                <a:gd name="T15" fmla="*/ 4 h 12"/>
                <a:gd name="T16" fmla="*/ 28 w 31"/>
                <a:gd name="T17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12">
                  <a:moveTo>
                    <a:pt x="28" y="2"/>
                  </a:moveTo>
                  <a:cubicBezTo>
                    <a:pt x="27" y="1"/>
                    <a:pt x="14" y="0"/>
                    <a:pt x="10" y="0"/>
                  </a:cubicBezTo>
                  <a:cubicBezTo>
                    <a:pt x="8" y="0"/>
                    <a:pt x="5" y="0"/>
                    <a:pt x="2" y="0"/>
                  </a:cubicBezTo>
                  <a:cubicBezTo>
                    <a:pt x="2" y="0"/>
                    <a:pt x="0" y="9"/>
                    <a:pt x="0" y="12"/>
                  </a:cubicBezTo>
                  <a:cubicBezTo>
                    <a:pt x="8" y="12"/>
                    <a:pt x="15" y="12"/>
                    <a:pt x="19" y="12"/>
                  </a:cubicBezTo>
                  <a:cubicBezTo>
                    <a:pt x="25" y="12"/>
                    <a:pt x="27" y="11"/>
                    <a:pt x="26" y="9"/>
                  </a:cubicBezTo>
                  <a:cubicBezTo>
                    <a:pt x="26" y="9"/>
                    <a:pt x="30" y="9"/>
                    <a:pt x="29" y="6"/>
                  </a:cubicBezTo>
                  <a:cubicBezTo>
                    <a:pt x="29" y="6"/>
                    <a:pt x="31" y="5"/>
                    <a:pt x="31" y="4"/>
                  </a:cubicBezTo>
                  <a:cubicBezTo>
                    <a:pt x="31" y="2"/>
                    <a:pt x="28" y="2"/>
                    <a:pt x="28" y="2"/>
                  </a:cubicBezTo>
                  <a:close/>
                </a:path>
              </a:pathLst>
            </a:custGeom>
            <a:solidFill>
              <a:srgbClr val="FCD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2" name="Freeform 283">
              <a:extLst>
                <a:ext uri="{FF2B5EF4-FFF2-40B4-BE49-F238E27FC236}">
                  <a16:creationId xmlns:a16="http://schemas.microsoft.com/office/drawing/2014/main" id="{DEFC3527-421C-4AF1-917F-F5B7029BEA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13191" y="4710634"/>
              <a:ext cx="467018" cy="171970"/>
            </a:xfrm>
            <a:custGeom>
              <a:avLst/>
              <a:gdLst>
                <a:gd name="T0" fmla="*/ 11 w 87"/>
                <a:gd name="T1" fmla="*/ 0 h 32"/>
                <a:gd name="T2" fmla="*/ 0 w 87"/>
                <a:gd name="T3" fmla="*/ 13 h 32"/>
                <a:gd name="T4" fmla="*/ 82 w 87"/>
                <a:gd name="T5" fmla="*/ 32 h 32"/>
                <a:gd name="T6" fmla="*/ 87 w 87"/>
                <a:gd name="T7" fmla="*/ 21 h 32"/>
                <a:gd name="T8" fmla="*/ 13 w 87"/>
                <a:gd name="T9" fmla="*/ 1 h 32"/>
                <a:gd name="T10" fmla="*/ 11 w 87"/>
                <a:gd name="T1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" h="32">
                  <a:moveTo>
                    <a:pt x="11" y="0"/>
                  </a:moveTo>
                  <a:cubicBezTo>
                    <a:pt x="7" y="0"/>
                    <a:pt x="0" y="4"/>
                    <a:pt x="0" y="13"/>
                  </a:cubicBezTo>
                  <a:cubicBezTo>
                    <a:pt x="1" y="23"/>
                    <a:pt x="62" y="30"/>
                    <a:pt x="82" y="32"/>
                  </a:cubicBezTo>
                  <a:cubicBezTo>
                    <a:pt x="83" y="29"/>
                    <a:pt x="85" y="25"/>
                    <a:pt x="87" y="21"/>
                  </a:cubicBezTo>
                  <a:cubicBezTo>
                    <a:pt x="72" y="18"/>
                    <a:pt x="26" y="6"/>
                    <a:pt x="13" y="1"/>
                  </a:cubicBezTo>
                  <a:cubicBezTo>
                    <a:pt x="13" y="0"/>
                    <a:pt x="12" y="0"/>
                    <a:pt x="11" y="0"/>
                  </a:cubicBezTo>
                  <a:close/>
                </a:path>
              </a:pathLst>
            </a:custGeom>
            <a:solidFill>
              <a:srgbClr val="FCD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3" name="Freeform 284">
              <a:extLst>
                <a:ext uri="{FF2B5EF4-FFF2-40B4-BE49-F238E27FC236}">
                  <a16:creationId xmlns:a16="http://schemas.microsoft.com/office/drawing/2014/main" id="{B6918007-7F7A-46AD-98CE-DE95839299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40062" y="4302626"/>
              <a:ext cx="386090" cy="499051"/>
            </a:xfrm>
            <a:custGeom>
              <a:avLst/>
              <a:gdLst>
                <a:gd name="T0" fmla="*/ 35 w 72"/>
                <a:gd name="T1" fmla="*/ 2 h 93"/>
                <a:gd name="T2" fmla="*/ 7 w 72"/>
                <a:gd name="T3" fmla="*/ 17 h 93"/>
                <a:gd name="T4" fmla="*/ 47 w 72"/>
                <a:gd name="T5" fmla="*/ 87 h 93"/>
                <a:gd name="T6" fmla="*/ 61 w 72"/>
                <a:gd name="T7" fmla="*/ 71 h 93"/>
                <a:gd name="T8" fmla="*/ 35 w 72"/>
                <a:gd name="T9" fmla="*/ 2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93">
                  <a:moveTo>
                    <a:pt x="35" y="2"/>
                  </a:moveTo>
                  <a:cubicBezTo>
                    <a:pt x="33" y="0"/>
                    <a:pt x="10" y="13"/>
                    <a:pt x="7" y="17"/>
                  </a:cubicBezTo>
                  <a:cubicBezTo>
                    <a:pt x="0" y="25"/>
                    <a:pt x="33" y="72"/>
                    <a:pt x="47" y="87"/>
                  </a:cubicBezTo>
                  <a:cubicBezTo>
                    <a:pt x="53" y="93"/>
                    <a:pt x="72" y="93"/>
                    <a:pt x="61" y="71"/>
                  </a:cubicBezTo>
                  <a:cubicBezTo>
                    <a:pt x="52" y="53"/>
                    <a:pt x="41" y="13"/>
                    <a:pt x="35" y="2"/>
                  </a:cubicBezTo>
                  <a:close/>
                </a:path>
              </a:pathLst>
            </a:custGeom>
            <a:solidFill>
              <a:srgbClr val="FCD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4" name="Freeform 285">
              <a:extLst>
                <a:ext uri="{FF2B5EF4-FFF2-40B4-BE49-F238E27FC236}">
                  <a16:creationId xmlns:a16="http://schemas.microsoft.com/office/drawing/2014/main" id="{CC966A13-11D2-4550-ABBF-FF7B5182A6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28260" y="4238559"/>
              <a:ext cx="295047" cy="429926"/>
            </a:xfrm>
            <a:custGeom>
              <a:avLst/>
              <a:gdLst>
                <a:gd name="T0" fmla="*/ 33 w 55"/>
                <a:gd name="T1" fmla="*/ 6 h 80"/>
                <a:gd name="T2" fmla="*/ 4 w 55"/>
                <a:gd name="T3" fmla="*/ 27 h 80"/>
                <a:gd name="T4" fmla="*/ 30 w 55"/>
                <a:gd name="T5" fmla="*/ 80 h 80"/>
                <a:gd name="T6" fmla="*/ 55 w 55"/>
                <a:gd name="T7" fmla="*/ 54 h 80"/>
                <a:gd name="T8" fmla="*/ 52 w 55"/>
                <a:gd name="T9" fmla="*/ 45 h 80"/>
                <a:gd name="T10" fmla="*/ 33 w 55"/>
                <a:gd name="T11" fmla="*/ 6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5" h="80">
                  <a:moveTo>
                    <a:pt x="33" y="6"/>
                  </a:moveTo>
                  <a:cubicBezTo>
                    <a:pt x="30" y="0"/>
                    <a:pt x="10" y="14"/>
                    <a:pt x="4" y="27"/>
                  </a:cubicBezTo>
                  <a:cubicBezTo>
                    <a:pt x="0" y="36"/>
                    <a:pt x="15" y="61"/>
                    <a:pt x="30" y="80"/>
                  </a:cubicBezTo>
                  <a:cubicBezTo>
                    <a:pt x="35" y="69"/>
                    <a:pt x="44" y="60"/>
                    <a:pt x="55" y="54"/>
                  </a:cubicBezTo>
                  <a:cubicBezTo>
                    <a:pt x="54" y="51"/>
                    <a:pt x="53" y="48"/>
                    <a:pt x="52" y="45"/>
                  </a:cubicBezTo>
                  <a:cubicBezTo>
                    <a:pt x="47" y="31"/>
                    <a:pt x="41" y="17"/>
                    <a:pt x="33" y="6"/>
                  </a:cubicBezTo>
                  <a:close/>
                </a:path>
              </a:pathLst>
            </a:custGeom>
            <a:solidFill>
              <a:srgbClr val="D1DB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5" name="Freeform 286">
              <a:extLst>
                <a:ext uri="{FF2B5EF4-FFF2-40B4-BE49-F238E27FC236}">
                  <a16:creationId xmlns:a16="http://schemas.microsoft.com/office/drawing/2014/main" id="{BAC1DD27-0A03-471E-AA67-2246E6D691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24152" y="5465953"/>
              <a:ext cx="257956" cy="664277"/>
            </a:xfrm>
            <a:custGeom>
              <a:avLst/>
              <a:gdLst>
                <a:gd name="T0" fmla="*/ 0 w 153"/>
                <a:gd name="T1" fmla="*/ 394 h 394"/>
                <a:gd name="T2" fmla="*/ 16 w 153"/>
                <a:gd name="T3" fmla="*/ 394 h 394"/>
                <a:gd name="T4" fmla="*/ 153 w 153"/>
                <a:gd name="T5" fmla="*/ 0 h 394"/>
                <a:gd name="T6" fmla="*/ 137 w 153"/>
                <a:gd name="T7" fmla="*/ 0 h 394"/>
                <a:gd name="T8" fmla="*/ 0 w 153"/>
                <a:gd name="T9" fmla="*/ 394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394">
                  <a:moveTo>
                    <a:pt x="0" y="394"/>
                  </a:moveTo>
                  <a:lnTo>
                    <a:pt x="16" y="394"/>
                  </a:lnTo>
                  <a:lnTo>
                    <a:pt x="153" y="0"/>
                  </a:lnTo>
                  <a:lnTo>
                    <a:pt x="137" y="0"/>
                  </a:lnTo>
                  <a:lnTo>
                    <a:pt x="0" y="394"/>
                  </a:lnTo>
                  <a:close/>
                </a:path>
              </a:pathLst>
            </a:custGeom>
            <a:solidFill>
              <a:srgbClr val="194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6" name="Freeform 287">
              <a:extLst>
                <a:ext uri="{FF2B5EF4-FFF2-40B4-BE49-F238E27FC236}">
                  <a16:creationId xmlns:a16="http://schemas.microsoft.com/office/drawing/2014/main" id="{2A7BB72D-C1C7-4747-B7F4-FC994243A3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10241" y="5465953"/>
              <a:ext cx="257956" cy="664277"/>
            </a:xfrm>
            <a:custGeom>
              <a:avLst/>
              <a:gdLst>
                <a:gd name="T0" fmla="*/ 0 w 153"/>
                <a:gd name="T1" fmla="*/ 394 h 394"/>
                <a:gd name="T2" fmla="*/ 16 w 153"/>
                <a:gd name="T3" fmla="*/ 394 h 394"/>
                <a:gd name="T4" fmla="*/ 153 w 153"/>
                <a:gd name="T5" fmla="*/ 0 h 394"/>
                <a:gd name="T6" fmla="*/ 137 w 153"/>
                <a:gd name="T7" fmla="*/ 0 h 394"/>
                <a:gd name="T8" fmla="*/ 0 w 153"/>
                <a:gd name="T9" fmla="*/ 394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394">
                  <a:moveTo>
                    <a:pt x="0" y="394"/>
                  </a:moveTo>
                  <a:lnTo>
                    <a:pt x="16" y="394"/>
                  </a:lnTo>
                  <a:lnTo>
                    <a:pt x="153" y="0"/>
                  </a:lnTo>
                  <a:lnTo>
                    <a:pt x="137" y="0"/>
                  </a:lnTo>
                  <a:lnTo>
                    <a:pt x="0" y="394"/>
                  </a:lnTo>
                  <a:close/>
                </a:path>
              </a:pathLst>
            </a:custGeom>
            <a:solidFill>
              <a:srgbClr val="194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7" name="Freeform 288">
              <a:extLst>
                <a:ext uri="{FF2B5EF4-FFF2-40B4-BE49-F238E27FC236}">
                  <a16:creationId xmlns:a16="http://schemas.microsoft.com/office/drawing/2014/main" id="{A1736184-A87C-48D9-A860-CA23798951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65142" y="4486398"/>
              <a:ext cx="1191990" cy="979556"/>
            </a:xfrm>
            <a:custGeom>
              <a:avLst/>
              <a:gdLst>
                <a:gd name="T0" fmla="*/ 211 w 222"/>
                <a:gd name="T1" fmla="*/ 162 h 183"/>
                <a:gd name="T2" fmla="*/ 172 w 222"/>
                <a:gd name="T3" fmla="*/ 162 h 183"/>
                <a:gd name="T4" fmla="*/ 132 w 222"/>
                <a:gd name="T5" fmla="*/ 132 h 183"/>
                <a:gd name="T6" fmla="*/ 113 w 222"/>
                <a:gd name="T7" fmla="*/ 54 h 183"/>
                <a:gd name="T8" fmla="*/ 49 w 222"/>
                <a:gd name="T9" fmla="*/ 0 h 183"/>
                <a:gd name="T10" fmla="*/ 5 w 222"/>
                <a:gd name="T11" fmla="*/ 54 h 183"/>
                <a:gd name="T12" fmla="*/ 36 w 222"/>
                <a:gd name="T13" fmla="*/ 171 h 183"/>
                <a:gd name="T14" fmla="*/ 51 w 222"/>
                <a:gd name="T15" fmla="*/ 183 h 183"/>
                <a:gd name="T16" fmla="*/ 211 w 222"/>
                <a:gd name="T17" fmla="*/ 183 h 183"/>
                <a:gd name="T18" fmla="*/ 222 w 222"/>
                <a:gd name="T19" fmla="*/ 172 h 183"/>
                <a:gd name="T20" fmla="*/ 211 w 222"/>
                <a:gd name="T21" fmla="*/ 162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2" h="183">
                  <a:moveTo>
                    <a:pt x="211" y="162"/>
                  </a:moveTo>
                  <a:cubicBezTo>
                    <a:pt x="172" y="162"/>
                    <a:pt x="172" y="162"/>
                    <a:pt x="172" y="162"/>
                  </a:cubicBezTo>
                  <a:cubicBezTo>
                    <a:pt x="154" y="162"/>
                    <a:pt x="135" y="149"/>
                    <a:pt x="132" y="132"/>
                  </a:cubicBezTo>
                  <a:cubicBezTo>
                    <a:pt x="113" y="54"/>
                    <a:pt x="113" y="54"/>
                    <a:pt x="113" y="54"/>
                  </a:cubicBezTo>
                  <a:cubicBezTo>
                    <a:pt x="108" y="24"/>
                    <a:pt x="79" y="0"/>
                    <a:pt x="49" y="0"/>
                  </a:cubicBezTo>
                  <a:cubicBezTo>
                    <a:pt x="19" y="0"/>
                    <a:pt x="0" y="24"/>
                    <a:pt x="5" y="54"/>
                  </a:cubicBezTo>
                  <a:cubicBezTo>
                    <a:pt x="36" y="171"/>
                    <a:pt x="36" y="171"/>
                    <a:pt x="36" y="171"/>
                  </a:cubicBezTo>
                  <a:cubicBezTo>
                    <a:pt x="37" y="178"/>
                    <a:pt x="44" y="183"/>
                    <a:pt x="51" y="183"/>
                  </a:cubicBezTo>
                  <a:cubicBezTo>
                    <a:pt x="211" y="183"/>
                    <a:pt x="211" y="183"/>
                    <a:pt x="211" y="183"/>
                  </a:cubicBezTo>
                  <a:cubicBezTo>
                    <a:pt x="217" y="183"/>
                    <a:pt x="222" y="178"/>
                    <a:pt x="222" y="172"/>
                  </a:cubicBezTo>
                  <a:cubicBezTo>
                    <a:pt x="222" y="166"/>
                    <a:pt x="217" y="162"/>
                    <a:pt x="211" y="162"/>
                  </a:cubicBezTo>
                  <a:close/>
                </a:path>
              </a:pathLst>
            </a:custGeom>
            <a:solidFill>
              <a:srgbClr val="194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8" name="Freeform 289">
              <a:extLst>
                <a:ext uri="{FF2B5EF4-FFF2-40B4-BE49-F238E27FC236}">
                  <a16:creationId xmlns:a16="http://schemas.microsoft.com/office/drawing/2014/main" id="{F95102AC-01E0-452E-AA22-CB8A7888E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24152" y="4486398"/>
              <a:ext cx="1132980" cy="979556"/>
            </a:xfrm>
            <a:custGeom>
              <a:avLst/>
              <a:gdLst>
                <a:gd name="T0" fmla="*/ 200 w 211"/>
                <a:gd name="T1" fmla="*/ 162 h 183"/>
                <a:gd name="T2" fmla="*/ 161 w 211"/>
                <a:gd name="T3" fmla="*/ 162 h 183"/>
                <a:gd name="T4" fmla="*/ 121 w 211"/>
                <a:gd name="T5" fmla="*/ 132 h 183"/>
                <a:gd name="T6" fmla="*/ 102 w 211"/>
                <a:gd name="T7" fmla="*/ 54 h 183"/>
                <a:gd name="T8" fmla="*/ 38 w 211"/>
                <a:gd name="T9" fmla="*/ 0 h 183"/>
                <a:gd name="T10" fmla="*/ 0 w 211"/>
                <a:gd name="T11" fmla="*/ 21 h 183"/>
                <a:gd name="T12" fmla="*/ 24 w 211"/>
                <a:gd name="T13" fmla="*/ 15 h 183"/>
                <a:gd name="T14" fmla="*/ 88 w 211"/>
                <a:gd name="T15" fmla="*/ 69 h 183"/>
                <a:gd name="T16" fmla="*/ 106 w 211"/>
                <a:gd name="T17" fmla="*/ 146 h 183"/>
                <a:gd name="T18" fmla="*/ 147 w 211"/>
                <a:gd name="T19" fmla="*/ 176 h 183"/>
                <a:gd name="T20" fmla="*/ 185 w 211"/>
                <a:gd name="T21" fmla="*/ 176 h 183"/>
                <a:gd name="T22" fmla="*/ 195 w 211"/>
                <a:gd name="T23" fmla="*/ 183 h 183"/>
                <a:gd name="T24" fmla="*/ 200 w 211"/>
                <a:gd name="T25" fmla="*/ 183 h 183"/>
                <a:gd name="T26" fmla="*/ 211 w 211"/>
                <a:gd name="T27" fmla="*/ 172 h 183"/>
                <a:gd name="T28" fmla="*/ 200 w 211"/>
                <a:gd name="T29" fmla="*/ 162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1" h="183">
                  <a:moveTo>
                    <a:pt x="200" y="162"/>
                  </a:moveTo>
                  <a:cubicBezTo>
                    <a:pt x="161" y="162"/>
                    <a:pt x="161" y="162"/>
                    <a:pt x="161" y="162"/>
                  </a:cubicBezTo>
                  <a:cubicBezTo>
                    <a:pt x="143" y="162"/>
                    <a:pt x="124" y="149"/>
                    <a:pt x="121" y="132"/>
                  </a:cubicBezTo>
                  <a:cubicBezTo>
                    <a:pt x="102" y="54"/>
                    <a:pt x="102" y="54"/>
                    <a:pt x="102" y="54"/>
                  </a:cubicBezTo>
                  <a:cubicBezTo>
                    <a:pt x="97" y="24"/>
                    <a:pt x="68" y="0"/>
                    <a:pt x="38" y="0"/>
                  </a:cubicBezTo>
                  <a:cubicBezTo>
                    <a:pt x="21" y="0"/>
                    <a:pt x="7" y="8"/>
                    <a:pt x="0" y="21"/>
                  </a:cubicBezTo>
                  <a:cubicBezTo>
                    <a:pt x="6" y="17"/>
                    <a:pt x="14" y="15"/>
                    <a:pt x="24" y="15"/>
                  </a:cubicBezTo>
                  <a:cubicBezTo>
                    <a:pt x="53" y="15"/>
                    <a:pt x="82" y="39"/>
                    <a:pt x="88" y="69"/>
                  </a:cubicBezTo>
                  <a:cubicBezTo>
                    <a:pt x="106" y="146"/>
                    <a:pt x="106" y="146"/>
                    <a:pt x="106" y="146"/>
                  </a:cubicBezTo>
                  <a:cubicBezTo>
                    <a:pt x="110" y="164"/>
                    <a:pt x="129" y="176"/>
                    <a:pt x="147" y="176"/>
                  </a:cubicBezTo>
                  <a:cubicBezTo>
                    <a:pt x="185" y="176"/>
                    <a:pt x="185" y="176"/>
                    <a:pt x="185" y="176"/>
                  </a:cubicBezTo>
                  <a:cubicBezTo>
                    <a:pt x="190" y="176"/>
                    <a:pt x="193" y="179"/>
                    <a:pt x="195" y="183"/>
                  </a:cubicBezTo>
                  <a:cubicBezTo>
                    <a:pt x="200" y="183"/>
                    <a:pt x="200" y="183"/>
                    <a:pt x="200" y="183"/>
                  </a:cubicBezTo>
                  <a:cubicBezTo>
                    <a:pt x="206" y="183"/>
                    <a:pt x="211" y="178"/>
                    <a:pt x="211" y="172"/>
                  </a:cubicBezTo>
                  <a:cubicBezTo>
                    <a:pt x="211" y="167"/>
                    <a:pt x="206" y="162"/>
                    <a:pt x="200" y="162"/>
                  </a:cubicBezTo>
                  <a:close/>
                </a:path>
              </a:pathLst>
            </a:custGeom>
            <a:solidFill>
              <a:srgbClr val="1231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9" name="Freeform 290">
              <a:extLst>
                <a:ext uri="{FF2B5EF4-FFF2-40B4-BE49-F238E27FC236}">
                  <a16:creationId xmlns:a16="http://schemas.microsoft.com/office/drawing/2014/main" id="{3C0AE94E-F383-452B-BCD6-831256DDF2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14350" y="5465953"/>
              <a:ext cx="252897" cy="664277"/>
            </a:xfrm>
            <a:custGeom>
              <a:avLst/>
              <a:gdLst>
                <a:gd name="T0" fmla="*/ 0 w 150"/>
                <a:gd name="T1" fmla="*/ 0 h 394"/>
                <a:gd name="T2" fmla="*/ 134 w 150"/>
                <a:gd name="T3" fmla="*/ 394 h 394"/>
                <a:gd name="T4" fmla="*/ 150 w 150"/>
                <a:gd name="T5" fmla="*/ 394 h 394"/>
                <a:gd name="T6" fmla="*/ 13 w 150"/>
                <a:gd name="T7" fmla="*/ 0 h 394"/>
                <a:gd name="T8" fmla="*/ 0 w 150"/>
                <a:gd name="T9" fmla="*/ 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0" h="394">
                  <a:moveTo>
                    <a:pt x="0" y="0"/>
                  </a:moveTo>
                  <a:lnTo>
                    <a:pt x="134" y="394"/>
                  </a:lnTo>
                  <a:lnTo>
                    <a:pt x="150" y="394"/>
                  </a:lnTo>
                  <a:lnTo>
                    <a:pt x="1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31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20" name="Freeform 291">
              <a:extLst>
                <a:ext uri="{FF2B5EF4-FFF2-40B4-BE49-F238E27FC236}">
                  <a16:creationId xmlns:a16="http://schemas.microsoft.com/office/drawing/2014/main" id="{0A780864-AFBB-4B55-A798-BBF08FC2EF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28260" y="5465953"/>
              <a:ext cx="252897" cy="664277"/>
            </a:xfrm>
            <a:custGeom>
              <a:avLst/>
              <a:gdLst>
                <a:gd name="T0" fmla="*/ 0 w 150"/>
                <a:gd name="T1" fmla="*/ 0 h 394"/>
                <a:gd name="T2" fmla="*/ 134 w 150"/>
                <a:gd name="T3" fmla="*/ 394 h 394"/>
                <a:gd name="T4" fmla="*/ 150 w 150"/>
                <a:gd name="T5" fmla="*/ 394 h 394"/>
                <a:gd name="T6" fmla="*/ 16 w 150"/>
                <a:gd name="T7" fmla="*/ 0 h 394"/>
                <a:gd name="T8" fmla="*/ 0 w 150"/>
                <a:gd name="T9" fmla="*/ 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0" h="394">
                  <a:moveTo>
                    <a:pt x="0" y="0"/>
                  </a:moveTo>
                  <a:lnTo>
                    <a:pt x="134" y="394"/>
                  </a:lnTo>
                  <a:lnTo>
                    <a:pt x="150" y="394"/>
                  </a:lnTo>
                  <a:lnTo>
                    <a:pt x="1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31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21" name="Freeform 292">
              <a:extLst>
                <a:ext uri="{FF2B5EF4-FFF2-40B4-BE49-F238E27FC236}">
                  <a16:creationId xmlns:a16="http://schemas.microsoft.com/office/drawing/2014/main" id="{403C0388-61EB-4287-9493-E0FA846232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2117" y="3542249"/>
              <a:ext cx="632244" cy="1077343"/>
            </a:xfrm>
            <a:custGeom>
              <a:avLst/>
              <a:gdLst>
                <a:gd name="T0" fmla="*/ 49 w 118"/>
                <a:gd name="T1" fmla="*/ 78 h 201"/>
                <a:gd name="T2" fmla="*/ 34 w 118"/>
                <a:gd name="T3" fmla="*/ 111 h 201"/>
                <a:gd name="T4" fmla="*/ 67 w 118"/>
                <a:gd name="T5" fmla="*/ 177 h 201"/>
                <a:gd name="T6" fmla="*/ 75 w 118"/>
                <a:gd name="T7" fmla="*/ 139 h 201"/>
                <a:gd name="T8" fmla="*/ 92 w 118"/>
                <a:gd name="T9" fmla="*/ 88 h 201"/>
                <a:gd name="T10" fmla="*/ 108 w 118"/>
                <a:gd name="T11" fmla="*/ 59 h 201"/>
                <a:gd name="T12" fmla="*/ 117 w 118"/>
                <a:gd name="T13" fmla="*/ 52 h 201"/>
                <a:gd name="T14" fmla="*/ 49 w 118"/>
                <a:gd name="T15" fmla="*/ 78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8" h="201">
                  <a:moveTo>
                    <a:pt x="49" y="78"/>
                  </a:moveTo>
                  <a:cubicBezTo>
                    <a:pt x="47" y="101"/>
                    <a:pt x="41" y="104"/>
                    <a:pt x="34" y="111"/>
                  </a:cubicBezTo>
                  <a:cubicBezTo>
                    <a:pt x="0" y="147"/>
                    <a:pt x="62" y="201"/>
                    <a:pt x="67" y="177"/>
                  </a:cubicBezTo>
                  <a:cubicBezTo>
                    <a:pt x="69" y="167"/>
                    <a:pt x="43" y="159"/>
                    <a:pt x="75" y="139"/>
                  </a:cubicBezTo>
                  <a:cubicBezTo>
                    <a:pt x="111" y="117"/>
                    <a:pt x="95" y="101"/>
                    <a:pt x="92" y="88"/>
                  </a:cubicBezTo>
                  <a:cubicBezTo>
                    <a:pt x="78" y="40"/>
                    <a:pt x="101" y="55"/>
                    <a:pt x="108" y="59"/>
                  </a:cubicBezTo>
                  <a:cubicBezTo>
                    <a:pt x="114" y="62"/>
                    <a:pt x="118" y="58"/>
                    <a:pt x="117" y="52"/>
                  </a:cubicBezTo>
                  <a:cubicBezTo>
                    <a:pt x="112" y="32"/>
                    <a:pt x="56" y="0"/>
                    <a:pt x="49" y="78"/>
                  </a:cubicBezTo>
                  <a:close/>
                </a:path>
              </a:pathLst>
            </a:custGeom>
            <a:solidFill>
              <a:srgbClr val="BD40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22" name="Freeform 293">
              <a:extLst>
                <a:ext uri="{FF2B5EF4-FFF2-40B4-BE49-F238E27FC236}">
                  <a16:creationId xmlns:a16="http://schemas.microsoft.com/office/drawing/2014/main" id="{E5875790-260C-441B-AF9F-2442B243E1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90114" y="3901362"/>
              <a:ext cx="138251" cy="155110"/>
            </a:xfrm>
            <a:custGeom>
              <a:avLst/>
              <a:gdLst>
                <a:gd name="T0" fmla="*/ 17 w 26"/>
                <a:gd name="T1" fmla="*/ 2 h 29"/>
                <a:gd name="T2" fmla="*/ 3 w 26"/>
                <a:gd name="T3" fmla="*/ 11 h 29"/>
                <a:gd name="T4" fmla="*/ 9 w 26"/>
                <a:gd name="T5" fmla="*/ 27 h 29"/>
                <a:gd name="T6" fmla="*/ 23 w 26"/>
                <a:gd name="T7" fmla="*/ 18 h 29"/>
                <a:gd name="T8" fmla="*/ 17 w 26"/>
                <a:gd name="T9" fmla="*/ 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29">
                  <a:moveTo>
                    <a:pt x="17" y="2"/>
                  </a:moveTo>
                  <a:cubicBezTo>
                    <a:pt x="12" y="0"/>
                    <a:pt x="5" y="4"/>
                    <a:pt x="3" y="11"/>
                  </a:cubicBezTo>
                  <a:cubicBezTo>
                    <a:pt x="0" y="18"/>
                    <a:pt x="3" y="25"/>
                    <a:pt x="9" y="27"/>
                  </a:cubicBezTo>
                  <a:cubicBezTo>
                    <a:pt x="14" y="29"/>
                    <a:pt x="21" y="25"/>
                    <a:pt x="23" y="18"/>
                  </a:cubicBezTo>
                  <a:cubicBezTo>
                    <a:pt x="26" y="11"/>
                    <a:pt x="23" y="4"/>
                    <a:pt x="17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23" name="Freeform 294">
              <a:extLst>
                <a:ext uri="{FF2B5EF4-FFF2-40B4-BE49-F238E27FC236}">
                  <a16:creationId xmlns:a16="http://schemas.microsoft.com/office/drawing/2014/main" id="{60F89E82-06C7-45D4-A395-5EF528940B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27205" y="3928338"/>
              <a:ext cx="101159" cy="118019"/>
            </a:xfrm>
            <a:custGeom>
              <a:avLst/>
              <a:gdLst>
                <a:gd name="T0" fmla="*/ 13 w 19"/>
                <a:gd name="T1" fmla="*/ 1 h 22"/>
                <a:gd name="T2" fmla="*/ 2 w 19"/>
                <a:gd name="T3" fmla="*/ 8 h 22"/>
                <a:gd name="T4" fmla="*/ 7 w 19"/>
                <a:gd name="T5" fmla="*/ 20 h 22"/>
                <a:gd name="T6" fmla="*/ 18 w 19"/>
                <a:gd name="T7" fmla="*/ 13 h 22"/>
                <a:gd name="T8" fmla="*/ 13 w 19"/>
                <a:gd name="T9" fmla="*/ 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2">
                  <a:moveTo>
                    <a:pt x="13" y="1"/>
                  </a:moveTo>
                  <a:cubicBezTo>
                    <a:pt x="9" y="0"/>
                    <a:pt x="4" y="3"/>
                    <a:pt x="2" y="8"/>
                  </a:cubicBezTo>
                  <a:cubicBezTo>
                    <a:pt x="0" y="13"/>
                    <a:pt x="2" y="19"/>
                    <a:pt x="7" y="20"/>
                  </a:cubicBezTo>
                  <a:cubicBezTo>
                    <a:pt x="11" y="22"/>
                    <a:pt x="16" y="19"/>
                    <a:pt x="18" y="13"/>
                  </a:cubicBezTo>
                  <a:cubicBezTo>
                    <a:pt x="19" y="8"/>
                    <a:pt x="17" y="3"/>
                    <a:pt x="13" y="1"/>
                  </a:cubicBezTo>
                  <a:close/>
                </a:path>
              </a:pathLst>
            </a:custGeom>
            <a:solidFill>
              <a:srgbClr val="FFC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28" name="Freeform 295">
              <a:extLst>
                <a:ext uri="{FF2B5EF4-FFF2-40B4-BE49-F238E27FC236}">
                  <a16:creationId xmlns:a16="http://schemas.microsoft.com/office/drawing/2014/main" id="{EF9D384B-7CE2-4E88-A036-1199AC5C6A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73254" y="3793459"/>
              <a:ext cx="112961" cy="124763"/>
            </a:xfrm>
            <a:custGeom>
              <a:avLst/>
              <a:gdLst>
                <a:gd name="T0" fmla="*/ 14 w 21"/>
                <a:gd name="T1" fmla="*/ 7 h 23"/>
                <a:gd name="T2" fmla="*/ 7 w 21"/>
                <a:gd name="T3" fmla="*/ 2 h 23"/>
                <a:gd name="T4" fmla="*/ 0 w 21"/>
                <a:gd name="T5" fmla="*/ 0 h 23"/>
                <a:gd name="T6" fmla="*/ 6 w 21"/>
                <a:gd name="T7" fmla="*/ 4 h 23"/>
                <a:gd name="T8" fmla="*/ 11 w 21"/>
                <a:gd name="T9" fmla="*/ 10 h 23"/>
                <a:gd name="T10" fmla="*/ 13 w 21"/>
                <a:gd name="T11" fmla="*/ 17 h 23"/>
                <a:gd name="T12" fmla="*/ 13 w 21"/>
                <a:gd name="T13" fmla="*/ 23 h 23"/>
                <a:gd name="T14" fmla="*/ 21 w 21"/>
                <a:gd name="T15" fmla="*/ 23 h 23"/>
                <a:gd name="T16" fmla="*/ 19 w 21"/>
                <a:gd name="T17" fmla="*/ 15 h 23"/>
                <a:gd name="T18" fmla="*/ 14 w 21"/>
                <a:gd name="T19" fmla="*/ 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23">
                  <a:moveTo>
                    <a:pt x="14" y="7"/>
                  </a:moveTo>
                  <a:cubicBezTo>
                    <a:pt x="12" y="5"/>
                    <a:pt x="10" y="4"/>
                    <a:pt x="7" y="2"/>
                  </a:cubicBezTo>
                  <a:cubicBezTo>
                    <a:pt x="5" y="1"/>
                    <a:pt x="2" y="1"/>
                    <a:pt x="0" y="0"/>
                  </a:cubicBezTo>
                  <a:cubicBezTo>
                    <a:pt x="2" y="1"/>
                    <a:pt x="4" y="2"/>
                    <a:pt x="6" y="4"/>
                  </a:cubicBezTo>
                  <a:cubicBezTo>
                    <a:pt x="8" y="6"/>
                    <a:pt x="10" y="8"/>
                    <a:pt x="11" y="10"/>
                  </a:cubicBezTo>
                  <a:cubicBezTo>
                    <a:pt x="12" y="12"/>
                    <a:pt x="13" y="14"/>
                    <a:pt x="13" y="17"/>
                  </a:cubicBezTo>
                  <a:cubicBezTo>
                    <a:pt x="13" y="19"/>
                    <a:pt x="14" y="21"/>
                    <a:pt x="13" y="23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0" y="17"/>
                    <a:pt x="19" y="15"/>
                  </a:cubicBezTo>
                  <a:cubicBezTo>
                    <a:pt x="17" y="12"/>
                    <a:pt x="16" y="10"/>
                    <a:pt x="14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910439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6/25</a:t>
            </a:fld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2913480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Freeform 301_1">
            <a:extLst>
              <a:ext uri="{FF2B5EF4-FFF2-40B4-BE49-F238E27FC236}">
                <a16:creationId xmlns:a16="http://schemas.microsoft.com/office/drawing/2014/main" id="{BDDC2D47-B64D-440E-9E8E-628B05031D8C}"/>
              </a:ext>
            </a:extLst>
          </p:cNvPr>
          <p:cNvSpPr/>
          <p:nvPr userDrawn="1"/>
        </p:nvSpPr>
        <p:spPr>
          <a:xfrm flipH="1" flipV="1">
            <a:off x="-1" y="4035178"/>
            <a:ext cx="6706221" cy="2822820"/>
          </a:xfrm>
          <a:custGeom>
            <a:avLst/>
            <a:gdLst>
              <a:gd name="connsiteX0" fmla="*/ 0 w 3440415"/>
              <a:gd name="connsiteY0" fmla="*/ 0 h 3390900"/>
              <a:gd name="connsiteX1" fmla="*/ 3440415 w 3440415"/>
              <a:gd name="connsiteY1" fmla="*/ 0 h 3390900"/>
              <a:gd name="connsiteX2" fmla="*/ 3440415 w 3440415"/>
              <a:gd name="connsiteY2" fmla="*/ 3390900 h 3390900"/>
              <a:gd name="connsiteX3" fmla="*/ 3193 w 3440415"/>
              <a:gd name="connsiteY3" fmla="*/ 126310 h 3390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40415" h="3390900">
                <a:moveTo>
                  <a:pt x="0" y="0"/>
                </a:moveTo>
                <a:lnTo>
                  <a:pt x="3440415" y="0"/>
                </a:lnTo>
                <a:lnTo>
                  <a:pt x="3440415" y="3390900"/>
                </a:lnTo>
                <a:cubicBezTo>
                  <a:pt x="1599017" y="3390900"/>
                  <a:pt x="95373" y="1944800"/>
                  <a:pt x="3193" y="126310"/>
                </a:cubicBezTo>
                <a:close/>
              </a:path>
            </a:pathLst>
          </a:custGeom>
          <a:solidFill>
            <a:srgbClr val="F1F4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5316429" y="3017191"/>
            <a:ext cx="4291373" cy="895350"/>
          </a:xfrm>
        </p:spPr>
        <p:txBody>
          <a:bodyPr anchor="b">
            <a:normAutofit/>
          </a:bodyPr>
          <a:lstStyle>
            <a:lvl1pPr algn="r"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5317545" y="3912541"/>
            <a:ext cx="4291373" cy="1015623"/>
          </a:xfrm>
        </p:spPr>
        <p:txBody>
          <a:bodyPr anchor="t">
            <a:normAutofit/>
          </a:bodyPr>
          <a:lstStyle>
            <a:lvl1pPr marL="0" indent="0" algn="r">
              <a:lnSpc>
                <a:spcPct val="100000"/>
              </a:lnSpc>
              <a:buNone/>
              <a:defRPr sz="1100">
                <a:solidFill>
                  <a:schemeClr val="accent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5BE88523-F5C9-4406-91A7-66BC411F06C9}"/>
              </a:ext>
            </a:extLst>
          </p:cNvPr>
          <p:cNvGrpSpPr/>
          <p:nvPr userDrawn="1"/>
        </p:nvGrpSpPr>
        <p:grpSpPr>
          <a:xfrm>
            <a:off x="1468390" y="2657929"/>
            <a:ext cx="3404708" cy="2373023"/>
            <a:chOff x="6065142" y="3542249"/>
            <a:chExt cx="3744567" cy="2609899"/>
          </a:xfrm>
        </p:grpSpPr>
        <p:sp>
          <p:nvSpPr>
            <p:cNvPr id="5" name="Freeform 188">
              <a:extLst>
                <a:ext uri="{FF2B5EF4-FFF2-40B4-BE49-F238E27FC236}">
                  <a16:creationId xmlns:a16="http://schemas.microsoft.com/office/drawing/2014/main" id="{CE68663B-3A8F-4395-91E8-58D4230902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14452" y="4356577"/>
              <a:ext cx="895257" cy="627185"/>
            </a:xfrm>
            <a:custGeom>
              <a:avLst/>
              <a:gdLst>
                <a:gd name="T0" fmla="*/ 163 w 167"/>
                <a:gd name="T1" fmla="*/ 0 h 117"/>
                <a:gd name="T2" fmla="*/ 34 w 167"/>
                <a:gd name="T3" fmla="*/ 0 h 117"/>
                <a:gd name="T4" fmla="*/ 32 w 167"/>
                <a:gd name="T5" fmla="*/ 2 h 117"/>
                <a:gd name="T6" fmla="*/ 1 w 167"/>
                <a:gd name="T7" fmla="*/ 113 h 117"/>
                <a:gd name="T8" fmla="*/ 4 w 167"/>
                <a:gd name="T9" fmla="*/ 117 h 117"/>
                <a:gd name="T10" fmla="*/ 124 w 167"/>
                <a:gd name="T11" fmla="*/ 117 h 117"/>
                <a:gd name="T12" fmla="*/ 138 w 167"/>
                <a:gd name="T13" fmla="*/ 106 h 117"/>
                <a:gd name="T14" fmla="*/ 166 w 167"/>
                <a:gd name="T15" fmla="*/ 4 h 117"/>
                <a:gd name="T16" fmla="*/ 163 w 167"/>
                <a:gd name="T17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7" h="117">
                  <a:moveTo>
                    <a:pt x="163" y="0"/>
                  </a:move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2" y="1"/>
                    <a:pt x="32" y="2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0" y="115"/>
                    <a:pt x="2" y="117"/>
                    <a:pt x="4" y="117"/>
                  </a:cubicBezTo>
                  <a:cubicBezTo>
                    <a:pt x="124" y="117"/>
                    <a:pt x="124" y="117"/>
                    <a:pt x="124" y="117"/>
                  </a:cubicBezTo>
                  <a:cubicBezTo>
                    <a:pt x="130" y="117"/>
                    <a:pt x="136" y="112"/>
                    <a:pt x="138" y="106"/>
                  </a:cubicBezTo>
                  <a:cubicBezTo>
                    <a:pt x="166" y="4"/>
                    <a:pt x="166" y="4"/>
                    <a:pt x="166" y="4"/>
                  </a:cubicBezTo>
                  <a:cubicBezTo>
                    <a:pt x="167" y="2"/>
                    <a:pt x="165" y="0"/>
                    <a:pt x="163" y="0"/>
                  </a:cubicBezTo>
                </a:path>
              </a:pathLst>
            </a:custGeom>
            <a:solidFill>
              <a:srgbClr val="194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" name="Freeform 189">
              <a:extLst>
                <a:ext uri="{FF2B5EF4-FFF2-40B4-BE49-F238E27FC236}">
                  <a16:creationId xmlns:a16="http://schemas.microsoft.com/office/drawing/2014/main" id="{40CFD02A-CAF3-4CC1-A9D3-42B0D949E0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61660" y="4378496"/>
              <a:ext cx="821074" cy="504109"/>
            </a:xfrm>
            <a:custGeom>
              <a:avLst/>
              <a:gdLst>
                <a:gd name="T0" fmla="*/ 0 w 487"/>
                <a:gd name="T1" fmla="*/ 299 h 299"/>
                <a:gd name="T2" fmla="*/ 405 w 487"/>
                <a:gd name="T3" fmla="*/ 299 h 299"/>
                <a:gd name="T4" fmla="*/ 487 w 487"/>
                <a:gd name="T5" fmla="*/ 0 h 299"/>
                <a:gd name="T6" fmla="*/ 86 w 487"/>
                <a:gd name="T7" fmla="*/ 0 h 299"/>
                <a:gd name="T8" fmla="*/ 0 w 487"/>
                <a:gd name="T9" fmla="*/ 299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7" h="299">
                  <a:moveTo>
                    <a:pt x="0" y="299"/>
                  </a:moveTo>
                  <a:lnTo>
                    <a:pt x="405" y="299"/>
                  </a:lnTo>
                  <a:lnTo>
                    <a:pt x="487" y="0"/>
                  </a:lnTo>
                  <a:lnTo>
                    <a:pt x="86" y="0"/>
                  </a:lnTo>
                  <a:lnTo>
                    <a:pt x="0" y="299"/>
                  </a:lnTo>
                  <a:close/>
                </a:path>
              </a:pathLst>
            </a:custGeom>
            <a:solidFill>
              <a:srgbClr val="6855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" name="Freeform 190">
              <a:extLst>
                <a:ext uri="{FF2B5EF4-FFF2-40B4-BE49-F238E27FC236}">
                  <a16:creationId xmlns:a16="http://schemas.microsoft.com/office/drawing/2014/main" id="{100D2024-88F7-4A45-98E6-310552915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61660" y="4378496"/>
              <a:ext cx="821074" cy="504109"/>
            </a:xfrm>
            <a:custGeom>
              <a:avLst/>
              <a:gdLst>
                <a:gd name="T0" fmla="*/ 0 w 487"/>
                <a:gd name="T1" fmla="*/ 299 h 299"/>
                <a:gd name="T2" fmla="*/ 405 w 487"/>
                <a:gd name="T3" fmla="*/ 299 h 299"/>
                <a:gd name="T4" fmla="*/ 487 w 487"/>
                <a:gd name="T5" fmla="*/ 0 h 299"/>
                <a:gd name="T6" fmla="*/ 86 w 487"/>
                <a:gd name="T7" fmla="*/ 0 h 299"/>
                <a:gd name="T8" fmla="*/ 0 w 487"/>
                <a:gd name="T9" fmla="*/ 299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7" h="299">
                  <a:moveTo>
                    <a:pt x="0" y="299"/>
                  </a:moveTo>
                  <a:lnTo>
                    <a:pt x="405" y="299"/>
                  </a:lnTo>
                  <a:lnTo>
                    <a:pt x="487" y="0"/>
                  </a:lnTo>
                  <a:lnTo>
                    <a:pt x="86" y="0"/>
                  </a:lnTo>
                  <a:lnTo>
                    <a:pt x="0" y="29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" name="Freeform 191">
              <a:extLst>
                <a:ext uri="{FF2B5EF4-FFF2-40B4-BE49-F238E27FC236}">
                  <a16:creationId xmlns:a16="http://schemas.microsoft.com/office/drawing/2014/main" id="{1DD6FF7B-7D96-4905-9B7B-1FADE0F7AD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37528" y="4479655"/>
              <a:ext cx="638988" cy="327080"/>
            </a:xfrm>
            <a:custGeom>
              <a:avLst/>
              <a:gdLst>
                <a:gd name="T0" fmla="*/ 117 w 119"/>
                <a:gd name="T1" fmla="*/ 0 h 61"/>
                <a:gd name="T2" fmla="*/ 116 w 119"/>
                <a:gd name="T3" fmla="*/ 0 h 61"/>
                <a:gd name="T4" fmla="*/ 91 w 119"/>
                <a:gd name="T5" fmla="*/ 23 h 61"/>
                <a:gd name="T6" fmla="*/ 66 w 119"/>
                <a:gd name="T7" fmla="*/ 31 h 61"/>
                <a:gd name="T8" fmla="*/ 65 w 119"/>
                <a:gd name="T9" fmla="*/ 32 h 61"/>
                <a:gd name="T10" fmla="*/ 65 w 119"/>
                <a:gd name="T11" fmla="*/ 32 h 61"/>
                <a:gd name="T12" fmla="*/ 46 w 119"/>
                <a:gd name="T13" fmla="*/ 52 h 61"/>
                <a:gd name="T14" fmla="*/ 21 w 119"/>
                <a:gd name="T15" fmla="*/ 39 h 61"/>
                <a:gd name="T16" fmla="*/ 21 w 119"/>
                <a:gd name="T17" fmla="*/ 38 h 61"/>
                <a:gd name="T18" fmla="*/ 19 w 119"/>
                <a:gd name="T19" fmla="*/ 39 h 61"/>
                <a:gd name="T20" fmla="*/ 0 w 119"/>
                <a:gd name="T21" fmla="*/ 58 h 61"/>
                <a:gd name="T22" fmla="*/ 2 w 119"/>
                <a:gd name="T23" fmla="*/ 61 h 61"/>
                <a:gd name="T24" fmla="*/ 21 w 119"/>
                <a:gd name="T25" fmla="*/ 43 h 61"/>
                <a:gd name="T26" fmla="*/ 46 w 119"/>
                <a:gd name="T27" fmla="*/ 56 h 61"/>
                <a:gd name="T28" fmla="*/ 46 w 119"/>
                <a:gd name="T29" fmla="*/ 56 h 61"/>
                <a:gd name="T30" fmla="*/ 48 w 119"/>
                <a:gd name="T31" fmla="*/ 55 h 61"/>
                <a:gd name="T32" fmla="*/ 67 w 119"/>
                <a:gd name="T33" fmla="*/ 35 h 61"/>
                <a:gd name="T34" fmla="*/ 92 w 119"/>
                <a:gd name="T35" fmla="*/ 27 h 61"/>
                <a:gd name="T36" fmla="*/ 118 w 119"/>
                <a:gd name="T37" fmla="*/ 3 h 61"/>
                <a:gd name="T38" fmla="*/ 119 w 119"/>
                <a:gd name="T39" fmla="*/ 1 h 61"/>
                <a:gd name="T40" fmla="*/ 117 w 119"/>
                <a:gd name="T41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61">
                  <a:moveTo>
                    <a:pt x="117" y="0"/>
                  </a:moveTo>
                  <a:cubicBezTo>
                    <a:pt x="116" y="0"/>
                    <a:pt x="116" y="0"/>
                    <a:pt x="116" y="0"/>
                  </a:cubicBezTo>
                  <a:cubicBezTo>
                    <a:pt x="91" y="23"/>
                    <a:pt x="91" y="23"/>
                    <a:pt x="91" y="23"/>
                  </a:cubicBezTo>
                  <a:cubicBezTo>
                    <a:pt x="66" y="31"/>
                    <a:pt x="66" y="31"/>
                    <a:pt x="66" y="31"/>
                  </a:cubicBezTo>
                  <a:cubicBezTo>
                    <a:pt x="65" y="32"/>
                    <a:pt x="65" y="32"/>
                    <a:pt x="65" y="32"/>
                  </a:cubicBezTo>
                  <a:cubicBezTo>
                    <a:pt x="65" y="32"/>
                    <a:pt x="65" y="32"/>
                    <a:pt x="65" y="32"/>
                  </a:cubicBezTo>
                  <a:cubicBezTo>
                    <a:pt x="46" y="52"/>
                    <a:pt x="46" y="52"/>
                    <a:pt x="46" y="52"/>
                  </a:cubicBezTo>
                  <a:cubicBezTo>
                    <a:pt x="21" y="39"/>
                    <a:pt x="21" y="39"/>
                    <a:pt x="21" y="39"/>
                  </a:cubicBezTo>
                  <a:cubicBezTo>
                    <a:pt x="21" y="38"/>
                    <a:pt x="21" y="38"/>
                    <a:pt x="21" y="38"/>
                  </a:cubicBezTo>
                  <a:cubicBezTo>
                    <a:pt x="20" y="38"/>
                    <a:pt x="20" y="39"/>
                    <a:pt x="19" y="39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2" y="61"/>
                    <a:pt x="2" y="61"/>
                    <a:pt x="2" y="61"/>
                  </a:cubicBezTo>
                  <a:cubicBezTo>
                    <a:pt x="10" y="53"/>
                    <a:pt x="20" y="44"/>
                    <a:pt x="21" y="43"/>
                  </a:cubicBezTo>
                  <a:cubicBezTo>
                    <a:pt x="46" y="56"/>
                    <a:pt x="46" y="56"/>
                    <a:pt x="46" y="56"/>
                  </a:cubicBezTo>
                  <a:cubicBezTo>
                    <a:pt x="46" y="56"/>
                    <a:pt x="46" y="56"/>
                    <a:pt x="46" y="56"/>
                  </a:cubicBezTo>
                  <a:cubicBezTo>
                    <a:pt x="47" y="56"/>
                    <a:pt x="47" y="56"/>
                    <a:pt x="48" y="55"/>
                  </a:cubicBezTo>
                  <a:cubicBezTo>
                    <a:pt x="67" y="35"/>
                    <a:pt x="67" y="35"/>
                    <a:pt x="67" y="35"/>
                  </a:cubicBezTo>
                  <a:cubicBezTo>
                    <a:pt x="69" y="34"/>
                    <a:pt x="92" y="27"/>
                    <a:pt x="92" y="27"/>
                  </a:cubicBezTo>
                  <a:cubicBezTo>
                    <a:pt x="93" y="26"/>
                    <a:pt x="118" y="3"/>
                    <a:pt x="118" y="3"/>
                  </a:cubicBezTo>
                  <a:cubicBezTo>
                    <a:pt x="119" y="2"/>
                    <a:pt x="119" y="2"/>
                    <a:pt x="119" y="1"/>
                  </a:cubicBezTo>
                  <a:cubicBezTo>
                    <a:pt x="118" y="0"/>
                    <a:pt x="118" y="0"/>
                    <a:pt x="117" y="0"/>
                  </a:cubicBezTo>
                </a:path>
              </a:pathLst>
            </a:custGeom>
            <a:solidFill>
              <a:srgbClr val="FFC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" name="Freeform 192">
              <a:extLst>
                <a:ext uri="{FF2B5EF4-FFF2-40B4-BE49-F238E27FC236}">
                  <a16:creationId xmlns:a16="http://schemas.microsoft.com/office/drawing/2014/main" id="{CF6E0B84-2D3C-4768-A367-B0D1AC5DD9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05705" y="4459423"/>
              <a:ext cx="91043" cy="85986"/>
            </a:xfrm>
            <a:custGeom>
              <a:avLst/>
              <a:gdLst>
                <a:gd name="T0" fmla="*/ 32 w 54"/>
                <a:gd name="T1" fmla="*/ 22 h 51"/>
                <a:gd name="T2" fmla="*/ 32 w 54"/>
                <a:gd name="T3" fmla="*/ 51 h 51"/>
                <a:gd name="T4" fmla="*/ 54 w 54"/>
                <a:gd name="T5" fmla="*/ 0 h 51"/>
                <a:gd name="T6" fmla="*/ 0 w 54"/>
                <a:gd name="T7" fmla="*/ 19 h 51"/>
                <a:gd name="T8" fmla="*/ 32 w 54"/>
                <a:gd name="T9" fmla="*/ 2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51">
                  <a:moveTo>
                    <a:pt x="32" y="22"/>
                  </a:moveTo>
                  <a:lnTo>
                    <a:pt x="32" y="51"/>
                  </a:lnTo>
                  <a:lnTo>
                    <a:pt x="54" y="0"/>
                  </a:lnTo>
                  <a:lnTo>
                    <a:pt x="0" y="19"/>
                  </a:lnTo>
                  <a:lnTo>
                    <a:pt x="32" y="22"/>
                  </a:lnTo>
                  <a:close/>
                </a:path>
              </a:pathLst>
            </a:custGeom>
            <a:solidFill>
              <a:srgbClr val="FFC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" name="Freeform 193">
              <a:extLst>
                <a:ext uri="{FF2B5EF4-FFF2-40B4-BE49-F238E27FC236}">
                  <a16:creationId xmlns:a16="http://schemas.microsoft.com/office/drawing/2014/main" id="{0B3C2940-83AB-456C-841C-49E3114A51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69563" y="4506630"/>
              <a:ext cx="96102" cy="48894"/>
            </a:xfrm>
            <a:custGeom>
              <a:avLst/>
              <a:gdLst>
                <a:gd name="T0" fmla="*/ 57 w 57"/>
                <a:gd name="T1" fmla="*/ 0 h 29"/>
                <a:gd name="T2" fmla="*/ 10 w 57"/>
                <a:gd name="T3" fmla="*/ 0 h 29"/>
                <a:gd name="T4" fmla="*/ 0 w 57"/>
                <a:gd name="T5" fmla="*/ 29 h 29"/>
                <a:gd name="T6" fmla="*/ 48 w 57"/>
                <a:gd name="T7" fmla="*/ 29 h 29"/>
                <a:gd name="T8" fmla="*/ 57 w 57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29">
                  <a:moveTo>
                    <a:pt x="57" y="0"/>
                  </a:moveTo>
                  <a:lnTo>
                    <a:pt x="10" y="0"/>
                  </a:lnTo>
                  <a:lnTo>
                    <a:pt x="0" y="29"/>
                  </a:lnTo>
                  <a:lnTo>
                    <a:pt x="48" y="29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8A74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" name="Freeform 194">
              <a:extLst>
                <a:ext uri="{FF2B5EF4-FFF2-40B4-BE49-F238E27FC236}">
                  <a16:creationId xmlns:a16="http://schemas.microsoft.com/office/drawing/2014/main" id="{827E2D91-9E8C-4696-B2EF-0E9025C9A9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69563" y="4506630"/>
              <a:ext cx="96102" cy="48894"/>
            </a:xfrm>
            <a:custGeom>
              <a:avLst/>
              <a:gdLst>
                <a:gd name="T0" fmla="*/ 57 w 57"/>
                <a:gd name="T1" fmla="*/ 0 h 29"/>
                <a:gd name="T2" fmla="*/ 10 w 57"/>
                <a:gd name="T3" fmla="*/ 0 h 29"/>
                <a:gd name="T4" fmla="*/ 0 w 57"/>
                <a:gd name="T5" fmla="*/ 29 h 29"/>
                <a:gd name="T6" fmla="*/ 48 w 57"/>
                <a:gd name="T7" fmla="*/ 29 h 29"/>
                <a:gd name="T8" fmla="*/ 57 w 57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29">
                  <a:moveTo>
                    <a:pt x="57" y="0"/>
                  </a:moveTo>
                  <a:lnTo>
                    <a:pt x="10" y="0"/>
                  </a:lnTo>
                  <a:lnTo>
                    <a:pt x="0" y="29"/>
                  </a:lnTo>
                  <a:lnTo>
                    <a:pt x="48" y="29"/>
                  </a:lnTo>
                  <a:lnTo>
                    <a:pt x="5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" name="Freeform 195">
              <a:extLst>
                <a:ext uri="{FF2B5EF4-FFF2-40B4-BE49-F238E27FC236}">
                  <a16:creationId xmlns:a16="http://schemas.microsoft.com/office/drawing/2014/main" id="{E6422146-DCCF-44A8-832B-B5C4CBD42E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54388" y="4570698"/>
              <a:ext cx="91043" cy="48894"/>
            </a:xfrm>
            <a:custGeom>
              <a:avLst/>
              <a:gdLst>
                <a:gd name="T0" fmla="*/ 54 w 54"/>
                <a:gd name="T1" fmla="*/ 0 h 29"/>
                <a:gd name="T2" fmla="*/ 6 w 54"/>
                <a:gd name="T3" fmla="*/ 0 h 29"/>
                <a:gd name="T4" fmla="*/ 0 w 54"/>
                <a:gd name="T5" fmla="*/ 29 h 29"/>
                <a:gd name="T6" fmla="*/ 47 w 54"/>
                <a:gd name="T7" fmla="*/ 29 h 29"/>
                <a:gd name="T8" fmla="*/ 54 w 54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29">
                  <a:moveTo>
                    <a:pt x="54" y="0"/>
                  </a:moveTo>
                  <a:lnTo>
                    <a:pt x="6" y="0"/>
                  </a:lnTo>
                  <a:lnTo>
                    <a:pt x="0" y="29"/>
                  </a:lnTo>
                  <a:lnTo>
                    <a:pt x="47" y="29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8A74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" name="Freeform 196">
              <a:extLst>
                <a:ext uri="{FF2B5EF4-FFF2-40B4-BE49-F238E27FC236}">
                  <a16:creationId xmlns:a16="http://schemas.microsoft.com/office/drawing/2014/main" id="{47DBB00F-EFA8-4A9C-B969-66EF8C8BDE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54388" y="4570698"/>
              <a:ext cx="91043" cy="48894"/>
            </a:xfrm>
            <a:custGeom>
              <a:avLst/>
              <a:gdLst>
                <a:gd name="T0" fmla="*/ 54 w 54"/>
                <a:gd name="T1" fmla="*/ 0 h 29"/>
                <a:gd name="T2" fmla="*/ 6 w 54"/>
                <a:gd name="T3" fmla="*/ 0 h 29"/>
                <a:gd name="T4" fmla="*/ 0 w 54"/>
                <a:gd name="T5" fmla="*/ 29 h 29"/>
                <a:gd name="T6" fmla="*/ 47 w 54"/>
                <a:gd name="T7" fmla="*/ 29 h 29"/>
                <a:gd name="T8" fmla="*/ 54 w 54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29">
                  <a:moveTo>
                    <a:pt x="54" y="0"/>
                  </a:moveTo>
                  <a:lnTo>
                    <a:pt x="6" y="0"/>
                  </a:lnTo>
                  <a:lnTo>
                    <a:pt x="0" y="29"/>
                  </a:lnTo>
                  <a:lnTo>
                    <a:pt x="47" y="29"/>
                  </a:lnTo>
                  <a:lnTo>
                    <a:pt x="5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" name="Freeform 197">
              <a:extLst>
                <a:ext uri="{FF2B5EF4-FFF2-40B4-BE49-F238E27FC236}">
                  <a16:creationId xmlns:a16="http://schemas.microsoft.com/office/drawing/2014/main" id="{2DCAB4DE-0573-4387-8A3C-409AEE728E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32471" y="4636450"/>
              <a:ext cx="96102" cy="47207"/>
            </a:xfrm>
            <a:custGeom>
              <a:avLst/>
              <a:gdLst>
                <a:gd name="T0" fmla="*/ 57 w 57"/>
                <a:gd name="T1" fmla="*/ 0 h 28"/>
                <a:gd name="T2" fmla="*/ 9 w 57"/>
                <a:gd name="T3" fmla="*/ 0 h 28"/>
                <a:gd name="T4" fmla="*/ 0 w 57"/>
                <a:gd name="T5" fmla="*/ 28 h 28"/>
                <a:gd name="T6" fmla="*/ 48 w 57"/>
                <a:gd name="T7" fmla="*/ 28 h 28"/>
                <a:gd name="T8" fmla="*/ 57 w 57"/>
                <a:gd name="T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28">
                  <a:moveTo>
                    <a:pt x="57" y="0"/>
                  </a:moveTo>
                  <a:lnTo>
                    <a:pt x="9" y="0"/>
                  </a:lnTo>
                  <a:lnTo>
                    <a:pt x="0" y="28"/>
                  </a:lnTo>
                  <a:lnTo>
                    <a:pt x="48" y="28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8A74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" name="Freeform 198">
              <a:extLst>
                <a:ext uri="{FF2B5EF4-FFF2-40B4-BE49-F238E27FC236}">
                  <a16:creationId xmlns:a16="http://schemas.microsoft.com/office/drawing/2014/main" id="{3976944D-2761-403C-87BA-1EA10E06E0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32471" y="4636450"/>
              <a:ext cx="96102" cy="47207"/>
            </a:xfrm>
            <a:custGeom>
              <a:avLst/>
              <a:gdLst>
                <a:gd name="T0" fmla="*/ 57 w 57"/>
                <a:gd name="T1" fmla="*/ 0 h 28"/>
                <a:gd name="T2" fmla="*/ 9 w 57"/>
                <a:gd name="T3" fmla="*/ 0 h 28"/>
                <a:gd name="T4" fmla="*/ 0 w 57"/>
                <a:gd name="T5" fmla="*/ 28 h 28"/>
                <a:gd name="T6" fmla="*/ 48 w 57"/>
                <a:gd name="T7" fmla="*/ 28 h 28"/>
                <a:gd name="T8" fmla="*/ 57 w 57"/>
                <a:gd name="T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28">
                  <a:moveTo>
                    <a:pt x="57" y="0"/>
                  </a:moveTo>
                  <a:lnTo>
                    <a:pt x="9" y="0"/>
                  </a:lnTo>
                  <a:lnTo>
                    <a:pt x="0" y="28"/>
                  </a:lnTo>
                  <a:lnTo>
                    <a:pt x="48" y="28"/>
                  </a:lnTo>
                  <a:lnTo>
                    <a:pt x="5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" name="Freeform 199">
              <a:extLst>
                <a:ext uri="{FF2B5EF4-FFF2-40B4-BE49-F238E27FC236}">
                  <a16:creationId xmlns:a16="http://schemas.microsoft.com/office/drawing/2014/main" id="{14754D03-8337-4FCC-B197-2E262BF559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15611" y="4705576"/>
              <a:ext cx="91043" cy="42150"/>
            </a:xfrm>
            <a:custGeom>
              <a:avLst/>
              <a:gdLst>
                <a:gd name="T0" fmla="*/ 54 w 54"/>
                <a:gd name="T1" fmla="*/ 0 h 25"/>
                <a:gd name="T2" fmla="*/ 7 w 54"/>
                <a:gd name="T3" fmla="*/ 0 h 25"/>
                <a:gd name="T4" fmla="*/ 0 w 54"/>
                <a:gd name="T5" fmla="*/ 25 h 25"/>
                <a:gd name="T6" fmla="*/ 38 w 54"/>
                <a:gd name="T7" fmla="*/ 25 h 25"/>
                <a:gd name="T8" fmla="*/ 51 w 54"/>
                <a:gd name="T9" fmla="*/ 16 h 25"/>
                <a:gd name="T10" fmla="*/ 54 w 54"/>
                <a:gd name="T1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4" h="25">
                  <a:moveTo>
                    <a:pt x="54" y="0"/>
                  </a:moveTo>
                  <a:lnTo>
                    <a:pt x="7" y="0"/>
                  </a:lnTo>
                  <a:lnTo>
                    <a:pt x="0" y="25"/>
                  </a:lnTo>
                  <a:lnTo>
                    <a:pt x="38" y="25"/>
                  </a:lnTo>
                  <a:lnTo>
                    <a:pt x="51" y="16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8A74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" name="Freeform 200">
              <a:extLst>
                <a:ext uri="{FF2B5EF4-FFF2-40B4-BE49-F238E27FC236}">
                  <a16:creationId xmlns:a16="http://schemas.microsoft.com/office/drawing/2014/main" id="{9591EFED-155C-42F6-8D11-442AC0726E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15611" y="4705576"/>
              <a:ext cx="91043" cy="42150"/>
            </a:xfrm>
            <a:custGeom>
              <a:avLst/>
              <a:gdLst>
                <a:gd name="T0" fmla="*/ 54 w 54"/>
                <a:gd name="T1" fmla="*/ 0 h 25"/>
                <a:gd name="T2" fmla="*/ 7 w 54"/>
                <a:gd name="T3" fmla="*/ 0 h 25"/>
                <a:gd name="T4" fmla="*/ 0 w 54"/>
                <a:gd name="T5" fmla="*/ 25 h 25"/>
                <a:gd name="T6" fmla="*/ 38 w 54"/>
                <a:gd name="T7" fmla="*/ 25 h 25"/>
                <a:gd name="T8" fmla="*/ 51 w 54"/>
                <a:gd name="T9" fmla="*/ 16 h 25"/>
                <a:gd name="T10" fmla="*/ 54 w 54"/>
                <a:gd name="T1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4" h="25">
                  <a:moveTo>
                    <a:pt x="54" y="0"/>
                  </a:moveTo>
                  <a:lnTo>
                    <a:pt x="7" y="0"/>
                  </a:lnTo>
                  <a:lnTo>
                    <a:pt x="0" y="25"/>
                  </a:lnTo>
                  <a:lnTo>
                    <a:pt x="38" y="25"/>
                  </a:lnTo>
                  <a:lnTo>
                    <a:pt x="51" y="16"/>
                  </a:lnTo>
                  <a:lnTo>
                    <a:pt x="5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" name="Freeform 201">
              <a:extLst>
                <a:ext uri="{FF2B5EF4-FFF2-40B4-BE49-F238E27FC236}">
                  <a16:creationId xmlns:a16="http://schemas.microsoft.com/office/drawing/2014/main" id="{B6BEB6DC-05CA-48DD-A3DE-F08A897D1B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79678" y="4732552"/>
              <a:ext cx="21918" cy="15174"/>
            </a:xfrm>
            <a:custGeom>
              <a:avLst/>
              <a:gdLst>
                <a:gd name="T0" fmla="*/ 13 w 13"/>
                <a:gd name="T1" fmla="*/ 0 h 9"/>
                <a:gd name="T2" fmla="*/ 0 w 13"/>
                <a:gd name="T3" fmla="*/ 9 h 9"/>
                <a:gd name="T4" fmla="*/ 10 w 13"/>
                <a:gd name="T5" fmla="*/ 9 h 9"/>
                <a:gd name="T6" fmla="*/ 13 w 13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9">
                  <a:moveTo>
                    <a:pt x="13" y="0"/>
                  </a:moveTo>
                  <a:lnTo>
                    <a:pt x="0" y="9"/>
                  </a:lnTo>
                  <a:lnTo>
                    <a:pt x="10" y="9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CF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" name="Freeform 202">
              <a:extLst>
                <a:ext uri="{FF2B5EF4-FFF2-40B4-BE49-F238E27FC236}">
                  <a16:creationId xmlns:a16="http://schemas.microsoft.com/office/drawing/2014/main" id="{372DD2FC-DAEA-4430-8F36-AD1EBF07C3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79678" y="4732552"/>
              <a:ext cx="21918" cy="15174"/>
            </a:xfrm>
            <a:custGeom>
              <a:avLst/>
              <a:gdLst>
                <a:gd name="T0" fmla="*/ 13 w 13"/>
                <a:gd name="T1" fmla="*/ 0 h 9"/>
                <a:gd name="T2" fmla="*/ 0 w 13"/>
                <a:gd name="T3" fmla="*/ 9 h 9"/>
                <a:gd name="T4" fmla="*/ 10 w 13"/>
                <a:gd name="T5" fmla="*/ 9 h 9"/>
                <a:gd name="T6" fmla="*/ 13 w 13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9">
                  <a:moveTo>
                    <a:pt x="13" y="0"/>
                  </a:moveTo>
                  <a:lnTo>
                    <a:pt x="0" y="9"/>
                  </a:lnTo>
                  <a:lnTo>
                    <a:pt x="10" y="9"/>
                  </a:lnTo>
                  <a:lnTo>
                    <a:pt x="1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" name="Freeform 203">
              <a:extLst>
                <a:ext uri="{FF2B5EF4-FFF2-40B4-BE49-F238E27FC236}">
                  <a16:creationId xmlns:a16="http://schemas.microsoft.com/office/drawing/2014/main" id="{77259F8A-839C-46CF-AB62-3A14E5A586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19300" y="4811792"/>
              <a:ext cx="728344" cy="139937"/>
            </a:xfrm>
            <a:custGeom>
              <a:avLst/>
              <a:gdLst>
                <a:gd name="T0" fmla="*/ 131 w 136"/>
                <a:gd name="T1" fmla="*/ 15 h 26"/>
                <a:gd name="T2" fmla="*/ 6 w 136"/>
                <a:gd name="T3" fmla="*/ 0 h 26"/>
                <a:gd name="T4" fmla="*/ 0 w 136"/>
                <a:gd name="T5" fmla="*/ 5 h 26"/>
                <a:gd name="T6" fmla="*/ 5 w 136"/>
                <a:gd name="T7" fmla="*/ 11 h 26"/>
                <a:gd name="T8" fmla="*/ 130 w 136"/>
                <a:gd name="T9" fmla="*/ 25 h 26"/>
                <a:gd name="T10" fmla="*/ 136 w 136"/>
                <a:gd name="T11" fmla="*/ 21 h 26"/>
                <a:gd name="T12" fmla="*/ 131 w 136"/>
                <a:gd name="T13" fmla="*/ 1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6" h="26">
                  <a:moveTo>
                    <a:pt x="131" y="15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1" y="2"/>
                    <a:pt x="0" y="5"/>
                  </a:cubicBezTo>
                  <a:cubicBezTo>
                    <a:pt x="0" y="8"/>
                    <a:pt x="2" y="10"/>
                    <a:pt x="5" y="11"/>
                  </a:cubicBezTo>
                  <a:cubicBezTo>
                    <a:pt x="130" y="25"/>
                    <a:pt x="130" y="25"/>
                    <a:pt x="130" y="25"/>
                  </a:cubicBezTo>
                  <a:cubicBezTo>
                    <a:pt x="133" y="26"/>
                    <a:pt x="136" y="24"/>
                    <a:pt x="136" y="21"/>
                  </a:cubicBezTo>
                  <a:cubicBezTo>
                    <a:pt x="136" y="18"/>
                    <a:pt x="134" y="15"/>
                    <a:pt x="131" y="15"/>
                  </a:cubicBezTo>
                  <a:close/>
                </a:path>
              </a:pathLst>
            </a:custGeom>
            <a:solidFill>
              <a:srgbClr val="B0C1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" name="Freeform 204">
              <a:extLst>
                <a:ext uri="{FF2B5EF4-FFF2-40B4-BE49-F238E27FC236}">
                  <a16:creationId xmlns:a16="http://schemas.microsoft.com/office/drawing/2014/main" id="{F1587996-0359-4639-A58D-61FDDE725A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51544" y="4882604"/>
              <a:ext cx="681137" cy="138251"/>
            </a:xfrm>
            <a:custGeom>
              <a:avLst/>
              <a:gdLst>
                <a:gd name="T0" fmla="*/ 122 w 127"/>
                <a:gd name="T1" fmla="*/ 14 h 26"/>
                <a:gd name="T2" fmla="*/ 7 w 127"/>
                <a:gd name="T3" fmla="*/ 1 h 26"/>
                <a:gd name="T4" fmla="*/ 1 w 127"/>
                <a:gd name="T5" fmla="*/ 6 h 26"/>
                <a:gd name="T6" fmla="*/ 5 w 127"/>
                <a:gd name="T7" fmla="*/ 12 h 26"/>
                <a:gd name="T8" fmla="*/ 121 w 127"/>
                <a:gd name="T9" fmla="*/ 25 h 26"/>
                <a:gd name="T10" fmla="*/ 127 w 127"/>
                <a:gd name="T11" fmla="*/ 20 h 26"/>
                <a:gd name="T12" fmla="*/ 122 w 127"/>
                <a:gd name="T13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7" h="26">
                  <a:moveTo>
                    <a:pt x="122" y="14"/>
                  </a:moveTo>
                  <a:cubicBezTo>
                    <a:pt x="7" y="1"/>
                    <a:pt x="7" y="1"/>
                    <a:pt x="7" y="1"/>
                  </a:cubicBezTo>
                  <a:cubicBezTo>
                    <a:pt x="4" y="0"/>
                    <a:pt x="1" y="3"/>
                    <a:pt x="1" y="6"/>
                  </a:cubicBezTo>
                  <a:cubicBezTo>
                    <a:pt x="0" y="9"/>
                    <a:pt x="2" y="11"/>
                    <a:pt x="5" y="12"/>
                  </a:cubicBezTo>
                  <a:cubicBezTo>
                    <a:pt x="121" y="25"/>
                    <a:pt x="121" y="25"/>
                    <a:pt x="121" y="25"/>
                  </a:cubicBezTo>
                  <a:cubicBezTo>
                    <a:pt x="124" y="26"/>
                    <a:pt x="126" y="23"/>
                    <a:pt x="127" y="20"/>
                  </a:cubicBezTo>
                  <a:cubicBezTo>
                    <a:pt x="127" y="17"/>
                    <a:pt x="125" y="15"/>
                    <a:pt x="122" y="14"/>
                  </a:cubicBezTo>
                  <a:close/>
                </a:path>
              </a:pathLst>
            </a:custGeom>
            <a:solidFill>
              <a:srgbClr val="D1DB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" name="Freeform 205">
              <a:extLst>
                <a:ext uri="{FF2B5EF4-FFF2-40B4-BE49-F238E27FC236}">
                  <a16:creationId xmlns:a16="http://schemas.microsoft.com/office/drawing/2014/main" id="{05BE39B8-3402-47A2-B5E3-7C70C439CC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08444" y="4956787"/>
              <a:ext cx="59010" cy="21918"/>
            </a:xfrm>
            <a:custGeom>
              <a:avLst/>
              <a:gdLst>
                <a:gd name="T0" fmla="*/ 0 w 35"/>
                <a:gd name="T1" fmla="*/ 10 h 13"/>
                <a:gd name="T2" fmla="*/ 31 w 35"/>
                <a:gd name="T3" fmla="*/ 13 h 13"/>
                <a:gd name="T4" fmla="*/ 35 w 35"/>
                <a:gd name="T5" fmla="*/ 3 h 13"/>
                <a:gd name="T6" fmla="*/ 0 w 35"/>
                <a:gd name="T7" fmla="*/ 0 h 13"/>
                <a:gd name="T8" fmla="*/ 0 w 35"/>
                <a:gd name="T9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3">
                  <a:moveTo>
                    <a:pt x="0" y="10"/>
                  </a:moveTo>
                  <a:lnTo>
                    <a:pt x="31" y="13"/>
                  </a:lnTo>
                  <a:lnTo>
                    <a:pt x="35" y="3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194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" name="Freeform 207">
              <a:extLst>
                <a:ext uri="{FF2B5EF4-FFF2-40B4-BE49-F238E27FC236}">
                  <a16:creationId xmlns:a16="http://schemas.microsoft.com/office/drawing/2014/main" id="{01C8723F-9F9E-43ED-8CC4-0DD6C38B34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49434" y="4946671"/>
              <a:ext cx="42150" cy="21918"/>
            </a:xfrm>
            <a:custGeom>
              <a:avLst/>
              <a:gdLst>
                <a:gd name="T0" fmla="*/ 0 w 25"/>
                <a:gd name="T1" fmla="*/ 9 h 13"/>
                <a:gd name="T2" fmla="*/ 25 w 25"/>
                <a:gd name="T3" fmla="*/ 13 h 13"/>
                <a:gd name="T4" fmla="*/ 25 w 25"/>
                <a:gd name="T5" fmla="*/ 3 h 13"/>
                <a:gd name="T6" fmla="*/ 3 w 25"/>
                <a:gd name="T7" fmla="*/ 0 h 13"/>
                <a:gd name="T8" fmla="*/ 0 w 25"/>
                <a:gd name="T9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3">
                  <a:moveTo>
                    <a:pt x="0" y="9"/>
                  </a:moveTo>
                  <a:lnTo>
                    <a:pt x="25" y="13"/>
                  </a:lnTo>
                  <a:lnTo>
                    <a:pt x="25" y="3"/>
                  </a:lnTo>
                  <a:lnTo>
                    <a:pt x="3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194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" name="Freeform 208">
              <a:extLst>
                <a:ext uri="{FF2B5EF4-FFF2-40B4-BE49-F238E27FC236}">
                  <a16:creationId xmlns:a16="http://schemas.microsoft.com/office/drawing/2014/main" id="{5CDA0DF0-21C6-4FA0-B1EF-EDF2D0D4E9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13397" y="4400413"/>
              <a:ext cx="59010" cy="59010"/>
            </a:xfrm>
            <a:custGeom>
              <a:avLst/>
              <a:gdLst>
                <a:gd name="T0" fmla="*/ 6 w 11"/>
                <a:gd name="T1" fmla="*/ 0 h 11"/>
                <a:gd name="T2" fmla="*/ 0 w 11"/>
                <a:gd name="T3" fmla="*/ 6 h 11"/>
                <a:gd name="T4" fmla="*/ 5 w 11"/>
                <a:gd name="T5" fmla="*/ 11 h 11"/>
                <a:gd name="T6" fmla="*/ 11 w 11"/>
                <a:gd name="T7" fmla="*/ 6 h 11"/>
                <a:gd name="T8" fmla="*/ 6 w 11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1">
                  <a:moveTo>
                    <a:pt x="6" y="0"/>
                  </a:moveTo>
                  <a:cubicBezTo>
                    <a:pt x="2" y="0"/>
                    <a:pt x="0" y="2"/>
                    <a:pt x="0" y="6"/>
                  </a:cubicBezTo>
                  <a:cubicBezTo>
                    <a:pt x="0" y="9"/>
                    <a:pt x="2" y="11"/>
                    <a:pt x="5" y="11"/>
                  </a:cubicBezTo>
                  <a:cubicBezTo>
                    <a:pt x="8" y="11"/>
                    <a:pt x="11" y="9"/>
                    <a:pt x="11" y="6"/>
                  </a:cubicBezTo>
                  <a:cubicBezTo>
                    <a:pt x="11" y="2"/>
                    <a:pt x="9" y="0"/>
                    <a:pt x="6" y="0"/>
                  </a:cubicBezTo>
                </a:path>
              </a:pathLst>
            </a:custGeom>
            <a:solidFill>
              <a:srgbClr val="8A74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" name="Freeform 209">
              <a:extLst>
                <a:ext uri="{FF2B5EF4-FFF2-40B4-BE49-F238E27FC236}">
                  <a16:creationId xmlns:a16="http://schemas.microsoft.com/office/drawing/2014/main" id="{44F0BC14-E6AD-4ADF-A5AF-DE09255743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68403" y="5005681"/>
              <a:ext cx="47207" cy="21918"/>
            </a:xfrm>
            <a:custGeom>
              <a:avLst/>
              <a:gdLst>
                <a:gd name="T0" fmla="*/ 7 w 9"/>
                <a:gd name="T1" fmla="*/ 1 h 4"/>
                <a:gd name="T2" fmla="*/ 0 w 9"/>
                <a:gd name="T3" fmla="*/ 0 h 4"/>
                <a:gd name="T4" fmla="*/ 3 w 9"/>
                <a:gd name="T5" fmla="*/ 4 h 4"/>
                <a:gd name="T6" fmla="*/ 9 w 9"/>
                <a:gd name="T7" fmla="*/ 2 h 4"/>
                <a:gd name="T8" fmla="*/ 7 w 9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4">
                  <a:moveTo>
                    <a:pt x="7" y="1"/>
                  </a:moveTo>
                  <a:cubicBezTo>
                    <a:pt x="4" y="1"/>
                    <a:pt x="2" y="1"/>
                    <a:pt x="0" y="0"/>
                  </a:cubicBezTo>
                  <a:cubicBezTo>
                    <a:pt x="2" y="1"/>
                    <a:pt x="1" y="3"/>
                    <a:pt x="3" y="4"/>
                  </a:cubicBezTo>
                  <a:cubicBezTo>
                    <a:pt x="5" y="4"/>
                    <a:pt x="9" y="3"/>
                    <a:pt x="9" y="2"/>
                  </a:cubicBezTo>
                  <a:cubicBezTo>
                    <a:pt x="9" y="1"/>
                    <a:pt x="8" y="1"/>
                    <a:pt x="7" y="1"/>
                  </a:cubicBezTo>
                  <a:close/>
                </a:path>
              </a:pathLst>
            </a:custGeom>
            <a:solidFill>
              <a:srgbClr val="FCD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" name="Freeform 210">
              <a:extLst>
                <a:ext uri="{FF2B5EF4-FFF2-40B4-BE49-F238E27FC236}">
                  <a16:creationId xmlns:a16="http://schemas.microsoft.com/office/drawing/2014/main" id="{2859E2E4-DD99-4C6C-BE1A-A4BDD7A10A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14451" y="5000622"/>
              <a:ext cx="155110" cy="123077"/>
            </a:xfrm>
            <a:custGeom>
              <a:avLst/>
              <a:gdLst>
                <a:gd name="T0" fmla="*/ 24 w 29"/>
                <a:gd name="T1" fmla="*/ 11 h 23"/>
                <a:gd name="T2" fmla="*/ 15 w 29"/>
                <a:gd name="T3" fmla="*/ 4 h 23"/>
                <a:gd name="T4" fmla="*/ 8 w 29"/>
                <a:gd name="T5" fmla="*/ 0 h 23"/>
                <a:gd name="T6" fmla="*/ 0 w 29"/>
                <a:gd name="T7" fmla="*/ 9 h 23"/>
                <a:gd name="T8" fmla="*/ 17 w 29"/>
                <a:gd name="T9" fmla="*/ 19 h 23"/>
                <a:gd name="T10" fmla="*/ 23 w 29"/>
                <a:gd name="T11" fmla="*/ 20 h 23"/>
                <a:gd name="T12" fmla="*/ 27 w 29"/>
                <a:gd name="T13" fmla="*/ 20 h 23"/>
                <a:gd name="T14" fmla="*/ 29 w 29"/>
                <a:gd name="T15" fmla="*/ 19 h 23"/>
                <a:gd name="T16" fmla="*/ 29 w 29"/>
                <a:gd name="T17" fmla="*/ 15 h 23"/>
                <a:gd name="T18" fmla="*/ 24 w 29"/>
                <a:gd name="T1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23">
                  <a:moveTo>
                    <a:pt x="24" y="11"/>
                  </a:moveTo>
                  <a:cubicBezTo>
                    <a:pt x="23" y="11"/>
                    <a:pt x="18" y="6"/>
                    <a:pt x="15" y="4"/>
                  </a:cubicBezTo>
                  <a:cubicBezTo>
                    <a:pt x="13" y="3"/>
                    <a:pt x="10" y="1"/>
                    <a:pt x="8" y="0"/>
                  </a:cubicBezTo>
                  <a:cubicBezTo>
                    <a:pt x="8" y="0"/>
                    <a:pt x="1" y="7"/>
                    <a:pt x="0" y="9"/>
                  </a:cubicBezTo>
                  <a:cubicBezTo>
                    <a:pt x="4" y="12"/>
                    <a:pt x="16" y="19"/>
                    <a:pt x="17" y="19"/>
                  </a:cubicBezTo>
                  <a:cubicBezTo>
                    <a:pt x="21" y="23"/>
                    <a:pt x="23" y="22"/>
                    <a:pt x="23" y="20"/>
                  </a:cubicBezTo>
                  <a:cubicBezTo>
                    <a:pt x="23" y="20"/>
                    <a:pt x="27" y="21"/>
                    <a:pt x="27" y="20"/>
                  </a:cubicBezTo>
                  <a:cubicBezTo>
                    <a:pt x="27" y="20"/>
                    <a:pt x="28" y="20"/>
                    <a:pt x="29" y="19"/>
                  </a:cubicBezTo>
                  <a:cubicBezTo>
                    <a:pt x="29" y="18"/>
                    <a:pt x="29" y="16"/>
                    <a:pt x="29" y="15"/>
                  </a:cubicBezTo>
                  <a:cubicBezTo>
                    <a:pt x="28" y="14"/>
                    <a:pt x="25" y="12"/>
                    <a:pt x="24" y="11"/>
                  </a:cubicBezTo>
                  <a:close/>
                </a:path>
              </a:pathLst>
            </a:custGeom>
            <a:solidFill>
              <a:srgbClr val="FCD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" name="Freeform 211">
              <a:extLst>
                <a:ext uri="{FF2B5EF4-FFF2-40B4-BE49-F238E27FC236}">
                  <a16:creationId xmlns:a16="http://schemas.microsoft.com/office/drawing/2014/main" id="{858BE79D-DBBA-4E5E-81AE-FE4C8D0156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60395" y="4688716"/>
              <a:ext cx="401264" cy="364172"/>
            </a:xfrm>
            <a:custGeom>
              <a:avLst/>
              <a:gdLst>
                <a:gd name="T0" fmla="*/ 18 w 75"/>
                <a:gd name="T1" fmla="*/ 3 h 68"/>
                <a:gd name="T2" fmla="*/ 16 w 75"/>
                <a:gd name="T3" fmla="*/ 1 h 68"/>
                <a:gd name="T4" fmla="*/ 3 w 75"/>
                <a:gd name="T5" fmla="*/ 9 h 68"/>
                <a:gd name="T6" fmla="*/ 68 w 75"/>
                <a:gd name="T7" fmla="*/ 68 h 68"/>
                <a:gd name="T8" fmla="*/ 75 w 75"/>
                <a:gd name="T9" fmla="*/ 59 h 68"/>
                <a:gd name="T10" fmla="*/ 18 w 75"/>
                <a:gd name="T11" fmla="*/ 3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" h="68">
                  <a:moveTo>
                    <a:pt x="18" y="3"/>
                  </a:moveTo>
                  <a:cubicBezTo>
                    <a:pt x="17" y="2"/>
                    <a:pt x="17" y="2"/>
                    <a:pt x="16" y="1"/>
                  </a:cubicBezTo>
                  <a:cubicBezTo>
                    <a:pt x="12" y="0"/>
                    <a:pt x="5" y="0"/>
                    <a:pt x="3" y="9"/>
                  </a:cubicBezTo>
                  <a:cubicBezTo>
                    <a:pt x="0" y="18"/>
                    <a:pt x="47" y="55"/>
                    <a:pt x="68" y="68"/>
                  </a:cubicBezTo>
                  <a:cubicBezTo>
                    <a:pt x="69" y="65"/>
                    <a:pt x="71" y="62"/>
                    <a:pt x="75" y="59"/>
                  </a:cubicBezTo>
                  <a:cubicBezTo>
                    <a:pt x="62" y="51"/>
                    <a:pt x="29" y="11"/>
                    <a:pt x="18" y="3"/>
                  </a:cubicBezTo>
                  <a:close/>
                </a:path>
              </a:pathLst>
            </a:custGeom>
            <a:solidFill>
              <a:srgbClr val="FCD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" name="Freeform 212">
              <a:extLst>
                <a:ext uri="{FF2B5EF4-FFF2-40B4-BE49-F238E27FC236}">
                  <a16:creationId xmlns:a16="http://schemas.microsoft.com/office/drawing/2014/main" id="{C17254AC-B352-4F04-B3AC-5A0118F4C3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37319" y="4287453"/>
              <a:ext cx="263013" cy="536142"/>
            </a:xfrm>
            <a:custGeom>
              <a:avLst/>
              <a:gdLst>
                <a:gd name="T0" fmla="*/ 37 w 49"/>
                <a:gd name="T1" fmla="*/ 3 h 100"/>
                <a:gd name="T2" fmla="*/ 9 w 49"/>
                <a:gd name="T3" fmla="*/ 10 h 100"/>
                <a:gd name="T4" fmla="*/ 27 w 49"/>
                <a:gd name="T5" fmla="*/ 88 h 100"/>
                <a:gd name="T6" fmla="*/ 44 w 49"/>
                <a:gd name="T7" fmla="*/ 76 h 100"/>
                <a:gd name="T8" fmla="*/ 37 w 49"/>
                <a:gd name="T9" fmla="*/ 3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100">
                  <a:moveTo>
                    <a:pt x="37" y="3"/>
                  </a:moveTo>
                  <a:cubicBezTo>
                    <a:pt x="36" y="0"/>
                    <a:pt x="13" y="7"/>
                    <a:pt x="9" y="10"/>
                  </a:cubicBezTo>
                  <a:cubicBezTo>
                    <a:pt x="0" y="16"/>
                    <a:pt x="17" y="70"/>
                    <a:pt x="27" y="88"/>
                  </a:cubicBezTo>
                  <a:cubicBezTo>
                    <a:pt x="31" y="95"/>
                    <a:pt x="49" y="100"/>
                    <a:pt x="44" y="76"/>
                  </a:cubicBezTo>
                  <a:cubicBezTo>
                    <a:pt x="40" y="56"/>
                    <a:pt x="40" y="15"/>
                    <a:pt x="37" y="3"/>
                  </a:cubicBezTo>
                  <a:close/>
                </a:path>
              </a:pathLst>
            </a:custGeom>
            <a:solidFill>
              <a:srgbClr val="FCD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" name="Freeform 213">
              <a:extLst>
                <a:ext uri="{FF2B5EF4-FFF2-40B4-BE49-F238E27FC236}">
                  <a16:creationId xmlns:a16="http://schemas.microsoft.com/office/drawing/2014/main" id="{DC02F874-464C-4031-8B49-0A7907E416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25516" y="4238559"/>
              <a:ext cx="542886" cy="826131"/>
            </a:xfrm>
            <a:custGeom>
              <a:avLst/>
              <a:gdLst>
                <a:gd name="T0" fmla="*/ 66 w 101"/>
                <a:gd name="T1" fmla="*/ 106 h 154"/>
                <a:gd name="T2" fmla="*/ 50 w 101"/>
                <a:gd name="T3" fmla="*/ 89 h 154"/>
                <a:gd name="T4" fmla="*/ 49 w 101"/>
                <a:gd name="T5" fmla="*/ 84 h 154"/>
                <a:gd name="T6" fmla="*/ 43 w 101"/>
                <a:gd name="T7" fmla="*/ 10 h 154"/>
                <a:gd name="T8" fmla="*/ 7 w 101"/>
                <a:gd name="T9" fmla="*/ 20 h 154"/>
                <a:gd name="T10" fmla="*/ 26 w 101"/>
                <a:gd name="T11" fmla="*/ 98 h 154"/>
                <a:gd name="T12" fmla="*/ 91 w 101"/>
                <a:gd name="T13" fmla="*/ 154 h 154"/>
                <a:gd name="T14" fmla="*/ 101 w 101"/>
                <a:gd name="T15" fmla="*/ 140 h 154"/>
                <a:gd name="T16" fmla="*/ 66 w 101"/>
                <a:gd name="T17" fmla="*/ 10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154">
                  <a:moveTo>
                    <a:pt x="66" y="106"/>
                  </a:moveTo>
                  <a:cubicBezTo>
                    <a:pt x="60" y="99"/>
                    <a:pt x="54" y="93"/>
                    <a:pt x="50" y="89"/>
                  </a:cubicBezTo>
                  <a:cubicBezTo>
                    <a:pt x="50" y="88"/>
                    <a:pt x="50" y="86"/>
                    <a:pt x="49" y="84"/>
                  </a:cubicBezTo>
                  <a:cubicBezTo>
                    <a:pt x="47" y="75"/>
                    <a:pt x="51" y="20"/>
                    <a:pt x="43" y="10"/>
                  </a:cubicBezTo>
                  <a:cubicBezTo>
                    <a:pt x="35" y="1"/>
                    <a:pt x="16" y="0"/>
                    <a:pt x="7" y="20"/>
                  </a:cubicBezTo>
                  <a:cubicBezTo>
                    <a:pt x="0" y="33"/>
                    <a:pt x="18" y="84"/>
                    <a:pt x="26" y="98"/>
                  </a:cubicBezTo>
                  <a:cubicBezTo>
                    <a:pt x="34" y="113"/>
                    <a:pt x="73" y="143"/>
                    <a:pt x="91" y="154"/>
                  </a:cubicBezTo>
                  <a:cubicBezTo>
                    <a:pt x="101" y="140"/>
                    <a:pt x="101" y="140"/>
                    <a:pt x="101" y="140"/>
                  </a:cubicBezTo>
                  <a:cubicBezTo>
                    <a:pt x="94" y="136"/>
                    <a:pt x="78" y="119"/>
                    <a:pt x="66" y="106"/>
                  </a:cubicBezTo>
                  <a:close/>
                </a:path>
              </a:pathLst>
            </a:custGeom>
            <a:solidFill>
              <a:srgbClr val="C6F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" name="Freeform 214">
              <a:extLst>
                <a:ext uri="{FF2B5EF4-FFF2-40B4-BE49-F238E27FC236}">
                  <a16:creationId xmlns:a16="http://schemas.microsoft.com/office/drawing/2014/main" id="{42E3E518-82B6-4D9C-ACB0-D254563EE2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3419" y="5000622"/>
              <a:ext cx="1040251" cy="411380"/>
            </a:xfrm>
            <a:custGeom>
              <a:avLst/>
              <a:gdLst>
                <a:gd name="T0" fmla="*/ 170 w 194"/>
                <a:gd name="T1" fmla="*/ 30 h 77"/>
                <a:gd name="T2" fmla="*/ 21 w 194"/>
                <a:gd name="T3" fmla="*/ 1 h 77"/>
                <a:gd name="T4" fmla="*/ 27 w 194"/>
                <a:gd name="T5" fmla="*/ 60 h 77"/>
                <a:gd name="T6" fmla="*/ 174 w 194"/>
                <a:gd name="T7" fmla="*/ 70 h 77"/>
                <a:gd name="T8" fmla="*/ 170 w 194"/>
                <a:gd name="T9" fmla="*/ 3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4" h="77">
                  <a:moveTo>
                    <a:pt x="170" y="30"/>
                  </a:moveTo>
                  <a:cubicBezTo>
                    <a:pt x="128" y="8"/>
                    <a:pt x="40" y="0"/>
                    <a:pt x="21" y="1"/>
                  </a:cubicBezTo>
                  <a:cubicBezTo>
                    <a:pt x="11" y="2"/>
                    <a:pt x="0" y="46"/>
                    <a:pt x="27" y="60"/>
                  </a:cubicBezTo>
                  <a:cubicBezTo>
                    <a:pt x="62" y="77"/>
                    <a:pt x="151" y="73"/>
                    <a:pt x="174" y="70"/>
                  </a:cubicBezTo>
                  <a:cubicBezTo>
                    <a:pt x="182" y="69"/>
                    <a:pt x="194" y="42"/>
                    <a:pt x="170" y="30"/>
                  </a:cubicBezTo>
                  <a:close/>
                </a:path>
              </a:pathLst>
            </a:custGeom>
            <a:solidFill>
              <a:srgbClr val="B0C1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" name="Freeform 215">
              <a:extLst>
                <a:ext uri="{FF2B5EF4-FFF2-40B4-BE49-F238E27FC236}">
                  <a16:creationId xmlns:a16="http://schemas.microsoft.com/office/drawing/2014/main" id="{6ECFD8E9-E362-407B-929B-C7A8C52C0B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74620" y="5965004"/>
              <a:ext cx="70811" cy="74183"/>
            </a:xfrm>
            <a:custGeom>
              <a:avLst/>
              <a:gdLst>
                <a:gd name="T0" fmla="*/ 1 w 13"/>
                <a:gd name="T1" fmla="*/ 2 h 14"/>
                <a:gd name="T2" fmla="*/ 1 w 13"/>
                <a:gd name="T3" fmla="*/ 14 h 14"/>
                <a:gd name="T4" fmla="*/ 12 w 13"/>
                <a:gd name="T5" fmla="*/ 10 h 14"/>
                <a:gd name="T6" fmla="*/ 13 w 13"/>
                <a:gd name="T7" fmla="*/ 3 h 14"/>
                <a:gd name="T8" fmla="*/ 3 w 13"/>
                <a:gd name="T9" fmla="*/ 1 h 14"/>
                <a:gd name="T10" fmla="*/ 1 w 13"/>
                <a:gd name="T11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4">
                  <a:moveTo>
                    <a:pt x="1" y="2"/>
                  </a:moveTo>
                  <a:cubicBezTo>
                    <a:pt x="0" y="9"/>
                    <a:pt x="1" y="14"/>
                    <a:pt x="1" y="14"/>
                  </a:cubicBezTo>
                  <a:cubicBezTo>
                    <a:pt x="1" y="14"/>
                    <a:pt x="8" y="14"/>
                    <a:pt x="12" y="10"/>
                  </a:cubicBezTo>
                  <a:cubicBezTo>
                    <a:pt x="12" y="10"/>
                    <a:pt x="12" y="7"/>
                    <a:pt x="13" y="3"/>
                  </a:cubicBezTo>
                  <a:cubicBezTo>
                    <a:pt x="10" y="0"/>
                    <a:pt x="6" y="0"/>
                    <a:pt x="3" y="1"/>
                  </a:cubicBezTo>
                  <a:cubicBezTo>
                    <a:pt x="2" y="2"/>
                    <a:pt x="1" y="2"/>
                    <a:pt x="1" y="2"/>
                  </a:cubicBezTo>
                </a:path>
              </a:pathLst>
            </a:custGeom>
            <a:solidFill>
              <a:srgbClr val="FCD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" name="Freeform 216">
              <a:extLst>
                <a:ext uri="{FF2B5EF4-FFF2-40B4-BE49-F238E27FC236}">
                  <a16:creationId xmlns:a16="http://schemas.microsoft.com/office/drawing/2014/main" id="{12A56643-5E36-4D4A-8CFE-08DEF923BE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74620" y="5145617"/>
              <a:ext cx="493993" cy="861537"/>
            </a:xfrm>
            <a:custGeom>
              <a:avLst/>
              <a:gdLst>
                <a:gd name="T0" fmla="*/ 38 w 92"/>
                <a:gd name="T1" fmla="*/ 36 h 161"/>
                <a:gd name="T2" fmla="*/ 0 w 92"/>
                <a:gd name="T3" fmla="*/ 156 h 161"/>
                <a:gd name="T4" fmla="*/ 13 w 92"/>
                <a:gd name="T5" fmla="*/ 161 h 161"/>
                <a:gd name="T6" fmla="*/ 78 w 92"/>
                <a:gd name="T7" fmla="*/ 42 h 161"/>
                <a:gd name="T8" fmla="*/ 38 w 92"/>
                <a:gd name="T9" fmla="*/ 36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61">
                  <a:moveTo>
                    <a:pt x="38" y="36"/>
                  </a:moveTo>
                  <a:cubicBezTo>
                    <a:pt x="19" y="92"/>
                    <a:pt x="0" y="156"/>
                    <a:pt x="0" y="156"/>
                  </a:cubicBezTo>
                  <a:cubicBezTo>
                    <a:pt x="5" y="154"/>
                    <a:pt x="11" y="157"/>
                    <a:pt x="13" y="161"/>
                  </a:cubicBezTo>
                  <a:cubicBezTo>
                    <a:pt x="13" y="161"/>
                    <a:pt x="46" y="100"/>
                    <a:pt x="78" y="42"/>
                  </a:cubicBezTo>
                  <a:cubicBezTo>
                    <a:pt x="92" y="18"/>
                    <a:pt x="50" y="0"/>
                    <a:pt x="38" y="36"/>
                  </a:cubicBezTo>
                  <a:close/>
                </a:path>
              </a:pathLst>
            </a:custGeom>
            <a:solidFill>
              <a:srgbClr val="B0C1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" name="Freeform 217">
              <a:extLst>
                <a:ext uri="{FF2B5EF4-FFF2-40B4-BE49-F238E27FC236}">
                  <a16:creationId xmlns:a16="http://schemas.microsoft.com/office/drawing/2014/main" id="{D2A906A2-5A02-44A3-A3D6-5FE86A5E68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74620" y="5991980"/>
              <a:ext cx="182086" cy="144994"/>
            </a:xfrm>
            <a:custGeom>
              <a:avLst/>
              <a:gdLst>
                <a:gd name="T0" fmla="*/ 14 w 34"/>
                <a:gd name="T1" fmla="*/ 5 h 27"/>
                <a:gd name="T2" fmla="*/ 12 w 34"/>
                <a:gd name="T3" fmla="*/ 2 h 27"/>
                <a:gd name="T4" fmla="*/ 1 w 34"/>
                <a:gd name="T5" fmla="*/ 6 h 27"/>
                <a:gd name="T6" fmla="*/ 3 w 34"/>
                <a:gd name="T7" fmla="*/ 16 h 27"/>
                <a:gd name="T8" fmla="*/ 13 w 34"/>
                <a:gd name="T9" fmla="*/ 25 h 27"/>
                <a:gd name="T10" fmla="*/ 24 w 34"/>
                <a:gd name="T11" fmla="*/ 26 h 27"/>
                <a:gd name="T12" fmla="*/ 34 w 34"/>
                <a:gd name="T13" fmla="*/ 20 h 27"/>
                <a:gd name="T14" fmla="*/ 14 w 34"/>
                <a:gd name="T15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7">
                  <a:moveTo>
                    <a:pt x="14" y="5"/>
                  </a:moveTo>
                  <a:cubicBezTo>
                    <a:pt x="12" y="3"/>
                    <a:pt x="12" y="2"/>
                    <a:pt x="12" y="2"/>
                  </a:cubicBezTo>
                  <a:cubicBezTo>
                    <a:pt x="12" y="2"/>
                    <a:pt x="3" y="0"/>
                    <a:pt x="1" y="6"/>
                  </a:cubicBezTo>
                  <a:cubicBezTo>
                    <a:pt x="1" y="6"/>
                    <a:pt x="0" y="12"/>
                    <a:pt x="3" y="16"/>
                  </a:cubicBezTo>
                  <a:cubicBezTo>
                    <a:pt x="4" y="17"/>
                    <a:pt x="10" y="24"/>
                    <a:pt x="13" y="25"/>
                  </a:cubicBezTo>
                  <a:cubicBezTo>
                    <a:pt x="16" y="27"/>
                    <a:pt x="20" y="26"/>
                    <a:pt x="24" y="26"/>
                  </a:cubicBezTo>
                  <a:cubicBezTo>
                    <a:pt x="29" y="25"/>
                    <a:pt x="34" y="22"/>
                    <a:pt x="34" y="20"/>
                  </a:cubicBezTo>
                  <a:cubicBezTo>
                    <a:pt x="33" y="15"/>
                    <a:pt x="18" y="8"/>
                    <a:pt x="14" y="5"/>
                  </a:cubicBezTo>
                </a:path>
              </a:pathLst>
            </a:custGeom>
            <a:solidFill>
              <a:srgbClr val="6855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pic>
          <p:nvPicPr>
            <p:cNvPr id="36" name="Picture 218">
              <a:extLst>
                <a:ext uri="{FF2B5EF4-FFF2-40B4-BE49-F238E27FC236}">
                  <a16:creationId xmlns:a16="http://schemas.microsoft.com/office/drawing/2014/main" id="{60BA8C3F-913E-4D16-BB55-A45F67886141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45431" y="6104941"/>
              <a:ext cx="64067" cy="472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7" name="Freeform 219">
              <a:extLst>
                <a:ext uri="{FF2B5EF4-FFF2-40B4-BE49-F238E27FC236}">
                  <a16:creationId xmlns:a16="http://schemas.microsoft.com/office/drawing/2014/main" id="{6C7C168A-5063-4B1D-AB97-2369BF333F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79677" y="6034130"/>
              <a:ext cx="161854" cy="96102"/>
            </a:xfrm>
            <a:custGeom>
              <a:avLst/>
              <a:gdLst>
                <a:gd name="T0" fmla="*/ 8 w 30"/>
                <a:gd name="T1" fmla="*/ 0 h 18"/>
                <a:gd name="T2" fmla="*/ 4 w 30"/>
                <a:gd name="T3" fmla="*/ 10 h 18"/>
                <a:gd name="T4" fmla="*/ 13 w 30"/>
                <a:gd name="T5" fmla="*/ 18 h 18"/>
                <a:gd name="T6" fmla="*/ 16 w 30"/>
                <a:gd name="T7" fmla="*/ 18 h 18"/>
                <a:gd name="T8" fmla="*/ 17 w 30"/>
                <a:gd name="T9" fmla="*/ 18 h 18"/>
                <a:gd name="T10" fmla="*/ 21 w 30"/>
                <a:gd name="T11" fmla="*/ 18 h 18"/>
                <a:gd name="T12" fmla="*/ 22 w 30"/>
                <a:gd name="T13" fmla="*/ 18 h 18"/>
                <a:gd name="T14" fmla="*/ 30 w 30"/>
                <a:gd name="T15" fmla="*/ 13 h 18"/>
                <a:gd name="T16" fmla="*/ 11 w 30"/>
                <a:gd name="T17" fmla="*/ 0 h 18"/>
                <a:gd name="T18" fmla="*/ 8 w 30"/>
                <a:gd name="T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18">
                  <a:moveTo>
                    <a:pt x="8" y="0"/>
                  </a:moveTo>
                  <a:cubicBezTo>
                    <a:pt x="4" y="0"/>
                    <a:pt x="0" y="4"/>
                    <a:pt x="4" y="10"/>
                  </a:cubicBezTo>
                  <a:cubicBezTo>
                    <a:pt x="5" y="11"/>
                    <a:pt x="11" y="16"/>
                    <a:pt x="13" y="18"/>
                  </a:cubicBezTo>
                  <a:cubicBezTo>
                    <a:pt x="14" y="18"/>
                    <a:pt x="15" y="18"/>
                    <a:pt x="16" y="18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18" y="18"/>
                    <a:pt x="19" y="18"/>
                    <a:pt x="21" y="18"/>
                  </a:cubicBezTo>
                  <a:cubicBezTo>
                    <a:pt x="21" y="18"/>
                    <a:pt x="22" y="18"/>
                    <a:pt x="22" y="18"/>
                  </a:cubicBezTo>
                  <a:cubicBezTo>
                    <a:pt x="26" y="17"/>
                    <a:pt x="30" y="15"/>
                    <a:pt x="30" y="13"/>
                  </a:cubicBezTo>
                  <a:cubicBezTo>
                    <a:pt x="30" y="9"/>
                    <a:pt x="16" y="3"/>
                    <a:pt x="11" y="0"/>
                  </a:cubicBezTo>
                  <a:cubicBezTo>
                    <a:pt x="10" y="0"/>
                    <a:pt x="9" y="0"/>
                    <a:pt x="8" y="0"/>
                  </a:cubicBezTo>
                </a:path>
              </a:pathLst>
            </a:custGeom>
            <a:solidFill>
              <a:srgbClr val="2A1C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8" name="Freeform 220">
              <a:extLst>
                <a:ext uri="{FF2B5EF4-FFF2-40B4-BE49-F238E27FC236}">
                  <a16:creationId xmlns:a16="http://schemas.microsoft.com/office/drawing/2014/main" id="{C1A6A53A-EA1F-4A1F-89CD-F7CE3B8138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02545" y="5959947"/>
              <a:ext cx="85986" cy="96102"/>
            </a:xfrm>
            <a:custGeom>
              <a:avLst/>
              <a:gdLst>
                <a:gd name="T0" fmla="*/ 5 w 16"/>
                <a:gd name="T1" fmla="*/ 2 h 18"/>
                <a:gd name="T2" fmla="*/ 0 w 16"/>
                <a:gd name="T3" fmla="*/ 11 h 18"/>
                <a:gd name="T4" fmla="*/ 13 w 16"/>
                <a:gd name="T5" fmla="*/ 18 h 18"/>
                <a:gd name="T6" fmla="*/ 16 w 16"/>
                <a:gd name="T7" fmla="*/ 5 h 18"/>
                <a:gd name="T8" fmla="*/ 14 w 16"/>
                <a:gd name="T9" fmla="*/ 3 h 18"/>
                <a:gd name="T10" fmla="*/ 5 w 16"/>
                <a:gd name="T11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8">
                  <a:moveTo>
                    <a:pt x="5" y="2"/>
                  </a:moveTo>
                  <a:cubicBezTo>
                    <a:pt x="3" y="7"/>
                    <a:pt x="0" y="11"/>
                    <a:pt x="0" y="11"/>
                  </a:cubicBezTo>
                  <a:cubicBezTo>
                    <a:pt x="4" y="15"/>
                    <a:pt x="13" y="18"/>
                    <a:pt x="13" y="18"/>
                  </a:cubicBezTo>
                  <a:cubicBezTo>
                    <a:pt x="13" y="18"/>
                    <a:pt x="15" y="11"/>
                    <a:pt x="16" y="5"/>
                  </a:cubicBezTo>
                  <a:cubicBezTo>
                    <a:pt x="16" y="5"/>
                    <a:pt x="15" y="4"/>
                    <a:pt x="14" y="3"/>
                  </a:cubicBezTo>
                  <a:cubicBezTo>
                    <a:pt x="11" y="1"/>
                    <a:pt x="8" y="0"/>
                    <a:pt x="5" y="2"/>
                  </a:cubicBezTo>
                </a:path>
              </a:pathLst>
            </a:custGeom>
            <a:solidFill>
              <a:srgbClr val="FCD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9" name="Freeform 221">
              <a:extLst>
                <a:ext uri="{FF2B5EF4-FFF2-40B4-BE49-F238E27FC236}">
                  <a16:creationId xmlns:a16="http://schemas.microsoft.com/office/drawing/2014/main" id="{A6B45064-5821-4C39-9B2A-4645CF1BBC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24462" y="5236660"/>
              <a:ext cx="445099" cy="770494"/>
            </a:xfrm>
            <a:custGeom>
              <a:avLst/>
              <a:gdLst>
                <a:gd name="T0" fmla="*/ 35 w 83"/>
                <a:gd name="T1" fmla="*/ 37 h 144"/>
                <a:gd name="T2" fmla="*/ 0 w 83"/>
                <a:gd name="T3" fmla="*/ 139 h 144"/>
                <a:gd name="T4" fmla="*/ 13 w 83"/>
                <a:gd name="T5" fmla="*/ 144 h 144"/>
                <a:gd name="T6" fmla="*/ 69 w 83"/>
                <a:gd name="T7" fmla="*/ 45 h 144"/>
                <a:gd name="T8" fmla="*/ 35 w 83"/>
                <a:gd name="T9" fmla="*/ 37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144">
                  <a:moveTo>
                    <a:pt x="35" y="37"/>
                  </a:moveTo>
                  <a:cubicBezTo>
                    <a:pt x="16" y="92"/>
                    <a:pt x="0" y="139"/>
                    <a:pt x="0" y="139"/>
                  </a:cubicBezTo>
                  <a:cubicBezTo>
                    <a:pt x="5" y="137"/>
                    <a:pt x="11" y="140"/>
                    <a:pt x="13" y="144"/>
                  </a:cubicBezTo>
                  <a:cubicBezTo>
                    <a:pt x="13" y="144"/>
                    <a:pt x="37" y="104"/>
                    <a:pt x="69" y="45"/>
                  </a:cubicBezTo>
                  <a:cubicBezTo>
                    <a:pt x="83" y="21"/>
                    <a:pt x="47" y="0"/>
                    <a:pt x="35" y="37"/>
                  </a:cubicBezTo>
                  <a:close/>
                </a:path>
              </a:pathLst>
            </a:custGeom>
            <a:solidFill>
              <a:srgbClr val="B0C1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0" name="Freeform 222">
              <a:extLst>
                <a:ext uri="{FF2B5EF4-FFF2-40B4-BE49-F238E27FC236}">
                  <a16:creationId xmlns:a16="http://schemas.microsoft.com/office/drawing/2014/main" id="{E95AEB3E-6FBE-485C-A206-9AAE50763A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01386" y="5997038"/>
              <a:ext cx="177029" cy="139937"/>
            </a:xfrm>
            <a:custGeom>
              <a:avLst/>
              <a:gdLst>
                <a:gd name="T0" fmla="*/ 29 w 33"/>
                <a:gd name="T1" fmla="*/ 1 h 26"/>
                <a:gd name="T2" fmla="*/ 29 w 33"/>
                <a:gd name="T3" fmla="*/ 1 h 26"/>
                <a:gd name="T4" fmla="*/ 20 w 33"/>
                <a:gd name="T5" fmla="*/ 3 h 26"/>
                <a:gd name="T6" fmla="*/ 19 w 33"/>
                <a:gd name="T7" fmla="*/ 4 h 26"/>
                <a:gd name="T8" fmla="*/ 0 w 33"/>
                <a:gd name="T9" fmla="*/ 19 h 26"/>
                <a:gd name="T10" fmla="*/ 9 w 33"/>
                <a:gd name="T11" fmla="*/ 25 h 26"/>
                <a:gd name="T12" fmla="*/ 20 w 33"/>
                <a:gd name="T13" fmla="*/ 24 h 26"/>
                <a:gd name="T14" fmla="*/ 31 w 33"/>
                <a:gd name="T15" fmla="*/ 15 h 26"/>
                <a:gd name="T16" fmla="*/ 33 w 33"/>
                <a:gd name="T17" fmla="*/ 8 h 26"/>
                <a:gd name="T18" fmla="*/ 29 w 33"/>
                <a:gd name="T19" fmla="*/ 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26">
                  <a:moveTo>
                    <a:pt x="29" y="1"/>
                  </a:moveTo>
                  <a:cubicBezTo>
                    <a:pt x="29" y="1"/>
                    <a:pt x="29" y="1"/>
                    <a:pt x="29" y="1"/>
                  </a:cubicBezTo>
                  <a:cubicBezTo>
                    <a:pt x="26" y="0"/>
                    <a:pt x="22" y="1"/>
                    <a:pt x="20" y="3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6" y="7"/>
                    <a:pt x="1" y="14"/>
                    <a:pt x="0" y="19"/>
                  </a:cubicBezTo>
                  <a:cubicBezTo>
                    <a:pt x="0" y="21"/>
                    <a:pt x="5" y="24"/>
                    <a:pt x="9" y="25"/>
                  </a:cubicBezTo>
                  <a:cubicBezTo>
                    <a:pt x="14" y="25"/>
                    <a:pt x="18" y="26"/>
                    <a:pt x="20" y="24"/>
                  </a:cubicBezTo>
                  <a:cubicBezTo>
                    <a:pt x="23" y="23"/>
                    <a:pt x="30" y="16"/>
                    <a:pt x="31" y="15"/>
                  </a:cubicBezTo>
                  <a:cubicBezTo>
                    <a:pt x="32" y="13"/>
                    <a:pt x="32" y="10"/>
                    <a:pt x="33" y="8"/>
                  </a:cubicBezTo>
                  <a:cubicBezTo>
                    <a:pt x="33" y="5"/>
                    <a:pt x="31" y="2"/>
                    <a:pt x="29" y="1"/>
                  </a:cubicBezTo>
                </a:path>
              </a:pathLst>
            </a:custGeom>
            <a:solidFill>
              <a:srgbClr val="6855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pic>
          <p:nvPicPr>
            <p:cNvPr id="41" name="Picture 223">
              <a:extLst>
                <a:ext uri="{FF2B5EF4-FFF2-40B4-BE49-F238E27FC236}">
                  <a16:creationId xmlns:a16="http://schemas.microsoft.com/office/drawing/2014/main" id="{0A4854EE-D216-4AED-AC98-55DE7AD97F5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43535" y="6104941"/>
              <a:ext cx="64067" cy="472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2" name="Freeform 224">
              <a:extLst>
                <a:ext uri="{FF2B5EF4-FFF2-40B4-BE49-F238E27FC236}">
                  <a16:creationId xmlns:a16="http://schemas.microsoft.com/office/drawing/2014/main" id="{DCA107A9-407A-471D-BAF9-DCF01EB73F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11502" y="6034130"/>
              <a:ext cx="161854" cy="96102"/>
            </a:xfrm>
            <a:custGeom>
              <a:avLst/>
              <a:gdLst>
                <a:gd name="T0" fmla="*/ 22 w 30"/>
                <a:gd name="T1" fmla="*/ 0 h 18"/>
                <a:gd name="T2" fmla="*/ 20 w 30"/>
                <a:gd name="T3" fmla="*/ 0 h 18"/>
                <a:gd name="T4" fmla="*/ 0 w 30"/>
                <a:gd name="T5" fmla="*/ 13 h 18"/>
                <a:gd name="T6" fmla="*/ 8 w 30"/>
                <a:gd name="T7" fmla="*/ 18 h 18"/>
                <a:gd name="T8" fmla="*/ 10 w 30"/>
                <a:gd name="T9" fmla="*/ 18 h 18"/>
                <a:gd name="T10" fmla="*/ 13 w 30"/>
                <a:gd name="T11" fmla="*/ 18 h 18"/>
                <a:gd name="T12" fmla="*/ 14 w 30"/>
                <a:gd name="T13" fmla="*/ 18 h 18"/>
                <a:gd name="T14" fmla="*/ 17 w 30"/>
                <a:gd name="T15" fmla="*/ 18 h 18"/>
                <a:gd name="T16" fmla="*/ 26 w 30"/>
                <a:gd name="T17" fmla="*/ 10 h 18"/>
                <a:gd name="T18" fmla="*/ 22 w 30"/>
                <a:gd name="T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18">
                  <a:moveTo>
                    <a:pt x="22" y="0"/>
                  </a:moveTo>
                  <a:cubicBezTo>
                    <a:pt x="21" y="0"/>
                    <a:pt x="20" y="0"/>
                    <a:pt x="20" y="0"/>
                  </a:cubicBezTo>
                  <a:cubicBezTo>
                    <a:pt x="15" y="3"/>
                    <a:pt x="1" y="9"/>
                    <a:pt x="0" y="13"/>
                  </a:cubicBezTo>
                  <a:cubicBezTo>
                    <a:pt x="0" y="15"/>
                    <a:pt x="5" y="17"/>
                    <a:pt x="8" y="18"/>
                  </a:cubicBezTo>
                  <a:cubicBezTo>
                    <a:pt x="9" y="18"/>
                    <a:pt x="9" y="18"/>
                    <a:pt x="10" y="18"/>
                  </a:cubicBezTo>
                  <a:cubicBezTo>
                    <a:pt x="11" y="18"/>
                    <a:pt x="12" y="18"/>
                    <a:pt x="13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6" y="18"/>
                    <a:pt x="17" y="18"/>
                    <a:pt x="17" y="18"/>
                  </a:cubicBezTo>
                  <a:cubicBezTo>
                    <a:pt x="20" y="16"/>
                    <a:pt x="25" y="11"/>
                    <a:pt x="26" y="10"/>
                  </a:cubicBezTo>
                  <a:cubicBezTo>
                    <a:pt x="30" y="4"/>
                    <a:pt x="26" y="0"/>
                    <a:pt x="22" y="0"/>
                  </a:cubicBezTo>
                </a:path>
              </a:pathLst>
            </a:custGeom>
            <a:solidFill>
              <a:srgbClr val="2A1C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" name="Freeform 225">
              <a:extLst>
                <a:ext uri="{FF2B5EF4-FFF2-40B4-BE49-F238E27FC236}">
                  <a16:creationId xmlns:a16="http://schemas.microsoft.com/office/drawing/2014/main" id="{2AD68206-2C70-4706-ADF4-C0BFA27F29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51333" y="4870802"/>
              <a:ext cx="696311" cy="456902"/>
            </a:xfrm>
            <a:custGeom>
              <a:avLst/>
              <a:gdLst>
                <a:gd name="T0" fmla="*/ 117 w 130"/>
                <a:gd name="T1" fmla="*/ 4 h 85"/>
                <a:gd name="T2" fmla="*/ 80 w 130"/>
                <a:gd name="T3" fmla="*/ 8 h 85"/>
                <a:gd name="T4" fmla="*/ 18 w 130"/>
                <a:gd name="T5" fmla="*/ 2 h 85"/>
                <a:gd name="T6" fmla="*/ 4 w 130"/>
                <a:gd name="T7" fmla="*/ 0 h 85"/>
                <a:gd name="T8" fmla="*/ 0 w 130"/>
                <a:gd name="T9" fmla="*/ 52 h 85"/>
                <a:gd name="T10" fmla="*/ 101 w 130"/>
                <a:gd name="T11" fmla="*/ 65 h 85"/>
                <a:gd name="T12" fmla="*/ 130 w 130"/>
                <a:gd name="T13" fmla="*/ 33 h 85"/>
                <a:gd name="T14" fmla="*/ 117 w 130"/>
                <a:gd name="T15" fmla="*/ 4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0" h="85">
                  <a:moveTo>
                    <a:pt x="117" y="4"/>
                  </a:moveTo>
                  <a:cubicBezTo>
                    <a:pt x="106" y="7"/>
                    <a:pt x="93" y="9"/>
                    <a:pt x="80" y="8"/>
                  </a:cubicBezTo>
                  <a:cubicBezTo>
                    <a:pt x="59" y="8"/>
                    <a:pt x="39" y="5"/>
                    <a:pt x="18" y="2"/>
                  </a:cubicBezTo>
                  <a:cubicBezTo>
                    <a:pt x="13" y="1"/>
                    <a:pt x="8" y="1"/>
                    <a:pt x="4" y="0"/>
                  </a:cubicBezTo>
                  <a:cubicBezTo>
                    <a:pt x="2" y="18"/>
                    <a:pt x="0" y="36"/>
                    <a:pt x="0" y="52"/>
                  </a:cubicBezTo>
                  <a:cubicBezTo>
                    <a:pt x="2" y="52"/>
                    <a:pt x="46" y="85"/>
                    <a:pt x="101" y="65"/>
                  </a:cubicBezTo>
                  <a:cubicBezTo>
                    <a:pt x="111" y="61"/>
                    <a:pt x="124" y="55"/>
                    <a:pt x="130" y="33"/>
                  </a:cubicBezTo>
                  <a:cubicBezTo>
                    <a:pt x="121" y="27"/>
                    <a:pt x="117" y="24"/>
                    <a:pt x="117" y="4"/>
                  </a:cubicBezTo>
                  <a:close/>
                </a:path>
              </a:pathLst>
            </a:custGeom>
            <a:solidFill>
              <a:srgbClr val="6855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4" name="Freeform 226">
              <a:extLst>
                <a:ext uri="{FF2B5EF4-FFF2-40B4-BE49-F238E27FC236}">
                  <a16:creationId xmlns:a16="http://schemas.microsoft.com/office/drawing/2014/main" id="{859B0E85-CFA2-41BF-B0B9-AD4FFB38E6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46381" y="4046357"/>
              <a:ext cx="133193" cy="204004"/>
            </a:xfrm>
            <a:custGeom>
              <a:avLst/>
              <a:gdLst>
                <a:gd name="T0" fmla="*/ 3 w 25"/>
                <a:gd name="T1" fmla="*/ 0 h 38"/>
                <a:gd name="T2" fmla="*/ 0 w 25"/>
                <a:gd name="T3" fmla="*/ 26 h 38"/>
                <a:gd name="T4" fmla="*/ 25 w 25"/>
                <a:gd name="T5" fmla="*/ 31 h 38"/>
                <a:gd name="T6" fmla="*/ 25 w 25"/>
                <a:gd name="T7" fmla="*/ 10 h 38"/>
                <a:gd name="T8" fmla="*/ 3 w 25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38">
                  <a:moveTo>
                    <a:pt x="3" y="0"/>
                  </a:moveTo>
                  <a:cubicBezTo>
                    <a:pt x="4" y="6"/>
                    <a:pt x="2" y="23"/>
                    <a:pt x="0" y="26"/>
                  </a:cubicBezTo>
                  <a:cubicBezTo>
                    <a:pt x="5" y="38"/>
                    <a:pt x="23" y="38"/>
                    <a:pt x="25" y="31"/>
                  </a:cubicBezTo>
                  <a:cubicBezTo>
                    <a:pt x="22" y="24"/>
                    <a:pt x="25" y="11"/>
                    <a:pt x="25" y="10"/>
                  </a:cubicBezTo>
                  <a:cubicBezTo>
                    <a:pt x="20" y="10"/>
                    <a:pt x="5" y="1"/>
                    <a:pt x="3" y="0"/>
                  </a:cubicBezTo>
                  <a:close/>
                </a:path>
              </a:pathLst>
            </a:custGeom>
            <a:solidFill>
              <a:srgbClr val="FCD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5" name="Freeform 227">
              <a:extLst>
                <a:ext uri="{FF2B5EF4-FFF2-40B4-BE49-F238E27FC236}">
                  <a16:creationId xmlns:a16="http://schemas.microsoft.com/office/drawing/2014/main" id="{F42188EF-BB87-44DB-9004-A77383F673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88530" y="3874387"/>
              <a:ext cx="220864" cy="289989"/>
            </a:xfrm>
            <a:custGeom>
              <a:avLst/>
              <a:gdLst>
                <a:gd name="T0" fmla="*/ 18 w 41"/>
                <a:gd name="T1" fmla="*/ 1 h 54"/>
                <a:gd name="T2" fmla="*/ 1 w 41"/>
                <a:gd name="T3" fmla="*/ 22 h 54"/>
                <a:gd name="T4" fmla="*/ 2 w 41"/>
                <a:gd name="T5" fmla="*/ 33 h 54"/>
                <a:gd name="T6" fmla="*/ 22 w 41"/>
                <a:gd name="T7" fmla="*/ 51 h 54"/>
                <a:gd name="T8" fmla="*/ 40 w 41"/>
                <a:gd name="T9" fmla="*/ 12 h 54"/>
                <a:gd name="T10" fmla="*/ 18 w 41"/>
                <a:gd name="T11" fmla="*/ 1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54">
                  <a:moveTo>
                    <a:pt x="18" y="1"/>
                  </a:moveTo>
                  <a:cubicBezTo>
                    <a:pt x="7" y="2"/>
                    <a:pt x="0" y="11"/>
                    <a:pt x="1" y="22"/>
                  </a:cubicBezTo>
                  <a:cubicBezTo>
                    <a:pt x="2" y="33"/>
                    <a:pt x="2" y="33"/>
                    <a:pt x="2" y="33"/>
                  </a:cubicBezTo>
                  <a:cubicBezTo>
                    <a:pt x="2" y="41"/>
                    <a:pt x="11" y="54"/>
                    <a:pt x="22" y="51"/>
                  </a:cubicBezTo>
                  <a:cubicBezTo>
                    <a:pt x="39" y="47"/>
                    <a:pt x="41" y="16"/>
                    <a:pt x="40" y="12"/>
                  </a:cubicBezTo>
                  <a:cubicBezTo>
                    <a:pt x="38" y="3"/>
                    <a:pt x="28" y="0"/>
                    <a:pt x="18" y="1"/>
                  </a:cubicBezTo>
                  <a:close/>
                </a:path>
              </a:pathLst>
            </a:custGeom>
            <a:solidFill>
              <a:srgbClr val="FCD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6" name="Freeform 228">
              <a:extLst>
                <a:ext uri="{FF2B5EF4-FFF2-40B4-BE49-F238E27FC236}">
                  <a16:creationId xmlns:a16="http://schemas.microsoft.com/office/drawing/2014/main" id="{A7F5FE00-B818-4F1D-BA56-CA3E11EFEC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29416" y="4186294"/>
              <a:ext cx="708112" cy="1011589"/>
            </a:xfrm>
            <a:custGeom>
              <a:avLst/>
              <a:gdLst>
                <a:gd name="T0" fmla="*/ 103 w 132"/>
                <a:gd name="T1" fmla="*/ 14 h 189"/>
                <a:gd name="T2" fmla="*/ 84 w 132"/>
                <a:gd name="T3" fmla="*/ 5 h 189"/>
                <a:gd name="T4" fmla="*/ 70 w 132"/>
                <a:gd name="T5" fmla="*/ 6 h 189"/>
                <a:gd name="T6" fmla="*/ 59 w 132"/>
                <a:gd name="T7" fmla="*/ 0 h 189"/>
                <a:gd name="T8" fmla="*/ 41 w 132"/>
                <a:gd name="T9" fmla="*/ 5 h 189"/>
                <a:gd name="T10" fmla="*/ 19 w 132"/>
                <a:gd name="T11" fmla="*/ 42 h 189"/>
                <a:gd name="T12" fmla="*/ 0 w 132"/>
                <a:gd name="T13" fmla="*/ 169 h 189"/>
                <a:gd name="T14" fmla="*/ 7 w 132"/>
                <a:gd name="T15" fmla="*/ 170 h 189"/>
                <a:gd name="T16" fmla="*/ 15 w 132"/>
                <a:gd name="T17" fmla="*/ 130 h 189"/>
                <a:gd name="T18" fmla="*/ 17 w 132"/>
                <a:gd name="T19" fmla="*/ 171 h 189"/>
                <a:gd name="T20" fmla="*/ 104 w 132"/>
                <a:gd name="T21" fmla="*/ 181 h 189"/>
                <a:gd name="T22" fmla="*/ 108 w 132"/>
                <a:gd name="T23" fmla="*/ 149 h 189"/>
                <a:gd name="T24" fmla="*/ 111 w 132"/>
                <a:gd name="T25" fmla="*/ 180 h 189"/>
                <a:gd name="T26" fmla="*/ 132 w 132"/>
                <a:gd name="T27" fmla="*/ 160 h 189"/>
                <a:gd name="T28" fmla="*/ 116 w 132"/>
                <a:gd name="T29" fmla="*/ 51 h 189"/>
                <a:gd name="T30" fmla="*/ 103 w 132"/>
                <a:gd name="T31" fmla="*/ 14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2" h="189">
                  <a:moveTo>
                    <a:pt x="103" y="14"/>
                  </a:moveTo>
                  <a:cubicBezTo>
                    <a:pt x="100" y="12"/>
                    <a:pt x="84" y="5"/>
                    <a:pt x="84" y="5"/>
                  </a:cubicBezTo>
                  <a:cubicBezTo>
                    <a:pt x="84" y="5"/>
                    <a:pt x="78" y="8"/>
                    <a:pt x="70" y="6"/>
                  </a:cubicBezTo>
                  <a:cubicBezTo>
                    <a:pt x="62" y="4"/>
                    <a:pt x="59" y="0"/>
                    <a:pt x="59" y="0"/>
                  </a:cubicBezTo>
                  <a:cubicBezTo>
                    <a:pt x="59" y="0"/>
                    <a:pt x="45" y="4"/>
                    <a:pt x="41" y="5"/>
                  </a:cubicBezTo>
                  <a:cubicBezTo>
                    <a:pt x="27" y="9"/>
                    <a:pt x="22" y="30"/>
                    <a:pt x="19" y="42"/>
                  </a:cubicBezTo>
                  <a:cubicBezTo>
                    <a:pt x="18" y="45"/>
                    <a:pt x="0" y="106"/>
                    <a:pt x="0" y="169"/>
                  </a:cubicBezTo>
                  <a:cubicBezTo>
                    <a:pt x="2" y="169"/>
                    <a:pt x="4" y="169"/>
                    <a:pt x="7" y="170"/>
                  </a:cubicBezTo>
                  <a:cubicBezTo>
                    <a:pt x="15" y="130"/>
                    <a:pt x="15" y="130"/>
                    <a:pt x="15" y="130"/>
                  </a:cubicBezTo>
                  <a:cubicBezTo>
                    <a:pt x="17" y="171"/>
                    <a:pt x="17" y="171"/>
                    <a:pt x="17" y="171"/>
                  </a:cubicBezTo>
                  <a:cubicBezTo>
                    <a:pt x="45" y="175"/>
                    <a:pt x="70" y="189"/>
                    <a:pt x="104" y="181"/>
                  </a:cubicBezTo>
                  <a:cubicBezTo>
                    <a:pt x="108" y="149"/>
                    <a:pt x="108" y="149"/>
                    <a:pt x="108" y="149"/>
                  </a:cubicBezTo>
                  <a:cubicBezTo>
                    <a:pt x="111" y="180"/>
                    <a:pt x="111" y="180"/>
                    <a:pt x="111" y="180"/>
                  </a:cubicBezTo>
                  <a:cubicBezTo>
                    <a:pt x="126" y="176"/>
                    <a:pt x="132" y="161"/>
                    <a:pt x="132" y="160"/>
                  </a:cubicBezTo>
                  <a:cubicBezTo>
                    <a:pt x="115" y="134"/>
                    <a:pt x="117" y="58"/>
                    <a:pt x="116" y="51"/>
                  </a:cubicBezTo>
                  <a:cubicBezTo>
                    <a:pt x="116" y="35"/>
                    <a:pt x="120" y="24"/>
                    <a:pt x="103" y="14"/>
                  </a:cubicBezTo>
                  <a:close/>
                </a:path>
              </a:pathLst>
            </a:custGeom>
            <a:solidFill>
              <a:srgbClr val="FFC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7" name="Freeform 229">
              <a:extLst>
                <a:ext uri="{FF2B5EF4-FFF2-40B4-BE49-F238E27FC236}">
                  <a16:creationId xmlns:a16="http://schemas.microsoft.com/office/drawing/2014/main" id="{7D74451C-281A-4C33-9A79-0351F609B5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60395" y="3746252"/>
              <a:ext cx="401264" cy="433298"/>
            </a:xfrm>
            <a:custGeom>
              <a:avLst/>
              <a:gdLst>
                <a:gd name="T0" fmla="*/ 61 w 75"/>
                <a:gd name="T1" fmla="*/ 25 h 81"/>
                <a:gd name="T2" fmla="*/ 14 w 75"/>
                <a:gd name="T3" fmla="*/ 13 h 81"/>
                <a:gd name="T4" fmla="*/ 10 w 75"/>
                <a:gd name="T5" fmla="*/ 57 h 81"/>
                <a:gd name="T6" fmla="*/ 6 w 75"/>
                <a:gd name="T7" fmla="*/ 62 h 81"/>
                <a:gd name="T8" fmla="*/ 20 w 75"/>
                <a:gd name="T9" fmla="*/ 72 h 81"/>
                <a:gd name="T10" fmla="*/ 63 w 75"/>
                <a:gd name="T11" fmla="*/ 46 h 81"/>
                <a:gd name="T12" fmla="*/ 56 w 75"/>
                <a:gd name="T13" fmla="*/ 43 h 81"/>
                <a:gd name="T14" fmla="*/ 73 w 75"/>
                <a:gd name="T15" fmla="*/ 29 h 81"/>
                <a:gd name="T16" fmla="*/ 61 w 75"/>
                <a:gd name="T17" fmla="*/ 2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81">
                  <a:moveTo>
                    <a:pt x="61" y="25"/>
                  </a:moveTo>
                  <a:cubicBezTo>
                    <a:pt x="54" y="9"/>
                    <a:pt x="30" y="0"/>
                    <a:pt x="14" y="13"/>
                  </a:cubicBezTo>
                  <a:cubicBezTo>
                    <a:pt x="0" y="24"/>
                    <a:pt x="2" y="44"/>
                    <a:pt x="10" y="57"/>
                  </a:cubicBezTo>
                  <a:cubicBezTo>
                    <a:pt x="14" y="64"/>
                    <a:pt x="6" y="62"/>
                    <a:pt x="6" y="62"/>
                  </a:cubicBezTo>
                  <a:cubicBezTo>
                    <a:pt x="6" y="62"/>
                    <a:pt x="13" y="70"/>
                    <a:pt x="20" y="72"/>
                  </a:cubicBezTo>
                  <a:cubicBezTo>
                    <a:pt x="46" y="81"/>
                    <a:pt x="63" y="46"/>
                    <a:pt x="63" y="46"/>
                  </a:cubicBezTo>
                  <a:cubicBezTo>
                    <a:pt x="63" y="46"/>
                    <a:pt x="52" y="43"/>
                    <a:pt x="56" y="43"/>
                  </a:cubicBezTo>
                  <a:cubicBezTo>
                    <a:pt x="71" y="44"/>
                    <a:pt x="75" y="37"/>
                    <a:pt x="73" y="29"/>
                  </a:cubicBezTo>
                  <a:cubicBezTo>
                    <a:pt x="74" y="32"/>
                    <a:pt x="67" y="37"/>
                    <a:pt x="61" y="25"/>
                  </a:cubicBezTo>
                  <a:close/>
                </a:path>
              </a:pathLst>
            </a:custGeom>
            <a:solidFill>
              <a:srgbClr val="194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8" name="Freeform 230">
              <a:extLst>
                <a:ext uri="{FF2B5EF4-FFF2-40B4-BE49-F238E27FC236}">
                  <a16:creationId xmlns:a16="http://schemas.microsoft.com/office/drawing/2014/main" id="{95591477-F5E7-4274-9DAE-0E025A0651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08444" y="4941614"/>
              <a:ext cx="64067" cy="37092"/>
            </a:xfrm>
            <a:custGeom>
              <a:avLst/>
              <a:gdLst>
                <a:gd name="T0" fmla="*/ 9 w 12"/>
                <a:gd name="T1" fmla="*/ 1 h 7"/>
                <a:gd name="T2" fmla="*/ 1 w 12"/>
                <a:gd name="T3" fmla="*/ 4 h 7"/>
                <a:gd name="T4" fmla="*/ 5 w 12"/>
                <a:gd name="T5" fmla="*/ 7 h 7"/>
                <a:gd name="T6" fmla="*/ 12 w 12"/>
                <a:gd name="T7" fmla="*/ 1 h 7"/>
                <a:gd name="T8" fmla="*/ 9 w 12"/>
                <a:gd name="T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7">
                  <a:moveTo>
                    <a:pt x="9" y="1"/>
                  </a:moveTo>
                  <a:cubicBezTo>
                    <a:pt x="7" y="2"/>
                    <a:pt x="3" y="4"/>
                    <a:pt x="1" y="4"/>
                  </a:cubicBezTo>
                  <a:cubicBezTo>
                    <a:pt x="0" y="6"/>
                    <a:pt x="2" y="7"/>
                    <a:pt x="5" y="7"/>
                  </a:cubicBezTo>
                  <a:cubicBezTo>
                    <a:pt x="6" y="7"/>
                    <a:pt x="12" y="2"/>
                    <a:pt x="12" y="1"/>
                  </a:cubicBezTo>
                  <a:cubicBezTo>
                    <a:pt x="11" y="0"/>
                    <a:pt x="10" y="1"/>
                    <a:pt x="9" y="1"/>
                  </a:cubicBezTo>
                  <a:close/>
                </a:path>
              </a:pathLst>
            </a:custGeom>
            <a:solidFill>
              <a:srgbClr val="FCD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9" name="Freeform 231">
              <a:extLst>
                <a:ext uri="{FF2B5EF4-FFF2-40B4-BE49-F238E27FC236}">
                  <a16:creationId xmlns:a16="http://schemas.microsoft.com/office/drawing/2014/main" id="{644AD504-9E3B-42F7-993C-56FD8FCE42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74725" y="4961845"/>
              <a:ext cx="166913" cy="80927"/>
            </a:xfrm>
            <a:custGeom>
              <a:avLst/>
              <a:gdLst>
                <a:gd name="T0" fmla="*/ 28 w 31"/>
                <a:gd name="T1" fmla="*/ 5 h 15"/>
                <a:gd name="T2" fmla="*/ 11 w 31"/>
                <a:gd name="T3" fmla="*/ 1 h 15"/>
                <a:gd name="T4" fmla="*/ 3 w 31"/>
                <a:gd name="T5" fmla="*/ 0 h 15"/>
                <a:gd name="T6" fmla="*/ 0 w 31"/>
                <a:gd name="T7" fmla="*/ 11 h 15"/>
                <a:gd name="T8" fmla="*/ 19 w 31"/>
                <a:gd name="T9" fmla="*/ 14 h 15"/>
                <a:gd name="T10" fmla="*/ 26 w 31"/>
                <a:gd name="T11" fmla="*/ 13 h 15"/>
                <a:gd name="T12" fmla="*/ 29 w 31"/>
                <a:gd name="T13" fmla="*/ 10 h 15"/>
                <a:gd name="T14" fmla="*/ 31 w 31"/>
                <a:gd name="T15" fmla="*/ 8 h 15"/>
                <a:gd name="T16" fmla="*/ 28 w 31"/>
                <a:gd name="T17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15">
                  <a:moveTo>
                    <a:pt x="28" y="5"/>
                  </a:moveTo>
                  <a:cubicBezTo>
                    <a:pt x="27" y="4"/>
                    <a:pt x="15" y="1"/>
                    <a:pt x="11" y="1"/>
                  </a:cubicBezTo>
                  <a:cubicBezTo>
                    <a:pt x="9" y="0"/>
                    <a:pt x="6" y="0"/>
                    <a:pt x="3" y="0"/>
                  </a:cubicBezTo>
                  <a:cubicBezTo>
                    <a:pt x="3" y="0"/>
                    <a:pt x="0" y="9"/>
                    <a:pt x="0" y="11"/>
                  </a:cubicBezTo>
                  <a:cubicBezTo>
                    <a:pt x="7" y="13"/>
                    <a:pt x="14" y="13"/>
                    <a:pt x="19" y="14"/>
                  </a:cubicBezTo>
                  <a:cubicBezTo>
                    <a:pt x="24" y="15"/>
                    <a:pt x="27" y="14"/>
                    <a:pt x="26" y="13"/>
                  </a:cubicBezTo>
                  <a:cubicBezTo>
                    <a:pt x="25" y="12"/>
                    <a:pt x="30" y="13"/>
                    <a:pt x="29" y="10"/>
                  </a:cubicBezTo>
                  <a:cubicBezTo>
                    <a:pt x="29" y="10"/>
                    <a:pt x="31" y="9"/>
                    <a:pt x="31" y="8"/>
                  </a:cubicBezTo>
                  <a:cubicBezTo>
                    <a:pt x="31" y="6"/>
                    <a:pt x="29" y="5"/>
                    <a:pt x="28" y="5"/>
                  </a:cubicBezTo>
                  <a:close/>
                </a:path>
              </a:pathLst>
            </a:custGeom>
            <a:solidFill>
              <a:srgbClr val="FCD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0" name="Freeform 232">
              <a:extLst>
                <a:ext uri="{FF2B5EF4-FFF2-40B4-BE49-F238E27FC236}">
                  <a16:creationId xmlns:a16="http://schemas.microsoft.com/office/drawing/2014/main" id="{503C35F0-10CE-4A3A-AF23-A64FC833D7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46485" y="4796619"/>
              <a:ext cx="461959" cy="224236"/>
            </a:xfrm>
            <a:custGeom>
              <a:avLst/>
              <a:gdLst>
                <a:gd name="T0" fmla="*/ 14 w 86"/>
                <a:gd name="T1" fmla="*/ 1 h 42"/>
                <a:gd name="T2" fmla="*/ 1 w 86"/>
                <a:gd name="T3" fmla="*/ 12 h 42"/>
                <a:gd name="T4" fmla="*/ 80 w 86"/>
                <a:gd name="T5" fmla="*/ 42 h 42"/>
                <a:gd name="T6" fmla="*/ 86 w 86"/>
                <a:gd name="T7" fmla="*/ 32 h 42"/>
                <a:gd name="T8" fmla="*/ 16 w 86"/>
                <a:gd name="T9" fmla="*/ 2 h 42"/>
                <a:gd name="T10" fmla="*/ 14 w 86"/>
                <a:gd name="T11" fmla="*/ 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42">
                  <a:moveTo>
                    <a:pt x="14" y="1"/>
                  </a:moveTo>
                  <a:cubicBezTo>
                    <a:pt x="9" y="0"/>
                    <a:pt x="2" y="4"/>
                    <a:pt x="1" y="12"/>
                  </a:cubicBezTo>
                  <a:cubicBezTo>
                    <a:pt x="0" y="22"/>
                    <a:pt x="60" y="38"/>
                    <a:pt x="80" y="42"/>
                  </a:cubicBezTo>
                  <a:cubicBezTo>
                    <a:pt x="81" y="39"/>
                    <a:pt x="83" y="36"/>
                    <a:pt x="86" y="32"/>
                  </a:cubicBezTo>
                  <a:cubicBezTo>
                    <a:pt x="72" y="27"/>
                    <a:pt x="28" y="9"/>
                    <a:pt x="16" y="2"/>
                  </a:cubicBezTo>
                  <a:cubicBezTo>
                    <a:pt x="15" y="1"/>
                    <a:pt x="14" y="1"/>
                    <a:pt x="14" y="1"/>
                  </a:cubicBezTo>
                  <a:close/>
                </a:path>
              </a:pathLst>
            </a:custGeom>
            <a:solidFill>
              <a:srgbClr val="FCD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1" name="Freeform 233">
              <a:extLst>
                <a:ext uri="{FF2B5EF4-FFF2-40B4-BE49-F238E27FC236}">
                  <a16:creationId xmlns:a16="http://schemas.microsoft.com/office/drawing/2014/main" id="{42811F36-082A-4957-B61A-2D431D82B7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32365" y="4378496"/>
              <a:ext cx="327080" cy="519282"/>
            </a:xfrm>
            <a:custGeom>
              <a:avLst/>
              <a:gdLst>
                <a:gd name="T0" fmla="*/ 37 w 61"/>
                <a:gd name="T1" fmla="*/ 2 h 97"/>
                <a:gd name="T2" fmla="*/ 8 w 61"/>
                <a:gd name="T3" fmla="*/ 12 h 97"/>
                <a:gd name="T4" fmla="*/ 37 w 61"/>
                <a:gd name="T5" fmla="*/ 88 h 97"/>
                <a:gd name="T6" fmla="*/ 53 w 61"/>
                <a:gd name="T7" fmla="*/ 74 h 97"/>
                <a:gd name="T8" fmla="*/ 37 w 61"/>
                <a:gd name="T9" fmla="*/ 2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97">
                  <a:moveTo>
                    <a:pt x="37" y="2"/>
                  </a:moveTo>
                  <a:cubicBezTo>
                    <a:pt x="36" y="0"/>
                    <a:pt x="11" y="9"/>
                    <a:pt x="8" y="12"/>
                  </a:cubicBezTo>
                  <a:cubicBezTo>
                    <a:pt x="0" y="19"/>
                    <a:pt x="25" y="71"/>
                    <a:pt x="37" y="88"/>
                  </a:cubicBezTo>
                  <a:cubicBezTo>
                    <a:pt x="42" y="94"/>
                    <a:pt x="61" y="97"/>
                    <a:pt x="53" y="74"/>
                  </a:cubicBezTo>
                  <a:cubicBezTo>
                    <a:pt x="47" y="55"/>
                    <a:pt x="42" y="14"/>
                    <a:pt x="37" y="2"/>
                  </a:cubicBezTo>
                  <a:close/>
                </a:path>
              </a:pathLst>
            </a:custGeom>
            <a:solidFill>
              <a:srgbClr val="FCD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" name="Freeform 234">
              <a:extLst>
                <a:ext uri="{FF2B5EF4-FFF2-40B4-BE49-F238E27FC236}">
                  <a16:creationId xmlns:a16="http://schemas.microsoft.com/office/drawing/2014/main" id="{440AA659-75D3-4D62-95A7-623BD14ACD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05389" y="4346461"/>
              <a:ext cx="659219" cy="681137"/>
            </a:xfrm>
            <a:custGeom>
              <a:avLst/>
              <a:gdLst>
                <a:gd name="T0" fmla="*/ 52 w 123"/>
                <a:gd name="T1" fmla="*/ 40 h 127"/>
                <a:gd name="T2" fmla="*/ 46 w 123"/>
                <a:gd name="T3" fmla="*/ 1 h 127"/>
                <a:gd name="T4" fmla="*/ 8 w 123"/>
                <a:gd name="T5" fmla="*/ 16 h 127"/>
                <a:gd name="T6" fmla="*/ 40 w 123"/>
                <a:gd name="T7" fmla="*/ 95 h 127"/>
                <a:gd name="T8" fmla="*/ 117 w 123"/>
                <a:gd name="T9" fmla="*/ 127 h 127"/>
                <a:gd name="T10" fmla="*/ 123 w 123"/>
                <a:gd name="T11" fmla="*/ 110 h 127"/>
                <a:gd name="T12" fmla="*/ 63 w 123"/>
                <a:gd name="T13" fmla="*/ 83 h 127"/>
                <a:gd name="T14" fmla="*/ 52 w 123"/>
                <a:gd name="T15" fmla="*/ 4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3" h="127">
                  <a:moveTo>
                    <a:pt x="52" y="40"/>
                  </a:moveTo>
                  <a:cubicBezTo>
                    <a:pt x="50" y="26"/>
                    <a:pt x="48" y="14"/>
                    <a:pt x="46" y="1"/>
                  </a:cubicBezTo>
                  <a:cubicBezTo>
                    <a:pt x="46" y="0"/>
                    <a:pt x="16" y="4"/>
                    <a:pt x="8" y="16"/>
                  </a:cubicBezTo>
                  <a:cubicBezTo>
                    <a:pt x="0" y="29"/>
                    <a:pt x="30" y="82"/>
                    <a:pt x="40" y="95"/>
                  </a:cubicBezTo>
                  <a:cubicBezTo>
                    <a:pt x="49" y="109"/>
                    <a:pt x="97" y="120"/>
                    <a:pt x="117" y="127"/>
                  </a:cubicBezTo>
                  <a:cubicBezTo>
                    <a:pt x="123" y="110"/>
                    <a:pt x="123" y="110"/>
                    <a:pt x="123" y="110"/>
                  </a:cubicBezTo>
                  <a:cubicBezTo>
                    <a:pt x="115" y="107"/>
                    <a:pt x="67" y="87"/>
                    <a:pt x="63" y="83"/>
                  </a:cubicBezTo>
                  <a:cubicBezTo>
                    <a:pt x="62" y="82"/>
                    <a:pt x="55" y="55"/>
                    <a:pt x="52" y="40"/>
                  </a:cubicBezTo>
                  <a:close/>
                </a:path>
              </a:pathLst>
            </a:custGeom>
            <a:solidFill>
              <a:srgbClr val="FFC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" name="Freeform 235">
              <a:extLst>
                <a:ext uri="{FF2B5EF4-FFF2-40B4-BE49-F238E27FC236}">
                  <a16:creationId xmlns:a16="http://schemas.microsoft.com/office/drawing/2014/main" id="{D63BC36C-2C7F-45D9-8262-BBA7D91E68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17509" y="5471012"/>
              <a:ext cx="252897" cy="659219"/>
            </a:xfrm>
            <a:custGeom>
              <a:avLst/>
              <a:gdLst>
                <a:gd name="T0" fmla="*/ 0 w 150"/>
                <a:gd name="T1" fmla="*/ 391 h 391"/>
                <a:gd name="T2" fmla="*/ 16 w 150"/>
                <a:gd name="T3" fmla="*/ 391 h 391"/>
                <a:gd name="T4" fmla="*/ 150 w 150"/>
                <a:gd name="T5" fmla="*/ 0 h 391"/>
                <a:gd name="T6" fmla="*/ 137 w 150"/>
                <a:gd name="T7" fmla="*/ 0 h 391"/>
                <a:gd name="T8" fmla="*/ 0 w 150"/>
                <a:gd name="T9" fmla="*/ 391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0" h="391">
                  <a:moveTo>
                    <a:pt x="0" y="391"/>
                  </a:moveTo>
                  <a:lnTo>
                    <a:pt x="16" y="391"/>
                  </a:lnTo>
                  <a:lnTo>
                    <a:pt x="150" y="0"/>
                  </a:lnTo>
                  <a:lnTo>
                    <a:pt x="137" y="0"/>
                  </a:lnTo>
                  <a:lnTo>
                    <a:pt x="0" y="391"/>
                  </a:lnTo>
                  <a:close/>
                </a:path>
              </a:pathLst>
            </a:custGeom>
            <a:solidFill>
              <a:srgbClr val="194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" name="Freeform 236">
              <a:extLst>
                <a:ext uri="{FF2B5EF4-FFF2-40B4-BE49-F238E27FC236}">
                  <a16:creationId xmlns:a16="http://schemas.microsoft.com/office/drawing/2014/main" id="{7A9D222A-785B-41CA-A556-4D7D02ACE1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03599" y="5471012"/>
              <a:ext cx="252897" cy="659219"/>
            </a:xfrm>
            <a:custGeom>
              <a:avLst/>
              <a:gdLst>
                <a:gd name="T0" fmla="*/ 0 w 150"/>
                <a:gd name="T1" fmla="*/ 391 h 391"/>
                <a:gd name="T2" fmla="*/ 16 w 150"/>
                <a:gd name="T3" fmla="*/ 391 h 391"/>
                <a:gd name="T4" fmla="*/ 150 w 150"/>
                <a:gd name="T5" fmla="*/ 0 h 391"/>
                <a:gd name="T6" fmla="*/ 137 w 150"/>
                <a:gd name="T7" fmla="*/ 0 h 391"/>
                <a:gd name="T8" fmla="*/ 0 w 150"/>
                <a:gd name="T9" fmla="*/ 391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0" h="391">
                  <a:moveTo>
                    <a:pt x="0" y="391"/>
                  </a:moveTo>
                  <a:lnTo>
                    <a:pt x="16" y="391"/>
                  </a:lnTo>
                  <a:lnTo>
                    <a:pt x="150" y="0"/>
                  </a:lnTo>
                  <a:lnTo>
                    <a:pt x="137" y="0"/>
                  </a:lnTo>
                  <a:lnTo>
                    <a:pt x="0" y="391"/>
                  </a:lnTo>
                  <a:close/>
                </a:path>
              </a:pathLst>
            </a:custGeom>
            <a:solidFill>
              <a:srgbClr val="194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" name="Freeform 237">
              <a:extLst>
                <a:ext uri="{FF2B5EF4-FFF2-40B4-BE49-F238E27FC236}">
                  <a16:creationId xmlns:a16="http://schemas.microsoft.com/office/drawing/2014/main" id="{0FD13F2B-4A15-40B2-B2C1-2A712949F4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58500" y="4491456"/>
              <a:ext cx="1186931" cy="979556"/>
            </a:xfrm>
            <a:custGeom>
              <a:avLst/>
              <a:gdLst>
                <a:gd name="T0" fmla="*/ 211 w 221"/>
                <a:gd name="T1" fmla="*/ 161 h 183"/>
                <a:gd name="T2" fmla="*/ 172 w 221"/>
                <a:gd name="T3" fmla="*/ 161 h 183"/>
                <a:gd name="T4" fmla="*/ 132 w 221"/>
                <a:gd name="T5" fmla="*/ 131 h 183"/>
                <a:gd name="T6" fmla="*/ 113 w 221"/>
                <a:gd name="T7" fmla="*/ 54 h 183"/>
                <a:gd name="T8" fmla="*/ 49 w 221"/>
                <a:gd name="T9" fmla="*/ 0 h 183"/>
                <a:gd name="T10" fmla="*/ 5 w 221"/>
                <a:gd name="T11" fmla="*/ 54 h 183"/>
                <a:gd name="T12" fmla="*/ 36 w 221"/>
                <a:gd name="T13" fmla="*/ 170 h 183"/>
                <a:gd name="T14" fmla="*/ 51 w 221"/>
                <a:gd name="T15" fmla="*/ 183 h 183"/>
                <a:gd name="T16" fmla="*/ 211 w 221"/>
                <a:gd name="T17" fmla="*/ 183 h 183"/>
                <a:gd name="T18" fmla="*/ 221 w 221"/>
                <a:gd name="T19" fmla="*/ 172 h 183"/>
                <a:gd name="T20" fmla="*/ 211 w 221"/>
                <a:gd name="T21" fmla="*/ 161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1" h="183">
                  <a:moveTo>
                    <a:pt x="211" y="161"/>
                  </a:moveTo>
                  <a:cubicBezTo>
                    <a:pt x="172" y="161"/>
                    <a:pt x="172" y="161"/>
                    <a:pt x="172" y="161"/>
                  </a:cubicBezTo>
                  <a:cubicBezTo>
                    <a:pt x="154" y="161"/>
                    <a:pt x="135" y="149"/>
                    <a:pt x="132" y="131"/>
                  </a:cubicBezTo>
                  <a:cubicBezTo>
                    <a:pt x="113" y="54"/>
                    <a:pt x="113" y="54"/>
                    <a:pt x="113" y="54"/>
                  </a:cubicBezTo>
                  <a:cubicBezTo>
                    <a:pt x="108" y="24"/>
                    <a:pt x="79" y="0"/>
                    <a:pt x="49" y="0"/>
                  </a:cubicBezTo>
                  <a:cubicBezTo>
                    <a:pt x="19" y="0"/>
                    <a:pt x="0" y="24"/>
                    <a:pt x="5" y="54"/>
                  </a:cubicBezTo>
                  <a:cubicBezTo>
                    <a:pt x="36" y="170"/>
                    <a:pt x="36" y="170"/>
                    <a:pt x="36" y="170"/>
                  </a:cubicBezTo>
                  <a:cubicBezTo>
                    <a:pt x="37" y="177"/>
                    <a:pt x="43" y="183"/>
                    <a:pt x="51" y="183"/>
                  </a:cubicBezTo>
                  <a:cubicBezTo>
                    <a:pt x="211" y="183"/>
                    <a:pt x="211" y="183"/>
                    <a:pt x="211" y="183"/>
                  </a:cubicBezTo>
                  <a:cubicBezTo>
                    <a:pt x="217" y="183"/>
                    <a:pt x="221" y="178"/>
                    <a:pt x="221" y="172"/>
                  </a:cubicBezTo>
                  <a:cubicBezTo>
                    <a:pt x="221" y="166"/>
                    <a:pt x="217" y="161"/>
                    <a:pt x="211" y="161"/>
                  </a:cubicBezTo>
                  <a:close/>
                </a:path>
              </a:pathLst>
            </a:custGeom>
            <a:solidFill>
              <a:srgbClr val="194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" name="Freeform 238">
              <a:extLst>
                <a:ext uri="{FF2B5EF4-FFF2-40B4-BE49-F238E27FC236}">
                  <a16:creationId xmlns:a16="http://schemas.microsoft.com/office/drawing/2014/main" id="{0E769341-CE5D-4104-9726-55A2A12B05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12451" y="4491456"/>
              <a:ext cx="1132980" cy="979556"/>
            </a:xfrm>
            <a:custGeom>
              <a:avLst/>
              <a:gdLst>
                <a:gd name="T0" fmla="*/ 201 w 211"/>
                <a:gd name="T1" fmla="*/ 162 h 183"/>
                <a:gd name="T2" fmla="*/ 162 w 211"/>
                <a:gd name="T3" fmla="*/ 162 h 183"/>
                <a:gd name="T4" fmla="*/ 122 w 211"/>
                <a:gd name="T5" fmla="*/ 131 h 183"/>
                <a:gd name="T6" fmla="*/ 103 w 211"/>
                <a:gd name="T7" fmla="*/ 54 h 183"/>
                <a:gd name="T8" fmla="*/ 39 w 211"/>
                <a:gd name="T9" fmla="*/ 0 h 183"/>
                <a:gd name="T10" fmla="*/ 0 w 211"/>
                <a:gd name="T11" fmla="*/ 21 h 183"/>
                <a:gd name="T12" fmla="*/ 24 w 211"/>
                <a:gd name="T13" fmla="*/ 15 h 183"/>
                <a:gd name="T14" fmla="*/ 88 w 211"/>
                <a:gd name="T15" fmla="*/ 68 h 183"/>
                <a:gd name="T16" fmla="*/ 107 w 211"/>
                <a:gd name="T17" fmla="*/ 146 h 183"/>
                <a:gd name="T18" fmla="*/ 147 w 211"/>
                <a:gd name="T19" fmla="*/ 176 h 183"/>
                <a:gd name="T20" fmla="*/ 186 w 211"/>
                <a:gd name="T21" fmla="*/ 176 h 183"/>
                <a:gd name="T22" fmla="*/ 196 w 211"/>
                <a:gd name="T23" fmla="*/ 183 h 183"/>
                <a:gd name="T24" fmla="*/ 201 w 211"/>
                <a:gd name="T25" fmla="*/ 183 h 183"/>
                <a:gd name="T26" fmla="*/ 211 w 211"/>
                <a:gd name="T27" fmla="*/ 172 h 183"/>
                <a:gd name="T28" fmla="*/ 201 w 211"/>
                <a:gd name="T29" fmla="*/ 162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1" h="183">
                  <a:moveTo>
                    <a:pt x="201" y="162"/>
                  </a:moveTo>
                  <a:cubicBezTo>
                    <a:pt x="162" y="162"/>
                    <a:pt x="162" y="162"/>
                    <a:pt x="162" y="162"/>
                  </a:cubicBezTo>
                  <a:cubicBezTo>
                    <a:pt x="144" y="162"/>
                    <a:pt x="125" y="149"/>
                    <a:pt x="122" y="131"/>
                  </a:cubicBezTo>
                  <a:cubicBezTo>
                    <a:pt x="103" y="54"/>
                    <a:pt x="103" y="54"/>
                    <a:pt x="103" y="54"/>
                  </a:cubicBezTo>
                  <a:cubicBezTo>
                    <a:pt x="98" y="24"/>
                    <a:pt x="69" y="0"/>
                    <a:pt x="39" y="0"/>
                  </a:cubicBezTo>
                  <a:cubicBezTo>
                    <a:pt x="22" y="0"/>
                    <a:pt x="8" y="8"/>
                    <a:pt x="0" y="21"/>
                  </a:cubicBezTo>
                  <a:cubicBezTo>
                    <a:pt x="7" y="17"/>
                    <a:pt x="15" y="15"/>
                    <a:pt x="24" y="15"/>
                  </a:cubicBezTo>
                  <a:cubicBezTo>
                    <a:pt x="54" y="15"/>
                    <a:pt x="83" y="39"/>
                    <a:pt x="88" y="68"/>
                  </a:cubicBezTo>
                  <a:cubicBezTo>
                    <a:pt x="107" y="146"/>
                    <a:pt x="107" y="146"/>
                    <a:pt x="107" y="146"/>
                  </a:cubicBezTo>
                  <a:cubicBezTo>
                    <a:pt x="110" y="163"/>
                    <a:pt x="129" y="176"/>
                    <a:pt x="147" y="176"/>
                  </a:cubicBezTo>
                  <a:cubicBezTo>
                    <a:pt x="186" y="176"/>
                    <a:pt x="186" y="176"/>
                    <a:pt x="186" y="176"/>
                  </a:cubicBezTo>
                  <a:cubicBezTo>
                    <a:pt x="190" y="176"/>
                    <a:pt x="194" y="179"/>
                    <a:pt x="196" y="183"/>
                  </a:cubicBezTo>
                  <a:cubicBezTo>
                    <a:pt x="201" y="183"/>
                    <a:pt x="201" y="183"/>
                    <a:pt x="201" y="183"/>
                  </a:cubicBezTo>
                  <a:cubicBezTo>
                    <a:pt x="207" y="183"/>
                    <a:pt x="211" y="178"/>
                    <a:pt x="211" y="172"/>
                  </a:cubicBezTo>
                  <a:cubicBezTo>
                    <a:pt x="211" y="166"/>
                    <a:pt x="207" y="162"/>
                    <a:pt x="201" y="162"/>
                  </a:cubicBezTo>
                  <a:close/>
                </a:path>
              </a:pathLst>
            </a:custGeom>
            <a:solidFill>
              <a:srgbClr val="1231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" name="Freeform 239">
              <a:extLst>
                <a:ext uri="{FF2B5EF4-FFF2-40B4-BE49-F238E27FC236}">
                  <a16:creationId xmlns:a16="http://schemas.microsoft.com/office/drawing/2014/main" id="{A49F602B-8ECD-47D3-9597-941AA018D8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02650" y="5471012"/>
              <a:ext cx="257956" cy="659219"/>
            </a:xfrm>
            <a:custGeom>
              <a:avLst/>
              <a:gdLst>
                <a:gd name="T0" fmla="*/ 0 w 153"/>
                <a:gd name="T1" fmla="*/ 0 h 391"/>
                <a:gd name="T2" fmla="*/ 137 w 153"/>
                <a:gd name="T3" fmla="*/ 391 h 391"/>
                <a:gd name="T4" fmla="*/ 153 w 153"/>
                <a:gd name="T5" fmla="*/ 391 h 391"/>
                <a:gd name="T6" fmla="*/ 16 w 153"/>
                <a:gd name="T7" fmla="*/ 0 h 391"/>
                <a:gd name="T8" fmla="*/ 0 w 153"/>
                <a:gd name="T9" fmla="*/ 0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391">
                  <a:moveTo>
                    <a:pt x="0" y="0"/>
                  </a:moveTo>
                  <a:lnTo>
                    <a:pt x="137" y="391"/>
                  </a:lnTo>
                  <a:lnTo>
                    <a:pt x="153" y="391"/>
                  </a:lnTo>
                  <a:lnTo>
                    <a:pt x="1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31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" name="Freeform 240">
              <a:extLst>
                <a:ext uri="{FF2B5EF4-FFF2-40B4-BE49-F238E27FC236}">
                  <a16:creationId xmlns:a16="http://schemas.microsoft.com/office/drawing/2014/main" id="{0022EBB8-6446-4372-B707-7359EC4C26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21618" y="5471012"/>
              <a:ext cx="252897" cy="659219"/>
            </a:xfrm>
            <a:custGeom>
              <a:avLst/>
              <a:gdLst>
                <a:gd name="T0" fmla="*/ 0 w 150"/>
                <a:gd name="T1" fmla="*/ 0 h 391"/>
                <a:gd name="T2" fmla="*/ 134 w 150"/>
                <a:gd name="T3" fmla="*/ 391 h 391"/>
                <a:gd name="T4" fmla="*/ 150 w 150"/>
                <a:gd name="T5" fmla="*/ 391 h 391"/>
                <a:gd name="T6" fmla="*/ 13 w 150"/>
                <a:gd name="T7" fmla="*/ 0 h 391"/>
                <a:gd name="T8" fmla="*/ 0 w 150"/>
                <a:gd name="T9" fmla="*/ 0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0" h="391">
                  <a:moveTo>
                    <a:pt x="0" y="0"/>
                  </a:moveTo>
                  <a:lnTo>
                    <a:pt x="134" y="391"/>
                  </a:lnTo>
                  <a:lnTo>
                    <a:pt x="150" y="391"/>
                  </a:lnTo>
                  <a:lnTo>
                    <a:pt x="1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31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" name="Freeform 241">
              <a:extLst>
                <a:ext uri="{FF2B5EF4-FFF2-40B4-BE49-F238E27FC236}">
                  <a16:creationId xmlns:a16="http://schemas.microsoft.com/office/drawing/2014/main" id="{FB36F4A7-7A22-4368-A1A4-F53A57F01C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96432" y="3896305"/>
              <a:ext cx="133193" cy="155110"/>
            </a:xfrm>
            <a:custGeom>
              <a:avLst/>
              <a:gdLst>
                <a:gd name="T0" fmla="*/ 17 w 25"/>
                <a:gd name="T1" fmla="*/ 2 h 29"/>
                <a:gd name="T2" fmla="*/ 2 w 25"/>
                <a:gd name="T3" fmla="*/ 11 h 29"/>
                <a:gd name="T4" fmla="*/ 8 w 25"/>
                <a:gd name="T5" fmla="*/ 27 h 29"/>
                <a:gd name="T6" fmla="*/ 23 w 25"/>
                <a:gd name="T7" fmla="*/ 18 h 29"/>
                <a:gd name="T8" fmla="*/ 17 w 25"/>
                <a:gd name="T9" fmla="*/ 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29">
                  <a:moveTo>
                    <a:pt x="17" y="2"/>
                  </a:moveTo>
                  <a:cubicBezTo>
                    <a:pt x="11" y="0"/>
                    <a:pt x="5" y="4"/>
                    <a:pt x="2" y="11"/>
                  </a:cubicBezTo>
                  <a:cubicBezTo>
                    <a:pt x="0" y="18"/>
                    <a:pt x="3" y="25"/>
                    <a:pt x="8" y="27"/>
                  </a:cubicBezTo>
                  <a:cubicBezTo>
                    <a:pt x="14" y="29"/>
                    <a:pt x="21" y="25"/>
                    <a:pt x="23" y="18"/>
                  </a:cubicBezTo>
                  <a:cubicBezTo>
                    <a:pt x="25" y="11"/>
                    <a:pt x="23" y="3"/>
                    <a:pt x="17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" name="Freeform 242">
              <a:extLst>
                <a:ext uri="{FF2B5EF4-FFF2-40B4-BE49-F238E27FC236}">
                  <a16:creationId xmlns:a16="http://schemas.microsoft.com/office/drawing/2014/main" id="{39370E17-235E-48FC-AB9E-40CB419367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33524" y="3918222"/>
              <a:ext cx="102845" cy="118019"/>
            </a:xfrm>
            <a:custGeom>
              <a:avLst/>
              <a:gdLst>
                <a:gd name="T0" fmla="*/ 13 w 19"/>
                <a:gd name="T1" fmla="*/ 2 h 22"/>
                <a:gd name="T2" fmla="*/ 1 w 19"/>
                <a:gd name="T3" fmla="*/ 9 h 22"/>
                <a:gd name="T4" fmla="*/ 6 w 19"/>
                <a:gd name="T5" fmla="*/ 21 h 22"/>
                <a:gd name="T6" fmla="*/ 17 w 19"/>
                <a:gd name="T7" fmla="*/ 14 h 22"/>
                <a:gd name="T8" fmla="*/ 13 w 19"/>
                <a:gd name="T9" fmla="*/ 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2">
                  <a:moveTo>
                    <a:pt x="13" y="2"/>
                  </a:moveTo>
                  <a:cubicBezTo>
                    <a:pt x="8" y="0"/>
                    <a:pt x="3" y="3"/>
                    <a:pt x="1" y="9"/>
                  </a:cubicBezTo>
                  <a:cubicBezTo>
                    <a:pt x="0" y="14"/>
                    <a:pt x="2" y="19"/>
                    <a:pt x="6" y="21"/>
                  </a:cubicBezTo>
                  <a:cubicBezTo>
                    <a:pt x="10" y="22"/>
                    <a:pt x="15" y="19"/>
                    <a:pt x="17" y="14"/>
                  </a:cubicBezTo>
                  <a:cubicBezTo>
                    <a:pt x="19" y="9"/>
                    <a:pt x="17" y="3"/>
                    <a:pt x="13" y="2"/>
                  </a:cubicBezTo>
                  <a:close/>
                </a:path>
              </a:pathLst>
            </a:custGeom>
            <a:solidFill>
              <a:srgbClr val="FFC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" name="Freeform 243">
              <a:extLst>
                <a:ext uri="{FF2B5EF4-FFF2-40B4-BE49-F238E27FC236}">
                  <a16:creationId xmlns:a16="http://schemas.microsoft.com/office/drawing/2014/main" id="{8DD16D54-7BD6-4FB6-BBA1-07B908C818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74515" y="3788402"/>
              <a:ext cx="118019" cy="123077"/>
            </a:xfrm>
            <a:custGeom>
              <a:avLst/>
              <a:gdLst>
                <a:gd name="T0" fmla="*/ 14 w 22"/>
                <a:gd name="T1" fmla="*/ 7 h 23"/>
                <a:gd name="T2" fmla="*/ 8 w 22"/>
                <a:gd name="T3" fmla="*/ 2 h 23"/>
                <a:gd name="T4" fmla="*/ 0 w 22"/>
                <a:gd name="T5" fmla="*/ 0 h 23"/>
                <a:gd name="T6" fmla="*/ 7 w 22"/>
                <a:gd name="T7" fmla="*/ 4 h 23"/>
                <a:gd name="T8" fmla="*/ 11 w 22"/>
                <a:gd name="T9" fmla="*/ 10 h 23"/>
                <a:gd name="T10" fmla="*/ 14 w 22"/>
                <a:gd name="T11" fmla="*/ 16 h 23"/>
                <a:gd name="T12" fmla="*/ 14 w 22"/>
                <a:gd name="T13" fmla="*/ 23 h 23"/>
                <a:gd name="T14" fmla="*/ 22 w 22"/>
                <a:gd name="T15" fmla="*/ 23 h 23"/>
                <a:gd name="T16" fmla="*/ 19 w 22"/>
                <a:gd name="T17" fmla="*/ 14 h 23"/>
                <a:gd name="T18" fmla="*/ 14 w 22"/>
                <a:gd name="T19" fmla="*/ 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23">
                  <a:moveTo>
                    <a:pt x="14" y="7"/>
                  </a:moveTo>
                  <a:cubicBezTo>
                    <a:pt x="12" y="5"/>
                    <a:pt x="10" y="3"/>
                    <a:pt x="8" y="2"/>
                  </a:cubicBezTo>
                  <a:cubicBezTo>
                    <a:pt x="5" y="1"/>
                    <a:pt x="3" y="0"/>
                    <a:pt x="0" y="0"/>
                  </a:cubicBezTo>
                  <a:cubicBezTo>
                    <a:pt x="2" y="1"/>
                    <a:pt x="5" y="2"/>
                    <a:pt x="7" y="4"/>
                  </a:cubicBezTo>
                  <a:cubicBezTo>
                    <a:pt x="9" y="5"/>
                    <a:pt x="10" y="7"/>
                    <a:pt x="11" y="10"/>
                  </a:cubicBezTo>
                  <a:cubicBezTo>
                    <a:pt x="12" y="12"/>
                    <a:pt x="13" y="14"/>
                    <a:pt x="14" y="16"/>
                  </a:cubicBezTo>
                  <a:cubicBezTo>
                    <a:pt x="14" y="18"/>
                    <a:pt x="14" y="21"/>
                    <a:pt x="14" y="23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1" y="19"/>
                    <a:pt x="20" y="17"/>
                    <a:pt x="19" y="14"/>
                  </a:cubicBezTo>
                  <a:cubicBezTo>
                    <a:pt x="18" y="12"/>
                    <a:pt x="16" y="9"/>
                    <a:pt x="14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" name="Freeform 244">
              <a:extLst>
                <a:ext uri="{FF2B5EF4-FFF2-40B4-BE49-F238E27FC236}">
                  <a16:creationId xmlns:a16="http://schemas.microsoft.com/office/drawing/2014/main" id="{9D74B2E3-BF37-4754-BB9B-67FD531EFC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08133" y="4206525"/>
              <a:ext cx="895257" cy="622128"/>
            </a:xfrm>
            <a:custGeom>
              <a:avLst/>
              <a:gdLst>
                <a:gd name="T0" fmla="*/ 164 w 167"/>
                <a:gd name="T1" fmla="*/ 0 h 116"/>
                <a:gd name="T2" fmla="*/ 35 w 167"/>
                <a:gd name="T3" fmla="*/ 0 h 116"/>
                <a:gd name="T4" fmla="*/ 32 w 167"/>
                <a:gd name="T5" fmla="*/ 2 h 116"/>
                <a:gd name="T6" fmla="*/ 1 w 167"/>
                <a:gd name="T7" fmla="*/ 113 h 116"/>
                <a:gd name="T8" fmla="*/ 4 w 167"/>
                <a:gd name="T9" fmla="*/ 116 h 116"/>
                <a:gd name="T10" fmla="*/ 124 w 167"/>
                <a:gd name="T11" fmla="*/ 116 h 116"/>
                <a:gd name="T12" fmla="*/ 138 w 167"/>
                <a:gd name="T13" fmla="*/ 106 h 116"/>
                <a:gd name="T14" fmla="*/ 166 w 167"/>
                <a:gd name="T15" fmla="*/ 3 h 116"/>
                <a:gd name="T16" fmla="*/ 164 w 167"/>
                <a:gd name="T17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7" h="116">
                  <a:moveTo>
                    <a:pt x="164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3" y="0"/>
                    <a:pt x="32" y="0"/>
                    <a:pt x="32" y="2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0" y="115"/>
                    <a:pt x="2" y="116"/>
                    <a:pt x="4" y="116"/>
                  </a:cubicBezTo>
                  <a:cubicBezTo>
                    <a:pt x="124" y="116"/>
                    <a:pt x="124" y="116"/>
                    <a:pt x="124" y="116"/>
                  </a:cubicBezTo>
                  <a:cubicBezTo>
                    <a:pt x="130" y="116"/>
                    <a:pt x="136" y="112"/>
                    <a:pt x="138" y="106"/>
                  </a:cubicBezTo>
                  <a:cubicBezTo>
                    <a:pt x="166" y="3"/>
                    <a:pt x="166" y="3"/>
                    <a:pt x="166" y="3"/>
                  </a:cubicBezTo>
                  <a:cubicBezTo>
                    <a:pt x="167" y="1"/>
                    <a:pt x="165" y="0"/>
                    <a:pt x="164" y="0"/>
                  </a:cubicBezTo>
                </a:path>
              </a:pathLst>
            </a:custGeom>
            <a:solidFill>
              <a:srgbClr val="194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" name="Freeform 245">
              <a:extLst>
                <a:ext uri="{FF2B5EF4-FFF2-40B4-BE49-F238E27FC236}">
                  <a16:creationId xmlns:a16="http://schemas.microsoft.com/office/drawing/2014/main" id="{0CA3E0E3-A7EE-4900-8CA4-541819E452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5340" y="4228443"/>
              <a:ext cx="821074" cy="504109"/>
            </a:xfrm>
            <a:custGeom>
              <a:avLst/>
              <a:gdLst>
                <a:gd name="T0" fmla="*/ 0 w 487"/>
                <a:gd name="T1" fmla="*/ 299 h 299"/>
                <a:gd name="T2" fmla="*/ 404 w 487"/>
                <a:gd name="T3" fmla="*/ 299 h 299"/>
                <a:gd name="T4" fmla="*/ 487 w 487"/>
                <a:gd name="T5" fmla="*/ 0 h 299"/>
                <a:gd name="T6" fmla="*/ 86 w 487"/>
                <a:gd name="T7" fmla="*/ 0 h 299"/>
                <a:gd name="T8" fmla="*/ 0 w 487"/>
                <a:gd name="T9" fmla="*/ 299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7" h="299">
                  <a:moveTo>
                    <a:pt x="0" y="299"/>
                  </a:moveTo>
                  <a:lnTo>
                    <a:pt x="404" y="299"/>
                  </a:lnTo>
                  <a:lnTo>
                    <a:pt x="487" y="0"/>
                  </a:lnTo>
                  <a:lnTo>
                    <a:pt x="86" y="0"/>
                  </a:lnTo>
                  <a:lnTo>
                    <a:pt x="0" y="299"/>
                  </a:lnTo>
                  <a:close/>
                </a:path>
              </a:pathLst>
            </a:custGeom>
            <a:solidFill>
              <a:srgbClr val="6855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" name="Freeform 246">
              <a:extLst>
                <a:ext uri="{FF2B5EF4-FFF2-40B4-BE49-F238E27FC236}">
                  <a16:creationId xmlns:a16="http://schemas.microsoft.com/office/drawing/2014/main" id="{A0A24C30-A2ED-40E0-A4C3-B17739AC3B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5340" y="4228443"/>
              <a:ext cx="821074" cy="504109"/>
            </a:xfrm>
            <a:custGeom>
              <a:avLst/>
              <a:gdLst>
                <a:gd name="T0" fmla="*/ 0 w 487"/>
                <a:gd name="T1" fmla="*/ 299 h 299"/>
                <a:gd name="T2" fmla="*/ 404 w 487"/>
                <a:gd name="T3" fmla="*/ 299 h 299"/>
                <a:gd name="T4" fmla="*/ 487 w 487"/>
                <a:gd name="T5" fmla="*/ 0 h 299"/>
                <a:gd name="T6" fmla="*/ 86 w 487"/>
                <a:gd name="T7" fmla="*/ 0 h 299"/>
                <a:gd name="T8" fmla="*/ 0 w 487"/>
                <a:gd name="T9" fmla="*/ 299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7" h="299">
                  <a:moveTo>
                    <a:pt x="0" y="299"/>
                  </a:moveTo>
                  <a:lnTo>
                    <a:pt x="404" y="299"/>
                  </a:lnTo>
                  <a:lnTo>
                    <a:pt x="487" y="0"/>
                  </a:lnTo>
                  <a:lnTo>
                    <a:pt x="86" y="0"/>
                  </a:lnTo>
                  <a:lnTo>
                    <a:pt x="0" y="29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" name="Freeform 247">
              <a:extLst>
                <a:ext uri="{FF2B5EF4-FFF2-40B4-BE49-F238E27FC236}">
                  <a16:creationId xmlns:a16="http://schemas.microsoft.com/office/drawing/2014/main" id="{4A294F0C-723B-472F-A0AD-4194D7937D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31210" y="4324544"/>
              <a:ext cx="638988" cy="327080"/>
            </a:xfrm>
            <a:custGeom>
              <a:avLst/>
              <a:gdLst>
                <a:gd name="T0" fmla="*/ 117 w 119"/>
                <a:gd name="T1" fmla="*/ 0 h 61"/>
                <a:gd name="T2" fmla="*/ 116 w 119"/>
                <a:gd name="T3" fmla="*/ 1 h 61"/>
                <a:gd name="T4" fmla="*/ 91 w 119"/>
                <a:gd name="T5" fmla="*/ 24 h 61"/>
                <a:gd name="T6" fmla="*/ 66 w 119"/>
                <a:gd name="T7" fmla="*/ 32 h 61"/>
                <a:gd name="T8" fmla="*/ 65 w 119"/>
                <a:gd name="T9" fmla="*/ 33 h 61"/>
                <a:gd name="T10" fmla="*/ 65 w 119"/>
                <a:gd name="T11" fmla="*/ 33 h 61"/>
                <a:gd name="T12" fmla="*/ 46 w 119"/>
                <a:gd name="T13" fmla="*/ 52 h 61"/>
                <a:gd name="T14" fmla="*/ 22 w 119"/>
                <a:gd name="T15" fmla="*/ 39 h 61"/>
                <a:gd name="T16" fmla="*/ 21 w 119"/>
                <a:gd name="T17" fmla="*/ 39 h 61"/>
                <a:gd name="T18" fmla="*/ 19 w 119"/>
                <a:gd name="T19" fmla="*/ 40 h 61"/>
                <a:gd name="T20" fmla="*/ 0 w 119"/>
                <a:gd name="T21" fmla="*/ 59 h 61"/>
                <a:gd name="T22" fmla="*/ 2 w 119"/>
                <a:gd name="T23" fmla="*/ 61 h 61"/>
                <a:gd name="T24" fmla="*/ 21 w 119"/>
                <a:gd name="T25" fmla="*/ 43 h 61"/>
                <a:gd name="T26" fmla="*/ 46 w 119"/>
                <a:gd name="T27" fmla="*/ 56 h 61"/>
                <a:gd name="T28" fmla="*/ 46 w 119"/>
                <a:gd name="T29" fmla="*/ 56 h 61"/>
                <a:gd name="T30" fmla="*/ 48 w 119"/>
                <a:gd name="T31" fmla="*/ 56 h 61"/>
                <a:gd name="T32" fmla="*/ 68 w 119"/>
                <a:gd name="T33" fmla="*/ 35 h 61"/>
                <a:gd name="T34" fmla="*/ 92 w 119"/>
                <a:gd name="T35" fmla="*/ 27 h 61"/>
                <a:gd name="T36" fmla="*/ 118 w 119"/>
                <a:gd name="T37" fmla="*/ 4 h 61"/>
                <a:gd name="T38" fmla="*/ 119 w 119"/>
                <a:gd name="T39" fmla="*/ 2 h 61"/>
                <a:gd name="T40" fmla="*/ 117 w 119"/>
                <a:gd name="T41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61">
                  <a:moveTo>
                    <a:pt x="117" y="0"/>
                  </a:moveTo>
                  <a:cubicBezTo>
                    <a:pt x="117" y="0"/>
                    <a:pt x="116" y="1"/>
                    <a:pt x="116" y="1"/>
                  </a:cubicBezTo>
                  <a:cubicBezTo>
                    <a:pt x="91" y="24"/>
                    <a:pt x="91" y="24"/>
                    <a:pt x="91" y="24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5" y="32"/>
                    <a:pt x="65" y="33"/>
                    <a:pt x="65" y="33"/>
                  </a:cubicBezTo>
                  <a:cubicBezTo>
                    <a:pt x="65" y="33"/>
                    <a:pt x="65" y="33"/>
                    <a:pt x="65" y="33"/>
                  </a:cubicBezTo>
                  <a:cubicBezTo>
                    <a:pt x="46" y="52"/>
                    <a:pt x="46" y="52"/>
                    <a:pt x="46" y="52"/>
                  </a:cubicBezTo>
                  <a:cubicBezTo>
                    <a:pt x="22" y="39"/>
                    <a:pt x="22" y="39"/>
                    <a:pt x="22" y="39"/>
                  </a:cubicBezTo>
                  <a:cubicBezTo>
                    <a:pt x="21" y="39"/>
                    <a:pt x="21" y="39"/>
                    <a:pt x="21" y="39"/>
                  </a:cubicBezTo>
                  <a:cubicBezTo>
                    <a:pt x="20" y="39"/>
                    <a:pt x="20" y="40"/>
                    <a:pt x="19" y="4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2" y="61"/>
                    <a:pt x="2" y="61"/>
                    <a:pt x="2" y="61"/>
                  </a:cubicBezTo>
                  <a:cubicBezTo>
                    <a:pt x="10" y="54"/>
                    <a:pt x="20" y="45"/>
                    <a:pt x="21" y="43"/>
                  </a:cubicBezTo>
                  <a:cubicBezTo>
                    <a:pt x="46" y="56"/>
                    <a:pt x="46" y="56"/>
                    <a:pt x="46" y="56"/>
                  </a:cubicBezTo>
                  <a:cubicBezTo>
                    <a:pt x="46" y="56"/>
                    <a:pt x="46" y="56"/>
                    <a:pt x="46" y="56"/>
                  </a:cubicBezTo>
                  <a:cubicBezTo>
                    <a:pt x="47" y="56"/>
                    <a:pt x="47" y="56"/>
                    <a:pt x="48" y="56"/>
                  </a:cubicBezTo>
                  <a:cubicBezTo>
                    <a:pt x="68" y="35"/>
                    <a:pt x="68" y="35"/>
                    <a:pt x="68" y="35"/>
                  </a:cubicBezTo>
                  <a:cubicBezTo>
                    <a:pt x="69" y="35"/>
                    <a:pt x="92" y="27"/>
                    <a:pt x="92" y="27"/>
                  </a:cubicBezTo>
                  <a:cubicBezTo>
                    <a:pt x="93" y="27"/>
                    <a:pt x="118" y="4"/>
                    <a:pt x="118" y="4"/>
                  </a:cubicBezTo>
                  <a:cubicBezTo>
                    <a:pt x="119" y="3"/>
                    <a:pt x="119" y="2"/>
                    <a:pt x="119" y="2"/>
                  </a:cubicBezTo>
                  <a:cubicBezTo>
                    <a:pt x="118" y="1"/>
                    <a:pt x="118" y="0"/>
                    <a:pt x="117" y="0"/>
                  </a:cubicBezTo>
                </a:path>
              </a:pathLst>
            </a:custGeom>
            <a:solidFill>
              <a:srgbClr val="FFC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" name="Freeform 248">
              <a:extLst>
                <a:ext uri="{FF2B5EF4-FFF2-40B4-BE49-F238E27FC236}">
                  <a16:creationId xmlns:a16="http://schemas.microsoft.com/office/drawing/2014/main" id="{8705009F-8D8D-499C-B297-0E017F4218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99385" y="4302626"/>
              <a:ext cx="91043" cy="85986"/>
            </a:xfrm>
            <a:custGeom>
              <a:avLst/>
              <a:gdLst>
                <a:gd name="T0" fmla="*/ 32 w 54"/>
                <a:gd name="T1" fmla="*/ 23 h 51"/>
                <a:gd name="T2" fmla="*/ 35 w 54"/>
                <a:gd name="T3" fmla="*/ 51 h 51"/>
                <a:gd name="T4" fmla="*/ 54 w 54"/>
                <a:gd name="T5" fmla="*/ 0 h 51"/>
                <a:gd name="T6" fmla="*/ 0 w 54"/>
                <a:gd name="T7" fmla="*/ 23 h 51"/>
                <a:gd name="T8" fmla="*/ 32 w 54"/>
                <a:gd name="T9" fmla="*/ 23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51">
                  <a:moveTo>
                    <a:pt x="32" y="23"/>
                  </a:moveTo>
                  <a:lnTo>
                    <a:pt x="35" y="51"/>
                  </a:lnTo>
                  <a:lnTo>
                    <a:pt x="54" y="0"/>
                  </a:lnTo>
                  <a:lnTo>
                    <a:pt x="0" y="23"/>
                  </a:lnTo>
                  <a:lnTo>
                    <a:pt x="32" y="23"/>
                  </a:lnTo>
                  <a:close/>
                </a:path>
              </a:pathLst>
            </a:custGeom>
            <a:solidFill>
              <a:srgbClr val="FFC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" name="Freeform 249">
              <a:extLst>
                <a:ext uri="{FF2B5EF4-FFF2-40B4-BE49-F238E27FC236}">
                  <a16:creationId xmlns:a16="http://schemas.microsoft.com/office/drawing/2014/main" id="{68B5187C-D273-4EF2-97E2-0F996F16EA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63243" y="4356577"/>
              <a:ext cx="96102" cy="43836"/>
            </a:xfrm>
            <a:custGeom>
              <a:avLst/>
              <a:gdLst>
                <a:gd name="T0" fmla="*/ 57 w 57"/>
                <a:gd name="T1" fmla="*/ 0 h 26"/>
                <a:gd name="T2" fmla="*/ 10 w 57"/>
                <a:gd name="T3" fmla="*/ 0 h 26"/>
                <a:gd name="T4" fmla="*/ 0 w 57"/>
                <a:gd name="T5" fmla="*/ 26 h 26"/>
                <a:gd name="T6" fmla="*/ 48 w 57"/>
                <a:gd name="T7" fmla="*/ 26 h 26"/>
                <a:gd name="T8" fmla="*/ 57 w 57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26">
                  <a:moveTo>
                    <a:pt x="57" y="0"/>
                  </a:moveTo>
                  <a:lnTo>
                    <a:pt x="10" y="0"/>
                  </a:lnTo>
                  <a:lnTo>
                    <a:pt x="0" y="26"/>
                  </a:lnTo>
                  <a:lnTo>
                    <a:pt x="48" y="26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8A74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" name="Freeform 250">
              <a:extLst>
                <a:ext uri="{FF2B5EF4-FFF2-40B4-BE49-F238E27FC236}">
                  <a16:creationId xmlns:a16="http://schemas.microsoft.com/office/drawing/2014/main" id="{39B6C598-F040-443A-B647-42105207D8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63243" y="4356577"/>
              <a:ext cx="96102" cy="43836"/>
            </a:xfrm>
            <a:custGeom>
              <a:avLst/>
              <a:gdLst>
                <a:gd name="T0" fmla="*/ 57 w 57"/>
                <a:gd name="T1" fmla="*/ 0 h 26"/>
                <a:gd name="T2" fmla="*/ 10 w 57"/>
                <a:gd name="T3" fmla="*/ 0 h 26"/>
                <a:gd name="T4" fmla="*/ 0 w 57"/>
                <a:gd name="T5" fmla="*/ 26 h 26"/>
                <a:gd name="T6" fmla="*/ 48 w 57"/>
                <a:gd name="T7" fmla="*/ 26 h 26"/>
                <a:gd name="T8" fmla="*/ 57 w 57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26">
                  <a:moveTo>
                    <a:pt x="57" y="0"/>
                  </a:moveTo>
                  <a:lnTo>
                    <a:pt x="10" y="0"/>
                  </a:lnTo>
                  <a:lnTo>
                    <a:pt x="0" y="26"/>
                  </a:lnTo>
                  <a:lnTo>
                    <a:pt x="48" y="26"/>
                  </a:lnTo>
                  <a:lnTo>
                    <a:pt x="5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" name="Freeform 251">
              <a:extLst>
                <a:ext uri="{FF2B5EF4-FFF2-40B4-BE49-F238E27FC236}">
                  <a16:creationId xmlns:a16="http://schemas.microsoft.com/office/drawing/2014/main" id="{06B9F12B-344D-4BA0-B638-67319B1B5B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46383" y="4420645"/>
              <a:ext cx="92730" cy="43836"/>
            </a:xfrm>
            <a:custGeom>
              <a:avLst/>
              <a:gdLst>
                <a:gd name="T0" fmla="*/ 55 w 55"/>
                <a:gd name="T1" fmla="*/ 0 h 26"/>
                <a:gd name="T2" fmla="*/ 7 w 55"/>
                <a:gd name="T3" fmla="*/ 0 h 26"/>
                <a:gd name="T4" fmla="*/ 0 w 55"/>
                <a:gd name="T5" fmla="*/ 26 h 26"/>
                <a:gd name="T6" fmla="*/ 48 w 55"/>
                <a:gd name="T7" fmla="*/ 26 h 26"/>
                <a:gd name="T8" fmla="*/ 55 w 55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26">
                  <a:moveTo>
                    <a:pt x="55" y="0"/>
                  </a:moveTo>
                  <a:lnTo>
                    <a:pt x="7" y="0"/>
                  </a:lnTo>
                  <a:lnTo>
                    <a:pt x="0" y="26"/>
                  </a:lnTo>
                  <a:lnTo>
                    <a:pt x="48" y="26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rgbClr val="8A74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" name="Freeform 252">
              <a:extLst>
                <a:ext uri="{FF2B5EF4-FFF2-40B4-BE49-F238E27FC236}">
                  <a16:creationId xmlns:a16="http://schemas.microsoft.com/office/drawing/2014/main" id="{796EA870-4C66-4201-BBC6-AAB8917219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46383" y="4420645"/>
              <a:ext cx="92730" cy="43836"/>
            </a:xfrm>
            <a:custGeom>
              <a:avLst/>
              <a:gdLst>
                <a:gd name="T0" fmla="*/ 55 w 55"/>
                <a:gd name="T1" fmla="*/ 0 h 26"/>
                <a:gd name="T2" fmla="*/ 7 w 55"/>
                <a:gd name="T3" fmla="*/ 0 h 26"/>
                <a:gd name="T4" fmla="*/ 0 w 55"/>
                <a:gd name="T5" fmla="*/ 26 h 26"/>
                <a:gd name="T6" fmla="*/ 48 w 55"/>
                <a:gd name="T7" fmla="*/ 26 h 26"/>
                <a:gd name="T8" fmla="*/ 55 w 55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26">
                  <a:moveTo>
                    <a:pt x="55" y="0"/>
                  </a:moveTo>
                  <a:lnTo>
                    <a:pt x="7" y="0"/>
                  </a:lnTo>
                  <a:lnTo>
                    <a:pt x="0" y="26"/>
                  </a:lnTo>
                  <a:lnTo>
                    <a:pt x="48" y="26"/>
                  </a:lnTo>
                  <a:lnTo>
                    <a:pt x="5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" name="Freeform 253">
              <a:extLst>
                <a:ext uri="{FF2B5EF4-FFF2-40B4-BE49-F238E27FC236}">
                  <a16:creationId xmlns:a16="http://schemas.microsoft.com/office/drawing/2014/main" id="{CBFCE006-9998-4E5B-9259-6BB9CC8371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26151" y="4486398"/>
              <a:ext cx="96102" cy="42150"/>
            </a:xfrm>
            <a:custGeom>
              <a:avLst/>
              <a:gdLst>
                <a:gd name="T0" fmla="*/ 57 w 57"/>
                <a:gd name="T1" fmla="*/ 0 h 25"/>
                <a:gd name="T2" fmla="*/ 9 w 57"/>
                <a:gd name="T3" fmla="*/ 0 h 25"/>
                <a:gd name="T4" fmla="*/ 0 w 57"/>
                <a:gd name="T5" fmla="*/ 25 h 25"/>
                <a:gd name="T6" fmla="*/ 47 w 57"/>
                <a:gd name="T7" fmla="*/ 25 h 25"/>
                <a:gd name="T8" fmla="*/ 57 w 57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25">
                  <a:moveTo>
                    <a:pt x="57" y="0"/>
                  </a:moveTo>
                  <a:lnTo>
                    <a:pt x="9" y="0"/>
                  </a:lnTo>
                  <a:lnTo>
                    <a:pt x="0" y="25"/>
                  </a:lnTo>
                  <a:lnTo>
                    <a:pt x="47" y="25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8A74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" name="Freeform 254">
              <a:extLst>
                <a:ext uri="{FF2B5EF4-FFF2-40B4-BE49-F238E27FC236}">
                  <a16:creationId xmlns:a16="http://schemas.microsoft.com/office/drawing/2014/main" id="{F8EBF6F5-D39F-44E8-B666-67EE63CE59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26151" y="4486398"/>
              <a:ext cx="96102" cy="42150"/>
            </a:xfrm>
            <a:custGeom>
              <a:avLst/>
              <a:gdLst>
                <a:gd name="T0" fmla="*/ 57 w 57"/>
                <a:gd name="T1" fmla="*/ 0 h 25"/>
                <a:gd name="T2" fmla="*/ 9 w 57"/>
                <a:gd name="T3" fmla="*/ 0 h 25"/>
                <a:gd name="T4" fmla="*/ 0 w 57"/>
                <a:gd name="T5" fmla="*/ 25 h 25"/>
                <a:gd name="T6" fmla="*/ 47 w 57"/>
                <a:gd name="T7" fmla="*/ 25 h 25"/>
                <a:gd name="T8" fmla="*/ 57 w 57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25">
                  <a:moveTo>
                    <a:pt x="57" y="0"/>
                  </a:moveTo>
                  <a:lnTo>
                    <a:pt x="9" y="0"/>
                  </a:lnTo>
                  <a:lnTo>
                    <a:pt x="0" y="25"/>
                  </a:lnTo>
                  <a:lnTo>
                    <a:pt x="47" y="25"/>
                  </a:lnTo>
                  <a:lnTo>
                    <a:pt x="5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" name="Freeform 255">
              <a:extLst>
                <a:ext uri="{FF2B5EF4-FFF2-40B4-BE49-F238E27FC236}">
                  <a16:creationId xmlns:a16="http://schemas.microsoft.com/office/drawing/2014/main" id="{8CAE7A6B-F8B3-4B9B-815D-9DE913947B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09292" y="4550466"/>
              <a:ext cx="91043" cy="47207"/>
            </a:xfrm>
            <a:custGeom>
              <a:avLst/>
              <a:gdLst>
                <a:gd name="T0" fmla="*/ 54 w 54"/>
                <a:gd name="T1" fmla="*/ 0 h 28"/>
                <a:gd name="T2" fmla="*/ 7 w 54"/>
                <a:gd name="T3" fmla="*/ 0 h 28"/>
                <a:gd name="T4" fmla="*/ 0 w 54"/>
                <a:gd name="T5" fmla="*/ 28 h 28"/>
                <a:gd name="T6" fmla="*/ 38 w 54"/>
                <a:gd name="T7" fmla="*/ 28 h 28"/>
                <a:gd name="T8" fmla="*/ 51 w 54"/>
                <a:gd name="T9" fmla="*/ 16 h 28"/>
                <a:gd name="T10" fmla="*/ 54 w 54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4" h="28">
                  <a:moveTo>
                    <a:pt x="54" y="0"/>
                  </a:moveTo>
                  <a:lnTo>
                    <a:pt x="7" y="0"/>
                  </a:lnTo>
                  <a:lnTo>
                    <a:pt x="0" y="28"/>
                  </a:lnTo>
                  <a:lnTo>
                    <a:pt x="38" y="28"/>
                  </a:lnTo>
                  <a:lnTo>
                    <a:pt x="51" y="16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8A74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" name="Freeform 256">
              <a:extLst>
                <a:ext uri="{FF2B5EF4-FFF2-40B4-BE49-F238E27FC236}">
                  <a16:creationId xmlns:a16="http://schemas.microsoft.com/office/drawing/2014/main" id="{9028053E-A85B-49B8-BAD9-7019E6D0DB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09292" y="4550466"/>
              <a:ext cx="91043" cy="47207"/>
            </a:xfrm>
            <a:custGeom>
              <a:avLst/>
              <a:gdLst>
                <a:gd name="T0" fmla="*/ 54 w 54"/>
                <a:gd name="T1" fmla="*/ 0 h 28"/>
                <a:gd name="T2" fmla="*/ 7 w 54"/>
                <a:gd name="T3" fmla="*/ 0 h 28"/>
                <a:gd name="T4" fmla="*/ 0 w 54"/>
                <a:gd name="T5" fmla="*/ 28 h 28"/>
                <a:gd name="T6" fmla="*/ 38 w 54"/>
                <a:gd name="T7" fmla="*/ 28 h 28"/>
                <a:gd name="T8" fmla="*/ 51 w 54"/>
                <a:gd name="T9" fmla="*/ 16 h 28"/>
                <a:gd name="T10" fmla="*/ 54 w 54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4" h="28">
                  <a:moveTo>
                    <a:pt x="54" y="0"/>
                  </a:moveTo>
                  <a:lnTo>
                    <a:pt x="7" y="0"/>
                  </a:lnTo>
                  <a:lnTo>
                    <a:pt x="0" y="28"/>
                  </a:lnTo>
                  <a:lnTo>
                    <a:pt x="38" y="28"/>
                  </a:lnTo>
                  <a:lnTo>
                    <a:pt x="51" y="16"/>
                  </a:lnTo>
                  <a:lnTo>
                    <a:pt x="5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" name="Freeform 257">
              <a:extLst>
                <a:ext uri="{FF2B5EF4-FFF2-40B4-BE49-F238E27FC236}">
                  <a16:creationId xmlns:a16="http://schemas.microsoft.com/office/drawing/2014/main" id="{55481A41-855E-4A59-BF3D-47440A2180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73359" y="4577442"/>
              <a:ext cx="21918" cy="20232"/>
            </a:xfrm>
            <a:custGeom>
              <a:avLst/>
              <a:gdLst>
                <a:gd name="T0" fmla="*/ 13 w 13"/>
                <a:gd name="T1" fmla="*/ 0 h 12"/>
                <a:gd name="T2" fmla="*/ 0 w 13"/>
                <a:gd name="T3" fmla="*/ 12 h 12"/>
                <a:gd name="T4" fmla="*/ 10 w 13"/>
                <a:gd name="T5" fmla="*/ 12 h 12"/>
                <a:gd name="T6" fmla="*/ 13 w 13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2">
                  <a:moveTo>
                    <a:pt x="13" y="0"/>
                  </a:moveTo>
                  <a:lnTo>
                    <a:pt x="0" y="12"/>
                  </a:lnTo>
                  <a:lnTo>
                    <a:pt x="10" y="12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CF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" name="Freeform 258">
              <a:extLst>
                <a:ext uri="{FF2B5EF4-FFF2-40B4-BE49-F238E27FC236}">
                  <a16:creationId xmlns:a16="http://schemas.microsoft.com/office/drawing/2014/main" id="{641B5AA1-22BD-455A-9EA9-53D96F4C20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73359" y="4577442"/>
              <a:ext cx="21918" cy="20232"/>
            </a:xfrm>
            <a:custGeom>
              <a:avLst/>
              <a:gdLst>
                <a:gd name="T0" fmla="*/ 13 w 13"/>
                <a:gd name="T1" fmla="*/ 0 h 12"/>
                <a:gd name="T2" fmla="*/ 0 w 13"/>
                <a:gd name="T3" fmla="*/ 12 h 12"/>
                <a:gd name="T4" fmla="*/ 10 w 13"/>
                <a:gd name="T5" fmla="*/ 12 h 12"/>
                <a:gd name="T6" fmla="*/ 13 w 13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2">
                  <a:moveTo>
                    <a:pt x="13" y="0"/>
                  </a:moveTo>
                  <a:lnTo>
                    <a:pt x="0" y="12"/>
                  </a:lnTo>
                  <a:lnTo>
                    <a:pt x="10" y="12"/>
                  </a:lnTo>
                  <a:lnTo>
                    <a:pt x="1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" name="Freeform 259">
              <a:extLst>
                <a:ext uri="{FF2B5EF4-FFF2-40B4-BE49-F238E27FC236}">
                  <a16:creationId xmlns:a16="http://schemas.microsoft.com/office/drawing/2014/main" id="{0FE8DCBE-6794-4FE4-9B7A-FBF4947E0A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1295" y="4656682"/>
              <a:ext cx="730031" cy="139937"/>
            </a:xfrm>
            <a:custGeom>
              <a:avLst/>
              <a:gdLst>
                <a:gd name="T0" fmla="*/ 131 w 136"/>
                <a:gd name="T1" fmla="*/ 15 h 26"/>
                <a:gd name="T2" fmla="*/ 6 w 136"/>
                <a:gd name="T3" fmla="*/ 1 h 26"/>
                <a:gd name="T4" fmla="*/ 0 w 136"/>
                <a:gd name="T5" fmla="*/ 5 h 26"/>
                <a:gd name="T6" fmla="*/ 5 w 136"/>
                <a:gd name="T7" fmla="*/ 11 h 26"/>
                <a:gd name="T8" fmla="*/ 130 w 136"/>
                <a:gd name="T9" fmla="*/ 26 h 26"/>
                <a:gd name="T10" fmla="*/ 136 w 136"/>
                <a:gd name="T11" fmla="*/ 21 h 26"/>
                <a:gd name="T12" fmla="*/ 131 w 136"/>
                <a:gd name="T13" fmla="*/ 1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6" h="26">
                  <a:moveTo>
                    <a:pt x="131" y="15"/>
                  </a:moveTo>
                  <a:cubicBezTo>
                    <a:pt x="6" y="1"/>
                    <a:pt x="6" y="1"/>
                    <a:pt x="6" y="1"/>
                  </a:cubicBezTo>
                  <a:cubicBezTo>
                    <a:pt x="3" y="0"/>
                    <a:pt x="1" y="3"/>
                    <a:pt x="0" y="5"/>
                  </a:cubicBezTo>
                  <a:cubicBezTo>
                    <a:pt x="0" y="8"/>
                    <a:pt x="2" y="11"/>
                    <a:pt x="5" y="11"/>
                  </a:cubicBezTo>
                  <a:cubicBezTo>
                    <a:pt x="130" y="26"/>
                    <a:pt x="130" y="26"/>
                    <a:pt x="130" y="26"/>
                  </a:cubicBezTo>
                  <a:cubicBezTo>
                    <a:pt x="133" y="26"/>
                    <a:pt x="136" y="24"/>
                    <a:pt x="136" y="21"/>
                  </a:cubicBezTo>
                  <a:cubicBezTo>
                    <a:pt x="136" y="18"/>
                    <a:pt x="134" y="16"/>
                    <a:pt x="131" y="15"/>
                  </a:cubicBezTo>
                  <a:close/>
                </a:path>
              </a:pathLst>
            </a:custGeom>
            <a:solidFill>
              <a:srgbClr val="B0C1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8" name="Freeform 260">
              <a:extLst>
                <a:ext uri="{FF2B5EF4-FFF2-40B4-BE49-F238E27FC236}">
                  <a16:creationId xmlns:a16="http://schemas.microsoft.com/office/drawing/2014/main" id="{00327790-7B0B-40A1-8C64-03758A315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45224" y="4732552"/>
              <a:ext cx="681137" cy="133193"/>
            </a:xfrm>
            <a:custGeom>
              <a:avLst/>
              <a:gdLst>
                <a:gd name="T0" fmla="*/ 122 w 127"/>
                <a:gd name="T1" fmla="*/ 14 h 25"/>
                <a:gd name="T2" fmla="*/ 7 w 127"/>
                <a:gd name="T3" fmla="*/ 0 h 25"/>
                <a:gd name="T4" fmla="*/ 1 w 127"/>
                <a:gd name="T5" fmla="*/ 5 h 25"/>
                <a:gd name="T6" fmla="*/ 6 w 127"/>
                <a:gd name="T7" fmla="*/ 11 h 25"/>
                <a:gd name="T8" fmla="*/ 121 w 127"/>
                <a:gd name="T9" fmla="*/ 25 h 25"/>
                <a:gd name="T10" fmla="*/ 127 w 127"/>
                <a:gd name="T11" fmla="*/ 20 h 25"/>
                <a:gd name="T12" fmla="*/ 122 w 127"/>
                <a:gd name="T13" fmla="*/ 1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7" h="25">
                  <a:moveTo>
                    <a:pt x="122" y="14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1" y="2"/>
                    <a:pt x="1" y="5"/>
                  </a:cubicBezTo>
                  <a:cubicBezTo>
                    <a:pt x="0" y="8"/>
                    <a:pt x="3" y="11"/>
                    <a:pt x="6" y="11"/>
                  </a:cubicBezTo>
                  <a:cubicBezTo>
                    <a:pt x="121" y="25"/>
                    <a:pt x="121" y="25"/>
                    <a:pt x="121" y="25"/>
                  </a:cubicBezTo>
                  <a:cubicBezTo>
                    <a:pt x="124" y="25"/>
                    <a:pt x="126" y="23"/>
                    <a:pt x="127" y="20"/>
                  </a:cubicBezTo>
                  <a:cubicBezTo>
                    <a:pt x="127" y="17"/>
                    <a:pt x="125" y="14"/>
                    <a:pt x="122" y="14"/>
                  </a:cubicBezTo>
                  <a:close/>
                </a:path>
              </a:pathLst>
            </a:custGeom>
            <a:solidFill>
              <a:srgbClr val="D1DB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9" name="Freeform 261">
              <a:extLst>
                <a:ext uri="{FF2B5EF4-FFF2-40B4-BE49-F238E27FC236}">
                  <a16:creationId xmlns:a16="http://schemas.microsoft.com/office/drawing/2014/main" id="{B9E94EA8-2AA9-4AAA-A3ED-31B8454A55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00439" y="4801677"/>
              <a:ext cx="59010" cy="21918"/>
            </a:xfrm>
            <a:custGeom>
              <a:avLst/>
              <a:gdLst>
                <a:gd name="T0" fmla="*/ 0 w 35"/>
                <a:gd name="T1" fmla="*/ 10 h 13"/>
                <a:gd name="T2" fmla="*/ 32 w 35"/>
                <a:gd name="T3" fmla="*/ 13 h 13"/>
                <a:gd name="T4" fmla="*/ 35 w 35"/>
                <a:gd name="T5" fmla="*/ 3 h 13"/>
                <a:gd name="T6" fmla="*/ 0 w 35"/>
                <a:gd name="T7" fmla="*/ 0 h 13"/>
                <a:gd name="T8" fmla="*/ 0 w 35"/>
                <a:gd name="T9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3">
                  <a:moveTo>
                    <a:pt x="0" y="10"/>
                  </a:moveTo>
                  <a:lnTo>
                    <a:pt x="32" y="13"/>
                  </a:lnTo>
                  <a:lnTo>
                    <a:pt x="35" y="3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194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0" name="Freeform 262">
              <a:extLst>
                <a:ext uri="{FF2B5EF4-FFF2-40B4-BE49-F238E27FC236}">
                  <a16:creationId xmlns:a16="http://schemas.microsoft.com/office/drawing/2014/main" id="{0E1D6088-6AE0-4D42-BD78-25727F27ED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41430" y="4796619"/>
              <a:ext cx="43836" cy="21918"/>
            </a:xfrm>
            <a:custGeom>
              <a:avLst/>
              <a:gdLst>
                <a:gd name="T0" fmla="*/ 0 w 26"/>
                <a:gd name="T1" fmla="*/ 9 h 13"/>
                <a:gd name="T2" fmla="*/ 26 w 26"/>
                <a:gd name="T3" fmla="*/ 13 h 13"/>
                <a:gd name="T4" fmla="*/ 26 w 26"/>
                <a:gd name="T5" fmla="*/ 3 h 13"/>
                <a:gd name="T6" fmla="*/ 4 w 26"/>
                <a:gd name="T7" fmla="*/ 0 h 13"/>
                <a:gd name="T8" fmla="*/ 0 w 26"/>
                <a:gd name="T9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3">
                  <a:moveTo>
                    <a:pt x="0" y="9"/>
                  </a:moveTo>
                  <a:lnTo>
                    <a:pt x="26" y="13"/>
                  </a:lnTo>
                  <a:lnTo>
                    <a:pt x="26" y="3"/>
                  </a:lnTo>
                  <a:lnTo>
                    <a:pt x="4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194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1" name="Freeform 263">
              <a:extLst>
                <a:ext uri="{FF2B5EF4-FFF2-40B4-BE49-F238E27FC236}">
                  <a16:creationId xmlns:a16="http://schemas.microsoft.com/office/drawing/2014/main" id="{1B1D0DF6-4945-4725-A900-D001F6DAB8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05393" y="4243617"/>
              <a:ext cx="59010" cy="65754"/>
            </a:xfrm>
            <a:custGeom>
              <a:avLst/>
              <a:gdLst>
                <a:gd name="T0" fmla="*/ 6 w 11"/>
                <a:gd name="T1" fmla="*/ 0 h 12"/>
                <a:gd name="T2" fmla="*/ 0 w 11"/>
                <a:gd name="T3" fmla="*/ 6 h 12"/>
                <a:gd name="T4" fmla="*/ 5 w 11"/>
                <a:gd name="T5" fmla="*/ 12 h 12"/>
                <a:gd name="T6" fmla="*/ 11 w 11"/>
                <a:gd name="T7" fmla="*/ 6 h 12"/>
                <a:gd name="T8" fmla="*/ 6 w 11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2" y="12"/>
                    <a:pt x="5" y="12"/>
                  </a:cubicBezTo>
                  <a:cubicBezTo>
                    <a:pt x="8" y="12"/>
                    <a:pt x="11" y="9"/>
                    <a:pt x="11" y="6"/>
                  </a:cubicBezTo>
                  <a:cubicBezTo>
                    <a:pt x="11" y="3"/>
                    <a:pt x="9" y="0"/>
                    <a:pt x="6" y="0"/>
                  </a:cubicBezTo>
                </a:path>
              </a:pathLst>
            </a:custGeom>
            <a:solidFill>
              <a:srgbClr val="8A74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2" name="Freeform 264">
              <a:extLst>
                <a:ext uri="{FF2B5EF4-FFF2-40B4-BE49-F238E27FC236}">
                  <a16:creationId xmlns:a16="http://schemas.microsoft.com/office/drawing/2014/main" id="{EEE4CBCF-D51A-473B-B7ED-141FA0669B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47332" y="4978705"/>
              <a:ext cx="982928" cy="413066"/>
            </a:xfrm>
            <a:custGeom>
              <a:avLst/>
              <a:gdLst>
                <a:gd name="T0" fmla="*/ 162 w 183"/>
                <a:gd name="T1" fmla="*/ 41 h 77"/>
                <a:gd name="T2" fmla="*/ 26 w 183"/>
                <a:gd name="T3" fmla="*/ 0 h 77"/>
                <a:gd name="T4" fmla="*/ 24 w 183"/>
                <a:gd name="T5" fmla="*/ 48 h 77"/>
                <a:gd name="T6" fmla="*/ 157 w 183"/>
                <a:gd name="T7" fmla="*/ 72 h 77"/>
                <a:gd name="T8" fmla="*/ 162 w 183"/>
                <a:gd name="T9" fmla="*/ 41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77">
                  <a:moveTo>
                    <a:pt x="162" y="41"/>
                  </a:moveTo>
                  <a:cubicBezTo>
                    <a:pt x="125" y="19"/>
                    <a:pt x="44" y="2"/>
                    <a:pt x="26" y="0"/>
                  </a:cubicBezTo>
                  <a:cubicBezTo>
                    <a:pt x="17" y="0"/>
                    <a:pt x="0" y="34"/>
                    <a:pt x="24" y="48"/>
                  </a:cubicBezTo>
                  <a:cubicBezTo>
                    <a:pt x="55" y="66"/>
                    <a:pt x="135" y="77"/>
                    <a:pt x="157" y="72"/>
                  </a:cubicBezTo>
                  <a:cubicBezTo>
                    <a:pt x="170" y="70"/>
                    <a:pt x="183" y="54"/>
                    <a:pt x="162" y="41"/>
                  </a:cubicBezTo>
                  <a:close/>
                </a:path>
              </a:pathLst>
            </a:custGeom>
            <a:solidFill>
              <a:srgbClr val="B0C1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3" name="Freeform 265">
              <a:extLst>
                <a:ext uri="{FF2B5EF4-FFF2-40B4-BE49-F238E27FC236}">
                  <a16:creationId xmlns:a16="http://schemas.microsoft.com/office/drawing/2014/main" id="{0FA72FFB-9089-497C-9848-C824F57F48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26151" y="5954888"/>
              <a:ext cx="79242" cy="84299"/>
            </a:xfrm>
            <a:custGeom>
              <a:avLst/>
              <a:gdLst>
                <a:gd name="T0" fmla="*/ 2 w 15"/>
                <a:gd name="T1" fmla="*/ 4 h 16"/>
                <a:gd name="T2" fmla="*/ 3 w 15"/>
                <a:gd name="T3" fmla="*/ 16 h 16"/>
                <a:gd name="T4" fmla="*/ 14 w 15"/>
                <a:gd name="T5" fmla="*/ 12 h 16"/>
                <a:gd name="T6" fmla="*/ 15 w 15"/>
                <a:gd name="T7" fmla="*/ 5 h 16"/>
                <a:gd name="T8" fmla="*/ 2 w 15"/>
                <a:gd name="T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2" y="4"/>
                  </a:moveTo>
                  <a:cubicBezTo>
                    <a:pt x="0" y="10"/>
                    <a:pt x="3" y="16"/>
                    <a:pt x="3" y="16"/>
                  </a:cubicBezTo>
                  <a:cubicBezTo>
                    <a:pt x="3" y="16"/>
                    <a:pt x="10" y="16"/>
                    <a:pt x="14" y="12"/>
                  </a:cubicBezTo>
                  <a:cubicBezTo>
                    <a:pt x="14" y="12"/>
                    <a:pt x="14" y="9"/>
                    <a:pt x="15" y="5"/>
                  </a:cubicBezTo>
                  <a:cubicBezTo>
                    <a:pt x="10" y="0"/>
                    <a:pt x="3" y="2"/>
                    <a:pt x="2" y="4"/>
                  </a:cubicBezTo>
                </a:path>
              </a:pathLst>
            </a:custGeom>
            <a:solidFill>
              <a:srgbClr val="FCD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4" name="Freeform 266">
              <a:extLst>
                <a:ext uri="{FF2B5EF4-FFF2-40B4-BE49-F238E27FC236}">
                  <a16:creationId xmlns:a16="http://schemas.microsoft.com/office/drawing/2014/main" id="{0937C339-5EEA-433C-9AB8-D9525380DB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36267" y="5145617"/>
              <a:ext cx="499051" cy="846363"/>
            </a:xfrm>
            <a:custGeom>
              <a:avLst/>
              <a:gdLst>
                <a:gd name="T0" fmla="*/ 38 w 93"/>
                <a:gd name="T1" fmla="*/ 36 h 158"/>
                <a:gd name="T2" fmla="*/ 0 w 93"/>
                <a:gd name="T3" fmla="*/ 155 h 158"/>
                <a:gd name="T4" fmla="*/ 12 w 93"/>
                <a:gd name="T5" fmla="*/ 158 h 158"/>
                <a:gd name="T6" fmla="*/ 79 w 93"/>
                <a:gd name="T7" fmla="*/ 34 h 158"/>
                <a:gd name="T8" fmla="*/ 38 w 93"/>
                <a:gd name="T9" fmla="*/ 36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158">
                  <a:moveTo>
                    <a:pt x="38" y="36"/>
                  </a:moveTo>
                  <a:cubicBezTo>
                    <a:pt x="19" y="92"/>
                    <a:pt x="0" y="155"/>
                    <a:pt x="0" y="155"/>
                  </a:cubicBezTo>
                  <a:cubicBezTo>
                    <a:pt x="3" y="158"/>
                    <a:pt x="7" y="156"/>
                    <a:pt x="12" y="158"/>
                  </a:cubicBezTo>
                  <a:cubicBezTo>
                    <a:pt x="12" y="158"/>
                    <a:pt x="47" y="92"/>
                    <a:pt x="79" y="34"/>
                  </a:cubicBezTo>
                  <a:cubicBezTo>
                    <a:pt x="93" y="10"/>
                    <a:pt x="50" y="0"/>
                    <a:pt x="38" y="36"/>
                  </a:cubicBezTo>
                  <a:close/>
                </a:path>
              </a:pathLst>
            </a:custGeom>
            <a:solidFill>
              <a:srgbClr val="FCD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5" name="Freeform 267">
              <a:extLst>
                <a:ext uri="{FF2B5EF4-FFF2-40B4-BE49-F238E27FC236}">
                  <a16:creationId xmlns:a16="http://schemas.microsoft.com/office/drawing/2014/main" id="{D8D8898E-DFF1-41EC-B7F2-233B27E0304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36267" y="5991980"/>
              <a:ext cx="182086" cy="144994"/>
            </a:xfrm>
            <a:custGeom>
              <a:avLst/>
              <a:gdLst>
                <a:gd name="T0" fmla="*/ 14 w 34"/>
                <a:gd name="T1" fmla="*/ 5 h 27"/>
                <a:gd name="T2" fmla="*/ 12 w 34"/>
                <a:gd name="T3" fmla="*/ 2 h 27"/>
                <a:gd name="T4" fmla="*/ 1 w 34"/>
                <a:gd name="T5" fmla="*/ 6 h 27"/>
                <a:gd name="T6" fmla="*/ 3 w 34"/>
                <a:gd name="T7" fmla="*/ 16 h 27"/>
                <a:gd name="T8" fmla="*/ 13 w 34"/>
                <a:gd name="T9" fmla="*/ 25 h 27"/>
                <a:gd name="T10" fmla="*/ 24 w 34"/>
                <a:gd name="T11" fmla="*/ 26 h 27"/>
                <a:gd name="T12" fmla="*/ 33 w 34"/>
                <a:gd name="T13" fmla="*/ 20 h 27"/>
                <a:gd name="T14" fmla="*/ 14 w 34"/>
                <a:gd name="T15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7">
                  <a:moveTo>
                    <a:pt x="14" y="5"/>
                  </a:moveTo>
                  <a:cubicBezTo>
                    <a:pt x="12" y="3"/>
                    <a:pt x="12" y="2"/>
                    <a:pt x="12" y="2"/>
                  </a:cubicBezTo>
                  <a:cubicBezTo>
                    <a:pt x="12" y="2"/>
                    <a:pt x="3" y="0"/>
                    <a:pt x="1" y="6"/>
                  </a:cubicBezTo>
                  <a:cubicBezTo>
                    <a:pt x="1" y="6"/>
                    <a:pt x="0" y="12"/>
                    <a:pt x="3" y="16"/>
                  </a:cubicBezTo>
                  <a:cubicBezTo>
                    <a:pt x="4" y="17"/>
                    <a:pt x="10" y="24"/>
                    <a:pt x="13" y="25"/>
                  </a:cubicBezTo>
                  <a:cubicBezTo>
                    <a:pt x="16" y="27"/>
                    <a:pt x="20" y="26"/>
                    <a:pt x="24" y="26"/>
                  </a:cubicBezTo>
                  <a:cubicBezTo>
                    <a:pt x="28" y="25"/>
                    <a:pt x="34" y="22"/>
                    <a:pt x="33" y="20"/>
                  </a:cubicBezTo>
                  <a:cubicBezTo>
                    <a:pt x="33" y="15"/>
                    <a:pt x="17" y="8"/>
                    <a:pt x="14" y="5"/>
                  </a:cubicBezTo>
                </a:path>
              </a:pathLst>
            </a:custGeom>
            <a:solidFill>
              <a:srgbClr val="6855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pic>
          <p:nvPicPr>
            <p:cNvPr id="86" name="Picture 268">
              <a:extLst>
                <a:ext uri="{FF2B5EF4-FFF2-40B4-BE49-F238E27FC236}">
                  <a16:creationId xmlns:a16="http://schemas.microsoft.com/office/drawing/2014/main" id="{92FDC531-EE1B-479F-9F3D-4427DBA0455C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00335" y="6104941"/>
              <a:ext cx="64067" cy="472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7" name="Freeform 269">
              <a:extLst>
                <a:ext uri="{FF2B5EF4-FFF2-40B4-BE49-F238E27FC236}">
                  <a16:creationId xmlns:a16="http://schemas.microsoft.com/office/drawing/2014/main" id="{39546BD4-193E-4142-85B6-AA41E9A414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41326" y="6034130"/>
              <a:ext cx="161854" cy="96102"/>
            </a:xfrm>
            <a:custGeom>
              <a:avLst/>
              <a:gdLst>
                <a:gd name="T0" fmla="*/ 8 w 30"/>
                <a:gd name="T1" fmla="*/ 0 h 18"/>
                <a:gd name="T2" fmla="*/ 4 w 30"/>
                <a:gd name="T3" fmla="*/ 10 h 18"/>
                <a:gd name="T4" fmla="*/ 13 w 30"/>
                <a:gd name="T5" fmla="*/ 18 h 18"/>
                <a:gd name="T6" fmla="*/ 16 w 30"/>
                <a:gd name="T7" fmla="*/ 18 h 18"/>
                <a:gd name="T8" fmla="*/ 17 w 30"/>
                <a:gd name="T9" fmla="*/ 18 h 18"/>
                <a:gd name="T10" fmla="*/ 20 w 30"/>
                <a:gd name="T11" fmla="*/ 18 h 18"/>
                <a:gd name="T12" fmla="*/ 22 w 30"/>
                <a:gd name="T13" fmla="*/ 18 h 18"/>
                <a:gd name="T14" fmla="*/ 30 w 30"/>
                <a:gd name="T15" fmla="*/ 13 h 18"/>
                <a:gd name="T16" fmla="*/ 11 w 30"/>
                <a:gd name="T17" fmla="*/ 0 h 18"/>
                <a:gd name="T18" fmla="*/ 8 w 30"/>
                <a:gd name="T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18">
                  <a:moveTo>
                    <a:pt x="8" y="0"/>
                  </a:moveTo>
                  <a:cubicBezTo>
                    <a:pt x="4" y="0"/>
                    <a:pt x="0" y="4"/>
                    <a:pt x="4" y="10"/>
                  </a:cubicBezTo>
                  <a:cubicBezTo>
                    <a:pt x="5" y="11"/>
                    <a:pt x="10" y="16"/>
                    <a:pt x="13" y="18"/>
                  </a:cubicBezTo>
                  <a:cubicBezTo>
                    <a:pt x="14" y="18"/>
                    <a:pt x="15" y="18"/>
                    <a:pt x="16" y="18"/>
                  </a:cubicBezTo>
                  <a:cubicBezTo>
                    <a:pt x="16" y="18"/>
                    <a:pt x="17" y="18"/>
                    <a:pt x="17" y="18"/>
                  </a:cubicBezTo>
                  <a:cubicBezTo>
                    <a:pt x="18" y="18"/>
                    <a:pt x="19" y="18"/>
                    <a:pt x="20" y="18"/>
                  </a:cubicBezTo>
                  <a:cubicBezTo>
                    <a:pt x="21" y="18"/>
                    <a:pt x="22" y="18"/>
                    <a:pt x="22" y="18"/>
                  </a:cubicBezTo>
                  <a:cubicBezTo>
                    <a:pt x="26" y="17"/>
                    <a:pt x="30" y="15"/>
                    <a:pt x="30" y="13"/>
                  </a:cubicBezTo>
                  <a:cubicBezTo>
                    <a:pt x="30" y="9"/>
                    <a:pt x="15" y="3"/>
                    <a:pt x="11" y="0"/>
                  </a:cubicBezTo>
                  <a:cubicBezTo>
                    <a:pt x="10" y="0"/>
                    <a:pt x="9" y="0"/>
                    <a:pt x="8" y="0"/>
                  </a:cubicBezTo>
                </a:path>
              </a:pathLst>
            </a:custGeom>
            <a:solidFill>
              <a:srgbClr val="2A1C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8" name="Freeform 270">
              <a:extLst>
                <a:ext uri="{FF2B5EF4-FFF2-40B4-BE49-F238E27FC236}">
                  <a16:creationId xmlns:a16="http://schemas.microsoft.com/office/drawing/2014/main" id="{B919237E-BCC9-4216-ACE7-722F8FEC49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96226" y="5959947"/>
              <a:ext cx="91043" cy="96102"/>
            </a:xfrm>
            <a:custGeom>
              <a:avLst/>
              <a:gdLst>
                <a:gd name="T0" fmla="*/ 5 w 17"/>
                <a:gd name="T1" fmla="*/ 2 h 18"/>
                <a:gd name="T2" fmla="*/ 0 w 17"/>
                <a:gd name="T3" fmla="*/ 11 h 18"/>
                <a:gd name="T4" fmla="*/ 13 w 17"/>
                <a:gd name="T5" fmla="*/ 18 h 18"/>
                <a:gd name="T6" fmla="*/ 16 w 17"/>
                <a:gd name="T7" fmla="*/ 6 h 18"/>
                <a:gd name="T8" fmla="*/ 5 w 17"/>
                <a:gd name="T9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8">
                  <a:moveTo>
                    <a:pt x="5" y="2"/>
                  </a:moveTo>
                  <a:cubicBezTo>
                    <a:pt x="3" y="7"/>
                    <a:pt x="0" y="11"/>
                    <a:pt x="0" y="11"/>
                  </a:cubicBezTo>
                  <a:cubicBezTo>
                    <a:pt x="3" y="15"/>
                    <a:pt x="13" y="18"/>
                    <a:pt x="13" y="18"/>
                  </a:cubicBezTo>
                  <a:cubicBezTo>
                    <a:pt x="15" y="14"/>
                    <a:pt x="14" y="10"/>
                    <a:pt x="16" y="6"/>
                  </a:cubicBezTo>
                  <a:cubicBezTo>
                    <a:pt x="17" y="6"/>
                    <a:pt x="11" y="0"/>
                    <a:pt x="5" y="2"/>
                  </a:cubicBezTo>
                </a:path>
              </a:pathLst>
            </a:custGeom>
            <a:solidFill>
              <a:srgbClr val="FCD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9" name="Freeform 271">
              <a:extLst>
                <a:ext uri="{FF2B5EF4-FFF2-40B4-BE49-F238E27FC236}">
                  <a16:creationId xmlns:a16="http://schemas.microsoft.com/office/drawing/2014/main" id="{AF377D54-C7A2-49F1-934F-F23031F997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18144" y="5236660"/>
              <a:ext cx="445099" cy="760378"/>
            </a:xfrm>
            <a:custGeom>
              <a:avLst/>
              <a:gdLst>
                <a:gd name="T0" fmla="*/ 34 w 83"/>
                <a:gd name="T1" fmla="*/ 37 h 142"/>
                <a:gd name="T2" fmla="*/ 0 w 83"/>
                <a:gd name="T3" fmla="*/ 138 h 142"/>
                <a:gd name="T4" fmla="*/ 12 w 83"/>
                <a:gd name="T5" fmla="*/ 142 h 142"/>
                <a:gd name="T6" fmla="*/ 69 w 83"/>
                <a:gd name="T7" fmla="*/ 45 h 142"/>
                <a:gd name="T8" fmla="*/ 34 w 83"/>
                <a:gd name="T9" fmla="*/ 37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142">
                  <a:moveTo>
                    <a:pt x="34" y="37"/>
                  </a:moveTo>
                  <a:cubicBezTo>
                    <a:pt x="15" y="92"/>
                    <a:pt x="0" y="138"/>
                    <a:pt x="0" y="138"/>
                  </a:cubicBezTo>
                  <a:cubicBezTo>
                    <a:pt x="5" y="137"/>
                    <a:pt x="10" y="139"/>
                    <a:pt x="12" y="142"/>
                  </a:cubicBezTo>
                  <a:cubicBezTo>
                    <a:pt x="12" y="142"/>
                    <a:pt x="37" y="104"/>
                    <a:pt x="69" y="45"/>
                  </a:cubicBezTo>
                  <a:cubicBezTo>
                    <a:pt x="83" y="21"/>
                    <a:pt x="47" y="0"/>
                    <a:pt x="34" y="37"/>
                  </a:cubicBezTo>
                  <a:close/>
                </a:path>
              </a:pathLst>
            </a:custGeom>
            <a:solidFill>
              <a:srgbClr val="FCD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0" name="Freeform 272">
              <a:extLst>
                <a:ext uri="{FF2B5EF4-FFF2-40B4-BE49-F238E27FC236}">
                  <a16:creationId xmlns:a16="http://schemas.microsoft.com/office/drawing/2014/main" id="{3E36B5E8-4219-444E-A000-3FDC6C5C03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95068" y="5997038"/>
              <a:ext cx="177029" cy="139937"/>
            </a:xfrm>
            <a:custGeom>
              <a:avLst/>
              <a:gdLst>
                <a:gd name="T0" fmla="*/ 29 w 33"/>
                <a:gd name="T1" fmla="*/ 1 h 26"/>
                <a:gd name="T2" fmla="*/ 29 w 33"/>
                <a:gd name="T3" fmla="*/ 1 h 26"/>
                <a:gd name="T4" fmla="*/ 19 w 33"/>
                <a:gd name="T5" fmla="*/ 3 h 26"/>
                <a:gd name="T6" fmla="*/ 19 w 33"/>
                <a:gd name="T7" fmla="*/ 4 h 26"/>
                <a:gd name="T8" fmla="*/ 0 w 33"/>
                <a:gd name="T9" fmla="*/ 19 h 26"/>
                <a:gd name="T10" fmla="*/ 9 w 33"/>
                <a:gd name="T11" fmla="*/ 25 h 26"/>
                <a:gd name="T12" fmla="*/ 20 w 33"/>
                <a:gd name="T13" fmla="*/ 24 h 26"/>
                <a:gd name="T14" fmla="*/ 31 w 33"/>
                <a:gd name="T15" fmla="*/ 15 h 26"/>
                <a:gd name="T16" fmla="*/ 32 w 33"/>
                <a:gd name="T17" fmla="*/ 8 h 26"/>
                <a:gd name="T18" fmla="*/ 29 w 33"/>
                <a:gd name="T19" fmla="*/ 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26">
                  <a:moveTo>
                    <a:pt x="29" y="1"/>
                  </a:moveTo>
                  <a:cubicBezTo>
                    <a:pt x="29" y="1"/>
                    <a:pt x="29" y="1"/>
                    <a:pt x="29" y="1"/>
                  </a:cubicBezTo>
                  <a:cubicBezTo>
                    <a:pt x="25" y="0"/>
                    <a:pt x="22" y="1"/>
                    <a:pt x="19" y="3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6" y="7"/>
                    <a:pt x="0" y="14"/>
                    <a:pt x="0" y="19"/>
                  </a:cubicBezTo>
                  <a:cubicBezTo>
                    <a:pt x="0" y="21"/>
                    <a:pt x="5" y="24"/>
                    <a:pt x="9" y="25"/>
                  </a:cubicBezTo>
                  <a:cubicBezTo>
                    <a:pt x="14" y="25"/>
                    <a:pt x="18" y="26"/>
                    <a:pt x="20" y="24"/>
                  </a:cubicBezTo>
                  <a:cubicBezTo>
                    <a:pt x="23" y="23"/>
                    <a:pt x="30" y="16"/>
                    <a:pt x="31" y="15"/>
                  </a:cubicBezTo>
                  <a:cubicBezTo>
                    <a:pt x="32" y="13"/>
                    <a:pt x="32" y="10"/>
                    <a:pt x="32" y="8"/>
                  </a:cubicBezTo>
                  <a:cubicBezTo>
                    <a:pt x="33" y="5"/>
                    <a:pt x="31" y="2"/>
                    <a:pt x="29" y="1"/>
                  </a:cubicBezTo>
                </a:path>
              </a:pathLst>
            </a:custGeom>
            <a:solidFill>
              <a:srgbClr val="6855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pic>
          <p:nvPicPr>
            <p:cNvPr id="91" name="Picture 273">
              <a:extLst>
                <a:ext uri="{FF2B5EF4-FFF2-40B4-BE49-F238E27FC236}">
                  <a16:creationId xmlns:a16="http://schemas.microsoft.com/office/drawing/2014/main" id="{163D0C62-D788-4E4A-BEA5-42146261EDE7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32159" y="6104941"/>
              <a:ext cx="64067" cy="472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2" name="Freeform 274">
              <a:extLst>
                <a:ext uri="{FF2B5EF4-FFF2-40B4-BE49-F238E27FC236}">
                  <a16:creationId xmlns:a16="http://schemas.microsoft.com/office/drawing/2014/main" id="{3A86F6E3-5D58-4398-A02B-2673E591B1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05183" y="6034130"/>
              <a:ext cx="160169" cy="96102"/>
            </a:xfrm>
            <a:custGeom>
              <a:avLst/>
              <a:gdLst>
                <a:gd name="T0" fmla="*/ 22 w 30"/>
                <a:gd name="T1" fmla="*/ 0 h 18"/>
                <a:gd name="T2" fmla="*/ 19 w 30"/>
                <a:gd name="T3" fmla="*/ 0 h 18"/>
                <a:gd name="T4" fmla="*/ 0 w 30"/>
                <a:gd name="T5" fmla="*/ 13 h 18"/>
                <a:gd name="T6" fmla="*/ 8 w 30"/>
                <a:gd name="T7" fmla="*/ 18 h 18"/>
                <a:gd name="T8" fmla="*/ 10 w 30"/>
                <a:gd name="T9" fmla="*/ 18 h 18"/>
                <a:gd name="T10" fmla="*/ 13 w 30"/>
                <a:gd name="T11" fmla="*/ 18 h 18"/>
                <a:gd name="T12" fmla="*/ 14 w 30"/>
                <a:gd name="T13" fmla="*/ 18 h 18"/>
                <a:gd name="T14" fmla="*/ 17 w 30"/>
                <a:gd name="T15" fmla="*/ 18 h 18"/>
                <a:gd name="T16" fmla="*/ 26 w 30"/>
                <a:gd name="T17" fmla="*/ 10 h 18"/>
                <a:gd name="T18" fmla="*/ 22 w 30"/>
                <a:gd name="T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18">
                  <a:moveTo>
                    <a:pt x="22" y="0"/>
                  </a:moveTo>
                  <a:cubicBezTo>
                    <a:pt x="21" y="0"/>
                    <a:pt x="20" y="0"/>
                    <a:pt x="19" y="0"/>
                  </a:cubicBezTo>
                  <a:cubicBezTo>
                    <a:pt x="15" y="3"/>
                    <a:pt x="1" y="9"/>
                    <a:pt x="0" y="13"/>
                  </a:cubicBezTo>
                  <a:cubicBezTo>
                    <a:pt x="0" y="15"/>
                    <a:pt x="4" y="17"/>
                    <a:pt x="8" y="18"/>
                  </a:cubicBezTo>
                  <a:cubicBezTo>
                    <a:pt x="9" y="18"/>
                    <a:pt x="9" y="18"/>
                    <a:pt x="10" y="18"/>
                  </a:cubicBezTo>
                  <a:cubicBezTo>
                    <a:pt x="11" y="18"/>
                    <a:pt x="12" y="18"/>
                    <a:pt x="13" y="18"/>
                  </a:cubicBezTo>
                  <a:cubicBezTo>
                    <a:pt x="13" y="18"/>
                    <a:pt x="14" y="18"/>
                    <a:pt x="14" y="18"/>
                  </a:cubicBezTo>
                  <a:cubicBezTo>
                    <a:pt x="15" y="18"/>
                    <a:pt x="16" y="18"/>
                    <a:pt x="17" y="18"/>
                  </a:cubicBezTo>
                  <a:cubicBezTo>
                    <a:pt x="20" y="16"/>
                    <a:pt x="25" y="11"/>
                    <a:pt x="26" y="10"/>
                  </a:cubicBezTo>
                  <a:cubicBezTo>
                    <a:pt x="30" y="4"/>
                    <a:pt x="26" y="0"/>
                    <a:pt x="22" y="0"/>
                  </a:cubicBezTo>
                </a:path>
              </a:pathLst>
            </a:custGeom>
            <a:solidFill>
              <a:srgbClr val="2A1C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3" name="Freeform 275">
              <a:extLst>
                <a:ext uri="{FF2B5EF4-FFF2-40B4-BE49-F238E27FC236}">
                  <a16:creationId xmlns:a16="http://schemas.microsoft.com/office/drawing/2014/main" id="{BF7F640F-C377-4FB6-8C23-A7B845B61B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45015" y="4897778"/>
              <a:ext cx="1153212" cy="697997"/>
            </a:xfrm>
            <a:custGeom>
              <a:avLst/>
              <a:gdLst>
                <a:gd name="T0" fmla="*/ 97 w 215"/>
                <a:gd name="T1" fmla="*/ 2 h 130"/>
                <a:gd name="T2" fmla="*/ 8 w 215"/>
                <a:gd name="T3" fmla="*/ 0 h 130"/>
                <a:gd name="T4" fmla="*/ 0 w 215"/>
                <a:gd name="T5" fmla="*/ 66 h 130"/>
                <a:gd name="T6" fmla="*/ 119 w 215"/>
                <a:gd name="T7" fmla="*/ 120 h 130"/>
                <a:gd name="T8" fmla="*/ 215 w 215"/>
                <a:gd name="T9" fmla="*/ 70 h 130"/>
                <a:gd name="T10" fmla="*/ 97 w 215"/>
                <a:gd name="T11" fmla="*/ 2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5" h="130">
                  <a:moveTo>
                    <a:pt x="97" y="2"/>
                  </a:moveTo>
                  <a:cubicBezTo>
                    <a:pt x="86" y="5"/>
                    <a:pt x="12" y="1"/>
                    <a:pt x="8" y="0"/>
                  </a:cubicBezTo>
                  <a:cubicBezTo>
                    <a:pt x="6" y="18"/>
                    <a:pt x="0" y="50"/>
                    <a:pt x="0" y="66"/>
                  </a:cubicBezTo>
                  <a:cubicBezTo>
                    <a:pt x="18" y="92"/>
                    <a:pt x="58" y="130"/>
                    <a:pt x="119" y="120"/>
                  </a:cubicBezTo>
                  <a:cubicBezTo>
                    <a:pt x="160" y="113"/>
                    <a:pt x="179" y="66"/>
                    <a:pt x="215" y="70"/>
                  </a:cubicBezTo>
                  <a:cubicBezTo>
                    <a:pt x="202" y="31"/>
                    <a:pt x="108" y="31"/>
                    <a:pt x="97" y="2"/>
                  </a:cubicBezTo>
                  <a:close/>
                </a:path>
              </a:pathLst>
            </a:custGeom>
            <a:solidFill>
              <a:srgbClr val="6855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4" name="Freeform 276">
              <a:extLst>
                <a:ext uri="{FF2B5EF4-FFF2-40B4-BE49-F238E27FC236}">
                  <a16:creationId xmlns:a16="http://schemas.microsoft.com/office/drawing/2014/main" id="{2990E456-B88F-4EBA-AD25-2CBFA216ED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318" y="4046357"/>
              <a:ext cx="139937" cy="219178"/>
            </a:xfrm>
            <a:custGeom>
              <a:avLst/>
              <a:gdLst>
                <a:gd name="T0" fmla="*/ 4 w 26"/>
                <a:gd name="T1" fmla="*/ 0 h 41"/>
                <a:gd name="T2" fmla="*/ 0 w 26"/>
                <a:gd name="T3" fmla="*/ 30 h 41"/>
                <a:gd name="T4" fmla="*/ 25 w 26"/>
                <a:gd name="T5" fmla="*/ 31 h 41"/>
                <a:gd name="T6" fmla="*/ 26 w 26"/>
                <a:gd name="T7" fmla="*/ 10 h 41"/>
                <a:gd name="T8" fmla="*/ 4 w 26"/>
                <a:gd name="T9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41">
                  <a:moveTo>
                    <a:pt x="4" y="0"/>
                  </a:moveTo>
                  <a:cubicBezTo>
                    <a:pt x="5" y="6"/>
                    <a:pt x="2" y="26"/>
                    <a:pt x="0" y="30"/>
                  </a:cubicBezTo>
                  <a:cubicBezTo>
                    <a:pt x="5" y="41"/>
                    <a:pt x="24" y="38"/>
                    <a:pt x="25" y="31"/>
                  </a:cubicBezTo>
                  <a:cubicBezTo>
                    <a:pt x="22" y="24"/>
                    <a:pt x="26" y="11"/>
                    <a:pt x="26" y="10"/>
                  </a:cubicBezTo>
                  <a:cubicBezTo>
                    <a:pt x="21" y="10"/>
                    <a:pt x="5" y="1"/>
                    <a:pt x="4" y="0"/>
                  </a:cubicBezTo>
                  <a:close/>
                </a:path>
              </a:pathLst>
            </a:custGeom>
            <a:solidFill>
              <a:srgbClr val="FCD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5" name="Freeform 277">
              <a:extLst>
                <a:ext uri="{FF2B5EF4-FFF2-40B4-BE49-F238E27FC236}">
                  <a16:creationId xmlns:a16="http://schemas.microsoft.com/office/drawing/2014/main" id="{5124F98D-F6A6-493E-A00B-E0F634F076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2211" y="3874387"/>
              <a:ext cx="214120" cy="289989"/>
            </a:xfrm>
            <a:custGeom>
              <a:avLst/>
              <a:gdLst>
                <a:gd name="T0" fmla="*/ 17 w 40"/>
                <a:gd name="T1" fmla="*/ 1 h 54"/>
                <a:gd name="T2" fmla="*/ 1 w 40"/>
                <a:gd name="T3" fmla="*/ 22 h 54"/>
                <a:gd name="T4" fmla="*/ 1 w 40"/>
                <a:gd name="T5" fmla="*/ 33 h 54"/>
                <a:gd name="T6" fmla="*/ 22 w 40"/>
                <a:gd name="T7" fmla="*/ 51 h 54"/>
                <a:gd name="T8" fmla="*/ 40 w 40"/>
                <a:gd name="T9" fmla="*/ 12 h 54"/>
                <a:gd name="T10" fmla="*/ 17 w 40"/>
                <a:gd name="T11" fmla="*/ 1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54">
                  <a:moveTo>
                    <a:pt x="17" y="1"/>
                  </a:moveTo>
                  <a:cubicBezTo>
                    <a:pt x="7" y="2"/>
                    <a:pt x="0" y="11"/>
                    <a:pt x="1" y="22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2" y="41"/>
                    <a:pt x="10" y="54"/>
                    <a:pt x="22" y="51"/>
                  </a:cubicBezTo>
                  <a:cubicBezTo>
                    <a:pt x="39" y="47"/>
                    <a:pt x="40" y="16"/>
                    <a:pt x="40" y="12"/>
                  </a:cubicBezTo>
                  <a:cubicBezTo>
                    <a:pt x="37" y="3"/>
                    <a:pt x="28" y="0"/>
                    <a:pt x="17" y="1"/>
                  </a:cubicBezTo>
                  <a:close/>
                </a:path>
              </a:pathLst>
            </a:custGeom>
            <a:solidFill>
              <a:srgbClr val="FCD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6" name="Freeform 278">
              <a:extLst>
                <a:ext uri="{FF2B5EF4-FFF2-40B4-BE49-F238E27FC236}">
                  <a16:creationId xmlns:a16="http://schemas.microsoft.com/office/drawing/2014/main" id="{15215089-B79F-4F3B-9DE1-FD1E43C4C1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45015" y="4186294"/>
              <a:ext cx="627185" cy="900314"/>
            </a:xfrm>
            <a:custGeom>
              <a:avLst/>
              <a:gdLst>
                <a:gd name="T0" fmla="*/ 79 w 117"/>
                <a:gd name="T1" fmla="*/ 5 h 168"/>
                <a:gd name="T2" fmla="*/ 60 w 117"/>
                <a:gd name="T3" fmla="*/ 5 h 168"/>
                <a:gd name="T4" fmla="*/ 55 w 117"/>
                <a:gd name="T5" fmla="*/ 0 h 168"/>
                <a:gd name="T6" fmla="*/ 19 w 117"/>
                <a:gd name="T7" fmla="*/ 57 h 168"/>
                <a:gd name="T8" fmla="*/ 0 w 117"/>
                <a:gd name="T9" fmla="*/ 168 h 168"/>
                <a:gd name="T10" fmla="*/ 101 w 117"/>
                <a:gd name="T11" fmla="*/ 141 h 168"/>
                <a:gd name="T12" fmla="*/ 113 w 117"/>
                <a:gd name="T13" fmla="*/ 61 h 168"/>
                <a:gd name="T14" fmla="*/ 98 w 117"/>
                <a:gd name="T15" fmla="*/ 26 h 168"/>
                <a:gd name="T16" fmla="*/ 79 w 117"/>
                <a:gd name="T17" fmla="*/ 5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7" h="168">
                  <a:moveTo>
                    <a:pt x="79" y="5"/>
                  </a:moveTo>
                  <a:cubicBezTo>
                    <a:pt x="79" y="5"/>
                    <a:pt x="68" y="6"/>
                    <a:pt x="60" y="5"/>
                  </a:cubicBezTo>
                  <a:cubicBezTo>
                    <a:pt x="55" y="4"/>
                    <a:pt x="55" y="0"/>
                    <a:pt x="55" y="0"/>
                  </a:cubicBezTo>
                  <a:cubicBezTo>
                    <a:pt x="55" y="0"/>
                    <a:pt x="19" y="17"/>
                    <a:pt x="19" y="57"/>
                  </a:cubicBezTo>
                  <a:cubicBezTo>
                    <a:pt x="20" y="109"/>
                    <a:pt x="1" y="106"/>
                    <a:pt x="0" y="168"/>
                  </a:cubicBezTo>
                  <a:cubicBezTo>
                    <a:pt x="77" y="168"/>
                    <a:pt x="101" y="141"/>
                    <a:pt x="101" y="141"/>
                  </a:cubicBezTo>
                  <a:cubicBezTo>
                    <a:pt x="83" y="105"/>
                    <a:pt x="110" y="68"/>
                    <a:pt x="113" y="61"/>
                  </a:cubicBezTo>
                  <a:cubicBezTo>
                    <a:pt x="117" y="50"/>
                    <a:pt x="109" y="37"/>
                    <a:pt x="98" y="26"/>
                  </a:cubicBezTo>
                  <a:cubicBezTo>
                    <a:pt x="91" y="19"/>
                    <a:pt x="90" y="8"/>
                    <a:pt x="79" y="5"/>
                  </a:cubicBezTo>
                  <a:close/>
                </a:path>
              </a:pathLst>
            </a:custGeom>
            <a:solidFill>
              <a:srgbClr val="D1DB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" name="Freeform 279">
              <a:extLst>
                <a:ext uri="{FF2B5EF4-FFF2-40B4-BE49-F238E27FC236}">
                  <a16:creationId xmlns:a16="http://schemas.microsoft.com/office/drawing/2014/main" id="{04542466-42E1-4C68-93EE-340D514C40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59135" y="3761426"/>
              <a:ext cx="369231" cy="424867"/>
            </a:xfrm>
            <a:custGeom>
              <a:avLst/>
              <a:gdLst>
                <a:gd name="T0" fmla="*/ 15 w 69"/>
                <a:gd name="T1" fmla="*/ 13 h 79"/>
                <a:gd name="T2" fmla="*/ 9 w 69"/>
                <a:gd name="T3" fmla="*/ 54 h 79"/>
                <a:gd name="T4" fmla="*/ 19 w 69"/>
                <a:gd name="T5" fmla="*/ 69 h 79"/>
                <a:gd name="T6" fmla="*/ 61 w 69"/>
                <a:gd name="T7" fmla="*/ 39 h 79"/>
                <a:gd name="T8" fmla="*/ 61 w 69"/>
                <a:gd name="T9" fmla="*/ 57 h 79"/>
                <a:gd name="T10" fmla="*/ 60 w 69"/>
                <a:gd name="T11" fmla="*/ 22 h 79"/>
                <a:gd name="T12" fmla="*/ 15 w 69"/>
                <a:gd name="T13" fmla="*/ 13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" h="79">
                  <a:moveTo>
                    <a:pt x="15" y="13"/>
                  </a:moveTo>
                  <a:cubicBezTo>
                    <a:pt x="1" y="24"/>
                    <a:pt x="0" y="41"/>
                    <a:pt x="9" y="54"/>
                  </a:cubicBezTo>
                  <a:cubicBezTo>
                    <a:pt x="13" y="61"/>
                    <a:pt x="12" y="66"/>
                    <a:pt x="19" y="69"/>
                  </a:cubicBezTo>
                  <a:cubicBezTo>
                    <a:pt x="43" y="79"/>
                    <a:pt x="61" y="39"/>
                    <a:pt x="61" y="39"/>
                  </a:cubicBezTo>
                  <a:cubicBezTo>
                    <a:pt x="61" y="39"/>
                    <a:pt x="64" y="48"/>
                    <a:pt x="61" y="57"/>
                  </a:cubicBezTo>
                  <a:cubicBezTo>
                    <a:pt x="69" y="47"/>
                    <a:pt x="68" y="35"/>
                    <a:pt x="60" y="22"/>
                  </a:cubicBezTo>
                  <a:cubicBezTo>
                    <a:pt x="51" y="7"/>
                    <a:pt x="31" y="0"/>
                    <a:pt x="15" y="13"/>
                  </a:cubicBezTo>
                  <a:close/>
                </a:path>
              </a:pathLst>
            </a:custGeom>
            <a:solidFill>
              <a:srgbClr val="BD40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" name="Freeform 280">
              <a:extLst>
                <a:ext uri="{FF2B5EF4-FFF2-40B4-BE49-F238E27FC236}">
                  <a16:creationId xmlns:a16="http://schemas.microsoft.com/office/drawing/2014/main" id="{036D7C66-CBB8-4DB0-B04B-85C822C3F9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40062" y="3788402"/>
              <a:ext cx="111275" cy="102845"/>
            </a:xfrm>
            <a:custGeom>
              <a:avLst/>
              <a:gdLst>
                <a:gd name="T0" fmla="*/ 5 w 21"/>
                <a:gd name="T1" fmla="*/ 3 h 19"/>
                <a:gd name="T2" fmla="*/ 3 w 21"/>
                <a:gd name="T3" fmla="*/ 16 h 19"/>
                <a:gd name="T4" fmla="*/ 16 w 21"/>
                <a:gd name="T5" fmla="*/ 16 h 19"/>
                <a:gd name="T6" fmla="*/ 18 w 21"/>
                <a:gd name="T7" fmla="*/ 3 h 19"/>
                <a:gd name="T8" fmla="*/ 5 w 21"/>
                <a:gd name="T9" fmla="*/ 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9">
                  <a:moveTo>
                    <a:pt x="5" y="3"/>
                  </a:moveTo>
                  <a:cubicBezTo>
                    <a:pt x="1" y="7"/>
                    <a:pt x="0" y="12"/>
                    <a:pt x="3" y="16"/>
                  </a:cubicBezTo>
                  <a:cubicBezTo>
                    <a:pt x="6" y="19"/>
                    <a:pt x="12" y="19"/>
                    <a:pt x="16" y="16"/>
                  </a:cubicBezTo>
                  <a:cubicBezTo>
                    <a:pt x="20" y="12"/>
                    <a:pt x="21" y="7"/>
                    <a:pt x="18" y="3"/>
                  </a:cubicBezTo>
                  <a:cubicBezTo>
                    <a:pt x="15" y="0"/>
                    <a:pt x="9" y="0"/>
                    <a:pt x="5" y="3"/>
                  </a:cubicBezTo>
                  <a:close/>
                </a:path>
              </a:pathLst>
            </a:custGeom>
            <a:solidFill>
              <a:srgbClr val="194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" name="Freeform 281">
              <a:extLst>
                <a:ext uri="{FF2B5EF4-FFF2-40B4-BE49-F238E27FC236}">
                  <a16:creationId xmlns:a16="http://schemas.microsoft.com/office/drawing/2014/main" id="{417B9306-FEB1-4882-9A6F-347E01E1D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5266" y="4786503"/>
              <a:ext cx="59010" cy="47207"/>
            </a:xfrm>
            <a:custGeom>
              <a:avLst/>
              <a:gdLst>
                <a:gd name="T0" fmla="*/ 7 w 11"/>
                <a:gd name="T1" fmla="*/ 2 h 9"/>
                <a:gd name="T2" fmla="*/ 0 w 11"/>
                <a:gd name="T3" fmla="*/ 6 h 9"/>
                <a:gd name="T4" fmla="*/ 4 w 11"/>
                <a:gd name="T5" fmla="*/ 8 h 9"/>
                <a:gd name="T6" fmla="*/ 10 w 11"/>
                <a:gd name="T7" fmla="*/ 1 h 9"/>
                <a:gd name="T8" fmla="*/ 7 w 11"/>
                <a:gd name="T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9">
                  <a:moveTo>
                    <a:pt x="7" y="2"/>
                  </a:moveTo>
                  <a:cubicBezTo>
                    <a:pt x="5" y="3"/>
                    <a:pt x="2" y="5"/>
                    <a:pt x="0" y="6"/>
                  </a:cubicBezTo>
                  <a:cubicBezTo>
                    <a:pt x="0" y="8"/>
                    <a:pt x="2" y="9"/>
                    <a:pt x="4" y="8"/>
                  </a:cubicBezTo>
                  <a:cubicBezTo>
                    <a:pt x="5" y="8"/>
                    <a:pt x="11" y="2"/>
                    <a:pt x="10" y="1"/>
                  </a:cubicBezTo>
                  <a:cubicBezTo>
                    <a:pt x="9" y="0"/>
                    <a:pt x="8" y="1"/>
                    <a:pt x="7" y="2"/>
                  </a:cubicBezTo>
                  <a:close/>
                </a:path>
              </a:pathLst>
            </a:custGeom>
            <a:solidFill>
              <a:srgbClr val="FCD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" name="Freeform 282">
              <a:extLst>
                <a:ext uri="{FF2B5EF4-FFF2-40B4-BE49-F238E27FC236}">
                  <a16:creationId xmlns:a16="http://schemas.microsoft.com/office/drawing/2014/main" id="{8B034372-2DFF-4331-9367-91A8B490C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53232" y="4818536"/>
              <a:ext cx="165226" cy="64067"/>
            </a:xfrm>
            <a:custGeom>
              <a:avLst/>
              <a:gdLst>
                <a:gd name="T0" fmla="*/ 28 w 31"/>
                <a:gd name="T1" fmla="*/ 2 h 12"/>
                <a:gd name="T2" fmla="*/ 10 w 31"/>
                <a:gd name="T3" fmla="*/ 0 h 12"/>
                <a:gd name="T4" fmla="*/ 2 w 31"/>
                <a:gd name="T5" fmla="*/ 0 h 12"/>
                <a:gd name="T6" fmla="*/ 0 w 31"/>
                <a:gd name="T7" fmla="*/ 12 h 12"/>
                <a:gd name="T8" fmla="*/ 19 w 31"/>
                <a:gd name="T9" fmla="*/ 12 h 12"/>
                <a:gd name="T10" fmla="*/ 26 w 31"/>
                <a:gd name="T11" fmla="*/ 9 h 12"/>
                <a:gd name="T12" fmla="*/ 29 w 31"/>
                <a:gd name="T13" fmla="*/ 6 h 12"/>
                <a:gd name="T14" fmla="*/ 31 w 31"/>
                <a:gd name="T15" fmla="*/ 4 h 12"/>
                <a:gd name="T16" fmla="*/ 28 w 31"/>
                <a:gd name="T17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12">
                  <a:moveTo>
                    <a:pt x="28" y="2"/>
                  </a:moveTo>
                  <a:cubicBezTo>
                    <a:pt x="27" y="1"/>
                    <a:pt x="14" y="0"/>
                    <a:pt x="10" y="0"/>
                  </a:cubicBezTo>
                  <a:cubicBezTo>
                    <a:pt x="8" y="0"/>
                    <a:pt x="5" y="0"/>
                    <a:pt x="2" y="0"/>
                  </a:cubicBezTo>
                  <a:cubicBezTo>
                    <a:pt x="2" y="0"/>
                    <a:pt x="0" y="9"/>
                    <a:pt x="0" y="12"/>
                  </a:cubicBezTo>
                  <a:cubicBezTo>
                    <a:pt x="8" y="12"/>
                    <a:pt x="15" y="12"/>
                    <a:pt x="19" y="12"/>
                  </a:cubicBezTo>
                  <a:cubicBezTo>
                    <a:pt x="25" y="12"/>
                    <a:pt x="27" y="11"/>
                    <a:pt x="26" y="9"/>
                  </a:cubicBezTo>
                  <a:cubicBezTo>
                    <a:pt x="26" y="9"/>
                    <a:pt x="30" y="9"/>
                    <a:pt x="29" y="6"/>
                  </a:cubicBezTo>
                  <a:cubicBezTo>
                    <a:pt x="29" y="6"/>
                    <a:pt x="31" y="5"/>
                    <a:pt x="31" y="4"/>
                  </a:cubicBezTo>
                  <a:cubicBezTo>
                    <a:pt x="31" y="2"/>
                    <a:pt x="28" y="2"/>
                    <a:pt x="28" y="2"/>
                  </a:cubicBezTo>
                  <a:close/>
                </a:path>
              </a:pathLst>
            </a:custGeom>
            <a:solidFill>
              <a:srgbClr val="FCD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" name="Freeform 283">
              <a:extLst>
                <a:ext uri="{FF2B5EF4-FFF2-40B4-BE49-F238E27FC236}">
                  <a16:creationId xmlns:a16="http://schemas.microsoft.com/office/drawing/2014/main" id="{470A9BA8-7439-4F4D-980E-D8309D16C0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13191" y="4710634"/>
              <a:ext cx="467018" cy="171970"/>
            </a:xfrm>
            <a:custGeom>
              <a:avLst/>
              <a:gdLst>
                <a:gd name="T0" fmla="*/ 11 w 87"/>
                <a:gd name="T1" fmla="*/ 0 h 32"/>
                <a:gd name="T2" fmla="*/ 0 w 87"/>
                <a:gd name="T3" fmla="*/ 13 h 32"/>
                <a:gd name="T4" fmla="*/ 82 w 87"/>
                <a:gd name="T5" fmla="*/ 32 h 32"/>
                <a:gd name="T6" fmla="*/ 87 w 87"/>
                <a:gd name="T7" fmla="*/ 21 h 32"/>
                <a:gd name="T8" fmla="*/ 13 w 87"/>
                <a:gd name="T9" fmla="*/ 1 h 32"/>
                <a:gd name="T10" fmla="*/ 11 w 87"/>
                <a:gd name="T1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" h="32">
                  <a:moveTo>
                    <a:pt x="11" y="0"/>
                  </a:moveTo>
                  <a:cubicBezTo>
                    <a:pt x="7" y="0"/>
                    <a:pt x="0" y="4"/>
                    <a:pt x="0" y="13"/>
                  </a:cubicBezTo>
                  <a:cubicBezTo>
                    <a:pt x="1" y="23"/>
                    <a:pt x="62" y="30"/>
                    <a:pt x="82" y="32"/>
                  </a:cubicBezTo>
                  <a:cubicBezTo>
                    <a:pt x="83" y="29"/>
                    <a:pt x="85" y="25"/>
                    <a:pt x="87" y="21"/>
                  </a:cubicBezTo>
                  <a:cubicBezTo>
                    <a:pt x="72" y="18"/>
                    <a:pt x="26" y="6"/>
                    <a:pt x="13" y="1"/>
                  </a:cubicBezTo>
                  <a:cubicBezTo>
                    <a:pt x="13" y="0"/>
                    <a:pt x="12" y="0"/>
                    <a:pt x="11" y="0"/>
                  </a:cubicBezTo>
                  <a:close/>
                </a:path>
              </a:pathLst>
            </a:custGeom>
            <a:solidFill>
              <a:srgbClr val="FCD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" name="Freeform 284">
              <a:extLst>
                <a:ext uri="{FF2B5EF4-FFF2-40B4-BE49-F238E27FC236}">
                  <a16:creationId xmlns:a16="http://schemas.microsoft.com/office/drawing/2014/main" id="{CFE72495-C2B0-4E37-8A5D-95AEA898CB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40062" y="4302626"/>
              <a:ext cx="386090" cy="499051"/>
            </a:xfrm>
            <a:custGeom>
              <a:avLst/>
              <a:gdLst>
                <a:gd name="T0" fmla="*/ 35 w 72"/>
                <a:gd name="T1" fmla="*/ 2 h 93"/>
                <a:gd name="T2" fmla="*/ 7 w 72"/>
                <a:gd name="T3" fmla="*/ 17 h 93"/>
                <a:gd name="T4" fmla="*/ 47 w 72"/>
                <a:gd name="T5" fmla="*/ 87 h 93"/>
                <a:gd name="T6" fmla="*/ 61 w 72"/>
                <a:gd name="T7" fmla="*/ 71 h 93"/>
                <a:gd name="T8" fmla="*/ 35 w 72"/>
                <a:gd name="T9" fmla="*/ 2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93">
                  <a:moveTo>
                    <a:pt x="35" y="2"/>
                  </a:moveTo>
                  <a:cubicBezTo>
                    <a:pt x="33" y="0"/>
                    <a:pt x="10" y="13"/>
                    <a:pt x="7" y="17"/>
                  </a:cubicBezTo>
                  <a:cubicBezTo>
                    <a:pt x="0" y="25"/>
                    <a:pt x="33" y="72"/>
                    <a:pt x="47" y="87"/>
                  </a:cubicBezTo>
                  <a:cubicBezTo>
                    <a:pt x="53" y="93"/>
                    <a:pt x="72" y="93"/>
                    <a:pt x="61" y="71"/>
                  </a:cubicBezTo>
                  <a:cubicBezTo>
                    <a:pt x="52" y="53"/>
                    <a:pt x="41" y="13"/>
                    <a:pt x="35" y="2"/>
                  </a:cubicBezTo>
                  <a:close/>
                </a:path>
              </a:pathLst>
            </a:custGeom>
            <a:solidFill>
              <a:srgbClr val="FCD2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" name="Freeform 285">
              <a:extLst>
                <a:ext uri="{FF2B5EF4-FFF2-40B4-BE49-F238E27FC236}">
                  <a16:creationId xmlns:a16="http://schemas.microsoft.com/office/drawing/2014/main" id="{B4C7C408-5EFF-4C30-9856-1DD6554AB3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28260" y="4238559"/>
              <a:ext cx="295047" cy="429926"/>
            </a:xfrm>
            <a:custGeom>
              <a:avLst/>
              <a:gdLst>
                <a:gd name="T0" fmla="*/ 33 w 55"/>
                <a:gd name="T1" fmla="*/ 6 h 80"/>
                <a:gd name="T2" fmla="*/ 4 w 55"/>
                <a:gd name="T3" fmla="*/ 27 h 80"/>
                <a:gd name="T4" fmla="*/ 30 w 55"/>
                <a:gd name="T5" fmla="*/ 80 h 80"/>
                <a:gd name="T6" fmla="*/ 55 w 55"/>
                <a:gd name="T7" fmla="*/ 54 h 80"/>
                <a:gd name="T8" fmla="*/ 52 w 55"/>
                <a:gd name="T9" fmla="*/ 45 h 80"/>
                <a:gd name="T10" fmla="*/ 33 w 55"/>
                <a:gd name="T11" fmla="*/ 6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5" h="80">
                  <a:moveTo>
                    <a:pt x="33" y="6"/>
                  </a:moveTo>
                  <a:cubicBezTo>
                    <a:pt x="30" y="0"/>
                    <a:pt x="10" y="14"/>
                    <a:pt x="4" y="27"/>
                  </a:cubicBezTo>
                  <a:cubicBezTo>
                    <a:pt x="0" y="36"/>
                    <a:pt x="15" y="61"/>
                    <a:pt x="30" y="80"/>
                  </a:cubicBezTo>
                  <a:cubicBezTo>
                    <a:pt x="35" y="69"/>
                    <a:pt x="44" y="60"/>
                    <a:pt x="55" y="54"/>
                  </a:cubicBezTo>
                  <a:cubicBezTo>
                    <a:pt x="54" y="51"/>
                    <a:pt x="53" y="48"/>
                    <a:pt x="52" y="45"/>
                  </a:cubicBezTo>
                  <a:cubicBezTo>
                    <a:pt x="47" y="31"/>
                    <a:pt x="41" y="17"/>
                    <a:pt x="33" y="6"/>
                  </a:cubicBezTo>
                  <a:close/>
                </a:path>
              </a:pathLst>
            </a:custGeom>
            <a:solidFill>
              <a:srgbClr val="D1DB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" name="Freeform 286">
              <a:extLst>
                <a:ext uri="{FF2B5EF4-FFF2-40B4-BE49-F238E27FC236}">
                  <a16:creationId xmlns:a16="http://schemas.microsoft.com/office/drawing/2014/main" id="{71A79D51-7416-44EB-A291-C4439D10D1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24152" y="5465953"/>
              <a:ext cx="257956" cy="664277"/>
            </a:xfrm>
            <a:custGeom>
              <a:avLst/>
              <a:gdLst>
                <a:gd name="T0" fmla="*/ 0 w 153"/>
                <a:gd name="T1" fmla="*/ 394 h 394"/>
                <a:gd name="T2" fmla="*/ 16 w 153"/>
                <a:gd name="T3" fmla="*/ 394 h 394"/>
                <a:gd name="T4" fmla="*/ 153 w 153"/>
                <a:gd name="T5" fmla="*/ 0 h 394"/>
                <a:gd name="T6" fmla="*/ 137 w 153"/>
                <a:gd name="T7" fmla="*/ 0 h 394"/>
                <a:gd name="T8" fmla="*/ 0 w 153"/>
                <a:gd name="T9" fmla="*/ 394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394">
                  <a:moveTo>
                    <a:pt x="0" y="394"/>
                  </a:moveTo>
                  <a:lnTo>
                    <a:pt x="16" y="394"/>
                  </a:lnTo>
                  <a:lnTo>
                    <a:pt x="153" y="0"/>
                  </a:lnTo>
                  <a:lnTo>
                    <a:pt x="137" y="0"/>
                  </a:lnTo>
                  <a:lnTo>
                    <a:pt x="0" y="394"/>
                  </a:lnTo>
                  <a:close/>
                </a:path>
              </a:pathLst>
            </a:custGeom>
            <a:solidFill>
              <a:srgbClr val="194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5" name="Freeform 287">
              <a:extLst>
                <a:ext uri="{FF2B5EF4-FFF2-40B4-BE49-F238E27FC236}">
                  <a16:creationId xmlns:a16="http://schemas.microsoft.com/office/drawing/2014/main" id="{1A39CD1F-5C77-4C37-8155-49C72ED3A1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10241" y="5465953"/>
              <a:ext cx="257956" cy="664277"/>
            </a:xfrm>
            <a:custGeom>
              <a:avLst/>
              <a:gdLst>
                <a:gd name="T0" fmla="*/ 0 w 153"/>
                <a:gd name="T1" fmla="*/ 394 h 394"/>
                <a:gd name="T2" fmla="*/ 16 w 153"/>
                <a:gd name="T3" fmla="*/ 394 h 394"/>
                <a:gd name="T4" fmla="*/ 153 w 153"/>
                <a:gd name="T5" fmla="*/ 0 h 394"/>
                <a:gd name="T6" fmla="*/ 137 w 153"/>
                <a:gd name="T7" fmla="*/ 0 h 394"/>
                <a:gd name="T8" fmla="*/ 0 w 153"/>
                <a:gd name="T9" fmla="*/ 394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394">
                  <a:moveTo>
                    <a:pt x="0" y="394"/>
                  </a:moveTo>
                  <a:lnTo>
                    <a:pt x="16" y="394"/>
                  </a:lnTo>
                  <a:lnTo>
                    <a:pt x="153" y="0"/>
                  </a:lnTo>
                  <a:lnTo>
                    <a:pt x="137" y="0"/>
                  </a:lnTo>
                  <a:lnTo>
                    <a:pt x="0" y="394"/>
                  </a:lnTo>
                  <a:close/>
                </a:path>
              </a:pathLst>
            </a:custGeom>
            <a:solidFill>
              <a:srgbClr val="194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6" name="Freeform 288">
              <a:extLst>
                <a:ext uri="{FF2B5EF4-FFF2-40B4-BE49-F238E27FC236}">
                  <a16:creationId xmlns:a16="http://schemas.microsoft.com/office/drawing/2014/main" id="{72FB93A7-7CD4-4997-BBBF-8C3E915F4E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65142" y="4486398"/>
              <a:ext cx="1191990" cy="979556"/>
            </a:xfrm>
            <a:custGeom>
              <a:avLst/>
              <a:gdLst>
                <a:gd name="T0" fmla="*/ 211 w 222"/>
                <a:gd name="T1" fmla="*/ 162 h 183"/>
                <a:gd name="T2" fmla="*/ 172 w 222"/>
                <a:gd name="T3" fmla="*/ 162 h 183"/>
                <a:gd name="T4" fmla="*/ 132 w 222"/>
                <a:gd name="T5" fmla="*/ 132 h 183"/>
                <a:gd name="T6" fmla="*/ 113 w 222"/>
                <a:gd name="T7" fmla="*/ 54 h 183"/>
                <a:gd name="T8" fmla="*/ 49 w 222"/>
                <a:gd name="T9" fmla="*/ 0 h 183"/>
                <a:gd name="T10" fmla="*/ 5 w 222"/>
                <a:gd name="T11" fmla="*/ 54 h 183"/>
                <a:gd name="T12" fmla="*/ 36 w 222"/>
                <a:gd name="T13" fmla="*/ 171 h 183"/>
                <a:gd name="T14" fmla="*/ 51 w 222"/>
                <a:gd name="T15" fmla="*/ 183 h 183"/>
                <a:gd name="T16" fmla="*/ 211 w 222"/>
                <a:gd name="T17" fmla="*/ 183 h 183"/>
                <a:gd name="T18" fmla="*/ 222 w 222"/>
                <a:gd name="T19" fmla="*/ 172 h 183"/>
                <a:gd name="T20" fmla="*/ 211 w 222"/>
                <a:gd name="T21" fmla="*/ 162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2" h="183">
                  <a:moveTo>
                    <a:pt x="211" y="162"/>
                  </a:moveTo>
                  <a:cubicBezTo>
                    <a:pt x="172" y="162"/>
                    <a:pt x="172" y="162"/>
                    <a:pt x="172" y="162"/>
                  </a:cubicBezTo>
                  <a:cubicBezTo>
                    <a:pt x="154" y="162"/>
                    <a:pt x="135" y="149"/>
                    <a:pt x="132" y="132"/>
                  </a:cubicBezTo>
                  <a:cubicBezTo>
                    <a:pt x="113" y="54"/>
                    <a:pt x="113" y="54"/>
                    <a:pt x="113" y="54"/>
                  </a:cubicBezTo>
                  <a:cubicBezTo>
                    <a:pt x="108" y="24"/>
                    <a:pt x="79" y="0"/>
                    <a:pt x="49" y="0"/>
                  </a:cubicBezTo>
                  <a:cubicBezTo>
                    <a:pt x="19" y="0"/>
                    <a:pt x="0" y="24"/>
                    <a:pt x="5" y="54"/>
                  </a:cubicBezTo>
                  <a:cubicBezTo>
                    <a:pt x="36" y="171"/>
                    <a:pt x="36" y="171"/>
                    <a:pt x="36" y="171"/>
                  </a:cubicBezTo>
                  <a:cubicBezTo>
                    <a:pt x="37" y="178"/>
                    <a:pt x="44" y="183"/>
                    <a:pt x="51" y="183"/>
                  </a:cubicBezTo>
                  <a:cubicBezTo>
                    <a:pt x="211" y="183"/>
                    <a:pt x="211" y="183"/>
                    <a:pt x="211" y="183"/>
                  </a:cubicBezTo>
                  <a:cubicBezTo>
                    <a:pt x="217" y="183"/>
                    <a:pt x="222" y="178"/>
                    <a:pt x="222" y="172"/>
                  </a:cubicBezTo>
                  <a:cubicBezTo>
                    <a:pt x="222" y="166"/>
                    <a:pt x="217" y="162"/>
                    <a:pt x="211" y="162"/>
                  </a:cubicBezTo>
                  <a:close/>
                </a:path>
              </a:pathLst>
            </a:custGeom>
            <a:solidFill>
              <a:srgbClr val="194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7" name="Freeform 289">
              <a:extLst>
                <a:ext uri="{FF2B5EF4-FFF2-40B4-BE49-F238E27FC236}">
                  <a16:creationId xmlns:a16="http://schemas.microsoft.com/office/drawing/2014/main" id="{7982962D-DC12-4CC0-8804-1BD012C2AD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24152" y="4486398"/>
              <a:ext cx="1132980" cy="979556"/>
            </a:xfrm>
            <a:custGeom>
              <a:avLst/>
              <a:gdLst>
                <a:gd name="T0" fmla="*/ 200 w 211"/>
                <a:gd name="T1" fmla="*/ 162 h 183"/>
                <a:gd name="T2" fmla="*/ 161 w 211"/>
                <a:gd name="T3" fmla="*/ 162 h 183"/>
                <a:gd name="T4" fmla="*/ 121 w 211"/>
                <a:gd name="T5" fmla="*/ 132 h 183"/>
                <a:gd name="T6" fmla="*/ 102 w 211"/>
                <a:gd name="T7" fmla="*/ 54 h 183"/>
                <a:gd name="T8" fmla="*/ 38 w 211"/>
                <a:gd name="T9" fmla="*/ 0 h 183"/>
                <a:gd name="T10" fmla="*/ 0 w 211"/>
                <a:gd name="T11" fmla="*/ 21 h 183"/>
                <a:gd name="T12" fmla="*/ 24 w 211"/>
                <a:gd name="T13" fmla="*/ 15 h 183"/>
                <a:gd name="T14" fmla="*/ 88 w 211"/>
                <a:gd name="T15" fmla="*/ 69 h 183"/>
                <a:gd name="T16" fmla="*/ 106 w 211"/>
                <a:gd name="T17" fmla="*/ 146 h 183"/>
                <a:gd name="T18" fmla="*/ 147 w 211"/>
                <a:gd name="T19" fmla="*/ 176 h 183"/>
                <a:gd name="T20" fmla="*/ 185 w 211"/>
                <a:gd name="T21" fmla="*/ 176 h 183"/>
                <a:gd name="T22" fmla="*/ 195 w 211"/>
                <a:gd name="T23" fmla="*/ 183 h 183"/>
                <a:gd name="T24" fmla="*/ 200 w 211"/>
                <a:gd name="T25" fmla="*/ 183 h 183"/>
                <a:gd name="T26" fmla="*/ 211 w 211"/>
                <a:gd name="T27" fmla="*/ 172 h 183"/>
                <a:gd name="T28" fmla="*/ 200 w 211"/>
                <a:gd name="T29" fmla="*/ 162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1" h="183">
                  <a:moveTo>
                    <a:pt x="200" y="162"/>
                  </a:moveTo>
                  <a:cubicBezTo>
                    <a:pt x="161" y="162"/>
                    <a:pt x="161" y="162"/>
                    <a:pt x="161" y="162"/>
                  </a:cubicBezTo>
                  <a:cubicBezTo>
                    <a:pt x="143" y="162"/>
                    <a:pt x="124" y="149"/>
                    <a:pt x="121" y="132"/>
                  </a:cubicBezTo>
                  <a:cubicBezTo>
                    <a:pt x="102" y="54"/>
                    <a:pt x="102" y="54"/>
                    <a:pt x="102" y="54"/>
                  </a:cubicBezTo>
                  <a:cubicBezTo>
                    <a:pt x="97" y="24"/>
                    <a:pt x="68" y="0"/>
                    <a:pt x="38" y="0"/>
                  </a:cubicBezTo>
                  <a:cubicBezTo>
                    <a:pt x="21" y="0"/>
                    <a:pt x="7" y="8"/>
                    <a:pt x="0" y="21"/>
                  </a:cubicBezTo>
                  <a:cubicBezTo>
                    <a:pt x="6" y="17"/>
                    <a:pt x="14" y="15"/>
                    <a:pt x="24" y="15"/>
                  </a:cubicBezTo>
                  <a:cubicBezTo>
                    <a:pt x="53" y="15"/>
                    <a:pt x="82" y="39"/>
                    <a:pt x="88" y="69"/>
                  </a:cubicBezTo>
                  <a:cubicBezTo>
                    <a:pt x="106" y="146"/>
                    <a:pt x="106" y="146"/>
                    <a:pt x="106" y="146"/>
                  </a:cubicBezTo>
                  <a:cubicBezTo>
                    <a:pt x="110" y="164"/>
                    <a:pt x="129" y="176"/>
                    <a:pt x="147" y="176"/>
                  </a:cubicBezTo>
                  <a:cubicBezTo>
                    <a:pt x="185" y="176"/>
                    <a:pt x="185" y="176"/>
                    <a:pt x="185" y="176"/>
                  </a:cubicBezTo>
                  <a:cubicBezTo>
                    <a:pt x="190" y="176"/>
                    <a:pt x="193" y="179"/>
                    <a:pt x="195" y="183"/>
                  </a:cubicBezTo>
                  <a:cubicBezTo>
                    <a:pt x="200" y="183"/>
                    <a:pt x="200" y="183"/>
                    <a:pt x="200" y="183"/>
                  </a:cubicBezTo>
                  <a:cubicBezTo>
                    <a:pt x="206" y="183"/>
                    <a:pt x="211" y="178"/>
                    <a:pt x="211" y="172"/>
                  </a:cubicBezTo>
                  <a:cubicBezTo>
                    <a:pt x="211" y="167"/>
                    <a:pt x="206" y="162"/>
                    <a:pt x="200" y="162"/>
                  </a:cubicBezTo>
                  <a:close/>
                </a:path>
              </a:pathLst>
            </a:custGeom>
            <a:solidFill>
              <a:srgbClr val="1231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8" name="Freeform 290">
              <a:extLst>
                <a:ext uri="{FF2B5EF4-FFF2-40B4-BE49-F238E27FC236}">
                  <a16:creationId xmlns:a16="http://schemas.microsoft.com/office/drawing/2014/main" id="{023CF37A-90A2-4558-B68B-A462608249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14350" y="5465953"/>
              <a:ext cx="252897" cy="664277"/>
            </a:xfrm>
            <a:custGeom>
              <a:avLst/>
              <a:gdLst>
                <a:gd name="T0" fmla="*/ 0 w 150"/>
                <a:gd name="T1" fmla="*/ 0 h 394"/>
                <a:gd name="T2" fmla="*/ 134 w 150"/>
                <a:gd name="T3" fmla="*/ 394 h 394"/>
                <a:gd name="T4" fmla="*/ 150 w 150"/>
                <a:gd name="T5" fmla="*/ 394 h 394"/>
                <a:gd name="T6" fmla="*/ 13 w 150"/>
                <a:gd name="T7" fmla="*/ 0 h 394"/>
                <a:gd name="T8" fmla="*/ 0 w 150"/>
                <a:gd name="T9" fmla="*/ 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0" h="394">
                  <a:moveTo>
                    <a:pt x="0" y="0"/>
                  </a:moveTo>
                  <a:lnTo>
                    <a:pt x="134" y="394"/>
                  </a:lnTo>
                  <a:lnTo>
                    <a:pt x="150" y="394"/>
                  </a:lnTo>
                  <a:lnTo>
                    <a:pt x="1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31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9" name="Freeform 291">
              <a:extLst>
                <a:ext uri="{FF2B5EF4-FFF2-40B4-BE49-F238E27FC236}">
                  <a16:creationId xmlns:a16="http://schemas.microsoft.com/office/drawing/2014/main" id="{6CBFB234-23BE-482B-ABCD-8F41C0EB9E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28260" y="5465953"/>
              <a:ext cx="252897" cy="664277"/>
            </a:xfrm>
            <a:custGeom>
              <a:avLst/>
              <a:gdLst>
                <a:gd name="T0" fmla="*/ 0 w 150"/>
                <a:gd name="T1" fmla="*/ 0 h 394"/>
                <a:gd name="T2" fmla="*/ 134 w 150"/>
                <a:gd name="T3" fmla="*/ 394 h 394"/>
                <a:gd name="T4" fmla="*/ 150 w 150"/>
                <a:gd name="T5" fmla="*/ 394 h 394"/>
                <a:gd name="T6" fmla="*/ 16 w 150"/>
                <a:gd name="T7" fmla="*/ 0 h 394"/>
                <a:gd name="T8" fmla="*/ 0 w 150"/>
                <a:gd name="T9" fmla="*/ 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0" h="394">
                  <a:moveTo>
                    <a:pt x="0" y="0"/>
                  </a:moveTo>
                  <a:lnTo>
                    <a:pt x="134" y="394"/>
                  </a:lnTo>
                  <a:lnTo>
                    <a:pt x="150" y="394"/>
                  </a:lnTo>
                  <a:lnTo>
                    <a:pt x="1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31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0" name="Freeform 292">
              <a:extLst>
                <a:ext uri="{FF2B5EF4-FFF2-40B4-BE49-F238E27FC236}">
                  <a16:creationId xmlns:a16="http://schemas.microsoft.com/office/drawing/2014/main" id="{1BF7745D-1404-43A8-9F70-704A0EB3E9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2117" y="3542249"/>
              <a:ext cx="632244" cy="1077343"/>
            </a:xfrm>
            <a:custGeom>
              <a:avLst/>
              <a:gdLst>
                <a:gd name="T0" fmla="*/ 49 w 118"/>
                <a:gd name="T1" fmla="*/ 78 h 201"/>
                <a:gd name="T2" fmla="*/ 34 w 118"/>
                <a:gd name="T3" fmla="*/ 111 h 201"/>
                <a:gd name="T4" fmla="*/ 67 w 118"/>
                <a:gd name="T5" fmla="*/ 177 h 201"/>
                <a:gd name="T6" fmla="*/ 75 w 118"/>
                <a:gd name="T7" fmla="*/ 139 h 201"/>
                <a:gd name="T8" fmla="*/ 92 w 118"/>
                <a:gd name="T9" fmla="*/ 88 h 201"/>
                <a:gd name="T10" fmla="*/ 108 w 118"/>
                <a:gd name="T11" fmla="*/ 59 h 201"/>
                <a:gd name="T12" fmla="*/ 117 w 118"/>
                <a:gd name="T13" fmla="*/ 52 h 201"/>
                <a:gd name="T14" fmla="*/ 49 w 118"/>
                <a:gd name="T15" fmla="*/ 78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8" h="201">
                  <a:moveTo>
                    <a:pt x="49" y="78"/>
                  </a:moveTo>
                  <a:cubicBezTo>
                    <a:pt x="47" y="101"/>
                    <a:pt x="41" y="104"/>
                    <a:pt x="34" y="111"/>
                  </a:cubicBezTo>
                  <a:cubicBezTo>
                    <a:pt x="0" y="147"/>
                    <a:pt x="62" y="201"/>
                    <a:pt x="67" y="177"/>
                  </a:cubicBezTo>
                  <a:cubicBezTo>
                    <a:pt x="69" y="167"/>
                    <a:pt x="43" y="159"/>
                    <a:pt x="75" y="139"/>
                  </a:cubicBezTo>
                  <a:cubicBezTo>
                    <a:pt x="111" y="117"/>
                    <a:pt x="95" y="101"/>
                    <a:pt x="92" y="88"/>
                  </a:cubicBezTo>
                  <a:cubicBezTo>
                    <a:pt x="78" y="40"/>
                    <a:pt x="101" y="55"/>
                    <a:pt x="108" y="59"/>
                  </a:cubicBezTo>
                  <a:cubicBezTo>
                    <a:pt x="114" y="62"/>
                    <a:pt x="118" y="58"/>
                    <a:pt x="117" y="52"/>
                  </a:cubicBezTo>
                  <a:cubicBezTo>
                    <a:pt x="112" y="32"/>
                    <a:pt x="56" y="0"/>
                    <a:pt x="49" y="78"/>
                  </a:cubicBezTo>
                  <a:close/>
                </a:path>
              </a:pathLst>
            </a:custGeom>
            <a:solidFill>
              <a:srgbClr val="BD40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" name="Freeform 293">
              <a:extLst>
                <a:ext uri="{FF2B5EF4-FFF2-40B4-BE49-F238E27FC236}">
                  <a16:creationId xmlns:a16="http://schemas.microsoft.com/office/drawing/2014/main" id="{1CA99F32-57D4-4FBF-B64E-618AE2FDD5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90114" y="3901362"/>
              <a:ext cx="138251" cy="155110"/>
            </a:xfrm>
            <a:custGeom>
              <a:avLst/>
              <a:gdLst>
                <a:gd name="T0" fmla="*/ 17 w 26"/>
                <a:gd name="T1" fmla="*/ 2 h 29"/>
                <a:gd name="T2" fmla="*/ 3 w 26"/>
                <a:gd name="T3" fmla="*/ 11 h 29"/>
                <a:gd name="T4" fmla="*/ 9 w 26"/>
                <a:gd name="T5" fmla="*/ 27 h 29"/>
                <a:gd name="T6" fmla="*/ 23 w 26"/>
                <a:gd name="T7" fmla="*/ 18 h 29"/>
                <a:gd name="T8" fmla="*/ 17 w 26"/>
                <a:gd name="T9" fmla="*/ 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29">
                  <a:moveTo>
                    <a:pt x="17" y="2"/>
                  </a:moveTo>
                  <a:cubicBezTo>
                    <a:pt x="12" y="0"/>
                    <a:pt x="5" y="4"/>
                    <a:pt x="3" y="11"/>
                  </a:cubicBezTo>
                  <a:cubicBezTo>
                    <a:pt x="0" y="18"/>
                    <a:pt x="3" y="25"/>
                    <a:pt x="9" y="27"/>
                  </a:cubicBezTo>
                  <a:cubicBezTo>
                    <a:pt x="14" y="29"/>
                    <a:pt x="21" y="25"/>
                    <a:pt x="23" y="18"/>
                  </a:cubicBezTo>
                  <a:cubicBezTo>
                    <a:pt x="26" y="11"/>
                    <a:pt x="23" y="4"/>
                    <a:pt x="17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" name="Freeform 294">
              <a:extLst>
                <a:ext uri="{FF2B5EF4-FFF2-40B4-BE49-F238E27FC236}">
                  <a16:creationId xmlns:a16="http://schemas.microsoft.com/office/drawing/2014/main" id="{925C809E-068F-40D6-91AF-5AA67AEA92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27205" y="3928338"/>
              <a:ext cx="101159" cy="118019"/>
            </a:xfrm>
            <a:custGeom>
              <a:avLst/>
              <a:gdLst>
                <a:gd name="T0" fmla="*/ 13 w 19"/>
                <a:gd name="T1" fmla="*/ 1 h 22"/>
                <a:gd name="T2" fmla="*/ 2 w 19"/>
                <a:gd name="T3" fmla="*/ 8 h 22"/>
                <a:gd name="T4" fmla="*/ 7 w 19"/>
                <a:gd name="T5" fmla="*/ 20 h 22"/>
                <a:gd name="T6" fmla="*/ 18 w 19"/>
                <a:gd name="T7" fmla="*/ 13 h 22"/>
                <a:gd name="T8" fmla="*/ 13 w 19"/>
                <a:gd name="T9" fmla="*/ 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2">
                  <a:moveTo>
                    <a:pt x="13" y="1"/>
                  </a:moveTo>
                  <a:cubicBezTo>
                    <a:pt x="9" y="0"/>
                    <a:pt x="4" y="3"/>
                    <a:pt x="2" y="8"/>
                  </a:cubicBezTo>
                  <a:cubicBezTo>
                    <a:pt x="0" y="13"/>
                    <a:pt x="2" y="19"/>
                    <a:pt x="7" y="20"/>
                  </a:cubicBezTo>
                  <a:cubicBezTo>
                    <a:pt x="11" y="22"/>
                    <a:pt x="16" y="19"/>
                    <a:pt x="18" y="13"/>
                  </a:cubicBezTo>
                  <a:cubicBezTo>
                    <a:pt x="19" y="8"/>
                    <a:pt x="17" y="3"/>
                    <a:pt x="13" y="1"/>
                  </a:cubicBezTo>
                  <a:close/>
                </a:path>
              </a:pathLst>
            </a:custGeom>
            <a:solidFill>
              <a:srgbClr val="FFC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" name="Freeform 295">
              <a:extLst>
                <a:ext uri="{FF2B5EF4-FFF2-40B4-BE49-F238E27FC236}">
                  <a16:creationId xmlns:a16="http://schemas.microsoft.com/office/drawing/2014/main" id="{AED4F67A-323C-444A-B5B0-C6188EFD80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73254" y="3793459"/>
              <a:ext cx="112961" cy="124763"/>
            </a:xfrm>
            <a:custGeom>
              <a:avLst/>
              <a:gdLst>
                <a:gd name="T0" fmla="*/ 14 w 21"/>
                <a:gd name="T1" fmla="*/ 7 h 23"/>
                <a:gd name="T2" fmla="*/ 7 w 21"/>
                <a:gd name="T3" fmla="*/ 2 h 23"/>
                <a:gd name="T4" fmla="*/ 0 w 21"/>
                <a:gd name="T5" fmla="*/ 0 h 23"/>
                <a:gd name="T6" fmla="*/ 6 w 21"/>
                <a:gd name="T7" fmla="*/ 4 h 23"/>
                <a:gd name="T8" fmla="*/ 11 w 21"/>
                <a:gd name="T9" fmla="*/ 10 h 23"/>
                <a:gd name="T10" fmla="*/ 13 w 21"/>
                <a:gd name="T11" fmla="*/ 17 h 23"/>
                <a:gd name="T12" fmla="*/ 13 w 21"/>
                <a:gd name="T13" fmla="*/ 23 h 23"/>
                <a:gd name="T14" fmla="*/ 21 w 21"/>
                <a:gd name="T15" fmla="*/ 23 h 23"/>
                <a:gd name="T16" fmla="*/ 19 w 21"/>
                <a:gd name="T17" fmla="*/ 15 h 23"/>
                <a:gd name="T18" fmla="*/ 14 w 21"/>
                <a:gd name="T19" fmla="*/ 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23">
                  <a:moveTo>
                    <a:pt x="14" y="7"/>
                  </a:moveTo>
                  <a:cubicBezTo>
                    <a:pt x="12" y="5"/>
                    <a:pt x="10" y="4"/>
                    <a:pt x="7" y="2"/>
                  </a:cubicBezTo>
                  <a:cubicBezTo>
                    <a:pt x="5" y="1"/>
                    <a:pt x="2" y="1"/>
                    <a:pt x="0" y="0"/>
                  </a:cubicBezTo>
                  <a:cubicBezTo>
                    <a:pt x="2" y="1"/>
                    <a:pt x="4" y="2"/>
                    <a:pt x="6" y="4"/>
                  </a:cubicBezTo>
                  <a:cubicBezTo>
                    <a:pt x="8" y="6"/>
                    <a:pt x="10" y="8"/>
                    <a:pt x="11" y="10"/>
                  </a:cubicBezTo>
                  <a:cubicBezTo>
                    <a:pt x="12" y="12"/>
                    <a:pt x="13" y="14"/>
                    <a:pt x="13" y="17"/>
                  </a:cubicBezTo>
                  <a:cubicBezTo>
                    <a:pt x="13" y="19"/>
                    <a:pt x="14" y="21"/>
                    <a:pt x="13" y="23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0" y="17"/>
                    <a:pt x="19" y="15"/>
                  </a:cubicBezTo>
                  <a:cubicBezTo>
                    <a:pt x="17" y="12"/>
                    <a:pt x="16" y="10"/>
                    <a:pt x="14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8686106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9/6/26</a:t>
            </a:fld>
            <a:endParaRPr lang="zh-CN" altLang="en-US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8A4A9812-76CD-4BCB-A78A-7A12C2C4405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561" y="6298257"/>
            <a:ext cx="1521446" cy="548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9/6/26</a:t>
            </a:fld>
            <a:endParaRPr lang="zh-CN" altLang="en-US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4B43A7C4-3124-4587-A723-8ED448D504A8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561" y="6298257"/>
            <a:ext cx="1521446" cy="548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57224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</p:sldLayoutIdLst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>
          <p15:clr>
            <a:srgbClr val="F26B43"/>
          </p15:clr>
        </p15:guide>
        <p15:guide id="2" pos="7257">
          <p15:clr>
            <a:srgbClr val="F26B43"/>
          </p15:clr>
        </p15:guide>
        <p15:guide id="3" orient="horz" pos="648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31">
          <p15:clr>
            <a:srgbClr val="F26B43"/>
          </p15:clr>
        </p15:guide>
        <p15:guide id="6" orient="horz" pos="386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3.xml"/><Relationship Id="rId7" Type="http://schemas.openxmlformats.org/officeDocument/2006/relationships/image" Target="../media/image7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9.xml"/><Relationship Id="rId1" Type="http://schemas.openxmlformats.org/officeDocument/2006/relationships/themeOverride" Target="../theme/themeOverride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1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5.xml"/><Relationship Id="rId7" Type="http://schemas.openxmlformats.org/officeDocument/2006/relationships/image" Target="../media/image6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4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6.xml"/><Relationship Id="rId10" Type="http://schemas.openxmlformats.org/officeDocument/2006/relationships/image" Target="../media/image9.png"/><Relationship Id="rId4" Type="http://schemas.openxmlformats.org/officeDocument/2006/relationships/tags" Target="../tags/tag16.xml"/><Relationship Id="rId9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9.xml"/><Relationship Id="rId1" Type="http://schemas.openxmlformats.org/officeDocument/2006/relationships/themeOverride" Target="../theme/themeOverrid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9.xml"/><Relationship Id="rId1" Type="http://schemas.openxmlformats.org/officeDocument/2006/relationships/themeOverride" Target="../theme/themeOverride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>
          <a:xfrm>
            <a:off x="986967" y="3893078"/>
            <a:ext cx="3808347" cy="826704"/>
          </a:xfrm>
        </p:spPr>
        <p:txBody>
          <a:bodyPr>
            <a:noAutofit/>
          </a:bodyPr>
          <a:lstStyle/>
          <a:p>
            <a:pPr algn="l"/>
            <a:r>
              <a:rPr lang="zh-CN" altLang="en-US" sz="1600" b="1" dirty="0">
                <a:solidFill>
                  <a:schemeClr val="accent2"/>
                </a:solidFill>
              </a:rPr>
              <a:t>大数据项目组　郑乐君</a:t>
            </a:r>
            <a:r>
              <a:rPr lang="en-US" altLang="zh-CN" sz="1600" b="1" dirty="0">
                <a:solidFill>
                  <a:schemeClr val="accent2"/>
                </a:solidFill>
              </a:rPr>
              <a:t>&amp;</a:t>
            </a:r>
            <a:r>
              <a:rPr lang="zh-CN" altLang="en-US" sz="1600" b="1" dirty="0">
                <a:solidFill>
                  <a:schemeClr val="accent2"/>
                </a:solidFill>
              </a:rPr>
              <a:t>张欢欢</a:t>
            </a:r>
            <a:endParaRPr lang="en-US" altLang="zh-CN" sz="1600" b="1" dirty="0">
              <a:solidFill>
                <a:schemeClr val="accent2"/>
              </a:solidFill>
            </a:endParaRPr>
          </a:p>
          <a:p>
            <a:pPr algn="l"/>
            <a:r>
              <a:rPr lang="en-US" altLang="zh-CN" sz="1600" b="1" dirty="0">
                <a:solidFill>
                  <a:schemeClr val="accent2"/>
                </a:solidFill>
              </a:rPr>
              <a:t>2019 06</a:t>
            </a:r>
            <a:r>
              <a:rPr lang="zh-CN" altLang="en-US" sz="1600" dirty="0"/>
              <a:t> </a:t>
            </a:r>
            <a:r>
              <a:rPr lang="en-US" altLang="zh-CN" sz="1600" dirty="0"/>
              <a:t>26</a:t>
            </a:r>
            <a:endParaRPr lang="en-US" altLang="en-US" sz="1600" b="1" dirty="0">
              <a:solidFill>
                <a:schemeClr val="accent2"/>
              </a:solidFill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986967" y="3596807"/>
            <a:ext cx="3808347" cy="296271"/>
          </a:xfrm>
        </p:spPr>
        <p:txBody>
          <a:bodyPr/>
          <a:lstStyle/>
          <a:p>
            <a:pPr algn="l"/>
            <a:r>
              <a:rPr lang="zh-CN" altLang="en-US" sz="1600" b="1" dirty="0">
                <a:solidFill>
                  <a:schemeClr val="accent2"/>
                </a:solidFill>
              </a:rPr>
              <a:t>基于大</a:t>
            </a:r>
            <a:r>
              <a:rPr lang="zh-CN" altLang="en-US" sz="1600" dirty="0"/>
              <a:t>数据模型的自动化智能精细排班</a:t>
            </a:r>
            <a:endParaRPr lang="en-US" altLang="zh-CN" sz="1600" b="1" dirty="0">
              <a:solidFill>
                <a:schemeClr val="accent2"/>
              </a:solidFill>
            </a:endParaRPr>
          </a:p>
        </p:txBody>
      </p:sp>
      <p:sp>
        <p:nvSpPr>
          <p:cNvPr id="11" name="标题 10">
            <a:extLst>
              <a:ext uri="{FF2B5EF4-FFF2-40B4-BE49-F238E27FC236}">
                <a16:creationId xmlns:a16="http://schemas.microsoft.com/office/drawing/2014/main" id="{70A5D87E-BB0B-4979-8BE2-20719E440B4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6967" y="1684610"/>
            <a:ext cx="5223333" cy="1574364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zh-CN" altLang="zh-CN" sz="4400" dirty="0"/>
              <a:t>智能精益排班</a:t>
            </a:r>
            <a:r>
              <a:rPr lang="zh-CN" altLang="en-US" sz="4400" dirty="0"/>
              <a:t>项目</a:t>
            </a:r>
            <a:endParaRPr lang="zh-CN" altLang="en-US" sz="4800" dirty="0">
              <a:solidFill>
                <a:schemeClr val="bg1"/>
              </a:solidFill>
            </a:endParaRPr>
          </a:p>
        </p:txBody>
      </p:sp>
      <p:grpSp>
        <p:nvGrpSpPr>
          <p:cNvPr id="8" name="组合 7">
            <a:extLst>
              <a:ext uri="{FF2B5EF4-FFF2-40B4-BE49-F238E27FC236}">
                <a16:creationId xmlns:a16="http://schemas.microsoft.com/office/drawing/2014/main" id="{5A0F41B0-8ADB-4DE3-8118-93B48650F0B5}"/>
              </a:ext>
            </a:extLst>
          </p:cNvPr>
          <p:cNvGrpSpPr/>
          <p:nvPr/>
        </p:nvGrpSpPr>
        <p:grpSpPr>
          <a:xfrm>
            <a:off x="673100" y="524083"/>
            <a:ext cx="6519173" cy="894992"/>
            <a:chOff x="544541" y="488598"/>
            <a:chExt cx="6519173" cy="894992"/>
          </a:xfrm>
        </p:grpSpPr>
        <p:pic>
          <p:nvPicPr>
            <p:cNvPr id="9" name="图片 8">
              <a:extLst>
                <a:ext uri="{FF2B5EF4-FFF2-40B4-BE49-F238E27FC236}">
                  <a16:creationId xmlns:a16="http://schemas.microsoft.com/office/drawing/2014/main" id="{230F9CAF-7CB6-4FBA-836F-7F64750C60D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42233" y="549131"/>
              <a:ext cx="2021481" cy="834459"/>
            </a:xfrm>
            <a:prstGeom prst="rect">
              <a:avLst/>
            </a:prstGeom>
          </p:spPr>
        </p:pic>
        <p:pic>
          <p:nvPicPr>
            <p:cNvPr id="10" name="图片 9">
              <a:extLst>
                <a:ext uri="{FF2B5EF4-FFF2-40B4-BE49-F238E27FC236}">
                  <a16:creationId xmlns:a16="http://schemas.microsoft.com/office/drawing/2014/main" id="{1AC33157-4818-4D1B-A157-BFB43B054C2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4541" y="488598"/>
              <a:ext cx="2021481" cy="729262"/>
            </a:xfrm>
            <a:prstGeom prst="rect">
              <a:avLst/>
            </a:prstGeom>
          </p:spPr>
        </p:pic>
        <p:pic>
          <p:nvPicPr>
            <p:cNvPr id="12" name="图片 11" descr="图片包含 物体&#10;&#10;描述已自动生成">
              <a:extLst>
                <a:ext uri="{FF2B5EF4-FFF2-40B4-BE49-F238E27FC236}">
                  <a16:creationId xmlns:a16="http://schemas.microsoft.com/office/drawing/2014/main" id="{B80631DF-D96B-4683-9699-2EB191D8076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36528" y="608805"/>
              <a:ext cx="1855337" cy="555799"/>
            </a:xfrm>
            <a:prstGeom prst="rect">
              <a:avLst/>
            </a:prstGeom>
          </p:spPr>
        </p:pic>
        <p:sp>
          <p:nvSpPr>
            <p:cNvPr id="13" name="乘号 12">
              <a:extLst>
                <a:ext uri="{FF2B5EF4-FFF2-40B4-BE49-F238E27FC236}">
                  <a16:creationId xmlns:a16="http://schemas.microsoft.com/office/drawing/2014/main" id="{5039BD6B-38CE-4F58-BEFF-F4CA5AE37FE3}"/>
                </a:ext>
              </a:extLst>
            </p:cNvPr>
            <p:cNvSpPr/>
            <p:nvPr/>
          </p:nvSpPr>
          <p:spPr>
            <a:xfrm>
              <a:off x="4890065" y="772124"/>
              <a:ext cx="250777" cy="244025"/>
            </a:xfrm>
            <a:prstGeom prst="mathMultiply">
              <a:avLst>
                <a:gd name="adj1" fmla="val 0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" name="乘号 13">
              <a:extLst>
                <a:ext uri="{FF2B5EF4-FFF2-40B4-BE49-F238E27FC236}">
                  <a16:creationId xmlns:a16="http://schemas.microsoft.com/office/drawing/2014/main" id="{E2F61A7E-DD6E-4A21-B830-B4ED69476FBC}"/>
                </a:ext>
              </a:extLst>
            </p:cNvPr>
            <p:cNvSpPr/>
            <p:nvPr/>
          </p:nvSpPr>
          <p:spPr>
            <a:xfrm>
              <a:off x="2543789" y="772124"/>
              <a:ext cx="250777" cy="244025"/>
            </a:xfrm>
            <a:prstGeom prst="mathMultiply">
              <a:avLst>
                <a:gd name="adj1" fmla="val 0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5" name="文本占位符 6">
            <a:extLst>
              <a:ext uri="{FF2B5EF4-FFF2-40B4-BE49-F238E27FC236}">
                <a16:creationId xmlns:a16="http://schemas.microsoft.com/office/drawing/2014/main" id="{F704CB9E-3333-45FF-9707-B5FF9D474E25}"/>
              </a:ext>
            </a:extLst>
          </p:cNvPr>
          <p:cNvSpPr txBox="1">
            <a:spLocks/>
          </p:cNvSpPr>
          <p:nvPr/>
        </p:nvSpPr>
        <p:spPr>
          <a:xfrm>
            <a:off x="5360933" y="5834712"/>
            <a:ext cx="1698734" cy="27724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zh-CN" altLang="en-US" sz="15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2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600" dirty="0"/>
              <a:t>www.semir.pro</a:t>
            </a:r>
          </a:p>
        </p:txBody>
      </p:sp>
    </p:spTree>
    <p:extLst>
      <p:ext uri="{BB962C8B-B14F-4D97-AF65-F5344CB8AC3E}">
        <p14:creationId xmlns:p14="http://schemas.microsoft.com/office/powerpoint/2010/main" val="27083864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3200" dirty="0"/>
              <a:t>模型的原理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3906983" y="3912540"/>
            <a:ext cx="5701936" cy="1112041"/>
          </a:xfrm>
        </p:spPr>
        <p:txBody>
          <a:bodyPr>
            <a:normAutofit/>
          </a:bodyPr>
          <a:lstStyle/>
          <a:p>
            <a:pPr lvl="0">
              <a:lnSpc>
                <a:spcPct val="100000"/>
              </a:lnSpc>
            </a:pPr>
            <a:r>
              <a:rPr lang="zh-CN" altLang="en-US" sz="1400" dirty="0"/>
              <a:t>利用机器学的方式精准获得变化的需求规律</a:t>
            </a:r>
            <a:endParaRPr lang="en-US" altLang="zh-CN" sz="1400" dirty="0"/>
          </a:p>
          <a:p>
            <a:pPr lvl="0">
              <a:lnSpc>
                <a:spcPct val="100000"/>
              </a:lnSpc>
            </a:pPr>
            <a:r>
              <a:rPr lang="zh-CN" altLang="en-US" sz="1400" dirty="0"/>
              <a:t>自动实现人员的安排，后期可持续优化</a:t>
            </a:r>
            <a:endParaRPr lang="en-US" altLang="zh-CN" sz="1400" dirty="0"/>
          </a:p>
          <a:p>
            <a:pPr lvl="0">
              <a:lnSpc>
                <a:spcPct val="100000"/>
              </a:lnSpc>
            </a:pPr>
            <a:endParaRPr lang="zh-CN" altLang="en-US" sz="1400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0245945" y="357761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100" normalizeH="0" baseline="0" noProof="0" dirty="0">
                <a:ln>
                  <a:noFill/>
                </a:ln>
                <a:solidFill>
                  <a:srgbClr val="BD40A4"/>
                </a:solidFill>
                <a:effectLst/>
                <a:uLnTx/>
                <a:uFillTx/>
                <a:latin typeface="Impact" panose="020B0806030902050204" pitchFamily="34" charset="0"/>
                <a:ea typeface="微软雅黑"/>
                <a:cs typeface="Arial" panose="020B0604020202020204" pitchFamily="34" charset="0"/>
              </a:rPr>
              <a:t>/03</a:t>
            </a:r>
            <a:endParaRPr kumimoji="0" lang="zh-CN" altLang="en-US" sz="1800" b="0" i="0" u="none" strike="noStrike" kern="1200" cap="none" spc="100" normalizeH="0" baseline="0" noProof="0" dirty="0">
              <a:ln>
                <a:noFill/>
              </a:ln>
              <a:solidFill>
                <a:srgbClr val="BD40A4"/>
              </a:solidFill>
              <a:effectLst/>
              <a:uLnTx/>
              <a:uFillTx/>
              <a:latin typeface="Impact" panose="020B0806030902050204" pitchFamily="34" charset="0"/>
              <a:ea typeface="微软雅黑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53851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占位符 5">
            <a:extLst>
              <a:ext uri="{FF2B5EF4-FFF2-40B4-BE49-F238E27FC236}">
                <a16:creationId xmlns:a16="http://schemas.microsoft.com/office/drawing/2014/main" id="{41092900-7EED-46A3-B64A-F83AF058A4BD}"/>
              </a:ext>
            </a:extLst>
          </p:cNvPr>
          <p:cNvSpPr txBox="1">
            <a:spLocks/>
          </p:cNvSpPr>
          <p:nvPr/>
        </p:nvSpPr>
        <p:spPr>
          <a:xfrm>
            <a:off x="669925" y="1835207"/>
            <a:ext cx="4593573" cy="939894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>
            <a:norm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400" dirty="0">
                <a:solidFill>
                  <a:schemeClr val="bg1"/>
                </a:solidFill>
              </a:rPr>
              <a:t>以往的方式简单易用，</a:t>
            </a:r>
            <a:endParaRPr lang="en-US" altLang="zh-CN" sz="1400" dirty="0">
              <a:solidFill>
                <a:schemeClr val="bg1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dirty="0">
                <a:solidFill>
                  <a:schemeClr val="bg1"/>
                </a:solidFill>
              </a:rPr>
              <a:t>但是人员能效低，业绩产出不够，人员流失率高</a:t>
            </a:r>
            <a:endParaRPr lang="en-US" altLang="zh-CN" sz="1400" dirty="0">
              <a:solidFill>
                <a:schemeClr val="bg1"/>
              </a:solidFill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C602B77B-D1D5-4CF2-8682-9B13F2BFF658}"/>
              </a:ext>
            </a:extLst>
          </p:cNvPr>
          <p:cNvSpPr txBox="1"/>
          <p:nvPr/>
        </p:nvSpPr>
        <p:spPr>
          <a:xfrm>
            <a:off x="840509" y="621390"/>
            <a:ext cx="44229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/>
              <a:t>计算需求规律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E8170A56-DEF2-47EB-89B7-14C03CDD3D50}"/>
              </a:ext>
            </a:extLst>
          </p:cNvPr>
          <p:cNvSpPr txBox="1"/>
          <p:nvPr/>
        </p:nvSpPr>
        <p:spPr>
          <a:xfrm>
            <a:off x="988291" y="3198167"/>
            <a:ext cx="37407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/>
              <a:t>为什么说以往人员能效低？</a:t>
            </a:r>
          </a:p>
        </p:txBody>
      </p:sp>
      <p:graphicFrame>
        <p:nvGraphicFramePr>
          <p:cNvPr id="8" name="图表 7">
            <a:extLst>
              <a:ext uri="{FF2B5EF4-FFF2-40B4-BE49-F238E27FC236}">
                <a16:creationId xmlns:a16="http://schemas.microsoft.com/office/drawing/2014/main" id="{7833EFA8-166C-4D45-BD44-047819957FA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55439552"/>
              </p:ext>
            </p:extLst>
          </p:nvPr>
        </p:nvGraphicFramePr>
        <p:xfrm>
          <a:off x="5527426" y="1533236"/>
          <a:ext cx="5993061" cy="46040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9803650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占位符 5">
            <a:extLst>
              <a:ext uri="{FF2B5EF4-FFF2-40B4-BE49-F238E27FC236}">
                <a16:creationId xmlns:a16="http://schemas.microsoft.com/office/drawing/2014/main" id="{41092900-7EED-46A3-B64A-F83AF058A4BD}"/>
              </a:ext>
            </a:extLst>
          </p:cNvPr>
          <p:cNvSpPr txBox="1">
            <a:spLocks/>
          </p:cNvSpPr>
          <p:nvPr/>
        </p:nvSpPr>
        <p:spPr>
          <a:xfrm>
            <a:off x="671513" y="1569203"/>
            <a:ext cx="4593573" cy="939894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>
            <a:norm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400" dirty="0">
                <a:solidFill>
                  <a:schemeClr val="bg1"/>
                </a:solidFill>
              </a:rPr>
              <a:t>以往的方式简单易用，</a:t>
            </a:r>
            <a:endParaRPr lang="en-US" altLang="zh-CN" sz="1400" dirty="0">
              <a:solidFill>
                <a:schemeClr val="bg1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dirty="0">
                <a:solidFill>
                  <a:schemeClr val="bg1"/>
                </a:solidFill>
              </a:rPr>
              <a:t>但是人员能效低，业绩产出不够，人员流失率高</a:t>
            </a:r>
            <a:endParaRPr lang="en-US" altLang="zh-CN" sz="1400" dirty="0">
              <a:solidFill>
                <a:schemeClr val="bg1"/>
              </a:solidFill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C602B77B-D1D5-4CF2-8682-9B13F2BFF658}"/>
              </a:ext>
            </a:extLst>
          </p:cNvPr>
          <p:cNvSpPr txBox="1"/>
          <p:nvPr/>
        </p:nvSpPr>
        <p:spPr>
          <a:xfrm>
            <a:off x="840509" y="621390"/>
            <a:ext cx="44229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/>
              <a:t>计算需求规律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E8170A56-DEF2-47EB-89B7-14C03CDD3D50}"/>
              </a:ext>
            </a:extLst>
          </p:cNvPr>
          <p:cNvSpPr txBox="1"/>
          <p:nvPr/>
        </p:nvSpPr>
        <p:spPr>
          <a:xfrm>
            <a:off x="989879" y="2932163"/>
            <a:ext cx="37407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/>
              <a:t>为什么说以往人员能效低？</a:t>
            </a:r>
          </a:p>
        </p:txBody>
      </p:sp>
      <p:graphicFrame>
        <p:nvGraphicFramePr>
          <p:cNvPr id="8" name="图表 7">
            <a:extLst>
              <a:ext uri="{FF2B5EF4-FFF2-40B4-BE49-F238E27FC236}">
                <a16:creationId xmlns:a16="http://schemas.microsoft.com/office/drawing/2014/main" id="{D6404211-5270-4419-84A5-B84DA6CFBD2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81258668"/>
              </p:ext>
            </p:extLst>
          </p:nvPr>
        </p:nvGraphicFramePr>
        <p:xfrm>
          <a:off x="5527426" y="1533236"/>
          <a:ext cx="5993061" cy="46040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文本框 8">
            <a:extLst>
              <a:ext uri="{FF2B5EF4-FFF2-40B4-BE49-F238E27FC236}">
                <a16:creationId xmlns:a16="http://schemas.microsoft.com/office/drawing/2014/main" id="{32E58F52-24FF-452B-ADDF-DA67228157F7}"/>
              </a:ext>
            </a:extLst>
          </p:cNvPr>
          <p:cNvSpPr txBox="1"/>
          <p:nvPr/>
        </p:nvSpPr>
        <p:spPr>
          <a:xfrm>
            <a:off x="799418" y="3569251"/>
            <a:ext cx="41555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/>
              <a:t>高峰时人员不足，业绩没有做到最大化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C6876E8F-CAAB-431C-9209-872CFEAC3A46}"/>
              </a:ext>
            </a:extLst>
          </p:cNvPr>
          <p:cNvSpPr txBox="1"/>
          <p:nvPr/>
        </p:nvSpPr>
        <p:spPr>
          <a:xfrm>
            <a:off x="799418" y="4085234"/>
            <a:ext cx="41555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/>
              <a:t>前后人员过多，浪费了人力资源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0E6C3E0C-33B0-4E45-A9A6-E61774FEBDBA}"/>
              </a:ext>
            </a:extLst>
          </p:cNvPr>
          <p:cNvSpPr txBox="1"/>
          <p:nvPr/>
        </p:nvSpPr>
        <p:spPr>
          <a:xfrm>
            <a:off x="782451" y="4577275"/>
            <a:ext cx="41555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/>
              <a:t>业绩没有做到高，却工作时长很长</a:t>
            </a:r>
          </a:p>
        </p:txBody>
      </p:sp>
      <p:sp>
        <p:nvSpPr>
          <p:cNvPr id="12" name="箭头: 上 11">
            <a:extLst>
              <a:ext uri="{FF2B5EF4-FFF2-40B4-BE49-F238E27FC236}">
                <a16:creationId xmlns:a16="http://schemas.microsoft.com/office/drawing/2014/main" id="{8AAD631B-702C-4C25-8484-2B9DBEF3B1CF}"/>
              </a:ext>
            </a:extLst>
          </p:cNvPr>
          <p:cNvSpPr/>
          <p:nvPr/>
        </p:nvSpPr>
        <p:spPr>
          <a:xfrm>
            <a:off x="8131150" y="2048720"/>
            <a:ext cx="392806" cy="821428"/>
          </a:xfrm>
          <a:prstGeom prst="upArrow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/>
              <a:t>不足</a:t>
            </a:r>
          </a:p>
        </p:txBody>
      </p:sp>
      <p:sp>
        <p:nvSpPr>
          <p:cNvPr id="13" name="箭头: 下 12">
            <a:extLst>
              <a:ext uri="{FF2B5EF4-FFF2-40B4-BE49-F238E27FC236}">
                <a16:creationId xmlns:a16="http://schemas.microsoft.com/office/drawing/2014/main" id="{5DFBC98B-57E8-4276-8136-E23AB8F1FF18}"/>
              </a:ext>
            </a:extLst>
          </p:cNvPr>
          <p:cNvSpPr/>
          <p:nvPr/>
        </p:nvSpPr>
        <p:spPr>
          <a:xfrm>
            <a:off x="6248017" y="3333509"/>
            <a:ext cx="405684" cy="1509770"/>
          </a:xfrm>
          <a:prstGeom prst="downArrow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/>
              <a:t>浪费</a:t>
            </a:r>
          </a:p>
        </p:txBody>
      </p:sp>
      <p:sp>
        <p:nvSpPr>
          <p:cNvPr id="14" name="箭头: 下 13">
            <a:extLst>
              <a:ext uri="{FF2B5EF4-FFF2-40B4-BE49-F238E27FC236}">
                <a16:creationId xmlns:a16="http://schemas.microsoft.com/office/drawing/2014/main" id="{1C3A5D2C-D020-441B-B580-BE71765E343D}"/>
              </a:ext>
            </a:extLst>
          </p:cNvPr>
          <p:cNvSpPr/>
          <p:nvPr/>
        </p:nvSpPr>
        <p:spPr>
          <a:xfrm>
            <a:off x="10393683" y="3333509"/>
            <a:ext cx="405684" cy="1081208"/>
          </a:xfrm>
          <a:prstGeom prst="downArrow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/>
              <a:t>浪费</a:t>
            </a:r>
          </a:p>
        </p:txBody>
      </p:sp>
      <p:sp>
        <p:nvSpPr>
          <p:cNvPr id="15" name="îṣlíďè">
            <a:extLst>
              <a:ext uri="{FF2B5EF4-FFF2-40B4-BE49-F238E27FC236}">
                <a16:creationId xmlns:a16="http://schemas.microsoft.com/office/drawing/2014/main" id="{FB53F915-318E-42B5-B2FC-AE52D76FA15F}"/>
              </a:ext>
            </a:extLst>
          </p:cNvPr>
          <p:cNvSpPr txBox="1"/>
          <p:nvPr/>
        </p:nvSpPr>
        <p:spPr>
          <a:xfrm>
            <a:off x="671513" y="5137582"/>
            <a:ext cx="4593574" cy="999693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91440" tIns="45720" rIns="91440" bIns="45720">
            <a:normAutofit lnSpcReduction="10000"/>
          </a:bodyPr>
          <a:lstStyle/>
          <a:p>
            <a:pPr marL="171450" indent="-171450" algn="r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>
                <a:solidFill>
                  <a:schemeClr val="bg1"/>
                </a:solidFill>
              </a:rPr>
              <a:t>业绩没做好</a:t>
            </a:r>
            <a:endParaRPr lang="en-US" altLang="zh-CN" sz="2800" dirty="0">
              <a:solidFill>
                <a:schemeClr val="bg1"/>
              </a:solidFill>
            </a:endParaRPr>
          </a:p>
          <a:p>
            <a:pPr marL="171450" indent="-171450" algn="r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>
                <a:solidFill>
                  <a:schemeClr val="bg1"/>
                </a:solidFill>
              </a:rPr>
              <a:t>人也没留住</a:t>
            </a:r>
            <a:endParaRPr lang="en-US" altLang="zh-CN" sz="2800" dirty="0">
              <a:solidFill>
                <a:schemeClr val="bg1"/>
              </a:solidFill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E2BA7611-8FA4-4C64-9FD7-C24EF04B13DE}"/>
              </a:ext>
            </a:extLst>
          </p:cNvPr>
          <p:cNvSpPr txBox="1"/>
          <p:nvPr/>
        </p:nvSpPr>
        <p:spPr>
          <a:xfrm>
            <a:off x="1238490" y="5330399"/>
            <a:ext cx="123849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600" dirty="0">
                <a:solidFill>
                  <a:schemeClr val="bg1"/>
                </a:solidFill>
              </a:rPr>
              <a:t>结果</a:t>
            </a: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35359538-2ACD-4285-B1CC-666A970B510C}"/>
              </a:ext>
            </a:extLst>
          </p:cNvPr>
          <p:cNvSpPr txBox="1"/>
          <p:nvPr/>
        </p:nvSpPr>
        <p:spPr>
          <a:xfrm>
            <a:off x="9820194" y="6240463"/>
            <a:ext cx="21361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50" dirty="0"/>
              <a:t>来源：郑州粤海店</a:t>
            </a:r>
          </a:p>
        </p:txBody>
      </p:sp>
    </p:spTree>
    <p:extLst>
      <p:ext uri="{BB962C8B-B14F-4D97-AF65-F5344CB8AC3E}">
        <p14:creationId xmlns:p14="http://schemas.microsoft.com/office/powerpoint/2010/main" val="23044610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图表 2">
            <a:extLst>
              <a:ext uri="{FF2B5EF4-FFF2-40B4-BE49-F238E27FC236}">
                <a16:creationId xmlns:a16="http://schemas.microsoft.com/office/drawing/2014/main" id="{3C2D1C27-59CA-4F89-ACCA-3D883667498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49304632"/>
              </p:ext>
            </p:extLst>
          </p:nvPr>
        </p:nvGraphicFramePr>
        <p:xfrm>
          <a:off x="345834" y="2092313"/>
          <a:ext cx="5603553" cy="42405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图表 3">
            <a:extLst>
              <a:ext uri="{FF2B5EF4-FFF2-40B4-BE49-F238E27FC236}">
                <a16:creationId xmlns:a16="http://schemas.microsoft.com/office/drawing/2014/main" id="{08EC65E0-21D5-43C4-BCCC-95FE5E04978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95513295"/>
              </p:ext>
            </p:extLst>
          </p:nvPr>
        </p:nvGraphicFramePr>
        <p:xfrm>
          <a:off x="5983574" y="2176838"/>
          <a:ext cx="5884334" cy="4165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文本框 4">
            <a:extLst>
              <a:ext uri="{FF2B5EF4-FFF2-40B4-BE49-F238E27FC236}">
                <a16:creationId xmlns:a16="http://schemas.microsoft.com/office/drawing/2014/main" id="{F796485F-399F-4B64-8C7B-A838DB6965B7}"/>
              </a:ext>
            </a:extLst>
          </p:cNvPr>
          <p:cNvSpPr txBox="1"/>
          <p:nvPr/>
        </p:nvSpPr>
        <p:spPr>
          <a:xfrm>
            <a:off x="2276354" y="1760677"/>
            <a:ext cx="69911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日分布规律不但周一到周末有明显差异，每个月之间可能也有差异。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D3BFA891-882E-4867-98B9-8F020E4108C5}"/>
              </a:ext>
            </a:extLst>
          </p:cNvPr>
          <p:cNvSpPr txBox="1"/>
          <p:nvPr/>
        </p:nvSpPr>
        <p:spPr>
          <a:xfrm>
            <a:off x="4148987" y="1313738"/>
            <a:ext cx="36691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/>
              <a:t>规律的多样化，人为难以分析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20F11712-5B4E-4173-8421-5F531F672CD0}"/>
              </a:ext>
            </a:extLst>
          </p:cNvPr>
          <p:cNvSpPr txBox="1"/>
          <p:nvPr/>
        </p:nvSpPr>
        <p:spPr>
          <a:xfrm>
            <a:off x="840509" y="621390"/>
            <a:ext cx="44229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/>
              <a:t>计算需求规律：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8841CB92-C1DF-44F5-9F20-B383B479BF34}"/>
              </a:ext>
            </a:extLst>
          </p:cNvPr>
          <p:cNvSpPr txBox="1"/>
          <p:nvPr/>
        </p:nvSpPr>
        <p:spPr>
          <a:xfrm>
            <a:off x="9820194" y="6240463"/>
            <a:ext cx="21361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50" dirty="0"/>
              <a:t>来源：郑州粤海店</a:t>
            </a:r>
          </a:p>
        </p:txBody>
      </p:sp>
    </p:spTree>
    <p:extLst>
      <p:ext uri="{BB962C8B-B14F-4D97-AF65-F5344CB8AC3E}">
        <p14:creationId xmlns:p14="http://schemas.microsoft.com/office/powerpoint/2010/main" val="6985243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图表 1">
            <a:extLst>
              <a:ext uri="{FF2B5EF4-FFF2-40B4-BE49-F238E27FC236}">
                <a16:creationId xmlns:a16="http://schemas.microsoft.com/office/drawing/2014/main" id="{66D317D3-D6FC-40FA-9B1B-3BE7AA0A7B9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03815685"/>
              </p:ext>
            </p:extLst>
          </p:nvPr>
        </p:nvGraphicFramePr>
        <p:xfrm>
          <a:off x="669925" y="1130302"/>
          <a:ext cx="10850563" cy="50069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文本框 2">
            <a:extLst>
              <a:ext uri="{FF2B5EF4-FFF2-40B4-BE49-F238E27FC236}">
                <a16:creationId xmlns:a16="http://schemas.microsoft.com/office/drawing/2014/main" id="{6EAB0C97-F8A9-48EA-89BC-550EC4276366}"/>
              </a:ext>
            </a:extLst>
          </p:cNvPr>
          <p:cNvSpPr txBox="1"/>
          <p:nvPr/>
        </p:nvSpPr>
        <p:spPr>
          <a:xfrm>
            <a:off x="840509" y="621390"/>
            <a:ext cx="44229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/>
              <a:t>计算需求规律：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9C6FA10B-50F4-496B-A8DE-85773752F590}"/>
              </a:ext>
            </a:extLst>
          </p:cNvPr>
          <p:cNvSpPr txBox="1"/>
          <p:nvPr/>
        </p:nvSpPr>
        <p:spPr>
          <a:xfrm>
            <a:off x="3338759" y="682945"/>
            <a:ext cx="52612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/>
              <a:t>除了日规律之间的多样化，还有周需求规律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33235C1D-4EAE-4792-A0E3-FC00414B56DB}"/>
              </a:ext>
            </a:extLst>
          </p:cNvPr>
          <p:cNvSpPr txBox="1"/>
          <p:nvPr/>
        </p:nvSpPr>
        <p:spPr>
          <a:xfrm>
            <a:off x="9820194" y="6240463"/>
            <a:ext cx="21361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50" dirty="0"/>
              <a:t>来源：郑州粤海店</a:t>
            </a:r>
          </a:p>
        </p:txBody>
      </p:sp>
    </p:spTree>
    <p:extLst>
      <p:ext uri="{BB962C8B-B14F-4D97-AF65-F5344CB8AC3E}">
        <p14:creationId xmlns:p14="http://schemas.microsoft.com/office/powerpoint/2010/main" val="21924131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>
            <a:extLst>
              <a:ext uri="{FF2B5EF4-FFF2-40B4-BE49-F238E27FC236}">
                <a16:creationId xmlns:a16="http://schemas.microsoft.com/office/drawing/2014/main" id="{6B2F9D10-7F10-4076-AE6E-78C8A3DAC07A}"/>
              </a:ext>
            </a:extLst>
          </p:cNvPr>
          <p:cNvSpPr/>
          <p:nvPr/>
        </p:nvSpPr>
        <p:spPr>
          <a:xfrm>
            <a:off x="669926" y="1205024"/>
            <a:ext cx="10335670" cy="4108276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75000"/>
                </a:schemeClr>
              </a:gs>
              <a:gs pos="28000">
                <a:schemeClr val="accent2">
                  <a:lumMod val="50000"/>
                </a:schemeClr>
              </a:gs>
              <a:gs pos="76000">
                <a:schemeClr val="tx1">
                  <a:lumMod val="95000"/>
                  <a:lumOff val="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D47A191A-C675-45B3-B061-2454C01C5D06}"/>
              </a:ext>
            </a:extLst>
          </p:cNvPr>
          <p:cNvSpPr txBox="1"/>
          <p:nvPr/>
        </p:nvSpPr>
        <p:spPr>
          <a:xfrm>
            <a:off x="1105124" y="2133035"/>
            <a:ext cx="3413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bg1"/>
                </a:solidFill>
              </a:rPr>
              <a:t>以上需求规律是如何计算的？</a:t>
            </a:r>
            <a:endParaRPr lang="en-US" altLang="zh-CN" dirty="0">
              <a:solidFill>
                <a:schemeClr val="bg1"/>
              </a:solidFill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FBF21AEE-3B57-4536-96B3-1C1E068E4BCA}"/>
              </a:ext>
            </a:extLst>
          </p:cNvPr>
          <p:cNvSpPr txBox="1"/>
          <p:nvPr/>
        </p:nvSpPr>
        <p:spPr>
          <a:xfrm>
            <a:off x="1105123" y="2797497"/>
            <a:ext cx="429814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bg1"/>
                </a:solidFill>
              </a:rPr>
              <a:t>采用优化后的</a:t>
            </a:r>
            <a:r>
              <a:rPr lang="en-US" altLang="zh-CN" dirty="0">
                <a:solidFill>
                  <a:schemeClr val="bg1"/>
                </a:solidFill>
              </a:rPr>
              <a:t>Mean-Shift</a:t>
            </a:r>
            <a:r>
              <a:rPr lang="zh-CN" altLang="en-US" dirty="0">
                <a:solidFill>
                  <a:schemeClr val="bg1"/>
                </a:solidFill>
              </a:rPr>
              <a:t>算法</a:t>
            </a:r>
            <a:r>
              <a:rPr lang="en-US" altLang="zh-CN" dirty="0">
                <a:solidFill>
                  <a:schemeClr val="bg1"/>
                </a:solidFill>
              </a:rPr>
              <a:t> </a:t>
            </a:r>
            <a:r>
              <a:rPr lang="zh-CN" altLang="en-US" dirty="0">
                <a:solidFill>
                  <a:schemeClr val="bg1"/>
                </a:solidFill>
              </a:rPr>
              <a:t>，智能化计算规律宽度，既保证数据的稳定性又保证可用性。</a:t>
            </a:r>
          </a:p>
        </p:txBody>
      </p:sp>
      <p:pic>
        <p:nvPicPr>
          <p:cNvPr id="5" name="WeChat_20190510104154">
            <a:hlinkClick r:id="" action="ppaction://media"/>
            <a:extLst>
              <a:ext uri="{FF2B5EF4-FFF2-40B4-BE49-F238E27FC236}">
                <a16:creationId xmlns:a16="http://schemas.microsoft.com/office/drawing/2014/main" id="{95DC2B14-2278-4A4C-B80A-289EE10D0356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6916340" y="1205024"/>
            <a:ext cx="4089256" cy="4108276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79C06456-6B41-48C9-9BA7-D7F5796ECC7B}"/>
              </a:ext>
            </a:extLst>
          </p:cNvPr>
          <p:cNvSpPr txBox="1"/>
          <p:nvPr/>
        </p:nvSpPr>
        <p:spPr>
          <a:xfrm>
            <a:off x="652508" y="550830"/>
            <a:ext cx="44229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/>
              <a:t>计算需求规律：</a:t>
            </a: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618CA91A-AF9C-4DEB-8716-9CE47E0C15BF}"/>
              </a:ext>
            </a:extLst>
          </p:cNvPr>
          <p:cNvSpPr/>
          <p:nvPr/>
        </p:nvSpPr>
        <p:spPr>
          <a:xfrm>
            <a:off x="669926" y="5435269"/>
            <a:ext cx="1050157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900" dirty="0"/>
              <a:t>Mean-Shift </a:t>
            </a:r>
            <a:r>
              <a:rPr lang="zh-CN" altLang="en-US" sz="900" dirty="0"/>
              <a:t>是一种基于滑动窗口的聚类算法。也可以说它是一种基于质心的算法，这意思是它是通过计算滑动窗口中的均值来更新中心点的候选框，以此达到找到每个簇中心点的目的。然后在剩下的处理阶段中，对这些候选窗口进行滤波以消除近似或重复的窗口，找到最终的中心点及其对应的簇。看看下面的图解</a:t>
            </a:r>
          </a:p>
        </p:txBody>
      </p:sp>
    </p:spTree>
    <p:extLst>
      <p:ext uri="{BB962C8B-B14F-4D97-AF65-F5344CB8AC3E}">
        <p14:creationId xmlns:p14="http://schemas.microsoft.com/office/powerpoint/2010/main" val="10604854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235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 fullScrn="1"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>
            <a:extLst>
              <a:ext uri="{FF2B5EF4-FFF2-40B4-BE49-F238E27FC236}">
                <a16:creationId xmlns:a16="http://schemas.microsoft.com/office/drawing/2014/main" id="{35AD1438-4582-4182-988F-FBBFFB16A147}"/>
              </a:ext>
            </a:extLst>
          </p:cNvPr>
          <p:cNvSpPr txBox="1"/>
          <p:nvPr/>
        </p:nvSpPr>
        <p:spPr>
          <a:xfrm>
            <a:off x="693085" y="1470294"/>
            <a:ext cx="104722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模型优化后可达效果</a:t>
            </a:r>
            <a:r>
              <a:rPr lang="zh-CN" altLang="en-US" sz="2400" dirty="0"/>
              <a:t>：工作日人员能效提升</a:t>
            </a:r>
            <a:r>
              <a:rPr lang="en-US" altLang="zh-CN" sz="2400" dirty="0"/>
              <a:t>6</a:t>
            </a:r>
            <a:r>
              <a:rPr lang="en-US" altLang="zh-CN" sz="2400" b="1" dirty="0"/>
              <a:t>%</a:t>
            </a:r>
            <a:r>
              <a:rPr lang="zh-CN" altLang="en-US" sz="2400" dirty="0"/>
              <a:t>，周末人员能效提升</a:t>
            </a:r>
            <a:r>
              <a:rPr lang="en-US" altLang="zh-CN" sz="2400" b="1" dirty="0"/>
              <a:t>27%</a:t>
            </a:r>
            <a:endParaRPr lang="zh-CN" altLang="en-US" sz="2400" b="1" dirty="0"/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0A2092FD-E69E-480F-B037-0B69B4437D9D}"/>
              </a:ext>
            </a:extLst>
          </p:cNvPr>
          <p:cNvSpPr txBox="1"/>
          <p:nvPr/>
        </p:nvSpPr>
        <p:spPr>
          <a:xfrm>
            <a:off x="693085" y="1070184"/>
            <a:ext cx="7863419" cy="40011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bg1"/>
                </a:solidFill>
              </a:rPr>
              <a:t>通过数据挖掘的需求规律，自输出人员排班最佳安排计划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77DD7A72-D0E0-460A-A9A3-59CCCEBE5C4B}"/>
              </a:ext>
            </a:extLst>
          </p:cNvPr>
          <p:cNvSpPr txBox="1"/>
          <p:nvPr/>
        </p:nvSpPr>
        <p:spPr>
          <a:xfrm>
            <a:off x="693085" y="472706"/>
            <a:ext cx="460267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dirty="0"/>
              <a:t>模型优化后与现状对比</a:t>
            </a:r>
          </a:p>
        </p:txBody>
      </p:sp>
      <p:graphicFrame>
        <p:nvGraphicFramePr>
          <p:cNvPr id="15" name="图表 14">
            <a:extLst>
              <a:ext uri="{FF2B5EF4-FFF2-40B4-BE49-F238E27FC236}">
                <a16:creationId xmlns:a16="http://schemas.microsoft.com/office/drawing/2014/main" id="{B0073512-95A3-4027-BB47-579A14051F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92060759"/>
              </p:ext>
            </p:extLst>
          </p:nvPr>
        </p:nvGraphicFramePr>
        <p:xfrm>
          <a:off x="781159" y="2332069"/>
          <a:ext cx="5676899" cy="38100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6" name="图表 15">
            <a:extLst>
              <a:ext uri="{FF2B5EF4-FFF2-40B4-BE49-F238E27FC236}">
                <a16:creationId xmlns:a16="http://schemas.microsoft.com/office/drawing/2014/main" id="{3DD3EC97-4AD7-4737-93E1-D331957B305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79881120"/>
              </p:ext>
            </p:extLst>
          </p:nvPr>
        </p:nvGraphicFramePr>
        <p:xfrm>
          <a:off x="6458058" y="2374900"/>
          <a:ext cx="5353050" cy="3762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7" name="文本框 16">
            <a:extLst>
              <a:ext uri="{FF2B5EF4-FFF2-40B4-BE49-F238E27FC236}">
                <a16:creationId xmlns:a16="http://schemas.microsoft.com/office/drawing/2014/main" id="{8AD84701-2E7E-4E77-A08B-97CBD43AD3AA}"/>
              </a:ext>
            </a:extLst>
          </p:cNvPr>
          <p:cNvSpPr txBox="1"/>
          <p:nvPr/>
        </p:nvSpPr>
        <p:spPr>
          <a:xfrm>
            <a:off x="9820194" y="6249024"/>
            <a:ext cx="21361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50" dirty="0"/>
              <a:t>来源：郑州粤海店</a:t>
            </a:r>
          </a:p>
        </p:txBody>
      </p:sp>
    </p:spTree>
    <p:extLst>
      <p:ext uri="{BB962C8B-B14F-4D97-AF65-F5344CB8AC3E}">
        <p14:creationId xmlns:p14="http://schemas.microsoft.com/office/powerpoint/2010/main" val="21717285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1D41BC5-568F-4BC5-8A8A-13C1085C20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根据业务的优化调整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F601CFA-79A8-4F10-B1AB-93EBA960E0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  <p:grpSp>
        <p:nvGrpSpPr>
          <p:cNvPr id="5" name="282177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CAD52623-0488-4099-A932-68D1AA649387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852840" y="1135786"/>
            <a:ext cx="9272236" cy="4751396"/>
            <a:chOff x="852840" y="1135788"/>
            <a:chExt cx="9272233" cy="4751394"/>
          </a:xfrm>
        </p:grpSpPr>
        <p:grpSp>
          <p:nvGrpSpPr>
            <p:cNvPr id="6" name="íṩḷîḑe">
              <a:extLst>
                <a:ext uri="{FF2B5EF4-FFF2-40B4-BE49-F238E27FC236}">
                  <a16:creationId xmlns:a16="http://schemas.microsoft.com/office/drawing/2014/main" id="{04CCAC1F-FF1C-4BC9-99C9-9A91A4047CA0}"/>
                </a:ext>
              </a:extLst>
            </p:cNvPr>
            <p:cNvGrpSpPr/>
            <p:nvPr/>
          </p:nvGrpSpPr>
          <p:grpSpPr>
            <a:xfrm>
              <a:off x="2671181" y="1218352"/>
              <a:ext cx="7453892" cy="4668830"/>
              <a:chOff x="2946561" y="1476563"/>
              <a:chExt cx="6903135" cy="4323856"/>
            </a:xfrm>
          </p:grpSpPr>
          <p:grpSp>
            <p:nvGrpSpPr>
              <p:cNvPr id="17" name="íṧ1iḍè">
                <a:extLst>
                  <a:ext uri="{FF2B5EF4-FFF2-40B4-BE49-F238E27FC236}">
                    <a16:creationId xmlns:a16="http://schemas.microsoft.com/office/drawing/2014/main" id="{391E2091-4765-482C-9A33-9B70768D329B}"/>
                  </a:ext>
                </a:extLst>
              </p:cNvPr>
              <p:cNvGrpSpPr/>
              <p:nvPr/>
            </p:nvGrpSpPr>
            <p:grpSpPr>
              <a:xfrm>
                <a:off x="2946561" y="3719579"/>
                <a:ext cx="1287093" cy="2080840"/>
                <a:chOff x="2290369" y="3333262"/>
                <a:chExt cx="965320" cy="1560630"/>
              </a:xfrm>
            </p:grpSpPr>
            <p:sp>
              <p:nvSpPr>
                <p:cNvPr id="35" name="îş1îde">
                  <a:extLst>
                    <a:ext uri="{FF2B5EF4-FFF2-40B4-BE49-F238E27FC236}">
                      <a16:creationId xmlns:a16="http://schemas.microsoft.com/office/drawing/2014/main" id="{86C97483-2A5C-48E6-A64B-FAD23D07534E}"/>
                    </a:ext>
                  </a:extLst>
                </p:cNvPr>
                <p:cNvSpPr/>
                <p:nvPr/>
              </p:nvSpPr>
              <p:spPr>
                <a:xfrm rot="2401885">
                  <a:off x="2290369" y="3520534"/>
                  <a:ext cx="345906" cy="1373358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36" name="îš1ïḍe">
                  <a:extLst>
                    <a:ext uri="{FF2B5EF4-FFF2-40B4-BE49-F238E27FC236}">
                      <a16:creationId xmlns:a16="http://schemas.microsoft.com/office/drawing/2014/main" id="{366ADA7A-D7CD-4470-AE5B-5ECF1E7D23C4}"/>
                    </a:ext>
                  </a:extLst>
                </p:cNvPr>
                <p:cNvSpPr/>
                <p:nvPr/>
              </p:nvSpPr>
              <p:spPr>
                <a:xfrm rot="18601885">
                  <a:off x="2527809" y="3333262"/>
                  <a:ext cx="727880" cy="727880"/>
                </a:xfrm>
                <a:prstGeom prst="chevron">
                  <a:avLst/>
                </a:prstGeom>
                <a:solidFill>
                  <a:schemeClr val="accent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/>
                </a:p>
              </p:txBody>
            </p:sp>
          </p:grpSp>
          <p:grpSp>
            <p:nvGrpSpPr>
              <p:cNvPr id="18" name="îṩľíḑe">
                <a:extLst>
                  <a:ext uri="{FF2B5EF4-FFF2-40B4-BE49-F238E27FC236}">
                    <a16:creationId xmlns:a16="http://schemas.microsoft.com/office/drawing/2014/main" id="{F04B4D7E-5931-4029-8AED-A834D52EB410}"/>
                  </a:ext>
                </a:extLst>
              </p:cNvPr>
              <p:cNvGrpSpPr/>
              <p:nvPr/>
            </p:nvGrpSpPr>
            <p:grpSpPr>
              <a:xfrm>
                <a:off x="4350572" y="3152963"/>
                <a:ext cx="1287093" cy="2080840"/>
                <a:chOff x="2290369" y="3333262"/>
                <a:chExt cx="965320" cy="1560630"/>
              </a:xfrm>
              <a:solidFill>
                <a:schemeClr val="accent2"/>
              </a:solidFill>
            </p:grpSpPr>
            <p:sp>
              <p:nvSpPr>
                <p:cNvPr id="33" name="iṩļíḑê">
                  <a:extLst>
                    <a:ext uri="{FF2B5EF4-FFF2-40B4-BE49-F238E27FC236}">
                      <a16:creationId xmlns:a16="http://schemas.microsoft.com/office/drawing/2014/main" id="{76080C13-A852-4117-BBCA-D140FD479EA1}"/>
                    </a:ext>
                  </a:extLst>
                </p:cNvPr>
                <p:cNvSpPr/>
                <p:nvPr/>
              </p:nvSpPr>
              <p:spPr>
                <a:xfrm rot="2401885">
                  <a:off x="2290369" y="3520534"/>
                  <a:ext cx="345906" cy="1373358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34" name="íŝlîďê">
                  <a:extLst>
                    <a:ext uri="{FF2B5EF4-FFF2-40B4-BE49-F238E27FC236}">
                      <a16:creationId xmlns:a16="http://schemas.microsoft.com/office/drawing/2014/main" id="{98D0CF00-D9F7-4835-9ACE-6665367D0A2E}"/>
                    </a:ext>
                  </a:extLst>
                </p:cNvPr>
                <p:cNvSpPr/>
                <p:nvPr/>
              </p:nvSpPr>
              <p:spPr>
                <a:xfrm rot="18601885">
                  <a:off x="2527809" y="3333262"/>
                  <a:ext cx="727880" cy="727880"/>
                </a:xfrm>
                <a:prstGeom prst="chevron">
                  <a:avLst/>
                </a:prstGeom>
                <a:solidFill>
                  <a:schemeClr val="accent2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/>
                </a:p>
              </p:txBody>
            </p:sp>
          </p:grpSp>
          <p:grpSp>
            <p:nvGrpSpPr>
              <p:cNvPr id="19" name="î$ľîdè">
                <a:extLst>
                  <a:ext uri="{FF2B5EF4-FFF2-40B4-BE49-F238E27FC236}">
                    <a16:creationId xmlns:a16="http://schemas.microsoft.com/office/drawing/2014/main" id="{82F09FFC-0350-4FE2-BB18-6348CC04ECA4}"/>
                  </a:ext>
                </a:extLst>
              </p:cNvPr>
              <p:cNvGrpSpPr/>
              <p:nvPr/>
            </p:nvGrpSpPr>
            <p:grpSpPr>
              <a:xfrm>
                <a:off x="5754583" y="2603368"/>
                <a:ext cx="1287093" cy="2080840"/>
                <a:chOff x="2290369" y="3333262"/>
                <a:chExt cx="965320" cy="1560630"/>
              </a:xfrm>
              <a:solidFill>
                <a:schemeClr val="accent3"/>
              </a:solidFill>
            </p:grpSpPr>
            <p:sp>
              <p:nvSpPr>
                <p:cNvPr id="31" name="îṧļïdè">
                  <a:extLst>
                    <a:ext uri="{FF2B5EF4-FFF2-40B4-BE49-F238E27FC236}">
                      <a16:creationId xmlns:a16="http://schemas.microsoft.com/office/drawing/2014/main" id="{A22FA52B-6D8D-464F-852F-75A309F431E1}"/>
                    </a:ext>
                  </a:extLst>
                </p:cNvPr>
                <p:cNvSpPr/>
                <p:nvPr/>
              </p:nvSpPr>
              <p:spPr>
                <a:xfrm rot="2401885">
                  <a:off x="2290369" y="3520534"/>
                  <a:ext cx="345906" cy="1373358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32" name="îśļîḓè">
                  <a:extLst>
                    <a:ext uri="{FF2B5EF4-FFF2-40B4-BE49-F238E27FC236}">
                      <a16:creationId xmlns:a16="http://schemas.microsoft.com/office/drawing/2014/main" id="{FFA95993-5AE8-4B20-922A-EC23FE9057D5}"/>
                    </a:ext>
                  </a:extLst>
                </p:cNvPr>
                <p:cNvSpPr/>
                <p:nvPr/>
              </p:nvSpPr>
              <p:spPr>
                <a:xfrm rot="18601885">
                  <a:off x="2527809" y="3333262"/>
                  <a:ext cx="727880" cy="727880"/>
                </a:xfrm>
                <a:prstGeom prst="chevron">
                  <a:avLst/>
                </a:prstGeom>
                <a:solidFill>
                  <a:schemeClr val="accent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/>
                </a:p>
              </p:txBody>
            </p:sp>
          </p:grpSp>
          <p:grpSp>
            <p:nvGrpSpPr>
              <p:cNvPr id="20" name="íSľïdê">
                <a:extLst>
                  <a:ext uri="{FF2B5EF4-FFF2-40B4-BE49-F238E27FC236}">
                    <a16:creationId xmlns:a16="http://schemas.microsoft.com/office/drawing/2014/main" id="{CBC3339B-6805-4158-BA5C-DACE7DC9A0FB}"/>
                  </a:ext>
                </a:extLst>
              </p:cNvPr>
              <p:cNvGrpSpPr/>
              <p:nvPr/>
            </p:nvGrpSpPr>
            <p:grpSpPr>
              <a:xfrm>
                <a:off x="7158593" y="2035363"/>
                <a:ext cx="1287093" cy="2080840"/>
                <a:chOff x="2290369" y="3333262"/>
                <a:chExt cx="965320" cy="1560630"/>
              </a:xfrm>
              <a:solidFill>
                <a:schemeClr val="accent4"/>
              </a:solidFill>
            </p:grpSpPr>
            <p:sp>
              <p:nvSpPr>
                <p:cNvPr id="29" name="îs1ídè">
                  <a:extLst>
                    <a:ext uri="{FF2B5EF4-FFF2-40B4-BE49-F238E27FC236}">
                      <a16:creationId xmlns:a16="http://schemas.microsoft.com/office/drawing/2014/main" id="{59313979-057B-48C4-93D3-D659FAFB8691}"/>
                    </a:ext>
                  </a:extLst>
                </p:cNvPr>
                <p:cNvSpPr/>
                <p:nvPr/>
              </p:nvSpPr>
              <p:spPr>
                <a:xfrm rot="2401885">
                  <a:off x="2290369" y="3520534"/>
                  <a:ext cx="345906" cy="1373358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30" name="iṥḷiḍé">
                  <a:extLst>
                    <a:ext uri="{FF2B5EF4-FFF2-40B4-BE49-F238E27FC236}">
                      <a16:creationId xmlns:a16="http://schemas.microsoft.com/office/drawing/2014/main" id="{05155CC5-E8AD-4AF3-9330-5D2AE1BD3A0A}"/>
                    </a:ext>
                  </a:extLst>
                </p:cNvPr>
                <p:cNvSpPr/>
                <p:nvPr/>
              </p:nvSpPr>
              <p:spPr>
                <a:xfrm rot="18601885">
                  <a:off x="2527809" y="3333262"/>
                  <a:ext cx="727880" cy="727880"/>
                </a:xfrm>
                <a:prstGeom prst="chevron">
                  <a:avLst/>
                </a:prstGeom>
                <a:solidFill>
                  <a:schemeClr val="accent2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/>
                </a:p>
              </p:txBody>
            </p:sp>
          </p:grpSp>
          <p:grpSp>
            <p:nvGrpSpPr>
              <p:cNvPr id="21" name="îş1ïḋê">
                <a:extLst>
                  <a:ext uri="{FF2B5EF4-FFF2-40B4-BE49-F238E27FC236}">
                    <a16:creationId xmlns:a16="http://schemas.microsoft.com/office/drawing/2014/main" id="{77A2037A-FF05-4A89-B3DE-1051A5AD22CB}"/>
                  </a:ext>
                </a:extLst>
              </p:cNvPr>
              <p:cNvGrpSpPr/>
              <p:nvPr/>
            </p:nvGrpSpPr>
            <p:grpSpPr>
              <a:xfrm>
                <a:off x="8562603" y="1476563"/>
                <a:ext cx="1287093" cy="2080840"/>
                <a:chOff x="2290369" y="3333262"/>
                <a:chExt cx="965320" cy="1560630"/>
              </a:xfrm>
              <a:solidFill>
                <a:schemeClr val="accent5"/>
              </a:solidFill>
            </p:grpSpPr>
            <p:sp>
              <p:nvSpPr>
                <p:cNvPr id="27" name="ïṩliḑé">
                  <a:extLst>
                    <a:ext uri="{FF2B5EF4-FFF2-40B4-BE49-F238E27FC236}">
                      <a16:creationId xmlns:a16="http://schemas.microsoft.com/office/drawing/2014/main" id="{DB053B07-1ABC-43D9-8C5B-5E3B478ADC72}"/>
                    </a:ext>
                  </a:extLst>
                </p:cNvPr>
                <p:cNvSpPr/>
                <p:nvPr/>
              </p:nvSpPr>
              <p:spPr>
                <a:xfrm rot="2401885">
                  <a:off x="2290369" y="3520534"/>
                  <a:ext cx="345906" cy="1373358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8" name="ísḻídè">
                  <a:extLst>
                    <a:ext uri="{FF2B5EF4-FFF2-40B4-BE49-F238E27FC236}">
                      <a16:creationId xmlns:a16="http://schemas.microsoft.com/office/drawing/2014/main" id="{0BF04279-B6DB-4997-B47B-C2DB1F271039}"/>
                    </a:ext>
                  </a:extLst>
                </p:cNvPr>
                <p:cNvSpPr/>
                <p:nvPr/>
              </p:nvSpPr>
              <p:spPr>
                <a:xfrm rot="18601885">
                  <a:off x="2527809" y="3333262"/>
                  <a:ext cx="727880" cy="727880"/>
                </a:xfrm>
                <a:prstGeom prst="chevron">
                  <a:avLst/>
                </a:prstGeom>
                <a:solidFill>
                  <a:schemeClr val="accent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/>
                </a:p>
              </p:txBody>
            </p:sp>
          </p:grpSp>
          <p:sp>
            <p:nvSpPr>
              <p:cNvPr id="22" name="îšḷîḋe">
                <a:extLst>
                  <a:ext uri="{FF2B5EF4-FFF2-40B4-BE49-F238E27FC236}">
                    <a16:creationId xmlns:a16="http://schemas.microsoft.com/office/drawing/2014/main" id="{ACEDE87C-C13E-4B1E-B6AB-03EFBB748552}"/>
                  </a:ext>
                </a:extLst>
              </p:cNvPr>
              <p:cNvSpPr txBox="1"/>
              <p:nvPr/>
            </p:nvSpPr>
            <p:spPr>
              <a:xfrm rot="18588491">
                <a:off x="2354301" y="4706176"/>
                <a:ext cx="1617751" cy="379656"/>
              </a:xfrm>
              <a:prstGeom prst="rect">
                <a:avLst/>
              </a:prstGeom>
              <a:noFill/>
            </p:spPr>
            <p:txBody>
              <a:bodyPr wrap="square" anchor="ctr">
                <a:normAutofit/>
              </a:bodyPr>
              <a:lstStyle/>
              <a:p>
                <a:pPr algn="ctr"/>
                <a:r>
                  <a:rPr lang="zh-CN" altLang="en-US" sz="1400" dirty="0">
                    <a:solidFill>
                      <a:schemeClr val="bg1"/>
                    </a:solidFill>
                  </a:rPr>
                  <a:t>最低看场人数</a:t>
                </a:r>
              </a:p>
            </p:txBody>
          </p:sp>
          <p:sp>
            <p:nvSpPr>
              <p:cNvPr id="23" name="îṣḷiďé">
                <a:extLst>
                  <a:ext uri="{FF2B5EF4-FFF2-40B4-BE49-F238E27FC236}">
                    <a16:creationId xmlns:a16="http://schemas.microsoft.com/office/drawing/2014/main" id="{0A463F19-664C-4F8D-A17B-B196531AB194}"/>
                  </a:ext>
                </a:extLst>
              </p:cNvPr>
              <p:cNvSpPr txBox="1"/>
              <p:nvPr/>
            </p:nvSpPr>
            <p:spPr>
              <a:xfrm rot="18588491">
                <a:off x="3761136" y="4147376"/>
                <a:ext cx="1617751" cy="379656"/>
              </a:xfrm>
              <a:prstGeom prst="rect">
                <a:avLst/>
              </a:prstGeom>
              <a:noFill/>
            </p:spPr>
            <p:txBody>
              <a:bodyPr wrap="square" anchor="ctr">
                <a:normAutofit/>
              </a:bodyPr>
              <a:lstStyle/>
              <a:p>
                <a:pPr algn="ctr"/>
                <a:r>
                  <a:rPr lang="zh-CN" altLang="en-US" sz="1400" dirty="0">
                    <a:solidFill>
                      <a:schemeClr val="bg1"/>
                    </a:solidFill>
                  </a:rPr>
                  <a:t>人员休息天数</a:t>
                </a:r>
              </a:p>
            </p:txBody>
          </p:sp>
          <p:sp>
            <p:nvSpPr>
              <p:cNvPr id="24" name="ïšļïḑè">
                <a:extLst>
                  <a:ext uri="{FF2B5EF4-FFF2-40B4-BE49-F238E27FC236}">
                    <a16:creationId xmlns:a16="http://schemas.microsoft.com/office/drawing/2014/main" id="{6242ABD4-2EA7-4641-A5F3-59BF4465EF98}"/>
                  </a:ext>
                </a:extLst>
              </p:cNvPr>
              <p:cNvSpPr txBox="1"/>
              <p:nvPr/>
            </p:nvSpPr>
            <p:spPr>
              <a:xfrm rot="18588491">
                <a:off x="5166602" y="3588576"/>
                <a:ext cx="1617751" cy="379656"/>
              </a:xfrm>
              <a:prstGeom prst="rect">
                <a:avLst/>
              </a:prstGeom>
              <a:noFill/>
            </p:spPr>
            <p:txBody>
              <a:bodyPr wrap="square" anchor="ctr">
                <a:normAutofit/>
              </a:bodyPr>
              <a:lstStyle/>
              <a:p>
                <a:pPr algn="ctr"/>
                <a:r>
                  <a:rPr lang="zh-CN" altLang="en-US" sz="1400" dirty="0">
                    <a:solidFill>
                      <a:schemeClr val="bg1"/>
                    </a:solidFill>
                  </a:rPr>
                  <a:t>男女区域分开</a:t>
                </a:r>
              </a:p>
            </p:txBody>
          </p:sp>
          <p:sp>
            <p:nvSpPr>
              <p:cNvPr id="25" name="ïṩľidé">
                <a:extLst>
                  <a:ext uri="{FF2B5EF4-FFF2-40B4-BE49-F238E27FC236}">
                    <a16:creationId xmlns:a16="http://schemas.microsoft.com/office/drawing/2014/main" id="{20D80160-A339-4405-AC07-A54EF1C9D1DC}"/>
                  </a:ext>
                </a:extLst>
              </p:cNvPr>
              <p:cNvSpPr txBox="1"/>
              <p:nvPr/>
            </p:nvSpPr>
            <p:spPr>
              <a:xfrm rot="18588491">
                <a:off x="6587121" y="3012842"/>
                <a:ext cx="1617751" cy="379656"/>
              </a:xfrm>
              <a:prstGeom prst="rect">
                <a:avLst/>
              </a:prstGeom>
              <a:noFill/>
            </p:spPr>
            <p:txBody>
              <a:bodyPr wrap="square" anchor="ctr">
                <a:normAutofit/>
              </a:bodyPr>
              <a:lstStyle/>
              <a:p>
                <a:pPr algn="ctr"/>
                <a:r>
                  <a:rPr lang="zh-CN" altLang="en-US" sz="1400" dirty="0">
                    <a:solidFill>
                      <a:schemeClr val="bg1"/>
                    </a:solidFill>
                  </a:rPr>
                  <a:t>按月输出安排</a:t>
                </a:r>
              </a:p>
            </p:txBody>
          </p:sp>
          <p:sp>
            <p:nvSpPr>
              <p:cNvPr id="26" name="iṥḷidé">
                <a:extLst>
                  <a:ext uri="{FF2B5EF4-FFF2-40B4-BE49-F238E27FC236}">
                    <a16:creationId xmlns:a16="http://schemas.microsoft.com/office/drawing/2014/main" id="{2F089B6C-6CD6-48DB-9C7F-CACC1930E478}"/>
                  </a:ext>
                </a:extLst>
              </p:cNvPr>
              <p:cNvSpPr txBox="1"/>
              <p:nvPr/>
            </p:nvSpPr>
            <p:spPr>
              <a:xfrm rot="18588491">
                <a:off x="7994469" y="2454042"/>
                <a:ext cx="1617751" cy="379656"/>
              </a:xfrm>
              <a:prstGeom prst="rect">
                <a:avLst/>
              </a:prstGeom>
              <a:noFill/>
            </p:spPr>
            <p:txBody>
              <a:bodyPr wrap="square" anchor="ctr">
                <a:normAutofit/>
              </a:bodyPr>
              <a:lstStyle/>
              <a:p>
                <a:pPr algn="ctr"/>
                <a:r>
                  <a:rPr lang="zh-CN" altLang="en-US" sz="1400" dirty="0">
                    <a:solidFill>
                      <a:schemeClr val="bg1"/>
                    </a:solidFill>
                  </a:rPr>
                  <a:t>早中晚班时间</a:t>
                </a:r>
              </a:p>
            </p:txBody>
          </p:sp>
        </p:grpSp>
        <p:sp>
          <p:nvSpPr>
            <p:cNvPr id="7" name="íś1ïḓe">
              <a:extLst>
                <a:ext uri="{FF2B5EF4-FFF2-40B4-BE49-F238E27FC236}">
                  <a16:creationId xmlns:a16="http://schemas.microsoft.com/office/drawing/2014/main" id="{0431F1E7-B475-44A1-8484-C90325BA3307}"/>
                </a:ext>
              </a:extLst>
            </p:cNvPr>
            <p:cNvSpPr txBox="1"/>
            <p:nvPr/>
          </p:nvSpPr>
          <p:spPr bwMode="auto">
            <a:xfrm>
              <a:off x="852840" y="3786115"/>
              <a:ext cx="2046215" cy="867359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/>
            <a:p>
              <a:pPr lvl="0" algn="r">
                <a:lnSpc>
                  <a:spcPct val="150000"/>
                </a:lnSpc>
                <a:buSzPct val="25000"/>
                <a:defRPr/>
              </a:pPr>
              <a:r>
                <a:rPr lang="zh-CN" altLang="en-US" sz="1400" dirty="0"/>
                <a:t>早晚班最低看场人数</a:t>
              </a:r>
              <a:endParaRPr lang="en-US" altLang="zh-CN" sz="1400" dirty="0"/>
            </a:p>
            <a:p>
              <a:pPr lvl="0" algn="r">
                <a:lnSpc>
                  <a:spcPct val="150000"/>
                </a:lnSpc>
                <a:buSzPct val="25000"/>
                <a:defRPr/>
              </a:pPr>
              <a:r>
                <a:rPr lang="zh-CN" altLang="en-US" sz="1200" dirty="0"/>
                <a:t>可以自行调整</a:t>
              </a:r>
              <a:endParaRPr lang="en-US" altLang="zh-CN" sz="1200" dirty="0"/>
            </a:p>
          </p:txBody>
        </p:sp>
        <p:sp>
          <p:nvSpPr>
            <p:cNvPr id="8" name="îśľïḑê">
              <a:extLst>
                <a:ext uri="{FF2B5EF4-FFF2-40B4-BE49-F238E27FC236}">
                  <a16:creationId xmlns:a16="http://schemas.microsoft.com/office/drawing/2014/main" id="{86FE5C2F-AB74-4D75-ABA1-2C01312DC9A3}"/>
                </a:ext>
              </a:extLst>
            </p:cNvPr>
            <p:cNvSpPr txBox="1"/>
            <p:nvPr/>
          </p:nvSpPr>
          <p:spPr bwMode="auto">
            <a:xfrm>
              <a:off x="4337510" y="4540824"/>
              <a:ext cx="2046215" cy="867359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/>
            <a:p>
              <a:pPr lvl="0">
                <a:lnSpc>
                  <a:spcPct val="150000"/>
                </a:lnSpc>
                <a:buSzPct val="25000"/>
                <a:defRPr/>
              </a:pPr>
              <a:r>
                <a:rPr lang="zh-CN" altLang="en-US" sz="1400" dirty="0"/>
                <a:t>人员每月休息天数</a:t>
              </a:r>
              <a:endParaRPr lang="en-US" altLang="zh-CN" sz="1400" dirty="0"/>
            </a:p>
            <a:p>
              <a:pPr lvl="0">
                <a:lnSpc>
                  <a:spcPct val="150000"/>
                </a:lnSpc>
                <a:buSzPct val="25000"/>
                <a:defRPr/>
              </a:pPr>
              <a:r>
                <a:rPr lang="zh-CN" altLang="en-US" sz="1200" dirty="0"/>
                <a:t>可以自行修改</a:t>
              </a:r>
              <a:endParaRPr lang="en-US" altLang="zh-CN" sz="1200" dirty="0"/>
            </a:p>
          </p:txBody>
        </p:sp>
        <p:sp>
          <p:nvSpPr>
            <p:cNvPr id="9" name="ïŝļïḍé">
              <a:extLst>
                <a:ext uri="{FF2B5EF4-FFF2-40B4-BE49-F238E27FC236}">
                  <a16:creationId xmlns:a16="http://schemas.microsoft.com/office/drawing/2014/main" id="{4D840AD8-82D2-4BB6-9CEB-8BF5C2E28FC4}"/>
                </a:ext>
              </a:extLst>
            </p:cNvPr>
            <p:cNvSpPr txBox="1"/>
            <p:nvPr/>
          </p:nvSpPr>
          <p:spPr bwMode="auto">
            <a:xfrm>
              <a:off x="7468268" y="3427833"/>
              <a:ext cx="2373607" cy="867359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/>
            <a:p>
              <a:pPr lvl="0">
                <a:lnSpc>
                  <a:spcPct val="150000"/>
                </a:lnSpc>
                <a:buSzPct val="25000"/>
                <a:defRPr/>
              </a:pPr>
              <a:r>
                <a:rPr lang="zh-CN" altLang="en-US" sz="1100" dirty="0"/>
                <a:t>按月输出，整月的人员安排</a:t>
              </a:r>
              <a:endParaRPr lang="en-US" altLang="zh-CN" sz="1100" dirty="0"/>
            </a:p>
            <a:p>
              <a:pPr lvl="0">
                <a:lnSpc>
                  <a:spcPct val="150000"/>
                </a:lnSpc>
                <a:buSzPct val="25000"/>
                <a:defRPr/>
              </a:pPr>
              <a:r>
                <a:rPr lang="zh-CN" altLang="en-US" sz="1100" dirty="0"/>
                <a:t>并且保证相对公平 </a:t>
              </a:r>
              <a:endParaRPr lang="en-US" altLang="zh-CN" sz="1100" dirty="0"/>
            </a:p>
          </p:txBody>
        </p:sp>
        <p:sp>
          <p:nvSpPr>
            <p:cNvPr id="10" name="ïṥļîḍé">
              <a:extLst>
                <a:ext uri="{FF2B5EF4-FFF2-40B4-BE49-F238E27FC236}">
                  <a16:creationId xmlns:a16="http://schemas.microsoft.com/office/drawing/2014/main" id="{EA555B6C-4DED-4522-9D11-848D9E1D6836}"/>
                </a:ext>
              </a:extLst>
            </p:cNvPr>
            <p:cNvSpPr txBox="1"/>
            <p:nvPr/>
          </p:nvSpPr>
          <p:spPr bwMode="auto">
            <a:xfrm>
              <a:off x="3664220" y="2199926"/>
              <a:ext cx="2046215" cy="867359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/>
            <a:p>
              <a:pPr lvl="0" algn="r">
                <a:lnSpc>
                  <a:spcPct val="150000"/>
                </a:lnSpc>
                <a:buSzPct val="25000"/>
                <a:defRPr/>
              </a:pPr>
              <a:r>
                <a:rPr lang="zh-CN" altLang="en-US" sz="1400" dirty="0"/>
                <a:t>根据门店实际情况</a:t>
              </a:r>
              <a:endParaRPr lang="en-US" altLang="zh-CN" sz="1400" dirty="0"/>
            </a:p>
            <a:p>
              <a:pPr lvl="0" algn="r">
                <a:lnSpc>
                  <a:spcPct val="150000"/>
                </a:lnSpc>
                <a:buSzPct val="25000"/>
                <a:defRPr/>
              </a:pPr>
              <a:r>
                <a:rPr lang="zh-CN" altLang="en-US" sz="1200" dirty="0"/>
                <a:t>男女区域可分开</a:t>
              </a:r>
              <a:endParaRPr lang="en-US" altLang="zh-CN" sz="1200" dirty="0"/>
            </a:p>
          </p:txBody>
        </p:sp>
        <p:sp>
          <p:nvSpPr>
            <p:cNvPr id="11" name="ïṥḻiḑé">
              <a:extLst>
                <a:ext uri="{FF2B5EF4-FFF2-40B4-BE49-F238E27FC236}">
                  <a16:creationId xmlns:a16="http://schemas.microsoft.com/office/drawing/2014/main" id="{D5699305-45D5-41DF-9EA4-D2EB05492B94}"/>
                </a:ext>
              </a:extLst>
            </p:cNvPr>
            <p:cNvSpPr txBox="1"/>
            <p:nvPr/>
          </p:nvSpPr>
          <p:spPr bwMode="auto">
            <a:xfrm>
              <a:off x="6778789" y="1135788"/>
              <a:ext cx="2046215" cy="867359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/>
            <a:p>
              <a:r>
                <a:rPr lang="zh-CN" altLang="en-US" sz="1400" dirty="0"/>
                <a:t>早中晚班时间点的确认</a:t>
              </a:r>
              <a:endParaRPr lang="en-US" altLang="zh-CN" sz="1400" dirty="0"/>
            </a:p>
            <a:p>
              <a:pPr algn="r"/>
              <a:r>
                <a:rPr lang="zh-CN" altLang="en-US" sz="1200" dirty="0"/>
                <a:t>可以根据店铺需求调整</a:t>
              </a:r>
              <a:endParaRPr lang="en-US" altLang="zh-CN" sz="1200" dirty="0"/>
            </a:p>
          </p:txBody>
        </p:sp>
        <p:sp>
          <p:nvSpPr>
            <p:cNvPr id="12" name="iṩľiḑé">
              <a:extLst>
                <a:ext uri="{FF2B5EF4-FFF2-40B4-BE49-F238E27FC236}">
                  <a16:creationId xmlns:a16="http://schemas.microsoft.com/office/drawing/2014/main" id="{C9D7E793-4F36-485C-9D7E-DE4AB9B40A41}"/>
                </a:ext>
              </a:extLst>
            </p:cNvPr>
            <p:cNvSpPr/>
            <p:nvPr/>
          </p:nvSpPr>
          <p:spPr bwMode="auto">
            <a:xfrm>
              <a:off x="3473341" y="3952875"/>
              <a:ext cx="265218" cy="327998"/>
            </a:xfrm>
            <a:custGeom>
              <a:avLst/>
              <a:gdLst>
                <a:gd name="connsiteX0" fmla="*/ 201287 w 427734"/>
                <a:gd name="connsiteY0" fmla="*/ 225789 h 528982"/>
                <a:gd name="connsiteX1" fmla="*/ 201287 w 427734"/>
                <a:gd name="connsiteY1" fmla="*/ 255858 h 528982"/>
                <a:gd name="connsiteX2" fmla="*/ 148449 w 427734"/>
                <a:gd name="connsiteY2" fmla="*/ 300961 h 528982"/>
                <a:gd name="connsiteX3" fmla="*/ 201287 w 427734"/>
                <a:gd name="connsiteY3" fmla="*/ 351076 h 528982"/>
                <a:gd name="connsiteX4" fmla="*/ 231480 w 427734"/>
                <a:gd name="connsiteY4" fmla="*/ 371121 h 528982"/>
                <a:gd name="connsiteX5" fmla="*/ 203803 w 427734"/>
                <a:gd name="connsiteY5" fmla="*/ 383650 h 528982"/>
                <a:gd name="connsiteX6" fmla="*/ 155997 w 427734"/>
                <a:gd name="connsiteY6" fmla="*/ 371121 h 528982"/>
                <a:gd name="connsiteX7" fmla="*/ 145933 w 427734"/>
                <a:gd name="connsiteY7" fmla="*/ 403696 h 528982"/>
                <a:gd name="connsiteX8" fmla="*/ 198771 w 427734"/>
                <a:gd name="connsiteY8" fmla="*/ 418730 h 528982"/>
                <a:gd name="connsiteX9" fmla="*/ 198771 w 427734"/>
                <a:gd name="connsiteY9" fmla="*/ 446293 h 528982"/>
                <a:gd name="connsiteX10" fmla="*/ 228964 w 427734"/>
                <a:gd name="connsiteY10" fmla="*/ 446293 h 528982"/>
                <a:gd name="connsiteX11" fmla="*/ 228964 w 427734"/>
                <a:gd name="connsiteY11" fmla="*/ 416224 h 528982"/>
                <a:gd name="connsiteX12" fmla="*/ 281801 w 427734"/>
                <a:gd name="connsiteY12" fmla="*/ 368616 h 528982"/>
                <a:gd name="connsiteX13" fmla="*/ 231480 w 427734"/>
                <a:gd name="connsiteY13" fmla="*/ 318501 h 528982"/>
                <a:gd name="connsiteX14" fmla="*/ 201287 w 427734"/>
                <a:gd name="connsiteY14" fmla="*/ 298455 h 528982"/>
                <a:gd name="connsiteX15" fmla="*/ 223932 w 427734"/>
                <a:gd name="connsiteY15" fmla="*/ 288432 h 528982"/>
                <a:gd name="connsiteX16" fmla="*/ 264189 w 427734"/>
                <a:gd name="connsiteY16" fmla="*/ 298455 h 528982"/>
                <a:gd name="connsiteX17" fmla="*/ 274253 w 427734"/>
                <a:gd name="connsiteY17" fmla="*/ 265881 h 528982"/>
                <a:gd name="connsiteX18" fmla="*/ 231480 w 427734"/>
                <a:gd name="connsiteY18" fmla="*/ 255858 h 528982"/>
                <a:gd name="connsiteX19" fmla="*/ 231480 w 427734"/>
                <a:gd name="connsiteY19" fmla="*/ 225789 h 528982"/>
                <a:gd name="connsiteX20" fmla="*/ 201287 w 427734"/>
                <a:gd name="connsiteY20" fmla="*/ 225789 h 528982"/>
                <a:gd name="connsiteX21" fmla="*/ 95611 w 427734"/>
                <a:gd name="connsiteY21" fmla="*/ 163146 h 528982"/>
                <a:gd name="connsiteX22" fmla="*/ 332123 w 427734"/>
                <a:gd name="connsiteY22" fmla="*/ 163146 h 528982"/>
                <a:gd name="connsiteX23" fmla="*/ 427734 w 427734"/>
                <a:gd name="connsiteY23" fmla="*/ 328524 h 528982"/>
                <a:gd name="connsiteX24" fmla="*/ 415154 w 427734"/>
                <a:gd name="connsiteY24" fmla="*/ 401190 h 528982"/>
                <a:gd name="connsiteX25" fmla="*/ 407606 w 427734"/>
                <a:gd name="connsiteY25" fmla="*/ 416224 h 528982"/>
                <a:gd name="connsiteX26" fmla="*/ 397541 w 427734"/>
                <a:gd name="connsiteY26" fmla="*/ 451305 h 528982"/>
                <a:gd name="connsiteX27" fmla="*/ 402573 w 427734"/>
                <a:gd name="connsiteY27" fmla="*/ 503925 h 528982"/>
                <a:gd name="connsiteX28" fmla="*/ 319543 w 427734"/>
                <a:gd name="connsiteY28" fmla="*/ 518959 h 528982"/>
                <a:gd name="connsiteX29" fmla="*/ 276769 w 427734"/>
                <a:gd name="connsiteY29" fmla="*/ 518959 h 528982"/>
                <a:gd name="connsiteX30" fmla="*/ 213867 w 427734"/>
                <a:gd name="connsiteY30" fmla="*/ 528982 h 528982"/>
                <a:gd name="connsiteX31" fmla="*/ 153481 w 427734"/>
                <a:gd name="connsiteY31" fmla="*/ 518959 h 528982"/>
                <a:gd name="connsiteX32" fmla="*/ 108192 w 427734"/>
                <a:gd name="connsiteY32" fmla="*/ 518959 h 528982"/>
                <a:gd name="connsiteX33" fmla="*/ 25161 w 427734"/>
                <a:gd name="connsiteY33" fmla="*/ 503925 h 528982"/>
                <a:gd name="connsiteX34" fmla="*/ 30193 w 427734"/>
                <a:gd name="connsiteY34" fmla="*/ 448799 h 528982"/>
                <a:gd name="connsiteX35" fmla="*/ 22644 w 427734"/>
                <a:gd name="connsiteY35" fmla="*/ 416224 h 528982"/>
                <a:gd name="connsiteX36" fmla="*/ 0 w 427734"/>
                <a:gd name="connsiteY36" fmla="*/ 328524 h 528982"/>
                <a:gd name="connsiteX37" fmla="*/ 95611 w 427734"/>
                <a:gd name="connsiteY37" fmla="*/ 163146 h 528982"/>
                <a:gd name="connsiteX38" fmla="*/ 213868 w 427734"/>
                <a:gd name="connsiteY38" fmla="*/ 0 h 528982"/>
                <a:gd name="connsiteX39" fmla="*/ 271721 w 427734"/>
                <a:gd name="connsiteY39" fmla="*/ 55307 h 528982"/>
                <a:gd name="connsiteX40" fmla="*/ 344666 w 427734"/>
                <a:gd name="connsiteY40" fmla="*/ 42737 h 528982"/>
                <a:gd name="connsiteX41" fmla="*/ 314482 w 427734"/>
                <a:gd name="connsiteY41" fmla="*/ 130726 h 528982"/>
                <a:gd name="connsiteX42" fmla="*/ 113254 w 427734"/>
                <a:gd name="connsiteY42" fmla="*/ 130726 h 528982"/>
                <a:gd name="connsiteX43" fmla="*/ 85586 w 427734"/>
                <a:gd name="connsiteY43" fmla="*/ 42737 h 528982"/>
                <a:gd name="connsiteX44" fmla="*/ 156015 w 427734"/>
                <a:gd name="connsiteY44" fmla="*/ 55307 h 528982"/>
                <a:gd name="connsiteX45" fmla="*/ 213868 w 427734"/>
                <a:gd name="connsiteY45" fmla="*/ 0 h 528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427734" h="528982">
                  <a:moveTo>
                    <a:pt x="201287" y="225789"/>
                  </a:moveTo>
                  <a:cubicBezTo>
                    <a:pt x="201287" y="225789"/>
                    <a:pt x="201287" y="225789"/>
                    <a:pt x="201287" y="255858"/>
                  </a:cubicBezTo>
                  <a:cubicBezTo>
                    <a:pt x="168578" y="260870"/>
                    <a:pt x="148449" y="278410"/>
                    <a:pt x="148449" y="300961"/>
                  </a:cubicBezTo>
                  <a:cubicBezTo>
                    <a:pt x="148449" y="326018"/>
                    <a:pt x="163546" y="338547"/>
                    <a:pt x="201287" y="351076"/>
                  </a:cubicBezTo>
                  <a:cubicBezTo>
                    <a:pt x="226448" y="358593"/>
                    <a:pt x="231480" y="363604"/>
                    <a:pt x="231480" y="371121"/>
                  </a:cubicBezTo>
                  <a:cubicBezTo>
                    <a:pt x="231480" y="378639"/>
                    <a:pt x="218899" y="383650"/>
                    <a:pt x="203803" y="383650"/>
                  </a:cubicBezTo>
                  <a:cubicBezTo>
                    <a:pt x="188706" y="383650"/>
                    <a:pt x="166062" y="376133"/>
                    <a:pt x="155997" y="371121"/>
                  </a:cubicBezTo>
                  <a:cubicBezTo>
                    <a:pt x="155997" y="371121"/>
                    <a:pt x="155997" y="371121"/>
                    <a:pt x="145933" y="403696"/>
                  </a:cubicBezTo>
                  <a:cubicBezTo>
                    <a:pt x="158513" y="411213"/>
                    <a:pt x="178642" y="416224"/>
                    <a:pt x="198771" y="418730"/>
                  </a:cubicBezTo>
                  <a:cubicBezTo>
                    <a:pt x="198771" y="418730"/>
                    <a:pt x="198771" y="418730"/>
                    <a:pt x="198771" y="446293"/>
                  </a:cubicBezTo>
                  <a:cubicBezTo>
                    <a:pt x="198771" y="446293"/>
                    <a:pt x="198771" y="446293"/>
                    <a:pt x="228964" y="446293"/>
                  </a:cubicBezTo>
                  <a:lnTo>
                    <a:pt x="228964" y="416224"/>
                  </a:lnTo>
                  <a:cubicBezTo>
                    <a:pt x="264189" y="411213"/>
                    <a:pt x="281801" y="391167"/>
                    <a:pt x="281801" y="368616"/>
                  </a:cubicBezTo>
                  <a:cubicBezTo>
                    <a:pt x="281801" y="346064"/>
                    <a:pt x="269221" y="331030"/>
                    <a:pt x="231480" y="318501"/>
                  </a:cubicBezTo>
                  <a:cubicBezTo>
                    <a:pt x="203803" y="310984"/>
                    <a:pt x="201287" y="305973"/>
                    <a:pt x="201287" y="298455"/>
                  </a:cubicBezTo>
                  <a:cubicBezTo>
                    <a:pt x="201287" y="290938"/>
                    <a:pt x="211351" y="288432"/>
                    <a:pt x="223932" y="288432"/>
                  </a:cubicBezTo>
                  <a:cubicBezTo>
                    <a:pt x="241544" y="288432"/>
                    <a:pt x="256641" y="293444"/>
                    <a:pt x="264189" y="298455"/>
                  </a:cubicBezTo>
                  <a:cubicBezTo>
                    <a:pt x="264189" y="298455"/>
                    <a:pt x="264189" y="298455"/>
                    <a:pt x="274253" y="265881"/>
                  </a:cubicBezTo>
                  <a:cubicBezTo>
                    <a:pt x="266705" y="260870"/>
                    <a:pt x="249092" y="255858"/>
                    <a:pt x="231480" y="255858"/>
                  </a:cubicBezTo>
                  <a:cubicBezTo>
                    <a:pt x="231480" y="255858"/>
                    <a:pt x="231480" y="255858"/>
                    <a:pt x="231480" y="225789"/>
                  </a:cubicBezTo>
                  <a:cubicBezTo>
                    <a:pt x="231480" y="225789"/>
                    <a:pt x="231480" y="225789"/>
                    <a:pt x="201287" y="225789"/>
                  </a:cubicBezTo>
                  <a:close/>
                  <a:moveTo>
                    <a:pt x="95611" y="163146"/>
                  </a:moveTo>
                  <a:cubicBezTo>
                    <a:pt x="95611" y="163146"/>
                    <a:pt x="95611" y="163146"/>
                    <a:pt x="332123" y="163146"/>
                  </a:cubicBezTo>
                  <a:cubicBezTo>
                    <a:pt x="389993" y="198226"/>
                    <a:pt x="427734" y="260870"/>
                    <a:pt x="427734" y="328524"/>
                  </a:cubicBezTo>
                  <a:cubicBezTo>
                    <a:pt x="427734" y="353581"/>
                    <a:pt x="422702" y="378639"/>
                    <a:pt x="415154" y="401190"/>
                  </a:cubicBezTo>
                  <a:cubicBezTo>
                    <a:pt x="415154" y="401190"/>
                    <a:pt x="410122" y="411213"/>
                    <a:pt x="407606" y="416224"/>
                  </a:cubicBezTo>
                  <a:cubicBezTo>
                    <a:pt x="402573" y="428753"/>
                    <a:pt x="395025" y="446293"/>
                    <a:pt x="397541" y="451305"/>
                  </a:cubicBezTo>
                  <a:cubicBezTo>
                    <a:pt x="410122" y="468845"/>
                    <a:pt x="410122" y="488890"/>
                    <a:pt x="402573" y="503925"/>
                  </a:cubicBezTo>
                  <a:cubicBezTo>
                    <a:pt x="387477" y="528982"/>
                    <a:pt x="352252" y="536499"/>
                    <a:pt x="319543" y="518959"/>
                  </a:cubicBezTo>
                  <a:cubicBezTo>
                    <a:pt x="314511" y="516453"/>
                    <a:pt x="299414" y="513948"/>
                    <a:pt x="276769" y="518959"/>
                  </a:cubicBezTo>
                  <a:cubicBezTo>
                    <a:pt x="256641" y="523971"/>
                    <a:pt x="236512" y="528982"/>
                    <a:pt x="213867" y="528982"/>
                  </a:cubicBezTo>
                  <a:cubicBezTo>
                    <a:pt x="193739" y="528982"/>
                    <a:pt x="173610" y="523971"/>
                    <a:pt x="153481" y="518959"/>
                  </a:cubicBezTo>
                  <a:cubicBezTo>
                    <a:pt x="125804" y="511442"/>
                    <a:pt x="108192" y="518959"/>
                    <a:pt x="108192" y="518959"/>
                  </a:cubicBezTo>
                  <a:cubicBezTo>
                    <a:pt x="75483" y="533994"/>
                    <a:pt x="40257" y="528982"/>
                    <a:pt x="25161" y="503925"/>
                  </a:cubicBezTo>
                  <a:cubicBezTo>
                    <a:pt x="17612" y="486385"/>
                    <a:pt x="20128" y="466339"/>
                    <a:pt x="30193" y="448799"/>
                  </a:cubicBezTo>
                  <a:cubicBezTo>
                    <a:pt x="32709" y="443787"/>
                    <a:pt x="27677" y="428753"/>
                    <a:pt x="22644" y="416224"/>
                  </a:cubicBezTo>
                  <a:cubicBezTo>
                    <a:pt x="7548" y="391167"/>
                    <a:pt x="0" y="361099"/>
                    <a:pt x="0" y="328524"/>
                  </a:cubicBezTo>
                  <a:cubicBezTo>
                    <a:pt x="0" y="260870"/>
                    <a:pt x="37741" y="198226"/>
                    <a:pt x="95611" y="163146"/>
                  </a:cubicBezTo>
                  <a:close/>
                  <a:moveTo>
                    <a:pt x="213868" y="0"/>
                  </a:moveTo>
                  <a:cubicBezTo>
                    <a:pt x="241537" y="0"/>
                    <a:pt x="264175" y="22626"/>
                    <a:pt x="271721" y="55307"/>
                  </a:cubicBezTo>
                  <a:cubicBezTo>
                    <a:pt x="301905" y="35196"/>
                    <a:pt x="329574" y="30168"/>
                    <a:pt x="344666" y="42737"/>
                  </a:cubicBezTo>
                  <a:cubicBezTo>
                    <a:pt x="359758" y="60335"/>
                    <a:pt x="347182" y="100559"/>
                    <a:pt x="314482" y="130726"/>
                  </a:cubicBezTo>
                  <a:lnTo>
                    <a:pt x="113254" y="130726"/>
                  </a:lnTo>
                  <a:cubicBezTo>
                    <a:pt x="80555" y="100559"/>
                    <a:pt x="67978" y="60335"/>
                    <a:pt x="85586" y="42737"/>
                  </a:cubicBezTo>
                  <a:cubicBezTo>
                    <a:pt x="98162" y="30168"/>
                    <a:pt x="128347" y="35196"/>
                    <a:pt x="156015" y="55307"/>
                  </a:cubicBezTo>
                  <a:cubicBezTo>
                    <a:pt x="163561" y="22626"/>
                    <a:pt x="186199" y="0"/>
                    <a:pt x="213868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anchor="ctr">
              <a:noAutofit/>
            </a:bodyPr>
            <a:lstStyle/>
            <a:p>
              <a:pPr algn="ctr"/>
              <a:endParaRPr/>
            </a:p>
          </p:txBody>
        </p:sp>
        <p:sp>
          <p:nvSpPr>
            <p:cNvPr id="13" name="íS1íḋe">
              <a:extLst>
                <a:ext uri="{FF2B5EF4-FFF2-40B4-BE49-F238E27FC236}">
                  <a16:creationId xmlns:a16="http://schemas.microsoft.com/office/drawing/2014/main" id="{E28A9EC0-1BD1-4405-B32C-2ADE74B986CA}"/>
                </a:ext>
              </a:extLst>
            </p:cNvPr>
            <p:cNvSpPr/>
            <p:nvPr/>
          </p:nvSpPr>
          <p:spPr bwMode="auto">
            <a:xfrm>
              <a:off x="4967363" y="3353611"/>
              <a:ext cx="265218" cy="327998"/>
            </a:xfrm>
            <a:custGeom>
              <a:avLst/>
              <a:gdLst>
                <a:gd name="connsiteX0" fmla="*/ 201287 w 427734"/>
                <a:gd name="connsiteY0" fmla="*/ 225789 h 528982"/>
                <a:gd name="connsiteX1" fmla="*/ 201287 w 427734"/>
                <a:gd name="connsiteY1" fmla="*/ 255858 h 528982"/>
                <a:gd name="connsiteX2" fmla="*/ 148449 w 427734"/>
                <a:gd name="connsiteY2" fmla="*/ 300961 h 528982"/>
                <a:gd name="connsiteX3" fmla="*/ 201287 w 427734"/>
                <a:gd name="connsiteY3" fmla="*/ 351076 h 528982"/>
                <a:gd name="connsiteX4" fmla="*/ 231480 w 427734"/>
                <a:gd name="connsiteY4" fmla="*/ 371121 h 528982"/>
                <a:gd name="connsiteX5" fmla="*/ 203803 w 427734"/>
                <a:gd name="connsiteY5" fmla="*/ 383650 h 528982"/>
                <a:gd name="connsiteX6" fmla="*/ 155997 w 427734"/>
                <a:gd name="connsiteY6" fmla="*/ 371121 h 528982"/>
                <a:gd name="connsiteX7" fmla="*/ 145933 w 427734"/>
                <a:gd name="connsiteY7" fmla="*/ 403696 h 528982"/>
                <a:gd name="connsiteX8" fmla="*/ 198771 w 427734"/>
                <a:gd name="connsiteY8" fmla="*/ 418730 h 528982"/>
                <a:gd name="connsiteX9" fmla="*/ 198771 w 427734"/>
                <a:gd name="connsiteY9" fmla="*/ 446293 h 528982"/>
                <a:gd name="connsiteX10" fmla="*/ 228964 w 427734"/>
                <a:gd name="connsiteY10" fmla="*/ 446293 h 528982"/>
                <a:gd name="connsiteX11" fmla="*/ 228964 w 427734"/>
                <a:gd name="connsiteY11" fmla="*/ 416224 h 528982"/>
                <a:gd name="connsiteX12" fmla="*/ 281801 w 427734"/>
                <a:gd name="connsiteY12" fmla="*/ 368616 h 528982"/>
                <a:gd name="connsiteX13" fmla="*/ 231480 w 427734"/>
                <a:gd name="connsiteY13" fmla="*/ 318501 h 528982"/>
                <a:gd name="connsiteX14" fmla="*/ 201287 w 427734"/>
                <a:gd name="connsiteY14" fmla="*/ 298455 h 528982"/>
                <a:gd name="connsiteX15" fmla="*/ 223932 w 427734"/>
                <a:gd name="connsiteY15" fmla="*/ 288432 h 528982"/>
                <a:gd name="connsiteX16" fmla="*/ 264189 w 427734"/>
                <a:gd name="connsiteY16" fmla="*/ 298455 h 528982"/>
                <a:gd name="connsiteX17" fmla="*/ 274253 w 427734"/>
                <a:gd name="connsiteY17" fmla="*/ 265881 h 528982"/>
                <a:gd name="connsiteX18" fmla="*/ 231480 w 427734"/>
                <a:gd name="connsiteY18" fmla="*/ 255858 h 528982"/>
                <a:gd name="connsiteX19" fmla="*/ 231480 w 427734"/>
                <a:gd name="connsiteY19" fmla="*/ 225789 h 528982"/>
                <a:gd name="connsiteX20" fmla="*/ 201287 w 427734"/>
                <a:gd name="connsiteY20" fmla="*/ 225789 h 528982"/>
                <a:gd name="connsiteX21" fmla="*/ 95611 w 427734"/>
                <a:gd name="connsiteY21" fmla="*/ 163146 h 528982"/>
                <a:gd name="connsiteX22" fmla="*/ 332123 w 427734"/>
                <a:gd name="connsiteY22" fmla="*/ 163146 h 528982"/>
                <a:gd name="connsiteX23" fmla="*/ 427734 w 427734"/>
                <a:gd name="connsiteY23" fmla="*/ 328524 h 528982"/>
                <a:gd name="connsiteX24" fmla="*/ 415154 w 427734"/>
                <a:gd name="connsiteY24" fmla="*/ 401190 h 528982"/>
                <a:gd name="connsiteX25" fmla="*/ 407606 w 427734"/>
                <a:gd name="connsiteY25" fmla="*/ 416224 h 528982"/>
                <a:gd name="connsiteX26" fmla="*/ 397541 w 427734"/>
                <a:gd name="connsiteY26" fmla="*/ 451305 h 528982"/>
                <a:gd name="connsiteX27" fmla="*/ 402573 w 427734"/>
                <a:gd name="connsiteY27" fmla="*/ 503925 h 528982"/>
                <a:gd name="connsiteX28" fmla="*/ 319543 w 427734"/>
                <a:gd name="connsiteY28" fmla="*/ 518959 h 528982"/>
                <a:gd name="connsiteX29" fmla="*/ 276769 w 427734"/>
                <a:gd name="connsiteY29" fmla="*/ 518959 h 528982"/>
                <a:gd name="connsiteX30" fmla="*/ 213867 w 427734"/>
                <a:gd name="connsiteY30" fmla="*/ 528982 h 528982"/>
                <a:gd name="connsiteX31" fmla="*/ 153481 w 427734"/>
                <a:gd name="connsiteY31" fmla="*/ 518959 h 528982"/>
                <a:gd name="connsiteX32" fmla="*/ 108192 w 427734"/>
                <a:gd name="connsiteY32" fmla="*/ 518959 h 528982"/>
                <a:gd name="connsiteX33" fmla="*/ 25161 w 427734"/>
                <a:gd name="connsiteY33" fmla="*/ 503925 h 528982"/>
                <a:gd name="connsiteX34" fmla="*/ 30193 w 427734"/>
                <a:gd name="connsiteY34" fmla="*/ 448799 h 528982"/>
                <a:gd name="connsiteX35" fmla="*/ 22644 w 427734"/>
                <a:gd name="connsiteY35" fmla="*/ 416224 h 528982"/>
                <a:gd name="connsiteX36" fmla="*/ 0 w 427734"/>
                <a:gd name="connsiteY36" fmla="*/ 328524 h 528982"/>
                <a:gd name="connsiteX37" fmla="*/ 95611 w 427734"/>
                <a:gd name="connsiteY37" fmla="*/ 163146 h 528982"/>
                <a:gd name="connsiteX38" fmla="*/ 213868 w 427734"/>
                <a:gd name="connsiteY38" fmla="*/ 0 h 528982"/>
                <a:gd name="connsiteX39" fmla="*/ 271721 w 427734"/>
                <a:gd name="connsiteY39" fmla="*/ 55307 h 528982"/>
                <a:gd name="connsiteX40" fmla="*/ 344666 w 427734"/>
                <a:gd name="connsiteY40" fmla="*/ 42737 h 528982"/>
                <a:gd name="connsiteX41" fmla="*/ 314482 w 427734"/>
                <a:gd name="connsiteY41" fmla="*/ 130726 h 528982"/>
                <a:gd name="connsiteX42" fmla="*/ 113254 w 427734"/>
                <a:gd name="connsiteY42" fmla="*/ 130726 h 528982"/>
                <a:gd name="connsiteX43" fmla="*/ 85586 w 427734"/>
                <a:gd name="connsiteY43" fmla="*/ 42737 h 528982"/>
                <a:gd name="connsiteX44" fmla="*/ 156015 w 427734"/>
                <a:gd name="connsiteY44" fmla="*/ 55307 h 528982"/>
                <a:gd name="connsiteX45" fmla="*/ 213868 w 427734"/>
                <a:gd name="connsiteY45" fmla="*/ 0 h 528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427734" h="528982">
                  <a:moveTo>
                    <a:pt x="201287" y="225789"/>
                  </a:moveTo>
                  <a:cubicBezTo>
                    <a:pt x="201287" y="225789"/>
                    <a:pt x="201287" y="225789"/>
                    <a:pt x="201287" y="255858"/>
                  </a:cubicBezTo>
                  <a:cubicBezTo>
                    <a:pt x="168578" y="260870"/>
                    <a:pt x="148449" y="278410"/>
                    <a:pt x="148449" y="300961"/>
                  </a:cubicBezTo>
                  <a:cubicBezTo>
                    <a:pt x="148449" y="326018"/>
                    <a:pt x="163546" y="338547"/>
                    <a:pt x="201287" y="351076"/>
                  </a:cubicBezTo>
                  <a:cubicBezTo>
                    <a:pt x="226448" y="358593"/>
                    <a:pt x="231480" y="363604"/>
                    <a:pt x="231480" y="371121"/>
                  </a:cubicBezTo>
                  <a:cubicBezTo>
                    <a:pt x="231480" y="378639"/>
                    <a:pt x="218899" y="383650"/>
                    <a:pt x="203803" y="383650"/>
                  </a:cubicBezTo>
                  <a:cubicBezTo>
                    <a:pt x="188706" y="383650"/>
                    <a:pt x="166062" y="376133"/>
                    <a:pt x="155997" y="371121"/>
                  </a:cubicBezTo>
                  <a:cubicBezTo>
                    <a:pt x="155997" y="371121"/>
                    <a:pt x="155997" y="371121"/>
                    <a:pt x="145933" y="403696"/>
                  </a:cubicBezTo>
                  <a:cubicBezTo>
                    <a:pt x="158513" y="411213"/>
                    <a:pt x="178642" y="416224"/>
                    <a:pt x="198771" y="418730"/>
                  </a:cubicBezTo>
                  <a:cubicBezTo>
                    <a:pt x="198771" y="418730"/>
                    <a:pt x="198771" y="418730"/>
                    <a:pt x="198771" y="446293"/>
                  </a:cubicBezTo>
                  <a:cubicBezTo>
                    <a:pt x="198771" y="446293"/>
                    <a:pt x="198771" y="446293"/>
                    <a:pt x="228964" y="446293"/>
                  </a:cubicBezTo>
                  <a:lnTo>
                    <a:pt x="228964" y="416224"/>
                  </a:lnTo>
                  <a:cubicBezTo>
                    <a:pt x="264189" y="411213"/>
                    <a:pt x="281801" y="391167"/>
                    <a:pt x="281801" y="368616"/>
                  </a:cubicBezTo>
                  <a:cubicBezTo>
                    <a:pt x="281801" y="346064"/>
                    <a:pt x="269221" y="331030"/>
                    <a:pt x="231480" y="318501"/>
                  </a:cubicBezTo>
                  <a:cubicBezTo>
                    <a:pt x="203803" y="310984"/>
                    <a:pt x="201287" y="305973"/>
                    <a:pt x="201287" y="298455"/>
                  </a:cubicBezTo>
                  <a:cubicBezTo>
                    <a:pt x="201287" y="290938"/>
                    <a:pt x="211351" y="288432"/>
                    <a:pt x="223932" y="288432"/>
                  </a:cubicBezTo>
                  <a:cubicBezTo>
                    <a:pt x="241544" y="288432"/>
                    <a:pt x="256641" y="293444"/>
                    <a:pt x="264189" y="298455"/>
                  </a:cubicBezTo>
                  <a:cubicBezTo>
                    <a:pt x="264189" y="298455"/>
                    <a:pt x="264189" y="298455"/>
                    <a:pt x="274253" y="265881"/>
                  </a:cubicBezTo>
                  <a:cubicBezTo>
                    <a:pt x="266705" y="260870"/>
                    <a:pt x="249092" y="255858"/>
                    <a:pt x="231480" y="255858"/>
                  </a:cubicBezTo>
                  <a:cubicBezTo>
                    <a:pt x="231480" y="255858"/>
                    <a:pt x="231480" y="255858"/>
                    <a:pt x="231480" y="225789"/>
                  </a:cubicBezTo>
                  <a:cubicBezTo>
                    <a:pt x="231480" y="225789"/>
                    <a:pt x="231480" y="225789"/>
                    <a:pt x="201287" y="225789"/>
                  </a:cubicBezTo>
                  <a:close/>
                  <a:moveTo>
                    <a:pt x="95611" y="163146"/>
                  </a:moveTo>
                  <a:cubicBezTo>
                    <a:pt x="95611" y="163146"/>
                    <a:pt x="95611" y="163146"/>
                    <a:pt x="332123" y="163146"/>
                  </a:cubicBezTo>
                  <a:cubicBezTo>
                    <a:pt x="389993" y="198226"/>
                    <a:pt x="427734" y="260870"/>
                    <a:pt x="427734" y="328524"/>
                  </a:cubicBezTo>
                  <a:cubicBezTo>
                    <a:pt x="427734" y="353581"/>
                    <a:pt x="422702" y="378639"/>
                    <a:pt x="415154" y="401190"/>
                  </a:cubicBezTo>
                  <a:cubicBezTo>
                    <a:pt x="415154" y="401190"/>
                    <a:pt x="410122" y="411213"/>
                    <a:pt x="407606" y="416224"/>
                  </a:cubicBezTo>
                  <a:cubicBezTo>
                    <a:pt x="402573" y="428753"/>
                    <a:pt x="395025" y="446293"/>
                    <a:pt x="397541" y="451305"/>
                  </a:cubicBezTo>
                  <a:cubicBezTo>
                    <a:pt x="410122" y="468845"/>
                    <a:pt x="410122" y="488890"/>
                    <a:pt x="402573" y="503925"/>
                  </a:cubicBezTo>
                  <a:cubicBezTo>
                    <a:pt x="387477" y="528982"/>
                    <a:pt x="352252" y="536499"/>
                    <a:pt x="319543" y="518959"/>
                  </a:cubicBezTo>
                  <a:cubicBezTo>
                    <a:pt x="314511" y="516453"/>
                    <a:pt x="299414" y="513948"/>
                    <a:pt x="276769" y="518959"/>
                  </a:cubicBezTo>
                  <a:cubicBezTo>
                    <a:pt x="256641" y="523971"/>
                    <a:pt x="236512" y="528982"/>
                    <a:pt x="213867" y="528982"/>
                  </a:cubicBezTo>
                  <a:cubicBezTo>
                    <a:pt x="193739" y="528982"/>
                    <a:pt x="173610" y="523971"/>
                    <a:pt x="153481" y="518959"/>
                  </a:cubicBezTo>
                  <a:cubicBezTo>
                    <a:pt x="125804" y="511442"/>
                    <a:pt x="108192" y="518959"/>
                    <a:pt x="108192" y="518959"/>
                  </a:cubicBezTo>
                  <a:cubicBezTo>
                    <a:pt x="75483" y="533994"/>
                    <a:pt x="40257" y="528982"/>
                    <a:pt x="25161" y="503925"/>
                  </a:cubicBezTo>
                  <a:cubicBezTo>
                    <a:pt x="17612" y="486385"/>
                    <a:pt x="20128" y="466339"/>
                    <a:pt x="30193" y="448799"/>
                  </a:cubicBezTo>
                  <a:cubicBezTo>
                    <a:pt x="32709" y="443787"/>
                    <a:pt x="27677" y="428753"/>
                    <a:pt x="22644" y="416224"/>
                  </a:cubicBezTo>
                  <a:cubicBezTo>
                    <a:pt x="7548" y="391167"/>
                    <a:pt x="0" y="361099"/>
                    <a:pt x="0" y="328524"/>
                  </a:cubicBezTo>
                  <a:cubicBezTo>
                    <a:pt x="0" y="260870"/>
                    <a:pt x="37741" y="198226"/>
                    <a:pt x="95611" y="163146"/>
                  </a:cubicBezTo>
                  <a:close/>
                  <a:moveTo>
                    <a:pt x="213868" y="0"/>
                  </a:moveTo>
                  <a:cubicBezTo>
                    <a:pt x="241537" y="0"/>
                    <a:pt x="264175" y="22626"/>
                    <a:pt x="271721" y="55307"/>
                  </a:cubicBezTo>
                  <a:cubicBezTo>
                    <a:pt x="301905" y="35196"/>
                    <a:pt x="329574" y="30168"/>
                    <a:pt x="344666" y="42737"/>
                  </a:cubicBezTo>
                  <a:cubicBezTo>
                    <a:pt x="359758" y="60335"/>
                    <a:pt x="347182" y="100559"/>
                    <a:pt x="314482" y="130726"/>
                  </a:cubicBezTo>
                  <a:lnTo>
                    <a:pt x="113254" y="130726"/>
                  </a:lnTo>
                  <a:cubicBezTo>
                    <a:pt x="80555" y="100559"/>
                    <a:pt x="67978" y="60335"/>
                    <a:pt x="85586" y="42737"/>
                  </a:cubicBezTo>
                  <a:cubicBezTo>
                    <a:pt x="98162" y="30168"/>
                    <a:pt x="128347" y="35196"/>
                    <a:pt x="156015" y="55307"/>
                  </a:cubicBezTo>
                  <a:cubicBezTo>
                    <a:pt x="163561" y="22626"/>
                    <a:pt x="186199" y="0"/>
                    <a:pt x="213868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anchor="ctr">
              <a:noAutofit/>
            </a:bodyPr>
            <a:lstStyle/>
            <a:p>
              <a:pPr algn="ctr"/>
              <a:endParaRPr/>
            </a:p>
          </p:txBody>
        </p:sp>
        <p:sp>
          <p:nvSpPr>
            <p:cNvPr id="14" name="i$ḻîḋè">
              <a:extLst>
                <a:ext uri="{FF2B5EF4-FFF2-40B4-BE49-F238E27FC236}">
                  <a16:creationId xmlns:a16="http://schemas.microsoft.com/office/drawing/2014/main" id="{AFB7FE3A-D1D4-4301-A55D-CD2D5CE4D5BD}"/>
                </a:ext>
              </a:extLst>
            </p:cNvPr>
            <p:cNvSpPr/>
            <p:nvPr/>
          </p:nvSpPr>
          <p:spPr bwMode="auto">
            <a:xfrm>
              <a:off x="6492054" y="2739287"/>
              <a:ext cx="265218" cy="327998"/>
            </a:xfrm>
            <a:custGeom>
              <a:avLst/>
              <a:gdLst>
                <a:gd name="connsiteX0" fmla="*/ 201287 w 427734"/>
                <a:gd name="connsiteY0" fmla="*/ 225789 h 528982"/>
                <a:gd name="connsiteX1" fmla="*/ 201287 w 427734"/>
                <a:gd name="connsiteY1" fmla="*/ 255858 h 528982"/>
                <a:gd name="connsiteX2" fmla="*/ 148449 w 427734"/>
                <a:gd name="connsiteY2" fmla="*/ 300961 h 528982"/>
                <a:gd name="connsiteX3" fmla="*/ 201287 w 427734"/>
                <a:gd name="connsiteY3" fmla="*/ 351076 h 528982"/>
                <a:gd name="connsiteX4" fmla="*/ 231480 w 427734"/>
                <a:gd name="connsiteY4" fmla="*/ 371121 h 528982"/>
                <a:gd name="connsiteX5" fmla="*/ 203803 w 427734"/>
                <a:gd name="connsiteY5" fmla="*/ 383650 h 528982"/>
                <a:gd name="connsiteX6" fmla="*/ 155997 w 427734"/>
                <a:gd name="connsiteY6" fmla="*/ 371121 h 528982"/>
                <a:gd name="connsiteX7" fmla="*/ 145933 w 427734"/>
                <a:gd name="connsiteY7" fmla="*/ 403696 h 528982"/>
                <a:gd name="connsiteX8" fmla="*/ 198771 w 427734"/>
                <a:gd name="connsiteY8" fmla="*/ 418730 h 528982"/>
                <a:gd name="connsiteX9" fmla="*/ 198771 w 427734"/>
                <a:gd name="connsiteY9" fmla="*/ 446293 h 528982"/>
                <a:gd name="connsiteX10" fmla="*/ 228964 w 427734"/>
                <a:gd name="connsiteY10" fmla="*/ 446293 h 528982"/>
                <a:gd name="connsiteX11" fmla="*/ 228964 w 427734"/>
                <a:gd name="connsiteY11" fmla="*/ 416224 h 528982"/>
                <a:gd name="connsiteX12" fmla="*/ 281801 w 427734"/>
                <a:gd name="connsiteY12" fmla="*/ 368616 h 528982"/>
                <a:gd name="connsiteX13" fmla="*/ 231480 w 427734"/>
                <a:gd name="connsiteY13" fmla="*/ 318501 h 528982"/>
                <a:gd name="connsiteX14" fmla="*/ 201287 w 427734"/>
                <a:gd name="connsiteY14" fmla="*/ 298455 h 528982"/>
                <a:gd name="connsiteX15" fmla="*/ 223932 w 427734"/>
                <a:gd name="connsiteY15" fmla="*/ 288432 h 528982"/>
                <a:gd name="connsiteX16" fmla="*/ 264189 w 427734"/>
                <a:gd name="connsiteY16" fmla="*/ 298455 h 528982"/>
                <a:gd name="connsiteX17" fmla="*/ 274253 w 427734"/>
                <a:gd name="connsiteY17" fmla="*/ 265881 h 528982"/>
                <a:gd name="connsiteX18" fmla="*/ 231480 w 427734"/>
                <a:gd name="connsiteY18" fmla="*/ 255858 h 528982"/>
                <a:gd name="connsiteX19" fmla="*/ 231480 w 427734"/>
                <a:gd name="connsiteY19" fmla="*/ 225789 h 528982"/>
                <a:gd name="connsiteX20" fmla="*/ 201287 w 427734"/>
                <a:gd name="connsiteY20" fmla="*/ 225789 h 528982"/>
                <a:gd name="connsiteX21" fmla="*/ 95611 w 427734"/>
                <a:gd name="connsiteY21" fmla="*/ 163146 h 528982"/>
                <a:gd name="connsiteX22" fmla="*/ 332123 w 427734"/>
                <a:gd name="connsiteY22" fmla="*/ 163146 h 528982"/>
                <a:gd name="connsiteX23" fmla="*/ 427734 w 427734"/>
                <a:gd name="connsiteY23" fmla="*/ 328524 h 528982"/>
                <a:gd name="connsiteX24" fmla="*/ 415154 w 427734"/>
                <a:gd name="connsiteY24" fmla="*/ 401190 h 528982"/>
                <a:gd name="connsiteX25" fmla="*/ 407606 w 427734"/>
                <a:gd name="connsiteY25" fmla="*/ 416224 h 528982"/>
                <a:gd name="connsiteX26" fmla="*/ 397541 w 427734"/>
                <a:gd name="connsiteY26" fmla="*/ 451305 h 528982"/>
                <a:gd name="connsiteX27" fmla="*/ 402573 w 427734"/>
                <a:gd name="connsiteY27" fmla="*/ 503925 h 528982"/>
                <a:gd name="connsiteX28" fmla="*/ 319543 w 427734"/>
                <a:gd name="connsiteY28" fmla="*/ 518959 h 528982"/>
                <a:gd name="connsiteX29" fmla="*/ 276769 w 427734"/>
                <a:gd name="connsiteY29" fmla="*/ 518959 h 528982"/>
                <a:gd name="connsiteX30" fmla="*/ 213867 w 427734"/>
                <a:gd name="connsiteY30" fmla="*/ 528982 h 528982"/>
                <a:gd name="connsiteX31" fmla="*/ 153481 w 427734"/>
                <a:gd name="connsiteY31" fmla="*/ 518959 h 528982"/>
                <a:gd name="connsiteX32" fmla="*/ 108192 w 427734"/>
                <a:gd name="connsiteY32" fmla="*/ 518959 h 528982"/>
                <a:gd name="connsiteX33" fmla="*/ 25161 w 427734"/>
                <a:gd name="connsiteY33" fmla="*/ 503925 h 528982"/>
                <a:gd name="connsiteX34" fmla="*/ 30193 w 427734"/>
                <a:gd name="connsiteY34" fmla="*/ 448799 h 528982"/>
                <a:gd name="connsiteX35" fmla="*/ 22644 w 427734"/>
                <a:gd name="connsiteY35" fmla="*/ 416224 h 528982"/>
                <a:gd name="connsiteX36" fmla="*/ 0 w 427734"/>
                <a:gd name="connsiteY36" fmla="*/ 328524 h 528982"/>
                <a:gd name="connsiteX37" fmla="*/ 95611 w 427734"/>
                <a:gd name="connsiteY37" fmla="*/ 163146 h 528982"/>
                <a:gd name="connsiteX38" fmla="*/ 213868 w 427734"/>
                <a:gd name="connsiteY38" fmla="*/ 0 h 528982"/>
                <a:gd name="connsiteX39" fmla="*/ 271721 w 427734"/>
                <a:gd name="connsiteY39" fmla="*/ 55307 h 528982"/>
                <a:gd name="connsiteX40" fmla="*/ 344666 w 427734"/>
                <a:gd name="connsiteY40" fmla="*/ 42737 h 528982"/>
                <a:gd name="connsiteX41" fmla="*/ 314482 w 427734"/>
                <a:gd name="connsiteY41" fmla="*/ 130726 h 528982"/>
                <a:gd name="connsiteX42" fmla="*/ 113254 w 427734"/>
                <a:gd name="connsiteY42" fmla="*/ 130726 h 528982"/>
                <a:gd name="connsiteX43" fmla="*/ 85586 w 427734"/>
                <a:gd name="connsiteY43" fmla="*/ 42737 h 528982"/>
                <a:gd name="connsiteX44" fmla="*/ 156015 w 427734"/>
                <a:gd name="connsiteY44" fmla="*/ 55307 h 528982"/>
                <a:gd name="connsiteX45" fmla="*/ 213868 w 427734"/>
                <a:gd name="connsiteY45" fmla="*/ 0 h 528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427734" h="528982">
                  <a:moveTo>
                    <a:pt x="201287" y="225789"/>
                  </a:moveTo>
                  <a:cubicBezTo>
                    <a:pt x="201287" y="225789"/>
                    <a:pt x="201287" y="225789"/>
                    <a:pt x="201287" y="255858"/>
                  </a:cubicBezTo>
                  <a:cubicBezTo>
                    <a:pt x="168578" y="260870"/>
                    <a:pt x="148449" y="278410"/>
                    <a:pt x="148449" y="300961"/>
                  </a:cubicBezTo>
                  <a:cubicBezTo>
                    <a:pt x="148449" y="326018"/>
                    <a:pt x="163546" y="338547"/>
                    <a:pt x="201287" y="351076"/>
                  </a:cubicBezTo>
                  <a:cubicBezTo>
                    <a:pt x="226448" y="358593"/>
                    <a:pt x="231480" y="363604"/>
                    <a:pt x="231480" y="371121"/>
                  </a:cubicBezTo>
                  <a:cubicBezTo>
                    <a:pt x="231480" y="378639"/>
                    <a:pt x="218899" y="383650"/>
                    <a:pt x="203803" y="383650"/>
                  </a:cubicBezTo>
                  <a:cubicBezTo>
                    <a:pt x="188706" y="383650"/>
                    <a:pt x="166062" y="376133"/>
                    <a:pt x="155997" y="371121"/>
                  </a:cubicBezTo>
                  <a:cubicBezTo>
                    <a:pt x="155997" y="371121"/>
                    <a:pt x="155997" y="371121"/>
                    <a:pt x="145933" y="403696"/>
                  </a:cubicBezTo>
                  <a:cubicBezTo>
                    <a:pt x="158513" y="411213"/>
                    <a:pt x="178642" y="416224"/>
                    <a:pt x="198771" y="418730"/>
                  </a:cubicBezTo>
                  <a:cubicBezTo>
                    <a:pt x="198771" y="418730"/>
                    <a:pt x="198771" y="418730"/>
                    <a:pt x="198771" y="446293"/>
                  </a:cubicBezTo>
                  <a:cubicBezTo>
                    <a:pt x="198771" y="446293"/>
                    <a:pt x="198771" y="446293"/>
                    <a:pt x="228964" y="446293"/>
                  </a:cubicBezTo>
                  <a:lnTo>
                    <a:pt x="228964" y="416224"/>
                  </a:lnTo>
                  <a:cubicBezTo>
                    <a:pt x="264189" y="411213"/>
                    <a:pt x="281801" y="391167"/>
                    <a:pt x="281801" y="368616"/>
                  </a:cubicBezTo>
                  <a:cubicBezTo>
                    <a:pt x="281801" y="346064"/>
                    <a:pt x="269221" y="331030"/>
                    <a:pt x="231480" y="318501"/>
                  </a:cubicBezTo>
                  <a:cubicBezTo>
                    <a:pt x="203803" y="310984"/>
                    <a:pt x="201287" y="305973"/>
                    <a:pt x="201287" y="298455"/>
                  </a:cubicBezTo>
                  <a:cubicBezTo>
                    <a:pt x="201287" y="290938"/>
                    <a:pt x="211351" y="288432"/>
                    <a:pt x="223932" y="288432"/>
                  </a:cubicBezTo>
                  <a:cubicBezTo>
                    <a:pt x="241544" y="288432"/>
                    <a:pt x="256641" y="293444"/>
                    <a:pt x="264189" y="298455"/>
                  </a:cubicBezTo>
                  <a:cubicBezTo>
                    <a:pt x="264189" y="298455"/>
                    <a:pt x="264189" y="298455"/>
                    <a:pt x="274253" y="265881"/>
                  </a:cubicBezTo>
                  <a:cubicBezTo>
                    <a:pt x="266705" y="260870"/>
                    <a:pt x="249092" y="255858"/>
                    <a:pt x="231480" y="255858"/>
                  </a:cubicBezTo>
                  <a:cubicBezTo>
                    <a:pt x="231480" y="255858"/>
                    <a:pt x="231480" y="255858"/>
                    <a:pt x="231480" y="225789"/>
                  </a:cubicBezTo>
                  <a:cubicBezTo>
                    <a:pt x="231480" y="225789"/>
                    <a:pt x="231480" y="225789"/>
                    <a:pt x="201287" y="225789"/>
                  </a:cubicBezTo>
                  <a:close/>
                  <a:moveTo>
                    <a:pt x="95611" y="163146"/>
                  </a:moveTo>
                  <a:cubicBezTo>
                    <a:pt x="95611" y="163146"/>
                    <a:pt x="95611" y="163146"/>
                    <a:pt x="332123" y="163146"/>
                  </a:cubicBezTo>
                  <a:cubicBezTo>
                    <a:pt x="389993" y="198226"/>
                    <a:pt x="427734" y="260870"/>
                    <a:pt x="427734" y="328524"/>
                  </a:cubicBezTo>
                  <a:cubicBezTo>
                    <a:pt x="427734" y="353581"/>
                    <a:pt x="422702" y="378639"/>
                    <a:pt x="415154" y="401190"/>
                  </a:cubicBezTo>
                  <a:cubicBezTo>
                    <a:pt x="415154" y="401190"/>
                    <a:pt x="410122" y="411213"/>
                    <a:pt x="407606" y="416224"/>
                  </a:cubicBezTo>
                  <a:cubicBezTo>
                    <a:pt x="402573" y="428753"/>
                    <a:pt x="395025" y="446293"/>
                    <a:pt x="397541" y="451305"/>
                  </a:cubicBezTo>
                  <a:cubicBezTo>
                    <a:pt x="410122" y="468845"/>
                    <a:pt x="410122" y="488890"/>
                    <a:pt x="402573" y="503925"/>
                  </a:cubicBezTo>
                  <a:cubicBezTo>
                    <a:pt x="387477" y="528982"/>
                    <a:pt x="352252" y="536499"/>
                    <a:pt x="319543" y="518959"/>
                  </a:cubicBezTo>
                  <a:cubicBezTo>
                    <a:pt x="314511" y="516453"/>
                    <a:pt x="299414" y="513948"/>
                    <a:pt x="276769" y="518959"/>
                  </a:cubicBezTo>
                  <a:cubicBezTo>
                    <a:pt x="256641" y="523971"/>
                    <a:pt x="236512" y="528982"/>
                    <a:pt x="213867" y="528982"/>
                  </a:cubicBezTo>
                  <a:cubicBezTo>
                    <a:pt x="193739" y="528982"/>
                    <a:pt x="173610" y="523971"/>
                    <a:pt x="153481" y="518959"/>
                  </a:cubicBezTo>
                  <a:cubicBezTo>
                    <a:pt x="125804" y="511442"/>
                    <a:pt x="108192" y="518959"/>
                    <a:pt x="108192" y="518959"/>
                  </a:cubicBezTo>
                  <a:cubicBezTo>
                    <a:pt x="75483" y="533994"/>
                    <a:pt x="40257" y="528982"/>
                    <a:pt x="25161" y="503925"/>
                  </a:cubicBezTo>
                  <a:cubicBezTo>
                    <a:pt x="17612" y="486385"/>
                    <a:pt x="20128" y="466339"/>
                    <a:pt x="30193" y="448799"/>
                  </a:cubicBezTo>
                  <a:cubicBezTo>
                    <a:pt x="32709" y="443787"/>
                    <a:pt x="27677" y="428753"/>
                    <a:pt x="22644" y="416224"/>
                  </a:cubicBezTo>
                  <a:cubicBezTo>
                    <a:pt x="7548" y="391167"/>
                    <a:pt x="0" y="361099"/>
                    <a:pt x="0" y="328524"/>
                  </a:cubicBezTo>
                  <a:cubicBezTo>
                    <a:pt x="0" y="260870"/>
                    <a:pt x="37741" y="198226"/>
                    <a:pt x="95611" y="163146"/>
                  </a:cubicBezTo>
                  <a:close/>
                  <a:moveTo>
                    <a:pt x="213868" y="0"/>
                  </a:moveTo>
                  <a:cubicBezTo>
                    <a:pt x="241537" y="0"/>
                    <a:pt x="264175" y="22626"/>
                    <a:pt x="271721" y="55307"/>
                  </a:cubicBezTo>
                  <a:cubicBezTo>
                    <a:pt x="301905" y="35196"/>
                    <a:pt x="329574" y="30168"/>
                    <a:pt x="344666" y="42737"/>
                  </a:cubicBezTo>
                  <a:cubicBezTo>
                    <a:pt x="359758" y="60335"/>
                    <a:pt x="347182" y="100559"/>
                    <a:pt x="314482" y="130726"/>
                  </a:cubicBezTo>
                  <a:lnTo>
                    <a:pt x="113254" y="130726"/>
                  </a:lnTo>
                  <a:cubicBezTo>
                    <a:pt x="80555" y="100559"/>
                    <a:pt x="67978" y="60335"/>
                    <a:pt x="85586" y="42737"/>
                  </a:cubicBezTo>
                  <a:cubicBezTo>
                    <a:pt x="98162" y="30168"/>
                    <a:pt x="128347" y="35196"/>
                    <a:pt x="156015" y="55307"/>
                  </a:cubicBezTo>
                  <a:cubicBezTo>
                    <a:pt x="163561" y="22626"/>
                    <a:pt x="186199" y="0"/>
                    <a:pt x="213868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anchor="ctr">
              <a:noAutofit/>
            </a:bodyPr>
            <a:lstStyle/>
            <a:p>
              <a:pPr algn="ctr"/>
              <a:endParaRPr/>
            </a:p>
          </p:txBody>
        </p:sp>
        <p:sp>
          <p:nvSpPr>
            <p:cNvPr id="15" name="iślidé">
              <a:extLst>
                <a:ext uri="{FF2B5EF4-FFF2-40B4-BE49-F238E27FC236}">
                  <a16:creationId xmlns:a16="http://schemas.microsoft.com/office/drawing/2014/main" id="{14E14FE8-B4DB-46D2-A048-70D12853EA6B}"/>
                </a:ext>
              </a:extLst>
            </p:cNvPr>
            <p:cNvSpPr/>
            <p:nvPr/>
          </p:nvSpPr>
          <p:spPr bwMode="auto">
            <a:xfrm>
              <a:off x="8025140" y="2141081"/>
              <a:ext cx="265218" cy="327998"/>
            </a:xfrm>
            <a:custGeom>
              <a:avLst/>
              <a:gdLst>
                <a:gd name="connsiteX0" fmla="*/ 201287 w 427734"/>
                <a:gd name="connsiteY0" fmla="*/ 225789 h 528982"/>
                <a:gd name="connsiteX1" fmla="*/ 201287 w 427734"/>
                <a:gd name="connsiteY1" fmla="*/ 255858 h 528982"/>
                <a:gd name="connsiteX2" fmla="*/ 148449 w 427734"/>
                <a:gd name="connsiteY2" fmla="*/ 300961 h 528982"/>
                <a:gd name="connsiteX3" fmla="*/ 201287 w 427734"/>
                <a:gd name="connsiteY3" fmla="*/ 351076 h 528982"/>
                <a:gd name="connsiteX4" fmla="*/ 231480 w 427734"/>
                <a:gd name="connsiteY4" fmla="*/ 371121 h 528982"/>
                <a:gd name="connsiteX5" fmla="*/ 203803 w 427734"/>
                <a:gd name="connsiteY5" fmla="*/ 383650 h 528982"/>
                <a:gd name="connsiteX6" fmla="*/ 155997 w 427734"/>
                <a:gd name="connsiteY6" fmla="*/ 371121 h 528982"/>
                <a:gd name="connsiteX7" fmla="*/ 145933 w 427734"/>
                <a:gd name="connsiteY7" fmla="*/ 403696 h 528982"/>
                <a:gd name="connsiteX8" fmla="*/ 198771 w 427734"/>
                <a:gd name="connsiteY8" fmla="*/ 418730 h 528982"/>
                <a:gd name="connsiteX9" fmla="*/ 198771 w 427734"/>
                <a:gd name="connsiteY9" fmla="*/ 446293 h 528982"/>
                <a:gd name="connsiteX10" fmla="*/ 228964 w 427734"/>
                <a:gd name="connsiteY10" fmla="*/ 446293 h 528982"/>
                <a:gd name="connsiteX11" fmla="*/ 228964 w 427734"/>
                <a:gd name="connsiteY11" fmla="*/ 416224 h 528982"/>
                <a:gd name="connsiteX12" fmla="*/ 281801 w 427734"/>
                <a:gd name="connsiteY12" fmla="*/ 368616 h 528982"/>
                <a:gd name="connsiteX13" fmla="*/ 231480 w 427734"/>
                <a:gd name="connsiteY13" fmla="*/ 318501 h 528982"/>
                <a:gd name="connsiteX14" fmla="*/ 201287 w 427734"/>
                <a:gd name="connsiteY14" fmla="*/ 298455 h 528982"/>
                <a:gd name="connsiteX15" fmla="*/ 223932 w 427734"/>
                <a:gd name="connsiteY15" fmla="*/ 288432 h 528982"/>
                <a:gd name="connsiteX16" fmla="*/ 264189 w 427734"/>
                <a:gd name="connsiteY16" fmla="*/ 298455 h 528982"/>
                <a:gd name="connsiteX17" fmla="*/ 274253 w 427734"/>
                <a:gd name="connsiteY17" fmla="*/ 265881 h 528982"/>
                <a:gd name="connsiteX18" fmla="*/ 231480 w 427734"/>
                <a:gd name="connsiteY18" fmla="*/ 255858 h 528982"/>
                <a:gd name="connsiteX19" fmla="*/ 231480 w 427734"/>
                <a:gd name="connsiteY19" fmla="*/ 225789 h 528982"/>
                <a:gd name="connsiteX20" fmla="*/ 201287 w 427734"/>
                <a:gd name="connsiteY20" fmla="*/ 225789 h 528982"/>
                <a:gd name="connsiteX21" fmla="*/ 95611 w 427734"/>
                <a:gd name="connsiteY21" fmla="*/ 163146 h 528982"/>
                <a:gd name="connsiteX22" fmla="*/ 332123 w 427734"/>
                <a:gd name="connsiteY22" fmla="*/ 163146 h 528982"/>
                <a:gd name="connsiteX23" fmla="*/ 427734 w 427734"/>
                <a:gd name="connsiteY23" fmla="*/ 328524 h 528982"/>
                <a:gd name="connsiteX24" fmla="*/ 415154 w 427734"/>
                <a:gd name="connsiteY24" fmla="*/ 401190 h 528982"/>
                <a:gd name="connsiteX25" fmla="*/ 407606 w 427734"/>
                <a:gd name="connsiteY25" fmla="*/ 416224 h 528982"/>
                <a:gd name="connsiteX26" fmla="*/ 397541 w 427734"/>
                <a:gd name="connsiteY26" fmla="*/ 451305 h 528982"/>
                <a:gd name="connsiteX27" fmla="*/ 402573 w 427734"/>
                <a:gd name="connsiteY27" fmla="*/ 503925 h 528982"/>
                <a:gd name="connsiteX28" fmla="*/ 319543 w 427734"/>
                <a:gd name="connsiteY28" fmla="*/ 518959 h 528982"/>
                <a:gd name="connsiteX29" fmla="*/ 276769 w 427734"/>
                <a:gd name="connsiteY29" fmla="*/ 518959 h 528982"/>
                <a:gd name="connsiteX30" fmla="*/ 213867 w 427734"/>
                <a:gd name="connsiteY30" fmla="*/ 528982 h 528982"/>
                <a:gd name="connsiteX31" fmla="*/ 153481 w 427734"/>
                <a:gd name="connsiteY31" fmla="*/ 518959 h 528982"/>
                <a:gd name="connsiteX32" fmla="*/ 108192 w 427734"/>
                <a:gd name="connsiteY32" fmla="*/ 518959 h 528982"/>
                <a:gd name="connsiteX33" fmla="*/ 25161 w 427734"/>
                <a:gd name="connsiteY33" fmla="*/ 503925 h 528982"/>
                <a:gd name="connsiteX34" fmla="*/ 30193 w 427734"/>
                <a:gd name="connsiteY34" fmla="*/ 448799 h 528982"/>
                <a:gd name="connsiteX35" fmla="*/ 22644 w 427734"/>
                <a:gd name="connsiteY35" fmla="*/ 416224 h 528982"/>
                <a:gd name="connsiteX36" fmla="*/ 0 w 427734"/>
                <a:gd name="connsiteY36" fmla="*/ 328524 h 528982"/>
                <a:gd name="connsiteX37" fmla="*/ 95611 w 427734"/>
                <a:gd name="connsiteY37" fmla="*/ 163146 h 528982"/>
                <a:gd name="connsiteX38" fmla="*/ 213868 w 427734"/>
                <a:gd name="connsiteY38" fmla="*/ 0 h 528982"/>
                <a:gd name="connsiteX39" fmla="*/ 271721 w 427734"/>
                <a:gd name="connsiteY39" fmla="*/ 55307 h 528982"/>
                <a:gd name="connsiteX40" fmla="*/ 344666 w 427734"/>
                <a:gd name="connsiteY40" fmla="*/ 42737 h 528982"/>
                <a:gd name="connsiteX41" fmla="*/ 314482 w 427734"/>
                <a:gd name="connsiteY41" fmla="*/ 130726 h 528982"/>
                <a:gd name="connsiteX42" fmla="*/ 113254 w 427734"/>
                <a:gd name="connsiteY42" fmla="*/ 130726 h 528982"/>
                <a:gd name="connsiteX43" fmla="*/ 85586 w 427734"/>
                <a:gd name="connsiteY43" fmla="*/ 42737 h 528982"/>
                <a:gd name="connsiteX44" fmla="*/ 156015 w 427734"/>
                <a:gd name="connsiteY44" fmla="*/ 55307 h 528982"/>
                <a:gd name="connsiteX45" fmla="*/ 213868 w 427734"/>
                <a:gd name="connsiteY45" fmla="*/ 0 h 528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427734" h="528982">
                  <a:moveTo>
                    <a:pt x="201287" y="225789"/>
                  </a:moveTo>
                  <a:cubicBezTo>
                    <a:pt x="201287" y="225789"/>
                    <a:pt x="201287" y="225789"/>
                    <a:pt x="201287" y="255858"/>
                  </a:cubicBezTo>
                  <a:cubicBezTo>
                    <a:pt x="168578" y="260870"/>
                    <a:pt x="148449" y="278410"/>
                    <a:pt x="148449" y="300961"/>
                  </a:cubicBezTo>
                  <a:cubicBezTo>
                    <a:pt x="148449" y="326018"/>
                    <a:pt x="163546" y="338547"/>
                    <a:pt x="201287" y="351076"/>
                  </a:cubicBezTo>
                  <a:cubicBezTo>
                    <a:pt x="226448" y="358593"/>
                    <a:pt x="231480" y="363604"/>
                    <a:pt x="231480" y="371121"/>
                  </a:cubicBezTo>
                  <a:cubicBezTo>
                    <a:pt x="231480" y="378639"/>
                    <a:pt x="218899" y="383650"/>
                    <a:pt x="203803" y="383650"/>
                  </a:cubicBezTo>
                  <a:cubicBezTo>
                    <a:pt x="188706" y="383650"/>
                    <a:pt x="166062" y="376133"/>
                    <a:pt x="155997" y="371121"/>
                  </a:cubicBezTo>
                  <a:cubicBezTo>
                    <a:pt x="155997" y="371121"/>
                    <a:pt x="155997" y="371121"/>
                    <a:pt x="145933" y="403696"/>
                  </a:cubicBezTo>
                  <a:cubicBezTo>
                    <a:pt x="158513" y="411213"/>
                    <a:pt x="178642" y="416224"/>
                    <a:pt x="198771" y="418730"/>
                  </a:cubicBezTo>
                  <a:cubicBezTo>
                    <a:pt x="198771" y="418730"/>
                    <a:pt x="198771" y="418730"/>
                    <a:pt x="198771" y="446293"/>
                  </a:cubicBezTo>
                  <a:cubicBezTo>
                    <a:pt x="198771" y="446293"/>
                    <a:pt x="198771" y="446293"/>
                    <a:pt x="228964" y="446293"/>
                  </a:cubicBezTo>
                  <a:lnTo>
                    <a:pt x="228964" y="416224"/>
                  </a:lnTo>
                  <a:cubicBezTo>
                    <a:pt x="264189" y="411213"/>
                    <a:pt x="281801" y="391167"/>
                    <a:pt x="281801" y="368616"/>
                  </a:cubicBezTo>
                  <a:cubicBezTo>
                    <a:pt x="281801" y="346064"/>
                    <a:pt x="269221" y="331030"/>
                    <a:pt x="231480" y="318501"/>
                  </a:cubicBezTo>
                  <a:cubicBezTo>
                    <a:pt x="203803" y="310984"/>
                    <a:pt x="201287" y="305973"/>
                    <a:pt x="201287" y="298455"/>
                  </a:cubicBezTo>
                  <a:cubicBezTo>
                    <a:pt x="201287" y="290938"/>
                    <a:pt x="211351" y="288432"/>
                    <a:pt x="223932" y="288432"/>
                  </a:cubicBezTo>
                  <a:cubicBezTo>
                    <a:pt x="241544" y="288432"/>
                    <a:pt x="256641" y="293444"/>
                    <a:pt x="264189" y="298455"/>
                  </a:cubicBezTo>
                  <a:cubicBezTo>
                    <a:pt x="264189" y="298455"/>
                    <a:pt x="264189" y="298455"/>
                    <a:pt x="274253" y="265881"/>
                  </a:cubicBezTo>
                  <a:cubicBezTo>
                    <a:pt x="266705" y="260870"/>
                    <a:pt x="249092" y="255858"/>
                    <a:pt x="231480" y="255858"/>
                  </a:cubicBezTo>
                  <a:cubicBezTo>
                    <a:pt x="231480" y="255858"/>
                    <a:pt x="231480" y="255858"/>
                    <a:pt x="231480" y="225789"/>
                  </a:cubicBezTo>
                  <a:cubicBezTo>
                    <a:pt x="231480" y="225789"/>
                    <a:pt x="231480" y="225789"/>
                    <a:pt x="201287" y="225789"/>
                  </a:cubicBezTo>
                  <a:close/>
                  <a:moveTo>
                    <a:pt x="95611" y="163146"/>
                  </a:moveTo>
                  <a:cubicBezTo>
                    <a:pt x="95611" y="163146"/>
                    <a:pt x="95611" y="163146"/>
                    <a:pt x="332123" y="163146"/>
                  </a:cubicBezTo>
                  <a:cubicBezTo>
                    <a:pt x="389993" y="198226"/>
                    <a:pt x="427734" y="260870"/>
                    <a:pt x="427734" y="328524"/>
                  </a:cubicBezTo>
                  <a:cubicBezTo>
                    <a:pt x="427734" y="353581"/>
                    <a:pt x="422702" y="378639"/>
                    <a:pt x="415154" y="401190"/>
                  </a:cubicBezTo>
                  <a:cubicBezTo>
                    <a:pt x="415154" y="401190"/>
                    <a:pt x="410122" y="411213"/>
                    <a:pt x="407606" y="416224"/>
                  </a:cubicBezTo>
                  <a:cubicBezTo>
                    <a:pt x="402573" y="428753"/>
                    <a:pt x="395025" y="446293"/>
                    <a:pt x="397541" y="451305"/>
                  </a:cubicBezTo>
                  <a:cubicBezTo>
                    <a:pt x="410122" y="468845"/>
                    <a:pt x="410122" y="488890"/>
                    <a:pt x="402573" y="503925"/>
                  </a:cubicBezTo>
                  <a:cubicBezTo>
                    <a:pt x="387477" y="528982"/>
                    <a:pt x="352252" y="536499"/>
                    <a:pt x="319543" y="518959"/>
                  </a:cubicBezTo>
                  <a:cubicBezTo>
                    <a:pt x="314511" y="516453"/>
                    <a:pt x="299414" y="513948"/>
                    <a:pt x="276769" y="518959"/>
                  </a:cubicBezTo>
                  <a:cubicBezTo>
                    <a:pt x="256641" y="523971"/>
                    <a:pt x="236512" y="528982"/>
                    <a:pt x="213867" y="528982"/>
                  </a:cubicBezTo>
                  <a:cubicBezTo>
                    <a:pt x="193739" y="528982"/>
                    <a:pt x="173610" y="523971"/>
                    <a:pt x="153481" y="518959"/>
                  </a:cubicBezTo>
                  <a:cubicBezTo>
                    <a:pt x="125804" y="511442"/>
                    <a:pt x="108192" y="518959"/>
                    <a:pt x="108192" y="518959"/>
                  </a:cubicBezTo>
                  <a:cubicBezTo>
                    <a:pt x="75483" y="533994"/>
                    <a:pt x="40257" y="528982"/>
                    <a:pt x="25161" y="503925"/>
                  </a:cubicBezTo>
                  <a:cubicBezTo>
                    <a:pt x="17612" y="486385"/>
                    <a:pt x="20128" y="466339"/>
                    <a:pt x="30193" y="448799"/>
                  </a:cubicBezTo>
                  <a:cubicBezTo>
                    <a:pt x="32709" y="443787"/>
                    <a:pt x="27677" y="428753"/>
                    <a:pt x="22644" y="416224"/>
                  </a:cubicBezTo>
                  <a:cubicBezTo>
                    <a:pt x="7548" y="391167"/>
                    <a:pt x="0" y="361099"/>
                    <a:pt x="0" y="328524"/>
                  </a:cubicBezTo>
                  <a:cubicBezTo>
                    <a:pt x="0" y="260870"/>
                    <a:pt x="37741" y="198226"/>
                    <a:pt x="95611" y="163146"/>
                  </a:cubicBezTo>
                  <a:close/>
                  <a:moveTo>
                    <a:pt x="213868" y="0"/>
                  </a:moveTo>
                  <a:cubicBezTo>
                    <a:pt x="241537" y="0"/>
                    <a:pt x="264175" y="22626"/>
                    <a:pt x="271721" y="55307"/>
                  </a:cubicBezTo>
                  <a:cubicBezTo>
                    <a:pt x="301905" y="35196"/>
                    <a:pt x="329574" y="30168"/>
                    <a:pt x="344666" y="42737"/>
                  </a:cubicBezTo>
                  <a:cubicBezTo>
                    <a:pt x="359758" y="60335"/>
                    <a:pt x="347182" y="100559"/>
                    <a:pt x="314482" y="130726"/>
                  </a:cubicBezTo>
                  <a:lnTo>
                    <a:pt x="113254" y="130726"/>
                  </a:lnTo>
                  <a:cubicBezTo>
                    <a:pt x="80555" y="100559"/>
                    <a:pt x="67978" y="60335"/>
                    <a:pt x="85586" y="42737"/>
                  </a:cubicBezTo>
                  <a:cubicBezTo>
                    <a:pt x="98162" y="30168"/>
                    <a:pt x="128347" y="35196"/>
                    <a:pt x="156015" y="55307"/>
                  </a:cubicBezTo>
                  <a:cubicBezTo>
                    <a:pt x="163561" y="22626"/>
                    <a:pt x="186199" y="0"/>
                    <a:pt x="213868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anchor="ctr">
              <a:noAutofit/>
            </a:bodyPr>
            <a:lstStyle/>
            <a:p>
              <a:pPr algn="ctr"/>
              <a:endParaRPr/>
            </a:p>
          </p:txBody>
        </p:sp>
        <p:sp>
          <p:nvSpPr>
            <p:cNvPr id="16" name="išḻîďe">
              <a:extLst>
                <a:ext uri="{FF2B5EF4-FFF2-40B4-BE49-F238E27FC236}">
                  <a16:creationId xmlns:a16="http://schemas.microsoft.com/office/drawing/2014/main" id="{7BF8D0C1-B652-4FDB-9526-34AB299387F8}"/>
                </a:ext>
              </a:extLst>
            </p:cNvPr>
            <p:cNvSpPr/>
            <p:nvPr/>
          </p:nvSpPr>
          <p:spPr bwMode="auto">
            <a:xfrm>
              <a:off x="9512349" y="1525344"/>
              <a:ext cx="265218" cy="327998"/>
            </a:xfrm>
            <a:custGeom>
              <a:avLst/>
              <a:gdLst>
                <a:gd name="connsiteX0" fmla="*/ 201287 w 427734"/>
                <a:gd name="connsiteY0" fmla="*/ 225789 h 528982"/>
                <a:gd name="connsiteX1" fmla="*/ 201287 w 427734"/>
                <a:gd name="connsiteY1" fmla="*/ 255858 h 528982"/>
                <a:gd name="connsiteX2" fmla="*/ 148449 w 427734"/>
                <a:gd name="connsiteY2" fmla="*/ 300961 h 528982"/>
                <a:gd name="connsiteX3" fmla="*/ 201287 w 427734"/>
                <a:gd name="connsiteY3" fmla="*/ 351076 h 528982"/>
                <a:gd name="connsiteX4" fmla="*/ 231480 w 427734"/>
                <a:gd name="connsiteY4" fmla="*/ 371121 h 528982"/>
                <a:gd name="connsiteX5" fmla="*/ 203803 w 427734"/>
                <a:gd name="connsiteY5" fmla="*/ 383650 h 528982"/>
                <a:gd name="connsiteX6" fmla="*/ 155997 w 427734"/>
                <a:gd name="connsiteY6" fmla="*/ 371121 h 528982"/>
                <a:gd name="connsiteX7" fmla="*/ 145933 w 427734"/>
                <a:gd name="connsiteY7" fmla="*/ 403696 h 528982"/>
                <a:gd name="connsiteX8" fmla="*/ 198771 w 427734"/>
                <a:gd name="connsiteY8" fmla="*/ 418730 h 528982"/>
                <a:gd name="connsiteX9" fmla="*/ 198771 w 427734"/>
                <a:gd name="connsiteY9" fmla="*/ 446293 h 528982"/>
                <a:gd name="connsiteX10" fmla="*/ 228964 w 427734"/>
                <a:gd name="connsiteY10" fmla="*/ 446293 h 528982"/>
                <a:gd name="connsiteX11" fmla="*/ 228964 w 427734"/>
                <a:gd name="connsiteY11" fmla="*/ 416224 h 528982"/>
                <a:gd name="connsiteX12" fmla="*/ 281801 w 427734"/>
                <a:gd name="connsiteY12" fmla="*/ 368616 h 528982"/>
                <a:gd name="connsiteX13" fmla="*/ 231480 w 427734"/>
                <a:gd name="connsiteY13" fmla="*/ 318501 h 528982"/>
                <a:gd name="connsiteX14" fmla="*/ 201287 w 427734"/>
                <a:gd name="connsiteY14" fmla="*/ 298455 h 528982"/>
                <a:gd name="connsiteX15" fmla="*/ 223932 w 427734"/>
                <a:gd name="connsiteY15" fmla="*/ 288432 h 528982"/>
                <a:gd name="connsiteX16" fmla="*/ 264189 w 427734"/>
                <a:gd name="connsiteY16" fmla="*/ 298455 h 528982"/>
                <a:gd name="connsiteX17" fmla="*/ 274253 w 427734"/>
                <a:gd name="connsiteY17" fmla="*/ 265881 h 528982"/>
                <a:gd name="connsiteX18" fmla="*/ 231480 w 427734"/>
                <a:gd name="connsiteY18" fmla="*/ 255858 h 528982"/>
                <a:gd name="connsiteX19" fmla="*/ 231480 w 427734"/>
                <a:gd name="connsiteY19" fmla="*/ 225789 h 528982"/>
                <a:gd name="connsiteX20" fmla="*/ 201287 w 427734"/>
                <a:gd name="connsiteY20" fmla="*/ 225789 h 528982"/>
                <a:gd name="connsiteX21" fmla="*/ 95611 w 427734"/>
                <a:gd name="connsiteY21" fmla="*/ 163146 h 528982"/>
                <a:gd name="connsiteX22" fmla="*/ 332123 w 427734"/>
                <a:gd name="connsiteY22" fmla="*/ 163146 h 528982"/>
                <a:gd name="connsiteX23" fmla="*/ 427734 w 427734"/>
                <a:gd name="connsiteY23" fmla="*/ 328524 h 528982"/>
                <a:gd name="connsiteX24" fmla="*/ 415154 w 427734"/>
                <a:gd name="connsiteY24" fmla="*/ 401190 h 528982"/>
                <a:gd name="connsiteX25" fmla="*/ 407606 w 427734"/>
                <a:gd name="connsiteY25" fmla="*/ 416224 h 528982"/>
                <a:gd name="connsiteX26" fmla="*/ 397541 w 427734"/>
                <a:gd name="connsiteY26" fmla="*/ 451305 h 528982"/>
                <a:gd name="connsiteX27" fmla="*/ 402573 w 427734"/>
                <a:gd name="connsiteY27" fmla="*/ 503925 h 528982"/>
                <a:gd name="connsiteX28" fmla="*/ 319543 w 427734"/>
                <a:gd name="connsiteY28" fmla="*/ 518959 h 528982"/>
                <a:gd name="connsiteX29" fmla="*/ 276769 w 427734"/>
                <a:gd name="connsiteY29" fmla="*/ 518959 h 528982"/>
                <a:gd name="connsiteX30" fmla="*/ 213867 w 427734"/>
                <a:gd name="connsiteY30" fmla="*/ 528982 h 528982"/>
                <a:gd name="connsiteX31" fmla="*/ 153481 w 427734"/>
                <a:gd name="connsiteY31" fmla="*/ 518959 h 528982"/>
                <a:gd name="connsiteX32" fmla="*/ 108192 w 427734"/>
                <a:gd name="connsiteY32" fmla="*/ 518959 h 528982"/>
                <a:gd name="connsiteX33" fmla="*/ 25161 w 427734"/>
                <a:gd name="connsiteY33" fmla="*/ 503925 h 528982"/>
                <a:gd name="connsiteX34" fmla="*/ 30193 w 427734"/>
                <a:gd name="connsiteY34" fmla="*/ 448799 h 528982"/>
                <a:gd name="connsiteX35" fmla="*/ 22644 w 427734"/>
                <a:gd name="connsiteY35" fmla="*/ 416224 h 528982"/>
                <a:gd name="connsiteX36" fmla="*/ 0 w 427734"/>
                <a:gd name="connsiteY36" fmla="*/ 328524 h 528982"/>
                <a:gd name="connsiteX37" fmla="*/ 95611 w 427734"/>
                <a:gd name="connsiteY37" fmla="*/ 163146 h 528982"/>
                <a:gd name="connsiteX38" fmla="*/ 213868 w 427734"/>
                <a:gd name="connsiteY38" fmla="*/ 0 h 528982"/>
                <a:gd name="connsiteX39" fmla="*/ 271721 w 427734"/>
                <a:gd name="connsiteY39" fmla="*/ 55307 h 528982"/>
                <a:gd name="connsiteX40" fmla="*/ 344666 w 427734"/>
                <a:gd name="connsiteY40" fmla="*/ 42737 h 528982"/>
                <a:gd name="connsiteX41" fmla="*/ 314482 w 427734"/>
                <a:gd name="connsiteY41" fmla="*/ 130726 h 528982"/>
                <a:gd name="connsiteX42" fmla="*/ 113254 w 427734"/>
                <a:gd name="connsiteY42" fmla="*/ 130726 h 528982"/>
                <a:gd name="connsiteX43" fmla="*/ 85586 w 427734"/>
                <a:gd name="connsiteY43" fmla="*/ 42737 h 528982"/>
                <a:gd name="connsiteX44" fmla="*/ 156015 w 427734"/>
                <a:gd name="connsiteY44" fmla="*/ 55307 h 528982"/>
                <a:gd name="connsiteX45" fmla="*/ 213868 w 427734"/>
                <a:gd name="connsiteY45" fmla="*/ 0 h 528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427734" h="528982">
                  <a:moveTo>
                    <a:pt x="201287" y="225789"/>
                  </a:moveTo>
                  <a:cubicBezTo>
                    <a:pt x="201287" y="225789"/>
                    <a:pt x="201287" y="225789"/>
                    <a:pt x="201287" y="255858"/>
                  </a:cubicBezTo>
                  <a:cubicBezTo>
                    <a:pt x="168578" y="260870"/>
                    <a:pt x="148449" y="278410"/>
                    <a:pt x="148449" y="300961"/>
                  </a:cubicBezTo>
                  <a:cubicBezTo>
                    <a:pt x="148449" y="326018"/>
                    <a:pt x="163546" y="338547"/>
                    <a:pt x="201287" y="351076"/>
                  </a:cubicBezTo>
                  <a:cubicBezTo>
                    <a:pt x="226448" y="358593"/>
                    <a:pt x="231480" y="363604"/>
                    <a:pt x="231480" y="371121"/>
                  </a:cubicBezTo>
                  <a:cubicBezTo>
                    <a:pt x="231480" y="378639"/>
                    <a:pt x="218899" y="383650"/>
                    <a:pt x="203803" y="383650"/>
                  </a:cubicBezTo>
                  <a:cubicBezTo>
                    <a:pt x="188706" y="383650"/>
                    <a:pt x="166062" y="376133"/>
                    <a:pt x="155997" y="371121"/>
                  </a:cubicBezTo>
                  <a:cubicBezTo>
                    <a:pt x="155997" y="371121"/>
                    <a:pt x="155997" y="371121"/>
                    <a:pt x="145933" y="403696"/>
                  </a:cubicBezTo>
                  <a:cubicBezTo>
                    <a:pt x="158513" y="411213"/>
                    <a:pt x="178642" y="416224"/>
                    <a:pt x="198771" y="418730"/>
                  </a:cubicBezTo>
                  <a:cubicBezTo>
                    <a:pt x="198771" y="418730"/>
                    <a:pt x="198771" y="418730"/>
                    <a:pt x="198771" y="446293"/>
                  </a:cubicBezTo>
                  <a:cubicBezTo>
                    <a:pt x="198771" y="446293"/>
                    <a:pt x="198771" y="446293"/>
                    <a:pt x="228964" y="446293"/>
                  </a:cubicBezTo>
                  <a:lnTo>
                    <a:pt x="228964" y="416224"/>
                  </a:lnTo>
                  <a:cubicBezTo>
                    <a:pt x="264189" y="411213"/>
                    <a:pt x="281801" y="391167"/>
                    <a:pt x="281801" y="368616"/>
                  </a:cubicBezTo>
                  <a:cubicBezTo>
                    <a:pt x="281801" y="346064"/>
                    <a:pt x="269221" y="331030"/>
                    <a:pt x="231480" y="318501"/>
                  </a:cubicBezTo>
                  <a:cubicBezTo>
                    <a:pt x="203803" y="310984"/>
                    <a:pt x="201287" y="305973"/>
                    <a:pt x="201287" y="298455"/>
                  </a:cubicBezTo>
                  <a:cubicBezTo>
                    <a:pt x="201287" y="290938"/>
                    <a:pt x="211351" y="288432"/>
                    <a:pt x="223932" y="288432"/>
                  </a:cubicBezTo>
                  <a:cubicBezTo>
                    <a:pt x="241544" y="288432"/>
                    <a:pt x="256641" y="293444"/>
                    <a:pt x="264189" y="298455"/>
                  </a:cubicBezTo>
                  <a:cubicBezTo>
                    <a:pt x="264189" y="298455"/>
                    <a:pt x="264189" y="298455"/>
                    <a:pt x="274253" y="265881"/>
                  </a:cubicBezTo>
                  <a:cubicBezTo>
                    <a:pt x="266705" y="260870"/>
                    <a:pt x="249092" y="255858"/>
                    <a:pt x="231480" y="255858"/>
                  </a:cubicBezTo>
                  <a:cubicBezTo>
                    <a:pt x="231480" y="255858"/>
                    <a:pt x="231480" y="255858"/>
                    <a:pt x="231480" y="225789"/>
                  </a:cubicBezTo>
                  <a:cubicBezTo>
                    <a:pt x="231480" y="225789"/>
                    <a:pt x="231480" y="225789"/>
                    <a:pt x="201287" y="225789"/>
                  </a:cubicBezTo>
                  <a:close/>
                  <a:moveTo>
                    <a:pt x="95611" y="163146"/>
                  </a:moveTo>
                  <a:cubicBezTo>
                    <a:pt x="95611" y="163146"/>
                    <a:pt x="95611" y="163146"/>
                    <a:pt x="332123" y="163146"/>
                  </a:cubicBezTo>
                  <a:cubicBezTo>
                    <a:pt x="389993" y="198226"/>
                    <a:pt x="427734" y="260870"/>
                    <a:pt x="427734" y="328524"/>
                  </a:cubicBezTo>
                  <a:cubicBezTo>
                    <a:pt x="427734" y="353581"/>
                    <a:pt x="422702" y="378639"/>
                    <a:pt x="415154" y="401190"/>
                  </a:cubicBezTo>
                  <a:cubicBezTo>
                    <a:pt x="415154" y="401190"/>
                    <a:pt x="410122" y="411213"/>
                    <a:pt x="407606" y="416224"/>
                  </a:cubicBezTo>
                  <a:cubicBezTo>
                    <a:pt x="402573" y="428753"/>
                    <a:pt x="395025" y="446293"/>
                    <a:pt x="397541" y="451305"/>
                  </a:cubicBezTo>
                  <a:cubicBezTo>
                    <a:pt x="410122" y="468845"/>
                    <a:pt x="410122" y="488890"/>
                    <a:pt x="402573" y="503925"/>
                  </a:cubicBezTo>
                  <a:cubicBezTo>
                    <a:pt x="387477" y="528982"/>
                    <a:pt x="352252" y="536499"/>
                    <a:pt x="319543" y="518959"/>
                  </a:cubicBezTo>
                  <a:cubicBezTo>
                    <a:pt x="314511" y="516453"/>
                    <a:pt x="299414" y="513948"/>
                    <a:pt x="276769" y="518959"/>
                  </a:cubicBezTo>
                  <a:cubicBezTo>
                    <a:pt x="256641" y="523971"/>
                    <a:pt x="236512" y="528982"/>
                    <a:pt x="213867" y="528982"/>
                  </a:cubicBezTo>
                  <a:cubicBezTo>
                    <a:pt x="193739" y="528982"/>
                    <a:pt x="173610" y="523971"/>
                    <a:pt x="153481" y="518959"/>
                  </a:cubicBezTo>
                  <a:cubicBezTo>
                    <a:pt x="125804" y="511442"/>
                    <a:pt x="108192" y="518959"/>
                    <a:pt x="108192" y="518959"/>
                  </a:cubicBezTo>
                  <a:cubicBezTo>
                    <a:pt x="75483" y="533994"/>
                    <a:pt x="40257" y="528982"/>
                    <a:pt x="25161" y="503925"/>
                  </a:cubicBezTo>
                  <a:cubicBezTo>
                    <a:pt x="17612" y="486385"/>
                    <a:pt x="20128" y="466339"/>
                    <a:pt x="30193" y="448799"/>
                  </a:cubicBezTo>
                  <a:cubicBezTo>
                    <a:pt x="32709" y="443787"/>
                    <a:pt x="27677" y="428753"/>
                    <a:pt x="22644" y="416224"/>
                  </a:cubicBezTo>
                  <a:cubicBezTo>
                    <a:pt x="7548" y="391167"/>
                    <a:pt x="0" y="361099"/>
                    <a:pt x="0" y="328524"/>
                  </a:cubicBezTo>
                  <a:cubicBezTo>
                    <a:pt x="0" y="260870"/>
                    <a:pt x="37741" y="198226"/>
                    <a:pt x="95611" y="163146"/>
                  </a:cubicBezTo>
                  <a:close/>
                  <a:moveTo>
                    <a:pt x="213868" y="0"/>
                  </a:moveTo>
                  <a:cubicBezTo>
                    <a:pt x="241537" y="0"/>
                    <a:pt x="264175" y="22626"/>
                    <a:pt x="271721" y="55307"/>
                  </a:cubicBezTo>
                  <a:cubicBezTo>
                    <a:pt x="301905" y="35196"/>
                    <a:pt x="329574" y="30168"/>
                    <a:pt x="344666" y="42737"/>
                  </a:cubicBezTo>
                  <a:cubicBezTo>
                    <a:pt x="359758" y="60335"/>
                    <a:pt x="347182" y="100559"/>
                    <a:pt x="314482" y="130726"/>
                  </a:cubicBezTo>
                  <a:lnTo>
                    <a:pt x="113254" y="130726"/>
                  </a:lnTo>
                  <a:cubicBezTo>
                    <a:pt x="80555" y="100559"/>
                    <a:pt x="67978" y="60335"/>
                    <a:pt x="85586" y="42737"/>
                  </a:cubicBezTo>
                  <a:cubicBezTo>
                    <a:pt x="98162" y="30168"/>
                    <a:pt x="128347" y="35196"/>
                    <a:pt x="156015" y="55307"/>
                  </a:cubicBezTo>
                  <a:cubicBezTo>
                    <a:pt x="163561" y="22626"/>
                    <a:pt x="186199" y="0"/>
                    <a:pt x="213868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anchor="ctr">
              <a:noAutofit/>
            </a:bodyPr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95910403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6EAB0C97-F8A9-48EA-89BC-550EC4276366}"/>
              </a:ext>
            </a:extLst>
          </p:cNvPr>
          <p:cNvSpPr txBox="1"/>
          <p:nvPr/>
        </p:nvSpPr>
        <p:spPr>
          <a:xfrm>
            <a:off x="840509" y="621390"/>
            <a:ext cx="44229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/>
              <a:t>计算需求规律：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9C6FA10B-50F4-496B-A8DE-85773752F590}"/>
              </a:ext>
            </a:extLst>
          </p:cNvPr>
          <p:cNvSpPr txBox="1"/>
          <p:nvPr/>
        </p:nvSpPr>
        <p:spPr>
          <a:xfrm>
            <a:off x="3338759" y="682945"/>
            <a:ext cx="52612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/>
              <a:t>除了日规律之间的多样化，还有周需求规律</a:t>
            </a:r>
          </a:p>
        </p:txBody>
      </p:sp>
      <p:graphicFrame>
        <p:nvGraphicFramePr>
          <p:cNvPr id="5" name="图表 4">
            <a:extLst>
              <a:ext uri="{FF2B5EF4-FFF2-40B4-BE49-F238E27FC236}">
                <a16:creationId xmlns:a16="http://schemas.microsoft.com/office/drawing/2014/main" id="{B4725E40-2467-421D-B0C2-90732E136EB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73760572"/>
              </p:ext>
            </p:extLst>
          </p:nvPr>
        </p:nvGraphicFramePr>
        <p:xfrm>
          <a:off x="1082698" y="1815540"/>
          <a:ext cx="10026603" cy="45704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矩形 5">
            <a:extLst>
              <a:ext uri="{FF2B5EF4-FFF2-40B4-BE49-F238E27FC236}">
                <a16:creationId xmlns:a16="http://schemas.microsoft.com/office/drawing/2014/main" id="{CE05CDA2-6962-43C6-BF92-1D5E200F01D9}"/>
              </a:ext>
            </a:extLst>
          </p:cNvPr>
          <p:cNvSpPr/>
          <p:nvPr/>
        </p:nvSpPr>
        <p:spPr>
          <a:xfrm>
            <a:off x="840509" y="1353875"/>
            <a:ext cx="6096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zh-CN" altLang="en-US" dirty="0"/>
              <a:t>模型优化后可达效果：周规律的贴合度提升</a:t>
            </a:r>
            <a:r>
              <a:rPr lang="en-US" altLang="zh-CN" sz="2400" b="1" dirty="0"/>
              <a:t>54%</a:t>
            </a:r>
            <a:endParaRPr lang="zh-CN" altLang="en-US" b="1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DCE4040C-856E-4479-9B49-5565A4784F6B}"/>
              </a:ext>
            </a:extLst>
          </p:cNvPr>
          <p:cNvSpPr txBox="1"/>
          <p:nvPr/>
        </p:nvSpPr>
        <p:spPr>
          <a:xfrm>
            <a:off x="9820194" y="6249024"/>
            <a:ext cx="21361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50" dirty="0"/>
              <a:t>来源：郑州粤海店</a:t>
            </a:r>
          </a:p>
        </p:txBody>
      </p:sp>
    </p:spTree>
    <p:extLst>
      <p:ext uri="{BB962C8B-B14F-4D97-AF65-F5344CB8AC3E}">
        <p14:creationId xmlns:p14="http://schemas.microsoft.com/office/powerpoint/2010/main" val="138230714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>
            <a:extLst>
              <a:ext uri="{FF2B5EF4-FFF2-40B4-BE49-F238E27FC236}">
                <a16:creationId xmlns:a16="http://schemas.microsoft.com/office/drawing/2014/main" id="{37391830-B4C1-41D1-8334-FDA64FA8F71B}"/>
              </a:ext>
            </a:extLst>
          </p:cNvPr>
          <p:cNvSpPr txBox="1"/>
          <p:nvPr/>
        </p:nvSpPr>
        <p:spPr>
          <a:xfrm>
            <a:off x="606391" y="699267"/>
            <a:ext cx="37998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细化三个班次排班时间</a:t>
            </a:r>
            <a:endParaRPr lang="en-US" altLang="zh-CN" dirty="0"/>
          </a:p>
        </p:txBody>
      </p:sp>
      <p:grpSp>
        <p:nvGrpSpPr>
          <p:cNvPr id="6" name="3133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2223D935-6148-411A-8846-C864A8650E7C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-280163" y="1404661"/>
            <a:ext cx="7787127" cy="2159430"/>
            <a:chOff x="2474473" y="2558835"/>
            <a:chExt cx="7787127" cy="2159430"/>
          </a:xfrm>
        </p:grpSpPr>
        <p:sp>
          <p:nvSpPr>
            <p:cNvPr id="7" name="íśḻíḍê">
              <a:extLst>
                <a:ext uri="{FF2B5EF4-FFF2-40B4-BE49-F238E27FC236}">
                  <a16:creationId xmlns:a16="http://schemas.microsoft.com/office/drawing/2014/main" id="{0247A98A-A59B-4C92-AE59-EC90807525FB}"/>
                </a:ext>
              </a:extLst>
            </p:cNvPr>
            <p:cNvSpPr/>
            <p:nvPr/>
          </p:nvSpPr>
          <p:spPr>
            <a:xfrm>
              <a:off x="5824353" y="2558835"/>
              <a:ext cx="1372198" cy="1372337"/>
            </a:xfrm>
            <a:prstGeom prst="circularArrow">
              <a:avLst>
                <a:gd name="adj1" fmla="val 10980"/>
                <a:gd name="adj2" fmla="val 1142322"/>
                <a:gd name="adj3" fmla="val 4500000"/>
                <a:gd name="adj4" fmla="val 10800000"/>
                <a:gd name="adj5" fmla="val 125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sz="4000"/>
            </a:p>
          </p:txBody>
        </p:sp>
        <p:sp>
          <p:nvSpPr>
            <p:cNvPr id="8" name="ïśliḍe">
              <a:extLst>
                <a:ext uri="{FF2B5EF4-FFF2-40B4-BE49-F238E27FC236}">
                  <a16:creationId xmlns:a16="http://schemas.microsoft.com/office/drawing/2014/main" id="{6D5D7F88-E27F-4FBF-8DB5-6FC982ACF6AB}"/>
                </a:ext>
              </a:extLst>
            </p:cNvPr>
            <p:cNvSpPr/>
            <p:nvPr/>
          </p:nvSpPr>
          <p:spPr>
            <a:xfrm>
              <a:off x="5443144" y="3345928"/>
              <a:ext cx="1372198" cy="1372337"/>
            </a:xfrm>
            <a:prstGeom prst="leftCircularArrow">
              <a:avLst>
                <a:gd name="adj1" fmla="val 10980"/>
                <a:gd name="adj2" fmla="val 1142322"/>
                <a:gd name="adj3" fmla="val 6300000"/>
                <a:gd name="adj4" fmla="val 18900000"/>
                <a:gd name="adj5" fmla="val 125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sz="4000"/>
            </a:p>
          </p:txBody>
        </p:sp>
        <p:sp>
          <p:nvSpPr>
            <p:cNvPr id="9" name="íṥḷíḋê">
              <a:extLst>
                <a:ext uri="{FF2B5EF4-FFF2-40B4-BE49-F238E27FC236}">
                  <a16:creationId xmlns:a16="http://schemas.microsoft.com/office/drawing/2014/main" id="{02BC0D98-B87A-4463-93D0-D6A1CA789305}"/>
                </a:ext>
              </a:extLst>
            </p:cNvPr>
            <p:cNvSpPr/>
            <p:nvPr/>
          </p:nvSpPr>
          <p:spPr bwMode="auto">
            <a:xfrm>
              <a:off x="6330298" y="2968082"/>
              <a:ext cx="360307" cy="377848"/>
            </a:xfrm>
            <a:custGeom>
              <a:avLst/>
              <a:gdLst>
                <a:gd name="connsiteX0" fmla="*/ 271981 w 578354"/>
                <a:gd name="connsiteY0" fmla="*/ 340887 h 606510"/>
                <a:gd name="connsiteX1" fmla="*/ 256365 w 578354"/>
                <a:gd name="connsiteY1" fmla="*/ 346409 h 606510"/>
                <a:gd name="connsiteX2" fmla="*/ 251051 w 578354"/>
                <a:gd name="connsiteY2" fmla="*/ 352798 h 606510"/>
                <a:gd name="connsiteX3" fmla="*/ 251051 w 578354"/>
                <a:gd name="connsiteY3" fmla="*/ 368716 h 606510"/>
                <a:gd name="connsiteX4" fmla="*/ 248665 w 578354"/>
                <a:gd name="connsiteY4" fmla="*/ 370449 h 606510"/>
                <a:gd name="connsiteX5" fmla="*/ 247038 w 578354"/>
                <a:gd name="connsiteY5" fmla="*/ 375322 h 606510"/>
                <a:gd name="connsiteX6" fmla="*/ 250509 w 578354"/>
                <a:gd name="connsiteY6" fmla="*/ 409431 h 606510"/>
                <a:gd name="connsiteX7" fmla="*/ 255172 w 578354"/>
                <a:gd name="connsiteY7" fmla="*/ 414954 h 606510"/>
                <a:gd name="connsiteX8" fmla="*/ 256907 w 578354"/>
                <a:gd name="connsiteY8" fmla="*/ 415170 h 606510"/>
                <a:gd name="connsiteX9" fmla="*/ 262004 w 578354"/>
                <a:gd name="connsiteY9" fmla="*/ 412572 h 606510"/>
                <a:gd name="connsiteX10" fmla="*/ 280114 w 578354"/>
                <a:gd name="connsiteY10" fmla="*/ 388749 h 606510"/>
                <a:gd name="connsiteX11" fmla="*/ 281307 w 578354"/>
                <a:gd name="connsiteY11" fmla="*/ 384851 h 606510"/>
                <a:gd name="connsiteX12" fmla="*/ 281307 w 578354"/>
                <a:gd name="connsiteY12" fmla="*/ 346626 h 606510"/>
                <a:gd name="connsiteX13" fmla="*/ 278270 w 578354"/>
                <a:gd name="connsiteY13" fmla="*/ 341104 h 606510"/>
                <a:gd name="connsiteX14" fmla="*/ 271981 w 578354"/>
                <a:gd name="connsiteY14" fmla="*/ 340887 h 606510"/>
                <a:gd name="connsiteX15" fmla="*/ 190755 w 578354"/>
                <a:gd name="connsiteY15" fmla="*/ 340887 h 606510"/>
                <a:gd name="connsiteX16" fmla="*/ 184357 w 578354"/>
                <a:gd name="connsiteY16" fmla="*/ 341104 h 606510"/>
                <a:gd name="connsiteX17" fmla="*/ 181321 w 578354"/>
                <a:gd name="connsiteY17" fmla="*/ 346626 h 606510"/>
                <a:gd name="connsiteX18" fmla="*/ 181212 w 578354"/>
                <a:gd name="connsiteY18" fmla="*/ 384851 h 606510"/>
                <a:gd name="connsiteX19" fmla="*/ 182513 w 578354"/>
                <a:gd name="connsiteY19" fmla="*/ 388749 h 606510"/>
                <a:gd name="connsiteX20" fmla="*/ 200624 w 578354"/>
                <a:gd name="connsiteY20" fmla="*/ 412680 h 606510"/>
                <a:gd name="connsiteX21" fmla="*/ 205721 w 578354"/>
                <a:gd name="connsiteY21" fmla="*/ 415170 h 606510"/>
                <a:gd name="connsiteX22" fmla="*/ 207456 w 578354"/>
                <a:gd name="connsiteY22" fmla="*/ 414954 h 606510"/>
                <a:gd name="connsiteX23" fmla="*/ 212119 w 578354"/>
                <a:gd name="connsiteY23" fmla="*/ 409431 h 606510"/>
                <a:gd name="connsiteX24" fmla="*/ 215589 w 578354"/>
                <a:gd name="connsiteY24" fmla="*/ 375322 h 606510"/>
                <a:gd name="connsiteX25" fmla="*/ 213963 w 578354"/>
                <a:gd name="connsiteY25" fmla="*/ 370449 h 606510"/>
                <a:gd name="connsiteX26" fmla="*/ 211577 w 578354"/>
                <a:gd name="connsiteY26" fmla="*/ 368716 h 606510"/>
                <a:gd name="connsiteX27" fmla="*/ 211577 w 578354"/>
                <a:gd name="connsiteY27" fmla="*/ 352798 h 606510"/>
                <a:gd name="connsiteX28" fmla="*/ 206263 w 578354"/>
                <a:gd name="connsiteY28" fmla="*/ 346409 h 606510"/>
                <a:gd name="connsiteX29" fmla="*/ 190755 w 578354"/>
                <a:gd name="connsiteY29" fmla="*/ 340887 h 606510"/>
                <a:gd name="connsiteX30" fmla="*/ 200624 w 578354"/>
                <a:gd name="connsiteY30" fmla="*/ 168497 h 606510"/>
                <a:gd name="connsiteX31" fmla="*/ 156161 w 578354"/>
                <a:gd name="connsiteY31" fmla="*/ 180300 h 606510"/>
                <a:gd name="connsiteX32" fmla="*/ 152583 w 578354"/>
                <a:gd name="connsiteY32" fmla="*/ 186039 h 606510"/>
                <a:gd name="connsiteX33" fmla="*/ 152583 w 578354"/>
                <a:gd name="connsiteY33" fmla="*/ 197518 h 606510"/>
                <a:gd name="connsiteX34" fmla="*/ 149980 w 578354"/>
                <a:gd name="connsiteY34" fmla="*/ 197518 h 606510"/>
                <a:gd name="connsiteX35" fmla="*/ 143473 w 578354"/>
                <a:gd name="connsiteY35" fmla="*/ 203906 h 606510"/>
                <a:gd name="connsiteX36" fmla="*/ 143473 w 578354"/>
                <a:gd name="connsiteY36" fmla="*/ 214410 h 606510"/>
                <a:gd name="connsiteX37" fmla="*/ 146401 w 578354"/>
                <a:gd name="connsiteY37" fmla="*/ 219824 h 606510"/>
                <a:gd name="connsiteX38" fmla="*/ 152691 w 578354"/>
                <a:gd name="connsiteY38" fmla="*/ 223831 h 606510"/>
                <a:gd name="connsiteX39" fmla="*/ 153016 w 578354"/>
                <a:gd name="connsiteY39" fmla="*/ 226538 h 606510"/>
                <a:gd name="connsiteX40" fmla="*/ 176007 w 578354"/>
                <a:gd name="connsiteY40" fmla="*/ 279598 h 606510"/>
                <a:gd name="connsiteX41" fmla="*/ 214071 w 578354"/>
                <a:gd name="connsiteY41" fmla="*/ 312516 h 606510"/>
                <a:gd name="connsiteX42" fmla="*/ 248557 w 578354"/>
                <a:gd name="connsiteY42" fmla="*/ 312516 h 606510"/>
                <a:gd name="connsiteX43" fmla="*/ 286621 w 578354"/>
                <a:gd name="connsiteY43" fmla="*/ 279598 h 606510"/>
                <a:gd name="connsiteX44" fmla="*/ 309611 w 578354"/>
                <a:gd name="connsiteY44" fmla="*/ 226538 h 606510"/>
                <a:gd name="connsiteX45" fmla="*/ 309936 w 578354"/>
                <a:gd name="connsiteY45" fmla="*/ 223831 h 606510"/>
                <a:gd name="connsiteX46" fmla="*/ 316226 w 578354"/>
                <a:gd name="connsiteY46" fmla="*/ 219824 h 606510"/>
                <a:gd name="connsiteX47" fmla="*/ 319154 w 578354"/>
                <a:gd name="connsiteY47" fmla="*/ 214410 h 606510"/>
                <a:gd name="connsiteX48" fmla="*/ 319154 w 578354"/>
                <a:gd name="connsiteY48" fmla="*/ 203906 h 606510"/>
                <a:gd name="connsiteX49" fmla="*/ 312756 w 578354"/>
                <a:gd name="connsiteY49" fmla="*/ 197518 h 606510"/>
                <a:gd name="connsiteX50" fmla="*/ 309177 w 578354"/>
                <a:gd name="connsiteY50" fmla="*/ 197518 h 606510"/>
                <a:gd name="connsiteX51" fmla="*/ 307117 w 578354"/>
                <a:gd name="connsiteY51" fmla="*/ 195352 h 606510"/>
                <a:gd name="connsiteX52" fmla="*/ 301044 w 578354"/>
                <a:gd name="connsiteY52" fmla="*/ 194919 h 606510"/>
                <a:gd name="connsiteX53" fmla="*/ 275668 w 578354"/>
                <a:gd name="connsiteY53" fmla="*/ 200658 h 606510"/>
                <a:gd name="connsiteX54" fmla="*/ 236302 w 578354"/>
                <a:gd name="connsiteY54" fmla="*/ 182791 h 606510"/>
                <a:gd name="connsiteX55" fmla="*/ 200624 w 578354"/>
                <a:gd name="connsiteY55" fmla="*/ 168497 h 606510"/>
                <a:gd name="connsiteX56" fmla="*/ 426321 w 578354"/>
                <a:gd name="connsiteY56" fmla="*/ 71765 h 606510"/>
                <a:gd name="connsiteX57" fmla="*/ 439012 w 578354"/>
                <a:gd name="connsiteY57" fmla="*/ 84331 h 606510"/>
                <a:gd name="connsiteX58" fmla="*/ 439012 w 578354"/>
                <a:gd name="connsiteY58" fmla="*/ 99173 h 606510"/>
                <a:gd name="connsiteX59" fmla="*/ 464721 w 578354"/>
                <a:gd name="connsiteY59" fmla="*/ 112498 h 606510"/>
                <a:gd name="connsiteX60" fmla="*/ 467758 w 578354"/>
                <a:gd name="connsiteY60" fmla="*/ 124306 h 606510"/>
                <a:gd name="connsiteX61" fmla="*/ 459297 w 578354"/>
                <a:gd name="connsiteY61" fmla="*/ 133080 h 606510"/>
                <a:gd name="connsiteX62" fmla="*/ 452789 w 578354"/>
                <a:gd name="connsiteY62" fmla="*/ 135139 h 606510"/>
                <a:gd name="connsiteX63" fmla="*/ 439555 w 578354"/>
                <a:gd name="connsiteY63" fmla="*/ 131455 h 606510"/>
                <a:gd name="connsiteX64" fmla="*/ 425019 w 578354"/>
                <a:gd name="connsiteY64" fmla="*/ 125931 h 606510"/>
                <a:gd name="connsiteX65" fmla="*/ 413738 w 578354"/>
                <a:gd name="connsiteY65" fmla="*/ 132972 h 606510"/>
                <a:gd name="connsiteX66" fmla="*/ 415582 w 578354"/>
                <a:gd name="connsiteY66" fmla="*/ 137197 h 606510"/>
                <a:gd name="connsiteX67" fmla="*/ 426429 w 578354"/>
                <a:gd name="connsiteY67" fmla="*/ 140989 h 606510"/>
                <a:gd name="connsiteX68" fmla="*/ 456043 w 578354"/>
                <a:gd name="connsiteY68" fmla="*/ 149113 h 606510"/>
                <a:gd name="connsiteX69" fmla="*/ 471230 w 578354"/>
                <a:gd name="connsiteY69" fmla="*/ 161355 h 606510"/>
                <a:gd name="connsiteX70" fmla="*/ 477304 w 578354"/>
                <a:gd name="connsiteY70" fmla="*/ 181829 h 606510"/>
                <a:gd name="connsiteX71" fmla="*/ 465480 w 578354"/>
                <a:gd name="connsiteY71" fmla="*/ 209454 h 606510"/>
                <a:gd name="connsiteX72" fmla="*/ 439012 w 578354"/>
                <a:gd name="connsiteY72" fmla="*/ 222020 h 606510"/>
                <a:gd name="connsiteX73" fmla="*/ 439012 w 578354"/>
                <a:gd name="connsiteY73" fmla="*/ 242278 h 606510"/>
                <a:gd name="connsiteX74" fmla="*/ 426321 w 578354"/>
                <a:gd name="connsiteY74" fmla="*/ 254953 h 606510"/>
                <a:gd name="connsiteX75" fmla="*/ 413738 w 578354"/>
                <a:gd name="connsiteY75" fmla="*/ 242278 h 606510"/>
                <a:gd name="connsiteX76" fmla="*/ 413738 w 578354"/>
                <a:gd name="connsiteY76" fmla="*/ 222670 h 606510"/>
                <a:gd name="connsiteX77" fmla="*/ 378158 w 578354"/>
                <a:gd name="connsiteY77" fmla="*/ 202087 h 606510"/>
                <a:gd name="connsiteX78" fmla="*/ 377073 w 578354"/>
                <a:gd name="connsiteY78" fmla="*/ 190171 h 606510"/>
                <a:gd name="connsiteX79" fmla="*/ 386402 w 578354"/>
                <a:gd name="connsiteY79" fmla="*/ 182696 h 606510"/>
                <a:gd name="connsiteX80" fmla="*/ 395948 w 578354"/>
                <a:gd name="connsiteY80" fmla="*/ 180963 h 606510"/>
                <a:gd name="connsiteX81" fmla="*/ 408531 w 578354"/>
                <a:gd name="connsiteY81" fmla="*/ 186163 h 606510"/>
                <a:gd name="connsiteX82" fmla="*/ 426646 w 578354"/>
                <a:gd name="connsiteY82" fmla="*/ 193963 h 606510"/>
                <a:gd name="connsiteX83" fmla="*/ 439555 w 578354"/>
                <a:gd name="connsiteY83" fmla="*/ 187138 h 606510"/>
                <a:gd name="connsiteX84" fmla="*/ 436626 w 578354"/>
                <a:gd name="connsiteY84" fmla="*/ 181504 h 606510"/>
                <a:gd name="connsiteX85" fmla="*/ 425778 w 578354"/>
                <a:gd name="connsiteY85" fmla="*/ 177821 h 606510"/>
                <a:gd name="connsiteX86" fmla="*/ 385534 w 578354"/>
                <a:gd name="connsiteY86" fmla="*/ 161355 h 606510"/>
                <a:gd name="connsiteX87" fmla="*/ 376964 w 578354"/>
                <a:gd name="connsiteY87" fmla="*/ 138280 h 606510"/>
                <a:gd name="connsiteX88" fmla="*/ 386402 w 578354"/>
                <a:gd name="connsiteY88" fmla="*/ 112714 h 606510"/>
                <a:gd name="connsiteX89" fmla="*/ 413738 w 578354"/>
                <a:gd name="connsiteY89" fmla="*/ 98848 h 606510"/>
                <a:gd name="connsiteX90" fmla="*/ 413738 w 578354"/>
                <a:gd name="connsiteY90" fmla="*/ 84331 h 606510"/>
                <a:gd name="connsiteX91" fmla="*/ 426321 w 578354"/>
                <a:gd name="connsiteY91" fmla="*/ 71765 h 606510"/>
                <a:gd name="connsiteX92" fmla="*/ 215047 w 578354"/>
                <a:gd name="connsiteY92" fmla="*/ 46785 h 606510"/>
                <a:gd name="connsiteX93" fmla="*/ 247581 w 578354"/>
                <a:gd name="connsiteY93" fmla="*/ 46785 h 606510"/>
                <a:gd name="connsiteX94" fmla="*/ 347675 w 578354"/>
                <a:gd name="connsiteY94" fmla="*/ 146840 h 606510"/>
                <a:gd name="connsiteX95" fmla="*/ 347675 w 578354"/>
                <a:gd name="connsiteY95" fmla="*/ 178243 h 606510"/>
                <a:gd name="connsiteX96" fmla="*/ 353423 w 578354"/>
                <a:gd name="connsiteY96" fmla="*/ 196110 h 606510"/>
                <a:gd name="connsiteX97" fmla="*/ 353423 w 578354"/>
                <a:gd name="connsiteY97" fmla="*/ 218525 h 606510"/>
                <a:gd name="connsiteX98" fmla="*/ 342362 w 578354"/>
                <a:gd name="connsiteY98" fmla="*/ 242131 h 606510"/>
                <a:gd name="connsiteX99" fmla="*/ 335963 w 578354"/>
                <a:gd name="connsiteY99" fmla="*/ 259132 h 606510"/>
                <a:gd name="connsiteX100" fmla="*/ 314383 w 578354"/>
                <a:gd name="connsiteY100" fmla="*/ 299522 h 606510"/>
                <a:gd name="connsiteX101" fmla="*/ 299743 w 578354"/>
                <a:gd name="connsiteY101" fmla="*/ 318147 h 606510"/>
                <a:gd name="connsiteX102" fmla="*/ 310587 w 578354"/>
                <a:gd name="connsiteY102" fmla="*/ 331683 h 606510"/>
                <a:gd name="connsiteX103" fmla="*/ 382052 w 578354"/>
                <a:gd name="connsiteY103" fmla="*/ 353231 h 606510"/>
                <a:gd name="connsiteX104" fmla="*/ 462627 w 578354"/>
                <a:gd name="connsiteY104" fmla="*/ 587560 h 606510"/>
                <a:gd name="connsiteX105" fmla="*/ 443758 w 578354"/>
                <a:gd name="connsiteY105" fmla="*/ 606510 h 606510"/>
                <a:gd name="connsiteX106" fmla="*/ 18978 w 578354"/>
                <a:gd name="connsiteY106" fmla="*/ 606510 h 606510"/>
                <a:gd name="connsiteX107" fmla="*/ 0 w 578354"/>
                <a:gd name="connsiteY107" fmla="*/ 587560 h 606510"/>
                <a:gd name="connsiteX108" fmla="*/ 217 w 578354"/>
                <a:gd name="connsiteY108" fmla="*/ 584636 h 606510"/>
                <a:gd name="connsiteX109" fmla="*/ 80575 w 578354"/>
                <a:gd name="connsiteY109" fmla="*/ 353231 h 606510"/>
                <a:gd name="connsiteX110" fmla="*/ 152040 w 578354"/>
                <a:gd name="connsiteY110" fmla="*/ 331683 h 606510"/>
                <a:gd name="connsiteX111" fmla="*/ 162885 w 578354"/>
                <a:gd name="connsiteY111" fmla="*/ 318147 h 606510"/>
                <a:gd name="connsiteX112" fmla="*/ 148353 w 578354"/>
                <a:gd name="connsiteY112" fmla="*/ 299522 h 606510"/>
                <a:gd name="connsiteX113" fmla="*/ 126664 w 578354"/>
                <a:gd name="connsiteY113" fmla="*/ 259132 h 606510"/>
                <a:gd name="connsiteX114" fmla="*/ 120266 w 578354"/>
                <a:gd name="connsiteY114" fmla="*/ 242131 h 606510"/>
                <a:gd name="connsiteX115" fmla="*/ 109205 w 578354"/>
                <a:gd name="connsiteY115" fmla="*/ 218525 h 606510"/>
                <a:gd name="connsiteX116" fmla="*/ 109205 w 578354"/>
                <a:gd name="connsiteY116" fmla="*/ 196110 h 606510"/>
                <a:gd name="connsiteX117" fmla="*/ 114952 w 578354"/>
                <a:gd name="connsiteY117" fmla="*/ 178243 h 606510"/>
                <a:gd name="connsiteX118" fmla="*/ 114952 w 578354"/>
                <a:gd name="connsiteY118" fmla="*/ 146840 h 606510"/>
                <a:gd name="connsiteX119" fmla="*/ 215047 w 578354"/>
                <a:gd name="connsiteY119" fmla="*/ 46785 h 606510"/>
                <a:gd name="connsiteX120" fmla="*/ 414825 w 578354"/>
                <a:gd name="connsiteY120" fmla="*/ 0 h 606510"/>
                <a:gd name="connsiteX121" fmla="*/ 578354 w 578354"/>
                <a:gd name="connsiteY121" fmla="*/ 163305 h 606510"/>
                <a:gd name="connsiteX122" fmla="*/ 414825 w 578354"/>
                <a:gd name="connsiteY122" fmla="*/ 326718 h 606510"/>
                <a:gd name="connsiteX123" fmla="*/ 344664 w 578354"/>
                <a:gd name="connsiteY123" fmla="*/ 310907 h 606510"/>
                <a:gd name="connsiteX124" fmla="*/ 360063 w 578354"/>
                <a:gd name="connsiteY124" fmla="*/ 279719 h 606510"/>
                <a:gd name="connsiteX125" fmla="*/ 414825 w 578354"/>
                <a:gd name="connsiteY125" fmla="*/ 291956 h 606510"/>
                <a:gd name="connsiteX126" fmla="*/ 543545 w 578354"/>
                <a:gd name="connsiteY126" fmla="*/ 163305 h 606510"/>
                <a:gd name="connsiteX127" fmla="*/ 414825 w 578354"/>
                <a:gd name="connsiteY127" fmla="*/ 34762 h 606510"/>
                <a:gd name="connsiteX128" fmla="*/ 338808 w 578354"/>
                <a:gd name="connsiteY128" fmla="*/ 59561 h 606510"/>
                <a:gd name="connsiteX129" fmla="*/ 311264 w 578354"/>
                <a:gd name="connsiteY129" fmla="*/ 37036 h 606510"/>
                <a:gd name="connsiteX130" fmla="*/ 414825 w 578354"/>
                <a:gd name="connsiteY130" fmla="*/ 0 h 606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</a:cxnLst>
              <a:rect l="l" t="t" r="r" b="b"/>
              <a:pathLst>
                <a:path w="578354" h="606510">
                  <a:moveTo>
                    <a:pt x="271981" y="340887"/>
                  </a:moveTo>
                  <a:cubicBezTo>
                    <a:pt x="266667" y="343702"/>
                    <a:pt x="261461" y="345543"/>
                    <a:pt x="256365" y="346409"/>
                  </a:cubicBezTo>
                  <a:cubicBezTo>
                    <a:pt x="253328" y="346951"/>
                    <a:pt x="251051" y="349658"/>
                    <a:pt x="251051" y="352798"/>
                  </a:cubicBezTo>
                  <a:lnTo>
                    <a:pt x="251051" y="368716"/>
                  </a:lnTo>
                  <a:cubicBezTo>
                    <a:pt x="250183" y="369149"/>
                    <a:pt x="249316" y="369691"/>
                    <a:pt x="248665" y="370449"/>
                  </a:cubicBezTo>
                  <a:cubicBezTo>
                    <a:pt x="247472" y="371748"/>
                    <a:pt x="246821" y="373589"/>
                    <a:pt x="247038" y="375322"/>
                  </a:cubicBezTo>
                  <a:lnTo>
                    <a:pt x="250509" y="409431"/>
                  </a:lnTo>
                  <a:cubicBezTo>
                    <a:pt x="250834" y="412030"/>
                    <a:pt x="252677" y="414196"/>
                    <a:pt x="255172" y="414954"/>
                  </a:cubicBezTo>
                  <a:cubicBezTo>
                    <a:pt x="255822" y="415062"/>
                    <a:pt x="256365" y="415170"/>
                    <a:pt x="256907" y="415170"/>
                  </a:cubicBezTo>
                  <a:cubicBezTo>
                    <a:pt x="258859" y="415170"/>
                    <a:pt x="260811" y="414304"/>
                    <a:pt x="262004" y="412572"/>
                  </a:cubicBezTo>
                  <a:lnTo>
                    <a:pt x="280114" y="388749"/>
                  </a:lnTo>
                  <a:cubicBezTo>
                    <a:pt x="280873" y="387666"/>
                    <a:pt x="281307" y="386258"/>
                    <a:pt x="281307" y="384851"/>
                  </a:cubicBezTo>
                  <a:lnTo>
                    <a:pt x="281307" y="346626"/>
                  </a:lnTo>
                  <a:cubicBezTo>
                    <a:pt x="281307" y="344352"/>
                    <a:pt x="280222" y="342295"/>
                    <a:pt x="278270" y="341104"/>
                  </a:cubicBezTo>
                  <a:cubicBezTo>
                    <a:pt x="276318" y="339912"/>
                    <a:pt x="273933" y="339912"/>
                    <a:pt x="271981" y="340887"/>
                  </a:cubicBezTo>
                  <a:close/>
                  <a:moveTo>
                    <a:pt x="190755" y="340887"/>
                  </a:moveTo>
                  <a:cubicBezTo>
                    <a:pt x="188695" y="339912"/>
                    <a:pt x="186309" y="339912"/>
                    <a:pt x="184357" y="341104"/>
                  </a:cubicBezTo>
                  <a:cubicBezTo>
                    <a:pt x="182513" y="342295"/>
                    <a:pt x="181321" y="344352"/>
                    <a:pt x="181321" y="346626"/>
                  </a:cubicBezTo>
                  <a:lnTo>
                    <a:pt x="181212" y="384851"/>
                  </a:lnTo>
                  <a:cubicBezTo>
                    <a:pt x="181212" y="386258"/>
                    <a:pt x="181754" y="387666"/>
                    <a:pt x="182513" y="388749"/>
                  </a:cubicBezTo>
                  <a:lnTo>
                    <a:pt x="200624" y="412680"/>
                  </a:lnTo>
                  <a:cubicBezTo>
                    <a:pt x="201817" y="414304"/>
                    <a:pt x="203769" y="415170"/>
                    <a:pt x="205721" y="415170"/>
                  </a:cubicBezTo>
                  <a:cubicBezTo>
                    <a:pt x="206263" y="415170"/>
                    <a:pt x="206914" y="415062"/>
                    <a:pt x="207456" y="414954"/>
                  </a:cubicBezTo>
                  <a:cubicBezTo>
                    <a:pt x="209950" y="414196"/>
                    <a:pt x="211794" y="412030"/>
                    <a:pt x="212119" y="409431"/>
                  </a:cubicBezTo>
                  <a:lnTo>
                    <a:pt x="215589" y="375322"/>
                  </a:lnTo>
                  <a:cubicBezTo>
                    <a:pt x="215806" y="373589"/>
                    <a:pt x="215264" y="371748"/>
                    <a:pt x="213963" y="370449"/>
                  </a:cubicBezTo>
                  <a:cubicBezTo>
                    <a:pt x="213312" y="369691"/>
                    <a:pt x="212553" y="369149"/>
                    <a:pt x="211577" y="368716"/>
                  </a:cubicBezTo>
                  <a:lnTo>
                    <a:pt x="211577" y="352798"/>
                  </a:lnTo>
                  <a:cubicBezTo>
                    <a:pt x="211577" y="349658"/>
                    <a:pt x="209299" y="346951"/>
                    <a:pt x="206263" y="346409"/>
                  </a:cubicBezTo>
                  <a:cubicBezTo>
                    <a:pt x="201166" y="345543"/>
                    <a:pt x="195961" y="343702"/>
                    <a:pt x="190755" y="340887"/>
                  </a:cubicBezTo>
                  <a:close/>
                  <a:moveTo>
                    <a:pt x="200624" y="168497"/>
                  </a:moveTo>
                  <a:cubicBezTo>
                    <a:pt x="182513" y="168497"/>
                    <a:pt x="164945" y="175861"/>
                    <a:pt x="156161" y="180300"/>
                  </a:cubicBezTo>
                  <a:cubicBezTo>
                    <a:pt x="153884" y="181383"/>
                    <a:pt x="152583" y="183657"/>
                    <a:pt x="152583" y="186039"/>
                  </a:cubicBezTo>
                  <a:lnTo>
                    <a:pt x="152583" y="197518"/>
                  </a:lnTo>
                  <a:lnTo>
                    <a:pt x="149980" y="197518"/>
                  </a:lnTo>
                  <a:cubicBezTo>
                    <a:pt x="146401" y="197518"/>
                    <a:pt x="143473" y="200333"/>
                    <a:pt x="143473" y="203906"/>
                  </a:cubicBezTo>
                  <a:lnTo>
                    <a:pt x="143473" y="214410"/>
                  </a:lnTo>
                  <a:cubicBezTo>
                    <a:pt x="143473" y="216576"/>
                    <a:pt x="144666" y="218633"/>
                    <a:pt x="146401" y="219824"/>
                  </a:cubicBezTo>
                  <a:lnTo>
                    <a:pt x="152691" y="223831"/>
                  </a:lnTo>
                  <a:lnTo>
                    <a:pt x="153016" y="226538"/>
                  </a:lnTo>
                  <a:cubicBezTo>
                    <a:pt x="155077" y="241806"/>
                    <a:pt x="163644" y="261731"/>
                    <a:pt x="176007" y="279598"/>
                  </a:cubicBezTo>
                  <a:cubicBezTo>
                    <a:pt x="191731" y="302338"/>
                    <a:pt x="206480" y="312516"/>
                    <a:pt x="214071" y="312516"/>
                  </a:cubicBezTo>
                  <a:lnTo>
                    <a:pt x="248557" y="312516"/>
                  </a:lnTo>
                  <a:cubicBezTo>
                    <a:pt x="256148" y="312516"/>
                    <a:pt x="270896" y="302338"/>
                    <a:pt x="286621" y="279598"/>
                  </a:cubicBezTo>
                  <a:cubicBezTo>
                    <a:pt x="298984" y="261731"/>
                    <a:pt x="307551" y="241806"/>
                    <a:pt x="309611" y="226538"/>
                  </a:cubicBezTo>
                  <a:lnTo>
                    <a:pt x="309936" y="223831"/>
                  </a:lnTo>
                  <a:lnTo>
                    <a:pt x="316226" y="219824"/>
                  </a:lnTo>
                  <a:cubicBezTo>
                    <a:pt x="318070" y="218633"/>
                    <a:pt x="319154" y="216576"/>
                    <a:pt x="319154" y="214410"/>
                  </a:cubicBezTo>
                  <a:lnTo>
                    <a:pt x="319154" y="203906"/>
                  </a:lnTo>
                  <a:cubicBezTo>
                    <a:pt x="319154" y="200333"/>
                    <a:pt x="316226" y="197518"/>
                    <a:pt x="312756" y="197518"/>
                  </a:cubicBezTo>
                  <a:lnTo>
                    <a:pt x="309177" y="197518"/>
                  </a:lnTo>
                  <a:cubicBezTo>
                    <a:pt x="308744" y="196651"/>
                    <a:pt x="307984" y="195893"/>
                    <a:pt x="307117" y="195352"/>
                  </a:cubicBezTo>
                  <a:cubicBezTo>
                    <a:pt x="305382" y="194161"/>
                    <a:pt x="302996" y="193944"/>
                    <a:pt x="301044" y="194919"/>
                  </a:cubicBezTo>
                  <a:cubicBezTo>
                    <a:pt x="292477" y="198709"/>
                    <a:pt x="283910" y="200658"/>
                    <a:pt x="275668" y="200658"/>
                  </a:cubicBezTo>
                  <a:cubicBezTo>
                    <a:pt x="261028" y="200658"/>
                    <a:pt x="247797" y="194702"/>
                    <a:pt x="236302" y="182791"/>
                  </a:cubicBezTo>
                  <a:cubicBezTo>
                    <a:pt x="227193" y="173370"/>
                    <a:pt x="215155" y="168497"/>
                    <a:pt x="200624" y="168497"/>
                  </a:cubicBezTo>
                  <a:close/>
                  <a:moveTo>
                    <a:pt x="426321" y="71765"/>
                  </a:moveTo>
                  <a:cubicBezTo>
                    <a:pt x="433372" y="71765"/>
                    <a:pt x="439012" y="77398"/>
                    <a:pt x="439012" y="84331"/>
                  </a:cubicBezTo>
                  <a:lnTo>
                    <a:pt x="439012" y="99173"/>
                  </a:lnTo>
                  <a:cubicBezTo>
                    <a:pt x="449860" y="101231"/>
                    <a:pt x="458321" y="105564"/>
                    <a:pt x="464721" y="112498"/>
                  </a:cubicBezTo>
                  <a:cubicBezTo>
                    <a:pt x="467650" y="115639"/>
                    <a:pt x="468843" y="120081"/>
                    <a:pt x="467758" y="124306"/>
                  </a:cubicBezTo>
                  <a:cubicBezTo>
                    <a:pt x="466565" y="128531"/>
                    <a:pt x="463419" y="131780"/>
                    <a:pt x="459297" y="133080"/>
                  </a:cubicBezTo>
                  <a:lnTo>
                    <a:pt x="452789" y="135139"/>
                  </a:lnTo>
                  <a:cubicBezTo>
                    <a:pt x="448016" y="136655"/>
                    <a:pt x="442809" y="135247"/>
                    <a:pt x="439555" y="131455"/>
                  </a:cubicBezTo>
                  <a:cubicBezTo>
                    <a:pt x="436192" y="127772"/>
                    <a:pt x="431311" y="125931"/>
                    <a:pt x="425019" y="125931"/>
                  </a:cubicBezTo>
                  <a:cubicBezTo>
                    <a:pt x="419921" y="125931"/>
                    <a:pt x="413738" y="127122"/>
                    <a:pt x="413738" y="132972"/>
                  </a:cubicBezTo>
                  <a:cubicBezTo>
                    <a:pt x="413738" y="134597"/>
                    <a:pt x="414388" y="136005"/>
                    <a:pt x="415582" y="137197"/>
                  </a:cubicBezTo>
                  <a:cubicBezTo>
                    <a:pt x="416883" y="138389"/>
                    <a:pt x="420463" y="139689"/>
                    <a:pt x="426429" y="140989"/>
                  </a:cubicBezTo>
                  <a:cubicBezTo>
                    <a:pt x="440097" y="144022"/>
                    <a:pt x="450077" y="146730"/>
                    <a:pt x="456043" y="149113"/>
                  </a:cubicBezTo>
                  <a:cubicBezTo>
                    <a:pt x="462118" y="151497"/>
                    <a:pt x="467216" y="155613"/>
                    <a:pt x="471230" y="161355"/>
                  </a:cubicBezTo>
                  <a:cubicBezTo>
                    <a:pt x="475243" y="167096"/>
                    <a:pt x="477304" y="174030"/>
                    <a:pt x="477304" y="181829"/>
                  </a:cubicBezTo>
                  <a:cubicBezTo>
                    <a:pt x="477304" y="192771"/>
                    <a:pt x="473291" y="202087"/>
                    <a:pt x="465480" y="209454"/>
                  </a:cubicBezTo>
                  <a:cubicBezTo>
                    <a:pt x="458863" y="215737"/>
                    <a:pt x="449968" y="219962"/>
                    <a:pt x="439012" y="222020"/>
                  </a:cubicBezTo>
                  <a:lnTo>
                    <a:pt x="439012" y="242278"/>
                  </a:lnTo>
                  <a:cubicBezTo>
                    <a:pt x="439012" y="249320"/>
                    <a:pt x="433372" y="254953"/>
                    <a:pt x="426321" y="254953"/>
                  </a:cubicBezTo>
                  <a:cubicBezTo>
                    <a:pt x="419378" y="254953"/>
                    <a:pt x="413738" y="249320"/>
                    <a:pt x="413738" y="242278"/>
                  </a:cubicBezTo>
                  <a:lnTo>
                    <a:pt x="413738" y="222670"/>
                  </a:lnTo>
                  <a:cubicBezTo>
                    <a:pt x="397683" y="220504"/>
                    <a:pt x="385751" y="213571"/>
                    <a:pt x="378158" y="202087"/>
                  </a:cubicBezTo>
                  <a:cubicBezTo>
                    <a:pt x="375771" y="198512"/>
                    <a:pt x="375337" y="194071"/>
                    <a:pt x="377073" y="190171"/>
                  </a:cubicBezTo>
                  <a:cubicBezTo>
                    <a:pt x="378700" y="186271"/>
                    <a:pt x="382171" y="183454"/>
                    <a:pt x="386402" y="182696"/>
                  </a:cubicBezTo>
                  <a:lnTo>
                    <a:pt x="395948" y="180963"/>
                  </a:lnTo>
                  <a:cubicBezTo>
                    <a:pt x="400721" y="180096"/>
                    <a:pt x="405710" y="182046"/>
                    <a:pt x="408531" y="186163"/>
                  </a:cubicBezTo>
                  <a:cubicBezTo>
                    <a:pt x="412110" y="191254"/>
                    <a:pt x="418185" y="193963"/>
                    <a:pt x="426646" y="193963"/>
                  </a:cubicBezTo>
                  <a:cubicBezTo>
                    <a:pt x="439555" y="193963"/>
                    <a:pt x="439555" y="188763"/>
                    <a:pt x="439555" y="187138"/>
                  </a:cubicBezTo>
                  <a:cubicBezTo>
                    <a:pt x="439555" y="184646"/>
                    <a:pt x="438578" y="182913"/>
                    <a:pt x="436626" y="181504"/>
                  </a:cubicBezTo>
                  <a:cubicBezTo>
                    <a:pt x="434673" y="180096"/>
                    <a:pt x="430985" y="178905"/>
                    <a:pt x="425778" y="177821"/>
                  </a:cubicBezTo>
                  <a:cubicBezTo>
                    <a:pt x="404734" y="173488"/>
                    <a:pt x="391283" y="167963"/>
                    <a:pt x="385534" y="161355"/>
                  </a:cubicBezTo>
                  <a:cubicBezTo>
                    <a:pt x="379785" y="154530"/>
                    <a:pt x="376964" y="147055"/>
                    <a:pt x="376964" y="138280"/>
                  </a:cubicBezTo>
                  <a:cubicBezTo>
                    <a:pt x="376964" y="128639"/>
                    <a:pt x="380110" y="120081"/>
                    <a:pt x="386402" y="112714"/>
                  </a:cubicBezTo>
                  <a:cubicBezTo>
                    <a:pt x="392368" y="105564"/>
                    <a:pt x="401588" y="100906"/>
                    <a:pt x="413738" y="98848"/>
                  </a:cubicBezTo>
                  <a:lnTo>
                    <a:pt x="413738" y="84331"/>
                  </a:lnTo>
                  <a:cubicBezTo>
                    <a:pt x="413738" y="77398"/>
                    <a:pt x="419378" y="71765"/>
                    <a:pt x="426321" y="71765"/>
                  </a:cubicBezTo>
                  <a:close/>
                  <a:moveTo>
                    <a:pt x="215047" y="46785"/>
                  </a:moveTo>
                  <a:lnTo>
                    <a:pt x="247581" y="46785"/>
                  </a:lnTo>
                  <a:cubicBezTo>
                    <a:pt x="302779" y="46785"/>
                    <a:pt x="347675" y="91723"/>
                    <a:pt x="347675" y="146840"/>
                  </a:cubicBezTo>
                  <a:lnTo>
                    <a:pt x="347675" y="178243"/>
                  </a:lnTo>
                  <a:cubicBezTo>
                    <a:pt x="351471" y="183441"/>
                    <a:pt x="353423" y="189721"/>
                    <a:pt x="353423" y="196110"/>
                  </a:cubicBezTo>
                  <a:lnTo>
                    <a:pt x="353423" y="218525"/>
                  </a:lnTo>
                  <a:cubicBezTo>
                    <a:pt x="353423" y="227621"/>
                    <a:pt x="349302" y="236284"/>
                    <a:pt x="342362" y="242131"/>
                  </a:cubicBezTo>
                  <a:cubicBezTo>
                    <a:pt x="340626" y="247654"/>
                    <a:pt x="338458" y="253393"/>
                    <a:pt x="335963" y="259132"/>
                  </a:cubicBezTo>
                  <a:cubicBezTo>
                    <a:pt x="330758" y="272559"/>
                    <a:pt x="323275" y="286528"/>
                    <a:pt x="314383" y="299522"/>
                  </a:cubicBezTo>
                  <a:cubicBezTo>
                    <a:pt x="310587" y="305045"/>
                    <a:pt x="305599" y="311650"/>
                    <a:pt x="299743" y="318147"/>
                  </a:cubicBezTo>
                  <a:cubicBezTo>
                    <a:pt x="305056" y="321937"/>
                    <a:pt x="308852" y="326485"/>
                    <a:pt x="310587" y="331683"/>
                  </a:cubicBezTo>
                  <a:lnTo>
                    <a:pt x="382052" y="353231"/>
                  </a:lnTo>
                  <a:cubicBezTo>
                    <a:pt x="432263" y="367742"/>
                    <a:pt x="462627" y="578464"/>
                    <a:pt x="462627" y="587560"/>
                  </a:cubicBezTo>
                  <a:cubicBezTo>
                    <a:pt x="462627" y="598064"/>
                    <a:pt x="454169" y="606510"/>
                    <a:pt x="443758" y="606510"/>
                  </a:cubicBezTo>
                  <a:lnTo>
                    <a:pt x="18978" y="606510"/>
                  </a:lnTo>
                  <a:cubicBezTo>
                    <a:pt x="8459" y="606510"/>
                    <a:pt x="0" y="598064"/>
                    <a:pt x="0" y="587560"/>
                  </a:cubicBezTo>
                  <a:cubicBezTo>
                    <a:pt x="0" y="586586"/>
                    <a:pt x="109" y="585611"/>
                    <a:pt x="217" y="584636"/>
                  </a:cubicBezTo>
                  <a:cubicBezTo>
                    <a:pt x="217" y="584636"/>
                    <a:pt x="30365" y="367742"/>
                    <a:pt x="80575" y="353231"/>
                  </a:cubicBezTo>
                  <a:lnTo>
                    <a:pt x="152040" y="331683"/>
                  </a:lnTo>
                  <a:cubicBezTo>
                    <a:pt x="153775" y="326485"/>
                    <a:pt x="157571" y="321937"/>
                    <a:pt x="162885" y="318147"/>
                  </a:cubicBezTo>
                  <a:cubicBezTo>
                    <a:pt x="157029" y="311650"/>
                    <a:pt x="152040" y="305045"/>
                    <a:pt x="148353" y="299522"/>
                  </a:cubicBezTo>
                  <a:cubicBezTo>
                    <a:pt x="139352" y="286528"/>
                    <a:pt x="131870" y="272559"/>
                    <a:pt x="126664" y="259132"/>
                  </a:cubicBezTo>
                  <a:cubicBezTo>
                    <a:pt x="124170" y="253393"/>
                    <a:pt x="122001" y="247654"/>
                    <a:pt x="120266" y="242131"/>
                  </a:cubicBezTo>
                  <a:cubicBezTo>
                    <a:pt x="113325" y="236284"/>
                    <a:pt x="109205" y="227621"/>
                    <a:pt x="109205" y="218525"/>
                  </a:cubicBezTo>
                  <a:lnTo>
                    <a:pt x="109205" y="196110"/>
                  </a:lnTo>
                  <a:cubicBezTo>
                    <a:pt x="109205" y="189721"/>
                    <a:pt x="111265" y="183441"/>
                    <a:pt x="114952" y="178243"/>
                  </a:cubicBezTo>
                  <a:lnTo>
                    <a:pt x="114952" y="146840"/>
                  </a:lnTo>
                  <a:cubicBezTo>
                    <a:pt x="114952" y="91723"/>
                    <a:pt x="159848" y="46785"/>
                    <a:pt x="215047" y="46785"/>
                  </a:cubicBezTo>
                  <a:close/>
                  <a:moveTo>
                    <a:pt x="414825" y="0"/>
                  </a:moveTo>
                  <a:cubicBezTo>
                    <a:pt x="504940" y="0"/>
                    <a:pt x="578354" y="73314"/>
                    <a:pt x="578354" y="163305"/>
                  </a:cubicBezTo>
                  <a:cubicBezTo>
                    <a:pt x="578354" y="253404"/>
                    <a:pt x="504940" y="326718"/>
                    <a:pt x="414825" y="326718"/>
                  </a:cubicBezTo>
                  <a:cubicBezTo>
                    <a:pt x="389667" y="326718"/>
                    <a:pt x="365918" y="320979"/>
                    <a:pt x="344664" y="310907"/>
                  </a:cubicBezTo>
                  <a:cubicBezTo>
                    <a:pt x="350737" y="300620"/>
                    <a:pt x="355942" y="290115"/>
                    <a:pt x="360063" y="279719"/>
                  </a:cubicBezTo>
                  <a:cubicBezTo>
                    <a:pt x="376654" y="287516"/>
                    <a:pt x="395198" y="291956"/>
                    <a:pt x="414825" y="291956"/>
                  </a:cubicBezTo>
                  <a:cubicBezTo>
                    <a:pt x="485854" y="291956"/>
                    <a:pt x="543545" y="234236"/>
                    <a:pt x="543545" y="163305"/>
                  </a:cubicBezTo>
                  <a:cubicBezTo>
                    <a:pt x="543545" y="92482"/>
                    <a:pt x="485854" y="34762"/>
                    <a:pt x="414825" y="34762"/>
                  </a:cubicBezTo>
                  <a:cubicBezTo>
                    <a:pt x="386414" y="34762"/>
                    <a:pt x="360171" y="43967"/>
                    <a:pt x="338808" y="59561"/>
                  </a:cubicBezTo>
                  <a:cubicBezTo>
                    <a:pt x="330675" y="50897"/>
                    <a:pt x="321458" y="43317"/>
                    <a:pt x="311264" y="37036"/>
                  </a:cubicBezTo>
                  <a:cubicBezTo>
                    <a:pt x="339459" y="13861"/>
                    <a:pt x="375570" y="0"/>
                    <a:pt x="414825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 sz="4000"/>
            </a:p>
          </p:txBody>
        </p:sp>
        <p:sp>
          <p:nvSpPr>
            <p:cNvPr id="10" name="î$ḻiďé">
              <a:extLst>
                <a:ext uri="{FF2B5EF4-FFF2-40B4-BE49-F238E27FC236}">
                  <a16:creationId xmlns:a16="http://schemas.microsoft.com/office/drawing/2014/main" id="{4DC083BD-A5D7-4A3E-9A8B-161B653B56D5}"/>
                </a:ext>
              </a:extLst>
            </p:cNvPr>
            <p:cNvSpPr/>
            <p:nvPr/>
          </p:nvSpPr>
          <p:spPr bwMode="auto">
            <a:xfrm>
              <a:off x="5907075" y="3778798"/>
              <a:ext cx="377848" cy="377196"/>
            </a:xfrm>
            <a:custGeom>
              <a:avLst/>
              <a:gdLst>
                <a:gd name="connsiteX0" fmla="*/ 160421 w 607770"/>
                <a:gd name="connsiteY0" fmla="*/ 130334 h 606722"/>
                <a:gd name="connsiteX1" fmla="*/ 258218 w 607770"/>
                <a:gd name="connsiteY1" fmla="*/ 227211 h 606722"/>
                <a:gd name="connsiteX2" fmla="*/ 258783 w 607770"/>
                <a:gd name="connsiteY2" fmla="*/ 227211 h 606722"/>
                <a:gd name="connsiteX3" fmla="*/ 279888 w 607770"/>
                <a:gd name="connsiteY3" fmla="*/ 272545 h 606722"/>
                <a:gd name="connsiteX4" fmla="*/ 250963 w 607770"/>
                <a:gd name="connsiteY4" fmla="*/ 304806 h 606722"/>
                <a:gd name="connsiteX5" fmla="*/ 207435 w 607770"/>
                <a:gd name="connsiteY5" fmla="*/ 366694 h 606722"/>
                <a:gd name="connsiteX6" fmla="*/ 201970 w 607770"/>
                <a:gd name="connsiteY6" fmla="*/ 382307 h 606722"/>
                <a:gd name="connsiteX7" fmla="*/ 205739 w 607770"/>
                <a:gd name="connsiteY7" fmla="*/ 400366 h 606722"/>
                <a:gd name="connsiteX8" fmla="*/ 228351 w 607770"/>
                <a:gd name="connsiteY8" fmla="*/ 422657 h 606722"/>
                <a:gd name="connsiteX9" fmla="*/ 248042 w 607770"/>
                <a:gd name="connsiteY9" fmla="*/ 426513 h 606722"/>
                <a:gd name="connsiteX10" fmla="*/ 305515 w 607770"/>
                <a:gd name="connsiteY10" fmla="*/ 483792 h 606722"/>
                <a:gd name="connsiteX11" fmla="*/ 320024 w 607770"/>
                <a:gd name="connsiteY11" fmla="*/ 556873 h 606722"/>
                <a:gd name="connsiteX12" fmla="*/ 311356 w 607770"/>
                <a:gd name="connsiteY12" fmla="*/ 591485 h 606722"/>
                <a:gd name="connsiteX13" fmla="*/ 279040 w 607770"/>
                <a:gd name="connsiteY13" fmla="*/ 606722 h 606722"/>
                <a:gd name="connsiteX14" fmla="*/ 41707 w 607770"/>
                <a:gd name="connsiteY14" fmla="*/ 606722 h 606722"/>
                <a:gd name="connsiteX15" fmla="*/ 9485 w 607770"/>
                <a:gd name="connsiteY15" fmla="*/ 591485 h 606722"/>
                <a:gd name="connsiteX16" fmla="*/ 817 w 607770"/>
                <a:gd name="connsiteY16" fmla="*/ 556873 h 606722"/>
                <a:gd name="connsiteX17" fmla="*/ 15326 w 607770"/>
                <a:gd name="connsiteY17" fmla="*/ 483792 h 606722"/>
                <a:gd name="connsiteX18" fmla="*/ 72799 w 607770"/>
                <a:gd name="connsiteY18" fmla="*/ 426513 h 606722"/>
                <a:gd name="connsiteX19" fmla="*/ 92490 w 607770"/>
                <a:gd name="connsiteY19" fmla="*/ 422657 h 606722"/>
                <a:gd name="connsiteX20" fmla="*/ 115008 w 607770"/>
                <a:gd name="connsiteY20" fmla="*/ 400366 h 606722"/>
                <a:gd name="connsiteX21" fmla="*/ 118777 w 607770"/>
                <a:gd name="connsiteY21" fmla="*/ 382213 h 606722"/>
                <a:gd name="connsiteX22" fmla="*/ 113312 w 607770"/>
                <a:gd name="connsiteY22" fmla="*/ 366694 h 606722"/>
                <a:gd name="connsiteX23" fmla="*/ 69784 w 607770"/>
                <a:gd name="connsiteY23" fmla="*/ 304806 h 606722"/>
                <a:gd name="connsiteX24" fmla="*/ 40953 w 607770"/>
                <a:gd name="connsiteY24" fmla="*/ 272545 h 606722"/>
                <a:gd name="connsiteX25" fmla="*/ 62058 w 607770"/>
                <a:gd name="connsiteY25" fmla="*/ 227211 h 606722"/>
                <a:gd name="connsiteX26" fmla="*/ 62717 w 607770"/>
                <a:gd name="connsiteY26" fmla="*/ 227116 h 606722"/>
                <a:gd name="connsiteX27" fmla="*/ 160421 w 607770"/>
                <a:gd name="connsiteY27" fmla="*/ 130334 h 606722"/>
                <a:gd name="connsiteX28" fmla="*/ 455360 w 607770"/>
                <a:gd name="connsiteY28" fmla="*/ 72430 h 606722"/>
                <a:gd name="connsiteX29" fmla="*/ 445846 w 607770"/>
                <a:gd name="connsiteY29" fmla="*/ 81931 h 606722"/>
                <a:gd name="connsiteX30" fmla="*/ 445846 w 607770"/>
                <a:gd name="connsiteY30" fmla="*/ 90867 h 606722"/>
                <a:gd name="connsiteX31" fmla="*/ 412971 w 607770"/>
                <a:gd name="connsiteY31" fmla="*/ 125389 h 606722"/>
                <a:gd name="connsiteX32" fmla="*/ 448013 w 607770"/>
                <a:gd name="connsiteY32" fmla="*/ 160946 h 606722"/>
                <a:gd name="connsiteX33" fmla="*/ 468642 w 607770"/>
                <a:gd name="connsiteY33" fmla="*/ 177878 h 606722"/>
                <a:gd name="connsiteX34" fmla="*/ 449991 w 607770"/>
                <a:gd name="connsiteY34" fmla="*/ 189918 h 606722"/>
                <a:gd name="connsiteX35" fmla="*/ 428231 w 607770"/>
                <a:gd name="connsiteY35" fmla="*/ 186061 h 606722"/>
                <a:gd name="connsiteX36" fmla="*/ 419848 w 607770"/>
                <a:gd name="connsiteY36" fmla="*/ 186720 h 606722"/>
                <a:gd name="connsiteX37" fmla="*/ 414573 w 607770"/>
                <a:gd name="connsiteY37" fmla="*/ 193304 h 606722"/>
                <a:gd name="connsiteX38" fmla="*/ 414384 w 607770"/>
                <a:gd name="connsiteY38" fmla="*/ 194245 h 606722"/>
                <a:gd name="connsiteX39" fmla="*/ 422297 w 607770"/>
                <a:gd name="connsiteY39" fmla="*/ 208543 h 606722"/>
                <a:gd name="connsiteX40" fmla="*/ 444904 w 607770"/>
                <a:gd name="connsiteY40" fmla="*/ 212494 h 606722"/>
                <a:gd name="connsiteX41" fmla="*/ 444904 w 607770"/>
                <a:gd name="connsiteY41" fmla="*/ 221430 h 606722"/>
                <a:gd name="connsiteX42" fmla="*/ 454418 w 607770"/>
                <a:gd name="connsiteY42" fmla="*/ 230931 h 606722"/>
                <a:gd name="connsiteX43" fmla="*/ 463932 w 607770"/>
                <a:gd name="connsiteY43" fmla="*/ 221430 h 606722"/>
                <a:gd name="connsiteX44" fmla="*/ 463932 w 607770"/>
                <a:gd name="connsiteY44" fmla="*/ 211083 h 606722"/>
                <a:gd name="connsiteX45" fmla="*/ 498596 w 607770"/>
                <a:gd name="connsiteY45" fmla="*/ 175150 h 606722"/>
                <a:gd name="connsiteX46" fmla="*/ 466098 w 607770"/>
                <a:gd name="connsiteY46" fmla="*/ 138841 h 606722"/>
                <a:gd name="connsiteX47" fmla="*/ 442738 w 607770"/>
                <a:gd name="connsiteY47" fmla="*/ 122097 h 606722"/>
                <a:gd name="connsiteX48" fmla="*/ 459505 w 607770"/>
                <a:gd name="connsiteY48" fmla="*/ 111279 h 606722"/>
                <a:gd name="connsiteX49" fmla="*/ 477214 w 607770"/>
                <a:gd name="connsiteY49" fmla="*/ 113819 h 606722"/>
                <a:gd name="connsiteX50" fmla="*/ 485409 w 607770"/>
                <a:gd name="connsiteY50" fmla="*/ 112973 h 606722"/>
                <a:gd name="connsiteX51" fmla="*/ 490401 w 607770"/>
                <a:gd name="connsiteY51" fmla="*/ 106482 h 606722"/>
                <a:gd name="connsiteX52" fmla="*/ 490589 w 607770"/>
                <a:gd name="connsiteY52" fmla="*/ 105730 h 606722"/>
                <a:gd name="connsiteX53" fmla="*/ 482489 w 607770"/>
                <a:gd name="connsiteY53" fmla="*/ 91996 h 606722"/>
                <a:gd name="connsiteX54" fmla="*/ 464968 w 607770"/>
                <a:gd name="connsiteY54" fmla="*/ 89456 h 606722"/>
                <a:gd name="connsiteX55" fmla="*/ 464968 w 607770"/>
                <a:gd name="connsiteY55" fmla="*/ 81931 h 606722"/>
                <a:gd name="connsiteX56" fmla="*/ 455360 w 607770"/>
                <a:gd name="connsiteY56" fmla="*/ 72430 h 606722"/>
                <a:gd name="connsiteX57" fmla="*/ 455831 w 607770"/>
                <a:gd name="connsiteY57" fmla="*/ 0 h 606722"/>
                <a:gd name="connsiteX58" fmla="*/ 607770 w 607770"/>
                <a:gd name="connsiteY58" fmla="*/ 151633 h 606722"/>
                <a:gd name="connsiteX59" fmla="*/ 455831 w 607770"/>
                <a:gd name="connsiteY59" fmla="*/ 303361 h 606722"/>
                <a:gd name="connsiteX60" fmla="*/ 322260 w 607770"/>
                <a:gd name="connsiteY60" fmla="*/ 303361 h 606722"/>
                <a:gd name="connsiteX61" fmla="*/ 303986 w 607770"/>
                <a:gd name="connsiteY61" fmla="*/ 285018 h 606722"/>
                <a:gd name="connsiteX62" fmla="*/ 303986 w 607770"/>
                <a:gd name="connsiteY62" fmla="*/ 151633 h 606722"/>
                <a:gd name="connsiteX63" fmla="*/ 455831 w 607770"/>
                <a:gd name="connsiteY63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607770" h="606722">
                  <a:moveTo>
                    <a:pt x="160421" y="130334"/>
                  </a:moveTo>
                  <a:cubicBezTo>
                    <a:pt x="231743" y="130334"/>
                    <a:pt x="253224" y="171530"/>
                    <a:pt x="258218" y="227211"/>
                  </a:cubicBezTo>
                  <a:cubicBezTo>
                    <a:pt x="258406" y="227211"/>
                    <a:pt x="258595" y="227211"/>
                    <a:pt x="258783" y="227211"/>
                  </a:cubicBezTo>
                  <a:cubicBezTo>
                    <a:pt x="275177" y="230879"/>
                    <a:pt x="284693" y="251195"/>
                    <a:pt x="279888" y="272545"/>
                  </a:cubicBezTo>
                  <a:cubicBezTo>
                    <a:pt x="276025" y="289851"/>
                    <a:pt x="264059" y="302454"/>
                    <a:pt x="250963" y="304806"/>
                  </a:cubicBezTo>
                  <a:cubicBezTo>
                    <a:pt x="241541" y="330389"/>
                    <a:pt x="225242" y="352021"/>
                    <a:pt x="207435" y="366694"/>
                  </a:cubicBezTo>
                  <a:cubicBezTo>
                    <a:pt x="202912" y="370456"/>
                    <a:pt x="200840" y="376476"/>
                    <a:pt x="201970" y="382307"/>
                  </a:cubicBezTo>
                  <a:lnTo>
                    <a:pt x="205739" y="400366"/>
                  </a:lnTo>
                  <a:cubicBezTo>
                    <a:pt x="208094" y="411652"/>
                    <a:pt x="216951" y="420399"/>
                    <a:pt x="228351" y="422657"/>
                  </a:cubicBezTo>
                  <a:lnTo>
                    <a:pt x="248042" y="426513"/>
                  </a:lnTo>
                  <a:cubicBezTo>
                    <a:pt x="277061" y="432250"/>
                    <a:pt x="299673" y="454823"/>
                    <a:pt x="305515" y="483792"/>
                  </a:cubicBezTo>
                  <a:lnTo>
                    <a:pt x="320024" y="556873"/>
                  </a:lnTo>
                  <a:cubicBezTo>
                    <a:pt x="322474" y="569100"/>
                    <a:pt x="319271" y="581797"/>
                    <a:pt x="311356" y="591485"/>
                  </a:cubicBezTo>
                  <a:cubicBezTo>
                    <a:pt x="303442" y="601079"/>
                    <a:pt x="291571" y="606722"/>
                    <a:pt x="279040" y="606722"/>
                  </a:cubicBezTo>
                  <a:lnTo>
                    <a:pt x="41707" y="606722"/>
                  </a:lnTo>
                  <a:cubicBezTo>
                    <a:pt x="29270" y="606722"/>
                    <a:pt x="17399" y="601079"/>
                    <a:pt x="9485" y="591485"/>
                  </a:cubicBezTo>
                  <a:cubicBezTo>
                    <a:pt x="1476" y="581797"/>
                    <a:pt x="-1633" y="569100"/>
                    <a:pt x="817" y="556873"/>
                  </a:cubicBezTo>
                  <a:lnTo>
                    <a:pt x="15326" y="483792"/>
                  </a:lnTo>
                  <a:cubicBezTo>
                    <a:pt x="21073" y="454823"/>
                    <a:pt x="43780" y="432250"/>
                    <a:pt x="72799" y="426513"/>
                  </a:cubicBezTo>
                  <a:lnTo>
                    <a:pt x="92490" y="422657"/>
                  </a:lnTo>
                  <a:cubicBezTo>
                    <a:pt x="103796" y="420399"/>
                    <a:pt x="112747" y="411652"/>
                    <a:pt x="115008" y="400366"/>
                  </a:cubicBezTo>
                  <a:lnTo>
                    <a:pt x="118777" y="382213"/>
                  </a:lnTo>
                  <a:cubicBezTo>
                    <a:pt x="120001" y="376476"/>
                    <a:pt x="117834" y="370456"/>
                    <a:pt x="113312" y="366694"/>
                  </a:cubicBezTo>
                  <a:cubicBezTo>
                    <a:pt x="95505" y="352021"/>
                    <a:pt x="79205" y="330389"/>
                    <a:pt x="69784" y="304806"/>
                  </a:cubicBezTo>
                  <a:cubicBezTo>
                    <a:pt x="56687" y="302454"/>
                    <a:pt x="44722" y="289851"/>
                    <a:pt x="40953" y="272545"/>
                  </a:cubicBezTo>
                  <a:cubicBezTo>
                    <a:pt x="36148" y="251195"/>
                    <a:pt x="45664" y="230879"/>
                    <a:pt x="62058" y="227211"/>
                  </a:cubicBezTo>
                  <a:cubicBezTo>
                    <a:pt x="62246" y="227211"/>
                    <a:pt x="62435" y="227211"/>
                    <a:pt x="62717" y="227116"/>
                  </a:cubicBezTo>
                  <a:cubicBezTo>
                    <a:pt x="67899" y="171530"/>
                    <a:pt x="90229" y="130334"/>
                    <a:pt x="160421" y="130334"/>
                  </a:cubicBezTo>
                  <a:close/>
                  <a:moveTo>
                    <a:pt x="455360" y="72430"/>
                  </a:moveTo>
                  <a:cubicBezTo>
                    <a:pt x="450179" y="72430"/>
                    <a:pt x="445846" y="76663"/>
                    <a:pt x="445846" y="81931"/>
                  </a:cubicBezTo>
                  <a:lnTo>
                    <a:pt x="445846" y="90867"/>
                  </a:lnTo>
                  <a:cubicBezTo>
                    <a:pt x="425029" y="94912"/>
                    <a:pt x="412971" y="108363"/>
                    <a:pt x="412971" y="125389"/>
                  </a:cubicBezTo>
                  <a:cubicBezTo>
                    <a:pt x="412971" y="144296"/>
                    <a:pt x="427195" y="153985"/>
                    <a:pt x="448013" y="160946"/>
                  </a:cubicBezTo>
                  <a:cubicBezTo>
                    <a:pt x="462425" y="165837"/>
                    <a:pt x="468642" y="170541"/>
                    <a:pt x="468642" y="177878"/>
                  </a:cubicBezTo>
                  <a:cubicBezTo>
                    <a:pt x="468642" y="185685"/>
                    <a:pt x="461012" y="189918"/>
                    <a:pt x="449991" y="189918"/>
                  </a:cubicBezTo>
                  <a:cubicBezTo>
                    <a:pt x="442078" y="189918"/>
                    <a:pt x="434637" y="188319"/>
                    <a:pt x="428231" y="186061"/>
                  </a:cubicBezTo>
                  <a:cubicBezTo>
                    <a:pt x="425405" y="185121"/>
                    <a:pt x="422391" y="185309"/>
                    <a:pt x="419848" y="186720"/>
                  </a:cubicBezTo>
                  <a:cubicBezTo>
                    <a:pt x="417210" y="188131"/>
                    <a:pt x="415326" y="190482"/>
                    <a:pt x="414573" y="193304"/>
                  </a:cubicBezTo>
                  <a:lnTo>
                    <a:pt x="414384" y="194245"/>
                  </a:lnTo>
                  <a:cubicBezTo>
                    <a:pt x="412783" y="200359"/>
                    <a:pt x="416268" y="206662"/>
                    <a:pt x="422297" y="208543"/>
                  </a:cubicBezTo>
                  <a:cubicBezTo>
                    <a:pt x="428985" y="210612"/>
                    <a:pt x="436897" y="212118"/>
                    <a:pt x="444904" y="212494"/>
                  </a:cubicBezTo>
                  <a:lnTo>
                    <a:pt x="444904" y="221430"/>
                  </a:lnTo>
                  <a:cubicBezTo>
                    <a:pt x="444904" y="226604"/>
                    <a:pt x="449143" y="230931"/>
                    <a:pt x="454418" y="230931"/>
                  </a:cubicBezTo>
                  <a:cubicBezTo>
                    <a:pt x="459693" y="230931"/>
                    <a:pt x="463932" y="226604"/>
                    <a:pt x="463932" y="221430"/>
                  </a:cubicBezTo>
                  <a:lnTo>
                    <a:pt x="463932" y="211083"/>
                  </a:lnTo>
                  <a:cubicBezTo>
                    <a:pt x="486351" y="207226"/>
                    <a:pt x="498596" y="192458"/>
                    <a:pt x="498596" y="175150"/>
                  </a:cubicBezTo>
                  <a:cubicBezTo>
                    <a:pt x="498596" y="157654"/>
                    <a:pt x="489271" y="147024"/>
                    <a:pt x="466098" y="138841"/>
                  </a:cubicBezTo>
                  <a:cubicBezTo>
                    <a:pt x="449614" y="132632"/>
                    <a:pt x="442738" y="128493"/>
                    <a:pt x="442738" y="122097"/>
                  </a:cubicBezTo>
                  <a:cubicBezTo>
                    <a:pt x="442738" y="116641"/>
                    <a:pt x="446882" y="111279"/>
                    <a:pt x="459505" y="111279"/>
                  </a:cubicBezTo>
                  <a:cubicBezTo>
                    <a:pt x="466664" y="111279"/>
                    <a:pt x="472504" y="112408"/>
                    <a:pt x="477214" y="113819"/>
                  </a:cubicBezTo>
                  <a:cubicBezTo>
                    <a:pt x="479945" y="114666"/>
                    <a:pt x="482960" y="114384"/>
                    <a:pt x="485409" y="112973"/>
                  </a:cubicBezTo>
                  <a:cubicBezTo>
                    <a:pt x="487858" y="111562"/>
                    <a:pt x="489742" y="109210"/>
                    <a:pt x="490401" y="106482"/>
                  </a:cubicBezTo>
                  <a:lnTo>
                    <a:pt x="490589" y="105730"/>
                  </a:lnTo>
                  <a:cubicBezTo>
                    <a:pt x="492191" y="99709"/>
                    <a:pt x="488517" y="93595"/>
                    <a:pt x="482489" y="91996"/>
                  </a:cubicBezTo>
                  <a:cubicBezTo>
                    <a:pt x="477685" y="90773"/>
                    <a:pt x="471939" y="89832"/>
                    <a:pt x="464968" y="89456"/>
                  </a:cubicBezTo>
                  <a:lnTo>
                    <a:pt x="464968" y="81931"/>
                  </a:lnTo>
                  <a:cubicBezTo>
                    <a:pt x="464968" y="76663"/>
                    <a:pt x="460635" y="72430"/>
                    <a:pt x="455360" y="72430"/>
                  </a:cubicBezTo>
                  <a:close/>
                  <a:moveTo>
                    <a:pt x="455831" y="0"/>
                  </a:moveTo>
                  <a:cubicBezTo>
                    <a:pt x="539760" y="0"/>
                    <a:pt x="607770" y="67915"/>
                    <a:pt x="607770" y="151633"/>
                  </a:cubicBezTo>
                  <a:cubicBezTo>
                    <a:pt x="607770" y="235446"/>
                    <a:pt x="539760" y="303361"/>
                    <a:pt x="455831" y="303361"/>
                  </a:cubicBezTo>
                  <a:lnTo>
                    <a:pt x="322260" y="303361"/>
                  </a:lnTo>
                  <a:cubicBezTo>
                    <a:pt x="312181" y="303361"/>
                    <a:pt x="303986" y="295177"/>
                    <a:pt x="303986" y="285018"/>
                  </a:cubicBezTo>
                  <a:lnTo>
                    <a:pt x="303986" y="151633"/>
                  </a:lnTo>
                  <a:cubicBezTo>
                    <a:pt x="303986" y="67915"/>
                    <a:pt x="371902" y="0"/>
                    <a:pt x="455831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 sz="4000"/>
            </a:p>
          </p:txBody>
        </p:sp>
        <p:sp>
          <p:nvSpPr>
            <p:cNvPr id="11" name="îṧľíde">
              <a:extLst>
                <a:ext uri="{FF2B5EF4-FFF2-40B4-BE49-F238E27FC236}">
                  <a16:creationId xmlns:a16="http://schemas.microsoft.com/office/drawing/2014/main" id="{F24AA527-7BD3-4340-B336-6857B52669BF}"/>
                </a:ext>
              </a:extLst>
            </p:cNvPr>
            <p:cNvSpPr txBox="1"/>
            <p:nvPr/>
          </p:nvSpPr>
          <p:spPr>
            <a:xfrm>
              <a:off x="7279273" y="3130435"/>
              <a:ext cx="2982327" cy="725008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normAutofit/>
            </a:bodyPr>
            <a:lstStyle/>
            <a:p>
              <a:pPr defTabSz="914378">
                <a:lnSpc>
                  <a:spcPct val="120000"/>
                </a:lnSpc>
                <a:spcBef>
                  <a:spcPct val="0"/>
                </a:spcBef>
                <a:defRPr/>
              </a:pPr>
              <a:r>
                <a:rPr lang="en-US" altLang="zh-CN" sz="2400" dirty="0"/>
                <a:t>9:00-15:00</a:t>
              </a:r>
            </a:p>
          </p:txBody>
        </p:sp>
        <p:sp>
          <p:nvSpPr>
            <p:cNvPr id="12" name="işľîďe">
              <a:extLst>
                <a:ext uri="{FF2B5EF4-FFF2-40B4-BE49-F238E27FC236}">
                  <a16:creationId xmlns:a16="http://schemas.microsoft.com/office/drawing/2014/main" id="{22C7E56F-D743-420C-A23A-0B7B3710C686}"/>
                </a:ext>
              </a:extLst>
            </p:cNvPr>
            <p:cNvSpPr/>
            <p:nvPr/>
          </p:nvSpPr>
          <p:spPr>
            <a:xfrm>
              <a:off x="7279273" y="2654085"/>
              <a:ext cx="2982327" cy="476350"/>
            </a:xfrm>
            <a:prstGeom prst="rect">
              <a:avLst/>
            </a:prstGeom>
          </p:spPr>
          <p:txBody>
            <a:bodyPr wrap="square" lIns="91440" tIns="45720" rIns="91440" bIns="45720" anchor="b">
              <a:normAutofit fontScale="92500" lnSpcReduction="20000"/>
            </a:bodyPr>
            <a:lstStyle/>
            <a:p>
              <a:pPr lvl="0" defTabSz="914378">
                <a:spcBef>
                  <a:spcPct val="0"/>
                </a:spcBef>
                <a:defRPr/>
              </a:pPr>
              <a:r>
                <a:rPr lang="zh-CN" altLang="en-US" sz="3200" b="1" dirty="0"/>
                <a:t>早班</a:t>
              </a:r>
            </a:p>
          </p:txBody>
        </p:sp>
        <p:sp>
          <p:nvSpPr>
            <p:cNvPr id="13" name="íṡlîdé">
              <a:extLst>
                <a:ext uri="{FF2B5EF4-FFF2-40B4-BE49-F238E27FC236}">
                  <a16:creationId xmlns:a16="http://schemas.microsoft.com/office/drawing/2014/main" id="{B1C5F71D-0FD2-4692-B2EA-759E697D27F4}"/>
                </a:ext>
              </a:extLst>
            </p:cNvPr>
            <p:cNvSpPr txBox="1"/>
            <p:nvPr/>
          </p:nvSpPr>
          <p:spPr>
            <a:xfrm>
              <a:off x="2474473" y="3931173"/>
              <a:ext cx="2982327" cy="725008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normAutofit/>
            </a:bodyPr>
            <a:lstStyle/>
            <a:p>
              <a:pPr algn="r" defTabSz="914378">
                <a:lnSpc>
                  <a:spcPct val="120000"/>
                </a:lnSpc>
                <a:spcBef>
                  <a:spcPct val="0"/>
                </a:spcBef>
                <a:defRPr/>
              </a:pPr>
              <a:r>
                <a:rPr lang="en-US" altLang="zh-CN" sz="2400" dirty="0"/>
                <a:t>15:00-23:00</a:t>
              </a:r>
            </a:p>
          </p:txBody>
        </p:sp>
        <p:sp>
          <p:nvSpPr>
            <p:cNvPr id="14" name="îśḷîḓè">
              <a:extLst>
                <a:ext uri="{FF2B5EF4-FFF2-40B4-BE49-F238E27FC236}">
                  <a16:creationId xmlns:a16="http://schemas.microsoft.com/office/drawing/2014/main" id="{7DDE7D8D-4E48-4916-AC19-CE8B912BCFF4}"/>
                </a:ext>
              </a:extLst>
            </p:cNvPr>
            <p:cNvSpPr/>
            <p:nvPr/>
          </p:nvSpPr>
          <p:spPr>
            <a:xfrm>
              <a:off x="2474473" y="3454824"/>
              <a:ext cx="2982327" cy="476350"/>
            </a:xfrm>
            <a:prstGeom prst="rect">
              <a:avLst/>
            </a:prstGeom>
          </p:spPr>
          <p:txBody>
            <a:bodyPr wrap="square" lIns="91440" tIns="45720" rIns="91440" bIns="45720" anchor="b">
              <a:normAutofit fontScale="92500" lnSpcReduction="20000"/>
            </a:bodyPr>
            <a:lstStyle/>
            <a:p>
              <a:pPr lvl="0" algn="r" defTabSz="914378">
                <a:spcBef>
                  <a:spcPct val="0"/>
                </a:spcBef>
                <a:defRPr/>
              </a:pPr>
              <a:r>
                <a:rPr lang="zh-CN" altLang="en-US" sz="3200" b="1" dirty="0"/>
                <a:t>晚班</a:t>
              </a:r>
            </a:p>
          </p:txBody>
        </p:sp>
      </p:grpSp>
      <p:grpSp>
        <p:nvGrpSpPr>
          <p:cNvPr id="15" name="3133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F7735CC1-A026-4E4D-9587-C2215EA609BB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4033264" y="2668106"/>
            <a:ext cx="7787127" cy="2159430"/>
            <a:chOff x="2474473" y="2558835"/>
            <a:chExt cx="7787127" cy="2159430"/>
          </a:xfrm>
        </p:grpSpPr>
        <p:sp>
          <p:nvSpPr>
            <p:cNvPr id="16" name="íśḻíḍê">
              <a:extLst>
                <a:ext uri="{FF2B5EF4-FFF2-40B4-BE49-F238E27FC236}">
                  <a16:creationId xmlns:a16="http://schemas.microsoft.com/office/drawing/2014/main" id="{3AD2C7DE-0CD6-48A0-A659-A14A768A2580}"/>
                </a:ext>
              </a:extLst>
            </p:cNvPr>
            <p:cNvSpPr/>
            <p:nvPr/>
          </p:nvSpPr>
          <p:spPr>
            <a:xfrm>
              <a:off x="5824353" y="2558835"/>
              <a:ext cx="1372198" cy="1372337"/>
            </a:xfrm>
            <a:prstGeom prst="circularArrow">
              <a:avLst>
                <a:gd name="adj1" fmla="val 10980"/>
                <a:gd name="adj2" fmla="val 1142322"/>
                <a:gd name="adj3" fmla="val 4500000"/>
                <a:gd name="adj4" fmla="val 10800000"/>
                <a:gd name="adj5" fmla="val 125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sz="4000"/>
            </a:p>
          </p:txBody>
        </p:sp>
        <p:sp>
          <p:nvSpPr>
            <p:cNvPr id="17" name="ïśliḍe">
              <a:extLst>
                <a:ext uri="{FF2B5EF4-FFF2-40B4-BE49-F238E27FC236}">
                  <a16:creationId xmlns:a16="http://schemas.microsoft.com/office/drawing/2014/main" id="{0C1BFC54-5C7A-48CA-B8DF-8E5558D01227}"/>
                </a:ext>
              </a:extLst>
            </p:cNvPr>
            <p:cNvSpPr/>
            <p:nvPr/>
          </p:nvSpPr>
          <p:spPr>
            <a:xfrm>
              <a:off x="5443144" y="3345928"/>
              <a:ext cx="1372198" cy="1372337"/>
            </a:xfrm>
            <a:prstGeom prst="leftCircularArrow">
              <a:avLst>
                <a:gd name="adj1" fmla="val 10980"/>
                <a:gd name="adj2" fmla="val 1142322"/>
                <a:gd name="adj3" fmla="val 6300000"/>
                <a:gd name="adj4" fmla="val 18900000"/>
                <a:gd name="adj5" fmla="val 125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sz="4000"/>
            </a:p>
          </p:txBody>
        </p:sp>
        <p:sp>
          <p:nvSpPr>
            <p:cNvPr id="18" name="íṥḷíḋê">
              <a:extLst>
                <a:ext uri="{FF2B5EF4-FFF2-40B4-BE49-F238E27FC236}">
                  <a16:creationId xmlns:a16="http://schemas.microsoft.com/office/drawing/2014/main" id="{3E44ED3D-3811-43A2-ACCE-272B394F6BE8}"/>
                </a:ext>
              </a:extLst>
            </p:cNvPr>
            <p:cNvSpPr/>
            <p:nvPr/>
          </p:nvSpPr>
          <p:spPr bwMode="auto">
            <a:xfrm>
              <a:off x="6330298" y="2968082"/>
              <a:ext cx="360307" cy="377848"/>
            </a:xfrm>
            <a:custGeom>
              <a:avLst/>
              <a:gdLst>
                <a:gd name="connsiteX0" fmla="*/ 271981 w 578354"/>
                <a:gd name="connsiteY0" fmla="*/ 340887 h 606510"/>
                <a:gd name="connsiteX1" fmla="*/ 256365 w 578354"/>
                <a:gd name="connsiteY1" fmla="*/ 346409 h 606510"/>
                <a:gd name="connsiteX2" fmla="*/ 251051 w 578354"/>
                <a:gd name="connsiteY2" fmla="*/ 352798 h 606510"/>
                <a:gd name="connsiteX3" fmla="*/ 251051 w 578354"/>
                <a:gd name="connsiteY3" fmla="*/ 368716 h 606510"/>
                <a:gd name="connsiteX4" fmla="*/ 248665 w 578354"/>
                <a:gd name="connsiteY4" fmla="*/ 370449 h 606510"/>
                <a:gd name="connsiteX5" fmla="*/ 247038 w 578354"/>
                <a:gd name="connsiteY5" fmla="*/ 375322 h 606510"/>
                <a:gd name="connsiteX6" fmla="*/ 250509 w 578354"/>
                <a:gd name="connsiteY6" fmla="*/ 409431 h 606510"/>
                <a:gd name="connsiteX7" fmla="*/ 255172 w 578354"/>
                <a:gd name="connsiteY7" fmla="*/ 414954 h 606510"/>
                <a:gd name="connsiteX8" fmla="*/ 256907 w 578354"/>
                <a:gd name="connsiteY8" fmla="*/ 415170 h 606510"/>
                <a:gd name="connsiteX9" fmla="*/ 262004 w 578354"/>
                <a:gd name="connsiteY9" fmla="*/ 412572 h 606510"/>
                <a:gd name="connsiteX10" fmla="*/ 280114 w 578354"/>
                <a:gd name="connsiteY10" fmla="*/ 388749 h 606510"/>
                <a:gd name="connsiteX11" fmla="*/ 281307 w 578354"/>
                <a:gd name="connsiteY11" fmla="*/ 384851 h 606510"/>
                <a:gd name="connsiteX12" fmla="*/ 281307 w 578354"/>
                <a:gd name="connsiteY12" fmla="*/ 346626 h 606510"/>
                <a:gd name="connsiteX13" fmla="*/ 278270 w 578354"/>
                <a:gd name="connsiteY13" fmla="*/ 341104 h 606510"/>
                <a:gd name="connsiteX14" fmla="*/ 271981 w 578354"/>
                <a:gd name="connsiteY14" fmla="*/ 340887 h 606510"/>
                <a:gd name="connsiteX15" fmla="*/ 190755 w 578354"/>
                <a:gd name="connsiteY15" fmla="*/ 340887 h 606510"/>
                <a:gd name="connsiteX16" fmla="*/ 184357 w 578354"/>
                <a:gd name="connsiteY16" fmla="*/ 341104 h 606510"/>
                <a:gd name="connsiteX17" fmla="*/ 181321 w 578354"/>
                <a:gd name="connsiteY17" fmla="*/ 346626 h 606510"/>
                <a:gd name="connsiteX18" fmla="*/ 181212 w 578354"/>
                <a:gd name="connsiteY18" fmla="*/ 384851 h 606510"/>
                <a:gd name="connsiteX19" fmla="*/ 182513 w 578354"/>
                <a:gd name="connsiteY19" fmla="*/ 388749 h 606510"/>
                <a:gd name="connsiteX20" fmla="*/ 200624 w 578354"/>
                <a:gd name="connsiteY20" fmla="*/ 412680 h 606510"/>
                <a:gd name="connsiteX21" fmla="*/ 205721 w 578354"/>
                <a:gd name="connsiteY21" fmla="*/ 415170 h 606510"/>
                <a:gd name="connsiteX22" fmla="*/ 207456 w 578354"/>
                <a:gd name="connsiteY22" fmla="*/ 414954 h 606510"/>
                <a:gd name="connsiteX23" fmla="*/ 212119 w 578354"/>
                <a:gd name="connsiteY23" fmla="*/ 409431 h 606510"/>
                <a:gd name="connsiteX24" fmla="*/ 215589 w 578354"/>
                <a:gd name="connsiteY24" fmla="*/ 375322 h 606510"/>
                <a:gd name="connsiteX25" fmla="*/ 213963 w 578354"/>
                <a:gd name="connsiteY25" fmla="*/ 370449 h 606510"/>
                <a:gd name="connsiteX26" fmla="*/ 211577 w 578354"/>
                <a:gd name="connsiteY26" fmla="*/ 368716 h 606510"/>
                <a:gd name="connsiteX27" fmla="*/ 211577 w 578354"/>
                <a:gd name="connsiteY27" fmla="*/ 352798 h 606510"/>
                <a:gd name="connsiteX28" fmla="*/ 206263 w 578354"/>
                <a:gd name="connsiteY28" fmla="*/ 346409 h 606510"/>
                <a:gd name="connsiteX29" fmla="*/ 190755 w 578354"/>
                <a:gd name="connsiteY29" fmla="*/ 340887 h 606510"/>
                <a:gd name="connsiteX30" fmla="*/ 200624 w 578354"/>
                <a:gd name="connsiteY30" fmla="*/ 168497 h 606510"/>
                <a:gd name="connsiteX31" fmla="*/ 156161 w 578354"/>
                <a:gd name="connsiteY31" fmla="*/ 180300 h 606510"/>
                <a:gd name="connsiteX32" fmla="*/ 152583 w 578354"/>
                <a:gd name="connsiteY32" fmla="*/ 186039 h 606510"/>
                <a:gd name="connsiteX33" fmla="*/ 152583 w 578354"/>
                <a:gd name="connsiteY33" fmla="*/ 197518 h 606510"/>
                <a:gd name="connsiteX34" fmla="*/ 149980 w 578354"/>
                <a:gd name="connsiteY34" fmla="*/ 197518 h 606510"/>
                <a:gd name="connsiteX35" fmla="*/ 143473 w 578354"/>
                <a:gd name="connsiteY35" fmla="*/ 203906 h 606510"/>
                <a:gd name="connsiteX36" fmla="*/ 143473 w 578354"/>
                <a:gd name="connsiteY36" fmla="*/ 214410 h 606510"/>
                <a:gd name="connsiteX37" fmla="*/ 146401 w 578354"/>
                <a:gd name="connsiteY37" fmla="*/ 219824 h 606510"/>
                <a:gd name="connsiteX38" fmla="*/ 152691 w 578354"/>
                <a:gd name="connsiteY38" fmla="*/ 223831 h 606510"/>
                <a:gd name="connsiteX39" fmla="*/ 153016 w 578354"/>
                <a:gd name="connsiteY39" fmla="*/ 226538 h 606510"/>
                <a:gd name="connsiteX40" fmla="*/ 176007 w 578354"/>
                <a:gd name="connsiteY40" fmla="*/ 279598 h 606510"/>
                <a:gd name="connsiteX41" fmla="*/ 214071 w 578354"/>
                <a:gd name="connsiteY41" fmla="*/ 312516 h 606510"/>
                <a:gd name="connsiteX42" fmla="*/ 248557 w 578354"/>
                <a:gd name="connsiteY42" fmla="*/ 312516 h 606510"/>
                <a:gd name="connsiteX43" fmla="*/ 286621 w 578354"/>
                <a:gd name="connsiteY43" fmla="*/ 279598 h 606510"/>
                <a:gd name="connsiteX44" fmla="*/ 309611 w 578354"/>
                <a:gd name="connsiteY44" fmla="*/ 226538 h 606510"/>
                <a:gd name="connsiteX45" fmla="*/ 309936 w 578354"/>
                <a:gd name="connsiteY45" fmla="*/ 223831 h 606510"/>
                <a:gd name="connsiteX46" fmla="*/ 316226 w 578354"/>
                <a:gd name="connsiteY46" fmla="*/ 219824 h 606510"/>
                <a:gd name="connsiteX47" fmla="*/ 319154 w 578354"/>
                <a:gd name="connsiteY47" fmla="*/ 214410 h 606510"/>
                <a:gd name="connsiteX48" fmla="*/ 319154 w 578354"/>
                <a:gd name="connsiteY48" fmla="*/ 203906 h 606510"/>
                <a:gd name="connsiteX49" fmla="*/ 312756 w 578354"/>
                <a:gd name="connsiteY49" fmla="*/ 197518 h 606510"/>
                <a:gd name="connsiteX50" fmla="*/ 309177 w 578354"/>
                <a:gd name="connsiteY50" fmla="*/ 197518 h 606510"/>
                <a:gd name="connsiteX51" fmla="*/ 307117 w 578354"/>
                <a:gd name="connsiteY51" fmla="*/ 195352 h 606510"/>
                <a:gd name="connsiteX52" fmla="*/ 301044 w 578354"/>
                <a:gd name="connsiteY52" fmla="*/ 194919 h 606510"/>
                <a:gd name="connsiteX53" fmla="*/ 275668 w 578354"/>
                <a:gd name="connsiteY53" fmla="*/ 200658 h 606510"/>
                <a:gd name="connsiteX54" fmla="*/ 236302 w 578354"/>
                <a:gd name="connsiteY54" fmla="*/ 182791 h 606510"/>
                <a:gd name="connsiteX55" fmla="*/ 200624 w 578354"/>
                <a:gd name="connsiteY55" fmla="*/ 168497 h 606510"/>
                <a:gd name="connsiteX56" fmla="*/ 426321 w 578354"/>
                <a:gd name="connsiteY56" fmla="*/ 71765 h 606510"/>
                <a:gd name="connsiteX57" fmla="*/ 439012 w 578354"/>
                <a:gd name="connsiteY57" fmla="*/ 84331 h 606510"/>
                <a:gd name="connsiteX58" fmla="*/ 439012 w 578354"/>
                <a:gd name="connsiteY58" fmla="*/ 99173 h 606510"/>
                <a:gd name="connsiteX59" fmla="*/ 464721 w 578354"/>
                <a:gd name="connsiteY59" fmla="*/ 112498 h 606510"/>
                <a:gd name="connsiteX60" fmla="*/ 467758 w 578354"/>
                <a:gd name="connsiteY60" fmla="*/ 124306 h 606510"/>
                <a:gd name="connsiteX61" fmla="*/ 459297 w 578354"/>
                <a:gd name="connsiteY61" fmla="*/ 133080 h 606510"/>
                <a:gd name="connsiteX62" fmla="*/ 452789 w 578354"/>
                <a:gd name="connsiteY62" fmla="*/ 135139 h 606510"/>
                <a:gd name="connsiteX63" fmla="*/ 439555 w 578354"/>
                <a:gd name="connsiteY63" fmla="*/ 131455 h 606510"/>
                <a:gd name="connsiteX64" fmla="*/ 425019 w 578354"/>
                <a:gd name="connsiteY64" fmla="*/ 125931 h 606510"/>
                <a:gd name="connsiteX65" fmla="*/ 413738 w 578354"/>
                <a:gd name="connsiteY65" fmla="*/ 132972 h 606510"/>
                <a:gd name="connsiteX66" fmla="*/ 415582 w 578354"/>
                <a:gd name="connsiteY66" fmla="*/ 137197 h 606510"/>
                <a:gd name="connsiteX67" fmla="*/ 426429 w 578354"/>
                <a:gd name="connsiteY67" fmla="*/ 140989 h 606510"/>
                <a:gd name="connsiteX68" fmla="*/ 456043 w 578354"/>
                <a:gd name="connsiteY68" fmla="*/ 149113 h 606510"/>
                <a:gd name="connsiteX69" fmla="*/ 471230 w 578354"/>
                <a:gd name="connsiteY69" fmla="*/ 161355 h 606510"/>
                <a:gd name="connsiteX70" fmla="*/ 477304 w 578354"/>
                <a:gd name="connsiteY70" fmla="*/ 181829 h 606510"/>
                <a:gd name="connsiteX71" fmla="*/ 465480 w 578354"/>
                <a:gd name="connsiteY71" fmla="*/ 209454 h 606510"/>
                <a:gd name="connsiteX72" fmla="*/ 439012 w 578354"/>
                <a:gd name="connsiteY72" fmla="*/ 222020 h 606510"/>
                <a:gd name="connsiteX73" fmla="*/ 439012 w 578354"/>
                <a:gd name="connsiteY73" fmla="*/ 242278 h 606510"/>
                <a:gd name="connsiteX74" fmla="*/ 426321 w 578354"/>
                <a:gd name="connsiteY74" fmla="*/ 254953 h 606510"/>
                <a:gd name="connsiteX75" fmla="*/ 413738 w 578354"/>
                <a:gd name="connsiteY75" fmla="*/ 242278 h 606510"/>
                <a:gd name="connsiteX76" fmla="*/ 413738 w 578354"/>
                <a:gd name="connsiteY76" fmla="*/ 222670 h 606510"/>
                <a:gd name="connsiteX77" fmla="*/ 378158 w 578354"/>
                <a:gd name="connsiteY77" fmla="*/ 202087 h 606510"/>
                <a:gd name="connsiteX78" fmla="*/ 377073 w 578354"/>
                <a:gd name="connsiteY78" fmla="*/ 190171 h 606510"/>
                <a:gd name="connsiteX79" fmla="*/ 386402 w 578354"/>
                <a:gd name="connsiteY79" fmla="*/ 182696 h 606510"/>
                <a:gd name="connsiteX80" fmla="*/ 395948 w 578354"/>
                <a:gd name="connsiteY80" fmla="*/ 180963 h 606510"/>
                <a:gd name="connsiteX81" fmla="*/ 408531 w 578354"/>
                <a:gd name="connsiteY81" fmla="*/ 186163 h 606510"/>
                <a:gd name="connsiteX82" fmla="*/ 426646 w 578354"/>
                <a:gd name="connsiteY82" fmla="*/ 193963 h 606510"/>
                <a:gd name="connsiteX83" fmla="*/ 439555 w 578354"/>
                <a:gd name="connsiteY83" fmla="*/ 187138 h 606510"/>
                <a:gd name="connsiteX84" fmla="*/ 436626 w 578354"/>
                <a:gd name="connsiteY84" fmla="*/ 181504 h 606510"/>
                <a:gd name="connsiteX85" fmla="*/ 425778 w 578354"/>
                <a:gd name="connsiteY85" fmla="*/ 177821 h 606510"/>
                <a:gd name="connsiteX86" fmla="*/ 385534 w 578354"/>
                <a:gd name="connsiteY86" fmla="*/ 161355 h 606510"/>
                <a:gd name="connsiteX87" fmla="*/ 376964 w 578354"/>
                <a:gd name="connsiteY87" fmla="*/ 138280 h 606510"/>
                <a:gd name="connsiteX88" fmla="*/ 386402 w 578354"/>
                <a:gd name="connsiteY88" fmla="*/ 112714 h 606510"/>
                <a:gd name="connsiteX89" fmla="*/ 413738 w 578354"/>
                <a:gd name="connsiteY89" fmla="*/ 98848 h 606510"/>
                <a:gd name="connsiteX90" fmla="*/ 413738 w 578354"/>
                <a:gd name="connsiteY90" fmla="*/ 84331 h 606510"/>
                <a:gd name="connsiteX91" fmla="*/ 426321 w 578354"/>
                <a:gd name="connsiteY91" fmla="*/ 71765 h 606510"/>
                <a:gd name="connsiteX92" fmla="*/ 215047 w 578354"/>
                <a:gd name="connsiteY92" fmla="*/ 46785 h 606510"/>
                <a:gd name="connsiteX93" fmla="*/ 247581 w 578354"/>
                <a:gd name="connsiteY93" fmla="*/ 46785 h 606510"/>
                <a:gd name="connsiteX94" fmla="*/ 347675 w 578354"/>
                <a:gd name="connsiteY94" fmla="*/ 146840 h 606510"/>
                <a:gd name="connsiteX95" fmla="*/ 347675 w 578354"/>
                <a:gd name="connsiteY95" fmla="*/ 178243 h 606510"/>
                <a:gd name="connsiteX96" fmla="*/ 353423 w 578354"/>
                <a:gd name="connsiteY96" fmla="*/ 196110 h 606510"/>
                <a:gd name="connsiteX97" fmla="*/ 353423 w 578354"/>
                <a:gd name="connsiteY97" fmla="*/ 218525 h 606510"/>
                <a:gd name="connsiteX98" fmla="*/ 342362 w 578354"/>
                <a:gd name="connsiteY98" fmla="*/ 242131 h 606510"/>
                <a:gd name="connsiteX99" fmla="*/ 335963 w 578354"/>
                <a:gd name="connsiteY99" fmla="*/ 259132 h 606510"/>
                <a:gd name="connsiteX100" fmla="*/ 314383 w 578354"/>
                <a:gd name="connsiteY100" fmla="*/ 299522 h 606510"/>
                <a:gd name="connsiteX101" fmla="*/ 299743 w 578354"/>
                <a:gd name="connsiteY101" fmla="*/ 318147 h 606510"/>
                <a:gd name="connsiteX102" fmla="*/ 310587 w 578354"/>
                <a:gd name="connsiteY102" fmla="*/ 331683 h 606510"/>
                <a:gd name="connsiteX103" fmla="*/ 382052 w 578354"/>
                <a:gd name="connsiteY103" fmla="*/ 353231 h 606510"/>
                <a:gd name="connsiteX104" fmla="*/ 462627 w 578354"/>
                <a:gd name="connsiteY104" fmla="*/ 587560 h 606510"/>
                <a:gd name="connsiteX105" fmla="*/ 443758 w 578354"/>
                <a:gd name="connsiteY105" fmla="*/ 606510 h 606510"/>
                <a:gd name="connsiteX106" fmla="*/ 18978 w 578354"/>
                <a:gd name="connsiteY106" fmla="*/ 606510 h 606510"/>
                <a:gd name="connsiteX107" fmla="*/ 0 w 578354"/>
                <a:gd name="connsiteY107" fmla="*/ 587560 h 606510"/>
                <a:gd name="connsiteX108" fmla="*/ 217 w 578354"/>
                <a:gd name="connsiteY108" fmla="*/ 584636 h 606510"/>
                <a:gd name="connsiteX109" fmla="*/ 80575 w 578354"/>
                <a:gd name="connsiteY109" fmla="*/ 353231 h 606510"/>
                <a:gd name="connsiteX110" fmla="*/ 152040 w 578354"/>
                <a:gd name="connsiteY110" fmla="*/ 331683 h 606510"/>
                <a:gd name="connsiteX111" fmla="*/ 162885 w 578354"/>
                <a:gd name="connsiteY111" fmla="*/ 318147 h 606510"/>
                <a:gd name="connsiteX112" fmla="*/ 148353 w 578354"/>
                <a:gd name="connsiteY112" fmla="*/ 299522 h 606510"/>
                <a:gd name="connsiteX113" fmla="*/ 126664 w 578354"/>
                <a:gd name="connsiteY113" fmla="*/ 259132 h 606510"/>
                <a:gd name="connsiteX114" fmla="*/ 120266 w 578354"/>
                <a:gd name="connsiteY114" fmla="*/ 242131 h 606510"/>
                <a:gd name="connsiteX115" fmla="*/ 109205 w 578354"/>
                <a:gd name="connsiteY115" fmla="*/ 218525 h 606510"/>
                <a:gd name="connsiteX116" fmla="*/ 109205 w 578354"/>
                <a:gd name="connsiteY116" fmla="*/ 196110 h 606510"/>
                <a:gd name="connsiteX117" fmla="*/ 114952 w 578354"/>
                <a:gd name="connsiteY117" fmla="*/ 178243 h 606510"/>
                <a:gd name="connsiteX118" fmla="*/ 114952 w 578354"/>
                <a:gd name="connsiteY118" fmla="*/ 146840 h 606510"/>
                <a:gd name="connsiteX119" fmla="*/ 215047 w 578354"/>
                <a:gd name="connsiteY119" fmla="*/ 46785 h 606510"/>
                <a:gd name="connsiteX120" fmla="*/ 414825 w 578354"/>
                <a:gd name="connsiteY120" fmla="*/ 0 h 606510"/>
                <a:gd name="connsiteX121" fmla="*/ 578354 w 578354"/>
                <a:gd name="connsiteY121" fmla="*/ 163305 h 606510"/>
                <a:gd name="connsiteX122" fmla="*/ 414825 w 578354"/>
                <a:gd name="connsiteY122" fmla="*/ 326718 h 606510"/>
                <a:gd name="connsiteX123" fmla="*/ 344664 w 578354"/>
                <a:gd name="connsiteY123" fmla="*/ 310907 h 606510"/>
                <a:gd name="connsiteX124" fmla="*/ 360063 w 578354"/>
                <a:gd name="connsiteY124" fmla="*/ 279719 h 606510"/>
                <a:gd name="connsiteX125" fmla="*/ 414825 w 578354"/>
                <a:gd name="connsiteY125" fmla="*/ 291956 h 606510"/>
                <a:gd name="connsiteX126" fmla="*/ 543545 w 578354"/>
                <a:gd name="connsiteY126" fmla="*/ 163305 h 606510"/>
                <a:gd name="connsiteX127" fmla="*/ 414825 w 578354"/>
                <a:gd name="connsiteY127" fmla="*/ 34762 h 606510"/>
                <a:gd name="connsiteX128" fmla="*/ 338808 w 578354"/>
                <a:gd name="connsiteY128" fmla="*/ 59561 h 606510"/>
                <a:gd name="connsiteX129" fmla="*/ 311264 w 578354"/>
                <a:gd name="connsiteY129" fmla="*/ 37036 h 606510"/>
                <a:gd name="connsiteX130" fmla="*/ 414825 w 578354"/>
                <a:gd name="connsiteY130" fmla="*/ 0 h 606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</a:cxnLst>
              <a:rect l="l" t="t" r="r" b="b"/>
              <a:pathLst>
                <a:path w="578354" h="606510">
                  <a:moveTo>
                    <a:pt x="271981" y="340887"/>
                  </a:moveTo>
                  <a:cubicBezTo>
                    <a:pt x="266667" y="343702"/>
                    <a:pt x="261461" y="345543"/>
                    <a:pt x="256365" y="346409"/>
                  </a:cubicBezTo>
                  <a:cubicBezTo>
                    <a:pt x="253328" y="346951"/>
                    <a:pt x="251051" y="349658"/>
                    <a:pt x="251051" y="352798"/>
                  </a:cubicBezTo>
                  <a:lnTo>
                    <a:pt x="251051" y="368716"/>
                  </a:lnTo>
                  <a:cubicBezTo>
                    <a:pt x="250183" y="369149"/>
                    <a:pt x="249316" y="369691"/>
                    <a:pt x="248665" y="370449"/>
                  </a:cubicBezTo>
                  <a:cubicBezTo>
                    <a:pt x="247472" y="371748"/>
                    <a:pt x="246821" y="373589"/>
                    <a:pt x="247038" y="375322"/>
                  </a:cubicBezTo>
                  <a:lnTo>
                    <a:pt x="250509" y="409431"/>
                  </a:lnTo>
                  <a:cubicBezTo>
                    <a:pt x="250834" y="412030"/>
                    <a:pt x="252677" y="414196"/>
                    <a:pt x="255172" y="414954"/>
                  </a:cubicBezTo>
                  <a:cubicBezTo>
                    <a:pt x="255822" y="415062"/>
                    <a:pt x="256365" y="415170"/>
                    <a:pt x="256907" y="415170"/>
                  </a:cubicBezTo>
                  <a:cubicBezTo>
                    <a:pt x="258859" y="415170"/>
                    <a:pt x="260811" y="414304"/>
                    <a:pt x="262004" y="412572"/>
                  </a:cubicBezTo>
                  <a:lnTo>
                    <a:pt x="280114" y="388749"/>
                  </a:lnTo>
                  <a:cubicBezTo>
                    <a:pt x="280873" y="387666"/>
                    <a:pt x="281307" y="386258"/>
                    <a:pt x="281307" y="384851"/>
                  </a:cubicBezTo>
                  <a:lnTo>
                    <a:pt x="281307" y="346626"/>
                  </a:lnTo>
                  <a:cubicBezTo>
                    <a:pt x="281307" y="344352"/>
                    <a:pt x="280222" y="342295"/>
                    <a:pt x="278270" y="341104"/>
                  </a:cubicBezTo>
                  <a:cubicBezTo>
                    <a:pt x="276318" y="339912"/>
                    <a:pt x="273933" y="339912"/>
                    <a:pt x="271981" y="340887"/>
                  </a:cubicBezTo>
                  <a:close/>
                  <a:moveTo>
                    <a:pt x="190755" y="340887"/>
                  </a:moveTo>
                  <a:cubicBezTo>
                    <a:pt x="188695" y="339912"/>
                    <a:pt x="186309" y="339912"/>
                    <a:pt x="184357" y="341104"/>
                  </a:cubicBezTo>
                  <a:cubicBezTo>
                    <a:pt x="182513" y="342295"/>
                    <a:pt x="181321" y="344352"/>
                    <a:pt x="181321" y="346626"/>
                  </a:cubicBezTo>
                  <a:lnTo>
                    <a:pt x="181212" y="384851"/>
                  </a:lnTo>
                  <a:cubicBezTo>
                    <a:pt x="181212" y="386258"/>
                    <a:pt x="181754" y="387666"/>
                    <a:pt x="182513" y="388749"/>
                  </a:cubicBezTo>
                  <a:lnTo>
                    <a:pt x="200624" y="412680"/>
                  </a:lnTo>
                  <a:cubicBezTo>
                    <a:pt x="201817" y="414304"/>
                    <a:pt x="203769" y="415170"/>
                    <a:pt x="205721" y="415170"/>
                  </a:cubicBezTo>
                  <a:cubicBezTo>
                    <a:pt x="206263" y="415170"/>
                    <a:pt x="206914" y="415062"/>
                    <a:pt x="207456" y="414954"/>
                  </a:cubicBezTo>
                  <a:cubicBezTo>
                    <a:pt x="209950" y="414196"/>
                    <a:pt x="211794" y="412030"/>
                    <a:pt x="212119" y="409431"/>
                  </a:cubicBezTo>
                  <a:lnTo>
                    <a:pt x="215589" y="375322"/>
                  </a:lnTo>
                  <a:cubicBezTo>
                    <a:pt x="215806" y="373589"/>
                    <a:pt x="215264" y="371748"/>
                    <a:pt x="213963" y="370449"/>
                  </a:cubicBezTo>
                  <a:cubicBezTo>
                    <a:pt x="213312" y="369691"/>
                    <a:pt x="212553" y="369149"/>
                    <a:pt x="211577" y="368716"/>
                  </a:cubicBezTo>
                  <a:lnTo>
                    <a:pt x="211577" y="352798"/>
                  </a:lnTo>
                  <a:cubicBezTo>
                    <a:pt x="211577" y="349658"/>
                    <a:pt x="209299" y="346951"/>
                    <a:pt x="206263" y="346409"/>
                  </a:cubicBezTo>
                  <a:cubicBezTo>
                    <a:pt x="201166" y="345543"/>
                    <a:pt x="195961" y="343702"/>
                    <a:pt x="190755" y="340887"/>
                  </a:cubicBezTo>
                  <a:close/>
                  <a:moveTo>
                    <a:pt x="200624" y="168497"/>
                  </a:moveTo>
                  <a:cubicBezTo>
                    <a:pt x="182513" y="168497"/>
                    <a:pt x="164945" y="175861"/>
                    <a:pt x="156161" y="180300"/>
                  </a:cubicBezTo>
                  <a:cubicBezTo>
                    <a:pt x="153884" y="181383"/>
                    <a:pt x="152583" y="183657"/>
                    <a:pt x="152583" y="186039"/>
                  </a:cubicBezTo>
                  <a:lnTo>
                    <a:pt x="152583" y="197518"/>
                  </a:lnTo>
                  <a:lnTo>
                    <a:pt x="149980" y="197518"/>
                  </a:lnTo>
                  <a:cubicBezTo>
                    <a:pt x="146401" y="197518"/>
                    <a:pt x="143473" y="200333"/>
                    <a:pt x="143473" y="203906"/>
                  </a:cubicBezTo>
                  <a:lnTo>
                    <a:pt x="143473" y="214410"/>
                  </a:lnTo>
                  <a:cubicBezTo>
                    <a:pt x="143473" y="216576"/>
                    <a:pt x="144666" y="218633"/>
                    <a:pt x="146401" y="219824"/>
                  </a:cubicBezTo>
                  <a:lnTo>
                    <a:pt x="152691" y="223831"/>
                  </a:lnTo>
                  <a:lnTo>
                    <a:pt x="153016" y="226538"/>
                  </a:lnTo>
                  <a:cubicBezTo>
                    <a:pt x="155077" y="241806"/>
                    <a:pt x="163644" y="261731"/>
                    <a:pt x="176007" y="279598"/>
                  </a:cubicBezTo>
                  <a:cubicBezTo>
                    <a:pt x="191731" y="302338"/>
                    <a:pt x="206480" y="312516"/>
                    <a:pt x="214071" y="312516"/>
                  </a:cubicBezTo>
                  <a:lnTo>
                    <a:pt x="248557" y="312516"/>
                  </a:lnTo>
                  <a:cubicBezTo>
                    <a:pt x="256148" y="312516"/>
                    <a:pt x="270896" y="302338"/>
                    <a:pt x="286621" y="279598"/>
                  </a:cubicBezTo>
                  <a:cubicBezTo>
                    <a:pt x="298984" y="261731"/>
                    <a:pt x="307551" y="241806"/>
                    <a:pt x="309611" y="226538"/>
                  </a:cubicBezTo>
                  <a:lnTo>
                    <a:pt x="309936" y="223831"/>
                  </a:lnTo>
                  <a:lnTo>
                    <a:pt x="316226" y="219824"/>
                  </a:lnTo>
                  <a:cubicBezTo>
                    <a:pt x="318070" y="218633"/>
                    <a:pt x="319154" y="216576"/>
                    <a:pt x="319154" y="214410"/>
                  </a:cubicBezTo>
                  <a:lnTo>
                    <a:pt x="319154" y="203906"/>
                  </a:lnTo>
                  <a:cubicBezTo>
                    <a:pt x="319154" y="200333"/>
                    <a:pt x="316226" y="197518"/>
                    <a:pt x="312756" y="197518"/>
                  </a:cubicBezTo>
                  <a:lnTo>
                    <a:pt x="309177" y="197518"/>
                  </a:lnTo>
                  <a:cubicBezTo>
                    <a:pt x="308744" y="196651"/>
                    <a:pt x="307984" y="195893"/>
                    <a:pt x="307117" y="195352"/>
                  </a:cubicBezTo>
                  <a:cubicBezTo>
                    <a:pt x="305382" y="194161"/>
                    <a:pt x="302996" y="193944"/>
                    <a:pt x="301044" y="194919"/>
                  </a:cubicBezTo>
                  <a:cubicBezTo>
                    <a:pt x="292477" y="198709"/>
                    <a:pt x="283910" y="200658"/>
                    <a:pt x="275668" y="200658"/>
                  </a:cubicBezTo>
                  <a:cubicBezTo>
                    <a:pt x="261028" y="200658"/>
                    <a:pt x="247797" y="194702"/>
                    <a:pt x="236302" y="182791"/>
                  </a:cubicBezTo>
                  <a:cubicBezTo>
                    <a:pt x="227193" y="173370"/>
                    <a:pt x="215155" y="168497"/>
                    <a:pt x="200624" y="168497"/>
                  </a:cubicBezTo>
                  <a:close/>
                  <a:moveTo>
                    <a:pt x="426321" y="71765"/>
                  </a:moveTo>
                  <a:cubicBezTo>
                    <a:pt x="433372" y="71765"/>
                    <a:pt x="439012" y="77398"/>
                    <a:pt x="439012" y="84331"/>
                  </a:cubicBezTo>
                  <a:lnTo>
                    <a:pt x="439012" y="99173"/>
                  </a:lnTo>
                  <a:cubicBezTo>
                    <a:pt x="449860" y="101231"/>
                    <a:pt x="458321" y="105564"/>
                    <a:pt x="464721" y="112498"/>
                  </a:cubicBezTo>
                  <a:cubicBezTo>
                    <a:pt x="467650" y="115639"/>
                    <a:pt x="468843" y="120081"/>
                    <a:pt x="467758" y="124306"/>
                  </a:cubicBezTo>
                  <a:cubicBezTo>
                    <a:pt x="466565" y="128531"/>
                    <a:pt x="463419" y="131780"/>
                    <a:pt x="459297" y="133080"/>
                  </a:cubicBezTo>
                  <a:lnTo>
                    <a:pt x="452789" y="135139"/>
                  </a:lnTo>
                  <a:cubicBezTo>
                    <a:pt x="448016" y="136655"/>
                    <a:pt x="442809" y="135247"/>
                    <a:pt x="439555" y="131455"/>
                  </a:cubicBezTo>
                  <a:cubicBezTo>
                    <a:pt x="436192" y="127772"/>
                    <a:pt x="431311" y="125931"/>
                    <a:pt x="425019" y="125931"/>
                  </a:cubicBezTo>
                  <a:cubicBezTo>
                    <a:pt x="419921" y="125931"/>
                    <a:pt x="413738" y="127122"/>
                    <a:pt x="413738" y="132972"/>
                  </a:cubicBezTo>
                  <a:cubicBezTo>
                    <a:pt x="413738" y="134597"/>
                    <a:pt x="414388" y="136005"/>
                    <a:pt x="415582" y="137197"/>
                  </a:cubicBezTo>
                  <a:cubicBezTo>
                    <a:pt x="416883" y="138389"/>
                    <a:pt x="420463" y="139689"/>
                    <a:pt x="426429" y="140989"/>
                  </a:cubicBezTo>
                  <a:cubicBezTo>
                    <a:pt x="440097" y="144022"/>
                    <a:pt x="450077" y="146730"/>
                    <a:pt x="456043" y="149113"/>
                  </a:cubicBezTo>
                  <a:cubicBezTo>
                    <a:pt x="462118" y="151497"/>
                    <a:pt x="467216" y="155613"/>
                    <a:pt x="471230" y="161355"/>
                  </a:cubicBezTo>
                  <a:cubicBezTo>
                    <a:pt x="475243" y="167096"/>
                    <a:pt x="477304" y="174030"/>
                    <a:pt x="477304" y="181829"/>
                  </a:cubicBezTo>
                  <a:cubicBezTo>
                    <a:pt x="477304" y="192771"/>
                    <a:pt x="473291" y="202087"/>
                    <a:pt x="465480" y="209454"/>
                  </a:cubicBezTo>
                  <a:cubicBezTo>
                    <a:pt x="458863" y="215737"/>
                    <a:pt x="449968" y="219962"/>
                    <a:pt x="439012" y="222020"/>
                  </a:cubicBezTo>
                  <a:lnTo>
                    <a:pt x="439012" y="242278"/>
                  </a:lnTo>
                  <a:cubicBezTo>
                    <a:pt x="439012" y="249320"/>
                    <a:pt x="433372" y="254953"/>
                    <a:pt x="426321" y="254953"/>
                  </a:cubicBezTo>
                  <a:cubicBezTo>
                    <a:pt x="419378" y="254953"/>
                    <a:pt x="413738" y="249320"/>
                    <a:pt x="413738" y="242278"/>
                  </a:cubicBezTo>
                  <a:lnTo>
                    <a:pt x="413738" y="222670"/>
                  </a:lnTo>
                  <a:cubicBezTo>
                    <a:pt x="397683" y="220504"/>
                    <a:pt x="385751" y="213571"/>
                    <a:pt x="378158" y="202087"/>
                  </a:cubicBezTo>
                  <a:cubicBezTo>
                    <a:pt x="375771" y="198512"/>
                    <a:pt x="375337" y="194071"/>
                    <a:pt x="377073" y="190171"/>
                  </a:cubicBezTo>
                  <a:cubicBezTo>
                    <a:pt x="378700" y="186271"/>
                    <a:pt x="382171" y="183454"/>
                    <a:pt x="386402" y="182696"/>
                  </a:cubicBezTo>
                  <a:lnTo>
                    <a:pt x="395948" y="180963"/>
                  </a:lnTo>
                  <a:cubicBezTo>
                    <a:pt x="400721" y="180096"/>
                    <a:pt x="405710" y="182046"/>
                    <a:pt x="408531" y="186163"/>
                  </a:cubicBezTo>
                  <a:cubicBezTo>
                    <a:pt x="412110" y="191254"/>
                    <a:pt x="418185" y="193963"/>
                    <a:pt x="426646" y="193963"/>
                  </a:cubicBezTo>
                  <a:cubicBezTo>
                    <a:pt x="439555" y="193963"/>
                    <a:pt x="439555" y="188763"/>
                    <a:pt x="439555" y="187138"/>
                  </a:cubicBezTo>
                  <a:cubicBezTo>
                    <a:pt x="439555" y="184646"/>
                    <a:pt x="438578" y="182913"/>
                    <a:pt x="436626" y="181504"/>
                  </a:cubicBezTo>
                  <a:cubicBezTo>
                    <a:pt x="434673" y="180096"/>
                    <a:pt x="430985" y="178905"/>
                    <a:pt x="425778" y="177821"/>
                  </a:cubicBezTo>
                  <a:cubicBezTo>
                    <a:pt x="404734" y="173488"/>
                    <a:pt x="391283" y="167963"/>
                    <a:pt x="385534" y="161355"/>
                  </a:cubicBezTo>
                  <a:cubicBezTo>
                    <a:pt x="379785" y="154530"/>
                    <a:pt x="376964" y="147055"/>
                    <a:pt x="376964" y="138280"/>
                  </a:cubicBezTo>
                  <a:cubicBezTo>
                    <a:pt x="376964" y="128639"/>
                    <a:pt x="380110" y="120081"/>
                    <a:pt x="386402" y="112714"/>
                  </a:cubicBezTo>
                  <a:cubicBezTo>
                    <a:pt x="392368" y="105564"/>
                    <a:pt x="401588" y="100906"/>
                    <a:pt x="413738" y="98848"/>
                  </a:cubicBezTo>
                  <a:lnTo>
                    <a:pt x="413738" y="84331"/>
                  </a:lnTo>
                  <a:cubicBezTo>
                    <a:pt x="413738" y="77398"/>
                    <a:pt x="419378" y="71765"/>
                    <a:pt x="426321" y="71765"/>
                  </a:cubicBezTo>
                  <a:close/>
                  <a:moveTo>
                    <a:pt x="215047" y="46785"/>
                  </a:moveTo>
                  <a:lnTo>
                    <a:pt x="247581" y="46785"/>
                  </a:lnTo>
                  <a:cubicBezTo>
                    <a:pt x="302779" y="46785"/>
                    <a:pt x="347675" y="91723"/>
                    <a:pt x="347675" y="146840"/>
                  </a:cubicBezTo>
                  <a:lnTo>
                    <a:pt x="347675" y="178243"/>
                  </a:lnTo>
                  <a:cubicBezTo>
                    <a:pt x="351471" y="183441"/>
                    <a:pt x="353423" y="189721"/>
                    <a:pt x="353423" y="196110"/>
                  </a:cubicBezTo>
                  <a:lnTo>
                    <a:pt x="353423" y="218525"/>
                  </a:lnTo>
                  <a:cubicBezTo>
                    <a:pt x="353423" y="227621"/>
                    <a:pt x="349302" y="236284"/>
                    <a:pt x="342362" y="242131"/>
                  </a:cubicBezTo>
                  <a:cubicBezTo>
                    <a:pt x="340626" y="247654"/>
                    <a:pt x="338458" y="253393"/>
                    <a:pt x="335963" y="259132"/>
                  </a:cubicBezTo>
                  <a:cubicBezTo>
                    <a:pt x="330758" y="272559"/>
                    <a:pt x="323275" y="286528"/>
                    <a:pt x="314383" y="299522"/>
                  </a:cubicBezTo>
                  <a:cubicBezTo>
                    <a:pt x="310587" y="305045"/>
                    <a:pt x="305599" y="311650"/>
                    <a:pt x="299743" y="318147"/>
                  </a:cubicBezTo>
                  <a:cubicBezTo>
                    <a:pt x="305056" y="321937"/>
                    <a:pt x="308852" y="326485"/>
                    <a:pt x="310587" y="331683"/>
                  </a:cubicBezTo>
                  <a:lnTo>
                    <a:pt x="382052" y="353231"/>
                  </a:lnTo>
                  <a:cubicBezTo>
                    <a:pt x="432263" y="367742"/>
                    <a:pt x="462627" y="578464"/>
                    <a:pt x="462627" y="587560"/>
                  </a:cubicBezTo>
                  <a:cubicBezTo>
                    <a:pt x="462627" y="598064"/>
                    <a:pt x="454169" y="606510"/>
                    <a:pt x="443758" y="606510"/>
                  </a:cubicBezTo>
                  <a:lnTo>
                    <a:pt x="18978" y="606510"/>
                  </a:lnTo>
                  <a:cubicBezTo>
                    <a:pt x="8459" y="606510"/>
                    <a:pt x="0" y="598064"/>
                    <a:pt x="0" y="587560"/>
                  </a:cubicBezTo>
                  <a:cubicBezTo>
                    <a:pt x="0" y="586586"/>
                    <a:pt x="109" y="585611"/>
                    <a:pt x="217" y="584636"/>
                  </a:cubicBezTo>
                  <a:cubicBezTo>
                    <a:pt x="217" y="584636"/>
                    <a:pt x="30365" y="367742"/>
                    <a:pt x="80575" y="353231"/>
                  </a:cubicBezTo>
                  <a:lnTo>
                    <a:pt x="152040" y="331683"/>
                  </a:lnTo>
                  <a:cubicBezTo>
                    <a:pt x="153775" y="326485"/>
                    <a:pt x="157571" y="321937"/>
                    <a:pt x="162885" y="318147"/>
                  </a:cubicBezTo>
                  <a:cubicBezTo>
                    <a:pt x="157029" y="311650"/>
                    <a:pt x="152040" y="305045"/>
                    <a:pt x="148353" y="299522"/>
                  </a:cubicBezTo>
                  <a:cubicBezTo>
                    <a:pt x="139352" y="286528"/>
                    <a:pt x="131870" y="272559"/>
                    <a:pt x="126664" y="259132"/>
                  </a:cubicBezTo>
                  <a:cubicBezTo>
                    <a:pt x="124170" y="253393"/>
                    <a:pt x="122001" y="247654"/>
                    <a:pt x="120266" y="242131"/>
                  </a:cubicBezTo>
                  <a:cubicBezTo>
                    <a:pt x="113325" y="236284"/>
                    <a:pt x="109205" y="227621"/>
                    <a:pt x="109205" y="218525"/>
                  </a:cubicBezTo>
                  <a:lnTo>
                    <a:pt x="109205" y="196110"/>
                  </a:lnTo>
                  <a:cubicBezTo>
                    <a:pt x="109205" y="189721"/>
                    <a:pt x="111265" y="183441"/>
                    <a:pt x="114952" y="178243"/>
                  </a:cubicBezTo>
                  <a:lnTo>
                    <a:pt x="114952" y="146840"/>
                  </a:lnTo>
                  <a:cubicBezTo>
                    <a:pt x="114952" y="91723"/>
                    <a:pt x="159848" y="46785"/>
                    <a:pt x="215047" y="46785"/>
                  </a:cubicBezTo>
                  <a:close/>
                  <a:moveTo>
                    <a:pt x="414825" y="0"/>
                  </a:moveTo>
                  <a:cubicBezTo>
                    <a:pt x="504940" y="0"/>
                    <a:pt x="578354" y="73314"/>
                    <a:pt x="578354" y="163305"/>
                  </a:cubicBezTo>
                  <a:cubicBezTo>
                    <a:pt x="578354" y="253404"/>
                    <a:pt x="504940" y="326718"/>
                    <a:pt x="414825" y="326718"/>
                  </a:cubicBezTo>
                  <a:cubicBezTo>
                    <a:pt x="389667" y="326718"/>
                    <a:pt x="365918" y="320979"/>
                    <a:pt x="344664" y="310907"/>
                  </a:cubicBezTo>
                  <a:cubicBezTo>
                    <a:pt x="350737" y="300620"/>
                    <a:pt x="355942" y="290115"/>
                    <a:pt x="360063" y="279719"/>
                  </a:cubicBezTo>
                  <a:cubicBezTo>
                    <a:pt x="376654" y="287516"/>
                    <a:pt x="395198" y="291956"/>
                    <a:pt x="414825" y="291956"/>
                  </a:cubicBezTo>
                  <a:cubicBezTo>
                    <a:pt x="485854" y="291956"/>
                    <a:pt x="543545" y="234236"/>
                    <a:pt x="543545" y="163305"/>
                  </a:cubicBezTo>
                  <a:cubicBezTo>
                    <a:pt x="543545" y="92482"/>
                    <a:pt x="485854" y="34762"/>
                    <a:pt x="414825" y="34762"/>
                  </a:cubicBezTo>
                  <a:cubicBezTo>
                    <a:pt x="386414" y="34762"/>
                    <a:pt x="360171" y="43967"/>
                    <a:pt x="338808" y="59561"/>
                  </a:cubicBezTo>
                  <a:cubicBezTo>
                    <a:pt x="330675" y="50897"/>
                    <a:pt x="321458" y="43317"/>
                    <a:pt x="311264" y="37036"/>
                  </a:cubicBezTo>
                  <a:cubicBezTo>
                    <a:pt x="339459" y="13861"/>
                    <a:pt x="375570" y="0"/>
                    <a:pt x="414825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 sz="4000"/>
            </a:p>
          </p:txBody>
        </p:sp>
        <p:sp>
          <p:nvSpPr>
            <p:cNvPr id="19" name="î$ḻiďé">
              <a:extLst>
                <a:ext uri="{FF2B5EF4-FFF2-40B4-BE49-F238E27FC236}">
                  <a16:creationId xmlns:a16="http://schemas.microsoft.com/office/drawing/2014/main" id="{962544AA-7ED4-4E00-B3F2-4A385DC721C7}"/>
                </a:ext>
              </a:extLst>
            </p:cNvPr>
            <p:cNvSpPr/>
            <p:nvPr/>
          </p:nvSpPr>
          <p:spPr bwMode="auto">
            <a:xfrm>
              <a:off x="5907075" y="3778798"/>
              <a:ext cx="377848" cy="377196"/>
            </a:xfrm>
            <a:custGeom>
              <a:avLst/>
              <a:gdLst>
                <a:gd name="connsiteX0" fmla="*/ 160421 w 607770"/>
                <a:gd name="connsiteY0" fmla="*/ 130334 h 606722"/>
                <a:gd name="connsiteX1" fmla="*/ 258218 w 607770"/>
                <a:gd name="connsiteY1" fmla="*/ 227211 h 606722"/>
                <a:gd name="connsiteX2" fmla="*/ 258783 w 607770"/>
                <a:gd name="connsiteY2" fmla="*/ 227211 h 606722"/>
                <a:gd name="connsiteX3" fmla="*/ 279888 w 607770"/>
                <a:gd name="connsiteY3" fmla="*/ 272545 h 606722"/>
                <a:gd name="connsiteX4" fmla="*/ 250963 w 607770"/>
                <a:gd name="connsiteY4" fmla="*/ 304806 h 606722"/>
                <a:gd name="connsiteX5" fmla="*/ 207435 w 607770"/>
                <a:gd name="connsiteY5" fmla="*/ 366694 h 606722"/>
                <a:gd name="connsiteX6" fmla="*/ 201970 w 607770"/>
                <a:gd name="connsiteY6" fmla="*/ 382307 h 606722"/>
                <a:gd name="connsiteX7" fmla="*/ 205739 w 607770"/>
                <a:gd name="connsiteY7" fmla="*/ 400366 h 606722"/>
                <a:gd name="connsiteX8" fmla="*/ 228351 w 607770"/>
                <a:gd name="connsiteY8" fmla="*/ 422657 h 606722"/>
                <a:gd name="connsiteX9" fmla="*/ 248042 w 607770"/>
                <a:gd name="connsiteY9" fmla="*/ 426513 h 606722"/>
                <a:gd name="connsiteX10" fmla="*/ 305515 w 607770"/>
                <a:gd name="connsiteY10" fmla="*/ 483792 h 606722"/>
                <a:gd name="connsiteX11" fmla="*/ 320024 w 607770"/>
                <a:gd name="connsiteY11" fmla="*/ 556873 h 606722"/>
                <a:gd name="connsiteX12" fmla="*/ 311356 w 607770"/>
                <a:gd name="connsiteY12" fmla="*/ 591485 h 606722"/>
                <a:gd name="connsiteX13" fmla="*/ 279040 w 607770"/>
                <a:gd name="connsiteY13" fmla="*/ 606722 h 606722"/>
                <a:gd name="connsiteX14" fmla="*/ 41707 w 607770"/>
                <a:gd name="connsiteY14" fmla="*/ 606722 h 606722"/>
                <a:gd name="connsiteX15" fmla="*/ 9485 w 607770"/>
                <a:gd name="connsiteY15" fmla="*/ 591485 h 606722"/>
                <a:gd name="connsiteX16" fmla="*/ 817 w 607770"/>
                <a:gd name="connsiteY16" fmla="*/ 556873 h 606722"/>
                <a:gd name="connsiteX17" fmla="*/ 15326 w 607770"/>
                <a:gd name="connsiteY17" fmla="*/ 483792 h 606722"/>
                <a:gd name="connsiteX18" fmla="*/ 72799 w 607770"/>
                <a:gd name="connsiteY18" fmla="*/ 426513 h 606722"/>
                <a:gd name="connsiteX19" fmla="*/ 92490 w 607770"/>
                <a:gd name="connsiteY19" fmla="*/ 422657 h 606722"/>
                <a:gd name="connsiteX20" fmla="*/ 115008 w 607770"/>
                <a:gd name="connsiteY20" fmla="*/ 400366 h 606722"/>
                <a:gd name="connsiteX21" fmla="*/ 118777 w 607770"/>
                <a:gd name="connsiteY21" fmla="*/ 382213 h 606722"/>
                <a:gd name="connsiteX22" fmla="*/ 113312 w 607770"/>
                <a:gd name="connsiteY22" fmla="*/ 366694 h 606722"/>
                <a:gd name="connsiteX23" fmla="*/ 69784 w 607770"/>
                <a:gd name="connsiteY23" fmla="*/ 304806 h 606722"/>
                <a:gd name="connsiteX24" fmla="*/ 40953 w 607770"/>
                <a:gd name="connsiteY24" fmla="*/ 272545 h 606722"/>
                <a:gd name="connsiteX25" fmla="*/ 62058 w 607770"/>
                <a:gd name="connsiteY25" fmla="*/ 227211 h 606722"/>
                <a:gd name="connsiteX26" fmla="*/ 62717 w 607770"/>
                <a:gd name="connsiteY26" fmla="*/ 227116 h 606722"/>
                <a:gd name="connsiteX27" fmla="*/ 160421 w 607770"/>
                <a:gd name="connsiteY27" fmla="*/ 130334 h 606722"/>
                <a:gd name="connsiteX28" fmla="*/ 455360 w 607770"/>
                <a:gd name="connsiteY28" fmla="*/ 72430 h 606722"/>
                <a:gd name="connsiteX29" fmla="*/ 445846 w 607770"/>
                <a:gd name="connsiteY29" fmla="*/ 81931 h 606722"/>
                <a:gd name="connsiteX30" fmla="*/ 445846 w 607770"/>
                <a:gd name="connsiteY30" fmla="*/ 90867 h 606722"/>
                <a:gd name="connsiteX31" fmla="*/ 412971 w 607770"/>
                <a:gd name="connsiteY31" fmla="*/ 125389 h 606722"/>
                <a:gd name="connsiteX32" fmla="*/ 448013 w 607770"/>
                <a:gd name="connsiteY32" fmla="*/ 160946 h 606722"/>
                <a:gd name="connsiteX33" fmla="*/ 468642 w 607770"/>
                <a:gd name="connsiteY33" fmla="*/ 177878 h 606722"/>
                <a:gd name="connsiteX34" fmla="*/ 449991 w 607770"/>
                <a:gd name="connsiteY34" fmla="*/ 189918 h 606722"/>
                <a:gd name="connsiteX35" fmla="*/ 428231 w 607770"/>
                <a:gd name="connsiteY35" fmla="*/ 186061 h 606722"/>
                <a:gd name="connsiteX36" fmla="*/ 419848 w 607770"/>
                <a:gd name="connsiteY36" fmla="*/ 186720 h 606722"/>
                <a:gd name="connsiteX37" fmla="*/ 414573 w 607770"/>
                <a:gd name="connsiteY37" fmla="*/ 193304 h 606722"/>
                <a:gd name="connsiteX38" fmla="*/ 414384 w 607770"/>
                <a:gd name="connsiteY38" fmla="*/ 194245 h 606722"/>
                <a:gd name="connsiteX39" fmla="*/ 422297 w 607770"/>
                <a:gd name="connsiteY39" fmla="*/ 208543 h 606722"/>
                <a:gd name="connsiteX40" fmla="*/ 444904 w 607770"/>
                <a:gd name="connsiteY40" fmla="*/ 212494 h 606722"/>
                <a:gd name="connsiteX41" fmla="*/ 444904 w 607770"/>
                <a:gd name="connsiteY41" fmla="*/ 221430 h 606722"/>
                <a:gd name="connsiteX42" fmla="*/ 454418 w 607770"/>
                <a:gd name="connsiteY42" fmla="*/ 230931 h 606722"/>
                <a:gd name="connsiteX43" fmla="*/ 463932 w 607770"/>
                <a:gd name="connsiteY43" fmla="*/ 221430 h 606722"/>
                <a:gd name="connsiteX44" fmla="*/ 463932 w 607770"/>
                <a:gd name="connsiteY44" fmla="*/ 211083 h 606722"/>
                <a:gd name="connsiteX45" fmla="*/ 498596 w 607770"/>
                <a:gd name="connsiteY45" fmla="*/ 175150 h 606722"/>
                <a:gd name="connsiteX46" fmla="*/ 466098 w 607770"/>
                <a:gd name="connsiteY46" fmla="*/ 138841 h 606722"/>
                <a:gd name="connsiteX47" fmla="*/ 442738 w 607770"/>
                <a:gd name="connsiteY47" fmla="*/ 122097 h 606722"/>
                <a:gd name="connsiteX48" fmla="*/ 459505 w 607770"/>
                <a:gd name="connsiteY48" fmla="*/ 111279 h 606722"/>
                <a:gd name="connsiteX49" fmla="*/ 477214 w 607770"/>
                <a:gd name="connsiteY49" fmla="*/ 113819 h 606722"/>
                <a:gd name="connsiteX50" fmla="*/ 485409 w 607770"/>
                <a:gd name="connsiteY50" fmla="*/ 112973 h 606722"/>
                <a:gd name="connsiteX51" fmla="*/ 490401 w 607770"/>
                <a:gd name="connsiteY51" fmla="*/ 106482 h 606722"/>
                <a:gd name="connsiteX52" fmla="*/ 490589 w 607770"/>
                <a:gd name="connsiteY52" fmla="*/ 105730 h 606722"/>
                <a:gd name="connsiteX53" fmla="*/ 482489 w 607770"/>
                <a:gd name="connsiteY53" fmla="*/ 91996 h 606722"/>
                <a:gd name="connsiteX54" fmla="*/ 464968 w 607770"/>
                <a:gd name="connsiteY54" fmla="*/ 89456 h 606722"/>
                <a:gd name="connsiteX55" fmla="*/ 464968 w 607770"/>
                <a:gd name="connsiteY55" fmla="*/ 81931 h 606722"/>
                <a:gd name="connsiteX56" fmla="*/ 455360 w 607770"/>
                <a:gd name="connsiteY56" fmla="*/ 72430 h 606722"/>
                <a:gd name="connsiteX57" fmla="*/ 455831 w 607770"/>
                <a:gd name="connsiteY57" fmla="*/ 0 h 606722"/>
                <a:gd name="connsiteX58" fmla="*/ 607770 w 607770"/>
                <a:gd name="connsiteY58" fmla="*/ 151633 h 606722"/>
                <a:gd name="connsiteX59" fmla="*/ 455831 w 607770"/>
                <a:gd name="connsiteY59" fmla="*/ 303361 h 606722"/>
                <a:gd name="connsiteX60" fmla="*/ 322260 w 607770"/>
                <a:gd name="connsiteY60" fmla="*/ 303361 h 606722"/>
                <a:gd name="connsiteX61" fmla="*/ 303986 w 607770"/>
                <a:gd name="connsiteY61" fmla="*/ 285018 h 606722"/>
                <a:gd name="connsiteX62" fmla="*/ 303986 w 607770"/>
                <a:gd name="connsiteY62" fmla="*/ 151633 h 606722"/>
                <a:gd name="connsiteX63" fmla="*/ 455831 w 607770"/>
                <a:gd name="connsiteY63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607770" h="606722">
                  <a:moveTo>
                    <a:pt x="160421" y="130334"/>
                  </a:moveTo>
                  <a:cubicBezTo>
                    <a:pt x="231743" y="130334"/>
                    <a:pt x="253224" y="171530"/>
                    <a:pt x="258218" y="227211"/>
                  </a:cubicBezTo>
                  <a:cubicBezTo>
                    <a:pt x="258406" y="227211"/>
                    <a:pt x="258595" y="227211"/>
                    <a:pt x="258783" y="227211"/>
                  </a:cubicBezTo>
                  <a:cubicBezTo>
                    <a:pt x="275177" y="230879"/>
                    <a:pt x="284693" y="251195"/>
                    <a:pt x="279888" y="272545"/>
                  </a:cubicBezTo>
                  <a:cubicBezTo>
                    <a:pt x="276025" y="289851"/>
                    <a:pt x="264059" y="302454"/>
                    <a:pt x="250963" y="304806"/>
                  </a:cubicBezTo>
                  <a:cubicBezTo>
                    <a:pt x="241541" y="330389"/>
                    <a:pt x="225242" y="352021"/>
                    <a:pt x="207435" y="366694"/>
                  </a:cubicBezTo>
                  <a:cubicBezTo>
                    <a:pt x="202912" y="370456"/>
                    <a:pt x="200840" y="376476"/>
                    <a:pt x="201970" y="382307"/>
                  </a:cubicBezTo>
                  <a:lnTo>
                    <a:pt x="205739" y="400366"/>
                  </a:lnTo>
                  <a:cubicBezTo>
                    <a:pt x="208094" y="411652"/>
                    <a:pt x="216951" y="420399"/>
                    <a:pt x="228351" y="422657"/>
                  </a:cubicBezTo>
                  <a:lnTo>
                    <a:pt x="248042" y="426513"/>
                  </a:lnTo>
                  <a:cubicBezTo>
                    <a:pt x="277061" y="432250"/>
                    <a:pt x="299673" y="454823"/>
                    <a:pt x="305515" y="483792"/>
                  </a:cubicBezTo>
                  <a:lnTo>
                    <a:pt x="320024" y="556873"/>
                  </a:lnTo>
                  <a:cubicBezTo>
                    <a:pt x="322474" y="569100"/>
                    <a:pt x="319271" y="581797"/>
                    <a:pt x="311356" y="591485"/>
                  </a:cubicBezTo>
                  <a:cubicBezTo>
                    <a:pt x="303442" y="601079"/>
                    <a:pt x="291571" y="606722"/>
                    <a:pt x="279040" y="606722"/>
                  </a:cubicBezTo>
                  <a:lnTo>
                    <a:pt x="41707" y="606722"/>
                  </a:lnTo>
                  <a:cubicBezTo>
                    <a:pt x="29270" y="606722"/>
                    <a:pt x="17399" y="601079"/>
                    <a:pt x="9485" y="591485"/>
                  </a:cubicBezTo>
                  <a:cubicBezTo>
                    <a:pt x="1476" y="581797"/>
                    <a:pt x="-1633" y="569100"/>
                    <a:pt x="817" y="556873"/>
                  </a:cubicBezTo>
                  <a:lnTo>
                    <a:pt x="15326" y="483792"/>
                  </a:lnTo>
                  <a:cubicBezTo>
                    <a:pt x="21073" y="454823"/>
                    <a:pt x="43780" y="432250"/>
                    <a:pt x="72799" y="426513"/>
                  </a:cubicBezTo>
                  <a:lnTo>
                    <a:pt x="92490" y="422657"/>
                  </a:lnTo>
                  <a:cubicBezTo>
                    <a:pt x="103796" y="420399"/>
                    <a:pt x="112747" y="411652"/>
                    <a:pt x="115008" y="400366"/>
                  </a:cubicBezTo>
                  <a:lnTo>
                    <a:pt x="118777" y="382213"/>
                  </a:lnTo>
                  <a:cubicBezTo>
                    <a:pt x="120001" y="376476"/>
                    <a:pt x="117834" y="370456"/>
                    <a:pt x="113312" y="366694"/>
                  </a:cubicBezTo>
                  <a:cubicBezTo>
                    <a:pt x="95505" y="352021"/>
                    <a:pt x="79205" y="330389"/>
                    <a:pt x="69784" y="304806"/>
                  </a:cubicBezTo>
                  <a:cubicBezTo>
                    <a:pt x="56687" y="302454"/>
                    <a:pt x="44722" y="289851"/>
                    <a:pt x="40953" y="272545"/>
                  </a:cubicBezTo>
                  <a:cubicBezTo>
                    <a:pt x="36148" y="251195"/>
                    <a:pt x="45664" y="230879"/>
                    <a:pt x="62058" y="227211"/>
                  </a:cubicBezTo>
                  <a:cubicBezTo>
                    <a:pt x="62246" y="227211"/>
                    <a:pt x="62435" y="227211"/>
                    <a:pt x="62717" y="227116"/>
                  </a:cubicBezTo>
                  <a:cubicBezTo>
                    <a:pt x="67899" y="171530"/>
                    <a:pt x="90229" y="130334"/>
                    <a:pt x="160421" y="130334"/>
                  </a:cubicBezTo>
                  <a:close/>
                  <a:moveTo>
                    <a:pt x="455360" y="72430"/>
                  </a:moveTo>
                  <a:cubicBezTo>
                    <a:pt x="450179" y="72430"/>
                    <a:pt x="445846" y="76663"/>
                    <a:pt x="445846" y="81931"/>
                  </a:cubicBezTo>
                  <a:lnTo>
                    <a:pt x="445846" y="90867"/>
                  </a:lnTo>
                  <a:cubicBezTo>
                    <a:pt x="425029" y="94912"/>
                    <a:pt x="412971" y="108363"/>
                    <a:pt x="412971" y="125389"/>
                  </a:cubicBezTo>
                  <a:cubicBezTo>
                    <a:pt x="412971" y="144296"/>
                    <a:pt x="427195" y="153985"/>
                    <a:pt x="448013" y="160946"/>
                  </a:cubicBezTo>
                  <a:cubicBezTo>
                    <a:pt x="462425" y="165837"/>
                    <a:pt x="468642" y="170541"/>
                    <a:pt x="468642" y="177878"/>
                  </a:cubicBezTo>
                  <a:cubicBezTo>
                    <a:pt x="468642" y="185685"/>
                    <a:pt x="461012" y="189918"/>
                    <a:pt x="449991" y="189918"/>
                  </a:cubicBezTo>
                  <a:cubicBezTo>
                    <a:pt x="442078" y="189918"/>
                    <a:pt x="434637" y="188319"/>
                    <a:pt x="428231" y="186061"/>
                  </a:cubicBezTo>
                  <a:cubicBezTo>
                    <a:pt x="425405" y="185121"/>
                    <a:pt x="422391" y="185309"/>
                    <a:pt x="419848" y="186720"/>
                  </a:cubicBezTo>
                  <a:cubicBezTo>
                    <a:pt x="417210" y="188131"/>
                    <a:pt x="415326" y="190482"/>
                    <a:pt x="414573" y="193304"/>
                  </a:cubicBezTo>
                  <a:lnTo>
                    <a:pt x="414384" y="194245"/>
                  </a:lnTo>
                  <a:cubicBezTo>
                    <a:pt x="412783" y="200359"/>
                    <a:pt x="416268" y="206662"/>
                    <a:pt x="422297" y="208543"/>
                  </a:cubicBezTo>
                  <a:cubicBezTo>
                    <a:pt x="428985" y="210612"/>
                    <a:pt x="436897" y="212118"/>
                    <a:pt x="444904" y="212494"/>
                  </a:cubicBezTo>
                  <a:lnTo>
                    <a:pt x="444904" y="221430"/>
                  </a:lnTo>
                  <a:cubicBezTo>
                    <a:pt x="444904" y="226604"/>
                    <a:pt x="449143" y="230931"/>
                    <a:pt x="454418" y="230931"/>
                  </a:cubicBezTo>
                  <a:cubicBezTo>
                    <a:pt x="459693" y="230931"/>
                    <a:pt x="463932" y="226604"/>
                    <a:pt x="463932" y="221430"/>
                  </a:cubicBezTo>
                  <a:lnTo>
                    <a:pt x="463932" y="211083"/>
                  </a:lnTo>
                  <a:cubicBezTo>
                    <a:pt x="486351" y="207226"/>
                    <a:pt x="498596" y="192458"/>
                    <a:pt x="498596" y="175150"/>
                  </a:cubicBezTo>
                  <a:cubicBezTo>
                    <a:pt x="498596" y="157654"/>
                    <a:pt x="489271" y="147024"/>
                    <a:pt x="466098" y="138841"/>
                  </a:cubicBezTo>
                  <a:cubicBezTo>
                    <a:pt x="449614" y="132632"/>
                    <a:pt x="442738" y="128493"/>
                    <a:pt x="442738" y="122097"/>
                  </a:cubicBezTo>
                  <a:cubicBezTo>
                    <a:pt x="442738" y="116641"/>
                    <a:pt x="446882" y="111279"/>
                    <a:pt x="459505" y="111279"/>
                  </a:cubicBezTo>
                  <a:cubicBezTo>
                    <a:pt x="466664" y="111279"/>
                    <a:pt x="472504" y="112408"/>
                    <a:pt x="477214" y="113819"/>
                  </a:cubicBezTo>
                  <a:cubicBezTo>
                    <a:pt x="479945" y="114666"/>
                    <a:pt x="482960" y="114384"/>
                    <a:pt x="485409" y="112973"/>
                  </a:cubicBezTo>
                  <a:cubicBezTo>
                    <a:pt x="487858" y="111562"/>
                    <a:pt x="489742" y="109210"/>
                    <a:pt x="490401" y="106482"/>
                  </a:cubicBezTo>
                  <a:lnTo>
                    <a:pt x="490589" y="105730"/>
                  </a:lnTo>
                  <a:cubicBezTo>
                    <a:pt x="492191" y="99709"/>
                    <a:pt x="488517" y="93595"/>
                    <a:pt x="482489" y="91996"/>
                  </a:cubicBezTo>
                  <a:cubicBezTo>
                    <a:pt x="477685" y="90773"/>
                    <a:pt x="471939" y="89832"/>
                    <a:pt x="464968" y="89456"/>
                  </a:cubicBezTo>
                  <a:lnTo>
                    <a:pt x="464968" y="81931"/>
                  </a:lnTo>
                  <a:cubicBezTo>
                    <a:pt x="464968" y="76663"/>
                    <a:pt x="460635" y="72430"/>
                    <a:pt x="455360" y="72430"/>
                  </a:cubicBezTo>
                  <a:close/>
                  <a:moveTo>
                    <a:pt x="455831" y="0"/>
                  </a:moveTo>
                  <a:cubicBezTo>
                    <a:pt x="539760" y="0"/>
                    <a:pt x="607770" y="67915"/>
                    <a:pt x="607770" y="151633"/>
                  </a:cubicBezTo>
                  <a:cubicBezTo>
                    <a:pt x="607770" y="235446"/>
                    <a:pt x="539760" y="303361"/>
                    <a:pt x="455831" y="303361"/>
                  </a:cubicBezTo>
                  <a:lnTo>
                    <a:pt x="322260" y="303361"/>
                  </a:lnTo>
                  <a:cubicBezTo>
                    <a:pt x="312181" y="303361"/>
                    <a:pt x="303986" y="295177"/>
                    <a:pt x="303986" y="285018"/>
                  </a:cubicBezTo>
                  <a:lnTo>
                    <a:pt x="303986" y="151633"/>
                  </a:lnTo>
                  <a:cubicBezTo>
                    <a:pt x="303986" y="67915"/>
                    <a:pt x="371902" y="0"/>
                    <a:pt x="455831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 sz="4000"/>
            </a:p>
          </p:txBody>
        </p:sp>
        <p:sp>
          <p:nvSpPr>
            <p:cNvPr id="20" name="îṧľíde">
              <a:extLst>
                <a:ext uri="{FF2B5EF4-FFF2-40B4-BE49-F238E27FC236}">
                  <a16:creationId xmlns:a16="http://schemas.microsoft.com/office/drawing/2014/main" id="{483E28E9-0130-4841-8327-7702F370C816}"/>
                </a:ext>
              </a:extLst>
            </p:cNvPr>
            <p:cNvSpPr txBox="1"/>
            <p:nvPr/>
          </p:nvSpPr>
          <p:spPr>
            <a:xfrm>
              <a:off x="7279273" y="3130435"/>
              <a:ext cx="2982327" cy="725008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normAutofit/>
            </a:bodyPr>
            <a:lstStyle/>
            <a:p>
              <a:pPr defTabSz="914378">
                <a:lnSpc>
                  <a:spcPct val="120000"/>
                </a:lnSpc>
                <a:spcBef>
                  <a:spcPct val="0"/>
                </a:spcBef>
                <a:defRPr/>
              </a:pPr>
              <a:r>
                <a:rPr lang="en-US" altLang="zh-CN" sz="2400" dirty="0"/>
                <a:t>9:00-17:30</a:t>
              </a:r>
            </a:p>
          </p:txBody>
        </p:sp>
        <p:sp>
          <p:nvSpPr>
            <p:cNvPr id="21" name="işľîďe">
              <a:extLst>
                <a:ext uri="{FF2B5EF4-FFF2-40B4-BE49-F238E27FC236}">
                  <a16:creationId xmlns:a16="http://schemas.microsoft.com/office/drawing/2014/main" id="{241CE1AA-DBE3-45BD-93DF-957D032F8254}"/>
                </a:ext>
              </a:extLst>
            </p:cNvPr>
            <p:cNvSpPr/>
            <p:nvPr/>
          </p:nvSpPr>
          <p:spPr>
            <a:xfrm>
              <a:off x="7279273" y="2654085"/>
              <a:ext cx="2982327" cy="476350"/>
            </a:xfrm>
            <a:prstGeom prst="rect">
              <a:avLst/>
            </a:prstGeom>
          </p:spPr>
          <p:txBody>
            <a:bodyPr wrap="square" lIns="91440" tIns="45720" rIns="91440" bIns="45720" anchor="b">
              <a:normAutofit fontScale="92500" lnSpcReduction="20000"/>
            </a:bodyPr>
            <a:lstStyle/>
            <a:p>
              <a:pPr lvl="0" defTabSz="914378">
                <a:spcBef>
                  <a:spcPct val="0"/>
                </a:spcBef>
                <a:defRPr/>
              </a:pPr>
              <a:r>
                <a:rPr lang="zh-CN" altLang="en-US" sz="3200" b="1" dirty="0"/>
                <a:t>早班</a:t>
              </a:r>
            </a:p>
          </p:txBody>
        </p:sp>
        <p:sp>
          <p:nvSpPr>
            <p:cNvPr id="22" name="íṡlîdé">
              <a:extLst>
                <a:ext uri="{FF2B5EF4-FFF2-40B4-BE49-F238E27FC236}">
                  <a16:creationId xmlns:a16="http://schemas.microsoft.com/office/drawing/2014/main" id="{7AA2FE58-A3AB-4D5B-A0B9-8C0052C84BE6}"/>
                </a:ext>
              </a:extLst>
            </p:cNvPr>
            <p:cNvSpPr txBox="1"/>
            <p:nvPr/>
          </p:nvSpPr>
          <p:spPr>
            <a:xfrm>
              <a:off x="2474473" y="3931173"/>
              <a:ext cx="2982327" cy="725008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normAutofit/>
            </a:bodyPr>
            <a:lstStyle/>
            <a:p>
              <a:pPr algn="r" defTabSz="914378">
                <a:lnSpc>
                  <a:spcPct val="120000"/>
                </a:lnSpc>
                <a:spcBef>
                  <a:spcPct val="0"/>
                </a:spcBef>
                <a:defRPr/>
              </a:pPr>
              <a:r>
                <a:rPr lang="en-US" altLang="zh-CN" sz="2400" dirty="0"/>
                <a:t>12:00-20:30</a:t>
              </a:r>
            </a:p>
          </p:txBody>
        </p:sp>
        <p:sp>
          <p:nvSpPr>
            <p:cNvPr id="23" name="îśḷîḓè">
              <a:extLst>
                <a:ext uri="{FF2B5EF4-FFF2-40B4-BE49-F238E27FC236}">
                  <a16:creationId xmlns:a16="http://schemas.microsoft.com/office/drawing/2014/main" id="{9E825DE2-3A91-44BE-ACD7-546105A23DD3}"/>
                </a:ext>
              </a:extLst>
            </p:cNvPr>
            <p:cNvSpPr/>
            <p:nvPr/>
          </p:nvSpPr>
          <p:spPr>
            <a:xfrm>
              <a:off x="2474473" y="3454824"/>
              <a:ext cx="2982327" cy="476350"/>
            </a:xfrm>
            <a:prstGeom prst="rect">
              <a:avLst/>
            </a:prstGeom>
          </p:spPr>
          <p:txBody>
            <a:bodyPr wrap="square" lIns="91440" tIns="45720" rIns="91440" bIns="45720" anchor="b">
              <a:normAutofit fontScale="92500" lnSpcReduction="20000"/>
            </a:bodyPr>
            <a:lstStyle/>
            <a:p>
              <a:pPr lvl="0" algn="r" defTabSz="914378">
                <a:spcBef>
                  <a:spcPct val="0"/>
                </a:spcBef>
                <a:defRPr/>
              </a:pPr>
              <a:r>
                <a:rPr lang="zh-CN" altLang="en-US" sz="3200" b="1" dirty="0"/>
                <a:t>中班</a:t>
              </a:r>
            </a:p>
          </p:txBody>
        </p:sp>
      </p:grpSp>
      <p:sp>
        <p:nvSpPr>
          <p:cNvPr id="24" name="íśḻíḍê">
            <a:extLst>
              <a:ext uri="{FF2B5EF4-FFF2-40B4-BE49-F238E27FC236}">
                <a16:creationId xmlns:a16="http://schemas.microsoft.com/office/drawing/2014/main" id="{07EE05E2-49A2-46F8-B01C-3C57585327C1}"/>
              </a:ext>
            </a:extLst>
          </p:cNvPr>
          <p:cNvSpPr/>
          <p:nvPr/>
        </p:nvSpPr>
        <p:spPr>
          <a:xfrm rot="2700000">
            <a:off x="7383141" y="4248885"/>
            <a:ext cx="1372198" cy="1372337"/>
          </a:xfrm>
          <a:prstGeom prst="circularArrow">
            <a:avLst>
              <a:gd name="adj1" fmla="val 10980"/>
              <a:gd name="adj2" fmla="val 1142322"/>
              <a:gd name="adj3" fmla="val 4500000"/>
              <a:gd name="adj4" fmla="val 10800000"/>
              <a:gd name="adj5" fmla="val 125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sz="4000"/>
          </a:p>
        </p:txBody>
      </p:sp>
      <p:sp>
        <p:nvSpPr>
          <p:cNvPr id="25" name="íṡlîdé">
            <a:extLst>
              <a:ext uri="{FF2B5EF4-FFF2-40B4-BE49-F238E27FC236}">
                <a16:creationId xmlns:a16="http://schemas.microsoft.com/office/drawing/2014/main" id="{1DAD96C0-E41C-423C-B35E-8589AF611A66}"/>
              </a:ext>
            </a:extLst>
          </p:cNvPr>
          <p:cNvSpPr txBox="1"/>
          <p:nvPr/>
        </p:nvSpPr>
        <p:spPr>
          <a:xfrm>
            <a:off x="8838064" y="5026828"/>
            <a:ext cx="2982327" cy="725008"/>
          </a:xfrm>
          <a:prstGeom prst="rect">
            <a:avLst/>
          </a:prstGeom>
          <a:noFill/>
        </p:spPr>
        <p:txBody>
          <a:bodyPr wrap="square" lIns="91440" tIns="45720" rIns="91440" bIns="45720" anchor="t">
            <a:normAutofit/>
          </a:bodyPr>
          <a:lstStyle/>
          <a:p>
            <a:pPr defTabSz="914378">
              <a:lnSpc>
                <a:spcPct val="120000"/>
              </a:lnSpc>
              <a:spcBef>
                <a:spcPct val="0"/>
              </a:spcBef>
              <a:defRPr/>
            </a:pPr>
            <a:r>
              <a:rPr lang="en-US" altLang="zh-CN" sz="2400" dirty="0"/>
              <a:t>14:00-22:30</a:t>
            </a:r>
          </a:p>
        </p:txBody>
      </p:sp>
      <p:sp>
        <p:nvSpPr>
          <p:cNvPr id="26" name="îśḷîḓè">
            <a:extLst>
              <a:ext uri="{FF2B5EF4-FFF2-40B4-BE49-F238E27FC236}">
                <a16:creationId xmlns:a16="http://schemas.microsoft.com/office/drawing/2014/main" id="{097135B5-7714-40C6-AECD-41CE1BAB265B}"/>
              </a:ext>
            </a:extLst>
          </p:cNvPr>
          <p:cNvSpPr/>
          <p:nvPr/>
        </p:nvSpPr>
        <p:spPr>
          <a:xfrm>
            <a:off x="8838064" y="4550479"/>
            <a:ext cx="2982327" cy="476350"/>
          </a:xfrm>
          <a:prstGeom prst="rect">
            <a:avLst/>
          </a:prstGeom>
        </p:spPr>
        <p:txBody>
          <a:bodyPr wrap="square" lIns="91440" tIns="45720" rIns="91440" bIns="45720" anchor="b">
            <a:normAutofit fontScale="92500" lnSpcReduction="20000"/>
          </a:bodyPr>
          <a:lstStyle/>
          <a:p>
            <a:pPr lvl="0" defTabSz="914378">
              <a:spcBef>
                <a:spcPct val="0"/>
              </a:spcBef>
              <a:defRPr/>
            </a:pPr>
            <a:r>
              <a:rPr lang="zh-CN" altLang="en-US" sz="3200" b="1" dirty="0"/>
              <a:t>晚班</a:t>
            </a:r>
          </a:p>
        </p:txBody>
      </p:sp>
      <p:sp>
        <p:nvSpPr>
          <p:cNvPr id="27" name="íṥḷíḋê">
            <a:extLst>
              <a:ext uri="{FF2B5EF4-FFF2-40B4-BE49-F238E27FC236}">
                <a16:creationId xmlns:a16="http://schemas.microsoft.com/office/drawing/2014/main" id="{BDF41A0F-CC61-4CB6-BF62-20169EB82F5E}"/>
              </a:ext>
            </a:extLst>
          </p:cNvPr>
          <p:cNvSpPr/>
          <p:nvPr/>
        </p:nvSpPr>
        <p:spPr bwMode="auto">
          <a:xfrm>
            <a:off x="7889089" y="4719541"/>
            <a:ext cx="360307" cy="377848"/>
          </a:xfrm>
          <a:custGeom>
            <a:avLst/>
            <a:gdLst>
              <a:gd name="connsiteX0" fmla="*/ 271981 w 578354"/>
              <a:gd name="connsiteY0" fmla="*/ 340887 h 606510"/>
              <a:gd name="connsiteX1" fmla="*/ 256365 w 578354"/>
              <a:gd name="connsiteY1" fmla="*/ 346409 h 606510"/>
              <a:gd name="connsiteX2" fmla="*/ 251051 w 578354"/>
              <a:gd name="connsiteY2" fmla="*/ 352798 h 606510"/>
              <a:gd name="connsiteX3" fmla="*/ 251051 w 578354"/>
              <a:gd name="connsiteY3" fmla="*/ 368716 h 606510"/>
              <a:gd name="connsiteX4" fmla="*/ 248665 w 578354"/>
              <a:gd name="connsiteY4" fmla="*/ 370449 h 606510"/>
              <a:gd name="connsiteX5" fmla="*/ 247038 w 578354"/>
              <a:gd name="connsiteY5" fmla="*/ 375322 h 606510"/>
              <a:gd name="connsiteX6" fmla="*/ 250509 w 578354"/>
              <a:gd name="connsiteY6" fmla="*/ 409431 h 606510"/>
              <a:gd name="connsiteX7" fmla="*/ 255172 w 578354"/>
              <a:gd name="connsiteY7" fmla="*/ 414954 h 606510"/>
              <a:gd name="connsiteX8" fmla="*/ 256907 w 578354"/>
              <a:gd name="connsiteY8" fmla="*/ 415170 h 606510"/>
              <a:gd name="connsiteX9" fmla="*/ 262004 w 578354"/>
              <a:gd name="connsiteY9" fmla="*/ 412572 h 606510"/>
              <a:gd name="connsiteX10" fmla="*/ 280114 w 578354"/>
              <a:gd name="connsiteY10" fmla="*/ 388749 h 606510"/>
              <a:gd name="connsiteX11" fmla="*/ 281307 w 578354"/>
              <a:gd name="connsiteY11" fmla="*/ 384851 h 606510"/>
              <a:gd name="connsiteX12" fmla="*/ 281307 w 578354"/>
              <a:gd name="connsiteY12" fmla="*/ 346626 h 606510"/>
              <a:gd name="connsiteX13" fmla="*/ 278270 w 578354"/>
              <a:gd name="connsiteY13" fmla="*/ 341104 h 606510"/>
              <a:gd name="connsiteX14" fmla="*/ 271981 w 578354"/>
              <a:gd name="connsiteY14" fmla="*/ 340887 h 606510"/>
              <a:gd name="connsiteX15" fmla="*/ 190755 w 578354"/>
              <a:gd name="connsiteY15" fmla="*/ 340887 h 606510"/>
              <a:gd name="connsiteX16" fmla="*/ 184357 w 578354"/>
              <a:gd name="connsiteY16" fmla="*/ 341104 h 606510"/>
              <a:gd name="connsiteX17" fmla="*/ 181321 w 578354"/>
              <a:gd name="connsiteY17" fmla="*/ 346626 h 606510"/>
              <a:gd name="connsiteX18" fmla="*/ 181212 w 578354"/>
              <a:gd name="connsiteY18" fmla="*/ 384851 h 606510"/>
              <a:gd name="connsiteX19" fmla="*/ 182513 w 578354"/>
              <a:gd name="connsiteY19" fmla="*/ 388749 h 606510"/>
              <a:gd name="connsiteX20" fmla="*/ 200624 w 578354"/>
              <a:gd name="connsiteY20" fmla="*/ 412680 h 606510"/>
              <a:gd name="connsiteX21" fmla="*/ 205721 w 578354"/>
              <a:gd name="connsiteY21" fmla="*/ 415170 h 606510"/>
              <a:gd name="connsiteX22" fmla="*/ 207456 w 578354"/>
              <a:gd name="connsiteY22" fmla="*/ 414954 h 606510"/>
              <a:gd name="connsiteX23" fmla="*/ 212119 w 578354"/>
              <a:gd name="connsiteY23" fmla="*/ 409431 h 606510"/>
              <a:gd name="connsiteX24" fmla="*/ 215589 w 578354"/>
              <a:gd name="connsiteY24" fmla="*/ 375322 h 606510"/>
              <a:gd name="connsiteX25" fmla="*/ 213963 w 578354"/>
              <a:gd name="connsiteY25" fmla="*/ 370449 h 606510"/>
              <a:gd name="connsiteX26" fmla="*/ 211577 w 578354"/>
              <a:gd name="connsiteY26" fmla="*/ 368716 h 606510"/>
              <a:gd name="connsiteX27" fmla="*/ 211577 w 578354"/>
              <a:gd name="connsiteY27" fmla="*/ 352798 h 606510"/>
              <a:gd name="connsiteX28" fmla="*/ 206263 w 578354"/>
              <a:gd name="connsiteY28" fmla="*/ 346409 h 606510"/>
              <a:gd name="connsiteX29" fmla="*/ 190755 w 578354"/>
              <a:gd name="connsiteY29" fmla="*/ 340887 h 606510"/>
              <a:gd name="connsiteX30" fmla="*/ 200624 w 578354"/>
              <a:gd name="connsiteY30" fmla="*/ 168497 h 606510"/>
              <a:gd name="connsiteX31" fmla="*/ 156161 w 578354"/>
              <a:gd name="connsiteY31" fmla="*/ 180300 h 606510"/>
              <a:gd name="connsiteX32" fmla="*/ 152583 w 578354"/>
              <a:gd name="connsiteY32" fmla="*/ 186039 h 606510"/>
              <a:gd name="connsiteX33" fmla="*/ 152583 w 578354"/>
              <a:gd name="connsiteY33" fmla="*/ 197518 h 606510"/>
              <a:gd name="connsiteX34" fmla="*/ 149980 w 578354"/>
              <a:gd name="connsiteY34" fmla="*/ 197518 h 606510"/>
              <a:gd name="connsiteX35" fmla="*/ 143473 w 578354"/>
              <a:gd name="connsiteY35" fmla="*/ 203906 h 606510"/>
              <a:gd name="connsiteX36" fmla="*/ 143473 w 578354"/>
              <a:gd name="connsiteY36" fmla="*/ 214410 h 606510"/>
              <a:gd name="connsiteX37" fmla="*/ 146401 w 578354"/>
              <a:gd name="connsiteY37" fmla="*/ 219824 h 606510"/>
              <a:gd name="connsiteX38" fmla="*/ 152691 w 578354"/>
              <a:gd name="connsiteY38" fmla="*/ 223831 h 606510"/>
              <a:gd name="connsiteX39" fmla="*/ 153016 w 578354"/>
              <a:gd name="connsiteY39" fmla="*/ 226538 h 606510"/>
              <a:gd name="connsiteX40" fmla="*/ 176007 w 578354"/>
              <a:gd name="connsiteY40" fmla="*/ 279598 h 606510"/>
              <a:gd name="connsiteX41" fmla="*/ 214071 w 578354"/>
              <a:gd name="connsiteY41" fmla="*/ 312516 h 606510"/>
              <a:gd name="connsiteX42" fmla="*/ 248557 w 578354"/>
              <a:gd name="connsiteY42" fmla="*/ 312516 h 606510"/>
              <a:gd name="connsiteX43" fmla="*/ 286621 w 578354"/>
              <a:gd name="connsiteY43" fmla="*/ 279598 h 606510"/>
              <a:gd name="connsiteX44" fmla="*/ 309611 w 578354"/>
              <a:gd name="connsiteY44" fmla="*/ 226538 h 606510"/>
              <a:gd name="connsiteX45" fmla="*/ 309936 w 578354"/>
              <a:gd name="connsiteY45" fmla="*/ 223831 h 606510"/>
              <a:gd name="connsiteX46" fmla="*/ 316226 w 578354"/>
              <a:gd name="connsiteY46" fmla="*/ 219824 h 606510"/>
              <a:gd name="connsiteX47" fmla="*/ 319154 w 578354"/>
              <a:gd name="connsiteY47" fmla="*/ 214410 h 606510"/>
              <a:gd name="connsiteX48" fmla="*/ 319154 w 578354"/>
              <a:gd name="connsiteY48" fmla="*/ 203906 h 606510"/>
              <a:gd name="connsiteX49" fmla="*/ 312756 w 578354"/>
              <a:gd name="connsiteY49" fmla="*/ 197518 h 606510"/>
              <a:gd name="connsiteX50" fmla="*/ 309177 w 578354"/>
              <a:gd name="connsiteY50" fmla="*/ 197518 h 606510"/>
              <a:gd name="connsiteX51" fmla="*/ 307117 w 578354"/>
              <a:gd name="connsiteY51" fmla="*/ 195352 h 606510"/>
              <a:gd name="connsiteX52" fmla="*/ 301044 w 578354"/>
              <a:gd name="connsiteY52" fmla="*/ 194919 h 606510"/>
              <a:gd name="connsiteX53" fmla="*/ 275668 w 578354"/>
              <a:gd name="connsiteY53" fmla="*/ 200658 h 606510"/>
              <a:gd name="connsiteX54" fmla="*/ 236302 w 578354"/>
              <a:gd name="connsiteY54" fmla="*/ 182791 h 606510"/>
              <a:gd name="connsiteX55" fmla="*/ 200624 w 578354"/>
              <a:gd name="connsiteY55" fmla="*/ 168497 h 606510"/>
              <a:gd name="connsiteX56" fmla="*/ 426321 w 578354"/>
              <a:gd name="connsiteY56" fmla="*/ 71765 h 606510"/>
              <a:gd name="connsiteX57" fmla="*/ 439012 w 578354"/>
              <a:gd name="connsiteY57" fmla="*/ 84331 h 606510"/>
              <a:gd name="connsiteX58" fmla="*/ 439012 w 578354"/>
              <a:gd name="connsiteY58" fmla="*/ 99173 h 606510"/>
              <a:gd name="connsiteX59" fmla="*/ 464721 w 578354"/>
              <a:gd name="connsiteY59" fmla="*/ 112498 h 606510"/>
              <a:gd name="connsiteX60" fmla="*/ 467758 w 578354"/>
              <a:gd name="connsiteY60" fmla="*/ 124306 h 606510"/>
              <a:gd name="connsiteX61" fmla="*/ 459297 w 578354"/>
              <a:gd name="connsiteY61" fmla="*/ 133080 h 606510"/>
              <a:gd name="connsiteX62" fmla="*/ 452789 w 578354"/>
              <a:gd name="connsiteY62" fmla="*/ 135139 h 606510"/>
              <a:gd name="connsiteX63" fmla="*/ 439555 w 578354"/>
              <a:gd name="connsiteY63" fmla="*/ 131455 h 606510"/>
              <a:gd name="connsiteX64" fmla="*/ 425019 w 578354"/>
              <a:gd name="connsiteY64" fmla="*/ 125931 h 606510"/>
              <a:gd name="connsiteX65" fmla="*/ 413738 w 578354"/>
              <a:gd name="connsiteY65" fmla="*/ 132972 h 606510"/>
              <a:gd name="connsiteX66" fmla="*/ 415582 w 578354"/>
              <a:gd name="connsiteY66" fmla="*/ 137197 h 606510"/>
              <a:gd name="connsiteX67" fmla="*/ 426429 w 578354"/>
              <a:gd name="connsiteY67" fmla="*/ 140989 h 606510"/>
              <a:gd name="connsiteX68" fmla="*/ 456043 w 578354"/>
              <a:gd name="connsiteY68" fmla="*/ 149113 h 606510"/>
              <a:gd name="connsiteX69" fmla="*/ 471230 w 578354"/>
              <a:gd name="connsiteY69" fmla="*/ 161355 h 606510"/>
              <a:gd name="connsiteX70" fmla="*/ 477304 w 578354"/>
              <a:gd name="connsiteY70" fmla="*/ 181829 h 606510"/>
              <a:gd name="connsiteX71" fmla="*/ 465480 w 578354"/>
              <a:gd name="connsiteY71" fmla="*/ 209454 h 606510"/>
              <a:gd name="connsiteX72" fmla="*/ 439012 w 578354"/>
              <a:gd name="connsiteY72" fmla="*/ 222020 h 606510"/>
              <a:gd name="connsiteX73" fmla="*/ 439012 w 578354"/>
              <a:gd name="connsiteY73" fmla="*/ 242278 h 606510"/>
              <a:gd name="connsiteX74" fmla="*/ 426321 w 578354"/>
              <a:gd name="connsiteY74" fmla="*/ 254953 h 606510"/>
              <a:gd name="connsiteX75" fmla="*/ 413738 w 578354"/>
              <a:gd name="connsiteY75" fmla="*/ 242278 h 606510"/>
              <a:gd name="connsiteX76" fmla="*/ 413738 w 578354"/>
              <a:gd name="connsiteY76" fmla="*/ 222670 h 606510"/>
              <a:gd name="connsiteX77" fmla="*/ 378158 w 578354"/>
              <a:gd name="connsiteY77" fmla="*/ 202087 h 606510"/>
              <a:gd name="connsiteX78" fmla="*/ 377073 w 578354"/>
              <a:gd name="connsiteY78" fmla="*/ 190171 h 606510"/>
              <a:gd name="connsiteX79" fmla="*/ 386402 w 578354"/>
              <a:gd name="connsiteY79" fmla="*/ 182696 h 606510"/>
              <a:gd name="connsiteX80" fmla="*/ 395948 w 578354"/>
              <a:gd name="connsiteY80" fmla="*/ 180963 h 606510"/>
              <a:gd name="connsiteX81" fmla="*/ 408531 w 578354"/>
              <a:gd name="connsiteY81" fmla="*/ 186163 h 606510"/>
              <a:gd name="connsiteX82" fmla="*/ 426646 w 578354"/>
              <a:gd name="connsiteY82" fmla="*/ 193963 h 606510"/>
              <a:gd name="connsiteX83" fmla="*/ 439555 w 578354"/>
              <a:gd name="connsiteY83" fmla="*/ 187138 h 606510"/>
              <a:gd name="connsiteX84" fmla="*/ 436626 w 578354"/>
              <a:gd name="connsiteY84" fmla="*/ 181504 h 606510"/>
              <a:gd name="connsiteX85" fmla="*/ 425778 w 578354"/>
              <a:gd name="connsiteY85" fmla="*/ 177821 h 606510"/>
              <a:gd name="connsiteX86" fmla="*/ 385534 w 578354"/>
              <a:gd name="connsiteY86" fmla="*/ 161355 h 606510"/>
              <a:gd name="connsiteX87" fmla="*/ 376964 w 578354"/>
              <a:gd name="connsiteY87" fmla="*/ 138280 h 606510"/>
              <a:gd name="connsiteX88" fmla="*/ 386402 w 578354"/>
              <a:gd name="connsiteY88" fmla="*/ 112714 h 606510"/>
              <a:gd name="connsiteX89" fmla="*/ 413738 w 578354"/>
              <a:gd name="connsiteY89" fmla="*/ 98848 h 606510"/>
              <a:gd name="connsiteX90" fmla="*/ 413738 w 578354"/>
              <a:gd name="connsiteY90" fmla="*/ 84331 h 606510"/>
              <a:gd name="connsiteX91" fmla="*/ 426321 w 578354"/>
              <a:gd name="connsiteY91" fmla="*/ 71765 h 606510"/>
              <a:gd name="connsiteX92" fmla="*/ 215047 w 578354"/>
              <a:gd name="connsiteY92" fmla="*/ 46785 h 606510"/>
              <a:gd name="connsiteX93" fmla="*/ 247581 w 578354"/>
              <a:gd name="connsiteY93" fmla="*/ 46785 h 606510"/>
              <a:gd name="connsiteX94" fmla="*/ 347675 w 578354"/>
              <a:gd name="connsiteY94" fmla="*/ 146840 h 606510"/>
              <a:gd name="connsiteX95" fmla="*/ 347675 w 578354"/>
              <a:gd name="connsiteY95" fmla="*/ 178243 h 606510"/>
              <a:gd name="connsiteX96" fmla="*/ 353423 w 578354"/>
              <a:gd name="connsiteY96" fmla="*/ 196110 h 606510"/>
              <a:gd name="connsiteX97" fmla="*/ 353423 w 578354"/>
              <a:gd name="connsiteY97" fmla="*/ 218525 h 606510"/>
              <a:gd name="connsiteX98" fmla="*/ 342362 w 578354"/>
              <a:gd name="connsiteY98" fmla="*/ 242131 h 606510"/>
              <a:gd name="connsiteX99" fmla="*/ 335963 w 578354"/>
              <a:gd name="connsiteY99" fmla="*/ 259132 h 606510"/>
              <a:gd name="connsiteX100" fmla="*/ 314383 w 578354"/>
              <a:gd name="connsiteY100" fmla="*/ 299522 h 606510"/>
              <a:gd name="connsiteX101" fmla="*/ 299743 w 578354"/>
              <a:gd name="connsiteY101" fmla="*/ 318147 h 606510"/>
              <a:gd name="connsiteX102" fmla="*/ 310587 w 578354"/>
              <a:gd name="connsiteY102" fmla="*/ 331683 h 606510"/>
              <a:gd name="connsiteX103" fmla="*/ 382052 w 578354"/>
              <a:gd name="connsiteY103" fmla="*/ 353231 h 606510"/>
              <a:gd name="connsiteX104" fmla="*/ 462627 w 578354"/>
              <a:gd name="connsiteY104" fmla="*/ 587560 h 606510"/>
              <a:gd name="connsiteX105" fmla="*/ 443758 w 578354"/>
              <a:gd name="connsiteY105" fmla="*/ 606510 h 606510"/>
              <a:gd name="connsiteX106" fmla="*/ 18978 w 578354"/>
              <a:gd name="connsiteY106" fmla="*/ 606510 h 606510"/>
              <a:gd name="connsiteX107" fmla="*/ 0 w 578354"/>
              <a:gd name="connsiteY107" fmla="*/ 587560 h 606510"/>
              <a:gd name="connsiteX108" fmla="*/ 217 w 578354"/>
              <a:gd name="connsiteY108" fmla="*/ 584636 h 606510"/>
              <a:gd name="connsiteX109" fmla="*/ 80575 w 578354"/>
              <a:gd name="connsiteY109" fmla="*/ 353231 h 606510"/>
              <a:gd name="connsiteX110" fmla="*/ 152040 w 578354"/>
              <a:gd name="connsiteY110" fmla="*/ 331683 h 606510"/>
              <a:gd name="connsiteX111" fmla="*/ 162885 w 578354"/>
              <a:gd name="connsiteY111" fmla="*/ 318147 h 606510"/>
              <a:gd name="connsiteX112" fmla="*/ 148353 w 578354"/>
              <a:gd name="connsiteY112" fmla="*/ 299522 h 606510"/>
              <a:gd name="connsiteX113" fmla="*/ 126664 w 578354"/>
              <a:gd name="connsiteY113" fmla="*/ 259132 h 606510"/>
              <a:gd name="connsiteX114" fmla="*/ 120266 w 578354"/>
              <a:gd name="connsiteY114" fmla="*/ 242131 h 606510"/>
              <a:gd name="connsiteX115" fmla="*/ 109205 w 578354"/>
              <a:gd name="connsiteY115" fmla="*/ 218525 h 606510"/>
              <a:gd name="connsiteX116" fmla="*/ 109205 w 578354"/>
              <a:gd name="connsiteY116" fmla="*/ 196110 h 606510"/>
              <a:gd name="connsiteX117" fmla="*/ 114952 w 578354"/>
              <a:gd name="connsiteY117" fmla="*/ 178243 h 606510"/>
              <a:gd name="connsiteX118" fmla="*/ 114952 w 578354"/>
              <a:gd name="connsiteY118" fmla="*/ 146840 h 606510"/>
              <a:gd name="connsiteX119" fmla="*/ 215047 w 578354"/>
              <a:gd name="connsiteY119" fmla="*/ 46785 h 606510"/>
              <a:gd name="connsiteX120" fmla="*/ 414825 w 578354"/>
              <a:gd name="connsiteY120" fmla="*/ 0 h 606510"/>
              <a:gd name="connsiteX121" fmla="*/ 578354 w 578354"/>
              <a:gd name="connsiteY121" fmla="*/ 163305 h 606510"/>
              <a:gd name="connsiteX122" fmla="*/ 414825 w 578354"/>
              <a:gd name="connsiteY122" fmla="*/ 326718 h 606510"/>
              <a:gd name="connsiteX123" fmla="*/ 344664 w 578354"/>
              <a:gd name="connsiteY123" fmla="*/ 310907 h 606510"/>
              <a:gd name="connsiteX124" fmla="*/ 360063 w 578354"/>
              <a:gd name="connsiteY124" fmla="*/ 279719 h 606510"/>
              <a:gd name="connsiteX125" fmla="*/ 414825 w 578354"/>
              <a:gd name="connsiteY125" fmla="*/ 291956 h 606510"/>
              <a:gd name="connsiteX126" fmla="*/ 543545 w 578354"/>
              <a:gd name="connsiteY126" fmla="*/ 163305 h 606510"/>
              <a:gd name="connsiteX127" fmla="*/ 414825 w 578354"/>
              <a:gd name="connsiteY127" fmla="*/ 34762 h 606510"/>
              <a:gd name="connsiteX128" fmla="*/ 338808 w 578354"/>
              <a:gd name="connsiteY128" fmla="*/ 59561 h 606510"/>
              <a:gd name="connsiteX129" fmla="*/ 311264 w 578354"/>
              <a:gd name="connsiteY129" fmla="*/ 37036 h 606510"/>
              <a:gd name="connsiteX130" fmla="*/ 414825 w 578354"/>
              <a:gd name="connsiteY130" fmla="*/ 0 h 6065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</a:cxnLst>
            <a:rect l="l" t="t" r="r" b="b"/>
            <a:pathLst>
              <a:path w="578354" h="606510">
                <a:moveTo>
                  <a:pt x="271981" y="340887"/>
                </a:moveTo>
                <a:cubicBezTo>
                  <a:pt x="266667" y="343702"/>
                  <a:pt x="261461" y="345543"/>
                  <a:pt x="256365" y="346409"/>
                </a:cubicBezTo>
                <a:cubicBezTo>
                  <a:pt x="253328" y="346951"/>
                  <a:pt x="251051" y="349658"/>
                  <a:pt x="251051" y="352798"/>
                </a:cubicBezTo>
                <a:lnTo>
                  <a:pt x="251051" y="368716"/>
                </a:lnTo>
                <a:cubicBezTo>
                  <a:pt x="250183" y="369149"/>
                  <a:pt x="249316" y="369691"/>
                  <a:pt x="248665" y="370449"/>
                </a:cubicBezTo>
                <a:cubicBezTo>
                  <a:pt x="247472" y="371748"/>
                  <a:pt x="246821" y="373589"/>
                  <a:pt x="247038" y="375322"/>
                </a:cubicBezTo>
                <a:lnTo>
                  <a:pt x="250509" y="409431"/>
                </a:lnTo>
                <a:cubicBezTo>
                  <a:pt x="250834" y="412030"/>
                  <a:pt x="252677" y="414196"/>
                  <a:pt x="255172" y="414954"/>
                </a:cubicBezTo>
                <a:cubicBezTo>
                  <a:pt x="255822" y="415062"/>
                  <a:pt x="256365" y="415170"/>
                  <a:pt x="256907" y="415170"/>
                </a:cubicBezTo>
                <a:cubicBezTo>
                  <a:pt x="258859" y="415170"/>
                  <a:pt x="260811" y="414304"/>
                  <a:pt x="262004" y="412572"/>
                </a:cubicBezTo>
                <a:lnTo>
                  <a:pt x="280114" y="388749"/>
                </a:lnTo>
                <a:cubicBezTo>
                  <a:pt x="280873" y="387666"/>
                  <a:pt x="281307" y="386258"/>
                  <a:pt x="281307" y="384851"/>
                </a:cubicBezTo>
                <a:lnTo>
                  <a:pt x="281307" y="346626"/>
                </a:lnTo>
                <a:cubicBezTo>
                  <a:pt x="281307" y="344352"/>
                  <a:pt x="280222" y="342295"/>
                  <a:pt x="278270" y="341104"/>
                </a:cubicBezTo>
                <a:cubicBezTo>
                  <a:pt x="276318" y="339912"/>
                  <a:pt x="273933" y="339912"/>
                  <a:pt x="271981" y="340887"/>
                </a:cubicBezTo>
                <a:close/>
                <a:moveTo>
                  <a:pt x="190755" y="340887"/>
                </a:moveTo>
                <a:cubicBezTo>
                  <a:pt x="188695" y="339912"/>
                  <a:pt x="186309" y="339912"/>
                  <a:pt x="184357" y="341104"/>
                </a:cubicBezTo>
                <a:cubicBezTo>
                  <a:pt x="182513" y="342295"/>
                  <a:pt x="181321" y="344352"/>
                  <a:pt x="181321" y="346626"/>
                </a:cubicBezTo>
                <a:lnTo>
                  <a:pt x="181212" y="384851"/>
                </a:lnTo>
                <a:cubicBezTo>
                  <a:pt x="181212" y="386258"/>
                  <a:pt x="181754" y="387666"/>
                  <a:pt x="182513" y="388749"/>
                </a:cubicBezTo>
                <a:lnTo>
                  <a:pt x="200624" y="412680"/>
                </a:lnTo>
                <a:cubicBezTo>
                  <a:pt x="201817" y="414304"/>
                  <a:pt x="203769" y="415170"/>
                  <a:pt x="205721" y="415170"/>
                </a:cubicBezTo>
                <a:cubicBezTo>
                  <a:pt x="206263" y="415170"/>
                  <a:pt x="206914" y="415062"/>
                  <a:pt x="207456" y="414954"/>
                </a:cubicBezTo>
                <a:cubicBezTo>
                  <a:pt x="209950" y="414196"/>
                  <a:pt x="211794" y="412030"/>
                  <a:pt x="212119" y="409431"/>
                </a:cubicBezTo>
                <a:lnTo>
                  <a:pt x="215589" y="375322"/>
                </a:lnTo>
                <a:cubicBezTo>
                  <a:pt x="215806" y="373589"/>
                  <a:pt x="215264" y="371748"/>
                  <a:pt x="213963" y="370449"/>
                </a:cubicBezTo>
                <a:cubicBezTo>
                  <a:pt x="213312" y="369691"/>
                  <a:pt x="212553" y="369149"/>
                  <a:pt x="211577" y="368716"/>
                </a:cubicBezTo>
                <a:lnTo>
                  <a:pt x="211577" y="352798"/>
                </a:lnTo>
                <a:cubicBezTo>
                  <a:pt x="211577" y="349658"/>
                  <a:pt x="209299" y="346951"/>
                  <a:pt x="206263" y="346409"/>
                </a:cubicBezTo>
                <a:cubicBezTo>
                  <a:pt x="201166" y="345543"/>
                  <a:pt x="195961" y="343702"/>
                  <a:pt x="190755" y="340887"/>
                </a:cubicBezTo>
                <a:close/>
                <a:moveTo>
                  <a:pt x="200624" y="168497"/>
                </a:moveTo>
                <a:cubicBezTo>
                  <a:pt x="182513" y="168497"/>
                  <a:pt x="164945" y="175861"/>
                  <a:pt x="156161" y="180300"/>
                </a:cubicBezTo>
                <a:cubicBezTo>
                  <a:pt x="153884" y="181383"/>
                  <a:pt x="152583" y="183657"/>
                  <a:pt x="152583" y="186039"/>
                </a:cubicBezTo>
                <a:lnTo>
                  <a:pt x="152583" y="197518"/>
                </a:lnTo>
                <a:lnTo>
                  <a:pt x="149980" y="197518"/>
                </a:lnTo>
                <a:cubicBezTo>
                  <a:pt x="146401" y="197518"/>
                  <a:pt x="143473" y="200333"/>
                  <a:pt x="143473" y="203906"/>
                </a:cubicBezTo>
                <a:lnTo>
                  <a:pt x="143473" y="214410"/>
                </a:lnTo>
                <a:cubicBezTo>
                  <a:pt x="143473" y="216576"/>
                  <a:pt x="144666" y="218633"/>
                  <a:pt x="146401" y="219824"/>
                </a:cubicBezTo>
                <a:lnTo>
                  <a:pt x="152691" y="223831"/>
                </a:lnTo>
                <a:lnTo>
                  <a:pt x="153016" y="226538"/>
                </a:lnTo>
                <a:cubicBezTo>
                  <a:pt x="155077" y="241806"/>
                  <a:pt x="163644" y="261731"/>
                  <a:pt x="176007" y="279598"/>
                </a:cubicBezTo>
                <a:cubicBezTo>
                  <a:pt x="191731" y="302338"/>
                  <a:pt x="206480" y="312516"/>
                  <a:pt x="214071" y="312516"/>
                </a:cubicBezTo>
                <a:lnTo>
                  <a:pt x="248557" y="312516"/>
                </a:lnTo>
                <a:cubicBezTo>
                  <a:pt x="256148" y="312516"/>
                  <a:pt x="270896" y="302338"/>
                  <a:pt x="286621" y="279598"/>
                </a:cubicBezTo>
                <a:cubicBezTo>
                  <a:pt x="298984" y="261731"/>
                  <a:pt x="307551" y="241806"/>
                  <a:pt x="309611" y="226538"/>
                </a:cubicBezTo>
                <a:lnTo>
                  <a:pt x="309936" y="223831"/>
                </a:lnTo>
                <a:lnTo>
                  <a:pt x="316226" y="219824"/>
                </a:lnTo>
                <a:cubicBezTo>
                  <a:pt x="318070" y="218633"/>
                  <a:pt x="319154" y="216576"/>
                  <a:pt x="319154" y="214410"/>
                </a:cubicBezTo>
                <a:lnTo>
                  <a:pt x="319154" y="203906"/>
                </a:lnTo>
                <a:cubicBezTo>
                  <a:pt x="319154" y="200333"/>
                  <a:pt x="316226" y="197518"/>
                  <a:pt x="312756" y="197518"/>
                </a:cubicBezTo>
                <a:lnTo>
                  <a:pt x="309177" y="197518"/>
                </a:lnTo>
                <a:cubicBezTo>
                  <a:pt x="308744" y="196651"/>
                  <a:pt x="307984" y="195893"/>
                  <a:pt x="307117" y="195352"/>
                </a:cubicBezTo>
                <a:cubicBezTo>
                  <a:pt x="305382" y="194161"/>
                  <a:pt x="302996" y="193944"/>
                  <a:pt x="301044" y="194919"/>
                </a:cubicBezTo>
                <a:cubicBezTo>
                  <a:pt x="292477" y="198709"/>
                  <a:pt x="283910" y="200658"/>
                  <a:pt x="275668" y="200658"/>
                </a:cubicBezTo>
                <a:cubicBezTo>
                  <a:pt x="261028" y="200658"/>
                  <a:pt x="247797" y="194702"/>
                  <a:pt x="236302" y="182791"/>
                </a:cubicBezTo>
                <a:cubicBezTo>
                  <a:pt x="227193" y="173370"/>
                  <a:pt x="215155" y="168497"/>
                  <a:pt x="200624" y="168497"/>
                </a:cubicBezTo>
                <a:close/>
                <a:moveTo>
                  <a:pt x="426321" y="71765"/>
                </a:moveTo>
                <a:cubicBezTo>
                  <a:pt x="433372" y="71765"/>
                  <a:pt x="439012" y="77398"/>
                  <a:pt x="439012" y="84331"/>
                </a:cubicBezTo>
                <a:lnTo>
                  <a:pt x="439012" y="99173"/>
                </a:lnTo>
                <a:cubicBezTo>
                  <a:pt x="449860" y="101231"/>
                  <a:pt x="458321" y="105564"/>
                  <a:pt x="464721" y="112498"/>
                </a:cubicBezTo>
                <a:cubicBezTo>
                  <a:pt x="467650" y="115639"/>
                  <a:pt x="468843" y="120081"/>
                  <a:pt x="467758" y="124306"/>
                </a:cubicBezTo>
                <a:cubicBezTo>
                  <a:pt x="466565" y="128531"/>
                  <a:pt x="463419" y="131780"/>
                  <a:pt x="459297" y="133080"/>
                </a:cubicBezTo>
                <a:lnTo>
                  <a:pt x="452789" y="135139"/>
                </a:lnTo>
                <a:cubicBezTo>
                  <a:pt x="448016" y="136655"/>
                  <a:pt x="442809" y="135247"/>
                  <a:pt x="439555" y="131455"/>
                </a:cubicBezTo>
                <a:cubicBezTo>
                  <a:pt x="436192" y="127772"/>
                  <a:pt x="431311" y="125931"/>
                  <a:pt x="425019" y="125931"/>
                </a:cubicBezTo>
                <a:cubicBezTo>
                  <a:pt x="419921" y="125931"/>
                  <a:pt x="413738" y="127122"/>
                  <a:pt x="413738" y="132972"/>
                </a:cubicBezTo>
                <a:cubicBezTo>
                  <a:pt x="413738" y="134597"/>
                  <a:pt x="414388" y="136005"/>
                  <a:pt x="415582" y="137197"/>
                </a:cubicBezTo>
                <a:cubicBezTo>
                  <a:pt x="416883" y="138389"/>
                  <a:pt x="420463" y="139689"/>
                  <a:pt x="426429" y="140989"/>
                </a:cubicBezTo>
                <a:cubicBezTo>
                  <a:pt x="440097" y="144022"/>
                  <a:pt x="450077" y="146730"/>
                  <a:pt x="456043" y="149113"/>
                </a:cubicBezTo>
                <a:cubicBezTo>
                  <a:pt x="462118" y="151497"/>
                  <a:pt x="467216" y="155613"/>
                  <a:pt x="471230" y="161355"/>
                </a:cubicBezTo>
                <a:cubicBezTo>
                  <a:pt x="475243" y="167096"/>
                  <a:pt x="477304" y="174030"/>
                  <a:pt x="477304" y="181829"/>
                </a:cubicBezTo>
                <a:cubicBezTo>
                  <a:pt x="477304" y="192771"/>
                  <a:pt x="473291" y="202087"/>
                  <a:pt x="465480" y="209454"/>
                </a:cubicBezTo>
                <a:cubicBezTo>
                  <a:pt x="458863" y="215737"/>
                  <a:pt x="449968" y="219962"/>
                  <a:pt x="439012" y="222020"/>
                </a:cubicBezTo>
                <a:lnTo>
                  <a:pt x="439012" y="242278"/>
                </a:lnTo>
                <a:cubicBezTo>
                  <a:pt x="439012" y="249320"/>
                  <a:pt x="433372" y="254953"/>
                  <a:pt x="426321" y="254953"/>
                </a:cubicBezTo>
                <a:cubicBezTo>
                  <a:pt x="419378" y="254953"/>
                  <a:pt x="413738" y="249320"/>
                  <a:pt x="413738" y="242278"/>
                </a:cubicBezTo>
                <a:lnTo>
                  <a:pt x="413738" y="222670"/>
                </a:lnTo>
                <a:cubicBezTo>
                  <a:pt x="397683" y="220504"/>
                  <a:pt x="385751" y="213571"/>
                  <a:pt x="378158" y="202087"/>
                </a:cubicBezTo>
                <a:cubicBezTo>
                  <a:pt x="375771" y="198512"/>
                  <a:pt x="375337" y="194071"/>
                  <a:pt x="377073" y="190171"/>
                </a:cubicBezTo>
                <a:cubicBezTo>
                  <a:pt x="378700" y="186271"/>
                  <a:pt x="382171" y="183454"/>
                  <a:pt x="386402" y="182696"/>
                </a:cubicBezTo>
                <a:lnTo>
                  <a:pt x="395948" y="180963"/>
                </a:lnTo>
                <a:cubicBezTo>
                  <a:pt x="400721" y="180096"/>
                  <a:pt x="405710" y="182046"/>
                  <a:pt x="408531" y="186163"/>
                </a:cubicBezTo>
                <a:cubicBezTo>
                  <a:pt x="412110" y="191254"/>
                  <a:pt x="418185" y="193963"/>
                  <a:pt x="426646" y="193963"/>
                </a:cubicBezTo>
                <a:cubicBezTo>
                  <a:pt x="439555" y="193963"/>
                  <a:pt x="439555" y="188763"/>
                  <a:pt x="439555" y="187138"/>
                </a:cubicBezTo>
                <a:cubicBezTo>
                  <a:pt x="439555" y="184646"/>
                  <a:pt x="438578" y="182913"/>
                  <a:pt x="436626" y="181504"/>
                </a:cubicBezTo>
                <a:cubicBezTo>
                  <a:pt x="434673" y="180096"/>
                  <a:pt x="430985" y="178905"/>
                  <a:pt x="425778" y="177821"/>
                </a:cubicBezTo>
                <a:cubicBezTo>
                  <a:pt x="404734" y="173488"/>
                  <a:pt x="391283" y="167963"/>
                  <a:pt x="385534" y="161355"/>
                </a:cubicBezTo>
                <a:cubicBezTo>
                  <a:pt x="379785" y="154530"/>
                  <a:pt x="376964" y="147055"/>
                  <a:pt x="376964" y="138280"/>
                </a:cubicBezTo>
                <a:cubicBezTo>
                  <a:pt x="376964" y="128639"/>
                  <a:pt x="380110" y="120081"/>
                  <a:pt x="386402" y="112714"/>
                </a:cubicBezTo>
                <a:cubicBezTo>
                  <a:pt x="392368" y="105564"/>
                  <a:pt x="401588" y="100906"/>
                  <a:pt x="413738" y="98848"/>
                </a:cubicBezTo>
                <a:lnTo>
                  <a:pt x="413738" y="84331"/>
                </a:lnTo>
                <a:cubicBezTo>
                  <a:pt x="413738" y="77398"/>
                  <a:pt x="419378" y="71765"/>
                  <a:pt x="426321" y="71765"/>
                </a:cubicBezTo>
                <a:close/>
                <a:moveTo>
                  <a:pt x="215047" y="46785"/>
                </a:moveTo>
                <a:lnTo>
                  <a:pt x="247581" y="46785"/>
                </a:lnTo>
                <a:cubicBezTo>
                  <a:pt x="302779" y="46785"/>
                  <a:pt x="347675" y="91723"/>
                  <a:pt x="347675" y="146840"/>
                </a:cubicBezTo>
                <a:lnTo>
                  <a:pt x="347675" y="178243"/>
                </a:lnTo>
                <a:cubicBezTo>
                  <a:pt x="351471" y="183441"/>
                  <a:pt x="353423" y="189721"/>
                  <a:pt x="353423" y="196110"/>
                </a:cubicBezTo>
                <a:lnTo>
                  <a:pt x="353423" y="218525"/>
                </a:lnTo>
                <a:cubicBezTo>
                  <a:pt x="353423" y="227621"/>
                  <a:pt x="349302" y="236284"/>
                  <a:pt x="342362" y="242131"/>
                </a:cubicBezTo>
                <a:cubicBezTo>
                  <a:pt x="340626" y="247654"/>
                  <a:pt x="338458" y="253393"/>
                  <a:pt x="335963" y="259132"/>
                </a:cubicBezTo>
                <a:cubicBezTo>
                  <a:pt x="330758" y="272559"/>
                  <a:pt x="323275" y="286528"/>
                  <a:pt x="314383" y="299522"/>
                </a:cubicBezTo>
                <a:cubicBezTo>
                  <a:pt x="310587" y="305045"/>
                  <a:pt x="305599" y="311650"/>
                  <a:pt x="299743" y="318147"/>
                </a:cubicBezTo>
                <a:cubicBezTo>
                  <a:pt x="305056" y="321937"/>
                  <a:pt x="308852" y="326485"/>
                  <a:pt x="310587" y="331683"/>
                </a:cubicBezTo>
                <a:lnTo>
                  <a:pt x="382052" y="353231"/>
                </a:lnTo>
                <a:cubicBezTo>
                  <a:pt x="432263" y="367742"/>
                  <a:pt x="462627" y="578464"/>
                  <a:pt x="462627" y="587560"/>
                </a:cubicBezTo>
                <a:cubicBezTo>
                  <a:pt x="462627" y="598064"/>
                  <a:pt x="454169" y="606510"/>
                  <a:pt x="443758" y="606510"/>
                </a:cubicBezTo>
                <a:lnTo>
                  <a:pt x="18978" y="606510"/>
                </a:lnTo>
                <a:cubicBezTo>
                  <a:pt x="8459" y="606510"/>
                  <a:pt x="0" y="598064"/>
                  <a:pt x="0" y="587560"/>
                </a:cubicBezTo>
                <a:cubicBezTo>
                  <a:pt x="0" y="586586"/>
                  <a:pt x="109" y="585611"/>
                  <a:pt x="217" y="584636"/>
                </a:cubicBezTo>
                <a:cubicBezTo>
                  <a:pt x="217" y="584636"/>
                  <a:pt x="30365" y="367742"/>
                  <a:pt x="80575" y="353231"/>
                </a:cubicBezTo>
                <a:lnTo>
                  <a:pt x="152040" y="331683"/>
                </a:lnTo>
                <a:cubicBezTo>
                  <a:pt x="153775" y="326485"/>
                  <a:pt x="157571" y="321937"/>
                  <a:pt x="162885" y="318147"/>
                </a:cubicBezTo>
                <a:cubicBezTo>
                  <a:pt x="157029" y="311650"/>
                  <a:pt x="152040" y="305045"/>
                  <a:pt x="148353" y="299522"/>
                </a:cubicBezTo>
                <a:cubicBezTo>
                  <a:pt x="139352" y="286528"/>
                  <a:pt x="131870" y="272559"/>
                  <a:pt x="126664" y="259132"/>
                </a:cubicBezTo>
                <a:cubicBezTo>
                  <a:pt x="124170" y="253393"/>
                  <a:pt x="122001" y="247654"/>
                  <a:pt x="120266" y="242131"/>
                </a:cubicBezTo>
                <a:cubicBezTo>
                  <a:pt x="113325" y="236284"/>
                  <a:pt x="109205" y="227621"/>
                  <a:pt x="109205" y="218525"/>
                </a:cubicBezTo>
                <a:lnTo>
                  <a:pt x="109205" y="196110"/>
                </a:lnTo>
                <a:cubicBezTo>
                  <a:pt x="109205" y="189721"/>
                  <a:pt x="111265" y="183441"/>
                  <a:pt x="114952" y="178243"/>
                </a:cubicBezTo>
                <a:lnTo>
                  <a:pt x="114952" y="146840"/>
                </a:lnTo>
                <a:cubicBezTo>
                  <a:pt x="114952" y="91723"/>
                  <a:pt x="159848" y="46785"/>
                  <a:pt x="215047" y="46785"/>
                </a:cubicBezTo>
                <a:close/>
                <a:moveTo>
                  <a:pt x="414825" y="0"/>
                </a:moveTo>
                <a:cubicBezTo>
                  <a:pt x="504940" y="0"/>
                  <a:pt x="578354" y="73314"/>
                  <a:pt x="578354" y="163305"/>
                </a:cubicBezTo>
                <a:cubicBezTo>
                  <a:pt x="578354" y="253404"/>
                  <a:pt x="504940" y="326718"/>
                  <a:pt x="414825" y="326718"/>
                </a:cubicBezTo>
                <a:cubicBezTo>
                  <a:pt x="389667" y="326718"/>
                  <a:pt x="365918" y="320979"/>
                  <a:pt x="344664" y="310907"/>
                </a:cubicBezTo>
                <a:cubicBezTo>
                  <a:pt x="350737" y="300620"/>
                  <a:pt x="355942" y="290115"/>
                  <a:pt x="360063" y="279719"/>
                </a:cubicBezTo>
                <a:cubicBezTo>
                  <a:pt x="376654" y="287516"/>
                  <a:pt x="395198" y="291956"/>
                  <a:pt x="414825" y="291956"/>
                </a:cubicBezTo>
                <a:cubicBezTo>
                  <a:pt x="485854" y="291956"/>
                  <a:pt x="543545" y="234236"/>
                  <a:pt x="543545" y="163305"/>
                </a:cubicBezTo>
                <a:cubicBezTo>
                  <a:pt x="543545" y="92482"/>
                  <a:pt x="485854" y="34762"/>
                  <a:pt x="414825" y="34762"/>
                </a:cubicBezTo>
                <a:cubicBezTo>
                  <a:pt x="386414" y="34762"/>
                  <a:pt x="360171" y="43967"/>
                  <a:pt x="338808" y="59561"/>
                </a:cubicBezTo>
                <a:cubicBezTo>
                  <a:pt x="330675" y="50897"/>
                  <a:pt x="321458" y="43317"/>
                  <a:pt x="311264" y="37036"/>
                </a:cubicBezTo>
                <a:cubicBezTo>
                  <a:pt x="339459" y="13861"/>
                  <a:pt x="375570" y="0"/>
                  <a:pt x="414825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 sz="4000"/>
          </a:p>
        </p:txBody>
      </p:sp>
      <p:sp>
        <p:nvSpPr>
          <p:cNvPr id="28" name="right-thin-arrowheads_32738">
            <a:extLst>
              <a:ext uri="{FF2B5EF4-FFF2-40B4-BE49-F238E27FC236}">
                <a16:creationId xmlns:a16="http://schemas.microsoft.com/office/drawing/2014/main" id="{B999BDCE-526B-4C28-B732-579BE9F7CE87}"/>
              </a:ext>
            </a:extLst>
          </p:cNvPr>
          <p:cNvSpPr>
            <a:spLocks noChangeAspect="1"/>
          </p:cNvSpPr>
          <p:nvPr/>
        </p:nvSpPr>
        <p:spPr bwMode="auto">
          <a:xfrm rot="1800000">
            <a:off x="5004729" y="3020900"/>
            <a:ext cx="892765" cy="892352"/>
          </a:xfrm>
          <a:custGeom>
            <a:avLst/>
            <a:gdLst>
              <a:gd name="T0" fmla="*/ 5083 w 6101"/>
              <a:gd name="T1" fmla="*/ 3053 h 6107"/>
              <a:gd name="T2" fmla="*/ 2791 w 6101"/>
              <a:gd name="T3" fmla="*/ 761 h 6107"/>
              <a:gd name="T4" fmla="*/ 2791 w 6101"/>
              <a:gd name="T5" fmla="*/ 164 h 6107"/>
              <a:gd name="T6" fmla="*/ 3387 w 6101"/>
              <a:gd name="T7" fmla="*/ 164 h 6107"/>
              <a:gd name="T8" fmla="*/ 5978 w 6101"/>
              <a:gd name="T9" fmla="*/ 2755 h 6107"/>
              <a:gd name="T10" fmla="*/ 6101 w 6101"/>
              <a:gd name="T11" fmla="*/ 3053 h 6107"/>
              <a:gd name="T12" fmla="*/ 5978 w 6101"/>
              <a:gd name="T13" fmla="*/ 3351 h 6107"/>
              <a:gd name="T14" fmla="*/ 3387 w 6101"/>
              <a:gd name="T15" fmla="*/ 5942 h 6107"/>
              <a:gd name="T16" fmla="*/ 2791 w 6101"/>
              <a:gd name="T17" fmla="*/ 5942 h 6107"/>
              <a:gd name="T18" fmla="*/ 2791 w 6101"/>
              <a:gd name="T19" fmla="*/ 5345 h 6107"/>
              <a:gd name="T20" fmla="*/ 5083 w 6101"/>
              <a:gd name="T21" fmla="*/ 3053 h 6107"/>
              <a:gd name="T22" fmla="*/ 165 w 6101"/>
              <a:gd name="T23" fmla="*/ 5345 h 6107"/>
              <a:gd name="T24" fmla="*/ 165 w 6101"/>
              <a:gd name="T25" fmla="*/ 5942 h 6107"/>
              <a:gd name="T26" fmla="*/ 761 w 6101"/>
              <a:gd name="T27" fmla="*/ 5942 h 6107"/>
              <a:gd name="T28" fmla="*/ 3352 w 6101"/>
              <a:gd name="T29" fmla="*/ 3351 h 6107"/>
              <a:gd name="T30" fmla="*/ 3475 w 6101"/>
              <a:gd name="T31" fmla="*/ 3053 h 6107"/>
              <a:gd name="T32" fmla="*/ 3352 w 6101"/>
              <a:gd name="T33" fmla="*/ 2755 h 6107"/>
              <a:gd name="T34" fmla="*/ 761 w 6101"/>
              <a:gd name="T35" fmla="*/ 164 h 6107"/>
              <a:gd name="T36" fmla="*/ 165 w 6101"/>
              <a:gd name="T37" fmla="*/ 164 h 6107"/>
              <a:gd name="T38" fmla="*/ 165 w 6101"/>
              <a:gd name="T39" fmla="*/ 761 h 6107"/>
              <a:gd name="T40" fmla="*/ 2457 w 6101"/>
              <a:gd name="T41" fmla="*/ 3053 h 6107"/>
              <a:gd name="T42" fmla="*/ 165 w 6101"/>
              <a:gd name="T43" fmla="*/ 5345 h 6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6101" h="6107">
                <a:moveTo>
                  <a:pt x="5083" y="3053"/>
                </a:moveTo>
                <a:lnTo>
                  <a:pt x="2791" y="761"/>
                </a:lnTo>
                <a:cubicBezTo>
                  <a:pt x="2626" y="596"/>
                  <a:pt x="2626" y="329"/>
                  <a:pt x="2791" y="164"/>
                </a:cubicBezTo>
                <a:cubicBezTo>
                  <a:pt x="2955" y="0"/>
                  <a:pt x="3222" y="0"/>
                  <a:pt x="3387" y="164"/>
                </a:cubicBezTo>
                <a:lnTo>
                  <a:pt x="5978" y="2755"/>
                </a:lnTo>
                <a:cubicBezTo>
                  <a:pt x="6060" y="2837"/>
                  <a:pt x="6101" y="2945"/>
                  <a:pt x="6101" y="3053"/>
                </a:cubicBezTo>
                <a:cubicBezTo>
                  <a:pt x="6101" y="3161"/>
                  <a:pt x="6060" y="3269"/>
                  <a:pt x="5978" y="3351"/>
                </a:cubicBezTo>
                <a:lnTo>
                  <a:pt x="3387" y="5942"/>
                </a:lnTo>
                <a:cubicBezTo>
                  <a:pt x="3222" y="6107"/>
                  <a:pt x="2955" y="6107"/>
                  <a:pt x="2791" y="5942"/>
                </a:cubicBezTo>
                <a:cubicBezTo>
                  <a:pt x="2626" y="5777"/>
                  <a:pt x="2626" y="5510"/>
                  <a:pt x="2791" y="5345"/>
                </a:cubicBezTo>
                <a:lnTo>
                  <a:pt x="5083" y="3053"/>
                </a:lnTo>
                <a:close/>
                <a:moveTo>
                  <a:pt x="165" y="5345"/>
                </a:moveTo>
                <a:cubicBezTo>
                  <a:pt x="0" y="5510"/>
                  <a:pt x="0" y="5777"/>
                  <a:pt x="165" y="5942"/>
                </a:cubicBezTo>
                <a:cubicBezTo>
                  <a:pt x="329" y="6107"/>
                  <a:pt x="596" y="6107"/>
                  <a:pt x="761" y="5942"/>
                </a:cubicBezTo>
                <a:lnTo>
                  <a:pt x="3352" y="3351"/>
                </a:lnTo>
                <a:cubicBezTo>
                  <a:pt x="3434" y="3269"/>
                  <a:pt x="3475" y="3161"/>
                  <a:pt x="3475" y="3053"/>
                </a:cubicBezTo>
                <a:cubicBezTo>
                  <a:pt x="3475" y="2945"/>
                  <a:pt x="3434" y="2837"/>
                  <a:pt x="3352" y="2755"/>
                </a:cubicBezTo>
                <a:lnTo>
                  <a:pt x="761" y="164"/>
                </a:lnTo>
                <a:cubicBezTo>
                  <a:pt x="596" y="0"/>
                  <a:pt x="329" y="0"/>
                  <a:pt x="165" y="164"/>
                </a:cubicBezTo>
                <a:cubicBezTo>
                  <a:pt x="0" y="329"/>
                  <a:pt x="0" y="596"/>
                  <a:pt x="165" y="761"/>
                </a:cubicBezTo>
                <a:lnTo>
                  <a:pt x="2457" y="3053"/>
                </a:lnTo>
                <a:lnTo>
                  <a:pt x="165" y="534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29" name="标题 1">
            <a:extLst>
              <a:ext uri="{FF2B5EF4-FFF2-40B4-BE49-F238E27FC236}">
                <a16:creationId xmlns:a16="http://schemas.microsoft.com/office/drawing/2014/main" id="{1F977E49-42A2-4B86-BB63-E830A58B8D42}"/>
              </a:ext>
            </a:extLst>
          </p:cNvPr>
          <p:cNvSpPr txBox="1">
            <a:spLocks/>
          </p:cNvSpPr>
          <p:nvPr/>
        </p:nvSpPr>
        <p:spPr>
          <a:xfrm>
            <a:off x="670718" y="268655"/>
            <a:ext cx="10850563" cy="1028699"/>
          </a:xfrm>
          <a:prstGeom prst="rect">
            <a:avLst/>
          </a:prstGeom>
        </p:spPr>
        <p:txBody>
          <a:bodyPr/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模型班次优化</a:t>
            </a:r>
          </a:p>
        </p:txBody>
      </p:sp>
    </p:spTree>
    <p:extLst>
      <p:ext uri="{BB962C8B-B14F-4D97-AF65-F5344CB8AC3E}">
        <p14:creationId xmlns:p14="http://schemas.microsoft.com/office/powerpoint/2010/main" val="17659890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769733B-ED16-4280-B512-21B7FB33C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项目情况介绍</a:t>
            </a:r>
            <a:r>
              <a:rPr lang="en-US" altLang="zh-CN" dirty="0"/>
              <a:t>—</a:t>
            </a:r>
            <a:r>
              <a:rPr lang="zh-CN" altLang="en-US" b="0" dirty="0"/>
              <a:t>数据应用及本期价值提升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EEB822F-83F6-42CB-825E-C099572407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</a:t>
            </a:fld>
            <a:endParaRPr lang="zh-CN" altLang="en-US"/>
          </a:p>
        </p:txBody>
      </p:sp>
      <p:grpSp>
        <p:nvGrpSpPr>
          <p:cNvPr id="5" name="259556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BE7CB9A8-022C-428F-8DAB-3EEF51C1BD6B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0400" y="1130300"/>
            <a:ext cx="10858500" cy="5003800"/>
            <a:chOff x="660400" y="1130300"/>
            <a:chExt cx="10858500" cy="5003800"/>
          </a:xfrm>
        </p:grpSpPr>
        <p:cxnSp>
          <p:nvCxnSpPr>
            <p:cNvPr id="6" name="直接连接符 5">
              <a:extLst>
                <a:ext uri="{FF2B5EF4-FFF2-40B4-BE49-F238E27FC236}">
                  <a16:creationId xmlns:a16="http://schemas.microsoft.com/office/drawing/2014/main" id="{08DD9E61-B68A-4F70-81D5-BE39433EB290}"/>
                </a:ext>
              </a:extLst>
            </p:cNvPr>
            <p:cNvCxnSpPr/>
            <p:nvPr/>
          </p:nvCxnSpPr>
          <p:spPr>
            <a:xfrm>
              <a:off x="660400" y="6134100"/>
              <a:ext cx="10858500" cy="0"/>
            </a:xfrm>
            <a:prstGeom prst="line">
              <a:avLst/>
            </a:prstGeom>
            <a:noFill/>
            <a:ln w="19050" cap="rnd">
              <a:solidFill>
                <a:schemeClr val="bg1">
                  <a:lumMod val="75000"/>
                </a:schemeClr>
              </a:solidFill>
              <a:prstDash val="solid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7" name="ïṥ1íďè">
              <a:extLst>
                <a:ext uri="{FF2B5EF4-FFF2-40B4-BE49-F238E27FC236}">
                  <a16:creationId xmlns:a16="http://schemas.microsoft.com/office/drawing/2014/main" id="{C034FDDD-3FD9-4610-8EB2-C323EF73A7FB}"/>
                </a:ext>
              </a:extLst>
            </p:cNvPr>
            <p:cNvGrpSpPr/>
            <p:nvPr/>
          </p:nvGrpSpPr>
          <p:grpSpPr>
            <a:xfrm>
              <a:off x="2387601" y="3450372"/>
              <a:ext cx="7404100" cy="2683728"/>
              <a:chOff x="2387601" y="3450372"/>
              <a:chExt cx="7404100" cy="2683728"/>
            </a:xfrm>
          </p:grpSpPr>
          <p:sp>
            <p:nvSpPr>
              <p:cNvPr id="22" name="íŝľïdê">
                <a:extLst>
                  <a:ext uri="{FF2B5EF4-FFF2-40B4-BE49-F238E27FC236}">
                    <a16:creationId xmlns:a16="http://schemas.microsoft.com/office/drawing/2014/main" id="{DECE54E2-2B8F-40C2-A62E-AC617BE5E5D6}"/>
                  </a:ext>
                </a:extLst>
              </p:cNvPr>
              <p:cNvSpPr/>
              <p:nvPr/>
            </p:nvSpPr>
            <p:spPr>
              <a:xfrm>
                <a:off x="3338255" y="3450372"/>
                <a:ext cx="5502791" cy="2683728"/>
              </a:xfrm>
              <a:custGeom>
                <a:avLst/>
                <a:gdLst>
                  <a:gd name="connsiteX0" fmla="*/ 1536704 w 3073408"/>
                  <a:gd name="connsiteY0" fmla="*/ 0 h 2949228"/>
                  <a:gd name="connsiteX1" fmla="*/ 3065474 w 3073408"/>
                  <a:gd name="connsiteY1" fmla="*/ 1379585 h 2949228"/>
                  <a:gd name="connsiteX2" fmla="*/ 3073408 w 3073408"/>
                  <a:gd name="connsiteY2" fmla="*/ 1536703 h 2949228"/>
                  <a:gd name="connsiteX3" fmla="*/ 2949228 w 3073408"/>
                  <a:gd name="connsiteY3" fmla="*/ 1536703 h 2949228"/>
                  <a:gd name="connsiteX4" fmla="*/ 2949228 w 3073408"/>
                  <a:gd name="connsiteY4" fmla="*/ 1536704 h 2949228"/>
                  <a:gd name="connsiteX5" fmla="*/ 1536704 w 3073408"/>
                  <a:gd name="connsiteY5" fmla="*/ 2949228 h 2949228"/>
                  <a:gd name="connsiteX6" fmla="*/ 124180 w 3073408"/>
                  <a:gd name="connsiteY6" fmla="*/ 1536704 h 2949228"/>
                  <a:gd name="connsiteX7" fmla="*/ 124180 w 3073408"/>
                  <a:gd name="connsiteY7" fmla="*/ 1536703 h 2949228"/>
                  <a:gd name="connsiteX8" fmla="*/ 0 w 3073408"/>
                  <a:gd name="connsiteY8" fmla="*/ 1536703 h 2949228"/>
                  <a:gd name="connsiteX9" fmla="*/ 7934 w 3073408"/>
                  <a:gd name="connsiteY9" fmla="*/ 1379585 h 2949228"/>
                  <a:gd name="connsiteX10" fmla="*/ 1536704 w 3073408"/>
                  <a:gd name="connsiteY10" fmla="*/ 0 h 2949228"/>
                  <a:gd name="connsiteX0-1" fmla="*/ 1536704 w 3073408"/>
                  <a:gd name="connsiteY0-2" fmla="*/ 0 h 1536704"/>
                  <a:gd name="connsiteX1-3" fmla="*/ 3065474 w 3073408"/>
                  <a:gd name="connsiteY1-4" fmla="*/ 1379585 h 1536704"/>
                  <a:gd name="connsiteX2-5" fmla="*/ 3073408 w 3073408"/>
                  <a:gd name="connsiteY2-6" fmla="*/ 1536703 h 1536704"/>
                  <a:gd name="connsiteX3-7" fmla="*/ 2949228 w 3073408"/>
                  <a:gd name="connsiteY3-8" fmla="*/ 1536703 h 1536704"/>
                  <a:gd name="connsiteX4-9" fmla="*/ 2949228 w 3073408"/>
                  <a:gd name="connsiteY4-10" fmla="*/ 1536704 h 1536704"/>
                  <a:gd name="connsiteX5-11" fmla="*/ 124180 w 3073408"/>
                  <a:gd name="connsiteY5-12" fmla="*/ 1536704 h 1536704"/>
                  <a:gd name="connsiteX6-13" fmla="*/ 124180 w 3073408"/>
                  <a:gd name="connsiteY6-14" fmla="*/ 1536703 h 1536704"/>
                  <a:gd name="connsiteX7-15" fmla="*/ 0 w 3073408"/>
                  <a:gd name="connsiteY7-16" fmla="*/ 1536703 h 1536704"/>
                  <a:gd name="connsiteX8-17" fmla="*/ 7934 w 3073408"/>
                  <a:gd name="connsiteY8-18" fmla="*/ 1379585 h 1536704"/>
                  <a:gd name="connsiteX9-19" fmla="*/ 1536704 w 3073408"/>
                  <a:gd name="connsiteY9-20" fmla="*/ 0 h 153670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</a:cxnLst>
                <a:rect l="l" t="t" r="r" b="b"/>
                <a:pathLst>
                  <a:path w="3073408" h="1536704">
                    <a:moveTo>
                      <a:pt x="1536704" y="0"/>
                    </a:moveTo>
                    <a:cubicBezTo>
                      <a:pt x="2332359" y="0"/>
                      <a:pt x="2986780" y="604693"/>
                      <a:pt x="3065474" y="1379585"/>
                    </a:cubicBezTo>
                    <a:lnTo>
                      <a:pt x="3073408" y="1536703"/>
                    </a:lnTo>
                    <a:lnTo>
                      <a:pt x="2949228" y="1536703"/>
                    </a:lnTo>
                    <a:lnTo>
                      <a:pt x="2949228" y="1536704"/>
                    </a:lnTo>
                    <a:lnTo>
                      <a:pt x="124180" y="1536704"/>
                    </a:lnTo>
                    <a:lnTo>
                      <a:pt x="124180" y="1536703"/>
                    </a:lnTo>
                    <a:lnTo>
                      <a:pt x="0" y="1536703"/>
                    </a:lnTo>
                    <a:lnTo>
                      <a:pt x="7934" y="1379585"/>
                    </a:lnTo>
                    <a:cubicBezTo>
                      <a:pt x="86629" y="604693"/>
                      <a:pt x="741050" y="0"/>
                      <a:pt x="1536704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prstDash val="dash"/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6" name="ísḻîḍè">
                <a:extLst>
                  <a:ext uri="{FF2B5EF4-FFF2-40B4-BE49-F238E27FC236}">
                    <a16:creationId xmlns:a16="http://schemas.microsoft.com/office/drawing/2014/main" id="{89147B9D-DE59-42CF-81F6-7F8E220DD9E6}"/>
                  </a:ext>
                </a:extLst>
              </p:cNvPr>
              <p:cNvSpPr/>
              <p:nvPr/>
            </p:nvSpPr>
            <p:spPr>
              <a:xfrm>
                <a:off x="7173290" y="4905804"/>
                <a:ext cx="2508161" cy="1228296"/>
              </a:xfrm>
              <a:custGeom>
                <a:avLst/>
                <a:gdLst>
                  <a:gd name="connsiteX0" fmla="*/ 1412524 w 2825048"/>
                  <a:gd name="connsiteY0" fmla="*/ 0 h 1412523"/>
                  <a:gd name="connsiteX1" fmla="*/ 2817755 w 2825048"/>
                  <a:gd name="connsiteY1" fmla="*/ 1268102 h 1412523"/>
                  <a:gd name="connsiteX2" fmla="*/ 2825048 w 2825048"/>
                  <a:gd name="connsiteY2" fmla="*/ 1412523 h 1412523"/>
                  <a:gd name="connsiteX3" fmla="*/ 0 w 2825048"/>
                  <a:gd name="connsiteY3" fmla="*/ 1412523 h 1412523"/>
                  <a:gd name="connsiteX4" fmla="*/ 7293 w 2825048"/>
                  <a:gd name="connsiteY4" fmla="*/ 1268102 h 1412523"/>
                  <a:gd name="connsiteX5" fmla="*/ 1412524 w 2825048"/>
                  <a:gd name="connsiteY5" fmla="*/ 0 h 14125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25048" h="1412523">
                    <a:moveTo>
                      <a:pt x="1412524" y="0"/>
                    </a:moveTo>
                    <a:cubicBezTo>
                      <a:pt x="2143882" y="0"/>
                      <a:pt x="2745420" y="555828"/>
                      <a:pt x="2817755" y="1268102"/>
                    </a:cubicBezTo>
                    <a:lnTo>
                      <a:pt x="2825048" y="1412523"/>
                    </a:lnTo>
                    <a:lnTo>
                      <a:pt x="0" y="1412523"/>
                    </a:lnTo>
                    <a:lnTo>
                      <a:pt x="7293" y="1268102"/>
                    </a:lnTo>
                    <a:cubicBezTo>
                      <a:pt x="79628" y="555828"/>
                      <a:pt x="681166" y="0"/>
                      <a:pt x="1412524" y="0"/>
                    </a:cubicBez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zh-CN" altLang="en-US" sz="2400" u="sng" dirty="0"/>
                  <a:t>数据驱动</a:t>
                </a:r>
                <a:endParaRPr lang="en-US" altLang="zh-CN" sz="2400" u="sng" dirty="0"/>
              </a:p>
            </p:txBody>
          </p:sp>
          <p:sp>
            <p:nvSpPr>
              <p:cNvPr id="17" name="îṣ1ïḋê">
                <a:extLst>
                  <a:ext uri="{FF2B5EF4-FFF2-40B4-BE49-F238E27FC236}">
                    <a16:creationId xmlns:a16="http://schemas.microsoft.com/office/drawing/2014/main" id="{3EEF1808-4E0B-4445-8031-213B49AA889D}"/>
                  </a:ext>
                </a:extLst>
              </p:cNvPr>
              <p:cNvSpPr/>
              <p:nvPr/>
            </p:nvSpPr>
            <p:spPr>
              <a:xfrm>
                <a:off x="7063039" y="4797820"/>
                <a:ext cx="2728662" cy="1336280"/>
              </a:xfrm>
              <a:custGeom>
                <a:avLst/>
                <a:gdLst>
                  <a:gd name="connsiteX0" fmla="*/ 1536704 w 3073408"/>
                  <a:gd name="connsiteY0" fmla="*/ 0 h 2949228"/>
                  <a:gd name="connsiteX1" fmla="*/ 3065474 w 3073408"/>
                  <a:gd name="connsiteY1" fmla="*/ 1379585 h 2949228"/>
                  <a:gd name="connsiteX2" fmla="*/ 3073408 w 3073408"/>
                  <a:gd name="connsiteY2" fmla="*/ 1536703 h 2949228"/>
                  <a:gd name="connsiteX3" fmla="*/ 2949228 w 3073408"/>
                  <a:gd name="connsiteY3" fmla="*/ 1536703 h 2949228"/>
                  <a:gd name="connsiteX4" fmla="*/ 2949228 w 3073408"/>
                  <a:gd name="connsiteY4" fmla="*/ 1536704 h 2949228"/>
                  <a:gd name="connsiteX5" fmla="*/ 1536704 w 3073408"/>
                  <a:gd name="connsiteY5" fmla="*/ 2949228 h 2949228"/>
                  <a:gd name="connsiteX6" fmla="*/ 124180 w 3073408"/>
                  <a:gd name="connsiteY6" fmla="*/ 1536704 h 2949228"/>
                  <a:gd name="connsiteX7" fmla="*/ 124180 w 3073408"/>
                  <a:gd name="connsiteY7" fmla="*/ 1536703 h 2949228"/>
                  <a:gd name="connsiteX8" fmla="*/ 0 w 3073408"/>
                  <a:gd name="connsiteY8" fmla="*/ 1536703 h 2949228"/>
                  <a:gd name="connsiteX9" fmla="*/ 7934 w 3073408"/>
                  <a:gd name="connsiteY9" fmla="*/ 1379585 h 2949228"/>
                  <a:gd name="connsiteX10" fmla="*/ 1536704 w 3073408"/>
                  <a:gd name="connsiteY10" fmla="*/ 0 h 2949228"/>
                  <a:gd name="connsiteX0-1" fmla="*/ 1536704 w 3073408"/>
                  <a:gd name="connsiteY0-2" fmla="*/ 0 h 1536704"/>
                  <a:gd name="connsiteX1-3" fmla="*/ 3065474 w 3073408"/>
                  <a:gd name="connsiteY1-4" fmla="*/ 1379585 h 1536704"/>
                  <a:gd name="connsiteX2-5" fmla="*/ 3073408 w 3073408"/>
                  <a:gd name="connsiteY2-6" fmla="*/ 1536703 h 1536704"/>
                  <a:gd name="connsiteX3-7" fmla="*/ 2949228 w 3073408"/>
                  <a:gd name="connsiteY3-8" fmla="*/ 1536703 h 1536704"/>
                  <a:gd name="connsiteX4-9" fmla="*/ 2949228 w 3073408"/>
                  <a:gd name="connsiteY4-10" fmla="*/ 1536704 h 1536704"/>
                  <a:gd name="connsiteX5-11" fmla="*/ 124180 w 3073408"/>
                  <a:gd name="connsiteY5-12" fmla="*/ 1536704 h 1536704"/>
                  <a:gd name="connsiteX6-13" fmla="*/ 124180 w 3073408"/>
                  <a:gd name="connsiteY6-14" fmla="*/ 1536703 h 1536704"/>
                  <a:gd name="connsiteX7-15" fmla="*/ 0 w 3073408"/>
                  <a:gd name="connsiteY7-16" fmla="*/ 1536703 h 1536704"/>
                  <a:gd name="connsiteX8-17" fmla="*/ 7934 w 3073408"/>
                  <a:gd name="connsiteY8-18" fmla="*/ 1379585 h 1536704"/>
                  <a:gd name="connsiteX9-19" fmla="*/ 1536704 w 3073408"/>
                  <a:gd name="connsiteY9-20" fmla="*/ 0 h 153670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</a:cxnLst>
                <a:rect l="l" t="t" r="r" b="b"/>
                <a:pathLst>
                  <a:path w="3073408" h="1536704">
                    <a:moveTo>
                      <a:pt x="1536704" y="0"/>
                    </a:moveTo>
                    <a:cubicBezTo>
                      <a:pt x="2332359" y="0"/>
                      <a:pt x="2986780" y="604693"/>
                      <a:pt x="3065474" y="1379585"/>
                    </a:cubicBezTo>
                    <a:lnTo>
                      <a:pt x="3073408" y="1536703"/>
                    </a:lnTo>
                    <a:lnTo>
                      <a:pt x="2949228" y="1536703"/>
                    </a:lnTo>
                    <a:lnTo>
                      <a:pt x="2949228" y="1536704"/>
                    </a:lnTo>
                    <a:lnTo>
                      <a:pt x="124180" y="1536704"/>
                    </a:lnTo>
                    <a:lnTo>
                      <a:pt x="124180" y="1536703"/>
                    </a:lnTo>
                    <a:lnTo>
                      <a:pt x="0" y="1536703"/>
                    </a:lnTo>
                    <a:lnTo>
                      <a:pt x="7934" y="1379585"/>
                    </a:lnTo>
                    <a:cubicBezTo>
                      <a:pt x="86629" y="604693"/>
                      <a:pt x="741050" y="0"/>
                      <a:pt x="1536704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prstDash val="dash"/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8" name="isḻïḍè">
                <a:extLst>
                  <a:ext uri="{FF2B5EF4-FFF2-40B4-BE49-F238E27FC236}">
                    <a16:creationId xmlns:a16="http://schemas.microsoft.com/office/drawing/2014/main" id="{10AD42DD-BDF3-459C-842C-600C569334AB}"/>
                  </a:ext>
                </a:extLst>
              </p:cNvPr>
              <p:cNvSpPr/>
              <p:nvPr/>
            </p:nvSpPr>
            <p:spPr>
              <a:xfrm>
                <a:off x="2497852" y="4905804"/>
                <a:ext cx="2508161" cy="1228296"/>
              </a:xfrm>
              <a:custGeom>
                <a:avLst/>
                <a:gdLst>
                  <a:gd name="connsiteX0" fmla="*/ 1412524 w 2825048"/>
                  <a:gd name="connsiteY0" fmla="*/ 0 h 1412523"/>
                  <a:gd name="connsiteX1" fmla="*/ 2817755 w 2825048"/>
                  <a:gd name="connsiteY1" fmla="*/ 1268102 h 1412523"/>
                  <a:gd name="connsiteX2" fmla="*/ 2825048 w 2825048"/>
                  <a:gd name="connsiteY2" fmla="*/ 1412523 h 1412523"/>
                  <a:gd name="connsiteX3" fmla="*/ 0 w 2825048"/>
                  <a:gd name="connsiteY3" fmla="*/ 1412523 h 1412523"/>
                  <a:gd name="connsiteX4" fmla="*/ 7293 w 2825048"/>
                  <a:gd name="connsiteY4" fmla="*/ 1268102 h 1412523"/>
                  <a:gd name="connsiteX5" fmla="*/ 1412524 w 2825048"/>
                  <a:gd name="connsiteY5" fmla="*/ 0 h 14125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25048" h="1412523">
                    <a:moveTo>
                      <a:pt x="1412524" y="0"/>
                    </a:moveTo>
                    <a:cubicBezTo>
                      <a:pt x="2143882" y="0"/>
                      <a:pt x="2745420" y="555828"/>
                      <a:pt x="2817755" y="1268102"/>
                    </a:cubicBezTo>
                    <a:lnTo>
                      <a:pt x="2825048" y="1412523"/>
                    </a:lnTo>
                    <a:lnTo>
                      <a:pt x="0" y="1412523"/>
                    </a:lnTo>
                    <a:lnTo>
                      <a:pt x="7293" y="1268102"/>
                    </a:lnTo>
                    <a:cubicBezTo>
                      <a:pt x="79628" y="555828"/>
                      <a:pt x="681166" y="0"/>
                      <a:pt x="1412524" y="0"/>
                    </a:cubicBez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zh-CN" altLang="en-US" sz="2400" u="sng" dirty="0"/>
                  <a:t>经验安排</a:t>
                </a:r>
                <a:endParaRPr lang="en-US" altLang="zh-CN" sz="2400" u="sng" dirty="0"/>
              </a:p>
            </p:txBody>
          </p:sp>
          <p:sp>
            <p:nvSpPr>
              <p:cNvPr id="19" name="ïṧḷiḓê">
                <a:extLst>
                  <a:ext uri="{FF2B5EF4-FFF2-40B4-BE49-F238E27FC236}">
                    <a16:creationId xmlns:a16="http://schemas.microsoft.com/office/drawing/2014/main" id="{6E18596E-4FC8-476C-9EE0-A337E2292A2B}"/>
                  </a:ext>
                </a:extLst>
              </p:cNvPr>
              <p:cNvSpPr/>
              <p:nvPr/>
            </p:nvSpPr>
            <p:spPr>
              <a:xfrm>
                <a:off x="2387601" y="4797820"/>
                <a:ext cx="2728662" cy="1336280"/>
              </a:xfrm>
              <a:custGeom>
                <a:avLst/>
                <a:gdLst>
                  <a:gd name="connsiteX0" fmla="*/ 1536704 w 3073408"/>
                  <a:gd name="connsiteY0" fmla="*/ 0 h 2949228"/>
                  <a:gd name="connsiteX1" fmla="*/ 3065474 w 3073408"/>
                  <a:gd name="connsiteY1" fmla="*/ 1379585 h 2949228"/>
                  <a:gd name="connsiteX2" fmla="*/ 3073408 w 3073408"/>
                  <a:gd name="connsiteY2" fmla="*/ 1536703 h 2949228"/>
                  <a:gd name="connsiteX3" fmla="*/ 2949228 w 3073408"/>
                  <a:gd name="connsiteY3" fmla="*/ 1536703 h 2949228"/>
                  <a:gd name="connsiteX4" fmla="*/ 2949228 w 3073408"/>
                  <a:gd name="connsiteY4" fmla="*/ 1536704 h 2949228"/>
                  <a:gd name="connsiteX5" fmla="*/ 1536704 w 3073408"/>
                  <a:gd name="connsiteY5" fmla="*/ 2949228 h 2949228"/>
                  <a:gd name="connsiteX6" fmla="*/ 124180 w 3073408"/>
                  <a:gd name="connsiteY6" fmla="*/ 1536704 h 2949228"/>
                  <a:gd name="connsiteX7" fmla="*/ 124180 w 3073408"/>
                  <a:gd name="connsiteY7" fmla="*/ 1536703 h 2949228"/>
                  <a:gd name="connsiteX8" fmla="*/ 0 w 3073408"/>
                  <a:gd name="connsiteY8" fmla="*/ 1536703 h 2949228"/>
                  <a:gd name="connsiteX9" fmla="*/ 7934 w 3073408"/>
                  <a:gd name="connsiteY9" fmla="*/ 1379585 h 2949228"/>
                  <a:gd name="connsiteX10" fmla="*/ 1536704 w 3073408"/>
                  <a:gd name="connsiteY10" fmla="*/ 0 h 2949228"/>
                  <a:gd name="connsiteX0-1" fmla="*/ 1536704 w 3073408"/>
                  <a:gd name="connsiteY0-2" fmla="*/ 0 h 1536704"/>
                  <a:gd name="connsiteX1-3" fmla="*/ 3065474 w 3073408"/>
                  <a:gd name="connsiteY1-4" fmla="*/ 1379585 h 1536704"/>
                  <a:gd name="connsiteX2-5" fmla="*/ 3073408 w 3073408"/>
                  <a:gd name="connsiteY2-6" fmla="*/ 1536703 h 1536704"/>
                  <a:gd name="connsiteX3-7" fmla="*/ 2949228 w 3073408"/>
                  <a:gd name="connsiteY3-8" fmla="*/ 1536703 h 1536704"/>
                  <a:gd name="connsiteX4-9" fmla="*/ 2949228 w 3073408"/>
                  <a:gd name="connsiteY4-10" fmla="*/ 1536704 h 1536704"/>
                  <a:gd name="connsiteX5-11" fmla="*/ 124180 w 3073408"/>
                  <a:gd name="connsiteY5-12" fmla="*/ 1536704 h 1536704"/>
                  <a:gd name="connsiteX6-13" fmla="*/ 124180 w 3073408"/>
                  <a:gd name="connsiteY6-14" fmla="*/ 1536703 h 1536704"/>
                  <a:gd name="connsiteX7-15" fmla="*/ 0 w 3073408"/>
                  <a:gd name="connsiteY7-16" fmla="*/ 1536703 h 1536704"/>
                  <a:gd name="connsiteX8-17" fmla="*/ 7934 w 3073408"/>
                  <a:gd name="connsiteY8-18" fmla="*/ 1379585 h 1536704"/>
                  <a:gd name="connsiteX9-19" fmla="*/ 1536704 w 3073408"/>
                  <a:gd name="connsiteY9-20" fmla="*/ 0 h 153670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</a:cxnLst>
                <a:rect l="l" t="t" r="r" b="b"/>
                <a:pathLst>
                  <a:path w="3073408" h="1536704">
                    <a:moveTo>
                      <a:pt x="1536704" y="0"/>
                    </a:moveTo>
                    <a:cubicBezTo>
                      <a:pt x="2332359" y="0"/>
                      <a:pt x="2986780" y="604693"/>
                      <a:pt x="3065474" y="1379585"/>
                    </a:cubicBezTo>
                    <a:lnTo>
                      <a:pt x="3073408" y="1536703"/>
                    </a:lnTo>
                    <a:lnTo>
                      <a:pt x="2949228" y="1536703"/>
                    </a:lnTo>
                    <a:lnTo>
                      <a:pt x="2949228" y="1536704"/>
                    </a:lnTo>
                    <a:lnTo>
                      <a:pt x="124180" y="1536704"/>
                    </a:lnTo>
                    <a:lnTo>
                      <a:pt x="124180" y="1536703"/>
                    </a:lnTo>
                    <a:lnTo>
                      <a:pt x="0" y="1536703"/>
                    </a:lnTo>
                    <a:lnTo>
                      <a:pt x="7934" y="1379585"/>
                    </a:lnTo>
                    <a:cubicBezTo>
                      <a:pt x="86629" y="604693"/>
                      <a:pt x="741050" y="0"/>
                      <a:pt x="1536704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prstDash val="dash"/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20" name="í$ļiḍê">
                <a:extLst>
                  <a:ext uri="{FF2B5EF4-FFF2-40B4-BE49-F238E27FC236}">
                    <a16:creationId xmlns:a16="http://schemas.microsoft.com/office/drawing/2014/main" id="{FF77AC82-A44E-4346-8887-5CE1F9C11246}"/>
                  </a:ext>
                </a:extLst>
              </p:cNvPr>
              <p:cNvSpPr/>
              <p:nvPr/>
            </p:nvSpPr>
            <p:spPr>
              <a:xfrm>
                <a:off x="5361109" y="4735600"/>
                <a:ext cx="803374" cy="598167"/>
              </a:xfrm>
              <a:custGeom>
                <a:avLst/>
                <a:gdLst>
                  <a:gd name="connsiteX0" fmla="*/ 467768 w 604181"/>
                  <a:gd name="connsiteY0" fmla="*/ 117209 h 449855"/>
                  <a:gd name="connsiteX1" fmla="*/ 533019 w 604181"/>
                  <a:gd name="connsiteY1" fmla="*/ 145391 h 449855"/>
                  <a:gd name="connsiteX2" fmla="*/ 547131 w 604181"/>
                  <a:gd name="connsiteY2" fmla="*/ 212354 h 449855"/>
                  <a:gd name="connsiteX3" fmla="*/ 499248 w 604181"/>
                  <a:gd name="connsiteY3" fmla="*/ 299791 h 449855"/>
                  <a:gd name="connsiteX4" fmla="*/ 499971 w 604181"/>
                  <a:gd name="connsiteY4" fmla="*/ 306174 h 449855"/>
                  <a:gd name="connsiteX5" fmla="*/ 510706 w 604181"/>
                  <a:gd name="connsiteY5" fmla="*/ 307619 h 449855"/>
                  <a:gd name="connsiteX6" fmla="*/ 590431 w 604181"/>
                  <a:gd name="connsiteY6" fmla="*/ 345677 h 449855"/>
                  <a:gd name="connsiteX7" fmla="*/ 604060 w 604181"/>
                  <a:gd name="connsiteY7" fmla="*/ 430585 h 449855"/>
                  <a:gd name="connsiteX8" fmla="*/ 604181 w 604181"/>
                  <a:gd name="connsiteY8" fmla="*/ 436607 h 449855"/>
                  <a:gd name="connsiteX9" fmla="*/ 600442 w 604181"/>
                  <a:gd name="connsiteY9" fmla="*/ 446001 h 449855"/>
                  <a:gd name="connsiteX10" fmla="*/ 591034 w 604181"/>
                  <a:gd name="connsiteY10" fmla="*/ 449855 h 449855"/>
                  <a:gd name="connsiteX11" fmla="*/ 344381 w 604181"/>
                  <a:gd name="connsiteY11" fmla="*/ 449855 h 449855"/>
                  <a:gd name="connsiteX12" fmla="*/ 335094 w 604181"/>
                  <a:gd name="connsiteY12" fmla="*/ 446001 h 449855"/>
                  <a:gd name="connsiteX13" fmla="*/ 331355 w 604181"/>
                  <a:gd name="connsiteY13" fmla="*/ 436607 h 449855"/>
                  <a:gd name="connsiteX14" fmla="*/ 331475 w 604181"/>
                  <a:gd name="connsiteY14" fmla="*/ 430585 h 449855"/>
                  <a:gd name="connsiteX15" fmla="*/ 345104 w 604181"/>
                  <a:gd name="connsiteY15" fmla="*/ 345677 h 449855"/>
                  <a:gd name="connsiteX16" fmla="*/ 424830 w 604181"/>
                  <a:gd name="connsiteY16" fmla="*/ 307619 h 449855"/>
                  <a:gd name="connsiteX17" fmla="*/ 435564 w 604181"/>
                  <a:gd name="connsiteY17" fmla="*/ 306174 h 449855"/>
                  <a:gd name="connsiteX18" fmla="*/ 436167 w 604181"/>
                  <a:gd name="connsiteY18" fmla="*/ 299791 h 449855"/>
                  <a:gd name="connsiteX19" fmla="*/ 388405 w 604181"/>
                  <a:gd name="connsiteY19" fmla="*/ 212354 h 449855"/>
                  <a:gd name="connsiteX20" fmla="*/ 402516 w 604181"/>
                  <a:gd name="connsiteY20" fmla="*/ 145391 h 449855"/>
                  <a:gd name="connsiteX21" fmla="*/ 467768 w 604181"/>
                  <a:gd name="connsiteY21" fmla="*/ 117209 h 449855"/>
                  <a:gd name="connsiteX22" fmla="*/ 39926 w 604181"/>
                  <a:gd name="connsiteY22" fmla="*/ 0 h 449855"/>
                  <a:gd name="connsiteX23" fmla="*/ 427852 w 604181"/>
                  <a:gd name="connsiteY23" fmla="*/ 0 h 449855"/>
                  <a:gd name="connsiteX24" fmla="*/ 467778 w 604181"/>
                  <a:gd name="connsiteY24" fmla="*/ 39865 h 449855"/>
                  <a:gd name="connsiteX25" fmla="*/ 467778 w 604181"/>
                  <a:gd name="connsiteY25" fmla="*/ 94905 h 449855"/>
                  <a:gd name="connsiteX26" fmla="*/ 421459 w 604181"/>
                  <a:gd name="connsiteY26" fmla="*/ 103336 h 449855"/>
                  <a:gd name="connsiteX27" fmla="*/ 421459 w 604181"/>
                  <a:gd name="connsiteY27" fmla="*/ 46128 h 449855"/>
                  <a:gd name="connsiteX28" fmla="*/ 46319 w 604181"/>
                  <a:gd name="connsiteY28" fmla="*/ 46128 h 449855"/>
                  <a:gd name="connsiteX29" fmla="*/ 46319 w 604181"/>
                  <a:gd name="connsiteY29" fmla="*/ 272550 h 449855"/>
                  <a:gd name="connsiteX30" fmla="*/ 372727 w 604181"/>
                  <a:gd name="connsiteY30" fmla="*/ 272550 h 449855"/>
                  <a:gd name="connsiteX31" fmla="*/ 384668 w 604181"/>
                  <a:gd name="connsiteY31" fmla="*/ 293747 h 449855"/>
                  <a:gd name="connsiteX32" fmla="*/ 336781 w 604181"/>
                  <a:gd name="connsiteY32" fmla="*/ 318799 h 449855"/>
                  <a:gd name="connsiteX33" fmla="*/ 272247 w 604181"/>
                  <a:gd name="connsiteY33" fmla="*/ 318799 h 449855"/>
                  <a:gd name="connsiteX34" fmla="*/ 272247 w 604181"/>
                  <a:gd name="connsiteY34" fmla="*/ 354809 h 449855"/>
                  <a:gd name="connsiteX35" fmla="*/ 303730 w 604181"/>
                  <a:gd name="connsiteY35" fmla="*/ 354809 h 449855"/>
                  <a:gd name="connsiteX36" fmla="*/ 312536 w 604181"/>
                  <a:gd name="connsiteY36" fmla="*/ 356375 h 449855"/>
                  <a:gd name="connsiteX37" fmla="*/ 305057 w 604181"/>
                  <a:gd name="connsiteY37" fmla="*/ 408525 h 449855"/>
                  <a:gd name="connsiteX38" fmla="*/ 303730 w 604181"/>
                  <a:gd name="connsiteY38" fmla="*/ 408645 h 449855"/>
                  <a:gd name="connsiteX39" fmla="*/ 164048 w 604181"/>
                  <a:gd name="connsiteY39" fmla="*/ 408645 h 449855"/>
                  <a:gd name="connsiteX40" fmla="*/ 137149 w 604181"/>
                  <a:gd name="connsiteY40" fmla="*/ 381667 h 449855"/>
                  <a:gd name="connsiteX41" fmla="*/ 164048 w 604181"/>
                  <a:gd name="connsiteY41" fmla="*/ 354809 h 449855"/>
                  <a:gd name="connsiteX42" fmla="*/ 195531 w 604181"/>
                  <a:gd name="connsiteY42" fmla="*/ 354809 h 449855"/>
                  <a:gd name="connsiteX43" fmla="*/ 195531 w 604181"/>
                  <a:gd name="connsiteY43" fmla="*/ 318799 h 449855"/>
                  <a:gd name="connsiteX44" fmla="*/ 39926 w 604181"/>
                  <a:gd name="connsiteY44" fmla="*/ 318799 h 449855"/>
                  <a:gd name="connsiteX45" fmla="*/ 0 w 604181"/>
                  <a:gd name="connsiteY45" fmla="*/ 278934 h 449855"/>
                  <a:gd name="connsiteX46" fmla="*/ 0 w 604181"/>
                  <a:gd name="connsiteY46" fmla="*/ 39865 h 449855"/>
                  <a:gd name="connsiteX47" fmla="*/ 39926 w 604181"/>
                  <a:gd name="connsiteY47" fmla="*/ 0 h 4498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604181" h="449855">
                    <a:moveTo>
                      <a:pt x="467768" y="117209"/>
                    </a:moveTo>
                    <a:cubicBezTo>
                      <a:pt x="494061" y="117209"/>
                      <a:pt x="520837" y="126844"/>
                      <a:pt x="533019" y="145391"/>
                    </a:cubicBezTo>
                    <a:cubicBezTo>
                      <a:pt x="542789" y="160446"/>
                      <a:pt x="547131" y="181040"/>
                      <a:pt x="547131" y="212354"/>
                    </a:cubicBezTo>
                    <a:cubicBezTo>
                      <a:pt x="547131" y="250171"/>
                      <a:pt x="527954" y="284977"/>
                      <a:pt x="499248" y="299791"/>
                    </a:cubicBezTo>
                    <a:cubicBezTo>
                      <a:pt x="496353" y="301236"/>
                      <a:pt x="497559" y="306054"/>
                      <a:pt x="499971" y="306174"/>
                    </a:cubicBezTo>
                    <a:cubicBezTo>
                      <a:pt x="506605" y="306897"/>
                      <a:pt x="510224" y="307499"/>
                      <a:pt x="510706" y="307619"/>
                    </a:cubicBezTo>
                    <a:cubicBezTo>
                      <a:pt x="549423" y="314605"/>
                      <a:pt x="576319" y="323397"/>
                      <a:pt x="590431" y="345677"/>
                    </a:cubicBezTo>
                    <a:cubicBezTo>
                      <a:pt x="602734" y="365068"/>
                      <a:pt x="603216" y="391082"/>
                      <a:pt x="604060" y="430585"/>
                    </a:cubicBezTo>
                    <a:lnTo>
                      <a:pt x="604181" y="436607"/>
                    </a:lnTo>
                    <a:cubicBezTo>
                      <a:pt x="604181" y="440100"/>
                      <a:pt x="602854" y="443472"/>
                      <a:pt x="600442" y="446001"/>
                    </a:cubicBezTo>
                    <a:cubicBezTo>
                      <a:pt x="597909" y="448410"/>
                      <a:pt x="594653" y="449855"/>
                      <a:pt x="591034" y="449855"/>
                    </a:cubicBezTo>
                    <a:lnTo>
                      <a:pt x="344381" y="449855"/>
                    </a:lnTo>
                    <a:cubicBezTo>
                      <a:pt x="340883" y="449855"/>
                      <a:pt x="337506" y="448410"/>
                      <a:pt x="335094" y="446001"/>
                    </a:cubicBezTo>
                    <a:cubicBezTo>
                      <a:pt x="332681" y="443472"/>
                      <a:pt x="331234" y="440100"/>
                      <a:pt x="331355" y="436607"/>
                    </a:cubicBezTo>
                    <a:lnTo>
                      <a:pt x="331475" y="430585"/>
                    </a:lnTo>
                    <a:cubicBezTo>
                      <a:pt x="332199" y="391082"/>
                      <a:pt x="332681" y="365068"/>
                      <a:pt x="345104" y="345677"/>
                    </a:cubicBezTo>
                    <a:cubicBezTo>
                      <a:pt x="359216" y="323397"/>
                      <a:pt x="385992" y="314605"/>
                      <a:pt x="424830" y="307619"/>
                    </a:cubicBezTo>
                    <a:cubicBezTo>
                      <a:pt x="425312" y="307499"/>
                      <a:pt x="428930" y="306897"/>
                      <a:pt x="435564" y="306174"/>
                    </a:cubicBezTo>
                    <a:cubicBezTo>
                      <a:pt x="437976" y="306054"/>
                      <a:pt x="439183" y="301236"/>
                      <a:pt x="436167" y="299791"/>
                    </a:cubicBezTo>
                    <a:cubicBezTo>
                      <a:pt x="407461" y="284977"/>
                      <a:pt x="388405" y="250171"/>
                      <a:pt x="388405" y="212354"/>
                    </a:cubicBezTo>
                    <a:cubicBezTo>
                      <a:pt x="388405" y="181040"/>
                      <a:pt x="392747" y="160446"/>
                      <a:pt x="402516" y="145391"/>
                    </a:cubicBezTo>
                    <a:cubicBezTo>
                      <a:pt x="414698" y="126844"/>
                      <a:pt x="441474" y="117209"/>
                      <a:pt x="467768" y="117209"/>
                    </a:cubicBezTo>
                    <a:close/>
                    <a:moveTo>
                      <a:pt x="39926" y="0"/>
                    </a:moveTo>
                    <a:lnTo>
                      <a:pt x="427852" y="0"/>
                    </a:lnTo>
                    <a:cubicBezTo>
                      <a:pt x="449926" y="0"/>
                      <a:pt x="467778" y="17825"/>
                      <a:pt x="467778" y="39865"/>
                    </a:cubicBezTo>
                    <a:lnTo>
                      <a:pt x="467778" y="94905"/>
                    </a:lnTo>
                    <a:cubicBezTo>
                      <a:pt x="451132" y="94905"/>
                      <a:pt x="435330" y="97916"/>
                      <a:pt x="421459" y="103336"/>
                    </a:cubicBezTo>
                    <a:lnTo>
                      <a:pt x="421459" y="46128"/>
                    </a:lnTo>
                    <a:lnTo>
                      <a:pt x="46319" y="46128"/>
                    </a:lnTo>
                    <a:lnTo>
                      <a:pt x="46319" y="272550"/>
                    </a:lnTo>
                    <a:lnTo>
                      <a:pt x="372727" y="272550"/>
                    </a:lnTo>
                    <a:cubicBezTo>
                      <a:pt x="376104" y="280018"/>
                      <a:pt x="380085" y="287244"/>
                      <a:pt x="384668" y="293747"/>
                    </a:cubicBezTo>
                    <a:cubicBezTo>
                      <a:pt x="367057" y="298926"/>
                      <a:pt x="350291" y="306514"/>
                      <a:pt x="336781" y="318799"/>
                    </a:cubicBezTo>
                    <a:lnTo>
                      <a:pt x="272247" y="318799"/>
                    </a:lnTo>
                    <a:lnTo>
                      <a:pt x="272247" y="354809"/>
                    </a:lnTo>
                    <a:lnTo>
                      <a:pt x="303730" y="354809"/>
                    </a:lnTo>
                    <a:cubicBezTo>
                      <a:pt x="306746" y="354809"/>
                      <a:pt x="309761" y="355412"/>
                      <a:pt x="312536" y="356375"/>
                    </a:cubicBezTo>
                    <a:cubicBezTo>
                      <a:pt x="307590" y="371550"/>
                      <a:pt x="305781" y="388652"/>
                      <a:pt x="305057" y="408525"/>
                    </a:cubicBezTo>
                    <a:cubicBezTo>
                      <a:pt x="304574" y="408525"/>
                      <a:pt x="304092" y="408645"/>
                      <a:pt x="303730" y="408645"/>
                    </a:cubicBezTo>
                    <a:lnTo>
                      <a:pt x="164048" y="408645"/>
                    </a:lnTo>
                    <a:cubicBezTo>
                      <a:pt x="149211" y="408645"/>
                      <a:pt x="137149" y="396601"/>
                      <a:pt x="137149" y="381667"/>
                    </a:cubicBezTo>
                    <a:cubicBezTo>
                      <a:pt x="137149" y="366853"/>
                      <a:pt x="149211" y="354809"/>
                      <a:pt x="164048" y="354809"/>
                    </a:cubicBezTo>
                    <a:lnTo>
                      <a:pt x="195531" y="354809"/>
                    </a:lnTo>
                    <a:lnTo>
                      <a:pt x="195531" y="318799"/>
                    </a:lnTo>
                    <a:lnTo>
                      <a:pt x="39926" y="318799"/>
                    </a:lnTo>
                    <a:cubicBezTo>
                      <a:pt x="17852" y="318799"/>
                      <a:pt x="0" y="300974"/>
                      <a:pt x="0" y="278934"/>
                    </a:cubicBezTo>
                    <a:lnTo>
                      <a:pt x="0" y="39865"/>
                    </a:lnTo>
                    <a:cubicBezTo>
                      <a:pt x="0" y="17825"/>
                      <a:pt x="17852" y="0"/>
                      <a:pt x="39926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175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8" name="iS1iďê">
              <a:extLst>
                <a:ext uri="{FF2B5EF4-FFF2-40B4-BE49-F238E27FC236}">
                  <a16:creationId xmlns:a16="http://schemas.microsoft.com/office/drawing/2014/main" id="{F71784BE-1591-4F48-BDD6-1D22D409CF79}"/>
                </a:ext>
              </a:extLst>
            </p:cNvPr>
            <p:cNvSpPr txBox="1"/>
            <p:nvPr/>
          </p:nvSpPr>
          <p:spPr>
            <a:xfrm>
              <a:off x="660400" y="1130300"/>
              <a:ext cx="10858500" cy="91757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buSzPct val="25000"/>
              </a:pPr>
              <a:r>
                <a:rPr lang="zh-CN" altLang="en-US" sz="2800" b="1" dirty="0"/>
                <a:t>需求导向的自动化人员排班</a:t>
              </a:r>
              <a:endParaRPr lang="en-US" sz="2800" b="1" dirty="0"/>
            </a:p>
          </p:txBody>
        </p:sp>
        <p:sp>
          <p:nvSpPr>
            <p:cNvPr id="9" name="îṣlïdê">
              <a:extLst>
                <a:ext uri="{FF2B5EF4-FFF2-40B4-BE49-F238E27FC236}">
                  <a16:creationId xmlns:a16="http://schemas.microsoft.com/office/drawing/2014/main" id="{5B442BFD-625D-4358-9EB1-9FC021E283D5}"/>
                </a:ext>
              </a:extLst>
            </p:cNvPr>
            <p:cNvSpPr txBox="1"/>
            <p:nvPr/>
          </p:nvSpPr>
          <p:spPr>
            <a:xfrm>
              <a:off x="1423854" y="2376148"/>
              <a:ext cx="2894145" cy="1097986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50000"/>
                </a:lnSpc>
              </a:pPr>
              <a:r>
                <a:rPr lang="zh-CN" altLang="en-US" sz="1600" b="1" dirty="0"/>
                <a:t>简化排班：</a:t>
              </a:r>
              <a:r>
                <a:rPr lang="zh-CN" altLang="en-US" sz="1200" dirty="0"/>
                <a:t>为了简化排班大型门店通过简单大早晚班上一休一的方式去安排，</a:t>
              </a:r>
              <a:endParaRPr lang="en-US" altLang="zh-CN" sz="1200" dirty="0"/>
            </a:p>
            <a:p>
              <a:pPr algn="r">
                <a:lnSpc>
                  <a:spcPct val="150000"/>
                </a:lnSpc>
              </a:pPr>
              <a:r>
                <a:rPr lang="zh-CN" altLang="en-US" sz="1200" dirty="0"/>
                <a:t>有明显的人员浪费与不足</a:t>
              </a:r>
            </a:p>
          </p:txBody>
        </p:sp>
        <p:sp>
          <p:nvSpPr>
            <p:cNvPr id="10" name="iş1íďê">
              <a:extLst>
                <a:ext uri="{FF2B5EF4-FFF2-40B4-BE49-F238E27FC236}">
                  <a16:creationId xmlns:a16="http://schemas.microsoft.com/office/drawing/2014/main" id="{5B442BFD-625D-4358-9EB1-9FC021E283D5}"/>
                </a:ext>
              </a:extLst>
            </p:cNvPr>
            <p:cNvSpPr txBox="1"/>
            <p:nvPr/>
          </p:nvSpPr>
          <p:spPr>
            <a:xfrm>
              <a:off x="660400" y="3546056"/>
              <a:ext cx="3451167" cy="777830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50000"/>
                </a:lnSpc>
              </a:pPr>
              <a:r>
                <a:rPr lang="zh-CN" altLang="en-US" sz="1600" b="1" dirty="0"/>
                <a:t>人工细化排班：</a:t>
              </a:r>
              <a:r>
                <a:rPr lang="zh-CN" altLang="en-US" sz="1200" dirty="0"/>
                <a:t>会发现难以公平并且</a:t>
              </a:r>
              <a:endParaRPr lang="en-US" altLang="zh-CN" sz="1200" dirty="0"/>
            </a:p>
            <a:p>
              <a:pPr algn="r">
                <a:lnSpc>
                  <a:spcPct val="150000"/>
                </a:lnSpc>
              </a:pPr>
              <a:r>
                <a:rPr lang="zh-CN" altLang="en-US" sz="1200" dirty="0"/>
                <a:t>操作复杂效率低</a:t>
              </a:r>
            </a:p>
          </p:txBody>
        </p:sp>
        <p:cxnSp>
          <p:nvCxnSpPr>
            <p:cNvPr id="11" name="直接连接符 10">
              <a:extLst>
                <a:ext uri="{FF2B5EF4-FFF2-40B4-BE49-F238E27FC236}">
                  <a16:creationId xmlns:a16="http://schemas.microsoft.com/office/drawing/2014/main" id="{F23A03EC-3C38-466E-A915-3578B6A1320B}"/>
                </a:ext>
              </a:extLst>
            </p:cNvPr>
            <p:cNvCxnSpPr/>
            <p:nvPr/>
          </p:nvCxnSpPr>
          <p:spPr>
            <a:xfrm>
              <a:off x="660400" y="3450371"/>
              <a:ext cx="345440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íṣlidè">
              <a:extLst>
                <a:ext uri="{FF2B5EF4-FFF2-40B4-BE49-F238E27FC236}">
                  <a16:creationId xmlns:a16="http://schemas.microsoft.com/office/drawing/2014/main" id="{5B442BFD-625D-4358-9EB1-9FC021E283D5}"/>
                </a:ext>
              </a:extLst>
            </p:cNvPr>
            <p:cNvSpPr txBox="1"/>
            <p:nvPr/>
          </p:nvSpPr>
          <p:spPr>
            <a:xfrm>
              <a:off x="8064500" y="2576856"/>
              <a:ext cx="3451167" cy="777830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zh-CN" altLang="en-US" sz="1600" b="1" dirty="0"/>
                <a:t>数字化驱动：</a:t>
              </a:r>
              <a:r>
                <a:rPr lang="zh-CN" altLang="en-US" sz="1200" dirty="0"/>
                <a:t>挖掘日零售规律与周零售规律</a:t>
              </a:r>
              <a:endParaRPr lang="en-US" altLang="zh-CN" sz="1200" dirty="0"/>
            </a:p>
            <a:p>
              <a:pPr>
                <a:lnSpc>
                  <a:spcPct val="150000"/>
                </a:lnSpc>
              </a:pPr>
              <a:r>
                <a:rPr lang="zh-CN" altLang="en-US" sz="1200" dirty="0"/>
                <a:t>在结合门店最低人数要求等客观需求</a:t>
              </a:r>
            </a:p>
          </p:txBody>
        </p:sp>
        <p:sp>
          <p:nvSpPr>
            <p:cNvPr id="13" name="i$ľiḋe">
              <a:extLst>
                <a:ext uri="{FF2B5EF4-FFF2-40B4-BE49-F238E27FC236}">
                  <a16:creationId xmlns:a16="http://schemas.microsoft.com/office/drawing/2014/main" id="{5B442BFD-625D-4358-9EB1-9FC021E283D5}"/>
                </a:ext>
              </a:extLst>
            </p:cNvPr>
            <p:cNvSpPr txBox="1"/>
            <p:nvPr/>
          </p:nvSpPr>
          <p:spPr>
            <a:xfrm>
              <a:off x="8064500" y="3546056"/>
              <a:ext cx="3451167" cy="777830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zh-CN" altLang="en-US" sz="1600" b="1" dirty="0"/>
                <a:t>自动化排班：</a:t>
              </a:r>
              <a:r>
                <a:rPr lang="zh-CN" altLang="en-US" sz="1200" dirty="0"/>
                <a:t>自动化完成最佳的排班表，并且相对保证人员公平性</a:t>
              </a:r>
            </a:p>
          </p:txBody>
        </p:sp>
        <p:cxnSp>
          <p:nvCxnSpPr>
            <p:cNvPr id="14" name="直接连接符 13">
              <a:extLst>
                <a:ext uri="{FF2B5EF4-FFF2-40B4-BE49-F238E27FC236}">
                  <a16:creationId xmlns:a16="http://schemas.microsoft.com/office/drawing/2014/main" id="{1DAAC153-2DA7-4F30-9F92-547BCA476CC5}"/>
                </a:ext>
              </a:extLst>
            </p:cNvPr>
            <p:cNvCxnSpPr/>
            <p:nvPr/>
          </p:nvCxnSpPr>
          <p:spPr>
            <a:xfrm>
              <a:off x="8064500" y="3450371"/>
              <a:ext cx="345440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curve-arrow-pointing-left_21112">
            <a:extLst>
              <a:ext uri="{FF2B5EF4-FFF2-40B4-BE49-F238E27FC236}">
                <a16:creationId xmlns:a16="http://schemas.microsoft.com/office/drawing/2014/main" id="{2266D624-74F4-4380-A488-523ACC0D788E}"/>
              </a:ext>
            </a:extLst>
          </p:cNvPr>
          <p:cNvSpPr>
            <a:spLocks noChangeAspect="1"/>
          </p:cNvSpPr>
          <p:nvPr/>
        </p:nvSpPr>
        <p:spPr bwMode="auto">
          <a:xfrm rot="12600000">
            <a:off x="4540850" y="3021050"/>
            <a:ext cx="3465491" cy="2904609"/>
          </a:xfrm>
          <a:custGeom>
            <a:avLst/>
            <a:gdLst>
              <a:gd name="T0" fmla="*/ 237 w 810"/>
              <a:gd name="T1" fmla="*/ 533 h 680"/>
              <a:gd name="T2" fmla="*/ 237 w 810"/>
              <a:gd name="T3" fmla="*/ 680 h 680"/>
              <a:gd name="T4" fmla="*/ 0 w 810"/>
              <a:gd name="T5" fmla="*/ 443 h 680"/>
              <a:gd name="T6" fmla="*/ 237 w 810"/>
              <a:gd name="T7" fmla="*/ 206 h 680"/>
              <a:gd name="T8" fmla="*/ 237 w 810"/>
              <a:gd name="T9" fmla="*/ 355 h 680"/>
              <a:gd name="T10" fmla="*/ 797 w 810"/>
              <a:gd name="T11" fmla="*/ 0 h 680"/>
              <a:gd name="T12" fmla="*/ 810 w 810"/>
              <a:gd name="T13" fmla="*/ 89 h 680"/>
              <a:gd name="T14" fmla="*/ 237 w 810"/>
              <a:gd name="T15" fmla="*/ 533 h 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10" h="680">
                <a:moveTo>
                  <a:pt x="237" y="533"/>
                </a:moveTo>
                <a:lnTo>
                  <a:pt x="237" y="680"/>
                </a:lnTo>
                <a:lnTo>
                  <a:pt x="0" y="443"/>
                </a:lnTo>
                <a:lnTo>
                  <a:pt x="237" y="206"/>
                </a:lnTo>
                <a:lnTo>
                  <a:pt x="237" y="355"/>
                </a:lnTo>
                <a:cubicBezTo>
                  <a:pt x="516" y="334"/>
                  <a:pt x="742" y="188"/>
                  <a:pt x="797" y="0"/>
                </a:cubicBezTo>
                <a:cubicBezTo>
                  <a:pt x="805" y="28"/>
                  <a:pt x="810" y="58"/>
                  <a:pt x="810" y="89"/>
                </a:cubicBezTo>
                <a:cubicBezTo>
                  <a:pt x="810" y="319"/>
                  <a:pt x="559" y="509"/>
                  <a:pt x="237" y="533"/>
                </a:cubicBezTo>
                <a:close/>
              </a:path>
            </a:pathLst>
          </a:cu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27000">
                <a:schemeClr val="accent1">
                  <a:lumMod val="45000"/>
                  <a:lumOff val="55000"/>
                </a:schemeClr>
              </a:gs>
              <a:gs pos="70000">
                <a:schemeClr val="accent1">
                  <a:lumMod val="50000"/>
                </a:schemeClr>
              </a:gs>
              <a:gs pos="100000">
                <a:schemeClr val="accent1">
                  <a:lumMod val="50000"/>
                </a:schemeClr>
              </a:gs>
            </a:gsLst>
            <a:lin ang="10800000" scaled="1"/>
            <a:tileRect/>
          </a:gradFill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264307108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B78E19E3-4318-40C1-9A17-90225BC40B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0700417"/>
              </p:ext>
            </p:extLst>
          </p:nvPr>
        </p:nvGraphicFramePr>
        <p:xfrm>
          <a:off x="858520" y="2937844"/>
          <a:ext cx="10007600" cy="1573212"/>
        </p:xfrm>
        <a:graphic>
          <a:graphicData uri="http://schemas.openxmlformats.org/drawingml/2006/table">
            <a:tbl>
              <a:tblPr/>
              <a:tblGrid>
                <a:gridCol w="787400">
                  <a:extLst>
                    <a:ext uri="{9D8B030D-6E8A-4147-A177-3AD203B41FA5}">
                      <a16:colId xmlns:a16="http://schemas.microsoft.com/office/drawing/2014/main" val="4167654965"/>
                    </a:ext>
                  </a:extLst>
                </a:gridCol>
                <a:gridCol w="787400">
                  <a:extLst>
                    <a:ext uri="{9D8B030D-6E8A-4147-A177-3AD203B41FA5}">
                      <a16:colId xmlns:a16="http://schemas.microsoft.com/office/drawing/2014/main" val="2326763409"/>
                    </a:ext>
                  </a:extLst>
                </a:gridCol>
                <a:gridCol w="1054100">
                  <a:extLst>
                    <a:ext uri="{9D8B030D-6E8A-4147-A177-3AD203B41FA5}">
                      <a16:colId xmlns:a16="http://schemas.microsoft.com/office/drawing/2014/main" val="1827316323"/>
                    </a:ext>
                  </a:extLst>
                </a:gridCol>
                <a:gridCol w="1054100">
                  <a:extLst>
                    <a:ext uri="{9D8B030D-6E8A-4147-A177-3AD203B41FA5}">
                      <a16:colId xmlns:a16="http://schemas.microsoft.com/office/drawing/2014/main" val="2878463900"/>
                    </a:ext>
                  </a:extLst>
                </a:gridCol>
                <a:gridCol w="1054100">
                  <a:extLst>
                    <a:ext uri="{9D8B030D-6E8A-4147-A177-3AD203B41FA5}">
                      <a16:colId xmlns:a16="http://schemas.microsoft.com/office/drawing/2014/main" val="1057874653"/>
                    </a:ext>
                  </a:extLst>
                </a:gridCol>
                <a:gridCol w="1054100">
                  <a:extLst>
                    <a:ext uri="{9D8B030D-6E8A-4147-A177-3AD203B41FA5}">
                      <a16:colId xmlns:a16="http://schemas.microsoft.com/office/drawing/2014/main" val="2672287823"/>
                    </a:ext>
                  </a:extLst>
                </a:gridCol>
                <a:gridCol w="1054100">
                  <a:extLst>
                    <a:ext uri="{9D8B030D-6E8A-4147-A177-3AD203B41FA5}">
                      <a16:colId xmlns:a16="http://schemas.microsoft.com/office/drawing/2014/main" val="2136082409"/>
                    </a:ext>
                  </a:extLst>
                </a:gridCol>
                <a:gridCol w="1054100">
                  <a:extLst>
                    <a:ext uri="{9D8B030D-6E8A-4147-A177-3AD203B41FA5}">
                      <a16:colId xmlns:a16="http://schemas.microsoft.com/office/drawing/2014/main" val="3767503010"/>
                    </a:ext>
                  </a:extLst>
                </a:gridCol>
                <a:gridCol w="1054100">
                  <a:extLst>
                    <a:ext uri="{9D8B030D-6E8A-4147-A177-3AD203B41FA5}">
                      <a16:colId xmlns:a16="http://schemas.microsoft.com/office/drawing/2014/main" val="746251493"/>
                    </a:ext>
                  </a:extLst>
                </a:gridCol>
                <a:gridCol w="1054100">
                  <a:extLst>
                    <a:ext uri="{9D8B030D-6E8A-4147-A177-3AD203B41FA5}">
                      <a16:colId xmlns:a16="http://schemas.microsoft.com/office/drawing/2014/main" val="2983709462"/>
                    </a:ext>
                  </a:extLst>
                </a:gridCol>
              </a:tblGrid>
              <a:tr h="39330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班次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工作日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0" i="0" u="none" strike="noStrike">
                          <a:solidFill>
                            <a:schemeClr val="bg1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周末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0" i="0" u="none" strike="noStrike">
                          <a:solidFill>
                            <a:schemeClr val="bg1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星期一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0" i="0" u="none" strike="noStrike">
                          <a:solidFill>
                            <a:schemeClr val="bg1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星期二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0" i="0" u="none" strike="noStrike">
                          <a:solidFill>
                            <a:schemeClr val="bg1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星期三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星期四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0" i="0" u="none" strike="noStrike">
                          <a:solidFill>
                            <a:schemeClr val="bg1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星期五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0" i="0" u="none" strike="noStrike">
                          <a:solidFill>
                            <a:schemeClr val="bg1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星期六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星期日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3617131"/>
                  </a:ext>
                </a:extLst>
              </a:tr>
              <a:tr h="39330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早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09:00-16:0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09:00-16:0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2447132"/>
                  </a:ext>
                </a:extLst>
              </a:tr>
              <a:tr h="39330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中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4:00-21:0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3:00-20:0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87957307"/>
                  </a:ext>
                </a:extLst>
              </a:tr>
              <a:tr h="39330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晚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6:00-23:0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6:00-23:0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等线" panose="02010600030101010101" pitchFamily="2" charset="-122"/>
                          <a:ea typeface="等线" panose="02010600030101010101" pitchFamily="2" charset="-122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1258343"/>
                  </a:ext>
                </a:extLst>
              </a:tr>
            </a:tbl>
          </a:graphicData>
        </a:graphic>
      </p:graphicFrame>
      <p:sp>
        <p:nvSpPr>
          <p:cNvPr id="5" name="文本框 4">
            <a:extLst>
              <a:ext uri="{FF2B5EF4-FFF2-40B4-BE49-F238E27FC236}">
                <a16:creationId xmlns:a16="http://schemas.microsoft.com/office/drawing/2014/main" id="{90FD55D7-3CB3-4ACA-A7FC-98A7C30F3BF8}"/>
              </a:ext>
            </a:extLst>
          </p:cNvPr>
          <p:cNvSpPr txBox="1"/>
          <p:nvPr/>
        </p:nvSpPr>
        <p:spPr>
          <a:xfrm>
            <a:off x="858520" y="1130300"/>
            <a:ext cx="6116320" cy="8739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/>
              <a:t>根据零售规律，优化排班安排</a:t>
            </a:r>
            <a:endParaRPr lang="en-US" altLang="zh-CN" dirty="0"/>
          </a:p>
          <a:p>
            <a:pPr>
              <a:lnSpc>
                <a:spcPct val="150000"/>
              </a:lnSpc>
            </a:pPr>
            <a:r>
              <a:rPr lang="zh-CN" altLang="en-US" dirty="0"/>
              <a:t>具体告诉你每个班次最佳人数安排。</a:t>
            </a:r>
            <a:endParaRPr lang="en-US" altLang="zh-CN" dirty="0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E625AAEA-F0C0-4FDA-9A0A-5909C8A1A0E5}"/>
              </a:ext>
            </a:extLst>
          </p:cNvPr>
          <p:cNvSpPr txBox="1"/>
          <p:nvPr/>
        </p:nvSpPr>
        <p:spPr>
          <a:xfrm>
            <a:off x="858520" y="2476180"/>
            <a:ext cx="6116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模型自动测算输出：</a:t>
            </a:r>
          </a:p>
        </p:txBody>
      </p:sp>
      <p:sp>
        <p:nvSpPr>
          <p:cNvPr id="7" name="标题 1">
            <a:extLst>
              <a:ext uri="{FF2B5EF4-FFF2-40B4-BE49-F238E27FC236}">
                <a16:creationId xmlns:a16="http://schemas.microsoft.com/office/drawing/2014/main" id="{7E910594-E7FD-483A-8405-66CF456FA6FE}"/>
              </a:ext>
            </a:extLst>
          </p:cNvPr>
          <p:cNvSpPr txBox="1">
            <a:spLocks/>
          </p:cNvSpPr>
          <p:nvPr/>
        </p:nvSpPr>
        <p:spPr>
          <a:xfrm>
            <a:off x="858520" y="780548"/>
            <a:ext cx="10850563" cy="514839"/>
          </a:xfrm>
          <a:prstGeom prst="rect">
            <a:avLst/>
          </a:prstGeom>
        </p:spPr>
        <p:txBody>
          <a:bodyPr/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模型输出：人数安排</a:t>
            </a:r>
          </a:p>
        </p:txBody>
      </p:sp>
    </p:spTree>
    <p:extLst>
      <p:ext uri="{BB962C8B-B14F-4D97-AF65-F5344CB8AC3E}">
        <p14:creationId xmlns:p14="http://schemas.microsoft.com/office/powerpoint/2010/main" val="318685798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3105EBD-969F-4CA3-B0DB-3AC1A73D8B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1</a:t>
            </a:fld>
            <a:endParaRPr lang="zh-CN" altLang="en-US"/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4B7871D2-6154-49A5-9FFB-7DFD6FC08EDB}"/>
              </a:ext>
            </a:extLst>
          </p:cNvPr>
          <p:cNvSpPr txBox="1"/>
          <p:nvPr/>
        </p:nvSpPr>
        <p:spPr>
          <a:xfrm>
            <a:off x="1057397" y="5993918"/>
            <a:ext cx="93526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提取人员名单                                                        自动计算人员安排表                                   </a:t>
            </a:r>
          </a:p>
        </p:txBody>
      </p:sp>
      <p:sp>
        <p:nvSpPr>
          <p:cNvPr id="11" name="right-thin-arrowheads_32738">
            <a:extLst>
              <a:ext uri="{FF2B5EF4-FFF2-40B4-BE49-F238E27FC236}">
                <a16:creationId xmlns:a16="http://schemas.microsoft.com/office/drawing/2014/main" id="{430EE091-1F77-49D6-AC22-89AAF92B7FFB}"/>
              </a:ext>
            </a:extLst>
          </p:cNvPr>
          <p:cNvSpPr>
            <a:spLocks noChangeAspect="1"/>
          </p:cNvSpPr>
          <p:nvPr/>
        </p:nvSpPr>
        <p:spPr bwMode="auto">
          <a:xfrm>
            <a:off x="2493251" y="3247508"/>
            <a:ext cx="529598" cy="529353"/>
          </a:xfrm>
          <a:custGeom>
            <a:avLst/>
            <a:gdLst>
              <a:gd name="T0" fmla="*/ 5083 w 6101"/>
              <a:gd name="T1" fmla="*/ 3053 h 6107"/>
              <a:gd name="T2" fmla="*/ 2791 w 6101"/>
              <a:gd name="T3" fmla="*/ 761 h 6107"/>
              <a:gd name="T4" fmla="*/ 2791 w 6101"/>
              <a:gd name="T5" fmla="*/ 164 h 6107"/>
              <a:gd name="T6" fmla="*/ 3387 w 6101"/>
              <a:gd name="T7" fmla="*/ 164 h 6107"/>
              <a:gd name="T8" fmla="*/ 5978 w 6101"/>
              <a:gd name="T9" fmla="*/ 2755 h 6107"/>
              <a:gd name="T10" fmla="*/ 6101 w 6101"/>
              <a:gd name="T11" fmla="*/ 3053 h 6107"/>
              <a:gd name="T12" fmla="*/ 5978 w 6101"/>
              <a:gd name="T13" fmla="*/ 3351 h 6107"/>
              <a:gd name="T14" fmla="*/ 3387 w 6101"/>
              <a:gd name="T15" fmla="*/ 5942 h 6107"/>
              <a:gd name="T16" fmla="*/ 2791 w 6101"/>
              <a:gd name="T17" fmla="*/ 5942 h 6107"/>
              <a:gd name="T18" fmla="*/ 2791 w 6101"/>
              <a:gd name="T19" fmla="*/ 5345 h 6107"/>
              <a:gd name="T20" fmla="*/ 5083 w 6101"/>
              <a:gd name="T21" fmla="*/ 3053 h 6107"/>
              <a:gd name="T22" fmla="*/ 165 w 6101"/>
              <a:gd name="T23" fmla="*/ 5345 h 6107"/>
              <a:gd name="T24" fmla="*/ 165 w 6101"/>
              <a:gd name="T25" fmla="*/ 5942 h 6107"/>
              <a:gd name="T26" fmla="*/ 761 w 6101"/>
              <a:gd name="T27" fmla="*/ 5942 h 6107"/>
              <a:gd name="T28" fmla="*/ 3352 w 6101"/>
              <a:gd name="T29" fmla="*/ 3351 h 6107"/>
              <a:gd name="T30" fmla="*/ 3475 w 6101"/>
              <a:gd name="T31" fmla="*/ 3053 h 6107"/>
              <a:gd name="T32" fmla="*/ 3352 w 6101"/>
              <a:gd name="T33" fmla="*/ 2755 h 6107"/>
              <a:gd name="T34" fmla="*/ 761 w 6101"/>
              <a:gd name="T35" fmla="*/ 164 h 6107"/>
              <a:gd name="T36" fmla="*/ 165 w 6101"/>
              <a:gd name="T37" fmla="*/ 164 h 6107"/>
              <a:gd name="T38" fmla="*/ 165 w 6101"/>
              <a:gd name="T39" fmla="*/ 761 h 6107"/>
              <a:gd name="T40" fmla="*/ 2457 w 6101"/>
              <a:gd name="T41" fmla="*/ 3053 h 6107"/>
              <a:gd name="T42" fmla="*/ 165 w 6101"/>
              <a:gd name="T43" fmla="*/ 5345 h 6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6101" h="6107">
                <a:moveTo>
                  <a:pt x="5083" y="3053"/>
                </a:moveTo>
                <a:lnTo>
                  <a:pt x="2791" y="761"/>
                </a:lnTo>
                <a:cubicBezTo>
                  <a:pt x="2626" y="596"/>
                  <a:pt x="2626" y="329"/>
                  <a:pt x="2791" y="164"/>
                </a:cubicBezTo>
                <a:cubicBezTo>
                  <a:pt x="2955" y="0"/>
                  <a:pt x="3222" y="0"/>
                  <a:pt x="3387" y="164"/>
                </a:cubicBezTo>
                <a:lnTo>
                  <a:pt x="5978" y="2755"/>
                </a:lnTo>
                <a:cubicBezTo>
                  <a:pt x="6060" y="2837"/>
                  <a:pt x="6101" y="2945"/>
                  <a:pt x="6101" y="3053"/>
                </a:cubicBezTo>
                <a:cubicBezTo>
                  <a:pt x="6101" y="3161"/>
                  <a:pt x="6060" y="3269"/>
                  <a:pt x="5978" y="3351"/>
                </a:cubicBezTo>
                <a:lnTo>
                  <a:pt x="3387" y="5942"/>
                </a:lnTo>
                <a:cubicBezTo>
                  <a:pt x="3222" y="6107"/>
                  <a:pt x="2955" y="6107"/>
                  <a:pt x="2791" y="5942"/>
                </a:cubicBezTo>
                <a:cubicBezTo>
                  <a:pt x="2626" y="5777"/>
                  <a:pt x="2626" y="5510"/>
                  <a:pt x="2791" y="5345"/>
                </a:cubicBezTo>
                <a:lnTo>
                  <a:pt x="5083" y="3053"/>
                </a:lnTo>
                <a:close/>
                <a:moveTo>
                  <a:pt x="165" y="5345"/>
                </a:moveTo>
                <a:cubicBezTo>
                  <a:pt x="0" y="5510"/>
                  <a:pt x="0" y="5777"/>
                  <a:pt x="165" y="5942"/>
                </a:cubicBezTo>
                <a:cubicBezTo>
                  <a:pt x="329" y="6107"/>
                  <a:pt x="596" y="6107"/>
                  <a:pt x="761" y="5942"/>
                </a:cubicBezTo>
                <a:lnTo>
                  <a:pt x="3352" y="3351"/>
                </a:lnTo>
                <a:cubicBezTo>
                  <a:pt x="3434" y="3269"/>
                  <a:pt x="3475" y="3161"/>
                  <a:pt x="3475" y="3053"/>
                </a:cubicBezTo>
                <a:cubicBezTo>
                  <a:pt x="3475" y="2945"/>
                  <a:pt x="3434" y="2837"/>
                  <a:pt x="3352" y="2755"/>
                </a:cubicBezTo>
                <a:lnTo>
                  <a:pt x="761" y="164"/>
                </a:lnTo>
                <a:cubicBezTo>
                  <a:pt x="596" y="0"/>
                  <a:pt x="329" y="0"/>
                  <a:pt x="165" y="164"/>
                </a:cubicBezTo>
                <a:cubicBezTo>
                  <a:pt x="0" y="329"/>
                  <a:pt x="0" y="596"/>
                  <a:pt x="165" y="761"/>
                </a:cubicBezTo>
                <a:lnTo>
                  <a:pt x="2457" y="3053"/>
                </a:lnTo>
                <a:lnTo>
                  <a:pt x="165" y="534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4" name="标题 1">
            <a:extLst>
              <a:ext uri="{FF2B5EF4-FFF2-40B4-BE49-F238E27FC236}">
                <a16:creationId xmlns:a16="http://schemas.microsoft.com/office/drawing/2014/main" id="{2793002E-D7EF-4C94-A908-951459D92670}"/>
              </a:ext>
            </a:extLst>
          </p:cNvPr>
          <p:cNvSpPr txBox="1">
            <a:spLocks/>
          </p:cNvSpPr>
          <p:nvPr/>
        </p:nvSpPr>
        <p:spPr>
          <a:xfrm>
            <a:off x="832143" y="579393"/>
            <a:ext cx="10850563" cy="514839"/>
          </a:xfrm>
          <a:prstGeom prst="rect">
            <a:avLst/>
          </a:prstGeom>
        </p:spPr>
        <p:txBody>
          <a:bodyPr/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模型输出：人员安排</a:t>
            </a: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1FF4F69C-1261-4127-A111-FFC200FA7D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85493" y="1215643"/>
            <a:ext cx="7798478" cy="4601169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31F26111-8107-4410-BB50-6DDC995FBA9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86753"/>
          <a:stretch/>
        </p:blipFill>
        <p:spPr>
          <a:xfrm>
            <a:off x="1297566" y="1271338"/>
            <a:ext cx="1033041" cy="4601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90236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97068BE-8D24-4F50-88E2-B326763E64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模型优势与未来优化建议：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BC9970B-7ECE-4957-BABB-E252D32CC7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2</a:t>
            </a:fld>
            <a:endParaRPr lang="zh-CN" altLang="en-US"/>
          </a:p>
        </p:txBody>
      </p:sp>
      <p:grpSp>
        <p:nvGrpSpPr>
          <p:cNvPr id="5" name="27073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B881D55A-AE45-43E5-B7EF-9B2ED7CBFD31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1136635" y="1311443"/>
            <a:ext cx="9906030" cy="4920028"/>
            <a:chOff x="1136635" y="1311443"/>
            <a:chExt cx="9906030" cy="4920028"/>
          </a:xfrm>
        </p:grpSpPr>
        <p:grpSp>
          <p:nvGrpSpPr>
            <p:cNvPr id="37" name="ïṣlíḓê">
              <a:extLst>
                <a:ext uri="{FF2B5EF4-FFF2-40B4-BE49-F238E27FC236}">
                  <a16:creationId xmlns:a16="http://schemas.microsoft.com/office/drawing/2014/main" id="{6F07155A-0FA2-4DC9-A392-BC588C013FAB}"/>
                </a:ext>
              </a:extLst>
            </p:cNvPr>
            <p:cNvGrpSpPr/>
            <p:nvPr/>
          </p:nvGrpSpPr>
          <p:grpSpPr>
            <a:xfrm>
              <a:off x="5952277" y="1311443"/>
              <a:ext cx="2127853" cy="1016934"/>
              <a:chOff x="1556065" y="5117165"/>
              <a:chExt cx="2300542" cy="1016934"/>
            </a:xfrm>
          </p:grpSpPr>
          <p:sp>
            <p:nvSpPr>
              <p:cNvPr id="38" name="íSḻïḍé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1556065" y="5509002"/>
                <a:ext cx="2300542" cy="62509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 fontScale="850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zh-CN" altLang="en-US" sz="1400" dirty="0"/>
                  <a:t>让人员与需求匹配</a:t>
                </a:r>
                <a:endParaRPr lang="en-US" altLang="zh-CN" sz="1400" dirty="0"/>
              </a:p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zh-CN" altLang="en-US" sz="1700" dirty="0"/>
                  <a:t>周人员效能提升</a:t>
                </a:r>
                <a:r>
                  <a:rPr lang="en-US" altLang="zh-CN" sz="1700" b="1" dirty="0"/>
                  <a:t>54%</a:t>
                </a:r>
              </a:p>
            </p:txBody>
          </p:sp>
          <p:sp>
            <p:nvSpPr>
              <p:cNvPr id="39" name="íṧ1íḍè">
                <a:extLst>
                  <a:ext uri="{FF2B5EF4-FFF2-40B4-BE49-F238E27FC236}">
                    <a16:creationId xmlns:a16="http://schemas.microsoft.com/office/drawing/2014/main" id="{1DDECAA4-51CD-4356-86FF-727046FFDBCF}"/>
                  </a:ext>
                </a:extLst>
              </p:cNvPr>
              <p:cNvSpPr/>
              <p:nvPr/>
            </p:nvSpPr>
            <p:spPr>
              <a:xfrm>
                <a:off x="1556066" y="5117165"/>
                <a:ext cx="1662263" cy="391835"/>
              </a:xfrm>
              <a:prstGeom prst="rect">
                <a:avLst/>
              </a:prstGeom>
              <a:noFill/>
              <a:ln w="3175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r>
                  <a:rPr lang="zh-CN" altLang="en-US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</a:rPr>
                  <a:t>数据驱动</a:t>
                </a:r>
                <a:endParaRPr lang="id-ID" altLang="zh-CN" b="1" dirty="0">
                  <a:solidFill>
                    <a:schemeClr val="tx1">
                      <a:lumMod val="95000"/>
                      <a:lumOff val="5000"/>
                    </a:schemeClr>
                  </a:solidFill>
                </a:endParaRPr>
              </a:p>
            </p:txBody>
          </p:sp>
        </p:grpSp>
        <p:grpSp>
          <p:nvGrpSpPr>
            <p:cNvPr id="7" name="iŝļîďê">
              <a:extLst>
                <a:ext uri="{FF2B5EF4-FFF2-40B4-BE49-F238E27FC236}">
                  <a16:creationId xmlns:a16="http://schemas.microsoft.com/office/drawing/2014/main" id="{DBD8F08D-EBA0-4D07-A608-B96D8F8543A6}"/>
                </a:ext>
              </a:extLst>
            </p:cNvPr>
            <p:cNvGrpSpPr/>
            <p:nvPr/>
          </p:nvGrpSpPr>
          <p:grpSpPr>
            <a:xfrm>
              <a:off x="2124250" y="4896171"/>
              <a:ext cx="7921564" cy="1335300"/>
              <a:chOff x="2124250" y="4781326"/>
              <a:chExt cx="7921564" cy="1335300"/>
            </a:xfrm>
          </p:grpSpPr>
          <p:grpSp>
            <p:nvGrpSpPr>
              <p:cNvPr id="33" name="ï$lîḋè">
                <a:extLst>
                  <a:ext uri="{FF2B5EF4-FFF2-40B4-BE49-F238E27FC236}">
                    <a16:creationId xmlns:a16="http://schemas.microsoft.com/office/drawing/2014/main" id="{38814CC3-C04C-48E6-8285-3D46D585F5B6}"/>
                  </a:ext>
                </a:extLst>
              </p:cNvPr>
              <p:cNvGrpSpPr/>
              <p:nvPr/>
            </p:nvGrpSpPr>
            <p:grpSpPr>
              <a:xfrm>
                <a:off x="2124250" y="4781326"/>
                <a:ext cx="1724297" cy="1335300"/>
                <a:chOff x="1352976" y="5077314"/>
                <a:chExt cx="1864235" cy="1335300"/>
              </a:xfrm>
            </p:grpSpPr>
            <p:sp>
              <p:nvSpPr>
                <p:cNvPr id="34" name="iś1îḋé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1352976" y="5507426"/>
                  <a:ext cx="1864235" cy="905188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zh-CN" altLang="en-US" sz="1100" dirty="0"/>
                    <a:t>数据自动计算工作日人员数量安排，以及周末最佳人数安排</a:t>
                  </a:r>
                  <a:endParaRPr lang="en-US" altLang="zh-CN" sz="1100" dirty="0"/>
                </a:p>
              </p:txBody>
            </p:sp>
            <p:sp>
              <p:nvSpPr>
                <p:cNvPr id="35" name="ïś1ïḓe">
                  <a:extLst>
                    <a:ext uri="{FF2B5EF4-FFF2-40B4-BE49-F238E27FC236}">
                      <a16:creationId xmlns:a16="http://schemas.microsoft.com/office/drawing/2014/main" id="{AF664759-9F17-4B64-9831-3A659B58E2C1}"/>
                    </a:ext>
                  </a:extLst>
                </p:cNvPr>
                <p:cNvSpPr/>
                <p:nvPr/>
              </p:nvSpPr>
              <p:spPr>
                <a:xfrm>
                  <a:off x="1406584" y="5077314"/>
                  <a:ext cx="1662263" cy="391835"/>
                </a:xfrm>
                <a:prstGeom prst="rect">
                  <a:avLst/>
                </a:prstGeom>
                <a:noFill/>
                <a:ln w="3175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 fontScale="925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r>
                    <a:rPr lang="zh-CN" altLang="en-US" sz="1600" b="1" dirty="0">
                      <a:solidFill>
                        <a:schemeClr val="tx1"/>
                      </a:solidFill>
                    </a:rPr>
                    <a:t>最佳日人数安排</a:t>
                  </a:r>
                  <a:endParaRPr lang="id-ID" altLang="zh-CN" sz="1600" b="1" dirty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29" name="ïṡľîde">
                <a:extLst>
                  <a:ext uri="{FF2B5EF4-FFF2-40B4-BE49-F238E27FC236}">
                    <a16:creationId xmlns:a16="http://schemas.microsoft.com/office/drawing/2014/main" id="{62480892-1D47-4327-AFEC-6D26ADAFD31D}"/>
                  </a:ext>
                </a:extLst>
              </p:cNvPr>
              <p:cNvGrpSpPr/>
              <p:nvPr/>
            </p:nvGrpSpPr>
            <p:grpSpPr>
              <a:xfrm>
                <a:off x="5238624" y="4820513"/>
                <a:ext cx="1541796" cy="1155034"/>
                <a:chOff x="784494" y="5116501"/>
                <a:chExt cx="1666923" cy="1155034"/>
              </a:xfrm>
            </p:grpSpPr>
            <p:sp>
              <p:nvSpPr>
                <p:cNvPr id="30" name="îṥ1iďè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789154" y="5490096"/>
                  <a:ext cx="1662263" cy="781439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 lnSpcReduction="1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50000"/>
                    </a:lnSpc>
                  </a:pPr>
                  <a:r>
                    <a:rPr lang="zh-CN" altLang="en-US" sz="1100" dirty="0"/>
                    <a:t>根据人员最佳工作时间段，优化人员具体班次安排</a:t>
                  </a:r>
                  <a:endParaRPr lang="en-US" altLang="zh-CN" sz="1100" dirty="0"/>
                </a:p>
              </p:txBody>
            </p:sp>
            <p:sp>
              <p:nvSpPr>
                <p:cNvPr id="31" name="iṧlîdè">
                  <a:extLst>
                    <a:ext uri="{FF2B5EF4-FFF2-40B4-BE49-F238E27FC236}">
                      <a16:creationId xmlns:a16="http://schemas.microsoft.com/office/drawing/2014/main" id="{9B3A4C33-6B37-40E1-9162-E31E76A953BF}"/>
                    </a:ext>
                  </a:extLst>
                </p:cNvPr>
                <p:cNvSpPr/>
                <p:nvPr/>
              </p:nvSpPr>
              <p:spPr>
                <a:xfrm>
                  <a:off x="784494" y="5116501"/>
                  <a:ext cx="1662263" cy="391835"/>
                </a:xfrm>
                <a:prstGeom prst="rect">
                  <a:avLst/>
                </a:prstGeom>
                <a:noFill/>
                <a:ln w="3175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r>
                    <a:rPr lang="zh-CN" altLang="en-US" sz="1600" b="1" dirty="0">
                      <a:solidFill>
                        <a:schemeClr val="tx1"/>
                      </a:solidFill>
                    </a:rPr>
                    <a:t>最佳人员班次</a:t>
                  </a:r>
                  <a:endParaRPr lang="id-ID" altLang="zh-CN" sz="1600" b="1" dirty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25" name="ïŝ1iḓê">
                <a:extLst>
                  <a:ext uri="{FF2B5EF4-FFF2-40B4-BE49-F238E27FC236}">
                    <a16:creationId xmlns:a16="http://schemas.microsoft.com/office/drawing/2014/main" id="{C7132B08-0591-4643-A0DC-B4A8167AD1A2}"/>
                  </a:ext>
                </a:extLst>
              </p:cNvPr>
              <p:cNvGrpSpPr/>
              <p:nvPr/>
            </p:nvGrpSpPr>
            <p:grpSpPr>
              <a:xfrm>
                <a:off x="8490173" y="4805826"/>
                <a:ext cx="1555641" cy="1169721"/>
                <a:chOff x="364321" y="5101814"/>
                <a:chExt cx="1681891" cy="1169721"/>
              </a:xfrm>
            </p:grpSpPr>
            <p:sp>
              <p:nvSpPr>
                <p:cNvPr id="26" name="íṧḷiďe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383949" y="5490096"/>
                  <a:ext cx="1662263" cy="781439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 lnSpcReduction="1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50000"/>
                    </a:lnSpc>
                  </a:pPr>
                  <a:r>
                    <a:rPr lang="zh-CN" altLang="en-US" sz="1100" dirty="0"/>
                    <a:t>差异化且公平的给与最佳激励方案与绩效评定</a:t>
                  </a:r>
                </a:p>
              </p:txBody>
            </p:sp>
            <p:sp>
              <p:nvSpPr>
                <p:cNvPr id="27" name="îṡḻiďê">
                  <a:extLst>
                    <a:ext uri="{FF2B5EF4-FFF2-40B4-BE49-F238E27FC236}">
                      <a16:creationId xmlns:a16="http://schemas.microsoft.com/office/drawing/2014/main" id="{600048F8-B8EE-4701-B7B1-68FE6F1B0C4A}"/>
                    </a:ext>
                  </a:extLst>
                </p:cNvPr>
                <p:cNvSpPr/>
                <p:nvPr/>
              </p:nvSpPr>
              <p:spPr>
                <a:xfrm>
                  <a:off x="364321" y="5101814"/>
                  <a:ext cx="1662263" cy="391835"/>
                </a:xfrm>
                <a:prstGeom prst="rect">
                  <a:avLst/>
                </a:prstGeom>
                <a:noFill/>
                <a:ln w="3175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r>
                    <a:rPr lang="zh-CN" altLang="en-US" sz="1600" b="1" dirty="0">
                      <a:solidFill>
                        <a:schemeClr val="tx1"/>
                      </a:solidFill>
                    </a:rPr>
                    <a:t>最佳激励方案</a:t>
                  </a:r>
                  <a:endParaRPr lang="id-ID" altLang="zh-CN" sz="1600" b="1" dirty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8" name="íṧḷîḓè">
              <a:extLst>
                <a:ext uri="{FF2B5EF4-FFF2-40B4-BE49-F238E27FC236}">
                  <a16:creationId xmlns:a16="http://schemas.microsoft.com/office/drawing/2014/main" id="{9A7D1320-951C-4203-BC6C-3FACE8DD40EB}"/>
                </a:ext>
              </a:extLst>
            </p:cNvPr>
            <p:cNvGrpSpPr/>
            <p:nvPr/>
          </p:nvGrpSpPr>
          <p:grpSpPr>
            <a:xfrm>
              <a:off x="4036392" y="3123732"/>
              <a:ext cx="5369258" cy="1087783"/>
              <a:chOff x="4036392" y="2380963"/>
              <a:chExt cx="5369258" cy="1087783"/>
            </a:xfrm>
          </p:grpSpPr>
          <p:grpSp>
            <p:nvGrpSpPr>
              <p:cNvPr id="18" name="ïŝliďé">
                <a:extLst>
                  <a:ext uri="{FF2B5EF4-FFF2-40B4-BE49-F238E27FC236}">
                    <a16:creationId xmlns:a16="http://schemas.microsoft.com/office/drawing/2014/main" id="{FAD88C22-2A3A-4AE1-8F69-87AD98942DED}"/>
                  </a:ext>
                </a:extLst>
              </p:cNvPr>
              <p:cNvGrpSpPr/>
              <p:nvPr/>
            </p:nvGrpSpPr>
            <p:grpSpPr>
              <a:xfrm>
                <a:off x="4036392" y="2380963"/>
                <a:ext cx="1792908" cy="1087783"/>
                <a:chOff x="1556066" y="5117165"/>
                <a:chExt cx="1938414" cy="1087783"/>
              </a:xfrm>
            </p:grpSpPr>
            <p:sp>
              <p:nvSpPr>
                <p:cNvPr id="19" name="işlîḍè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1556066" y="5509002"/>
                  <a:ext cx="1938414" cy="695946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zh-CN" altLang="en-US" sz="1300" dirty="0"/>
                    <a:t>自动化完成人员安排</a:t>
                  </a:r>
                  <a:endParaRPr lang="en-US" altLang="zh-CN" sz="1300" dirty="0"/>
                </a:p>
                <a:p>
                  <a:pPr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zh-CN" altLang="en-US" sz="1300" dirty="0"/>
                    <a:t>简化工作</a:t>
                  </a:r>
                  <a:endParaRPr lang="en-US" altLang="zh-CN" sz="1300" dirty="0"/>
                </a:p>
              </p:txBody>
            </p:sp>
            <p:sp>
              <p:nvSpPr>
                <p:cNvPr id="20" name="í$1ïḓe">
                  <a:extLst>
                    <a:ext uri="{FF2B5EF4-FFF2-40B4-BE49-F238E27FC236}">
                      <a16:creationId xmlns:a16="http://schemas.microsoft.com/office/drawing/2014/main" id="{51491ED2-1528-4B8F-926B-E274AACF52BC}"/>
                    </a:ext>
                  </a:extLst>
                </p:cNvPr>
                <p:cNvSpPr/>
                <p:nvPr/>
              </p:nvSpPr>
              <p:spPr>
                <a:xfrm>
                  <a:off x="1556066" y="5117165"/>
                  <a:ext cx="1662263" cy="391835"/>
                </a:xfrm>
                <a:prstGeom prst="rect">
                  <a:avLst/>
                </a:prstGeom>
                <a:noFill/>
                <a:ln w="3175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r>
                    <a:rPr lang="zh-CN" altLang="en-US" b="1" dirty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</a:rPr>
                    <a:t>简化工作</a:t>
                  </a:r>
                  <a:endParaRPr lang="id-ID" altLang="zh-CN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</a:endParaRPr>
                </a:p>
              </p:txBody>
            </p:sp>
          </p:grpSp>
          <p:grpSp>
            <p:nvGrpSpPr>
              <p:cNvPr id="14" name="isľíḓé">
                <a:extLst>
                  <a:ext uri="{FF2B5EF4-FFF2-40B4-BE49-F238E27FC236}">
                    <a16:creationId xmlns:a16="http://schemas.microsoft.com/office/drawing/2014/main" id="{6CF00B09-0185-4D4D-A099-873DDA1864F8}"/>
                  </a:ext>
                </a:extLst>
              </p:cNvPr>
              <p:cNvGrpSpPr/>
              <p:nvPr/>
            </p:nvGrpSpPr>
            <p:grpSpPr>
              <a:xfrm>
                <a:off x="7868164" y="2380963"/>
                <a:ext cx="1537486" cy="1016934"/>
                <a:chOff x="1556066" y="5117165"/>
                <a:chExt cx="1662263" cy="1016934"/>
              </a:xfrm>
            </p:grpSpPr>
            <p:sp>
              <p:nvSpPr>
                <p:cNvPr id="15" name="iṩļïḑé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1556066" y="5509002"/>
                  <a:ext cx="1662263" cy="625097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 fontScale="92500" lnSpcReduction="1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zh-CN" altLang="en-US" sz="1400" dirty="0"/>
                    <a:t>预测人员业绩权重</a:t>
                  </a:r>
                  <a:endParaRPr lang="en-US" altLang="zh-CN" sz="1400" dirty="0"/>
                </a:p>
                <a:p>
                  <a:pPr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zh-CN" altLang="en-US" sz="1400" dirty="0"/>
                    <a:t>挖掘优秀员工</a:t>
                  </a:r>
                  <a:endParaRPr lang="en-US" altLang="zh-CN" sz="1400" dirty="0"/>
                </a:p>
              </p:txBody>
            </p:sp>
            <p:sp>
              <p:nvSpPr>
                <p:cNvPr id="16" name="ísḻíḋê">
                  <a:extLst>
                    <a:ext uri="{FF2B5EF4-FFF2-40B4-BE49-F238E27FC236}">
                      <a16:creationId xmlns:a16="http://schemas.microsoft.com/office/drawing/2014/main" id="{BB50973F-94DD-4F6C-8B52-7FED90741463}"/>
                    </a:ext>
                  </a:extLst>
                </p:cNvPr>
                <p:cNvSpPr/>
                <p:nvPr/>
              </p:nvSpPr>
              <p:spPr>
                <a:xfrm>
                  <a:off x="1556066" y="5117165"/>
                  <a:ext cx="1662263" cy="514930"/>
                </a:xfrm>
                <a:prstGeom prst="rect">
                  <a:avLst/>
                </a:prstGeom>
                <a:noFill/>
                <a:ln w="3175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r>
                    <a:rPr lang="zh-CN" altLang="en-US" b="1" dirty="0">
                      <a:solidFill>
                        <a:schemeClr val="tx1"/>
                      </a:solidFill>
                    </a:rPr>
                    <a:t>挖掘人员</a:t>
                  </a:r>
                  <a:endParaRPr lang="id-ID" altLang="zh-CN" b="1" dirty="0">
                    <a:solidFill>
                      <a:schemeClr val="tx1"/>
                    </a:solidFill>
                  </a:endParaRPr>
                </a:p>
              </p:txBody>
            </p:sp>
          </p:grpSp>
        </p:grpSp>
        <p:cxnSp>
          <p:nvCxnSpPr>
            <p:cNvPr id="9" name="直接连接符 8">
              <a:extLst>
                <a:ext uri="{FF2B5EF4-FFF2-40B4-BE49-F238E27FC236}">
                  <a16:creationId xmlns:a16="http://schemas.microsoft.com/office/drawing/2014/main" id="{5A7670A4-6BA6-42C0-8AFD-0E685914C061}"/>
                </a:ext>
              </a:extLst>
            </p:cNvPr>
            <p:cNvCxnSpPr/>
            <p:nvPr/>
          </p:nvCxnSpPr>
          <p:spPr>
            <a:xfrm>
              <a:off x="2817390" y="2726055"/>
              <a:ext cx="6544521" cy="0"/>
            </a:xfrm>
            <a:prstGeom prst="line">
              <a:avLst/>
            </a:prstGeom>
            <a:ln w="9525" cap="rnd">
              <a:solidFill>
                <a:schemeClr val="accent1"/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直接连接符 9">
              <a:extLst>
                <a:ext uri="{FF2B5EF4-FFF2-40B4-BE49-F238E27FC236}">
                  <a16:creationId xmlns:a16="http://schemas.microsoft.com/office/drawing/2014/main" id="{981F5A09-62E4-4ABD-AC32-AF4647179AA7}"/>
                </a:ext>
              </a:extLst>
            </p:cNvPr>
            <p:cNvCxnSpPr/>
            <p:nvPr/>
          </p:nvCxnSpPr>
          <p:spPr>
            <a:xfrm>
              <a:off x="1136635" y="4538344"/>
              <a:ext cx="9906030" cy="0"/>
            </a:xfrm>
            <a:prstGeom prst="line">
              <a:avLst/>
            </a:prstGeom>
            <a:ln w="9525" cap="rnd">
              <a:solidFill>
                <a:schemeClr val="accent1"/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257d8bb6-fbf6-41b1-ac10-e112d5c8b3f2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E58C1F97-84A9-40BB-92F7-46ABD244F4DC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4415155" y="1191017"/>
            <a:ext cx="1236012" cy="1244868"/>
            <a:chOff x="3789363" y="1076325"/>
            <a:chExt cx="4652962" cy="4686300"/>
          </a:xfrm>
        </p:grpSpPr>
        <p:sp>
          <p:nvSpPr>
            <p:cNvPr id="36" name="ïś1íḍé">
              <a:extLst>
                <a:ext uri="{FF2B5EF4-FFF2-40B4-BE49-F238E27FC236}">
                  <a16:creationId xmlns:a16="http://schemas.microsoft.com/office/drawing/2014/main" id="{62098518-B6FA-4C33-B880-0AB85445FB51}"/>
                </a:ext>
              </a:extLst>
            </p:cNvPr>
            <p:cNvSpPr/>
            <p:nvPr/>
          </p:nvSpPr>
          <p:spPr bwMode="auto">
            <a:xfrm>
              <a:off x="6656388" y="2214563"/>
              <a:ext cx="314325" cy="352425"/>
            </a:xfrm>
            <a:prstGeom prst="rect">
              <a:avLst/>
            </a:prstGeom>
            <a:solidFill>
              <a:srgbClr val="FCD7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iṧľíḍè">
              <a:extLst>
                <a:ext uri="{FF2B5EF4-FFF2-40B4-BE49-F238E27FC236}">
                  <a16:creationId xmlns:a16="http://schemas.microsoft.com/office/drawing/2014/main" id="{38BDA282-0023-47C8-9756-496F52A117F6}"/>
                </a:ext>
              </a:extLst>
            </p:cNvPr>
            <p:cNvSpPr/>
            <p:nvPr/>
          </p:nvSpPr>
          <p:spPr bwMode="auto">
            <a:xfrm>
              <a:off x="6518275" y="1841500"/>
              <a:ext cx="588963" cy="392113"/>
            </a:xfrm>
            <a:custGeom>
              <a:avLst/>
              <a:gdLst>
                <a:gd name="T0" fmla="*/ 371 w 371"/>
                <a:gd name="T1" fmla="*/ 247 h 247"/>
                <a:gd name="T2" fmla="*/ 0 w 371"/>
                <a:gd name="T3" fmla="*/ 247 h 247"/>
                <a:gd name="T4" fmla="*/ 186 w 371"/>
                <a:gd name="T5" fmla="*/ 0 h 247"/>
                <a:gd name="T6" fmla="*/ 186 w 371"/>
                <a:gd name="T7" fmla="*/ 0 h 247"/>
                <a:gd name="T8" fmla="*/ 371 w 371"/>
                <a:gd name="T9" fmla="*/ 247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1" h="247">
                  <a:moveTo>
                    <a:pt x="371" y="247"/>
                  </a:moveTo>
                  <a:lnTo>
                    <a:pt x="0" y="247"/>
                  </a:lnTo>
                  <a:lnTo>
                    <a:pt x="186" y="0"/>
                  </a:lnTo>
                  <a:lnTo>
                    <a:pt x="186" y="0"/>
                  </a:lnTo>
                  <a:lnTo>
                    <a:pt x="371" y="247"/>
                  </a:lnTo>
                  <a:close/>
                </a:path>
              </a:pathLst>
            </a:custGeom>
            <a:solidFill>
              <a:srgbClr val="FCD7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íṩlïďe">
              <a:extLst>
                <a:ext uri="{FF2B5EF4-FFF2-40B4-BE49-F238E27FC236}">
                  <a16:creationId xmlns:a16="http://schemas.microsoft.com/office/drawing/2014/main" id="{831DCD58-E546-4D18-9FC9-750B9BE32785}"/>
                </a:ext>
              </a:extLst>
            </p:cNvPr>
            <p:cNvSpPr/>
            <p:nvPr/>
          </p:nvSpPr>
          <p:spPr bwMode="auto">
            <a:xfrm>
              <a:off x="4122738" y="2076450"/>
              <a:ext cx="138113" cy="3686175"/>
            </a:xfrm>
            <a:prstGeom prst="rect">
              <a:avLst/>
            </a:prstGeom>
            <a:solidFill>
              <a:srgbClr val="1C46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íŝļîḋé">
              <a:extLst>
                <a:ext uri="{FF2B5EF4-FFF2-40B4-BE49-F238E27FC236}">
                  <a16:creationId xmlns:a16="http://schemas.microsoft.com/office/drawing/2014/main" id="{DEE7A594-5180-47F0-B1A7-CD989DAD8853}"/>
                </a:ext>
              </a:extLst>
            </p:cNvPr>
            <p:cNvSpPr/>
            <p:nvPr/>
          </p:nvSpPr>
          <p:spPr bwMode="auto">
            <a:xfrm>
              <a:off x="3789363" y="5370513"/>
              <a:ext cx="3986213" cy="136525"/>
            </a:xfrm>
            <a:prstGeom prst="rect">
              <a:avLst/>
            </a:prstGeom>
            <a:solidFill>
              <a:srgbClr val="1C46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îṧľíḑe">
              <a:extLst>
                <a:ext uri="{FF2B5EF4-FFF2-40B4-BE49-F238E27FC236}">
                  <a16:creationId xmlns:a16="http://schemas.microsoft.com/office/drawing/2014/main" id="{A07E4454-0000-46DE-9457-306CABB439A0}"/>
                </a:ext>
              </a:extLst>
            </p:cNvPr>
            <p:cNvSpPr/>
            <p:nvPr/>
          </p:nvSpPr>
          <p:spPr bwMode="auto">
            <a:xfrm>
              <a:off x="4437063" y="4330700"/>
              <a:ext cx="608013" cy="842963"/>
            </a:xfrm>
            <a:prstGeom prst="rect">
              <a:avLst/>
            </a:prstGeom>
            <a:solidFill>
              <a:srgbClr val="AEBF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íśḷiḑè">
              <a:extLst>
                <a:ext uri="{FF2B5EF4-FFF2-40B4-BE49-F238E27FC236}">
                  <a16:creationId xmlns:a16="http://schemas.microsoft.com/office/drawing/2014/main" id="{DB4DDF57-21AB-44A5-BA61-827F2558A51F}"/>
                </a:ext>
              </a:extLst>
            </p:cNvPr>
            <p:cNvSpPr/>
            <p:nvPr/>
          </p:nvSpPr>
          <p:spPr bwMode="auto">
            <a:xfrm>
              <a:off x="5045075" y="4037013"/>
              <a:ext cx="609600" cy="1136650"/>
            </a:xfrm>
            <a:prstGeom prst="rect">
              <a:avLst/>
            </a:prstGeom>
            <a:solidFill>
              <a:srgbClr val="FFA2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í$ľîḑe">
              <a:extLst>
                <a:ext uri="{FF2B5EF4-FFF2-40B4-BE49-F238E27FC236}">
                  <a16:creationId xmlns:a16="http://schemas.microsoft.com/office/drawing/2014/main" id="{446DE77A-FB96-4C2C-9B50-95D20CB925D0}"/>
                </a:ext>
              </a:extLst>
            </p:cNvPr>
            <p:cNvSpPr/>
            <p:nvPr/>
          </p:nvSpPr>
          <p:spPr bwMode="auto">
            <a:xfrm>
              <a:off x="5654675" y="3468688"/>
              <a:ext cx="608013" cy="1704975"/>
            </a:xfrm>
            <a:prstGeom prst="rect">
              <a:avLst/>
            </a:prstGeom>
            <a:solidFill>
              <a:srgbClr val="1C46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ïşḻïḋe">
              <a:extLst>
                <a:ext uri="{FF2B5EF4-FFF2-40B4-BE49-F238E27FC236}">
                  <a16:creationId xmlns:a16="http://schemas.microsoft.com/office/drawing/2014/main" id="{563EF6FC-F62E-48BB-A25F-299C1C275B93}"/>
                </a:ext>
              </a:extLst>
            </p:cNvPr>
            <p:cNvSpPr/>
            <p:nvPr/>
          </p:nvSpPr>
          <p:spPr bwMode="auto">
            <a:xfrm>
              <a:off x="6262688" y="3036888"/>
              <a:ext cx="609600" cy="2136775"/>
            </a:xfrm>
            <a:prstGeom prst="rect">
              <a:avLst/>
            </a:prstGeom>
            <a:solidFill>
              <a:srgbClr val="FFA2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ísḷïde">
              <a:extLst>
                <a:ext uri="{FF2B5EF4-FFF2-40B4-BE49-F238E27FC236}">
                  <a16:creationId xmlns:a16="http://schemas.microsoft.com/office/drawing/2014/main" id="{9B2BE650-302B-4DFF-BFF9-B0FF9B3F401A}"/>
                </a:ext>
              </a:extLst>
            </p:cNvPr>
            <p:cNvSpPr/>
            <p:nvPr/>
          </p:nvSpPr>
          <p:spPr bwMode="auto">
            <a:xfrm>
              <a:off x="6872288" y="2489200"/>
              <a:ext cx="608013" cy="2684463"/>
            </a:xfrm>
            <a:prstGeom prst="rect">
              <a:avLst/>
            </a:prstGeom>
            <a:solidFill>
              <a:srgbClr val="AEBF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is1íḓé">
              <a:extLst>
                <a:ext uri="{FF2B5EF4-FFF2-40B4-BE49-F238E27FC236}">
                  <a16:creationId xmlns:a16="http://schemas.microsoft.com/office/drawing/2014/main" id="{DB2E5B6C-0EBF-4F93-9EC4-9670716D2A84}"/>
                </a:ext>
              </a:extLst>
            </p:cNvPr>
            <p:cNvSpPr/>
            <p:nvPr/>
          </p:nvSpPr>
          <p:spPr bwMode="auto">
            <a:xfrm>
              <a:off x="4613275" y="1724025"/>
              <a:ext cx="2474913" cy="2333625"/>
            </a:xfrm>
            <a:custGeom>
              <a:avLst/>
              <a:gdLst>
                <a:gd name="T0" fmla="*/ 74 w 1559"/>
                <a:gd name="T1" fmla="*/ 1470 h 1470"/>
                <a:gd name="T2" fmla="*/ 0 w 1559"/>
                <a:gd name="T3" fmla="*/ 1420 h 1470"/>
                <a:gd name="T4" fmla="*/ 223 w 1559"/>
                <a:gd name="T5" fmla="*/ 1111 h 1470"/>
                <a:gd name="T6" fmla="*/ 421 w 1559"/>
                <a:gd name="T7" fmla="*/ 1111 h 1470"/>
                <a:gd name="T8" fmla="*/ 619 w 1559"/>
                <a:gd name="T9" fmla="*/ 729 h 1470"/>
                <a:gd name="T10" fmla="*/ 829 w 1559"/>
                <a:gd name="T11" fmla="*/ 729 h 1470"/>
                <a:gd name="T12" fmla="*/ 1027 w 1559"/>
                <a:gd name="T13" fmla="*/ 432 h 1470"/>
                <a:gd name="T14" fmla="*/ 1225 w 1559"/>
                <a:gd name="T15" fmla="*/ 432 h 1470"/>
                <a:gd name="T16" fmla="*/ 1423 w 1559"/>
                <a:gd name="T17" fmla="*/ 74 h 1470"/>
                <a:gd name="T18" fmla="*/ 1497 w 1559"/>
                <a:gd name="T19" fmla="*/ 0 h 1470"/>
                <a:gd name="T20" fmla="*/ 1559 w 1559"/>
                <a:gd name="T21" fmla="*/ 62 h 1470"/>
                <a:gd name="T22" fmla="*/ 1497 w 1559"/>
                <a:gd name="T23" fmla="*/ 136 h 1470"/>
                <a:gd name="T24" fmla="*/ 1287 w 1559"/>
                <a:gd name="T25" fmla="*/ 519 h 1470"/>
                <a:gd name="T26" fmla="*/ 1076 w 1559"/>
                <a:gd name="T27" fmla="*/ 519 h 1470"/>
                <a:gd name="T28" fmla="*/ 879 w 1559"/>
                <a:gd name="T29" fmla="*/ 815 h 1470"/>
                <a:gd name="T30" fmla="*/ 681 w 1559"/>
                <a:gd name="T31" fmla="*/ 815 h 1470"/>
                <a:gd name="T32" fmla="*/ 470 w 1559"/>
                <a:gd name="T33" fmla="*/ 1198 h 1470"/>
                <a:gd name="T34" fmla="*/ 272 w 1559"/>
                <a:gd name="T35" fmla="*/ 1198 h 1470"/>
                <a:gd name="T36" fmla="*/ 74 w 1559"/>
                <a:gd name="T37" fmla="*/ 1470 h 1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59" h="1470">
                  <a:moveTo>
                    <a:pt x="74" y="1470"/>
                  </a:moveTo>
                  <a:lnTo>
                    <a:pt x="0" y="1420"/>
                  </a:lnTo>
                  <a:lnTo>
                    <a:pt x="223" y="1111"/>
                  </a:lnTo>
                  <a:lnTo>
                    <a:pt x="421" y="1111"/>
                  </a:lnTo>
                  <a:lnTo>
                    <a:pt x="619" y="729"/>
                  </a:lnTo>
                  <a:lnTo>
                    <a:pt x="829" y="729"/>
                  </a:lnTo>
                  <a:lnTo>
                    <a:pt x="1027" y="432"/>
                  </a:lnTo>
                  <a:lnTo>
                    <a:pt x="1225" y="432"/>
                  </a:lnTo>
                  <a:lnTo>
                    <a:pt x="1423" y="74"/>
                  </a:lnTo>
                  <a:lnTo>
                    <a:pt x="1497" y="0"/>
                  </a:lnTo>
                  <a:lnTo>
                    <a:pt x="1559" y="62"/>
                  </a:lnTo>
                  <a:lnTo>
                    <a:pt x="1497" y="136"/>
                  </a:lnTo>
                  <a:lnTo>
                    <a:pt x="1287" y="519"/>
                  </a:lnTo>
                  <a:lnTo>
                    <a:pt x="1076" y="519"/>
                  </a:lnTo>
                  <a:lnTo>
                    <a:pt x="879" y="815"/>
                  </a:lnTo>
                  <a:lnTo>
                    <a:pt x="681" y="815"/>
                  </a:lnTo>
                  <a:lnTo>
                    <a:pt x="470" y="1198"/>
                  </a:lnTo>
                  <a:lnTo>
                    <a:pt x="272" y="1198"/>
                  </a:lnTo>
                  <a:lnTo>
                    <a:pt x="74" y="1470"/>
                  </a:lnTo>
                  <a:close/>
                </a:path>
              </a:pathLst>
            </a:custGeom>
            <a:solidFill>
              <a:srgbClr val="1C46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iṧlide">
              <a:extLst>
                <a:ext uri="{FF2B5EF4-FFF2-40B4-BE49-F238E27FC236}">
                  <a16:creationId xmlns:a16="http://schemas.microsoft.com/office/drawing/2014/main" id="{05F9116C-992D-4A17-B592-C2DBD9C615EA}"/>
                </a:ext>
              </a:extLst>
            </p:cNvPr>
            <p:cNvSpPr/>
            <p:nvPr/>
          </p:nvSpPr>
          <p:spPr bwMode="auto">
            <a:xfrm>
              <a:off x="6773863" y="1468438"/>
              <a:ext cx="549275" cy="549275"/>
            </a:xfrm>
            <a:custGeom>
              <a:avLst/>
              <a:gdLst>
                <a:gd name="T0" fmla="*/ 260 w 346"/>
                <a:gd name="T1" fmla="*/ 346 h 346"/>
                <a:gd name="T2" fmla="*/ 346 w 346"/>
                <a:gd name="T3" fmla="*/ 0 h 346"/>
                <a:gd name="T4" fmla="*/ 0 w 346"/>
                <a:gd name="T5" fmla="*/ 111 h 346"/>
                <a:gd name="T6" fmla="*/ 260 w 346"/>
                <a:gd name="T7" fmla="*/ 346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346">
                  <a:moveTo>
                    <a:pt x="260" y="346"/>
                  </a:moveTo>
                  <a:lnTo>
                    <a:pt x="346" y="0"/>
                  </a:lnTo>
                  <a:lnTo>
                    <a:pt x="0" y="111"/>
                  </a:lnTo>
                  <a:lnTo>
                    <a:pt x="260" y="346"/>
                  </a:lnTo>
                  <a:close/>
                </a:path>
              </a:pathLst>
            </a:custGeom>
            <a:solidFill>
              <a:srgbClr val="1C46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îśḻïḑê">
              <a:extLst>
                <a:ext uri="{FF2B5EF4-FFF2-40B4-BE49-F238E27FC236}">
                  <a16:creationId xmlns:a16="http://schemas.microsoft.com/office/drawing/2014/main" id="{979BC9E7-D113-4C98-A8BF-0AB6C3880554}"/>
                </a:ext>
              </a:extLst>
            </p:cNvPr>
            <p:cNvSpPr/>
            <p:nvPr/>
          </p:nvSpPr>
          <p:spPr bwMode="auto">
            <a:xfrm>
              <a:off x="7853363" y="4057650"/>
              <a:ext cx="412750" cy="488950"/>
            </a:xfrm>
            <a:prstGeom prst="rect">
              <a:avLst/>
            </a:prstGeom>
            <a:solidFill>
              <a:srgbClr val="FCD7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ïŝ1îďe">
              <a:extLst>
                <a:ext uri="{FF2B5EF4-FFF2-40B4-BE49-F238E27FC236}">
                  <a16:creationId xmlns:a16="http://schemas.microsoft.com/office/drawing/2014/main" id="{AC69F38E-DD32-4888-9EF5-09BFAA87C5A2}"/>
                </a:ext>
              </a:extLst>
            </p:cNvPr>
            <p:cNvSpPr/>
            <p:nvPr/>
          </p:nvSpPr>
          <p:spPr bwMode="auto">
            <a:xfrm>
              <a:off x="7658100" y="3586163"/>
              <a:ext cx="784225" cy="509588"/>
            </a:xfrm>
            <a:custGeom>
              <a:avLst/>
              <a:gdLst>
                <a:gd name="T0" fmla="*/ 494 w 494"/>
                <a:gd name="T1" fmla="*/ 321 h 321"/>
                <a:gd name="T2" fmla="*/ 0 w 494"/>
                <a:gd name="T3" fmla="*/ 321 h 321"/>
                <a:gd name="T4" fmla="*/ 247 w 494"/>
                <a:gd name="T5" fmla="*/ 0 h 321"/>
                <a:gd name="T6" fmla="*/ 247 w 494"/>
                <a:gd name="T7" fmla="*/ 0 h 321"/>
                <a:gd name="T8" fmla="*/ 494 w 494"/>
                <a:gd name="T9" fmla="*/ 32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4" h="321">
                  <a:moveTo>
                    <a:pt x="494" y="321"/>
                  </a:moveTo>
                  <a:lnTo>
                    <a:pt x="0" y="321"/>
                  </a:lnTo>
                  <a:lnTo>
                    <a:pt x="247" y="0"/>
                  </a:lnTo>
                  <a:lnTo>
                    <a:pt x="247" y="0"/>
                  </a:lnTo>
                  <a:lnTo>
                    <a:pt x="494" y="321"/>
                  </a:lnTo>
                  <a:close/>
                </a:path>
              </a:pathLst>
            </a:custGeom>
            <a:solidFill>
              <a:srgbClr val="FCD7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îšļíďè">
              <a:extLst>
                <a:ext uri="{FF2B5EF4-FFF2-40B4-BE49-F238E27FC236}">
                  <a16:creationId xmlns:a16="http://schemas.microsoft.com/office/drawing/2014/main" id="{E2F10CB0-37A3-442E-827C-7F1338807CDF}"/>
                </a:ext>
              </a:extLst>
            </p:cNvPr>
            <p:cNvSpPr/>
            <p:nvPr/>
          </p:nvSpPr>
          <p:spPr bwMode="auto">
            <a:xfrm>
              <a:off x="4633913" y="2959100"/>
              <a:ext cx="392113" cy="490538"/>
            </a:xfrm>
            <a:prstGeom prst="rect">
              <a:avLst/>
            </a:prstGeom>
            <a:solidFill>
              <a:srgbClr val="FCD7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íṡlîďè">
              <a:extLst>
                <a:ext uri="{FF2B5EF4-FFF2-40B4-BE49-F238E27FC236}">
                  <a16:creationId xmlns:a16="http://schemas.microsoft.com/office/drawing/2014/main" id="{9CB98D38-15E3-4708-AE85-C4F8C5A48531}"/>
                </a:ext>
              </a:extLst>
            </p:cNvPr>
            <p:cNvSpPr/>
            <p:nvPr/>
          </p:nvSpPr>
          <p:spPr bwMode="auto">
            <a:xfrm>
              <a:off x="4437063" y="2489200"/>
              <a:ext cx="785813" cy="509588"/>
            </a:xfrm>
            <a:custGeom>
              <a:avLst/>
              <a:gdLst>
                <a:gd name="T0" fmla="*/ 495 w 495"/>
                <a:gd name="T1" fmla="*/ 321 h 321"/>
                <a:gd name="T2" fmla="*/ 0 w 495"/>
                <a:gd name="T3" fmla="*/ 321 h 321"/>
                <a:gd name="T4" fmla="*/ 247 w 495"/>
                <a:gd name="T5" fmla="*/ 0 h 321"/>
                <a:gd name="T6" fmla="*/ 247 w 495"/>
                <a:gd name="T7" fmla="*/ 0 h 321"/>
                <a:gd name="T8" fmla="*/ 495 w 495"/>
                <a:gd name="T9" fmla="*/ 32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5" h="321">
                  <a:moveTo>
                    <a:pt x="495" y="321"/>
                  </a:moveTo>
                  <a:lnTo>
                    <a:pt x="0" y="321"/>
                  </a:lnTo>
                  <a:lnTo>
                    <a:pt x="247" y="0"/>
                  </a:lnTo>
                  <a:lnTo>
                    <a:pt x="247" y="0"/>
                  </a:lnTo>
                  <a:lnTo>
                    <a:pt x="495" y="321"/>
                  </a:lnTo>
                  <a:close/>
                </a:path>
              </a:pathLst>
            </a:custGeom>
            <a:solidFill>
              <a:srgbClr val="FCD7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íšľïḑê">
              <a:extLst>
                <a:ext uri="{FF2B5EF4-FFF2-40B4-BE49-F238E27FC236}">
                  <a16:creationId xmlns:a16="http://schemas.microsoft.com/office/drawing/2014/main" id="{DBBA1AE2-3A68-4C14-BA06-6E6DE422B561}"/>
                </a:ext>
              </a:extLst>
            </p:cNvPr>
            <p:cNvSpPr/>
            <p:nvPr/>
          </p:nvSpPr>
          <p:spPr bwMode="auto">
            <a:xfrm>
              <a:off x="5654675" y="1371600"/>
              <a:ext cx="255588" cy="312738"/>
            </a:xfrm>
            <a:prstGeom prst="rect">
              <a:avLst/>
            </a:prstGeom>
            <a:solidFill>
              <a:srgbClr val="FCD7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ïṣḻïḋê">
              <a:extLst>
                <a:ext uri="{FF2B5EF4-FFF2-40B4-BE49-F238E27FC236}">
                  <a16:creationId xmlns:a16="http://schemas.microsoft.com/office/drawing/2014/main" id="{717BEDA5-1C9F-4DCF-B022-A862D1706656}"/>
                </a:ext>
              </a:extLst>
            </p:cNvPr>
            <p:cNvSpPr/>
            <p:nvPr/>
          </p:nvSpPr>
          <p:spPr bwMode="auto">
            <a:xfrm>
              <a:off x="5537200" y="1076325"/>
              <a:ext cx="490538" cy="314325"/>
            </a:xfrm>
            <a:custGeom>
              <a:avLst/>
              <a:gdLst>
                <a:gd name="T0" fmla="*/ 309 w 309"/>
                <a:gd name="T1" fmla="*/ 198 h 198"/>
                <a:gd name="T2" fmla="*/ 0 w 309"/>
                <a:gd name="T3" fmla="*/ 198 h 198"/>
                <a:gd name="T4" fmla="*/ 148 w 309"/>
                <a:gd name="T5" fmla="*/ 0 h 198"/>
                <a:gd name="T6" fmla="*/ 148 w 309"/>
                <a:gd name="T7" fmla="*/ 0 h 198"/>
                <a:gd name="T8" fmla="*/ 309 w 309"/>
                <a:gd name="T9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9" h="198">
                  <a:moveTo>
                    <a:pt x="309" y="198"/>
                  </a:moveTo>
                  <a:lnTo>
                    <a:pt x="0" y="198"/>
                  </a:lnTo>
                  <a:lnTo>
                    <a:pt x="148" y="0"/>
                  </a:lnTo>
                  <a:lnTo>
                    <a:pt x="148" y="0"/>
                  </a:lnTo>
                  <a:lnTo>
                    <a:pt x="309" y="198"/>
                  </a:lnTo>
                  <a:close/>
                </a:path>
              </a:pathLst>
            </a:custGeom>
            <a:solidFill>
              <a:srgbClr val="FCD7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grpSp>
        <p:nvGrpSpPr>
          <p:cNvPr id="59" name="5fa5dea9-880f-4444-a82f-a5d51f6eb95e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755FA5F3-5086-4090-8F88-7EDC98A5B8E4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6348835" y="2879342"/>
            <a:ext cx="1119009" cy="1398762"/>
            <a:chOff x="4053250" y="875562"/>
            <a:chExt cx="4085500" cy="5106876"/>
          </a:xfrm>
        </p:grpSpPr>
        <p:sp>
          <p:nvSpPr>
            <p:cNvPr id="60" name="iṥļiḋè">
              <a:extLst>
                <a:ext uri="{FF2B5EF4-FFF2-40B4-BE49-F238E27FC236}">
                  <a16:creationId xmlns:a16="http://schemas.microsoft.com/office/drawing/2014/main" id="{28A28C6D-1105-4AA7-9ECF-65F1A1CDA29A}"/>
                </a:ext>
              </a:extLst>
            </p:cNvPr>
            <p:cNvSpPr/>
            <p:nvPr/>
          </p:nvSpPr>
          <p:spPr bwMode="auto">
            <a:xfrm>
              <a:off x="4424362" y="1263093"/>
              <a:ext cx="3589592" cy="4719345"/>
            </a:xfrm>
            <a:custGeom>
              <a:avLst/>
              <a:gdLst>
                <a:gd name="T0" fmla="*/ 492 w 525"/>
                <a:gd name="T1" fmla="*/ 612 h 690"/>
                <a:gd name="T2" fmla="*/ 428 w 525"/>
                <a:gd name="T3" fmla="*/ 651 h 690"/>
                <a:gd name="T4" fmla="*/ 371 w 525"/>
                <a:gd name="T5" fmla="*/ 670 h 690"/>
                <a:gd name="T6" fmla="*/ 263 w 525"/>
                <a:gd name="T7" fmla="*/ 689 h 690"/>
                <a:gd name="T8" fmla="*/ 215 w 525"/>
                <a:gd name="T9" fmla="*/ 690 h 690"/>
                <a:gd name="T10" fmla="*/ 138 w 525"/>
                <a:gd name="T11" fmla="*/ 682 h 690"/>
                <a:gd name="T12" fmla="*/ 134 w 525"/>
                <a:gd name="T13" fmla="*/ 682 h 690"/>
                <a:gd name="T14" fmla="*/ 122 w 525"/>
                <a:gd name="T15" fmla="*/ 679 h 690"/>
                <a:gd name="T16" fmla="*/ 78 w 525"/>
                <a:gd name="T17" fmla="*/ 666 h 690"/>
                <a:gd name="T18" fmla="*/ 78 w 525"/>
                <a:gd name="T19" fmla="*/ 666 h 690"/>
                <a:gd name="T20" fmla="*/ 10 w 525"/>
                <a:gd name="T21" fmla="*/ 605 h 690"/>
                <a:gd name="T22" fmla="*/ 0 w 525"/>
                <a:gd name="T23" fmla="*/ 544 h 690"/>
                <a:gd name="T24" fmla="*/ 1 w 525"/>
                <a:gd name="T25" fmla="*/ 517 h 690"/>
                <a:gd name="T26" fmla="*/ 20 w 525"/>
                <a:gd name="T27" fmla="*/ 393 h 690"/>
                <a:gd name="T28" fmla="*/ 25 w 525"/>
                <a:gd name="T29" fmla="*/ 372 h 690"/>
                <a:gd name="T30" fmla="*/ 31 w 525"/>
                <a:gd name="T31" fmla="*/ 348 h 690"/>
                <a:gd name="T32" fmla="*/ 36 w 525"/>
                <a:gd name="T33" fmla="*/ 330 h 690"/>
                <a:gd name="T34" fmla="*/ 38 w 525"/>
                <a:gd name="T35" fmla="*/ 325 h 690"/>
                <a:gd name="T36" fmla="*/ 39 w 525"/>
                <a:gd name="T37" fmla="*/ 320 h 690"/>
                <a:gd name="T38" fmla="*/ 43 w 525"/>
                <a:gd name="T39" fmla="*/ 308 h 690"/>
                <a:gd name="T40" fmla="*/ 111 w 525"/>
                <a:gd name="T41" fmla="*/ 115 h 690"/>
                <a:gd name="T42" fmla="*/ 208 w 525"/>
                <a:gd name="T43" fmla="*/ 5 h 690"/>
                <a:gd name="T44" fmla="*/ 323 w 525"/>
                <a:gd name="T45" fmla="*/ 85 h 690"/>
                <a:gd name="T46" fmla="*/ 364 w 525"/>
                <a:gd name="T47" fmla="*/ 144 h 690"/>
                <a:gd name="T48" fmla="*/ 394 w 525"/>
                <a:gd name="T49" fmla="*/ 196 h 690"/>
                <a:gd name="T50" fmla="*/ 398 w 525"/>
                <a:gd name="T51" fmla="*/ 204 h 690"/>
                <a:gd name="T52" fmla="*/ 430 w 525"/>
                <a:gd name="T53" fmla="*/ 265 h 690"/>
                <a:gd name="T54" fmla="*/ 441 w 525"/>
                <a:gd name="T55" fmla="*/ 290 h 690"/>
                <a:gd name="T56" fmla="*/ 492 w 525"/>
                <a:gd name="T57" fmla="*/ 404 h 690"/>
                <a:gd name="T58" fmla="*/ 522 w 525"/>
                <a:gd name="T59" fmla="*/ 510 h 690"/>
                <a:gd name="T60" fmla="*/ 492 w 525"/>
                <a:gd name="T61" fmla="*/ 612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25" h="690">
                  <a:moveTo>
                    <a:pt x="492" y="612"/>
                  </a:moveTo>
                  <a:cubicBezTo>
                    <a:pt x="475" y="631"/>
                    <a:pt x="451" y="642"/>
                    <a:pt x="428" y="651"/>
                  </a:cubicBezTo>
                  <a:cubicBezTo>
                    <a:pt x="409" y="659"/>
                    <a:pt x="391" y="665"/>
                    <a:pt x="371" y="670"/>
                  </a:cubicBezTo>
                  <a:cubicBezTo>
                    <a:pt x="336" y="680"/>
                    <a:pt x="300" y="686"/>
                    <a:pt x="263" y="689"/>
                  </a:cubicBezTo>
                  <a:cubicBezTo>
                    <a:pt x="247" y="690"/>
                    <a:pt x="231" y="690"/>
                    <a:pt x="215" y="690"/>
                  </a:cubicBezTo>
                  <a:cubicBezTo>
                    <a:pt x="189" y="689"/>
                    <a:pt x="163" y="687"/>
                    <a:pt x="138" y="682"/>
                  </a:cubicBezTo>
                  <a:cubicBezTo>
                    <a:pt x="137" y="682"/>
                    <a:pt x="135" y="682"/>
                    <a:pt x="134" y="682"/>
                  </a:cubicBezTo>
                  <a:cubicBezTo>
                    <a:pt x="130" y="681"/>
                    <a:pt x="126" y="680"/>
                    <a:pt x="122" y="679"/>
                  </a:cubicBezTo>
                  <a:cubicBezTo>
                    <a:pt x="107" y="676"/>
                    <a:pt x="92" y="672"/>
                    <a:pt x="78" y="666"/>
                  </a:cubicBezTo>
                  <a:cubicBezTo>
                    <a:pt x="78" y="666"/>
                    <a:pt x="78" y="666"/>
                    <a:pt x="78" y="666"/>
                  </a:cubicBezTo>
                  <a:cubicBezTo>
                    <a:pt x="48" y="653"/>
                    <a:pt x="22" y="634"/>
                    <a:pt x="10" y="605"/>
                  </a:cubicBezTo>
                  <a:cubicBezTo>
                    <a:pt x="1" y="586"/>
                    <a:pt x="0" y="565"/>
                    <a:pt x="0" y="544"/>
                  </a:cubicBezTo>
                  <a:cubicBezTo>
                    <a:pt x="0" y="535"/>
                    <a:pt x="0" y="526"/>
                    <a:pt x="1" y="517"/>
                  </a:cubicBezTo>
                  <a:cubicBezTo>
                    <a:pt x="3" y="475"/>
                    <a:pt x="10" y="434"/>
                    <a:pt x="20" y="393"/>
                  </a:cubicBezTo>
                  <a:cubicBezTo>
                    <a:pt x="21" y="386"/>
                    <a:pt x="23" y="379"/>
                    <a:pt x="25" y="372"/>
                  </a:cubicBezTo>
                  <a:cubicBezTo>
                    <a:pt x="27" y="364"/>
                    <a:pt x="29" y="356"/>
                    <a:pt x="31" y="348"/>
                  </a:cubicBezTo>
                  <a:cubicBezTo>
                    <a:pt x="33" y="342"/>
                    <a:pt x="34" y="336"/>
                    <a:pt x="36" y="330"/>
                  </a:cubicBezTo>
                  <a:cubicBezTo>
                    <a:pt x="37" y="329"/>
                    <a:pt x="37" y="327"/>
                    <a:pt x="38" y="325"/>
                  </a:cubicBezTo>
                  <a:cubicBezTo>
                    <a:pt x="38" y="323"/>
                    <a:pt x="39" y="322"/>
                    <a:pt x="39" y="320"/>
                  </a:cubicBezTo>
                  <a:cubicBezTo>
                    <a:pt x="40" y="316"/>
                    <a:pt x="41" y="312"/>
                    <a:pt x="43" y="308"/>
                  </a:cubicBezTo>
                  <a:cubicBezTo>
                    <a:pt x="62" y="243"/>
                    <a:pt x="85" y="178"/>
                    <a:pt x="111" y="115"/>
                  </a:cubicBezTo>
                  <a:cubicBezTo>
                    <a:pt x="122" y="88"/>
                    <a:pt x="151" y="10"/>
                    <a:pt x="208" y="5"/>
                  </a:cubicBezTo>
                  <a:cubicBezTo>
                    <a:pt x="256" y="0"/>
                    <a:pt x="294" y="47"/>
                    <a:pt x="323" y="85"/>
                  </a:cubicBezTo>
                  <a:cubicBezTo>
                    <a:pt x="338" y="104"/>
                    <a:pt x="351" y="124"/>
                    <a:pt x="364" y="144"/>
                  </a:cubicBezTo>
                  <a:cubicBezTo>
                    <a:pt x="374" y="161"/>
                    <a:pt x="384" y="179"/>
                    <a:pt x="394" y="196"/>
                  </a:cubicBezTo>
                  <a:cubicBezTo>
                    <a:pt x="395" y="199"/>
                    <a:pt x="397" y="201"/>
                    <a:pt x="398" y="204"/>
                  </a:cubicBezTo>
                  <a:cubicBezTo>
                    <a:pt x="409" y="224"/>
                    <a:pt x="419" y="245"/>
                    <a:pt x="430" y="265"/>
                  </a:cubicBezTo>
                  <a:cubicBezTo>
                    <a:pt x="434" y="273"/>
                    <a:pt x="438" y="281"/>
                    <a:pt x="441" y="290"/>
                  </a:cubicBezTo>
                  <a:cubicBezTo>
                    <a:pt x="460" y="327"/>
                    <a:pt x="477" y="365"/>
                    <a:pt x="492" y="404"/>
                  </a:cubicBezTo>
                  <a:cubicBezTo>
                    <a:pt x="506" y="438"/>
                    <a:pt x="519" y="473"/>
                    <a:pt x="522" y="510"/>
                  </a:cubicBezTo>
                  <a:cubicBezTo>
                    <a:pt x="525" y="546"/>
                    <a:pt x="516" y="585"/>
                    <a:pt x="492" y="612"/>
                  </a:cubicBezTo>
                  <a:close/>
                </a:path>
              </a:pathLst>
            </a:custGeom>
            <a:solidFill>
              <a:srgbClr val="94FFF2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ïŝlïḓê">
              <a:extLst>
                <a:ext uri="{FF2B5EF4-FFF2-40B4-BE49-F238E27FC236}">
                  <a16:creationId xmlns:a16="http://schemas.microsoft.com/office/drawing/2014/main" id="{7A7EB5CE-4AE6-4F8B-8CDE-38EC26040E5A}"/>
                </a:ext>
              </a:extLst>
            </p:cNvPr>
            <p:cNvSpPr/>
            <p:nvPr/>
          </p:nvSpPr>
          <p:spPr bwMode="auto">
            <a:xfrm>
              <a:off x="4135355" y="875562"/>
              <a:ext cx="3960702" cy="4722628"/>
            </a:xfrm>
            <a:custGeom>
              <a:avLst/>
              <a:gdLst>
                <a:gd name="T0" fmla="*/ 551 w 579"/>
                <a:gd name="T1" fmla="*/ 52 h 691"/>
                <a:gd name="T2" fmla="*/ 571 w 579"/>
                <a:gd name="T3" fmla="*/ 105 h 691"/>
                <a:gd name="T4" fmla="*/ 548 w 579"/>
                <a:gd name="T5" fmla="*/ 326 h 691"/>
                <a:gd name="T6" fmla="*/ 482 w 579"/>
                <a:gd name="T7" fmla="*/ 563 h 691"/>
                <a:gd name="T8" fmla="*/ 425 w 579"/>
                <a:gd name="T9" fmla="*/ 652 h 691"/>
                <a:gd name="T10" fmla="*/ 328 w 579"/>
                <a:gd name="T11" fmla="*/ 685 h 691"/>
                <a:gd name="T12" fmla="*/ 283 w 579"/>
                <a:gd name="T13" fmla="*/ 668 h 691"/>
                <a:gd name="T14" fmla="*/ 127 w 579"/>
                <a:gd name="T15" fmla="*/ 571 h 691"/>
                <a:gd name="T16" fmla="*/ 15 w 579"/>
                <a:gd name="T17" fmla="*/ 428 h 691"/>
                <a:gd name="T18" fmla="*/ 0 w 579"/>
                <a:gd name="T19" fmla="*/ 371 h 691"/>
                <a:gd name="T20" fmla="*/ 29 w 579"/>
                <a:gd name="T21" fmla="*/ 295 h 691"/>
                <a:gd name="T22" fmla="*/ 91 w 579"/>
                <a:gd name="T23" fmla="*/ 239 h 691"/>
                <a:gd name="T24" fmla="*/ 551 w 579"/>
                <a:gd name="T25" fmla="*/ 52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9" h="691">
                  <a:moveTo>
                    <a:pt x="551" y="52"/>
                  </a:moveTo>
                  <a:cubicBezTo>
                    <a:pt x="568" y="62"/>
                    <a:pt x="569" y="86"/>
                    <a:pt x="571" y="105"/>
                  </a:cubicBezTo>
                  <a:cubicBezTo>
                    <a:pt x="579" y="179"/>
                    <a:pt x="564" y="253"/>
                    <a:pt x="548" y="326"/>
                  </a:cubicBezTo>
                  <a:cubicBezTo>
                    <a:pt x="531" y="406"/>
                    <a:pt x="514" y="488"/>
                    <a:pt x="482" y="563"/>
                  </a:cubicBezTo>
                  <a:cubicBezTo>
                    <a:pt x="468" y="596"/>
                    <a:pt x="451" y="628"/>
                    <a:pt x="425" y="652"/>
                  </a:cubicBezTo>
                  <a:cubicBezTo>
                    <a:pt x="399" y="676"/>
                    <a:pt x="363" y="691"/>
                    <a:pt x="328" y="685"/>
                  </a:cubicBezTo>
                  <a:cubicBezTo>
                    <a:pt x="312" y="682"/>
                    <a:pt x="298" y="675"/>
                    <a:pt x="283" y="668"/>
                  </a:cubicBezTo>
                  <a:cubicBezTo>
                    <a:pt x="228" y="640"/>
                    <a:pt x="175" y="610"/>
                    <a:pt x="127" y="571"/>
                  </a:cubicBezTo>
                  <a:cubicBezTo>
                    <a:pt x="80" y="531"/>
                    <a:pt x="39" y="484"/>
                    <a:pt x="15" y="428"/>
                  </a:cubicBezTo>
                  <a:cubicBezTo>
                    <a:pt x="7" y="410"/>
                    <a:pt x="0" y="391"/>
                    <a:pt x="0" y="371"/>
                  </a:cubicBezTo>
                  <a:cubicBezTo>
                    <a:pt x="0" y="343"/>
                    <a:pt x="12" y="317"/>
                    <a:pt x="29" y="295"/>
                  </a:cubicBezTo>
                  <a:cubicBezTo>
                    <a:pt x="47" y="273"/>
                    <a:pt x="68" y="256"/>
                    <a:pt x="91" y="239"/>
                  </a:cubicBezTo>
                  <a:cubicBezTo>
                    <a:pt x="202" y="156"/>
                    <a:pt x="470" y="0"/>
                    <a:pt x="551" y="52"/>
                  </a:cubicBezTo>
                  <a:close/>
                </a:path>
              </a:pathLst>
            </a:custGeom>
            <a:solidFill>
              <a:srgbClr val="61FFE8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išḷïďé">
              <a:extLst>
                <a:ext uri="{FF2B5EF4-FFF2-40B4-BE49-F238E27FC236}">
                  <a16:creationId xmlns:a16="http://schemas.microsoft.com/office/drawing/2014/main" id="{92FCF0B7-22D5-49FE-94B4-E5A7CE8B93BA}"/>
                </a:ext>
              </a:extLst>
            </p:cNvPr>
            <p:cNvSpPr/>
            <p:nvPr/>
          </p:nvSpPr>
          <p:spPr bwMode="auto">
            <a:xfrm>
              <a:off x="4887428" y="3828024"/>
              <a:ext cx="528751" cy="1477874"/>
            </a:xfrm>
            <a:custGeom>
              <a:avLst/>
              <a:gdLst>
                <a:gd name="T0" fmla="*/ 72 w 77"/>
                <a:gd name="T1" fmla="*/ 128 h 216"/>
                <a:gd name="T2" fmla="*/ 15 w 77"/>
                <a:gd name="T3" fmla="*/ 216 h 216"/>
                <a:gd name="T4" fmla="*/ 15 w 77"/>
                <a:gd name="T5" fmla="*/ 216 h 216"/>
                <a:gd name="T6" fmla="*/ 18 w 77"/>
                <a:gd name="T7" fmla="*/ 205 h 216"/>
                <a:gd name="T8" fmla="*/ 0 w 77"/>
                <a:gd name="T9" fmla="*/ 104 h 216"/>
                <a:gd name="T10" fmla="*/ 1 w 77"/>
                <a:gd name="T11" fmla="*/ 104 h 216"/>
                <a:gd name="T12" fmla="*/ 56 w 77"/>
                <a:gd name="T13" fmla="*/ 24 h 216"/>
                <a:gd name="T14" fmla="*/ 77 w 77"/>
                <a:gd name="T15" fmla="*/ 0 h 216"/>
                <a:gd name="T16" fmla="*/ 72 w 77"/>
                <a:gd name="T17" fmla="*/ 128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216">
                  <a:moveTo>
                    <a:pt x="72" y="128"/>
                  </a:moveTo>
                  <a:cubicBezTo>
                    <a:pt x="53" y="158"/>
                    <a:pt x="34" y="187"/>
                    <a:pt x="15" y="216"/>
                  </a:cubicBezTo>
                  <a:cubicBezTo>
                    <a:pt x="15" y="216"/>
                    <a:pt x="15" y="216"/>
                    <a:pt x="15" y="216"/>
                  </a:cubicBezTo>
                  <a:cubicBezTo>
                    <a:pt x="17" y="213"/>
                    <a:pt x="18" y="209"/>
                    <a:pt x="18" y="205"/>
                  </a:cubicBezTo>
                  <a:cubicBezTo>
                    <a:pt x="20" y="171"/>
                    <a:pt x="14" y="136"/>
                    <a:pt x="0" y="104"/>
                  </a:cubicBezTo>
                  <a:cubicBezTo>
                    <a:pt x="1" y="104"/>
                    <a:pt x="1" y="104"/>
                    <a:pt x="1" y="104"/>
                  </a:cubicBezTo>
                  <a:cubicBezTo>
                    <a:pt x="20" y="77"/>
                    <a:pt x="38" y="50"/>
                    <a:pt x="56" y="24"/>
                  </a:cubicBezTo>
                  <a:cubicBezTo>
                    <a:pt x="62" y="15"/>
                    <a:pt x="69" y="6"/>
                    <a:pt x="77" y="0"/>
                  </a:cubicBezTo>
                  <a:cubicBezTo>
                    <a:pt x="76" y="15"/>
                    <a:pt x="73" y="78"/>
                    <a:pt x="72" y="128"/>
                  </a:cubicBezTo>
                  <a:close/>
                </a:path>
              </a:pathLst>
            </a:custGeom>
            <a:solidFill>
              <a:srgbClr val="00BA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ïşľîḍé">
              <a:extLst>
                <a:ext uri="{FF2B5EF4-FFF2-40B4-BE49-F238E27FC236}">
                  <a16:creationId xmlns:a16="http://schemas.microsoft.com/office/drawing/2014/main" id="{9DF640C1-75FA-4296-A0A6-F89E5C525B48}"/>
                </a:ext>
              </a:extLst>
            </p:cNvPr>
            <p:cNvSpPr/>
            <p:nvPr/>
          </p:nvSpPr>
          <p:spPr bwMode="auto">
            <a:xfrm>
              <a:off x="6838221" y="3246728"/>
              <a:ext cx="518898" cy="771780"/>
            </a:xfrm>
            <a:custGeom>
              <a:avLst/>
              <a:gdLst>
                <a:gd name="T0" fmla="*/ 40 w 76"/>
                <a:gd name="T1" fmla="*/ 96 h 113"/>
                <a:gd name="T2" fmla="*/ 1 w 76"/>
                <a:gd name="T3" fmla="*/ 79 h 113"/>
                <a:gd name="T4" fmla="*/ 0 w 76"/>
                <a:gd name="T5" fmla="*/ 78 h 113"/>
                <a:gd name="T6" fmla="*/ 59 w 76"/>
                <a:gd name="T7" fmla="*/ 0 h 113"/>
                <a:gd name="T8" fmla="*/ 65 w 76"/>
                <a:gd name="T9" fmla="*/ 5 h 113"/>
                <a:gd name="T10" fmla="*/ 64 w 76"/>
                <a:gd name="T11" fmla="*/ 82 h 113"/>
                <a:gd name="T12" fmla="*/ 46 w 76"/>
                <a:gd name="T13" fmla="*/ 113 h 113"/>
                <a:gd name="T14" fmla="*/ 46 w 76"/>
                <a:gd name="T15" fmla="*/ 113 h 113"/>
                <a:gd name="T16" fmla="*/ 45 w 76"/>
                <a:gd name="T17" fmla="*/ 110 h 113"/>
                <a:gd name="T18" fmla="*/ 40 w 76"/>
                <a:gd name="T19" fmla="*/ 9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6" h="113">
                  <a:moveTo>
                    <a:pt x="40" y="96"/>
                  </a:moveTo>
                  <a:cubicBezTo>
                    <a:pt x="32" y="83"/>
                    <a:pt x="16" y="76"/>
                    <a:pt x="1" y="79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65" y="5"/>
                    <a:pt x="65" y="5"/>
                    <a:pt x="65" y="5"/>
                  </a:cubicBezTo>
                  <a:cubicBezTo>
                    <a:pt x="76" y="29"/>
                    <a:pt x="73" y="57"/>
                    <a:pt x="64" y="82"/>
                  </a:cubicBezTo>
                  <a:cubicBezTo>
                    <a:pt x="60" y="94"/>
                    <a:pt x="55" y="105"/>
                    <a:pt x="46" y="113"/>
                  </a:cubicBezTo>
                  <a:cubicBezTo>
                    <a:pt x="46" y="113"/>
                    <a:pt x="46" y="113"/>
                    <a:pt x="46" y="113"/>
                  </a:cubicBezTo>
                  <a:cubicBezTo>
                    <a:pt x="46" y="112"/>
                    <a:pt x="45" y="111"/>
                    <a:pt x="45" y="110"/>
                  </a:cubicBezTo>
                  <a:cubicBezTo>
                    <a:pt x="44" y="105"/>
                    <a:pt x="42" y="100"/>
                    <a:pt x="40" y="96"/>
                  </a:cubicBezTo>
                  <a:close/>
                </a:path>
              </a:pathLst>
            </a:custGeom>
            <a:solidFill>
              <a:srgbClr val="EF50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íSlíḓè">
              <a:extLst>
                <a:ext uri="{FF2B5EF4-FFF2-40B4-BE49-F238E27FC236}">
                  <a16:creationId xmlns:a16="http://schemas.microsoft.com/office/drawing/2014/main" id="{280E3D84-09B8-4D3D-AE46-42C138C03823}"/>
                </a:ext>
              </a:extLst>
            </p:cNvPr>
            <p:cNvSpPr/>
            <p:nvPr/>
          </p:nvSpPr>
          <p:spPr bwMode="auto">
            <a:xfrm>
              <a:off x="6276630" y="4517699"/>
              <a:ext cx="6568" cy="16422"/>
            </a:xfrm>
            <a:custGeom>
              <a:avLst/>
              <a:gdLst>
                <a:gd name="T0" fmla="*/ 1 w 1"/>
                <a:gd name="T1" fmla="*/ 0 h 2"/>
                <a:gd name="T2" fmla="*/ 1 w 1"/>
                <a:gd name="T3" fmla="*/ 2 h 2"/>
                <a:gd name="T4" fmla="*/ 0 w 1"/>
                <a:gd name="T5" fmla="*/ 1 h 2"/>
                <a:gd name="T6" fmla="*/ 1 w 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0" y="1"/>
                    <a:pt x="0" y="1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00BA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íšļîḋè">
              <a:extLst>
                <a:ext uri="{FF2B5EF4-FFF2-40B4-BE49-F238E27FC236}">
                  <a16:creationId xmlns:a16="http://schemas.microsoft.com/office/drawing/2014/main" id="{8AC97853-CA35-45E8-99F6-2F9DC654D249}"/>
                </a:ext>
              </a:extLst>
            </p:cNvPr>
            <p:cNvSpPr/>
            <p:nvPr/>
          </p:nvSpPr>
          <p:spPr bwMode="auto">
            <a:xfrm>
              <a:off x="5784005" y="4452016"/>
              <a:ext cx="492625" cy="715948"/>
            </a:xfrm>
            <a:custGeom>
              <a:avLst/>
              <a:gdLst>
                <a:gd name="T0" fmla="*/ 72 w 72"/>
                <a:gd name="T1" fmla="*/ 11 h 105"/>
                <a:gd name="T2" fmla="*/ 2 w 72"/>
                <a:gd name="T3" fmla="*/ 105 h 105"/>
                <a:gd name="T4" fmla="*/ 0 w 72"/>
                <a:gd name="T5" fmla="*/ 83 h 105"/>
                <a:gd name="T6" fmla="*/ 62 w 72"/>
                <a:gd name="T7" fmla="*/ 0 h 105"/>
                <a:gd name="T8" fmla="*/ 72 w 72"/>
                <a:gd name="T9" fmla="*/ 11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105">
                  <a:moveTo>
                    <a:pt x="72" y="11"/>
                  </a:moveTo>
                  <a:cubicBezTo>
                    <a:pt x="2" y="105"/>
                    <a:pt x="2" y="105"/>
                    <a:pt x="2" y="105"/>
                  </a:cubicBezTo>
                  <a:cubicBezTo>
                    <a:pt x="1" y="98"/>
                    <a:pt x="1" y="90"/>
                    <a:pt x="0" y="83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6" y="4"/>
                    <a:pt x="69" y="7"/>
                    <a:pt x="72" y="11"/>
                  </a:cubicBezTo>
                  <a:close/>
                </a:path>
              </a:pathLst>
            </a:custGeom>
            <a:solidFill>
              <a:srgbClr val="A6B8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ïślïḑe">
              <a:extLst>
                <a:ext uri="{FF2B5EF4-FFF2-40B4-BE49-F238E27FC236}">
                  <a16:creationId xmlns:a16="http://schemas.microsoft.com/office/drawing/2014/main" id="{1B91CE56-3E85-4387-8683-3F581A31290D}"/>
                </a:ext>
              </a:extLst>
            </p:cNvPr>
            <p:cNvSpPr/>
            <p:nvPr/>
          </p:nvSpPr>
          <p:spPr bwMode="auto">
            <a:xfrm>
              <a:off x="6818516" y="1926494"/>
              <a:ext cx="1270972" cy="1244699"/>
            </a:xfrm>
            <a:custGeom>
              <a:avLst/>
              <a:gdLst>
                <a:gd name="T0" fmla="*/ 180 w 186"/>
                <a:gd name="T1" fmla="*/ 74 h 182"/>
                <a:gd name="T2" fmla="*/ 140 w 186"/>
                <a:gd name="T3" fmla="*/ 163 h 182"/>
                <a:gd name="T4" fmla="*/ 65 w 186"/>
                <a:gd name="T5" fmla="*/ 166 h 182"/>
                <a:gd name="T6" fmla="*/ 53 w 186"/>
                <a:gd name="T7" fmla="*/ 182 h 182"/>
                <a:gd name="T8" fmla="*/ 17 w 186"/>
                <a:gd name="T9" fmla="*/ 150 h 182"/>
                <a:gd name="T10" fmla="*/ 29 w 186"/>
                <a:gd name="T11" fmla="*/ 133 h 182"/>
                <a:gd name="T12" fmla="*/ 3 w 186"/>
                <a:gd name="T13" fmla="*/ 108 h 182"/>
                <a:gd name="T14" fmla="*/ 1 w 186"/>
                <a:gd name="T15" fmla="*/ 107 h 182"/>
                <a:gd name="T16" fmla="*/ 0 w 186"/>
                <a:gd name="T17" fmla="*/ 96 h 182"/>
                <a:gd name="T18" fmla="*/ 97 w 186"/>
                <a:gd name="T19" fmla="*/ 0 h 182"/>
                <a:gd name="T20" fmla="*/ 110 w 186"/>
                <a:gd name="T21" fmla="*/ 1 h 182"/>
                <a:gd name="T22" fmla="*/ 58 w 186"/>
                <a:gd name="T23" fmla="*/ 59 h 182"/>
                <a:gd name="T24" fmla="*/ 65 w 186"/>
                <a:gd name="T25" fmla="*/ 99 h 182"/>
                <a:gd name="T26" fmla="*/ 81 w 186"/>
                <a:gd name="T27" fmla="*/ 111 h 182"/>
                <a:gd name="T28" fmla="*/ 101 w 186"/>
                <a:gd name="T29" fmla="*/ 125 h 182"/>
                <a:gd name="T30" fmla="*/ 151 w 186"/>
                <a:gd name="T31" fmla="*/ 117 h 182"/>
                <a:gd name="T32" fmla="*/ 180 w 186"/>
                <a:gd name="T33" fmla="*/ 7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6" h="182">
                  <a:moveTo>
                    <a:pt x="180" y="74"/>
                  </a:moveTo>
                  <a:cubicBezTo>
                    <a:pt x="180" y="74"/>
                    <a:pt x="186" y="151"/>
                    <a:pt x="140" y="163"/>
                  </a:cubicBezTo>
                  <a:cubicBezTo>
                    <a:pt x="95" y="175"/>
                    <a:pt x="65" y="166"/>
                    <a:pt x="65" y="166"/>
                  </a:cubicBezTo>
                  <a:cubicBezTo>
                    <a:pt x="53" y="182"/>
                    <a:pt x="53" y="182"/>
                    <a:pt x="53" y="182"/>
                  </a:cubicBezTo>
                  <a:cubicBezTo>
                    <a:pt x="38" y="175"/>
                    <a:pt x="26" y="163"/>
                    <a:pt x="17" y="150"/>
                  </a:cubicBezTo>
                  <a:cubicBezTo>
                    <a:pt x="29" y="133"/>
                    <a:pt x="29" y="133"/>
                    <a:pt x="29" y="133"/>
                  </a:cubicBezTo>
                  <a:cubicBezTo>
                    <a:pt x="21" y="124"/>
                    <a:pt x="13" y="115"/>
                    <a:pt x="3" y="108"/>
                  </a:cubicBezTo>
                  <a:cubicBezTo>
                    <a:pt x="2" y="108"/>
                    <a:pt x="1" y="108"/>
                    <a:pt x="1" y="107"/>
                  </a:cubicBezTo>
                  <a:cubicBezTo>
                    <a:pt x="0" y="104"/>
                    <a:pt x="0" y="100"/>
                    <a:pt x="0" y="96"/>
                  </a:cubicBezTo>
                  <a:cubicBezTo>
                    <a:pt x="0" y="43"/>
                    <a:pt x="43" y="0"/>
                    <a:pt x="97" y="0"/>
                  </a:cubicBezTo>
                  <a:cubicBezTo>
                    <a:pt x="101" y="0"/>
                    <a:pt x="106" y="0"/>
                    <a:pt x="110" y="1"/>
                  </a:cubicBezTo>
                  <a:cubicBezTo>
                    <a:pt x="58" y="59"/>
                    <a:pt x="58" y="59"/>
                    <a:pt x="58" y="59"/>
                  </a:cubicBezTo>
                  <a:cubicBezTo>
                    <a:pt x="65" y="99"/>
                    <a:pt x="65" y="99"/>
                    <a:pt x="65" y="99"/>
                  </a:cubicBezTo>
                  <a:cubicBezTo>
                    <a:pt x="81" y="111"/>
                    <a:pt x="81" y="111"/>
                    <a:pt x="81" y="111"/>
                  </a:cubicBezTo>
                  <a:cubicBezTo>
                    <a:pt x="101" y="125"/>
                    <a:pt x="101" y="125"/>
                    <a:pt x="101" y="125"/>
                  </a:cubicBezTo>
                  <a:cubicBezTo>
                    <a:pt x="151" y="117"/>
                    <a:pt x="151" y="117"/>
                    <a:pt x="151" y="117"/>
                  </a:cubicBezTo>
                  <a:lnTo>
                    <a:pt x="180" y="74"/>
                  </a:lnTo>
                  <a:close/>
                </a:path>
              </a:pathLst>
            </a:custGeom>
            <a:solidFill>
              <a:srgbClr val="C8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iṥ1îḓé">
              <a:extLst>
                <a:ext uri="{FF2B5EF4-FFF2-40B4-BE49-F238E27FC236}">
                  <a16:creationId xmlns:a16="http://schemas.microsoft.com/office/drawing/2014/main" id="{AA58BBDC-25F5-4DDA-9FBD-735F402BD28F}"/>
                </a:ext>
              </a:extLst>
            </p:cNvPr>
            <p:cNvSpPr/>
            <p:nvPr/>
          </p:nvSpPr>
          <p:spPr bwMode="auto">
            <a:xfrm>
              <a:off x="5127173" y="5394572"/>
              <a:ext cx="492625" cy="561593"/>
            </a:xfrm>
            <a:custGeom>
              <a:avLst/>
              <a:gdLst>
                <a:gd name="T0" fmla="*/ 66 w 72"/>
                <a:gd name="T1" fmla="*/ 32 h 82"/>
                <a:gd name="T2" fmla="*/ 35 w 72"/>
                <a:gd name="T3" fmla="*/ 78 h 82"/>
                <a:gd name="T4" fmla="*/ 34 w 72"/>
                <a:gd name="T5" fmla="*/ 78 h 82"/>
                <a:gd name="T6" fmla="*/ 15 w 72"/>
                <a:gd name="T7" fmla="*/ 82 h 82"/>
                <a:gd name="T8" fmla="*/ 0 w 72"/>
                <a:gd name="T9" fmla="*/ 80 h 82"/>
                <a:gd name="T10" fmla="*/ 19 w 72"/>
                <a:gd name="T11" fmla="*/ 75 h 82"/>
                <a:gd name="T12" fmla="*/ 54 w 72"/>
                <a:gd name="T13" fmla="*/ 0 h 82"/>
                <a:gd name="T14" fmla="*/ 62 w 72"/>
                <a:gd name="T15" fmla="*/ 12 h 82"/>
                <a:gd name="T16" fmla="*/ 66 w 72"/>
                <a:gd name="T17" fmla="*/ 3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82">
                  <a:moveTo>
                    <a:pt x="66" y="32"/>
                  </a:moveTo>
                  <a:cubicBezTo>
                    <a:pt x="66" y="53"/>
                    <a:pt x="53" y="71"/>
                    <a:pt x="35" y="78"/>
                  </a:cubicBezTo>
                  <a:cubicBezTo>
                    <a:pt x="34" y="78"/>
                    <a:pt x="34" y="78"/>
                    <a:pt x="34" y="78"/>
                  </a:cubicBezTo>
                  <a:cubicBezTo>
                    <a:pt x="28" y="81"/>
                    <a:pt x="22" y="82"/>
                    <a:pt x="15" y="82"/>
                  </a:cubicBezTo>
                  <a:cubicBezTo>
                    <a:pt x="10" y="82"/>
                    <a:pt x="5" y="81"/>
                    <a:pt x="0" y="80"/>
                  </a:cubicBezTo>
                  <a:cubicBezTo>
                    <a:pt x="8" y="79"/>
                    <a:pt x="14" y="77"/>
                    <a:pt x="19" y="75"/>
                  </a:cubicBezTo>
                  <a:cubicBezTo>
                    <a:pt x="72" y="57"/>
                    <a:pt x="54" y="0"/>
                    <a:pt x="54" y="0"/>
                  </a:cubicBezTo>
                  <a:cubicBezTo>
                    <a:pt x="57" y="4"/>
                    <a:pt x="60" y="8"/>
                    <a:pt x="62" y="12"/>
                  </a:cubicBezTo>
                  <a:cubicBezTo>
                    <a:pt x="64" y="18"/>
                    <a:pt x="66" y="25"/>
                    <a:pt x="66" y="32"/>
                  </a:cubicBezTo>
                  <a:close/>
                </a:path>
              </a:pathLst>
            </a:custGeom>
            <a:solidFill>
              <a:srgbClr val="A6B8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ïSḷíḓè">
              <a:extLst>
                <a:ext uri="{FF2B5EF4-FFF2-40B4-BE49-F238E27FC236}">
                  <a16:creationId xmlns:a16="http://schemas.microsoft.com/office/drawing/2014/main" id="{96DC0EC8-58EA-499A-94EE-D6B8D19C30AC}"/>
                </a:ext>
              </a:extLst>
            </p:cNvPr>
            <p:cNvSpPr/>
            <p:nvPr/>
          </p:nvSpPr>
          <p:spPr bwMode="auto">
            <a:xfrm>
              <a:off x="5531124" y="1791843"/>
              <a:ext cx="663401" cy="512330"/>
            </a:xfrm>
            <a:custGeom>
              <a:avLst/>
              <a:gdLst>
                <a:gd name="T0" fmla="*/ 12 w 97"/>
                <a:gd name="T1" fmla="*/ 34 h 75"/>
                <a:gd name="T2" fmla="*/ 37 w 97"/>
                <a:gd name="T3" fmla="*/ 8 h 75"/>
                <a:gd name="T4" fmla="*/ 46 w 97"/>
                <a:gd name="T5" fmla="*/ 2 h 75"/>
                <a:gd name="T6" fmla="*/ 57 w 97"/>
                <a:gd name="T7" fmla="*/ 1 h 75"/>
                <a:gd name="T8" fmla="*/ 97 w 97"/>
                <a:gd name="T9" fmla="*/ 10 h 75"/>
                <a:gd name="T10" fmla="*/ 97 w 97"/>
                <a:gd name="T11" fmla="*/ 11 h 75"/>
                <a:gd name="T12" fmla="*/ 87 w 97"/>
                <a:gd name="T13" fmla="*/ 9 h 75"/>
                <a:gd name="T14" fmla="*/ 87 w 97"/>
                <a:gd name="T15" fmla="*/ 9 h 75"/>
                <a:gd name="T16" fmla="*/ 34 w 97"/>
                <a:gd name="T17" fmla="*/ 67 h 75"/>
                <a:gd name="T18" fmla="*/ 34 w 97"/>
                <a:gd name="T19" fmla="*/ 69 h 75"/>
                <a:gd name="T20" fmla="*/ 19 w 97"/>
                <a:gd name="T21" fmla="*/ 69 h 75"/>
                <a:gd name="T22" fmla="*/ 0 w 97"/>
                <a:gd name="T23" fmla="*/ 75 h 75"/>
                <a:gd name="T24" fmla="*/ 12 w 97"/>
                <a:gd name="T25" fmla="*/ 34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7" h="75">
                  <a:moveTo>
                    <a:pt x="12" y="34"/>
                  </a:moveTo>
                  <a:cubicBezTo>
                    <a:pt x="18" y="24"/>
                    <a:pt x="27" y="15"/>
                    <a:pt x="37" y="8"/>
                  </a:cubicBezTo>
                  <a:cubicBezTo>
                    <a:pt x="39" y="5"/>
                    <a:pt x="43" y="4"/>
                    <a:pt x="46" y="2"/>
                  </a:cubicBezTo>
                  <a:cubicBezTo>
                    <a:pt x="50" y="1"/>
                    <a:pt x="53" y="1"/>
                    <a:pt x="57" y="1"/>
                  </a:cubicBezTo>
                  <a:cubicBezTo>
                    <a:pt x="71" y="0"/>
                    <a:pt x="86" y="1"/>
                    <a:pt x="97" y="10"/>
                  </a:cubicBezTo>
                  <a:cubicBezTo>
                    <a:pt x="97" y="11"/>
                    <a:pt x="97" y="11"/>
                    <a:pt x="97" y="11"/>
                  </a:cubicBezTo>
                  <a:cubicBezTo>
                    <a:pt x="91" y="10"/>
                    <a:pt x="87" y="9"/>
                    <a:pt x="87" y="9"/>
                  </a:cubicBezTo>
                  <a:cubicBezTo>
                    <a:pt x="87" y="9"/>
                    <a:pt x="87" y="9"/>
                    <a:pt x="87" y="9"/>
                  </a:cubicBezTo>
                  <a:cubicBezTo>
                    <a:pt x="62" y="20"/>
                    <a:pt x="43" y="42"/>
                    <a:pt x="34" y="67"/>
                  </a:cubicBezTo>
                  <a:cubicBezTo>
                    <a:pt x="34" y="69"/>
                    <a:pt x="34" y="69"/>
                    <a:pt x="34" y="69"/>
                  </a:cubicBezTo>
                  <a:cubicBezTo>
                    <a:pt x="29" y="68"/>
                    <a:pt x="23" y="68"/>
                    <a:pt x="19" y="69"/>
                  </a:cubicBezTo>
                  <a:cubicBezTo>
                    <a:pt x="12" y="71"/>
                    <a:pt x="6" y="73"/>
                    <a:pt x="0" y="75"/>
                  </a:cubicBezTo>
                  <a:cubicBezTo>
                    <a:pt x="1" y="61"/>
                    <a:pt x="5" y="47"/>
                    <a:pt x="12" y="34"/>
                  </a:cubicBezTo>
                  <a:close/>
                </a:path>
              </a:pathLst>
            </a:custGeom>
            <a:solidFill>
              <a:srgbClr val="FFDF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îṣ1ïḓe">
              <a:extLst>
                <a:ext uri="{FF2B5EF4-FFF2-40B4-BE49-F238E27FC236}">
                  <a16:creationId xmlns:a16="http://schemas.microsoft.com/office/drawing/2014/main" id="{B88E87D5-EC61-4844-8B65-DD0D1B49E61A}"/>
                </a:ext>
              </a:extLst>
            </p:cNvPr>
            <p:cNvSpPr/>
            <p:nvPr/>
          </p:nvSpPr>
          <p:spPr bwMode="auto">
            <a:xfrm>
              <a:off x="5580387" y="3683521"/>
              <a:ext cx="177345" cy="1087059"/>
            </a:xfrm>
            <a:custGeom>
              <a:avLst/>
              <a:gdLst>
                <a:gd name="T0" fmla="*/ 20 w 26"/>
                <a:gd name="T1" fmla="*/ 4 h 159"/>
                <a:gd name="T2" fmla="*/ 26 w 26"/>
                <a:gd name="T3" fmla="*/ 125 h 159"/>
                <a:gd name="T4" fmla="*/ 1 w 26"/>
                <a:gd name="T5" fmla="*/ 159 h 159"/>
                <a:gd name="T6" fmla="*/ 0 w 26"/>
                <a:gd name="T7" fmla="*/ 158 h 159"/>
                <a:gd name="T8" fmla="*/ 3 w 26"/>
                <a:gd name="T9" fmla="*/ 1 h 159"/>
                <a:gd name="T10" fmla="*/ 13 w 26"/>
                <a:gd name="T11" fmla="*/ 1 h 159"/>
                <a:gd name="T12" fmla="*/ 20 w 26"/>
                <a:gd name="T13" fmla="*/ 3 h 159"/>
                <a:gd name="T14" fmla="*/ 20 w 26"/>
                <a:gd name="T15" fmla="*/ 4 h 159"/>
                <a:gd name="T16" fmla="*/ 20 w 26"/>
                <a:gd name="T17" fmla="*/ 4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159">
                  <a:moveTo>
                    <a:pt x="20" y="4"/>
                  </a:moveTo>
                  <a:cubicBezTo>
                    <a:pt x="20" y="13"/>
                    <a:pt x="22" y="64"/>
                    <a:pt x="26" y="125"/>
                  </a:cubicBezTo>
                  <a:cubicBezTo>
                    <a:pt x="1" y="159"/>
                    <a:pt x="1" y="159"/>
                    <a:pt x="1" y="159"/>
                  </a:cubicBezTo>
                  <a:cubicBezTo>
                    <a:pt x="0" y="158"/>
                    <a:pt x="0" y="158"/>
                    <a:pt x="0" y="158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6" y="0"/>
                    <a:pt x="9" y="0"/>
                    <a:pt x="13" y="1"/>
                  </a:cubicBezTo>
                  <a:cubicBezTo>
                    <a:pt x="15" y="1"/>
                    <a:pt x="18" y="2"/>
                    <a:pt x="20" y="3"/>
                  </a:cubicBezTo>
                  <a:cubicBezTo>
                    <a:pt x="20" y="3"/>
                    <a:pt x="20" y="3"/>
                    <a:pt x="20" y="4"/>
                  </a:cubicBezTo>
                  <a:cubicBezTo>
                    <a:pt x="20" y="4"/>
                    <a:pt x="20" y="4"/>
                    <a:pt x="20" y="4"/>
                  </a:cubicBezTo>
                  <a:close/>
                </a:path>
              </a:pathLst>
            </a:custGeom>
            <a:solidFill>
              <a:srgbClr val="FFDF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iṣḻïḑê">
              <a:extLst>
                <a:ext uri="{FF2B5EF4-FFF2-40B4-BE49-F238E27FC236}">
                  <a16:creationId xmlns:a16="http://schemas.microsoft.com/office/drawing/2014/main" id="{53E4EF38-98B7-4997-9559-5DCD5EA7B6EE}"/>
                </a:ext>
              </a:extLst>
            </p:cNvPr>
            <p:cNvSpPr/>
            <p:nvPr/>
          </p:nvSpPr>
          <p:spPr bwMode="auto">
            <a:xfrm>
              <a:off x="6283198" y="4205704"/>
              <a:ext cx="1198721" cy="1244699"/>
            </a:xfrm>
            <a:custGeom>
              <a:avLst/>
              <a:gdLst>
                <a:gd name="T0" fmla="*/ 59 w 175"/>
                <a:gd name="T1" fmla="*/ 126 h 182"/>
                <a:gd name="T2" fmla="*/ 0 w 175"/>
                <a:gd name="T3" fmla="*/ 48 h 182"/>
                <a:gd name="T4" fmla="*/ 0 w 175"/>
                <a:gd name="T5" fmla="*/ 46 h 182"/>
                <a:gd name="T6" fmla="*/ 35 w 175"/>
                <a:gd name="T7" fmla="*/ 0 h 182"/>
                <a:gd name="T8" fmla="*/ 57 w 175"/>
                <a:gd name="T9" fmla="*/ 16 h 182"/>
                <a:gd name="T10" fmla="*/ 120 w 175"/>
                <a:gd name="T11" fmla="*/ 64 h 182"/>
                <a:gd name="T12" fmla="*/ 157 w 175"/>
                <a:gd name="T13" fmla="*/ 98 h 182"/>
                <a:gd name="T14" fmla="*/ 167 w 175"/>
                <a:gd name="T15" fmla="*/ 113 h 182"/>
                <a:gd name="T16" fmla="*/ 175 w 175"/>
                <a:gd name="T17" fmla="*/ 145 h 182"/>
                <a:gd name="T18" fmla="*/ 160 w 175"/>
                <a:gd name="T19" fmla="*/ 175 h 182"/>
                <a:gd name="T20" fmla="*/ 141 w 175"/>
                <a:gd name="T21" fmla="*/ 181 h 182"/>
                <a:gd name="T22" fmla="*/ 94 w 175"/>
                <a:gd name="T23" fmla="*/ 164 h 182"/>
                <a:gd name="T24" fmla="*/ 65 w 175"/>
                <a:gd name="T25" fmla="*/ 134 h 182"/>
                <a:gd name="T26" fmla="*/ 59 w 175"/>
                <a:gd name="T27" fmla="*/ 126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5" h="182">
                  <a:moveTo>
                    <a:pt x="59" y="126"/>
                  </a:moveTo>
                  <a:cubicBezTo>
                    <a:pt x="40" y="99"/>
                    <a:pt x="21" y="72"/>
                    <a:pt x="0" y="48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42" y="5"/>
                    <a:pt x="50" y="11"/>
                    <a:pt x="57" y="16"/>
                  </a:cubicBezTo>
                  <a:cubicBezTo>
                    <a:pt x="78" y="32"/>
                    <a:pt x="99" y="48"/>
                    <a:pt x="120" y="64"/>
                  </a:cubicBezTo>
                  <a:cubicBezTo>
                    <a:pt x="133" y="74"/>
                    <a:pt x="147" y="85"/>
                    <a:pt x="157" y="98"/>
                  </a:cubicBezTo>
                  <a:cubicBezTo>
                    <a:pt x="161" y="103"/>
                    <a:pt x="164" y="108"/>
                    <a:pt x="167" y="113"/>
                  </a:cubicBezTo>
                  <a:cubicBezTo>
                    <a:pt x="172" y="123"/>
                    <a:pt x="175" y="134"/>
                    <a:pt x="175" y="145"/>
                  </a:cubicBezTo>
                  <a:cubicBezTo>
                    <a:pt x="174" y="157"/>
                    <a:pt x="170" y="169"/>
                    <a:pt x="160" y="175"/>
                  </a:cubicBezTo>
                  <a:cubicBezTo>
                    <a:pt x="155" y="179"/>
                    <a:pt x="148" y="181"/>
                    <a:pt x="141" y="181"/>
                  </a:cubicBezTo>
                  <a:cubicBezTo>
                    <a:pt x="124" y="182"/>
                    <a:pt x="107" y="175"/>
                    <a:pt x="94" y="164"/>
                  </a:cubicBezTo>
                  <a:cubicBezTo>
                    <a:pt x="83" y="156"/>
                    <a:pt x="73" y="145"/>
                    <a:pt x="65" y="134"/>
                  </a:cubicBezTo>
                  <a:cubicBezTo>
                    <a:pt x="63" y="131"/>
                    <a:pt x="61" y="129"/>
                    <a:pt x="59" y="126"/>
                  </a:cubicBezTo>
                  <a:close/>
                </a:path>
              </a:pathLst>
            </a:custGeom>
            <a:solidFill>
              <a:srgbClr val="00BA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íṩḷíďé">
              <a:extLst>
                <a:ext uri="{FF2B5EF4-FFF2-40B4-BE49-F238E27FC236}">
                  <a16:creationId xmlns:a16="http://schemas.microsoft.com/office/drawing/2014/main" id="{A63DC438-780E-449E-9703-2AB7699286AB}"/>
                </a:ext>
              </a:extLst>
            </p:cNvPr>
            <p:cNvSpPr/>
            <p:nvPr/>
          </p:nvSpPr>
          <p:spPr bwMode="auto">
            <a:xfrm>
              <a:off x="5797142" y="4527552"/>
              <a:ext cx="486056" cy="1454886"/>
            </a:xfrm>
            <a:custGeom>
              <a:avLst/>
              <a:gdLst>
                <a:gd name="T0" fmla="*/ 71 w 71"/>
                <a:gd name="T1" fmla="*/ 1 h 213"/>
                <a:gd name="T2" fmla="*/ 66 w 71"/>
                <a:gd name="T3" fmla="*/ 113 h 213"/>
                <a:gd name="T4" fmla="*/ 64 w 71"/>
                <a:gd name="T5" fmla="*/ 153 h 213"/>
                <a:gd name="T6" fmla="*/ 62 w 71"/>
                <a:gd name="T7" fmla="*/ 212 h 213"/>
                <a:gd name="T8" fmla="*/ 14 w 71"/>
                <a:gd name="T9" fmla="*/ 213 h 213"/>
                <a:gd name="T10" fmla="*/ 5 w 71"/>
                <a:gd name="T11" fmla="*/ 154 h 213"/>
                <a:gd name="T12" fmla="*/ 2 w 71"/>
                <a:gd name="T13" fmla="*/ 117 h 213"/>
                <a:gd name="T14" fmla="*/ 0 w 71"/>
                <a:gd name="T15" fmla="*/ 94 h 213"/>
                <a:gd name="T16" fmla="*/ 70 w 71"/>
                <a:gd name="T17" fmla="*/ 0 h 213"/>
                <a:gd name="T18" fmla="*/ 71 w 71"/>
                <a:gd name="T19" fmla="*/ 1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" h="213">
                  <a:moveTo>
                    <a:pt x="71" y="1"/>
                  </a:moveTo>
                  <a:cubicBezTo>
                    <a:pt x="66" y="113"/>
                    <a:pt x="66" y="113"/>
                    <a:pt x="66" y="113"/>
                  </a:cubicBezTo>
                  <a:cubicBezTo>
                    <a:pt x="64" y="153"/>
                    <a:pt x="64" y="153"/>
                    <a:pt x="64" y="153"/>
                  </a:cubicBezTo>
                  <a:cubicBezTo>
                    <a:pt x="62" y="212"/>
                    <a:pt x="62" y="212"/>
                    <a:pt x="62" y="212"/>
                  </a:cubicBezTo>
                  <a:cubicBezTo>
                    <a:pt x="46" y="213"/>
                    <a:pt x="30" y="213"/>
                    <a:pt x="14" y="213"/>
                  </a:cubicBezTo>
                  <a:cubicBezTo>
                    <a:pt x="11" y="198"/>
                    <a:pt x="8" y="178"/>
                    <a:pt x="5" y="154"/>
                  </a:cubicBezTo>
                  <a:cubicBezTo>
                    <a:pt x="4" y="142"/>
                    <a:pt x="3" y="130"/>
                    <a:pt x="2" y="117"/>
                  </a:cubicBezTo>
                  <a:cubicBezTo>
                    <a:pt x="1" y="109"/>
                    <a:pt x="0" y="102"/>
                    <a:pt x="0" y="94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0" y="0"/>
                    <a:pt x="71" y="0"/>
                    <a:pt x="71" y="1"/>
                  </a:cubicBezTo>
                  <a:close/>
                </a:path>
              </a:pathLst>
            </a:custGeom>
            <a:solidFill>
              <a:srgbClr val="00BA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íSliḍê">
              <a:extLst>
                <a:ext uri="{FF2B5EF4-FFF2-40B4-BE49-F238E27FC236}">
                  <a16:creationId xmlns:a16="http://schemas.microsoft.com/office/drawing/2014/main" id="{799F9899-5A2D-425E-83C5-5C1B670FEBE0}"/>
                </a:ext>
              </a:extLst>
            </p:cNvPr>
            <p:cNvSpPr/>
            <p:nvPr/>
          </p:nvSpPr>
          <p:spPr bwMode="auto">
            <a:xfrm>
              <a:off x="5715037" y="3663816"/>
              <a:ext cx="233177" cy="876873"/>
            </a:xfrm>
            <a:custGeom>
              <a:avLst/>
              <a:gdLst>
                <a:gd name="T0" fmla="*/ 31 w 34"/>
                <a:gd name="T1" fmla="*/ 94 h 128"/>
                <a:gd name="T2" fmla="*/ 6 w 34"/>
                <a:gd name="T3" fmla="*/ 128 h 128"/>
                <a:gd name="T4" fmla="*/ 0 w 34"/>
                <a:gd name="T5" fmla="*/ 7 h 128"/>
                <a:gd name="T6" fmla="*/ 0 w 34"/>
                <a:gd name="T7" fmla="*/ 7 h 128"/>
                <a:gd name="T8" fmla="*/ 19 w 34"/>
                <a:gd name="T9" fmla="*/ 0 h 128"/>
                <a:gd name="T10" fmla="*/ 21 w 34"/>
                <a:gd name="T11" fmla="*/ 1 h 128"/>
                <a:gd name="T12" fmla="*/ 21 w 34"/>
                <a:gd name="T13" fmla="*/ 2 h 128"/>
                <a:gd name="T14" fmla="*/ 26 w 34"/>
                <a:gd name="T15" fmla="*/ 27 h 128"/>
                <a:gd name="T16" fmla="*/ 34 w 34"/>
                <a:gd name="T17" fmla="*/ 45 h 128"/>
                <a:gd name="T18" fmla="*/ 30 w 34"/>
                <a:gd name="T19" fmla="*/ 52 h 128"/>
                <a:gd name="T20" fmla="*/ 18 w 34"/>
                <a:gd name="T21" fmla="*/ 74 h 128"/>
                <a:gd name="T22" fmla="*/ 17 w 34"/>
                <a:gd name="T23" fmla="*/ 88 h 128"/>
                <a:gd name="T24" fmla="*/ 21 w 34"/>
                <a:gd name="T25" fmla="*/ 106 h 128"/>
                <a:gd name="T26" fmla="*/ 31 w 34"/>
                <a:gd name="T27" fmla="*/ 94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" h="128">
                  <a:moveTo>
                    <a:pt x="31" y="94"/>
                  </a:moveTo>
                  <a:cubicBezTo>
                    <a:pt x="6" y="128"/>
                    <a:pt x="6" y="128"/>
                    <a:pt x="6" y="128"/>
                  </a:cubicBezTo>
                  <a:cubicBezTo>
                    <a:pt x="2" y="67"/>
                    <a:pt x="0" y="16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7" y="6"/>
                    <a:pt x="14" y="4"/>
                    <a:pt x="19" y="0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1" y="1"/>
                    <a:pt x="21" y="2"/>
                    <a:pt x="21" y="2"/>
                  </a:cubicBezTo>
                  <a:cubicBezTo>
                    <a:pt x="22" y="11"/>
                    <a:pt x="24" y="19"/>
                    <a:pt x="26" y="27"/>
                  </a:cubicBezTo>
                  <a:cubicBezTo>
                    <a:pt x="27" y="33"/>
                    <a:pt x="29" y="40"/>
                    <a:pt x="34" y="45"/>
                  </a:cubicBezTo>
                  <a:cubicBezTo>
                    <a:pt x="33" y="47"/>
                    <a:pt x="32" y="50"/>
                    <a:pt x="30" y="52"/>
                  </a:cubicBezTo>
                  <a:cubicBezTo>
                    <a:pt x="25" y="59"/>
                    <a:pt x="21" y="66"/>
                    <a:pt x="18" y="74"/>
                  </a:cubicBezTo>
                  <a:cubicBezTo>
                    <a:pt x="16" y="78"/>
                    <a:pt x="17" y="83"/>
                    <a:pt x="17" y="88"/>
                  </a:cubicBezTo>
                  <a:cubicBezTo>
                    <a:pt x="18" y="95"/>
                    <a:pt x="20" y="98"/>
                    <a:pt x="21" y="106"/>
                  </a:cubicBezTo>
                  <a:cubicBezTo>
                    <a:pt x="21" y="106"/>
                    <a:pt x="24" y="98"/>
                    <a:pt x="31" y="94"/>
                  </a:cubicBezTo>
                  <a:close/>
                </a:path>
              </a:pathLst>
            </a:custGeom>
            <a:solidFill>
              <a:srgbClr val="00BA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îŝlîḍé">
              <a:extLst>
                <a:ext uri="{FF2B5EF4-FFF2-40B4-BE49-F238E27FC236}">
                  <a16:creationId xmlns:a16="http://schemas.microsoft.com/office/drawing/2014/main" id="{30139338-1039-45FB-A19E-596B6FF335DD}"/>
                </a:ext>
              </a:extLst>
            </p:cNvPr>
            <p:cNvSpPr/>
            <p:nvPr/>
          </p:nvSpPr>
          <p:spPr bwMode="auto">
            <a:xfrm>
              <a:off x="5380052" y="3726216"/>
              <a:ext cx="118230" cy="1320234"/>
            </a:xfrm>
            <a:custGeom>
              <a:avLst/>
              <a:gdLst>
                <a:gd name="T0" fmla="*/ 0 w 17"/>
                <a:gd name="T1" fmla="*/ 143 h 193"/>
                <a:gd name="T2" fmla="*/ 5 w 17"/>
                <a:gd name="T3" fmla="*/ 15 h 193"/>
                <a:gd name="T4" fmla="*/ 5 w 17"/>
                <a:gd name="T5" fmla="*/ 12 h 193"/>
                <a:gd name="T6" fmla="*/ 17 w 17"/>
                <a:gd name="T7" fmla="*/ 0 h 193"/>
                <a:gd name="T8" fmla="*/ 17 w 17"/>
                <a:gd name="T9" fmla="*/ 0 h 193"/>
                <a:gd name="T10" fmla="*/ 17 w 17"/>
                <a:gd name="T11" fmla="*/ 170 h 193"/>
                <a:gd name="T12" fmla="*/ 0 w 17"/>
                <a:gd name="T13" fmla="*/ 193 h 193"/>
                <a:gd name="T14" fmla="*/ 0 w 17"/>
                <a:gd name="T15" fmla="*/ 14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93">
                  <a:moveTo>
                    <a:pt x="0" y="143"/>
                  </a:moveTo>
                  <a:cubicBezTo>
                    <a:pt x="1" y="93"/>
                    <a:pt x="4" y="30"/>
                    <a:pt x="5" y="15"/>
                  </a:cubicBezTo>
                  <a:cubicBezTo>
                    <a:pt x="5" y="13"/>
                    <a:pt x="5" y="12"/>
                    <a:pt x="5" y="12"/>
                  </a:cubicBezTo>
                  <a:cubicBezTo>
                    <a:pt x="8" y="8"/>
                    <a:pt x="12" y="3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170"/>
                    <a:pt x="17" y="170"/>
                    <a:pt x="17" y="170"/>
                  </a:cubicBezTo>
                  <a:cubicBezTo>
                    <a:pt x="0" y="193"/>
                    <a:pt x="0" y="193"/>
                    <a:pt x="0" y="193"/>
                  </a:cubicBezTo>
                  <a:cubicBezTo>
                    <a:pt x="0" y="181"/>
                    <a:pt x="0" y="163"/>
                    <a:pt x="0" y="143"/>
                  </a:cubicBezTo>
                  <a:close/>
                </a:path>
              </a:pathLst>
            </a:custGeom>
            <a:solidFill>
              <a:srgbClr val="FFDF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îş1idé">
              <a:extLst>
                <a:ext uri="{FF2B5EF4-FFF2-40B4-BE49-F238E27FC236}">
                  <a16:creationId xmlns:a16="http://schemas.microsoft.com/office/drawing/2014/main" id="{53A65AC9-A634-447E-A9EA-281593676D5B}"/>
                </a:ext>
              </a:extLst>
            </p:cNvPr>
            <p:cNvSpPr/>
            <p:nvPr/>
          </p:nvSpPr>
          <p:spPr bwMode="auto">
            <a:xfrm>
              <a:off x="5422747" y="2025019"/>
              <a:ext cx="190482" cy="318565"/>
            </a:xfrm>
            <a:custGeom>
              <a:avLst/>
              <a:gdLst>
                <a:gd name="T0" fmla="*/ 28 w 28"/>
                <a:gd name="T1" fmla="*/ 0 h 47"/>
                <a:gd name="T2" fmla="*/ 16 w 28"/>
                <a:gd name="T3" fmla="*/ 41 h 47"/>
                <a:gd name="T4" fmla="*/ 16 w 28"/>
                <a:gd name="T5" fmla="*/ 41 h 47"/>
                <a:gd name="T6" fmla="*/ 0 w 28"/>
                <a:gd name="T7" fmla="*/ 47 h 47"/>
                <a:gd name="T8" fmla="*/ 28 w 28"/>
                <a:gd name="T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47">
                  <a:moveTo>
                    <a:pt x="28" y="0"/>
                  </a:moveTo>
                  <a:cubicBezTo>
                    <a:pt x="21" y="13"/>
                    <a:pt x="17" y="27"/>
                    <a:pt x="16" y="41"/>
                  </a:cubicBezTo>
                  <a:cubicBezTo>
                    <a:pt x="16" y="41"/>
                    <a:pt x="16" y="41"/>
                    <a:pt x="16" y="41"/>
                  </a:cubicBezTo>
                  <a:cubicBezTo>
                    <a:pt x="10" y="43"/>
                    <a:pt x="5" y="45"/>
                    <a:pt x="0" y="47"/>
                  </a:cubicBezTo>
                  <a:cubicBezTo>
                    <a:pt x="0" y="47"/>
                    <a:pt x="2" y="17"/>
                    <a:pt x="28" y="0"/>
                  </a:cubicBezTo>
                  <a:close/>
                </a:path>
              </a:pathLst>
            </a:custGeom>
            <a:solidFill>
              <a:srgbClr val="F4CB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ísļiḓe">
              <a:extLst>
                <a:ext uri="{FF2B5EF4-FFF2-40B4-BE49-F238E27FC236}">
                  <a16:creationId xmlns:a16="http://schemas.microsoft.com/office/drawing/2014/main" id="{38E65FD3-6CD6-4ED2-BDBF-FF22CC9E82E5}"/>
                </a:ext>
              </a:extLst>
            </p:cNvPr>
            <p:cNvSpPr/>
            <p:nvPr/>
          </p:nvSpPr>
          <p:spPr bwMode="auto">
            <a:xfrm>
              <a:off x="6825084" y="2658862"/>
              <a:ext cx="190482" cy="295575"/>
            </a:xfrm>
            <a:custGeom>
              <a:avLst/>
              <a:gdLst>
                <a:gd name="T0" fmla="*/ 28 w 28"/>
                <a:gd name="T1" fmla="*/ 26 h 43"/>
                <a:gd name="T2" fmla="*/ 16 w 28"/>
                <a:gd name="T3" fmla="*/ 43 h 43"/>
                <a:gd name="T4" fmla="*/ 0 w 28"/>
                <a:gd name="T5" fmla="*/ 0 h 43"/>
                <a:gd name="T6" fmla="*/ 2 w 28"/>
                <a:gd name="T7" fmla="*/ 1 h 43"/>
                <a:gd name="T8" fmla="*/ 28 w 28"/>
                <a:gd name="T9" fmla="*/ 26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43">
                  <a:moveTo>
                    <a:pt x="28" y="26"/>
                  </a:moveTo>
                  <a:cubicBezTo>
                    <a:pt x="16" y="43"/>
                    <a:pt x="16" y="43"/>
                    <a:pt x="16" y="43"/>
                  </a:cubicBezTo>
                  <a:cubicBezTo>
                    <a:pt x="7" y="30"/>
                    <a:pt x="2" y="16"/>
                    <a:pt x="0" y="0"/>
                  </a:cubicBezTo>
                  <a:cubicBezTo>
                    <a:pt x="0" y="1"/>
                    <a:pt x="1" y="1"/>
                    <a:pt x="2" y="1"/>
                  </a:cubicBezTo>
                  <a:cubicBezTo>
                    <a:pt x="12" y="8"/>
                    <a:pt x="20" y="17"/>
                    <a:pt x="28" y="26"/>
                  </a:cubicBezTo>
                  <a:close/>
                </a:path>
              </a:pathLst>
            </a:custGeom>
            <a:solidFill>
              <a:srgbClr val="C8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i$ḻiḋè">
              <a:extLst>
                <a:ext uri="{FF2B5EF4-FFF2-40B4-BE49-F238E27FC236}">
                  <a16:creationId xmlns:a16="http://schemas.microsoft.com/office/drawing/2014/main" id="{58AD3E32-425C-4CBC-81C3-6BE4D599829B}"/>
                </a:ext>
              </a:extLst>
            </p:cNvPr>
            <p:cNvSpPr/>
            <p:nvPr/>
          </p:nvSpPr>
          <p:spPr bwMode="auto">
            <a:xfrm>
              <a:off x="4887428" y="5269773"/>
              <a:ext cx="761926" cy="669969"/>
            </a:xfrm>
            <a:custGeom>
              <a:avLst/>
              <a:gdLst>
                <a:gd name="T0" fmla="*/ 89 w 111"/>
                <a:gd name="T1" fmla="*/ 18 h 98"/>
                <a:gd name="T2" fmla="*/ 35 w 111"/>
                <a:gd name="T3" fmla="*/ 98 h 98"/>
                <a:gd name="T4" fmla="*/ 35 w 111"/>
                <a:gd name="T5" fmla="*/ 98 h 98"/>
                <a:gd name="T6" fmla="*/ 0 w 111"/>
                <a:gd name="T7" fmla="*/ 50 h 98"/>
                <a:gd name="T8" fmla="*/ 20 w 111"/>
                <a:gd name="T9" fmla="*/ 10 h 98"/>
                <a:gd name="T10" fmla="*/ 50 w 111"/>
                <a:gd name="T11" fmla="*/ 0 h 98"/>
                <a:gd name="T12" fmla="*/ 89 w 111"/>
                <a:gd name="T13" fmla="*/ 18 h 98"/>
                <a:gd name="T14" fmla="*/ 69 w 111"/>
                <a:gd name="T15" fmla="*/ 50 h 98"/>
                <a:gd name="T16" fmla="*/ 61 w 111"/>
                <a:gd name="T17" fmla="*/ 35 h 98"/>
                <a:gd name="T18" fmla="*/ 61 w 111"/>
                <a:gd name="T19" fmla="*/ 35 h 98"/>
                <a:gd name="T20" fmla="*/ 52 w 111"/>
                <a:gd name="T21" fmla="*/ 33 h 98"/>
                <a:gd name="T22" fmla="*/ 35 w 111"/>
                <a:gd name="T23" fmla="*/ 50 h 98"/>
                <a:gd name="T24" fmla="*/ 42 w 111"/>
                <a:gd name="T25" fmla="*/ 64 h 98"/>
                <a:gd name="T26" fmla="*/ 42 w 111"/>
                <a:gd name="T27" fmla="*/ 64 h 98"/>
                <a:gd name="T28" fmla="*/ 52 w 111"/>
                <a:gd name="T29" fmla="*/ 67 h 98"/>
                <a:gd name="T30" fmla="*/ 69 w 111"/>
                <a:gd name="T31" fmla="*/ 5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1" h="98">
                  <a:moveTo>
                    <a:pt x="89" y="18"/>
                  </a:moveTo>
                  <a:cubicBezTo>
                    <a:pt x="89" y="18"/>
                    <a:pt x="111" y="87"/>
                    <a:pt x="35" y="98"/>
                  </a:cubicBezTo>
                  <a:cubicBezTo>
                    <a:pt x="35" y="98"/>
                    <a:pt x="35" y="98"/>
                    <a:pt x="35" y="98"/>
                  </a:cubicBezTo>
                  <a:cubicBezTo>
                    <a:pt x="15" y="91"/>
                    <a:pt x="0" y="72"/>
                    <a:pt x="0" y="50"/>
                  </a:cubicBezTo>
                  <a:cubicBezTo>
                    <a:pt x="0" y="33"/>
                    <a:pt x="8" y="19"/>
                    <a:pt x="20" y="10"/>
                  </a:cubicBezTo>
                  <a:cubicBezTo>
                    <a:pt x="29" y="3"/>
                    <a:pt x="39" y="0"/>
                    <a:pt x="50" y="0"/>
                  </a:cubicBezTo>
                  <a:cubicBezTo>
                    <a:pt x="66" y="0"/>
                    <a:pt x="80" y="7"/>
                    <a:pt x="89" y="18"/>
                  </a:cubicBezTo>
                  <a:close/>
                  <a:moveTo>
                    <a:pt x="69" y="50"/>
                  </a:moveTo>
                  <a:cubicBezTo>
                    <a:pt x="69" y="44"/>
                    <a:pt x="66" y="38"/>
                    <a:pt x="61" y="35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58" y="34"/>
                    <a:pt x="55" y="33"/>
                    <a:pt x="52" y="33"/>
                  </a:cubicBezTo>
                  <a:cubicBezTo>
                    <a:pt x="43" y="33"/>
                    <a:pt x="35" y="40"/>
                    <a:pt x="35" y="50"/>
                  </a:cubicBezTo>
                  <a:cubicBezTo>
                    <a:pt x="35" y="56"/>
                    <a:pt x="38" y="61"/>
                    <a:pt x="42" y="64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45" y="66"/>
                    <a:pt x="49" y="67"/>
                    <a:pt x="52" y="67"/>
                  </a:cubicBezTo>
                  <a:cubicBezTo>
                    <a:pt x="62" y="67"/>
                    <a:pt x="69" y="59"/>
                    <a:pt x="69" y="50"/>
                  </a:cubicBezTo>
                  <a:close/>
                </a:path>
              </a:pathLst>
            </a:custGeom>
            <a:solidFill>
              <a:srgbClr val="C8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ïṥ1iďê">
              <a:extLst>
                <a:ext uri="{FF2B5EF4-FFF2-40B4-BE49-F238E27FC236}">
                  <a16:creationId xmlns:a16="http://schemas.microsoft.com/office/drawing/2014/main" id="{8D600470-56A2-4A62-80C5-566D279269C4}"/>
                </a:ext>
              </a:extLst>
            </p:cNvPr>
            <p:cNvSpPr/>
            <p:nvPr/>
          </p:nvSpPr>
          <p:spPr bwMode="auto">
            <a:xfrm>
              <a:off x="5682195" y="5167963"/>
              <a:ext cx="131367" cy="157640"/>
            </a:xfrm>
            <a:custGeom>
              <a:avLst/>
              <a:gdLst>
                <a:gd name="T0" fmla="*/ 19 w 19"/>
                <a:gd name="T1" fmla="*/ 23 h 23"/>
                <a:gd name="T2" fmla="*/ 19 w 19"/>
                <a:gd name="T3" fmla="*/ 23 h 23"/>
                <a:gd name="T4" fmla="*/ 0 w 19"/>
                <a:gd name="T5" fmla="*/ 23 h 23"/>
                <a:gd name="T6" fmla="*/ 17 w 19"/>
                <a:gd name="T7" fmla="*/ 0 h 23"/>
                <a:gd name="T8" fmla="*/ 19 w 19"/>
                <a:gd name="T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3">
                  <a:moveTo>
                    <a:pt x="19" y="23"/>
                  </a:moveTo>
                  <a:cubicBezTo>
                    <a:pt x="19" y="23"/>
                    <a:pt x="19" y="23"/>
                    <a:pt x="19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8"/>
                    <a:pt x="18" y="15"/>
                    <a:pt x="19" y="23"/>
                  </a:cubicBezTo>
                  <a:close/>
                </a:path>
              </a:pathLst>
            </a:custGeom>
            <a:solidFill>
              <a:srgbClr val="FFDF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iṡliḋe">
              <a:extLst>
                <a:ext uri="{FF2B5EF4-FFF2-40B4-BE49-F238E27FC236}">
                  <a16:creationId xmlns:a16="http://schemas.microsoft.com/office/drawing/2014/main" id="{144899C5-284E-4043-89E7-E23238C3951D}"/>
                </a:ext>
              </a:extLst>
            </p:cNvPr>
            <p:cNvSpPr/>
            <p:nvPr/>
          </p:nvSpPr>
          <p:spPr bwMode="auto">
            <a:xfrm>
              <a:off x="5347211" y="2254911"/>
              <a:ext cx="1333371" cy="321848"/>
            </a:xfrm>
            <a:custGeom>
              <a:avLst/>
              <a:gdLst>
                <a:gd name="T0" fmla="*/ 11 w 195"/>
                <a:gd name="T1" fmla="*/ 30 h 47"/>
                <a:gd name="T2" fmla="*/ 3 w 195"/>
                <a:gd name="T3" fmla="*/ 30 h 47"/>
                <a:gd name="T4" fmla="*/ 0 w 195"/>
                <a:gd name="T5" fmla="*/ 19 h 47"/>
                <a:gd name="T6" fmla="*/ 11 w 195"/>
                <a:gd name="T7" fmla="*/ 13 h 47"/>
                <a:gd name="T8" fmla="*/ 27 w 195"/>
                <a:gd name="T9" fmla="*/ 7 h 47"/>
                <a:gd name="T10" fmla="*/ 27 w 195"/>
                <a:gd name="T11" fmla="*/ 7 h 47"/>
                <a:gd name="T12" fmla="*/ 46 w 195"/>
                <a:gd name="T13" fmla="*/ 1 h 47"/>
                <a:gd name="T14" fmla="*/ 61 w 195"/>
                <a:gd name="T15" fmla="*/ 1 h 47"/>
                <a:gd name="T16" fmla="*/ 132 w 195"/>
                <a:gd name="T17" fmla="*/ 21 h 47"/>
                <a:gd name="T18" fmla="*/ 193 w 195"/>
                <a:gd name="T19" fmla="*/ 33 h 47"/>
                <a:gd name="T20" fmla="*/ 192 w 195"/>
                <a:gd name="T21" fmla="*/ 41 h 47"/>
                <a:gd name="T22" fmla="*/ 194 w 195"/>
                <a:gd name="T23" fmla="*/ 46 h 47"/>
                <a:gd name="T24" fmla="*/ 195 w 195"/>
                <a:gd name="T25" fmla="*/ 47 h 47"/>
                <a:gd name="T26" fmla="*/ 26 w 195"/>
                <a:gd name="T27" fmla="*/ 32 h 47"/>
                <a:gd name="T28" fmla="*/ 19 w 195"/>
                <a:gd name="T29" fmla="*/ 31 h 47"/>
                <a:gd name="T30" fmla="*/ 11 w 195"/>
                <a:gd name="T31" fmla="*/ 3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5" h="47">
                  <a:moveTo>
                    <a:pt x="11" y="30"/>
                  </a:moveTo>
                  <a:cubicBezTo>
                    <a:pt x="3" y="30"/>
                    <a:pt x="3" y="30"/>
                    <a:pt x="3" y="30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4" y="16"/>
                    <a:pt x="11" y="13"/>
                  </a:cubicBezTo>
                  <a:cubicBezTo>
                    <a:pt x="16" y="11"/>
                    <a:pt x="21" y="9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33" y="5"/>
                    <a:pt x="39" y="3"/>
                    <a:pt x="46" y="1"/>
                  </a:cubicBezTo>
                  <a:cubicBezTo>
                    <a:pt x="50" y="0"/>
                    <a:pt x="56" y="0"/>
                    <a:pt x="61" y="1"/>
                  </a:cubicBezTo>
                  <a:cubicBezTo>
                    <a:pt x="83" y="2"/>
                    <a:pt x="111" y="13"/>
                    <a:pt x="132" y="21"/>
                  </a:cubicBezTo>
                  <a:cubicBezTo>
                    <a:pt x="149" y="27"/>
                    <a:pt x="175" y="31"/>
                    <a:pt x="193" y="33"/>
                  </a:cubicBezTo>
                  <a:cubicBezTo>
                    <a:pt x="192" y="41"/>
                    <a:pt x="192" y="41"/>
                    <a:pt x="192" y="41"/>
                  </a:cubicBezTo>
                  <a:cubicBezTo>
                    <a:pt x="192" y="43"/>
                    <a:pt x="193" y="44"/>
                    <a:pt x="194" y="46"/>
                  </a:cubicBezTo>
                  <a:cubicBezTo>
                    <a:pt x="195" y="46"/>
                    <a:pt x="195" y="46"/>
                    <a:pt x="195" y="47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19" y="31"/>
                    <a:pt x="19" y="31"/>
                    <a:pt x="19" y="31"/>
                  </a:cubicBezTo>
                  <a:lnTo>
                    <a:pt x="11" y="30"/>
                  </a:lnTo>
                  <a:close/>
                </a:path>
              </a:pathLst>
            </a:custGeom>
            <a:solidFill>
              <a:srgbClr val="FFDF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ïṣlíḋé">
              <a:extLst>
                <a:ext uri="{FF2B5EF4-FFF2-40B4-BE49-F238E27FC236}">
                  <a16:creationId xmlns:a16="http://schemas.microsoft.com/office/drawing/2014/main" id="{CC9FEDA1-DA2D-4576-A0C4-DA195FAE558C}"/>
                </a:ext>
              </a:extLst>
            </p:cNvPr>
            <p:cNvSpPr/>
            <p:nvPr/>
          </p:nvSpPr>
          <p:spPr bwMode="auto">
            <a:xfrm>
              <a:off x="6641171" y="3765626"/>
              <a:ext cx="784916" cy="1211858"/>
            </a:xfrm>
            <a:custGeom>
              <a:avLst/>
              <a:gdLst>
                <a:gd name="T0" fmla="*/ 105 w 115"/>
                <a:gd name="T1" fmla="*/ 162 h 177"/>
                <a:gd name="T2" fmla="*/ 68 w 115"/>
                <a:gd name="T3" fmla="*/ 128 h 177"/>
                <a:gd name="T4" fmla="*/ 5 w 115"/>
                <a:gd name="T5" fmla="*/ 80 h 177"/>
                <a:gd name="T6" fmla="*/ 0 w 115"/>
                <a:gd name="T7" fmla="*/ 40 h 177"/>
                <a:gd name="T8" fmla="*/ 29 w 115"/>
                <a:gd name="T9" fmla="*/ 2 h 177"/>
                <a:gd name="T10" fmla="*/ 30 w 115"/>
                <a:gd name="T11" fmla="*/ 3 h 177"/>
                <a:gd name="T12" fmla="*/ 69 w 115"/>
                <a:gd name="T13" fmla="*/ 20 h 177"/>
                <a:gd name="T14" fmla="*/ 74 w 115"/>
                <a:gd name="T15" fmla="*/ 34 h 177"/>
                <a:gd name="T16" fmla="*/ 75 w 115"/>
                <a:gd name="T17" fmla="*/ 37 h 177"/>
                <a:gd name="T18" fmla="*/ 115 w 115"/>
                <a:gd name="T19" fmla="*/ 177 h 177"/>
                <a:gd name="T20" fmla="*/ 105 w 115"/>
                <a:gd name="T21" fmla="*/ 162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5" h="177">
                  <a:moveTo>
                    <a:pt x="105" y="162"/>
                  </a:moveTo>
                  <a:cubicBezTo>
                    <a:pt x="95" y="149"/>
                    <a:pt x="81" y="138"/>
                    <a:pt x="68" y="128"/>
                  </a:cubicBezTo>
                  <a:cubicBezTo>
                    <a:pt x="47" y="112"/>
                    <a:pt x="26" y="96"/>
                    <a:pt x="5" y="80"/>
                  </a:cubicBezTo>
                  <a:cubicBezTo>
                    <a:pt x="4" y="67"/>
                    <a:pt x="2" y="54"/>
                    <a:pt x="0" y="40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45" y="0"/>
                    <a:pt x="61" y="7"/>
                    <a:pt x="69" y="20"/>
                  </a:cubicBezTo>
                  <a:cubicBezTo>
                    <a:pt x="71" y="24"/>
                    <a:pt x="73" y="29"/>
                    <a:pt x="74" y="34"/>
                  </a:cubicBezTo>
                  <a:cubicBezTo>
                    <a:pt x="74" y="35"/>
                    <a:pt x="75" y="36"/>
                    <a:pt x="75" y="37"/>
                  </a:cubicBezTo>
                  <a:cubicBezTo>
                    <a:pt x="90" y="83"/>
                    <a:pt x="104" y="129"/>
                    <a:pt x="115" y="177"/>
                  </a:cubicBezTo>
                  <a:cubicBezTo>
                    <a:pt x="112" y="172"/>
                    <a:pt x="109" y="167"/>
                    <a:pt x="105" y="162"/>
                  </a:cubicBezTo>
                  <a:close/>
                </a:path>
              </a:pathLst>
            </a:custGeom>
            <a:solidFill>
              <a:srgbClr val="00BA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ïsľidê">
              <a:extLst>
                <a:ext uri="{FF2B5EF4-FFF2-40B4-BE49-F238E27FC236}">
                  <a16:creationId xmlns:a16="http://schemas.microsoft.com/office/drawing/2014/main" id="{7B17FC04-06AD-4E15-8F2E-67B656C35D22}"/>
                </a:ext>
              </a:extLst>
            </p:cNvPr>
            <p:cNvSpPr/>
            <p:nvPr/>
          </p:nvSpPr>
          <p:spPr bwMode="auto">
            <a:xfrm>
              <a:off x="4243732" y="3854298"/>
              <a:ext cx="781631" cy="1497579"/>
            </a:xfrm>
            <a:custGeom>
              <a:avLst/>
              <a:gdLst>
                <a:gd name="T0" fmla="*/ 2 w 114"/>
                <a:gd name="T1" fmla="*/ 10 h 219"/>
                <a:gd name="T2" fmla="*/ 37 w 114"/>
                <a:gd name="T3" fmla="*/ 0 h 219"/>
                <a:gd name="T4" fmla="*/ 37 w 114"/>
                <a:gd name="T5" fmla="*/ 0 h 219"/>
                <a:gd name="T6" fmla="*/ 38 w 114"/>
                <a:gd name="T7" fmla="*/ 0 h 219"/>
                <a:gd name="T8" fmla="*/ 77 w 114"/>
                <a:gd name="T9" fmla="*/ 69 h 219"/>
                <a:gd name="T10" fmla="*/ 91 w 114"/>
                <a:gd name="T11" fmla="*/ 94 h 219"/>
                <a:gd name="T12" fmla="*/ 94 w 114"/>
                <a:gd name="T13" fmla="*/ 100 h 219"/>
                <a:gd name="T14" fmla="*/ 112 w 114"/>
                <a:gd name="T15" fmla="*/ 201 h 219"/>
                <a:gd name="T16" fmla="*/ 109 w 114"/>
                <a:gd name="T17" fmla="*/ 212 h 219"/>
                <a:gd name="T18" fmla="*/ 108 w 114"/>
                <a:gd name="T19" fmla="*/ 214 h 219"/>
                <a:gd name="T20" fmla="*/ 95 w 114"/>
                <a:gd name="T21" fmla="*/ 219 h 219"/>
                <a:gd name="T22" fmla="*/ 56 w 114"/>
                <a:gd name="T23" fmla="*/ 203 h 219"/>
                <a:gd name="T24" fmla="*/ 41 w 114"/>
                <a:gd name="T25" fmla="*/ 182 h 219"/>
                <a:gd name="T26" fmla="*/ 5 w 114"/>
                <a:gd name="T27" fmla="*/ 31 h 219"/>
                <a:gd name="T28" fmla="*/ 0 w 114"/>
                <a:gd name="T29" fmla="*/ 11 h 219"/>
                <a:gd name="T30" fmla="*/ 2 w 114"/>
                <a:gd name="T31" fmla="*/ 1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4" h="219">
                  <a:moveTo>
                    <a:pt x="2" y="10"/>
                  </a:moveTo>
                  <a:cubicBezTo>
                    <a:pt x="13" y="5"/>
                    <a:pt x="25" y="2"/>
                    <a:pt x="37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51" y="23"/>
                    <a:pt x="64" y="46"/>
                    <a:pt x="77" y="69"/>
                  </a:cubicBezTo>
                  <a:cubicBezTo>
                    <a:pt x="82" y="78"/>
                    <a:pt x="87" y="86"/>
                    <a:pt x="91" y="94"/>
                  </a:cubicBezTo>
                  <a:cubicBezTo>
                    <a:pt x="92" y="96"/>
                    <a:pt x="93" y="98"/>
                    <a:pt x="94" y="100"/>
                  </a:cubicBezTo>
                  <a:cubicBezTo>
                    <a:pt x="108" y="132"/>
                    <a:pt x="114" y="167"/>
                    <a:pt x="112" y="201"/>
                  </a:cubicBezTo>
                  <a:cubicBezTo>
                    <a:pt x="112" y="205"/>
                    <a:pt x="111" y="209"/>
                    <a:pt x="109" y="212"/>
                  </a:cubicBezTo>
                  <a:cubicBezTo>
                    <a:pt x="109" y="213"/>
                    <a:pt x="109" y="213"/>
                    <a:pt x="108" y="214"/>
                  </a:cubicBezTo>
                  <a:cubicBezTo>
                    <a:pt x="105" y="217"/>
                    <a:pt x="100" y="218"/>
                    <a:pt x="95" y="219"/>
                  </a:cubicBezTo>
                  <a:cubicBezTo>
                    <a:pt x="81" y="219"/>
                    <a:pt x="66" y="214"/>
                    <a:pt x="56" y="203"/>
                  </a:cubicBezTo>
                  <a:cubicBezTo>
                    <a:pt x="50" y="197"/>
                    <a:pt x="45" y="190"/>
                    <a:pt x="41" y="182"/>
                  </a:cubicBezTo>
                  <a:cubicBezTo>
                    <a:pt x="19" y="135"/>
                    <a:pt x="22" y="80"/>
                    <a:pt x="5" y="31"/>
                  </a:cubicBezTo>
                  <a:cubicBezTo>
                    <a:pt x="3" y="25"/>
                    <a:pt x="0" y="18"/>
                    <a:pt x="0" y="11"/>
                  </a:cubicBezTo>
                  <a:cubicBezTo>
                    <a:pt x="1" y="10"/>
                    <a:pt x="1" y="10"/>
                    <a:pt x="2" y="10"/>
                  </a:cubicBezTo>
                  <a:close/>
                </a:path>
              </a:pathLst>
            </a:custGeom>
            <a:solidFill>
              <a:srgbClr val="00BA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ïślíďe">
              <a:extLst>
                <a:ext uri="{FF2B5EF4-FFF2-40B4-BE49-F238E27FC236}">
                  <a16:creationId xmlns:a16="http://schemas.microsoft.com/office/drawing/2014/main" id="{5FAB30D2-B443-4942-95B8-D927059A70B6}"/>
                </a:ext>
              </a:extLst>
            </p:cNvPr>
            <p:cNvSpPr/>
            <p:nvPr/>
          </p:nvSpPr>
          <p:spPr bwMode="auto">
            <a:xfrm>
              <a:off x="5757732" y="4258251"/>
              <a:ext cx="449932" cy="758643"/>
            </a:xfrm>
            <a:custGeom>
              <a:avLst/>
              <a:gdLst>
                <a:gd name="T0" fmla="*/ 25 w 66"/>
                <a:gd name="T1" fmla="*/ 7 h 111"/>
                <a:gd name="T2" fmla="*/ 47 w 66"/>
                <a:gd name="T3" fmla="*/ 1 h 111"/>
                <a:gd name="T4" fmla="*/ 43 w 66"/>
                <a:gd name="T5" fmla="*/ 6 h 111"/>
                <a:gd name="T6" fmla="*/ 66 w 66"/>
                <a:gd name="T7" fmla="*/ 28 h 111"/>
                <a:gd name="T8" fmla="*/ 4 w 66"/>
                <a:gd name="T9" fmla="*/ 111 h 111"/>
                <a:gd name="T10" fmla="*/ 0 w 66"/>
                <a:gd name="T11" fmla="*/ 41 h 111"/>
                <a:gd name="T12" fmla="*/ 25 w 66"/>
                <a:gd name="T13" fmla="*/ 7 h 111"/>
                <a:gd name="T14" fmla="*/ 25 w 66"/>
                <a:gd name="T15" fmla="*/ 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6" h="111">
                  <a:moveTo>
                    <a:pt x="25" y="7"/>
                  </a:moveTo>
                  <a:cubicBezTo>
                    <a:pt x="32" y="3"/>
                    <a:pt x="40" y="0"/>
                    <a:pt x="47" y="1"/>
                  </a:cubicBezTo>
                  <a:cubicBezTo>
                    <a:pt x="46" y="3"/>
                    <a:pt x="44" y="4"/>
                    <a:pt x="43" y="6"/>
                  </a:cubicBezTo>
                  <a:cubicBezTo>
                    <a:pt x="51" y="13"/>
                    <a:pt x="59" y="21"/>
                    <a:pt x="66" y="28"/>
                  </a:cubicBezTo>
                  <a:cubicBezTo>
                    <a:pt x="4" y="111"/>
                    <a:pt x="4" y="111"/>
                    <a:pt x="4" y="111"/>
                  </a:cubicBezTo>
                  <a:cubicBezTo>
                    <a:pt x="2" y="87"/>
                    <a:pt x="1" y="64"/>
                    <a:pt x="0" y="41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5" y="7"/>
                    <a:pt x="25" y="7"/>
                    <a:pt x="25" y="7"/>
                  </a:cubicBezTo>
                  <a:close/>
                </a:path>
              </a:pathLst>
            </a:custGeom>
            <a:solidFill>
              <a:srgbClr val="C8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ïṡľiḓê">
              <a:extLst>
                <a:ext uri="{FF2B5EF4-FFF2-40B4-BE49-F238E27FC236}">
                  <a16:creationId xmlns:a16="http://schemas.microsoft.com/office/drawing/2014/main" id="{2B577C06-759C-4398-BD8D-ACC7B2B5B17D}"/>
                </a:ext>
              </a:extLst>
            </p:cNvPr>
            <p:cNvSpPr/>
            <p:nvPr/>
          </p:nvSpPr>
          <p:spPr bwMode="auto">
            <a:xfrm>
              <a:off x="5435884" y="2468380"/>
              <a:ext cx="1041081" cy="1024659"/>
            </a:xfrm>
            <a:custGeom>
              <a:avLst/>
              <a:gdLst>
                <a:gd name="T0" fmla="*/ 127 w 152"/>
                <a:gd name="T1" fmla="*/ 37 h 150"/>
                <a:gd name="T2" fmla="*/ 127 w 152"/>
                <a:gd name="T3" fmla="*/ 36 h 150"/>
                <a:gd name="T4" fmla="*/ 137 w 152"/>
                <a:gd name="T5" fmla="*/ 28 h 150"/>
                <a:gd name="T6" fmla="*/ 149 w 152"/>
                <a:gd name="T7" fmla="*/ 29 h 150"/>
                <a:gd name="T8" fmla="*/ 152 w 152"/>
                <a:gd name="T9" fmla="*/ 39 h 150"/>
                <a:gd name="T10" fmla="*/ 150 w 152"/>
                <a:gd name="T11" fmla="*/ 51 h 150"/>
                <a:gd name="T12" fmla="*/ 138 w 152"/>
                <a:gd name="T13" fmla="*/ 72 h 150"/>
                <a:gd name="T14" fmla="*/ 134 w 152"/>
                <a:gd name="T15" fmla="*/ 81 h 150"/>
                <a:gd name="T16" fmla="*/ 125 w 152"/>
                <a:gd name="T17" fmla="*/ 109 h 150"/>
                <a:gd name="T18" fmla="*/ 98 w 152"/>
                <a:gd name="T19" fmla="*/ 140 h 150"/>
                <a:gd name="T20" fmla="*/ 68 w 152"/>
                <a:gd name="T21" fmla="*/ 150 h 150"/>
                <a:gd name="T22" fmla="*/ 50 w 152"/>
                <a:gd name="T23" fmla="*/ 147 h 150"/>
                <a:gd name="T24" fmla="*/ 26 w 152"/>
                <a:gd name="T25" fmla="*/ 127 h 150"/>
                <a:gd name="T26" fmla="*/ 14 w 152"/>
                <a:gd name="T27" fmla="*/ 111 h 150"/>
                <a:gd name="T28" fmla="*/ 7 w 152"/>
                <a:gd name="T29" fmla="*/ 87 h 150"/>
                <a:gd name="T30" fmla="*/ 1 w 152"/>
                <a:gd name="T31" fmla="*/ 33 h 150"/>
                <a:gd name="T32" fmla="*/ 6 w 152"/>
                <a:gd name="T33" fmla="*/ 0 h 150"/>
                <a:gd name="T34" fmla="*/ 13 w 152"/>
                <a:gd name="T35" fmla="*/ 1 h 150"/>
                <a:gd name="T36" fmla="*/ 32 w 152"/>
                <a:gd name="T37" fmla="*/ 17 h 150"/>
                <a:gd name="T38" fmla="*/ 127 w 152"/>
                <a:gd name="T39" fmla="*/ 37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2" h="150">
                  <a:moveTo>
                    <a:pt x="127" y="37"/>
                  </a:moveTo>
                  <a:cubicBezTo>
                    <a:pt x="127" y="36"/>
                    <a:pt x="127" y="36"/>
                    <a:pt x="127" y="36"/>
                  </a:cubicBezTo>
                  <a:cubicBezTo>
                    <a:pt x="130" y="33"/>
                    <a:pt x="133" y="29"/>
                    <a:pt x="137" y="28"/>
                  </a:cubicBezTo>
                  <a:cubicBezTo>
                    <a:pt x="141" y="26"/>
                    <a:pt x="146" y="26"/>
                    <a:pt x="149" y="29"/>
                  </a:cubicBezTo>
                  <a:cubicBezTo>
                    <a:pt x="151" y="32"/>
                    <a:pt x="152" y="36"/>
                    <a:pt x="152" y="39"/>
                  </a:cubicBezTo>
                  <a:cubicBezTo>
                    <a:pt x="151" y="43"/>
                    <a:pt x="151" y="47"/>
                    <a:pt x="150" y="51"/>
                  </a:cubicBezTo>
                  <a:cubicBezTo>
                    <a:pt x="148" y="59"/>
                    <a:pt x="142" y="65"/>
                    <a:pt x="138" y="72"/>
                  </a:cubicBezTo>
                  <a:cubicBezTo>
                    <a:pt x="137" y="75"/>
                    <a:pt x="135" y="78"/>
                    <a:pt x="134" y="81"/>
                  </a:cubicBezTo>
                  <a:cubicBezTo>
                    <a:pt x="131" y="91"/>
                    <a:pt x="129" y="100"/>
                    <a:pt x="125" y="109"/>
                  </a:cubicBezTo>
                  <a:cubicBezTo>
                    <a:pt x="119" y="122"/>
                    <a:pt x="110" y="132"/>
                    <a:pt x="98" y="140"/>
                  </a:cubicBezTo>
                  <a:cubicBezTo>
                    <a:pt x="89" y="146"/>
                    <a:pt x="78" y="150"/>
                    <a:pt x="68" y="150"/>
                  </a:cubicBezTo>
                  <a:cubicBezTo>
                    <a:pt x="61" y="150"/>
                    <a:pt x="55" y="149"/>
                    <a:pt x="50" y="147"/>
                  </a:cubicBezTo>
                  <a:cubicBezTo>
                    <a:pt x="40" y="143"/>
                    <a:pt x="32" y="135"/>
                    <a:pt x="26" y="127"/>
                  </a:cubicBezTo>
                  <a:cubicBezTo>
                    <a:pt x="21" y="122"/>
                    <a:pt x="17" y="117"/>
                    <a:pt x="14" y="111"/>
                  </a:cubicBezTo>
                  <a:cubicBezTo>
                    <a:pt x="10" y="104"/>
                    <a:pt x="8" y="96"/>
                    <a:pt x="7" y="87"/>
                  </a:cubicBezTo>
                  <a:cubicBezTo>
                    <a:pt x="3" y="69"/>
                    <a:pt x="1" y="51"/>
                    <a:pt x="1" y="33"/>
                  </a:cubicBezTo>
                  <a:cubicBezTo>
                    <a:pt x="0" y="22"/>
                    <a:pt x="1" y="10"/>
                    <a:pt x="6" y="0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8" y="7"/>
                    <a:pt x="25" y="13"/>
                    <a:pt x="32" y="17"/>
                  </a:cubicBezTo>
                  <a:cubicBezTo>
                    <a:pt x="60" y="35"/>
                    <a:pt x="94" y="42"/>
                    <a:pt x="127" y="37"/>
                  </a:cubicBezTo>
                  <a:close/>
                </a:path>
              </a:pathLst>
            </a:custGeom>
            <a:solidFill>
              <a:srgbClr val="F9E3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îṩḻídé">
              <a:extLst>
                <a:ext uri="{FF2B5EF4-FFF2-40B4-BE49-F238E27FC236}">
                  <a16:creationId xmlns:a16="http://schemas.microsoft.com/office/drawing/2014/main" id="{A4C02642-FA9F-4235-83CF-BBA03F01C035}"/>
                </a:ext>
              </a:extLst>
            </p:cNvPr>
            <p:cNvSpPr/>
            <p:nvPr/>
          </p:nvSpPr>
          <p:spPr bwMode="auto">
            <a:xfrm>
              <a:off x="6522941" y="4041496"/>
              <a:ext cx="151072" cy="272587"/>
            </a:xfrm>
            <a:custGeom>
              <a:avLst/>
              <a:gdLst>
                <a:gd name="T0" fmla="*/ 0 w 22"/>
                <a:gd name="T1" fmla="*/ 24 h 40"/>
                <a:gd name="T2" fmla="*/ 17 w 22"/>
                <a:gd name="T3" fmla="*/ 0 h 40"/>
                <a:gd name="T4" fmla="*/ 22 w 22"/>
                <a:gd name="T5" fmla="*/ 40 h 40"/>
                <a:gd name="T6" fmla="*/ 0 w 22"/>
                <a:gd name="T7" fmla="*/ 2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40">
                  <a:moveTo>
                    <a:pt x="0" y="24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9" y="14"/>
                    <a:pt x="21" y="27"/>
                    <a:pt x="22" y="40"/>
                  </a:cubicBezTo>
                  <a:cubicBezTo>
                    <a:pt x="15" y="35"/>
                    <a:pt x="7" y="29"/>
                    <a:pt x="0" y="24"/>
                  </a:cubicBezTo>
                  <a:close/>
                </a:path>
              </a:pathLst>
            </a:custGeom>
            <a:solidFill>
              <a:srgbClr val="FFDF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íSḻîḋe">
              <a:extLst>
                <a:ext uri="{FF2B5EF4-FFF2-40B4-BE49-F238E27FC236}">
                  <a16:creationId xmlns:a16="http://schemas.microsoft.com/office/drawing/2014/main" id="{17DE2BD0-5D1C-4079-8FDB-E231CF4DC660}"/>
                </a:ext>
              </a:extLst>
            </p:cNvPr>
            <p:cNvSpPr/>
            <p:nvPr/>
          </p:nvSpPr>
          <p:spPr bwMode="auto">
            <a:xfrm>
              <a:off x="6237220" y="5299330"/>
              <a:ext cx="601003" cy="272587"/>
            </a:xfrm>
            <a:custGeom>
              <a:avLst/>
              <a:gdLst>
                <a:gd name="T0" fmla="*/ 158 w 183"/>
                <a:gd name="T1" fmla="*/ 6 h 83"/>
                <a:gd name="T2" fmla="*/ 183 w 183"/>
                <a:gd name="T3" fmla="*/ 73 h 83"/>
                <a:gd name="T4" fmla="*/ 0 w 183"/>
                <a:gd name="T5" fmla="*/ 83 h 83"/>
                <a:gd name="T6" fmla="*/ 4 w 183"/>
                <a:gd name="T7" fmla="*/ 0 h 83"/>
                <a:gd name="T8" fmla="*/ 158 w 183"/>
                <a:gd name="T9" fmla="*/ 6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83">
                  <a:moveTo>
                    <a:pt x="158" y="6"/>
                  </a:moveTo>
                  <a:lnTo>
                    <a:pt x="183" y="73"/>
                  </a:lnTo>
                  <a:lnTo>
                    <a:pt x="0" y="83"/>
                  </a:lnTo>
                  <a:lnTo>
                    <a:pt x="4" y="0"/>
                  </a:lnTo>
                  <a:lnTo>
                    <a:pt x="158" y="6"/>
                  </a:lnTo>
                  <a:close/>
                </a:path>
              </a:pathLst>
            </a:custGeom>
            <a:solidFill>
              <a:srgbClr val="C9C9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ïşḻíḍe">
              <a:extLst>
                <a:ext uri="{FF2B5EF4-FFF2-40B4-BE49-F238E27FC236}">
                  <a16:creationId xmlns:a16="http://schemas.microsoft.com/office/drawing/2014/main" id="{61329C51-914E-48F3-B2BD-32A347C15D4D}"/>
                </a:ext>
              </a:extLst>
            </p:cNvPr>
            <p:cNvSpPr/>
            <p:nvPr/>
          </p:nvSpPr>
          <p:spPr bwMode="auto">
            <a:xfrm>
              <a:off x="5764300" y="1850958"/>
              <a:ext cx="978681" cy="643696"/>
            </a:xfrm>
            <a:custGeom>
              <a:avLst/>
              <a:gdLst>
                <a:gd name="T0" fmla="*/ 143 w 143"/>
                <a:gd name="T1" fmla="*/ 94 h 94"/>
                <a:gd name="T2" fmla="*/ 132 w 143"/>
                <a:gd name="T3" fmla="*/ 92 h 94"/>
                <a:gd name="T4" fmla="*/ 71 w 143"/>
                <a:gd name="T5" fmla="*/ 80 h 94"/>
                <a:gd name="T6" fmla="*/ 0 w 143"/>
                <a:gd name="T7" fmla="*/ 60 h 94"/>
                <a:gd name="T8" fmla="*/ 0 w 143"/>
                <a:gd name="T9" fmla="*/ 58 h 94"/>
                <a:gd name="T10" fmla="*/ 53 w 143"/>
                <a:gd name="T11" fmla="*/ 0 h 94"/>
                <a:gd name="T12" fmla="*/ 53 w 143"/>
                <a:gd name="T13" fmla="*/ 0 h 94"/>
                <a:gd name="T14" fmla="*/ 63 w 143"/>
                <a:gd name="T15" fmla="*/ 2 h 94"/>
                <a:gd name="T16" fmla="*/ 143 w 143"/>
                <a:gd name="T17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3" h="94">
                  <a:moveTo>
                    <a:pt x="143" y="94"/>
                  </a:moveTo>
                  <a:cubicBezTo>
                    <a:pt x="140" y="93"/>
                    <a:pt x="136" y="93"/>
                    <a:pt x="132" y="92"/>
                  </a:cubicBezTo>
                  <a:cubicBezTo>
                    <a:pt x="114" y="90"/>
                    <a:pt x="88" y="86"/>
                    <a:pt x="71" y="80"/>
                  </a:cubicBezTo>
                  <a:cubicBezTo>
                    <a:pt x="50" y="72"/>
                    <a:pt x="22" y="61"/>
                    <a:pt x="0" y="60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9" y="33"/>
                    <a:pt x="28" y="11"/>
                    <a:pt x="53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0"/>
                    <a:pt x="57" y="1"/>
                    <a:pt x="63" y="2"/>
                  </a:cubicBezTo>
                  <a:cubicBezTo>
                    <a:pt x="85" y="7"/>
                    <a:pt x="138" y="25"/>
                    <a:pt x="143" y="94"/>
                  </a:cubicBezTo>
                  <a:close/>
                </a:path>
              </a:pathLst>
            </a:custGeom>
            <a:solidFill>
              <a:srgbClr val="F4CB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ïŝľíḋé">
              <a:extLst>
                <a:ext uri="{FF2B5EF4-FFF2-40B4-BE49-F238E27FC236}">
                  <a16:creationId xmlns:a16="http://schemas.microsoft.com/office/drawing/2014/main" id="{6AA61871-6872-47C6-8E74-B80ABABBD8EB}"/>
                </a:ext>
              </a:extLst>
            </p:cNvPr>
            <p:cNvSpPr/>
            <p:nvPr/>
          </p:nvSpPr>
          <p:spPr bwMode="auto">
            <a:xfrm>
              <a:off x="6050022" y="4074338"/>
              <a:ext cx="384248" cy="377680"/>
            </a:xfrm>
            <a:custGeom>
              <a:avLst/>
              <a:gdLst>
                <a:gd name="T0" fmla="*/ 56 w 56"/>
                <a:gd name="T1" fmla="*/ 12 h 55"/>
                <a:gd name="T2" fmla="*/ 23 w 56"/>
                <a:gd name="T3" fmla="*/ 55 h 55"/>
                <a:gd name="T4" fmla="*/ 0 w 56"/>
                <a:gd name="T5" fmla="*/ 33 h 55"/>
                <a:gd name="T6" fmla="*/ 4 w 56"/>
                <a:gd name="T7" fmla="*/ 28 h 55"/>
                <a:gd name="T8" fmla="*/ 35 w 56"/>
                <a:gd name="T9" fmla="*/ 3 h 55"/>
                <a:gd name="T10" fmla="*/ 39 w 56"/>
                <a:gd name="T11" fmla="*/ 0 h 55"/>
                <a:gd name="T12" fmla="*/ 48 w 56"/>
                <a:gd name="T13" fmla="*/ 7 h 55"/>
                <a:gd name="T14" fmla="*/ 56 w 56"/>
                <a:gd name="T15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55">
                  <a:moveTo>
                    <a:pt x="56" y="12"/>
                  </a:moveTo>
                  <a:cubicBezTo>
                    <a:pt x="23" y="55"/>
                    <a:pt x="23" y="55"/>
                    <a:pt x="23" y="55"/>
                  </a:cubicBezTo>
                  <a:cubicBezTo>
                    <a:pt x="16" y="48"/>
                    <a:pt x="8" y="40"/>
                    <a:pt x="0" y="33"/>
                  </a:cubicBezTo>
                  <a:cubicBezTo>
                    <a:pt x="1" y="31"/>
                    <a:pt x="3" y="30"/>
                    <a:pt x="4" y="28"/>
                  </a:cubicBezTo>
                  <a:cubicBezTo>
                    <a:pt x="12" y="20"/>
                    <a:pt x="25" y="10"/>
                    <a:pt x="35" y="3"/>
                  </a:cubicBezTo>
                  <a:cubicBezTo>
                    <a:pt x="36" y="1"/>
                    <a:pt x="37" y="0"/>
                    <a:pt x="39" y="0"/>
                  </a:cubicBezTo>
                  <a:cubicBezTo>
                    <a:pt x="41" y="3"/>
                    <a:pt x="45" y="5"/>
                    <a:pt x="48" y="7"/>
                  </a:cubicBezTo>
                  <a:cubicBezTo>
                    <a:pt x="51" y="8"/>
                    <a:pt x="54" y="10"/>
                    <a:pt x="56" y="12"/>
                  </a:cubicBezTo>
                  <a:close/>
                </a:path>
              </a:pathLst>
            </a:custGeom>
            <a:solidFill>
              <a:srgbClr val="00BA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íṧľïḋê">
              <a:extLst>
                <a:ext uri="{FF2B5EF4-FFF2-40B4-BE49-F238E27FC236}">
                  <a16:creationId xmlns:a16="http://schemas.microsoft.com/office/drawing/2014/main" id="{73E79AA6-D634-4A29-99A2-F548AD09DCB6}"/>
                </a:ext>
              </a:extLst>
            </p:cNvPr>
            <p:cNvSpPr/>
            <p:nvPr/>
          </p:nvSpPr>
          <p:spPr bwMode="auto">
            <a:xfrm>
              <a:off x="5550829" y="5325603"/>
              <a:ext cx="282438" cy="289006"/>
            </a:xfrm>
            <a:custGeom>
              <a:avLst/>
              <a:gdLst>
                <a:gd name="T0" fmla="*/ 41 w 41"/>
                <a:gd name="T1" fmla="*/ 37 h 42"/>
                <a:gd name="T2" fmla="*/ 4 w 41"/>
                <a:gd name="T3" fmla="*/ 42 h 42"/>
                <a:gd name="T4" fmla="*/ 0 w 41"/>
                <a:gd name="T5" fmla="*/ 22 h 42"/>
                <a:gd name="T6" fmla="*/ 2 w 41"/>
                <a:gd name="T7" fmla="*/ 22 h 42"/>
                <a:gd name="T8" fmla="*/ 19 w 41"/>
                <a:gd name="T9" fmla="*/ 0 h 42"/>
                <a:gd name="T10" fmla="*/ 38 w 41"/>
                <a:gd name="T11" fmla="*/ 0 h 42"/>
                <a:gd name="T12" fmla="*/ 38 w 41"/>
                <a:gd name="T13" fmla="*/ 0 h 42"/>
                <a:gd name="T14" fmla="*/ 41 w 41"/>
                <a:gd name="T15" fmla="*/ 37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42">
                  <a:moveTo>
                    <a:pt x="41" y="37"/>
                  </a:moveTo>
                  <a:cubicBezTo>
                    <a:pt x="4" y="42"/>
                    <a:pt x="4" y="42"/>
                    <a:pt x="4" y="42"/>
                  </a:cubicBezTo>
                  <a:cubicBezTo>
                    <a:pt x="4" y="35"/>
                    <a:pt x="2" y="28"/>
                    <a:pt x="0" y="22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9" y="13"/>
                    <a:pt x="40" y="25"/>
                    <a:pt x="41" y="37"/>
                  </a:cubicBezTo>
                  <a:close/>
                </a:path>
              </a:pathLst>
            </a:custGeom>
            <a:solidFill>
              <a:srgbClr val="C9C9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îṧḻíḓê">
              <a:extLst>
                <a:ext uri="{FF2B5EF4-FFF2-40B4-BE49-F238E27FC236}">
                  <a16:creationId xmlns:a16="http://schemas.microsoft.com/office/drawing/2014/main" id="{C465DA4C-37FD-453A-8AD8-A3A31367B761}"/>
                </a:ext>
              </a:extLst>
            </p:cNvPr>
            <p:cNvSpPr/>
            <p:nvPr/>
          </p:nvSpPr>
          <p:spPr bwMode="auto">
            <a:xfrm>
              <a:off x="4053250" y="2961005"/>
              <a:ext cx="541888" cy="443363"/>
            </a:xfrm>
            <a:custGeom>
              <a:avLst/>
              <a:gdLst>
                <a:gd name="T0" fmla="*/ 58 w 79"/>
                <a:gd name="T1" fmla="*/ 0 h 65"/>
                <a:gd name="T2" fmla="*/ 0 w 79"/>
                <a:gd name="T3" fmla="*/ 15 h 65"/>
                <a:gd name="T4" fmla="*/ 13 w 79"/>
                <a:gd name="T5" fmla="*/ 60 h 65"/>
                <a:gd name="T6" fmla="*/ 30 w 79"/>
                <a:gd name="T7" fmla="*/ 62 h 65"/>
                <a:gd name="T8" fmla="*/ 64 w 79"/>
                <a:gd name="T9" fmla="*/ 61 h 65"/>
                <a:gd name="T10" fmla="*/ 72 w 79"/>
                <a:gd name="T11" fmla="*/ 60 h 65"/>
                <a:gd name="T12" fmla="*/ 79 w 79"/>
                <a:gd name="T13" fmla="*/ 64 h 65"/>
                <a:gd name="T14" fmla="*/ 58 w 79"/>
                <a:gd name="T15" fmla="*/ 0 h 65"/>
                <a:gd name="T16" fmla="*/ 22 w 79"/>
                <a:gd name="T17" fmla="*/ 34 h 65"/>
                <a:gd name="T18" fmla="*/ 15 w 79"/>
                <a:gd name="T19" fmla="*/ 27 h 65"/>
                <a:gd name="T20" fmla="*/ 22 w 79"/>
                <a:gd name="T21" fmla="*/ 19 h 65"/>
                <a:gd name="T22" fmla="*/ 30 w 79"/>
                <a:gd name="T23" fmla="*/ 27 h 65"/>
                <a:gd name="T24" fmla="*/ 22 w 79"/>
                <a:gd name="T25" fmla="*/ 34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9" h="65">
                  <a:moveTo>
                    <a:pt x="58" y="0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13" y="60"/>
                    <a:pt x="13" y="60"/>
                    <a:pt x="13" y="60"/>
                  </a:cubicBezTo>
                  <a:cubicBezTo>
                    <a:pt x="18" y="58"/>
                    <a:pt x="24" y="60"/>
                    <a:pt x="30" y="62"/>
                  </a:cubicBezTo>
                  <a:cubicBezTo>
                    <a:pt x="41" y="65"/>
                    <a:pt x="53" y="65"/>
                    <a:pt x="64" y="61"/>
                  </a:cubicBezTo>
                  <a:cubicBezTo>
                    <a:pt x="67" y="61"/>
                    <a:pt x="69" y="60"/>
                    <a:pt x="72" y="60"/>
                  </a:cubicBezTo>
                  <a:cubicBezTo>
                    <a:pt x="75" y="60"/>
                    <a:pt x="77" y="62"/>
                    <a:pt x="79" y="64"/>
                  </a:cubicBezTo>
                  <a:lnTo>
                    <a:pt x="58" y="0"/>
                  </a:lnTo>
                  <a:close/>
                  <a:moveTo>
                    <a:pt x="22" y="34"/>
                  </a:moveTo>
                  <a:cubicBezTo>
                    <a:pt x="18" y="34"/>
                    <a:pt x="15" y="31"/>
                    <a:pt x="15" y="27"/>
                  </a:cubicBezTo>
                  <a:cubicBezTo>
                    <a:pt x="15" y="23"/>
                    <a:pt x="18" y="19"/>
                    <a:pt x="22" y="19"/>
                  </a:cubicBezTo>
                  <a:cubicBezTo>
                    <a:pt x="26" y="19"/>
                    <a:pt x="30" y="23"/>
                    <a:pt x="30" y="27"/>
                  </a:cubicBezTo>
                  <a:cubicBezTo>
                    <a:pt x="30" y="31"/>
                    <a:pt x="26" y="34"/>
                    <a:pt x="22" y="34"/>
                  </a:cubicBezTo>
                  <a:close/>
                </a:path>
              </a:pathLst>
            </a:custGeom>
            <a:solidFill>
              <a:srgbClr val="C8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îṩḻîḓe">
              <a:extLst>
                <a:ext uri="{FF2B5EF4-FFF2-40B4-BE49-F238E27FC236}">
                  <a16:creationId xmlns:a16="http://schemas.microsoft.com/office/drawing/2014/main" id="{F8CD017D-C000-43BD-B8D7-A56E61C01CD6}"/>
                </a:ext>
              </a:extLst>
            </p:cNvPr>
            <p:cNvSpPr/>
            <p:nvPr/>
          </p:nvSpPr>
          <p:spPr bwMode="auto">
            <a:xfrm>
              <a:off x="4155060" y="3089089"/>
              <a:ext cx="105093" cy="105093"/>
            </a:xfrm>
            <a:prstGeom prst="ellipse">
              <a:avLst/>
            </a:prstGeom>
            <a:solidFill>
              <a:srgbClr val="A6B8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ïṩ1iḍe">
              <a:extLst>
                <a:ext uri="{FF2B5EF4-FFF2-40B4-BE49-F238E27FC236}">
                  <a16:creationId xmlns:a16="http://schemas.microsoft.com/office/drawing/2014/main" id="{3B46AB0A-B254-4589-A695-BF0F5D512A02}"/>
                </a:ext>
              </a:extLst>
            </p:cNvPr>
            <p:cNvSpPr/>
            <p:nvPr/>
          </p:nvSpPr>
          <p:spPr bwMode="auto">
            <a:xfrm>
              <a:off x="6207662" y="4156441"/>
              <a:ext cx="315280" cy="371112"/>
            </a:xfrm>
            <a:custGeom>
              <a:avLst/>
              <a:gdLst>
                <a:gd name="T0" fmla="*/ 46 w 46"/>
                <a:gd name="T1" fmla="*/ 7 h 54"/>
                <a:gd name="T2" fmla="*/ 11 w 46"/>
                <a:gd name="T3" fmla="*/ 53 h 54"/>
                <a:gd name="T4" fmla="*/ 10 w 46"/>
                <a:gd name="T5" fmla="*/ 54 h 54"/>
                <a:gd name="T6" fmla="*/ 0 w 46"/>
                <a:gd name="T7" fmla="*/ 43 h 54"/>
                <a:gd name="T8" fmla="*/ 33 w 46"/>
                <a:gd name="T9" fmla="*/ 0 h 54"/>
                <a:gd name="T10" fmla="*/ 46 w 46"/>
                <a:gd name="T11" fmla="*/ 7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54">
                  <a:moveTo>
                    <a:pt x="46" y="7"/>
                  </a:moveTo>
                  <a:cubicBezTo>
                    <a:pt x="11" y="53"/>
                    <a:pt x="11" y="53"/>
                    <a:pt x="11" y="53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7" y="50"/>
                    <a:pt x="4" y="47"/>
                    <a:pt x="0" y="43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7" y="2"/>
                    <a:pt x="42" y="5"/>
                    <a:pt x="46" y="7"/>
                  </a:cubicBezTo>
                  <a:close/>
                </a:path>
              </a:pathLst>
            </a:custGeom>
            <a:solidFill>
              <a:srgbClr val="00BA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iṥḻídê">
              <a:extLst>
                <a:ext uri="{FF2B5EF4-FFF2-40B4-BE49-F238E27FC236}">
                  <a16:creationId xmlns:a16="http://schemas.microsoft.com/office/drawing/2014/main" id="{E3CB65D7-DBCE-44B5-820F-F5AADCF11018}"/>
                </a:ext>
              </a:extLst>
            </p:cNvPr>
            <p:cNvSpPr/>
            <p:nvPr/>
          </p:nvSpPr>
          <p:spPr bwMode="auto">
            <a:xfrm>
              <a:off x="5366916" y="5578485"/>
              <a:ext cx="528751" cy="403953"/>
            </a:xfrm>
            <a:custGeom>
              <a:avLst/>
              <a:gdLst>
                <a:gd name="T0" fmla="*/ 77 w 77"/>
                <a:gd name="T1" fmla="*/ 59 h 59"/>
                <a:gd name="T2" fmla="*/ 0 w 77"/>
                <a:gd name="T3" fmla="*/ 51 h 59"/>
                <a:gd name="T4" fmla="*/ 31 w 77"/>
                <a:gd name="T5" fmla="*/ 5 h 59"/>
                <a:gd name="T6" fmla="*/ 68 w 77"/>
                <a:gd name="T7" fmla="*/ 0 h 59"/>
                <a:gd name="T8" fmla="*/ 77 w 77"/>
                <a:gd name="T9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59">
                  <a:moveTo>
                    <a:pt x="77" y="59"/>
                  </a:moveTo>
                  <a:cubicBezTo>
                    <a:pt x="51" y="58"/>
                    <a:pt x="25" y="56"/>
                    <a:pt x="0" y="51"/>
                  </a:cubicBezTo>
                  <a:cubicBezTo>
                    <a:pt x="18" y="44"/>
                    <a:pt x="31" y="26"/>
                    <a:pt x="31" y="5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1" y="24"/>
                    <a:pt x="74" y="44"/>
                    <a:pt x="77" y="59"/>
                  </a:cubicBezTo>
                  <a:close/>
                </a:path>
              </a:pathLst>
            </a:custGeom>
            <a:solidFill>
              <a:srgbClr val="FFDF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íslíďè">
              <a:extLst>
                <a:ext uri="{FF2B5EF4-FFF2-40B4-BE49-F238E27FC236}">
                  <a16:creationId xmlns:a16="http://schemas.microsoft.com/office/drawing/2014/main" id="{A04B6438-F959-4E10-AA03-8CA3D3746BDB}"/>
                </a:ext>
              </a:extLst>
            </p:cNvPr>
            <p:cNvSpPr/>
            <p:nvPr/>
          </p:nvSpPr>
          <p:spPr bwMode="auto">
            <a:xfrm>
              <a:off x="6214230" y="2954437"/>
              <a:ext cx="965544" cy="1202004"/>
            </a:xfrm>
            <a:custGeom>
              <a:avLst/>
              <a:gdLst>
                <a:gd name="T0" fmla="*/ 24 w 141"/>
                <a:gd name="T1" fmla="*/ 171 h 176"/>
                <a:gd name="T2" fmla="*/ 15 w 141"/>
                <a:gd name="T3" fmla="*/ 164 h 176"/>
                <a:gd name="T4" fmla="*/ 11 w 141"/>
                <a:gd name="T5" fmla="*/ 167 h 176"/>
                <a:gd name="T6" fmla="*/ 0 w 141"/>
                <a:gd name="T7" fmla="*/ 142 h 176"/>
                <a:gd name="T8" fmla="*/ 34 w 141"/>
                <a:gd name="T9" fmla="*/ 96 h 176"/>
                <a:gd name="T10" fmla="*/ 105 w 141"/>
                <a:gd name="T11" fmla="*/ 0 h 176"/>
                <a:gd name="T12" fmla="*/ 141 w 141"/>
                <a:gd name="T13" fmla="*/ 32 h 176"/>
                <a:gd name="T14" fmla="*/ 32 w 141"/>
                <a:gd name="T15" fmla="*/ 176 h 176"/>
                <a:gd name="T16" fmla="*/ 24 w 141"/>
                <a:gd name="T17" fmla="*/ 171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1" h="176">
                  <a:moveTo>
                    <a:pt x="24" y="171"/>
                  </a:moveTo>
                  <a:cubicBezTo>
                    <a:pt x="21" y="169"/>
                    <a:pt x="17" y="167"/>
                    <a:pt x="15" y="164"/>
                  </a:cubicBezTo>
                  <a:cubicBezTo>
                    <a:pt x="13" y="164"/>
                    <a:pt x="12" y="165"/>
                    <a:pt x="11" y="167"/>
                  </a:cubicBezTo>
                  <a:cubicBezTo>
                    <a:pt x="7" y="158"/>
                    <a:pt x="5" y="149"/>
                    <a:pt x="0" y="142"/>
                  </a:cubicBezTo>
                  <a:cubicBezTo>
                    <a:pt x="34" y="96"/>
                    <a:pt x="34" y="96"/>
                    <a:pt x="34" y="96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14" y="13"/>
                    <a:pt x="126" y="25"/>
                    <a:pt x="141" y="32"/>
                  </a:cubicBezTo>
                  <a:cubicBezTo>
                    <a:pt x="32" y="176"/>
                    <a:pt x="32" y="176"/>
                    <a:pt x="32" y="176"/>
                  </a:cubicBezTo>
                  <a:cubicBezTo>
                    <a:pt x="30" y="174"/>
                    <a:pt x="27" y="172"/>
                    <a:pt x="24" y="171"/>
                  </a:cubicBezTo>
                  <a:close/>
                </a:path>
              </a:pathLst>
            </a:custGeom>
            <a:solidFill>
              <a:srgbClr val="C8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iṡḷïďè">
              <a:extLst>
                <a:ext uri="{FF2B5EF4-FFF2-40B4-BE49-F238E27FC236}">
                  <a16:creationId xmlns:a16="http://schemas.microsoft.com/office/drawing/2014/main" id="{712AE46C-F41E-4962-BF4E-6CF891D72E06}"/>
                </a:ext>
              </a:extLst>
            </p:cNvPr>
            <p:cNvSpPr/>
            <p:nvPr/>
          </p:nvSpPr>
          <p:spPr bwMode="auto">
            <a:xfrm>
              <a:off x="7215901" y="1933063"/>
              <a:ext cx="479488" cy="752075"/>
            </a:xfrm>
            <a:custGeom>
              <a:avLst/>
              <a:gdLst>
                <a:gd name="T0" fmla="*/ 70 w 70"/>
                <a:gd name="T1" fmla="*/ 4 h 110"/>
                <a:gd name="T2" fmla="*/ 17 w 70"/>
                <a:gd name="T3" fmla="*/ 64 h 110"/>
                <a:gd name="T4" fmla="*/ 23 w 70"/>
                <a:gd name="T5" fmla="*/ 110 h 110"/>
                <a:gd name="T6" fmla="*/ 7 w 70"/>
                <a:gd name="T7" fmla="*/ 98 h 110"/>
                <a:gd name="T8" fmla="*/ 0 w 70"/>
                <a:gd name="T9" fmla="*/ 58 h 110"/>
                <a:gd name="T10" fmla="*/ 52 w 70"/>
                <a:gd name="T11" fmla="*/ 0 h 110"/>
                <a:gd name="T12" fmla="*/ 70 w 70"/>
                <a:gd name="T13" fmla="*/ 4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110">
                  <a:moveTo>
                    <a:pt x="70" y="4"/>
                  </a:moveTo>
                  <a:cubicBezTo>
                    <a:pt x="17" y="64"/>
                    <a:pt x="17" y="64"/>
                    <a:pt x="17" y="64"/>
                  </a:cubicBezTo>
                  <a:cubicBezTo>
                    <a:pt x="23" y="110"/>
                    <a:pt x="23" y="110"/>
                    <a:pt x="23" y="110"/>
                  </a:cubicBezTo>
                  <a:cubicBezTo>
                    <a:pt x="7" y="98"/>
                    <a:pt x="7" y="98"/>
                    <a:pt x="7" y="9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8" y="0"/>
                    <a:pt x="64" y="2"/>
                    <a:pt x="70" y="4"/>
                  </a:cubicBezTo>
                  <a:close/>
                </a:path>
              </a:pathLst>
            </a:custGeom>
            <a:solidFill>
              <a:srgbClr val="A6B8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íṩ1iḓê">
              <a:extLst>
                <a:ext uri="{FF2B5EF4-FFF2-40B4-BE49-F238E27FC236}">
                  <a16:creationId xmlns:a16="http://schemas.microsoft.com/office/drawing/2014/main" id="{4C9C25ED-2DBC-4DED-A1B2-BF5AD1989246}"/>
                </a:ext>
              </a:extLst>
            </p:cNvPr>
            <p:cNvSpPr/>
            <p:nvPr/>
          </p:nvSpPr>
          <p:spPr bwMode="auto">
            <a:xfrm>
              <a:off x="4053250" y="3355105"/>
              <a:ext cx="601003" cy="568161"/>
            </a:xfrm>
            <a:custGeom>
              <a:avLst/>
              <a:gdLst>
                <a:gd name="T0" fmla="*/ 79 w 88"/>
                <a:gd name="T1" fmla="*/ 6 h 83"/>
                <a:gd name="T2" fmla="*/ 88 w 88"/>
                <a:gd name="T3" fmla="*/ 36 h 83"/>
                <a:gd name="T4" fmla="*/ 84 w 88"/>
                <a:gd name="T5" fmla="*/ 42 h 83"/>
                <a:gd name="T6" fmla="*/ 70 w 88"/>
                <a:gd name="T7" fmla="*/ 55 h 83"/>
                <a:gd name="T8" fmla="*/ 61 w 88"/>
                <a:gd name="T9" fmla="*/ 72 h 83"/>
                <a:gd name="T10" fmla="*/ 62 w 88"/>
                <a:gd name="T11" fmla="*/ 74 h 83"/>
                <a:gd name="T12" fmla="*/ 31 w 88"/>
                <a:gd name="T13" fmla="*/ 83 h 83"/>
                <a:gd name="T14" fmla="*/ 9 w 88"/>
                <a:gd name="T15" fmla="*/ 44 h 83"/>
                <a:gd name="T16" fmla="*/ 0 w 88"/>
                <a:gd name="T17" fmla="*/ 21 h 83"/>
                <a:gd name="T18" fmla="*/ 13 w 88"/>
                <a:gd name="T19" fmla="*/ 2 h 83"/>
                <a:gd name="T20" fmla="*/ 30 w 88"/>
                <a:gd name="T21" fmla="*/ 4 h 83"/>
                <a:gd name="T22" fmla="*/ 64 w 88"/>
                <a:gd name="T23" fmla="*/ 3 h 83"/>
                <a:gd name="T24" fmla="*/ 72 w 88"/>
                <a:gd name="T25" fmla="*/ 2 h 83"/>
                <a:gd name="T26" fmla="*/ 79 w 88"/>
                <a:gd name="T27" fmla="*/ 6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8" h="83">
                  <a:moveTo>
                    <a:pt x="79" y="6"/>
                  </a:moveTo>
                  <a:cubicBezTo>
                    <a:pt x="88" y="36"/>
                    <a:pt x="88" y="36"/>
                    <a:pt x="88" y="36"/>
                  </a:cubicBezTo>
                  <a:cubicBezTo>
                    <a:pt x="88" y="38"/>
                    <a:pt x="86" y="40"/>
                    <a:pt x="84" y="42"/>
                  </a:cubicBezTo>
                  <a:cubicBezTo>
                    <a:pt x="80" y="46"/>
                    <a:pt x="75" y="50"/>
                    <a:pt x="70" y="55"/>
                  </a:cubicBezTo>
                  <a:cubicBezTo>
                    <a:pt x="66" y="59"/>
                    <a:pt x="62" y="65"/>
                    <a:pt x="61" y="72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51" y="76"/>
                    <a:pt x="41" y="79"/>
                    <a:pt x="31" y="83"/>
                  </a:cubicBezTo>
                  <a:cubicBezTo>
                    <a:pt x="23" y="70"/>
                    <a:pt x="16" y="57"/>
                    <a:pt x="9" y="44"/>
                  </a:cubicBezTo>
                  <a:cubicBezTo>
                    <a:pt x="5" y="37"/>
                    <a:pt x="1" y="29"/>
                    <a:pt x="0" y="21"/>
                  </a:cubicBezTo>
                  <a:cubicBezTo>
                    <a:pt x="0" y="13"/>
                    <a:pt x="5" y="3"/>
                    <a:pt x="13" y="2"/>
                  </a:cubicBezTo>
                  <a:cubicBezTo>
                    <a:pt x="18" y="0"/>
                    <a:pt x="24" y="2"/>
                    <a:pt x="30" y="4"/>
                  </a:cubicBezTo>
                  <a:cubicBezTo>
                    <a:pt x="41" y="7"/>
                    <a:pt x="53" y="7"/>
                    <a:pt x="64" y="3"/>
                  </a:cubicBezTo>
                  <a:cubicBezTo>
                    <a:pt x="67" y="3"/>
                    <a:pt x="69" y="2"/>
                    <a:pt x="72" y="2"/>
                  </a:cubicBezTo>
                  <a:cubicBezTo>
                    <a:pt x="75" y="2"/>
                    <a:pt x="77" y="4"/>
                    <a:pt x="79" y="6"/>
                  </a:cubicBezTo>
                  <a:close/>
                </a:path>
              </a:pathLst>
            </a:custGeom>
            <a:solidFill>
              <a:srgbClr val="F9E3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iśḻíḑé">
              <a:extLst>
                <a:ext uri="{FF2B5EF4-FFF2-40B4-BE49-F238E27FC236}">
                  <a16:creationId xmlns:a16="http://schemas.microsoft.com/office/drawing/2014/main" id="{C2DAA7DB-C4E5-4C8C-88B9-1AAFC41AE03B}"/>
                </a:ext>
              </a:extLst>
            </p:cNvPr>
            <p:cNvSpPr/>
            <p:nvPr/>
          </p:nvSpPr>
          <p:spPr bwMode="auto">
            <a:xfrm>
              <a:off x="5826699" y="3847729"/>
              <a:ext cx="387531" cy="541888"/>
            </a:xfrm>
            <a:custGeom>
              <a:avLst/>
              <a:gdLst>
                <a:gd name="T0" fmla="*/ 5 w 57"/>
                <a:gd name="T1" fmla="*/ 79 h 79"/>
                <a:gd name="T2" fmla="*/ 1 w 57"/>
                <a:gd name="T3" fmla="*/ 61 h 79"/>
                <a:gd name="T4" fmla="*/ 2 w 57"/>
                <a:gd name="T5" fmla="*/ 47 h 79"/>
                <a:gd name="T6" fmla="*/ 14 w 57"/>
                <a:gd name="T7" fmla="*/ 25 h 79"/>
                <a:gd name="T8" fmla="*/ 18 w 57"/>
                <a:gd name="T9" fmla="*/ 18 h 79"/>
                <a:gd name="T10" fmla="*/ 22 w 57"/>
                <a:gd name="T11" fmla="*/ 11 h 79"/>
                <a:gd name="T12" fmla="*/ 52 w 57"/>
                <a:gd name="T13" fmla="*/ 6 h 79"/>
                <a:gd name="T14" fmla="*/ 57 w 57"/>
                <a:gd name="T15" fmla="*/ 11 h 79"/>
                <a:gd name="T16" fmla="*/ 15 w 57"/>
                <a:gd name="T17" fmla="*/ 67 h 79"/>
                <a:gd name="T18" fmla="*/ 15 w 57"/>
                <a:gd name="T19" fmla="*/ 67 h 79"/>
                <a:gd name="T20" fmla="*/ 5 w 57"/>
                <a:gd name="T21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" h="79">
                  <a:moveTo>
                    <a:pt x="5" y="79"/>
                  </a:moveTo>
                  <a:cubicBezTo>
                    <a:pt x="4" y="71"/>
                    <a:pt x="2" y="68"/>
                    <a:pt x="1" y="61"/>
                  </a:cubicBezTo>
                  <a:cubicBezTo>
                    <a:pt x="1" y="56"/>
                    <a:pt x="0" y="51"/>
                    <a:pt x="2" y="47"/>
                  </a:cubicBezTo>
                  <a:cubicBezTo>
                    <a:pt x="5" y="39"/>
                    <a:pt x="9" y="32"/>
                    <a:pt x="14" y="25"/>
                  </a:cubicBezTo>
                  <a:cubicBezTo>
                    <a:pt x="16" y="23"/>
                    <a:pt x="17" y="20"/>
                    <a:pt x="18" y="18"/>
                  </a:cubicBezTo>
                  <a:cubicBezTo>
                    <a:pt x="19" y="16"/>
                    <a:pt x="20" y="13"/>
                    <a:pt x="22" y="11"/>
                  </a:cubicBezTo>
                  <a:cubicBezTo>
                    <a:pt x="28" y="2"/>
                    <a:pt x="43" y="0"/>
                    <a:pt x="52" y="6"/>
                  </a:cubicBezTo>
                  <a:cubicBezTo>
                    <a:pt x="54" y="7"/>
                    <a:pt x="55" y="9"/>
                    <a:pt x="57" y="11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8" y="71"/>
                    <a:pt x="5" y="79"/>
                    <a:pt x="5" y="79"/>
                  </a:cubicBezTo>
                  <a:close/>
                </a:path>
              </a:pathLst>
            </a:custGeom>
            <a:solidFill>
              <a:srgbClr val="F9E3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îṡlíḓé">
              <a:extLst>
                <a:ext uri="{FF2B5EF4-FFF2-40B4-BE49-F238E27FC236}">
                  <a16:creationId xmlns:a16="http://schemas.microsoft.com/office/drawing/2014/main" id="{93F83BD9-D1B5-48F8-9A11-61D9F9F4021B}"/>
                </a:ext>
              </a:extLst>
            </p:cNvPr>
            <p:cNvSpPr/>
            <p:nvPr/>
          </p:nvSpPr>
          <p:spPr bwMode="auto">
            <a:xfrm>
              <a:off x="5228981" y="4540689"/>
              <a:ext cx="555025" cy="853883"/>
            </a:xfrm>
            <a:custGeom>
              <a:avLst/>
              <a:gdLst>
                <a:gd name="T0" fmla="*/ 22 w 81"/>
                <a:gd name="T1" fmla="*/ 74 h 125"/>
                <a:gd name="T2" fmla="*/ 39 w 81"/>
                <a:gd name="T3" fmla="*/ 51 h 125"/>
                <a:gd name="T4" fmla="*/ 52 w 81"/>
                <a:gd name="T5" fmla="*/ 34 h 125"/>
                <a:gd name="T6" fmla="*/ 77 w 81"/>
                <a:gd name="T7" fmla="*/ 0 h 125"/>
                <a:gd name="T8" fmla="*/ 81 w 81"/>
                <a:gd name="T9" fmla="*/ 70 h 125"/>
                <a:gd name="T10" fmla="*/ 39 w 81"/>
                <a:gd name="T11" fmla="*/ 125 h 125"/>
                <a:gd name="T12" fmla="*/ 0 w 81"/>
                <a:gd name="T13" fmla="*/ 107 h 125"/>
                <a:gd name="T14" fmla="*/ 0 w 81"/>
                <a:gd name="T15" fmla="*/ 107 h 125"/>
                <a:gd name="T16" fmla="*/ 22 w 81"/>
                <a:gd name="T17" fmla="*/ 74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" h="125">
                  <a:moveTo>
                    <a:pt x="22" y="74"/>
                  </a:moveTo>
                  <a:cubicBezTo>
                    <a:pt x="39" y="51"/>
                    <a:pt x="39" y="51"/>
                    <a:pt x="39" y="51"/>
                  </a:cubicBezTo>
                  <a:cubicBezTo>
                    <a:pt x="52" y="34"/>
                    <a:pt x="52" y="34"/>
                    <a:pt x="52" y="34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8" y="23"/>
                    <a:pt x="79" y="46"/>
                    <a:pt x="81" y="70"/>
                  </a:cubicBezTo>
                  <a:cubicBezTo>
                    <a:pt x="39" y="125"/>
                    <a:pt x="39" y="125"/>
                    <a:pt x="39" y="125"/>
                  </a:cubicBezTo>
                  <a:cubicBezTo>
                    <a:pt x="30" y="114"/>
                    <a:pt x="16" y="107"/>
                    <a:pt x="0" y="107"/>
                  </a:cubicBezTo>
                  <a:cubicBezTo>
                    <a:pt x="0" y="107"/>
                    <a:pt x="0" y="107"/>
                    <a:pt x="0" y="107"/>
                  </a:cubicBezTo>
                  <a:lnTo>
                    <a:pt x="22" y="74"/>
                  </a:lnTo>
                  <a:close/>
                </a:path>
              </a:pathLst>
            </a:custGeom>
            <a:solidFill>
              <a:srgbClr val="C8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ïsļïďé">
              <a:extLst>
                <a:ext uri="{FF2B5EF4-FFF2-40B4-BE49-F238E27FC236}">
                  <a16:creationId xmlns:a16="http://schemas.microsoft.com/office/drawing/2014/main" id="{AD57EF0E-5459-42C1-9E54-6965214328A0}"/>
                </a:ext>
              </a:extLst>
            </p:cNvPr>
            <p:cNvSpPr/>
            <p:nvPr/>
          </p:nvSpPr>
          <p:spPr bwMode="auto">
            <a:xfrm>
              <a:off x="5498282" y="3693375"/>
              <a:ext cx="101810" cy="1195436"/>
            </a:xfrm>
            <a:custGeom>
              <a:avLst/>
              <a:gdLst>
                <a:gd name="T0" fmla="*/ 15 w 15"/>
                <a:gd name="T1" fmla="*/ 0 h 175"/>
                <a:gd name="T2" fmla="*/ 12 w 15"/>
                <a:gd name="T3" fmla="*/ 157 h 175"/>
                <a:gd name="T4" fmla="*/ 13 w 15"/>
                <a:gd name="T5" fmla="*/ 158 h 175"/>
                <a:gd name="T6" fmla="*/ 0 w 15"/>
                <a:gd name="T7" fmla="*/ 175 h 175"/>
                <a:gd name="T8" fmla="*/ 0 w 15"/>
                <a:gd name="T9" fmla="*/ 5 h 175"/>
                <a:gd name="T10" fmla="*/ 0 w 15"/>
                <a:gd name="T11" fmla="*/ 5 h 175"/>
                <a:gd name="T12" fmla="*/ 15 w 15"/>
                <a:gd name="T13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75">
                  <a:moveTo>
                    <a:pt x="15" y="0"/>
                  </a:moveTo>
                  <a:cubicBezTo>
                    <a:pt x="12" y="157"/>
                    <a:pt x="12" y="157"/>
                    <a:pt x="12" y="157"/>
                  </a:cubicBezTo>
                  <a:cubicBezTo>
                    <a:pt x="13" y="158"/>
                    <a:pt x="13" y="158"/>
                    <a:pt x="13" y="158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5" y="3"/>
                    <a:pt x="9" y="1"/>
                    <a:pt x="15" y="0"/>
                  </a:cubicBezTo>
                  <a:close/>
                </a:path>
              </a:pathLst>
            </a:custGeom>
            <a:solidFill>
              <a:srgbClr val="C9C9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" name="îṡļîḍè">
              <a:extLst>
                <a:ext uri="{FF2B5EF4-FFF2-40B4-BE49-F238E27FC236}">
                  <a16:creationId xmlns:a16="http://schemas.microsoft.com/office/drawing/2014/main" id="{4E60610F-CBD4-4E8B-9ADA-70B4304D6689}"/>
                </a:ext>
              </a:extLst>
            </p:cNvPr>
            <p:cNvSpPr/>
            <p:nvPr/>
          </p:nvSpPr>
          <p:spPr bwMode="auto">
            <a:xfrm>
              <a:off x="5524555" y="2474949"/>
              <a:ext cx="1408907" cy="1136321"/>
            </a:xfrm>
            <a:custGeom>
              <a:avLst/>
              <a:gdLst>
                <a:gd name="T0" fmla="*/ 206 w 206"/>
                <a:gd name="T1" fmla="*/ 70 h 166"/>
                <a:gd name="T2" fmla="*/ 135 w 206"/>
                <a:gd name="T3" fmla="*/ 166 h 166"/>
                <a:gd name="T4" fmla="*/ 130 w 206"/>
                <a:gd name="T5" fmla="*/ 162 h 166"/>
                <a:gd name="T6" fmla="*/ 120 w 206"/>
                <a:gd name="T7" fmla="*/ 124 h 166"/>
                <a:gd name="T8" fmla="*/ 121 w 206"/>
                <a:gd name="T9" fmla="*/ 80 h 166"/>
                <a:gd name="T10" fmla="*/ 125 w 206"/>
                <a:gd name="T11" fmla="*/ 71 h 166"/>
                <a:gd name="T12" fmla="*/ 137 w 206"/>
                <a:gd name="T13" fmla="*/ 50 h 166"/>
                <a:gd name="T14" fmla="*/ 139 w 206"/>
                <a:gd name="T15" fmla="*/ 38 h 166"/>
                <a:gd name="T16" fmla="*/ 136 w 206"/>
                <a:gd name="T17" fmla="*/ 28 h 166"/>
                <a:gd name="T18" fmla="*/ 124 w 206"/>
                <a:gd name="T19" fmla="*/ 27 h 166"/>
                <a:gd name="T20" fmla="*/ 114 w 206"/>
                <a:gd name="T21" fmla="*/ 35 h 166"/>
                <a:gd name="T22" fmla="*/ 114 w 206"/>
                <a:gd name="T23" fmla="*/ 36 h 166"/>
                <a:gd name="T24" fmla="*/ 19 w 206"/>
                <a:gd name="T25" fmla="*/ 16 h 166"/>
                <a:gd name="T26" fmla="*/ 0 w 206"/>
                <a:gd name="T27" fmla="*/ 0 h 166"/>
                <a:gd name="T28" fmla="*/ 169 w 206"/>
                <a:gd name="T29" fmla="*/ 15 h 166"/>
                <a:gd name="T30" fmla="*/ 190 w 206"/>
                <a:gd name="T31" fmla="*/ 27 h 166"/>
                <a:gd name="T32" fmla="*/ 206 w 206"/>
                <a:gd name="T33" fmla="*/ 7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06" h="166">
                  <a:moveTo>
                    <a:pt x="206" y="70"/>
                  </a:moveTo>
                  <a:cubicBezTo>
                    <a:pt x="135" y="166"/>
                    <a:pt x="135" y="166"/>
                    <a:pt x="135" y="166"/>
                  </a:cubicBezTo>
                  <a:cubicBezTo>
                    <a:pt x="130" y="162"/>
                    <a:pt x="130" y="162"/>
                    <a:pt x="130" y="162"/>
                  </a:cubicBezTo>
                  <a:cubicBezTo>
                    <a:pt x="123" y="151"/>
                    <a:pt x="121" y="137"/>
                    <a:pt x="120" y="124"/>
                  </a:cubicBezTo>
                  <a:cubicBezTo>
                    <a:pt x="119" y="109"/>
                    <a:pt x="120" y="95"/>
                    <a:pt x="121" y="80"/>
                  </a:cubicBezTo>
                  <a:cubicBezTo>
                    <a:pt x="122" y="77"/>
                    <a:pt x="124" y="74"/>
                    <a:pt x="125" y="71"/>
                  </a:cubicBezTo>
                  <a:cubicBezTo>
                    <a:pt x="129" y="64"/>
                    <a:pt x="135" y="58"/>
                    <a:pt x="137" y="50"/>
                  </a:cubicBezTo>
                  <a:cubicBezTo>
                    <a:pt x="138" y="46"/>
                    <a:pt x="138" y="42"/>
                    <a:pt x="139" y="38"/>
                  </a:cubicBezTo>
                  <a:cubicBezTo>
                    <a:pt x="139" y="35"/>
                    <a:pt x="138" y="31"/>
                    <a:pt x="136" y="28"/>
                  </a:cubicBezTo>
                  <a:cubicBezTo>
                    <a:pt x="133" y="25"/>
                    <a:pt x="128" y="25"/>
                    <a:pt x="124" y="27"/>
                  </a:cubicBezTo>
                  <a:cubicBezTo>
                    <a:pt x="120" y="28"/>
                    <a:pt x="117" y="32"/>
                    <a:pt x="114" y="35"/>
                  </a:cubicBezTo>
                  <a:cubicBezTo>
                    <a:pt x="114" y="36"/>
                    <a:pt x="114" y="36"/>
                    <a:pt x="114" y="36"/>
                  </a:cubicBezTo>
                  <a:cubicBezTo>
                    <a:pt x="81" y="41"/>
                    <a:pt x="47" y="34"/>
                    <a:pt x="19" y="16"/>
                  </a:cubicBezTo>
                  <a:cubicBezTo>
                    <a:pt x="12" y="12"/>
                    <a:pt x="5" y="6"/>
                    <a:pt x="0" y="0"/>
                  </a:cubicBezTo>
                  <a:cubicBezTo>
                    <a:pt x="169" y="15"/>
                    <a:pt x="169" y="15"/>
                    <a:pt x="169" y="15"/>
                  </a:cubicBezTo>
                  <a:cubicBezTo>
                    <a:pt x="175" y="20"/>
                    <a:pt x="183" y="23"/>
                    <a:pt x="190" y="27"/>
                  </a:cubicBezTo>
                  <a:cubicBezTo>
                    <a:pt x="192" y="43"/>
                    <a:pt x="197" y="57"/>
                    <a:pt x="206" y="70"/>
                  </a:cubicBezTo>
                  <a:close/>
                </a:path>
              </a:pathLst>
            </a:custGeom>
            <a:solidFill>
              <a:srgbClr val="EF50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" name="íšľîďe">
              <a:extLst>
                <a:ext uri="{FF2B5EF4-FFF2-40B4-BE49-F238E27FC236}">
                  <a16:creationId xmlns:a16="http://schemas.microsoft.com/office/drawing/2014/main" id="{46DD5BEB-9143-423C-9810-4CD4CCE00854}"/>
                </a:ext>
              </a:extLst>
            </p:cNvPr>
            <p:cNvSpPr/>
            <p:nvPr/>
          </p:nvSpPr>
          <p:spPr bwMode="auto">
            <a:xfrm>
              <a:off x="7179774" y="2360004"/>
              <a:ext cx="958976" cy="886724"/>
            </a:xfrm>
            <a:custGeom>
              <a:avLst/>
              <a:gdLst>
                <a:gd name="T0" fmla="*/ 13 w 140"/>
                <a:gd name="T1" fmla="*/ 125 h 130"/>
                <a:gd name="T2" fmla="*/ 0 w 140"/>
                <a:gd name="T3" fmla="*/ 119 h 130"/>
                <a:gd name="T4" fmla="*/ 12 w 140"/>
                <a:gd name="T5" fmla="*/ 103 h 130"/>
                <a:gd name="T6" fmla="*/ 87 w 140"/>
                <a:gd name="T7" fmla="*/ 100 h 130"/>
                <a:gd name="T8" fmla="*/ 127 w 140"/>
                <a:gd name="T9" fmla="*/ 11 h 130"/>
                <a:gd name="T10" fmla="*/ 134 w 140"/>
                <a:gd name="T11" fmla="*/ 0 h 130"/>
                <a:gd name="T12" fmla="*/ 140 w 140"/>
                <a:gd name="T13" fmla="*/ 33 h 130"/>
                <a:gd name="T14" fmla="*/ 44 w 140"/>
                <a:gd name="T15" fmla="*/ 130 h 130"/>
                <a:gd name="T16" fmla="*/ 13 w 140"/>
                <a:gd name="T17" fmla="*/ 125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30">
                  <a:moveTo>
                    <a:pt x="13" y="125"/>
                  </a:moveTo>
                  <a:cubicBezTo>
                    <a:pt x="8" y="123"/>
                    <a:pt x="4" y="121"/>
                    <a:pt x="0" y="119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12" y="103"/>
                    <a:pt x="42" y="112"/>
                    <a:pt x="87" y="100"/>
                  </a:cubicBezTo>
                  <a:cubicBezTo>
                    <a:pt x="133" y="88"/>
                    <a:pt x="127" y="11"/>
                    <a:pt x="127" y="11"/>
                  </a:cubicBezTo>
                  <a:cubicBezTo>
                    <a:pt x="134" y="0"/>
                    <a:pt x="134" y="0"/>
                    <a:pt x="134" y="0"/>
                  </a:cubicBezTo>
                  <a:cubicBezTo>
                    <a:pt x="138" y="10"/>
                    <a:pt x="140" y="21"/>
                    <a:pt x="140" y="33"/>
                  </a:cubicBezTo>
                  <a:cubicBezTo>
                    <a:pt x="140" y="86"/>
                    <a:pt x="97" y="130"/>
                    <a:pt x="44" y="130"/>
                  </a:cubicBezTo>
                  <a:cubicBezTo>
                    <a:pt x="33" y="130"/>
                    <a:pt x="23" y="128"/>
                    <a:pt x="13" y="125"/>
                  </a:cubicBezTo>
                  <a:close/>
                </a:path>
              </a:pathLst>
            </a:custGeom>
            <a:solidFill>
              <a:srgbClr val="A6B8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" name="ïsḻïḋê">
              <a:extLst>
                <a:ext uri="{FF2B5EF4-FFF2-40B4-BE49-F238E27FC236}">
                  <a16:creationId xmlns:a16="http://schemas.microsoft.com/office/drawing/2014/main" id="{2AB27D1A-D78A-4114-926B-6E0044BBDC13}"/>
                </a:ext>
              </a:extLst>
            </p:cNvPr>
            <p:cNvSpPr/>
            <p:nvPr/>
          </p:nvSpPr>
          <p:spPr bwMode="auto">
            <a:xfrm>
              <a:off x="4595138" y="3397800"/>
              <a:ext cx="65683" cy="203618"/>
            </a:xfrm>
            <a:custGeom>
              <a:avLst/>
              <a:gdLst>
                <a:gd name="T0" fmla="*/ 9 w 10"/>
                <a:gd name="T1" fmla="*/ 30 h 30"/>
                <a:gd name="T2" fmla="*/ 0 w 10"/>
                <a:gd name="T3" fmla="*/ 0 h 30"/>
                <a:gd name="T4" fmla="*/ 4 w 10"/>
                <a:gd name="T5" fmla="*/ 8 h 30"/>
                <a:gd name="T6" fmla="*/ 8 w 10"/>
                <a:gd name="T7" fmla="*/ 19 h 30"/>
                <a:gd name="T8" fmla="*/ 10 w 10"/>
                <a:gd name="T9" fmla="*/ 26 h 30"/>
                <a:gd name="T10" fmla="*/ 9 w 10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30">
                  <a:moveTo>
                    <a:pt x="9" y="3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2"/>
                    <a:pt x="3" y="5"/>
                    <a:pt x="4" y="8"/>
                  </a:cubicBezTo>
                  <a:cubicBezTo>
                    <a:pt x="6" y="12"/>
                    <a:pt x="7" y="15"/>
                    <a:pt x="8" y="19"/>
                  </a:cubicBezTo>
                  <a:cubicBezTo>
                    <a:pt x="9" y="22"/>
                    <a:pt x="10" y="24"/>
                    <a:pt x="10" y="26"/>
                  </a:cubicBezTo>
                  <a:cubicBezTo>
                    <a:pt x="10" y="28"/>
                    <a:pt x="10" y="29"/>
                    <a:pt x="9" y="30"/>
                  </a:cubicBezTo>
                  <a:close/>
                </a:path>
              </a:pathLst>
            </a:custGeom>
            <a:solidFill>
              <a:srgbClr val="F9E3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" name="ïsļîḓé">
              <a:extLst>
                <a:ext uri="{FF2B5EF4-FFF2-40B4-BE49-F238E27FC236}">
                  <a16:creationId xmlns:a16="http://schemas.microsoft.com/office/drawing/2014/main" id="{94FF1419-88C9-4D52-9691-CCF76D437A89}"/>
                </a:ext>
              </a:extLst>
            </p:cNvPr>
            <p:cNvSpPr/>
            <p:nvPr/>
          </p:nvSpPr>
          <p:spPr bwMode="auto">
            <a:xfrm>
              <a:off x="5928509" y="3923266"/>
              <a:ext cx="361258" cy="384248"/>
            </a:xfrm>
            <a:custGeom>
              <a:avLst/>
              <a:gdLst>
                <a:gd name="T0" fmla="*/ 53 w 53"/>
                <a:gd name="T1" fmla="*/ 25 h 56"/>
                <a:gd name="T2" fmla="*/ 22 w 53"/>
                <a:gd name="T3" fmla="*/ 50 h 56"/>
                <a:gd name="T4" fmla="*/ 0 w 53"/>
                <a:gd name="T5" fmla="*/ 56 h 56"/>
                <a:gd name="T6" fmla="*/ 42 w 53"/>
                <a:gd name="T7" fmla="*/ 0 h 56"/>
                <a:gd name="T8" fmla="*/ 53 w 53"/>
                <a:gd name="T9" fmla="*/ 2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56">
                  <a:moveTo>
                    <a:pt x="53" y="25"/>
                  </a:moveTo>
                  <a:cubicBezTo>
                    <a:pt x="43" y="32"/>
                    <a:pt x="30" y="42"/>
                    <a:pt x="22" y="50"/>
                  </a:cubicBezTo>
                  <a:cubicBezTo>
                    <a:pt x="15" y="49"/>
                    <a:pt x="7" y="52"/>
                    <a:pt x="0" y="56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7" y="7"/>
                    <a:pt x="49" y="16"/>
                    <a:pt x="53" y="25"/>
                  </a:cubicBezTo>
                  <a:close/>
                </a:path>
              </a:pathLst>
            </a:custGeom>
            <a:solidFill>
              <a:srgbClr val="F9E3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" name="iŝļidê">
              <a:extLst>
                <a:ext uri="{FF2B5EF4-FFF2-40B4-BE49-F238E27FC236}">
                  <a16:creationId xmlns:a16="http://schemas.microsoft.com/office/drawing/2014/main" id="{A636679E-52E4-4811-8C57-D28324F5CDF5}"/>
                </a:ext>
              </a:extLst>
            </p:cNvPr>
            <p:cNvSpPr/>
            <p:nvPr/>
          </p:nvSpPr>
          <p:spPr bwMode="auto">
            <a:xfrm>
              <a:off x="5228981" y="2461812"/>
              <a:ext cx="673255" cy="1175731"/>
            </a:xfrm>
            <a:custGeom>
              <a:avLst/>
              <a:gdLst>
                <a:gd name="T0" fmla="*/ 28 w 98"/>
                <a:gd name="T1" fmla="*/ 0 h 172"/>
                <a:gd name="T2" fmla="*/ 36 w 98"/>
                <a:gd name="T3" fmla="*/ 1 h 172"/>
                <a:gd name="T4" fmla="*/ 31 w 98"/>
                <a:gd name="T5" fmla="*/ 34 h 172"/>
                <a:gd name="T6" fmla="*/ 37 w 98"/>
                <a:gd name="T7" fmla="*/ 88 h 172"/>
                <a:gd name="T8" fmla="*/ 44 w 98"/>
                <a:gd name="T9" fmla="*/ 112 h 172"/>
                <a:gd name="T10" fmla="*/ 56 w 98"/>
                <a:gd name="T11" fmla="*/ 128 h 172"/>
                <a:gd name="T12" fmla="*/ 80 w 98"/>
                <a:gd name="T13" fmla="*/ 148 h 172"/>
                <a:gd name="T14" fmla="*/ 98 w 98"/>
                <a:gd name="T15" fmla="*/ 151 h 172"/>
                <a:gd name="T16" fmla="*/ 94 w 98"/>
                <a:gd name="T17" fmla="*/ 172 h 172"/>
                <a:gd name="T18" fmla="*/ 90 w 98"/>
                <a:gd name="T19" fmla="*/ 172 h 172"/>
                <a:gd name="T20" fmla="*/ 8 w 98"/>
                <a:gd name="T21" fmla="*/ 121 h 172"/>
                <a:gd name="T22" fmla="*/ 1 w 98"/>
                <a:gd name="T23" fmla="*/ 99 h 172"/>
                <a:gd name="T24" fmla="*/ 3 w 98"/>
                <a:gd name="T25" fmla="*/ 68 h 172"/>
                <a:gd name="T26" fmla="*/ 28 w 98"/>
                <a:gd name="T27" fmla="*/ 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8" h="172">
                  <a:moveTo>
                    <a:pt x="28" y="0"/>
                  </a:moveTo>
                  <a:cubicBezTo>
                    <a:pt x="36" y="1"/>
                    <a:pt x="36" y="1"/>
                    <a:pt x="36" y="1"/>
                  </a:cubicBezTo>
                  <a:cubicBezTo>
                    <a:pt x="31" y="11"/>
                    <a:pt x="30" y="23"/>
                    <a:pt x="31" y="34"/>
                  </a:cubicBezTo>
                  <a:cubicBezTo>
                    <a:pt x="31" y="52"/>
                    <a:pt x="33" y="70"/>
                    <a:pt x="37" y="88"/>
                  </a:cubicBezTo>
                  <a:cubicBezTo>
                    <a:pt x="38" y="97"/>
                    <a:pt x="40" y="105"/>
                    <a:pt x="44" y="112"/>
                  </a:cubicBezTo>
                  <a:cubicBezTo>
                    <a:pt x="47" y="118"/>
                    <a:pt x="51" y="123"/>
                    <a:pt x="56" y="128"/>
                  </a:cubicBezTo>
                  <a:cubicBezTo>
                    <a:pt x="62" y="136"/>
                    <a:pt x="70" y="144"/>
                    <a:pt x="80" y="148"/>
                  </a:cubicBezTo>
                  <a:cubicBezTo>
                    <a:pt x="85" y="150"/>
                    <a:pt x="91" y="151"/>
                    <a:pt x="98" y="151"/>
                  </a:cubicBezTo>
                  <a:cubicBezTo>
                    <a:pt x="97" y="158"/>
                    <a:pt x="96" y="165"/>
                    <a:pt x="94" y="172"/>
                  </a:cubicBezTo>
                  <a:cubicBezTo>
                    <a:pt x="93" y="172"/>
                    <a:pt x="91" y="172"/>
                    <a:pt x="90" y="172"/>
                  </a:cubicBezTo>
                  <a:cubicBezTo>
                    <a:pt x="56" y="171"/>
                    <a:pt x="24" y="151"/>
                    <a:pt x="8" y="121"/>
                  </a:cubicBezTo>
                  <a:cubicBezTo>
                    <a:pt x="5" y="114"/>
                    <a:pt x="2" y="107"/>
                    <a:pt x="1" y="99"/>
                  </a:cubicBezTo>
                  <a:cubicBezTo>
                    <a:pt x="0" y="89"/>
                    <a:pt x="1" y="78"/>
                    <a:pt x="3" y="68"/>
                  </a:cubicBezTo>
                  <a:cubicBezTo>
                    <a:pt x="8" y="45"/>
                    <a:pt x="18" y="22"/>
                    <a:pt x="28" y="0"/>
                  </a:cubicBezTo>
                  <a:close/>
                </a:path>
              </a:pathLst>
            </a:custGeom>
            <a:solidFill>
              <a:srgbClr val="EF50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" name="ïśľíḍè">
              <a:extLst>
                <a:ext uri="{FF2B5EF4-FFF2-40B4-BE49-F238E27FC236}">
                  <a16:creationId xmlns:a16="http://schemas.microsoft.com/office/drawing/2014/main" id="{813CF8D0-A655-416F-BC90-73A18BDCA801}"/>
                </a:ext>
              </a:extLst>
            </p:cNvPr>
            <p:cNvSpPr/>
            <p:nvPr/>
          </p:nvSpPr>
          <p:spPr bwMode="auto">
            <a:xfrm>
              <a:off x="6250357" y="4534121"/>
              <a:ext cx="505761" cy="784916"/>
            </a:xfrm>
            <a:custGeom>
              <a:avLst/>
              <a:gdLst>
                <a:gd name="T0" fmla="*/ 70 w 74"/>
                <a:gd name="T1" fmla="*/ 105 h 115"/>
                <a:gd name="T2" fmla="*/ 74 w 74"/>
                <a:gd name="T3" fmla="*/ 115 h 115"/>
                <a:gd name="T4" fmla="*/ 0 w 74"/>
                <a:gd name="T5" fmla="*/ 112 h 115"/>
                <a:gd name="T6" fmla="*/ 5 w 74"/>
                <a:gd name="T7" fmla="*/ 0 h 115"/>
                <a:gd name="T8" fmla="*/ 64 w 74"/>
                <a:gd name="T9" fmla="*/ 78 h 115"/>
                <a:gd name="T10" fmla="*/ 70 w 74"/>
                <a:gd name="T11" fmla="*/ 86 h 115"/>
                <a:gd name="T12" fmla="*/ 70 w 74"/>
                <a:gd name="T13" fmla="*/ 10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115">
                  <a:moveTo>
                    <a:pt x="70" y="105"/>
                  </a:moveTo>
                  <a:cubicBezTo>
                    <a:pt x="74" y="115"/>
                    <a:pt x="74" y="115"/>
                    <a:pt x="74" y="115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6" y="24"/>
                    <a:pt x="45" y="51"/>
                    <a:pt x="64" y="78"/>
                  </a:cubicBezTo>
                  <a:cubicBezTo>
                    <a:pt x="66" y="81"/>
                    <a:pt x="68" y="83"/>
                    <a:pt x="70" y="86"/>
                  </a:cubicBezTo>
                  <a:lnTo>
                    <a:pt x="70" y="105"/>
                  </a:lnTo>
                  <a:close/>
                </a:path>
              </a:pathLst>
            </a:custGeom>
            <a:solidFill>
              <a:srgbClr val="FFDF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" name="íṩḷîďé">
              <a:extLst>
                <a:ext uri="{FF2B5EF4-FFF2-40B4-BE49-F238E27FC236}">
                  <a16:creationId xmlns:a16="http://schemas.microsoft.com/office/drawing/2014/main" id="{A8EE6D55-7392-4D98-A4E3-FDEE9C9FB312}"/>
                </a:ext>
              </a:extLst>
            </p:cNvPr>
            <p:cNvSpPr/>
            <p:nvPr/>
          </p:nvSpPr>
          <p:spPr bwMode="auto">
            <a:xfrm>
              <a:off x="6224083" y="5539075"/>
              <a:ext cx="738938" cy="436795"/>
            </a:xfrm>
            <a:custGeom>
              <a:avLst/>
              <a:gdLst>
                <a:gd name="T0" fmla="*/ 108 w 108"/>
                <a:gd name="T1" fmla="*/ 45 h 64"/>
                <a:gd name="T2" fmla="*/ 0 w 108"/>
                <a:gd name="T3" fmla="*/ 64 h 64"/>
                <a:gd name="T4" fmla="*/ 2 w 108"/>
                <a:gd name="T5" fmla="*/ 5 h 64"/>
                <a:gd name="T6" fmla="*/ 90 w 108"/>
                <a:gd name="T7" fmla="*/ 0 h 64"/>
                <a:gd name="T8" fmla="*/ 108 w 108"/>
                <a:gd name="T9" fmla="*/ 45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" h="64">
                  <a:moveTo>
                    <a:pt x="108" y="45"/>
                  </a:moveTo>
                  <a:cubicBezTo>
                    <a:pt x="73" y="55"/>
                    <a:pt x="37" y="61"/>
                    <a:pt x="0" y="6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90" y="0"/>
                    <a:pt x="90" y="0"/>
                    <a:pt x="90" y="0"/>
                  </a:cubicBezTo>
                  <a:lnTo>
                    <a:pt x="108" y="45"/>
                  </a:lnTo>
                  <a:close/>
                </a:path>
              </a:pathLst>
            </a:custGeom>
            <a:solidFill>
              <a:srgbClr val="FFDF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" name="işļiḑé">
              <a:extLst>
                <a:ext uri="{FF2B5EF4-FFF2-40B4-BE49-F238E27FC236}">
                  <a16:creationId xmlns:a16="http://schemas.microsoft.com/office/drawing/2014/main" id="{53D32BC6-63C4-4C50-9530-6A0E19222134}"/>
                </a:ext>
              </a:extLst>
            </p:cNvPr>
            <p:cNvSpPr/>
            <p:nvPr/>
          </p:nvSpPr>
          <p:spPr bwMode="auto">
            <a:xfrm>
              <a:off x="5127173" y="5496380"/>
              <a:ext cx="177345" cy="213472"/>
            </a:xfrm>
            <a:custGeom>
              <a:avLst/>
              <a:gdLst>
                <a:gd name="T0" fmla="*/ 0 w 26"/>
                <a:gd name="T1" fmla="*/ 17 h 31"/>
                <a:gd name="T2" fmla="*/ 17 w 26"/>
                <a:gd name="T3" fmla="*/ 0 h 31"/>
                <a:gd name="T4" fmla="*/ 26 w 26"/>
                <a:gd name="T5" fmla="*/ 2 h 31"/>
                <a:gd name="T6" fmla="*/ 7 w 26"/>
                <a:gd name="T7" fmla="*/ 31 h 31"/>
                <a:gd name="T8" fmla="*/ 0 w 26"/>
                <a:gd name="T9" fmla="*/ 1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31">
                  <a:moveTo>
                    <a:pt x="0" y="17"/>
                  </a:moveTo>
                  <a:cubicBezTo>
                    <a:pt x="0" y="7"/>
                    <a:pt x="8" y="0"/>
                    <a:pt x="17" y="0"/>
                  </a:cubicBezTo>
                  <a:cubicBezTo>
                    <a:pt x="20" y="0"/>
                    <a:pt x="23" y="1"/>
                    <a:pt x="26" y="2"/>
                  </a:cubicBezTo>
                  <a:cubicBezTo>
                    <a:pt x="1" y="11"/>
                    <a:pt x="7" y="29"/>
                    <a:pt x="7" y="31"/>
                  </a:cubicBezTo>
                  <a:cubicBezTo>
                    <a:pt x="3" y="28"/>
                    <a:pt x="0" y="23"/>
                    <a:pt x="0" y="17"/>
                  </a:cubicBezTo>
                  <a:close/>
                </a:path>
              </a:pathLst>
            </a:custGeom>
            <a:solidFill>
              <a:srgbClr val="A6B8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" name="ïşḻïďê">
              <a:extLst>
                <a:ext uri="{FF2B5EF4-FFF2-40B4-BE49-F238E27FC236}">
                  <a16:creationId xmlns:a16="http://schemas.microsoft.com/office/drawing/2014/main" id="{8156F618-004E-4258-9B65-98B1C835B4E1}"/>
                </a:ext>
              </a:extLst>
            </p:cNvPr>
            <p:cNvSpPr/>
            <p:nvPr/>
          </p:nvSpPr>
          <p:spPr bwMode="auto">
            <a:xfrm>
              <a:off x="4470340" y="3601418"/>
              <a:ext cx="246313" cy="246313"/>
            </a:xfrm>
            <a:custGeom>
              <a:avLst/>
              <a:gdLst>
                <a:gd name="T0" fmla="*/ 27 w 36"/>
                <a:gd name="T1" fmla="*/ 0 h 36"/>
                <a:gd name="T2" fmla="*/ 36 w 36"/>
                <a:gd name="T3" fmla="*/ 26 h 36"/>
                <a:gd name="T4" fmla="*/ 0 w 36"/>
                <a:gd name="T5" fmla="*/ 36 h 36"/>
                <a:gd name="T6" fmla="*/ 9 w 36"/>
                <a:gd name="T7" fmla="*/ 19 h 36"/>
                <a:gd name="T8" fmla="*/ 23 w 36"/>
                <a:gd name="T9" fmla="*/ 6 h 36"/>
                <a:gd name="T10" fmla="*/ 27 w 36"/>
                <a:gd name="T11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6">
                  <a:moveTo>
                    <a:pt x="27" y="0"/>
                  </a:moveTo>
                  <a:cubicBezTo>
                    <a:pt x="36" y="26"/>
                    <a:pt x="36" y="26"/>
                    <a:pt x="36" y="2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1" y="29"/>
                    <a:pt x="5" y="23"/>
                    <a:pt x="9" y="19"/>
                  </a:cubicBezTo>
                  <a:cubicBezTo>
                    <a:pt x="14" y="14"/>
                    <a:pt x="19" y="10"/>
                    <a:pt x="23" y="6"/>
                  </a:cubicBezTo>
                  <a:cubicBezTo>
                    <a:pt x="25" y="4"/>
                    <a:pt x="27" y="2"/>
                    <a:pt x="27" y="0"/>
                  </a:cubicBezTo>
                  <a:close/>
                </a:path>
              </a:pathLst>
            </a:custGeom>
            <a:solidFill>
              <a:srgbClr val="C8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" name="isļiḍé">
              <a:extLst>
                <a:ext uri="{FF2B5EF4-FFF2-40B4-BE49-F238E27FC236}">
                  <a16:creationId xmlns:a16="http://schemas.microsoft.com/office/drawing/2014/main" id="{077288F0-D370-4410-B54C-452F220C8295}"/>
                </a:ext>
              </a:extLst>
            </p:cNvPr>
            <p:cNvSpPr/>
            <p:nvPr/>
          </p:nvSpPr>
          <p:spPr bwMode="auto">
            <a:xfrm>
              <a:off x="5859540" y="3020120"/>
              <a:ext cx="587866" cy="952408"/>
            </a:xfrm>
            <a:custGeom>
              <a:avLst/>
              <a:gdLst>
                <a:gd name="T0" fmla="*/ 72 w 86"/>
                <a:gd name="T1" fmla="*/ 0 h 139"/>
                <a:gd name="T2" fmla="*/ 71 w 86"/>
                <a:gd name="T3" fmla="*/ 44 h 139"/>
                <a:gd name="T4" fmla="*/ 81 w 86"/>
                <a:gd name="T5" fmla="*/ 82 h 139"/>
                <a:gd name="T6" fmla="*/ 86 w 86"/>
                <a:gd name="T7" fmla="*/ 86 h 139"/>
                <a:gd name="T8" fmla="*/ 52 w 86"/>
                <a:gd name="T9" fmla="*/ 132 h 139"/>
                <a:gd name="T10" fmla="*/ 47 w 86"/>
                <a:gd name="T11" fmla="*/ 127 h 139"/>
                <a:gd name="T12" fmla="*/ 17 w 86"/>
                <a:gd name="T13" fmla="*/ 132 h 139"/>
                <a:gd name="T14" fmla="*/ 13 w 86"/>
                <a:gd name="T15" fmla="*/ 139 h 139"/>
                <a:gd name="T16" fmla="*/ 5 w 86"/>
                <a:gd name="T17" fmla="*/ 121 h 139"/>
                <a:gd name="T18" fmla="*/ 0 w 86"/>
                <a:gd name="T19" fmla="*/ 96 h 139"/>
                <a:gd name="T20" fmla="*/ 2 w 86"/>
                <a:gd name="T21" fmla="*/ 90 h 139"/>
                <a:gd name="T22" fmla="*/ 6 w 86"/>
                <a:gd name="T23" fmla="*/ 69 h 139"/>
                <a:gd name="T24" fmla="*/ 36 w 86"/>
                <a:gd name="T25" fmla="*/ 59 h 139"/>
                <a:gd name="T26" fmla="*/ 63 w 86"/>
                <a:gd name="T27" fmla="*/ 28 h 139"/>
                <a:gd name="T28" fmla="*/ 72 w 86"/>
                <a:gd name="T29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139">
                  <a:moveTo>
                    <a:pt x="72" y="0"/>
                  </a:moveTo>
                  <a:cubicBezTo>
                    <a:pt x="71" y="15"/>
                    <a:pt x="70" y="29"/>
                    <a:pt x="71" y="44"/>
                  </a:cubicBezTo>
                  <a:cubicBezTo>
                    <a:pt x="72" y="57"/>
                    <a:pt x="74" y="71"/>
                    <a:pt x="81" y="82"/>
                  </a:cubicBezTo>
                  <a:cubicBezTo>
                    <a:pt x="86" y="86"/>
                    <a:pt x="86" y="86"/>
                    <a:pt x="86" y="86"/>
                  </a:cubicBezTo>
                  <a:cubicBezTo>
                    <a:pt x="52" y="132"/>
                    <a:pt x="52" y="132"/>
                    <a:pt x="52" y="132"/>
                  </a:cubicBezTo>
                  <a:cubicBezTo>
                    <a:pt x="50" y="130"/>
                    <a:pt x="49" y="128"/>
                    <a:pt x="47" y="127"/>
                  </a:cubicBezTo>
                  <a:cubicBezTo>
                    <a:pt x="38" y="121"/>
                    <a:pt x="23" y="123"/>
                    <a:pt x="17" y="132"/>
                  </a:cubicBezTo>
                  <a:cubicBezTo>
                    <a:pt x="15" y="134"/>
                    <a:pt x="14" y="137"/>
                    <a:pt x="13" y="139"/>
                  </a:cubicBezTo>
                  <a:cubicBezTo>
                    <a:pt x="8" y="134"/>
                    <a:pt x="6" y="127"/>
                    <a:pt x="5" y="121"/>
                  </a:cubicBezTo>
                  <a:cubicBezTo>
                    <a:pt x="3" y="113"/>
                    <a:pt x="1" y="105"/>
                    <a:pt x="0" y="96"/>
                  </a:cubicBezTo>
                  <a:cubicBezTo>
                    <a:pt x="1" y="94"/>
                    <a:pt x="2" y="92"/>
                    <a:pt x="2" y="90"/>
                  </a:cubicBezTo>
                  <a:cubicBezTo>
                    <a:pt x="4" y="83"/>
                    <a:pt x="5" y="76"/>
                    <a:pt x="6" y="69"/>
                  </a:cubicBezTo>
                  <a:cubicBezTo>
                    <a:pt x="16" y="69"/>
                    <a:pt x="27" y="65"/>
                    <a:pt x="36" y="59"/>
                  </a:cubicBezTo>
                  <a:cubicBezTo>
                    <a:pt x="48" y="51"/>
                    <a:pt x="57" y="41"/>
                    <a:pt x="63" y="28"/>
                  </a:cubicBezTo>
                  <a:cubicBezTo>
                    <a:pt x="67" y="19"/>
                    <a:pt x="69" y="10"/>
                    <a:pt x="72" y="0"/>
                  </a:cubicBezTo>
                  <a:close/>
                </a:path>
              </a:pathLst>
            </a:custGeom>
            <a:solidFill>
              <a:srgbClr val="F9E3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" name="ïśḷîḓé">
              <a:extLst>
                <a:ext uri="{FF2B5EF4-FFF2-40B4-BE49-F238E27FC236}">
                  <a16:creationId xmlns:a16="http://schemas.microsoft.com/office/drawing/2014/main" id="{46ADE590-2B72-47C5-ADE1-0CDA4621BCD8}"/>
                </a:ext>
              </a:extLst>
            </p:cNvPr>
            <p:cNvSpPr/>
            <p:nvPr/>
          </p:nvSpPr>
          <p:spPr bwMode="auto">
            <a:xfrm>
              <a:off x="6660876" y="2481517"/>
              <a:ext cx="121515" cy="101810"/>
            </a:xfrm>
            <a:custGeom>
              <a:avLst/>
              <a:gdLst>
                <a:gd name="T0" fmla="*/ 18 w 18"/>
                <a:gd name="T1" fmla="*/ 2 h 15"/>
                <a:gd name="T2" fmla="*/ 18 w 18"/>
                <a:gd name="T3" fmla="*/ 15 h 15"/>
                <a:gd name="T4" fmla="*/ 3 w 18"/>
                <a:gd name="T5" fmla="*/ 14 h 15"/>
                <a:gd name="T6" fmla="*/ 2 w 18"/>
                <a:gd name="T7" fmla="*/ 13 h 15"/>
                <a:gd name="T8" fmla="*/ 0 w 18"/>
                <a:gd name="T9" fmla="*/ 8 h 15"/>
                <a:gd name="T10" fmla="*/ 1 w 18"/>
                <a:gd name="T11" fmla="*/ 0 h 15"/>
                <a:gd name="T12" fmla="*/ 12 w 18"/>
                <a:gd name="T13" fmla="*/ 2 h 15"/>
                <a:gd name="T14" fmla="*/ 18 w 18"/>
                <a:gd name="T15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5">
                  <a:moveTo>
                    <a:pt x="18" y="2"/>
                  </a:moveTo>
                  <a:cubicBezTo>
                    <a:pt x="18" y="15"/>
                    <a:pt x="18" y="15"/>
                    <a:pt x="18" y="15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3"/>
                    <a:pt x="3" y="13"/>
                    <a:pt x="2" y="13"/>
                  </a:cubicBezTo>
                  <a:cubicBezTo>
                    <a:pt x="1" y="11"/>
                    <a:pt x="0" y="10"/>
                    <a:pt x="0" y="8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5" y="1"/>
                    <a:pt x="9" y="1"/>
                    <a:pt x="12" y="2"/>
                  </a:cubicBezTo>
                  <a:cubicBezTo>
                    <a:pt x="16" y="2"/>
                    <a:pt x="18" y="2"/>
                    <a:pt x="18" y="2"/>
                  </a:cubicBezTo>
                  <a:close/>
                </a:path>
              </a:pathLst>
            </a:custGeom>
            <a:solidFill>
              <a:srgbClr val="FFDF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" name="îṡḷîḑê">
              <a:extLst>
                <a:ext uri="{FF2B5EF4-FFF2-40B4-BE49-F238E27FC236}">
                  <a16:creationId xmlns:a16="http://schemas.microsoft.com/office/drawing/2014/main" id="{15FBC93A-B959-444E-B45C-0DBD7492689D}"/>
                </a:ext>
              </a:extLst>
            </p:cNvPr>
            <p:cNvSpPr/>
            <p:nvPr/>
          </p:nvSpPr>
          <p:spPr bwMode="auto">
            <a:xfrm>
              <a:off x="4450635" y="2947868"/>
              <a:ext cx="315280" cy="834178"/>
            </a:xfrm>
            <a:custGeom>
              <a:avLst/>
              <a:gdLst>
                <a:gd name="T0" fmla="*/ 25 w 46"/>
                <a:gd name="T1" fmla="*/ 74 h 122"/>
                <a:gd name="T2" fmla="*/ 21 w 46"/>
                <a:gd name="T3" fmla="*/ 66 h 122"/>
                <a:gd name="T4" fmla="*/ 0 w 46"/>
                <a:gd name="T5" fmla="*/ 2 h 122"/>
                <a:gd name="T6" fmla="*/ 10 w 46"/>
                <a:gd name="T7" fmla="*/ 0 h 122"/>
                <a:gd name="T8" fmla="*/ 46 w 46"/>
                <a:gd name="T9" fmla="*/ 120 h 122"/>
                <a:gd name="T10" fmla="*/ 39 w 46"/>
                <a:gd name="T11" fmla="*/ 122 h 122"/>
                <a:gd name="T12" fmla="*/ 30 w 46"/>
                <a:gd name="T13" fmla="*/ 96 h 122"/>
                <a:gd name="T14" fmla="*/ 31 w 46"/>
                <a:gd name="T15" fmla="*/ 92 h 122"/>
                <a:gd name="T16" fmla="*/ 29 w 46"/>
                <a:gd name="T17" fmla="*/ 85 h 122"/>
                <a:gd name="T18" fmla="*/ 25 w 46"/>
                <a:gd name="T19" fmla="*/ 74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" h="122">
                  <a:moveTo>
                    <a:pt x="25" y="74"/>
                  </a:moveTo>
                  <a:cubicBezTo>
                    <a:pt x="24" y="71"/>
                    <a:pt x="23" y="68"/>
                    <a:pt x="21" y="6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6" y="120"/>
                    <a:pt x="46" y="120"/>
                    <a:pt x="46" y="120"/>
                  </a:cubicBezTo>
                  <a:cubicBezTo>
                    <a:pt x="39" y="122"/>
                    <a:pt x="39" y="122"/>
                    <a:pt x="39" y="122"/>
                  </a:cubicBezTo>
                  <a:cubicBezTo>
                    <a:pt x="30" y="96"/>
                    <a:pt x="30" y="96"/>
                    <a:pt x="30" y="96"/>
                  </a:cubicBezTo>
                  <a:cubicBezTo>
                    <a:pt x="31" y="95"/>
                    <a:pt x="31" y="94"/>
                    <a:pt x="31" y="92"/>
                  </a:cubicBezTo>
                  <a:cubicBezTo>
                    <a:pt x="31" y="90"/>
                    <a:pt x="30" y="88"/>
                    <a:pt x="29" y="85"/>
                  </a:cubicBezTo>
                  <a:cubicBezTo>
                    <a:pt x="28" y="81"/>
                    <a:pt x="27" y="78"/>
                    <a:pt x="25" y="74"/>
                  </a:cubicBezTo>
                  <a:close/>
                </a:path>
              </a:pathLst>
            </a:custGeom>
            <a:solidFill>
              <a:srgbClr val="A6B8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" name="iṩlïḋé">
              <a:extLst>
                <a:ext uri="{FF2B5EF4-FFF2-40B4-BE49-F238E27FC236}">
                  <a16:creationId xmlns:a16="http://schemas.microsoft.com/office/drawing/2014/main" id="{0C7CBDD9-9C20-4095-A2E0-500C1EBD7E4A}"/>
                </a:ext>
              </a:extLst>
            </p:cNvPr>
            <p:cNvSpPr/>
            <p:nvPr/>
          </p:nvSpPr>
          <p:spPr bwMode="auto">
            <a:xfrm>
              <a:off x="6434270" y="3171192"/>
              <a:ext cx="834178" cy="1034513"/>
            </a:xfrm>
            <a:custGeom>
              <a:avLst/>
              <a:gdLst>
                <a:gd name="T0" fmla="*/ 0 w 122"/>
                <a:gd name="T1" fmla="*/ 144 h 151"/>
                <a:gd name="T2" fmla="*/ 109 w 122"/>
                <a:gd name="T3" fmla="*/ 0 h 151"/>
                <a:gd name="T4" fmla="*/ 122 w 122"/>
                <a:gd name="T5" fmla="*/ 6 h 151"/>
                <a:gd name="T6" fmla="*/ 118 w 122"/>
                <a:gd name="T7" fmla="*/ 11 h 151"/>
                <a:gd name="T8" fmla="*/ 59 w 122"/>
                <a:gd name="T9" fmla="*/ 89 h 151"/>
                <a:gd name="T10" fmla="*/ 30 w 122"/>
                <a:gd name="T11" fmla="*/ 127 h 151"/>
                <a:gd name="T12" fmla="*/ 13 w 122"/>
                <a:gd name="T13" fmla="*/ 151 h 151"/>
                <a:gd name="T14" fmla="*/ 0 w 122"/>
                <a:gd name="T15" fmla="*/ 144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51">
                  <a:moveTo>
                    <a:pt x="0" y="144"/>
                  </a:moveTo>
                  <a:cubicBezTo>
                    <a:pt x="109" y="0"/>
                    <a:pt x="109" y="0"/>
                    <a:pt x="109" y="0"/>
                  </a:cubicBezTo>
                  <a:cubicBezTo>
                    <a:pt x="113" y="2"/>
                    <a:pt x="117" y="4"/>
                    <a:pt x="122" y="6"/>
                  </a:cubicBezTo>
                  <a:cubicBezTo>
                    <a:pt x="118" y="11"/>
                    <a:pt x="118" y="11"/>
                    <a:pt x="118" y="11"/>
                  </a:cubicBezTo>
                  <a:cubicBezTo>
                    <a:pt x="59" y="89"/>
                    <a:pt x="59" y="89"/>
                    <a:pt x="59" y="89"/>
                  </a:cubicBezTo>
                  <a:cubicBezTo>
                    <a:pt x="30" y="127"/>
                    <a:pt x="30" y="127"/>
                    <a:pt x="30" y="127"/>
                  </a:cubicBezTo>
                  <a:cubicBezTo>
                    <a:pt x="13" y="151"/>
                    <a:pt x="13" y="151"/>
                    <a:pt x="13" y="151"/>
                  </a:cubicBezTo>
                  <a:cubicBezTo>
                    <a:pt x="9" y="149"/>
                    <a:pt x="4" y="146"/>
                    <a:pt x="0" y="144"/>
                  </a:cubicBezTo>
                  <a:close/>
                </a:path>
              </a:pathLst>
            </a:custGeom>
            <a:solidFill>
              <a:srgbClr val="A6B8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" name="iš1iḋe">
              <a:extLst>
                <a:ext uri="{FF2B5EF4-FFF2-40B4-BE49-F238E27FC236}">
                  <a16:creationId xmlns:a16="http://schemas.microsoft.com/office/drawing/2014/main" id="{0F759A2A-C85D-4E00-B901-1D56B8A0F1B5}"/>
                </a:ext>
              </a:extLst>
            </p:cNvPr>
            <p:cNvSpPr/>
            <p:nvPr/>
          </p:nvSpPr>
          <p:spPr bwMode="auto">
            <a:xfrm>
              <a:off x="5498282" y="5016892"/>
              <a:ext cx="298860" cy="459783"/>
            </a:xfrm>
            <a:custGeom>
              <a:avLst/>
              <a:gdLst>
                <a:gd name="T0" fmla="*/ 8 w 44"/>
                <a:gd name="T1" fmla="*/ 67 h 67"/>
                <a:gd name="T2" fmla="*/ 0 w 44"/>
                <a:gd name="T3" fmla="*/ 55 h 67"/>
                <a:gd name="T4" fmla="*/ 42 w 44"/>
                <a:gd name="T5" fmla="*/ 0 h 67"/>
                <a:gd name="T6" fmla="*/ 44 w 44"/>
                <a:gd name="T7" fmla="*/ 22 h 67"/>
                <a:gd name="T8" fmla="*/ 27 w 44"/>
                <a:gd name="T9" fmla="*/ 45 h 67"/>
                <a:gd name="T10" fmla="*/ 10 w 44"/>
                <a:gd name="T11" fmla="*/ 67 h 67"/>
                <a:gd name="T12" fmla="*/ 8 w 44"/>
                <a:gd name="T13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67">
                  <a:moveTo>
                    <a:pt x="8" y="67"/>
                  </a:moveTo>
                  <a:cubicBezTo>
                    <a:pt x="6" y="63"/>
                    <a:pt x="3" y="59"/>
                    <a:pt x="0" y="55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3" y="7"/>
                    <a:pt x="43" y="15"/>
                    <a:pt x="44" y="22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10" y="67"/>
                    <a:pt x="10" y="67"/>
                    <a:pt x="10" y="67"/>
                  </a:cubicBezTo>
                  <a:lnTo>
                    <a:pt x="8" y="67"/>
                  </a:lnTo>
                  <a:close/>
                </a:path>
              </a:pathLst>
            </a:custGeom>
            <a:solidFill>
              <a:srgbClr val="A6B8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" name="ïSľîḍè">
              <a:extLst>
                <a:ext uri="{FF2B5EF4-FFF2-40B4-BE49-F238E27FC236}">
                  <a16:creationId xmlns:a16="http://schemas.microsoft.com/office/drawing/2014/main" id="{BDF46601-2632-4DD3-A7A0-D01AB8B26629}"/>
                </a:ext>
              </a:extLst>
            </p:cNvPr>
            <p:cNvSpPr/>
            <p:nvPr/>
          </p:nvSpPr>
          <p:spPr bwMode="auto">
            <a:xfrm>
              <a:off x="5334074" y="1831253"/>
              <a:ext cx="1441749" cy="669969"/>
            </a:xfrm>
            <a:custGeom>
              <a:avLst/>
              <a:gdLst>
                <a:gd name="T0" fmla="*/ 209 w 211"/>
                <a:gd name="T1" fmla="*/ 95 h 98"/>
                <a:gd name="T2" fmla="*/ 95 w 211"/>
                <a:gd name="T3" fmla="*/ 67 h 98"/>
                <a:gd name="T4" fmla="*/ 65 w 211"/>
                <a:gd name="T5" fmla="*/ 60 h 98"/>
                <a:gd name="T6" fmla="*/ 84 w 211"/>
                <a:gd name="T7" fmla="*/ 27 h 98"/>
                <a:gd name="T8" fmla="*/ 99 w 211"/>
                <a:gd name="T9" fmla="*/ 14 h 98"/>
                <a:gd name="T10" fmla="*/ 108 w 211"/>
                <a:gd name="T11" fmla="*/ 9 h 98"/>
                <a:gd name="T12" fmla="*/ 122 w 211"/>
                <a:gd name="T13" fmla="*/ 6 h 98"/>
                <a:gd name="T14" fmla="*/ 126 w 211"/>
                <a:gd name="T15" fmla="*/ 4 h 98"/>
                <a:gd name="T16" fmla="*/ 113 w 211"/>
                <a:gd name="T17" fmla="*/ 3 h 98"/>
                <a:gd name="T18" fmla="*/ 89 w 211"/>
                <a:gd name="T19" fmla="*/ 17 h 98"/>
                <a:gd name="T20" fmla="*/ 61 w 211"/>
                <a:gd name="T21" fmla="*/ 60 h 98"/>
                <a:gd name="T22" fmla="*/ 45 w 211"/>
                <a:gd name="T23" fmla="*/ 60 h 98"/>
                <a:gd name="T24" fmla="*/ 2 w 211"/>
                <a:gd name="T25" fmla="*/ 80 h 98"/>
                <a:gd name="T26" fmla="*/ 3 w 211"/>
                <a:gd name="T27" fmla="*/ 83 h 98"/>
                <a:gd name="T28" fmla="*/ 53 w 211"/>
                <a:gd name="T29" fmla="*/ 63 h 98"/>
                <a:gd name="T30" fmla="*/ 104 w 211"/>
                <a:gd name="T31" fmla="*/ 74 h 98"/>
                <a:gd name="T32" fmla="*/ 208 w 211"/>
                <a:gd name="T33" fmla="*/ 98 h 98"/>
                <a:gd name="T34" fmla="*/ 209 w 211"/>
                <a:gd name="T35" fmla="*/ 9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1" h="98">
                  <a:moveTo>
                    <a:pt x="209" y="95"/>
                  </a:moveTo>
                  <a:cubicBezTo>
                    <a:pt x="170" y="89"/>
                    <a:pt x="132" y="79"/>
                    <a:pt x="95" y="67"/>
                  </a:cubicBezTo>
                  <a:cubicBezTo>
                    <a:pt x="85" y="64"/>
                    <a:pt x="75" y="61"/>
                    <a:pt x="65" y="60"/>
                  </a:cubicBezTo>
                  <a:cubicBezTo>
                    <a:pt x="69" y="48"/>
                    <a:pt x="75" y="36"/>
                    <a:pt x="84" y="27"/>
                  </a:cubicBezTo>
                  <a:cubicBezTo>
                    <a:pt x="88" y="22"/>
                    <a:pt x="93" y="18"/>
                    <a:pt x="99" y="14"/>
                  </a:cubicBezTo>
                  <a:cubicBezTo>
                    <a:pt x="102" y="12"/>
                    <a:pt x="105" y="10"/>
                    <a:pt x="108" y="9"/>
                  </a:cubicBezTo>
                  <a:cubicBezTo>
                    <a:pt x="110" y="8"/>
                    <a:pt x="121" y="3"/>
                    <a:pt x="122" y="6"/>
                  </a:cubicBezTo>
                  <a:cubicBezTo>
                    <a:pt x="124" y="8"/>
                    <a:pt x="127" y="7"/>
                    <a:pt x="126" y="4"/>
                  </a:cubicBezTo>
                  <a:cubicBezTo>
                    <a:pt x="123" y="0"/>
                    <a:pt x="116" y="2"/>
                    <a:pt x="113" y="3"/>
                  </a:cubicBezTo>
                  <a:cubicBezTo>
                    <a:pt x="104" y="5"/>
                    <a:pt x="96" y="11"/>
                    <a:pt x="89" y="17"/>
                  </a:cubicBezTo>
                  <a:cubicBezTo>
                    <a:pt x="75" y="28"/>
                    <a:pt x="66" y="43"/>
                    <a:pt x="61" y="60"/>
                  </a:cubicBezTo>
                  <a:cubicBezTo>
                    <a:pt x="56" y="59"/>
                    <a:pt x="50" y="59"/>
                    <a:pt x="45" y="60"/>
                  </a:cubicBezTo>
                  <a:cubicBezTo>
                    <a:pt x="29" y="63"/>
                    <a:pt x="14" y="70"/>
                    <a:pt x="2" y="80"/>
                  </a:cubicBezTo>
                  <a:cubicBezTo>
                    <a:pt x="0" y="81"/>
                    <a:pt x="2" y="84"/>
                    <a:pt x="3" y="83"/>
                  </a:cubicBezTo>
                  <a:cubicBezTo>
                    <a:pt x="18" y="72"/>
                    <a:pt x="35" y="64"/>
                    <a:pt x="53" y="63"/>
                  </a:cubicBezTo>
                  <a:cubicBezTo>
                    <a:pt x="70" y="62"/>
                    <a:pt x="87" y="68"/>
                    <a:pt x="104" y="74"/>
                  </a:cubicBezTo>
                  <a:cubicBezTo>
                    <a:pt x="138" y="85"/>
                    <a:pt x="173" y="93"/>
                    <a:pt x="208" y="98"/>
                  </a:cubicBezTo>
                  <a:cubicBezTo>
                    <a:pt x="210" y="98"/>
                    <a:pt x="211" y="95"/>
                    <a:pt x="209" y="95"/>
                  </a:cubicBezTo>
                  <a:close/>
                </a:path>
              </a:pathLst>
            </a:custGeom>
            <a:solidFill>
              <a:srgbClr val="D8A8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" name="îśḻiḓé">
              <a:extLst>
                <a:ext uri="{FF2B5EF4-FFF2-40B4-BE49-F238E27FC236}">
                  <a16:creationId xmlns:a16="http://schemas.microsoft.com/office/drawing/2014/main" id="{C27D7142-7C39-4F1D-8B3B-A50039ECC11D}"/>
                </a:ext>
              </a:extLst>
            </p:cNvPr>
            <p:cNvSpPr/>
            <p:nvPr/>
          </p:nvSpPr>
          <p:spPr bwMode="auto">
            <a:xfrm>
              <a:off x="6460543" y="2550486"/>
              <a:ext cx="426941" cy="479488"/>
            </a:xfrm>
            <a:custGeom>
              <a:avLst/>
              <a:gdLst>
                <a:gd name="T0" fmla="*/ 60 w 62"/>
                <a:gd name="T1" fmla="*/ 66 h 70"/>
                <a:gd name="T2" fmla="*/ 5 w 62"/>
                <a:gd name="T3" fmla="*/ 2 h 70"/>
                <a:gd name="T4" fmla="*/ 1 w 62"/>
                <a:gd name="T5" fmla="*/ 3 h 70"/>
                <a:gd name="T6" fmla="*/ 57 w 62"/>
                <a:gd name="T7" fmla="*/ 68 h 70"/>
                <a:gd name="T8" fmla="*/ 60 w 62"/>
                <a:gd name="T9" fmla="*/ 66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70">
                  <a:moveTo>
                    <a:pt x="60" y="66"/>
                  </a:moveTo>
                  <a:cubicBezTo>
                    <a:pt x="45" y="42"/>
                    <a:pt x="17" y="29"/>
                    <a:pt x="5" y="2"/>
                  </a:cubicBezTo>
                  <a:cubicBezTo>
                    <a:pt x="4" y="0"/>
                    <a:pt x="0" y="1"/>
                    <a:pt x="1" y="3"/>
                  </a:cubicBezTo>
                  <a:cubicBezTo>
                    <a:pt x="14" y="30"/>
                    <a:pt x="42" y="44"/>
                    <a:pt x="57" y="68"/>
                  </a:cubicBezTo>
                  <a:cubicBezTo>
                    <a:pt x="59" y="70"/>
                    <a:pt x="62" y="68"/>
                    <a:pt x="60" y="66"/>
                  </a:cubicBezTo>
                  <a:close/>
                </a:path>
              </a:pathLst>
            </a:custGeom>
            <a:solidFill>
              <a:srgbClr val="D632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" name="ïṥ1ïḑe">
              <a:extLst>
                <a:ext uri="{FF2B5EF4-FFF2-40B4-BE49-F238E27FC236}">
                  <a16:creationId xmlns:a16="http://schemas.microsoft.com/office/drawing/2014/main" id="{187D571E-C5A7-4131-8392-E7CC91A2F62D}"/>
                </a:ext>
              </a:extLst>
            </p:cNvPr>
            <p:cNvSpPr/>
            <p:nvPr/>
          </p:nvSpPr>
          <p:spPr bwMode="auto">
            <a:xfrm>
              <a:off x="6460543" y="2823070"/>
              <a:ext cx="295575" cy="390817"/>
            </a:xfrm>
            <a:custGeom>
              <a:avLst/>
              <a:gdLst>
                <a:gd name="T0" fmla="*/ 42 w 43"/>
                <a:gd name="T1" fmla="*/ 53 h 57"/>
                <a:gd name="T2" fmla="*/ 25 w 43"/>
                <a:gd name="T3" fmla="*/ 27 h 57"/>
                <a:gd name="T4" fmla="*/ 4 w 43"/>
                <a:gd name="T5" fmla="*/ 2 h 57"/>
                <a:gd name="T6" fmla="*/ 1 w 43"/>
                <a:gd name="T7" fmla="*/ 4 h 57"/>
                <a:gd name="T8" fmla="*/ 19 w 43"/>
                <a:gd name="T9" fmla="*/ 26 h 57"/>
                <a:gd name="T10" fmla="*/ 30 w 43"/>
                <a:gd name="T11" fmla="*/ 39 h 57"/>
                <a:gd name="T12" fmla="*/ 39 w 43"/>
                <a:gd name="T13" fmla="*/ 55 h 57"/>
                <a:gd name="T14" fmla="*/ 42 w 43"/>
                <a:gd name="T15" fmla="*/ 53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" h="57">
                  <a:moveTo>
                    <a:pt x="42" y="53"/>
                  </a:moveTo>
                  <a:cubicBezTo>
                    <a:pt x="36" y="44"/>
                    <a:pt x="32" y="35"/>
                    <a:pt x="25" y="27"/>
                  </a:cubicBezTo>
                  <a:cubicBezTo>
                    <a:pt x="18" y="19"/>
                    <a:pt x="9" y="12"/>
                    <a:pt x="4" y="2"/>
                  </a:cubicBezTo>
                  <a:cubicBezTo>
                    <a:pt x="3" y="0"/>
                    <a:pt x="0" y="1"/>
                    <a:pt x="1" y="4"/>
                  </a:cubicBezTo>
                  <a:cubicBezTo>
                    <a:pt x="6" y="12"/>
                    <a:pt x="12" y="19"/>
                    <a:pt x="19" y="26"/>
                  </a:cubicBezTo>
                  <a:cubicBezTo>
                    <a:pt x="23" y="30"/>
                    <a:pt x="27" y="34"/>
                    <a:pt x="30" y="39"/>
                  </a:cubicBezTo>
                  <a:cubicBezTo>
                    <a:pt x="33" y="44"/>
                    <a:pt x="36" y="50"/>
                    <a:pt x="39" y="55"/>
                  </a:cubicBezTo>
                  <a:cubicBezTo>
                    <a:pt x="40" y="57"/>
                    <a:pt x="43" y="55"/>
                    <a:pt x="42" y="53"/>
                  </a:cubicBezTo>
                  <a:close/>
                </a:path>
              </a:pathLst>
            </a:custGeom>
            <a:solidFill>
              <a:srgbClr val="D632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" name="ïṡliḓé">
              <a:extLst>
                <a:ext uri="{FF2B5EF4-FFF2-40B4-BE49-F238E27FC236}">
                  <a16:creationId xmlns:a16="http://schemas.microsoft.com/office/drawing/2014/main" id="{9ECB7F22-CBB3-4BAE-97E7-F0A26C0A1AD0}"/>
                </a:ext>
              </a:extLst>
            </p:cNvPr>
            <p:cNvSpPr/>
            <p:nvPr/>
          </p:nvSpPr>
          <p:spPr bwMode="auto">
            <a:xfrm>
              <a:off x="6358733" y="2967573"/>
              <a:ext cx="233177" cy="443363"/>
            </a:xfrm>
            <a:custGeom>
              <a:avLst/>
              <a:gdLst>
                <a:gd name="T0" fmla="*/ 4 w 34"/>
                <a:gd name="T1" fmla="*/ 2 h 65"/>
                <a:gd name="T2" fmla="*/ 1 w 34"/>
                <a:gd name="T3" fmla="*/ 3 h 65"/>
                <a:gd name="T4" fmla="*/ 30 w 34"/>
                <a:gd name="T5" fmla="*/ 62 h 65"/>
                <a:gd name="T6" fmla="*/ 34 w 34"/>
                <a:gd name="T7" fmla="*/ 62 h 65"/>
                <a:gd name="T8" fmla="*/ 4 w 34"/>
                <a:gd name="T9" fmla="*/ 2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65">
                  <a:moveTo>
                    <a:pt x="4" y="2"/>
                  </a:moveTo>
                  <a:cubicBezTo>
                    <a:pt x="3" y="0"/>
                    <a:pt x="0" y="1"/>
                    <a:pt x="1" y="3"/>
                  </a:cubicBezTo>
                  <a:cubicBezTo>
                    <a:pt x="8" y="24"/>
                    <a:pt x="30" y="39"/>
                    <a:pt x="30" y="62"/>
                  </a:cubicBezTo>
                  <a:cubicBezTo>
                    <a:pt x="30" y="65"/>
                    <a:pt x="34" y="65"/>
                    <a:pt x="34" y="62"/>
                  </a:cubicBezTo>
                  <a:cubicBezTo>
                    <a:pt x="33" y="38"/>
                    <a:pt x="12" y="23"/>
                    <a:pt x="4" y="2"/>
                  </a:cubicBezTo>
                  <a:close/>
                </a:path>
              </a:pathLst>
            </a:custGeom>
            <a:solidFill>
              <a:srgbClr val="D632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" name="îsḻïdé">
              <a:extLst>
                <a:ext uri="{FF2B5EF4-FFF2-40B4-BE49-F238E27FC236}">
                  <a16:creationId xmlns:a16="http://schemas.microsoft.com/office/drawing/2014/main" id="{ABB218EC-FFEB-4D58-A4BE-290EE1A500BB}"/>
                </a:ext>
              </a:extLst>
            </p:cNvPr>
            <p:cNvSpPr/>
            <p:nvPr/>
          </p:nvSpPr>
          <p:spPr bwMode="auto">
            <a:xfrm>
              <a:off x="7110808" y="3341968"/>
              <a:ext cx="131367" cy="568161"/>
            </a:xfrm>
            <a:custGeom>
              <a:avLst/>
              <a:gdLst>
                <a:gd name="T0" fmla="*/ 8 w 19"/>
                <a:gd name="T1" fmla="*/ 2 h 83"/>
                <a:gd name="T2" fmla="*/ 4 w 19"/>
                <a:gd name="T3" fmla="*/ 3 h 83"/>
                <a:gd name="T4" fmla="*/ 2 w 19"/>
                <a:gd name="T5" fmla="*/ 80 h 83"/>
                <a:gd name="T6" fmla="*/ 5 w 19"/>
                <a:gd name="T7" fmla="*/ 81 h 83"/>
                <a:gd name="T8" fmla="*/ 8 w 19"/>
                <a:gd name="T9" fmla="*/ 2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83">
                  <a:moveTo>
                    <a:pt x="8" y="2"/>
                  </a:moveTo>
                  <a:cubicBezTo>
                    <a:pt x="7" y="0"/>
                    <a:pt x="4" y="1"/>
                    <a:pt x="4" y="3"/>
                  </a:cubicBezTo>
                  <a:cubicBezTo>
                    <a:pt x="15" y="28"/>
                    <a:pt x="14" y="56"/>
                    <a:pt x="2" y="80"/>
                  </a:cubicBezTo>
                  <a:cubicBezTo>
                    <a:pt x="0" y="82"/>
                    <a:pt x="4" y="83"/>
                    <a:pt x="5" y="81"/>
                  </a:cubicBezTo>
                  <a:cubicBezTo>
                    <a:pt x="17" y="57"/>
                    <a:pt x="19" y="28"/>
                    <a:pt x="8" y="2"/>
                  </a:cubicBezTo>
                  <a:close/>
                </a:path>
              </a:pathLst>
            </a:custGeom>
            <a:solidFill>
              <a:srgbClr val="D632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" name="îŝ1îḓê">
              <a:extLst>
                <a:ext uri="{FF2B5EF4-FFF2-40B4-BE49-F238E27FC236}">
                  <a16:creationId xmlns:a16="http://schemas.microsoft.com/office/drawing/2014/main" id="{DE8FFBCE-D9D1-41A1-B06E-ABD4EE317BD6}"/>
                </a:ext>
              </a:extLst>
            </p:cNvPr>
            <p:cNvSpPr/>
            <p:nvPr/>
          </p:nvSpPr>
          <p:spPr bwMode="auto">
            <a:xfrm>
              <a:off x="6982724" y="3555440"/>
              <a:ext cx="68968" cy="272587"/>
            </a:xfrm>
            <a:custGeom>
              <a:avLst/>
              <a:gdLst>
                <a:gd name="T0" fmla="*/ 5 w 10"/>
                <a:gd name="T1" fmla="*/ 3 h 40"/>
                <a:gd name="T2" fmla="*/ 2 w 10"/>
                <a:gd name="T3" fmla="*/ 4 h 40"/>
                <a:gd name="T4" fmla="*/ 0 w 10"/>
                <a:gd name="T5" fmla="*/ 37 h 40"/>
                <a:gd name="T6" fmla="*/ 4 w 10"/>
                <a:gd name="T7" fmla="*/ 38 h 40"/>
                <a:gd name="T8" fmla="*/ 5 w 10"/>
                <a:gd name="T9" fmla="*/ 3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40">
                  <a:moveTo>
                    <a:pt x="5" y="3"/>
                  </a:moveTo>
                  <a:cubicBezTo>
                    <a:pt x="4" y="0"/>
                    <a:pt x="1" y="1"/>
                    <a:pt x="2" y="4"/>
                  </a:cubicBezTo>
                  <a:cubicBezTo>
                    <a:pt x="6" y="15"/>
                    <a:pt x="2" y="26"/>
                    <a:pt x="0" y="37"/>
                  </a:cubicBezTo>
                  <a:cubicBezTo>
                    <a:pt x="0" y="39"/>
                    <a:pt x="3" y="40"/>
                    <a:pt x="4" y="38"/>
                  </a:cubicBezTo>
                  <a:cubicBezTo>
                    <a:pt x="5" y="26"/>
                    <a:pt x="10" y="14"/>
                    <a:pt x="5" y="3"/>
                  </a:cubicBezTo>
                  <a:close/>
                </a:path>
              </a:pathLst>
            </a:custGeom>
            <a:solidFill>
              <a:srgbClr val="D632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" name="iš1íḓè">
              <a:extLst>
                <a:ext uri="{FF2B5EF4-FFF2-40B4-BE49-F238E27FC236}">
                  <a16:creationId xmlns:a16="http://schemas.microsoft.com/office/drawing/2014/main" id="{9F85309D-76CA-4544-ADD1-4099751761A5}"/>
                </a:ext>
              </a:extLst>
            </p:cNvPr>
            <p:cNvSpPr/>
            <p:nvPr/>
          </p:nvSpPr>
          <p:spPr bwMode="auto">
            <a:xfrm>
              <a:off x="5284813" y="2468380"/>
              <a:ext cx="587866" cy="1100196"/>
            </a:xfrm>
            <a:custGeom>
              <a:avLst/>
              <a:gdLst>
                <a:gd name="T0" fmla="*/ 84 w 86"/>
                <a:gd name="T1" fmla="*/ 157 h 161"/>
                <a:gd name="T2" fmla="*/ 15 w 86"/>
                <a:gd name="T3" fmla="*/ 97 h 161"/>
                <a:gd name="T4" fmla="*/ 24 w 86"/>
                <a:gd name="T5" fmla="*/ 2 h 161"/>
                <a:gd name="T6" fmla="*/ 20 w 86"/>
                <a:gd name="T7" fmla="*/ 2 h 161"/>
                <a:gd name="T8" fmla="*/ 14 w 86"/>
                <a:gd name="T9" fmla="*/ 106 h 161"/>
                <a:gd name="T10" fmla="*/ 83 w 86"/>
                <a:gd name="T11" fmla="*/ 161 h 161"/>
                <a:gd name="T12" fmla="*/ 84 w 86"/>
                <a:gd name="T13" fmla="*/ 157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161">
                  <a:moveTo>
                    <a:pt x="84" y="157"/>
                  </a:moveTo>
                  <a:cubicBezTo>
                    <a:pt x="52" y="150"/>
                    <a:pt x="24" y="129"/>
                    <a:pt x="15" y="97"/>
                  </a:cubicBezTo>
                  <a:cubicBezTo>
                    <a:pt x="6" y="65"/>
                    <a:pt x="22" y="34"/>
                    <a:pt x="24" y="2"/>
                  </a:cubicBezTo>
                  <a:cubicBezTo>
                    <a:pt x="24" y="0"/>
                    <a:pt x="20" y="0"/>
                    <a:pt x="20" y="2"/>
                  </a:cubicBezTo>
                  <a:cubicBezTo>
                    <a:pt x="19" y="38"/>
                    <a:pt x="0" y="72"/>
                    <a:pt x="14" y="106"/>
                  </a:cubicBezTo>
                  <a:cubicBezTo>
                    <a:pt x="26" y="135"/>
                    <a:pt x="53" y="154"/>
                    <a:pt x="83" y="161"/>
                  </a:cubicBezTo>
                  <a:cubicBezTo>
                    <a:pt x="85" y="161"/>
                    <a:pt x="86" y="158"/>
                    <a:pt x="84" y="157"/>
                  </a:cubicBezTo>
                  <a:close/>
                </a:path>
              </a:pathLst>
            </a:custGeom>
            <a:solidFill>
              <a:srgbClr val="D632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" name="ïšļîdé">
              <a:extLst>
                <a:ext uri="{FF2B5EF4-FFF2-40B4-BE49-F238E27FC236}">
                  <a16:creationId xmlns:a16="http://schemas.microsoft.com/office/drawing/2014/main" id="{BB525ED4-FEB7-4B6E-8ECF-AAEB1A0BF43C}"/>
                </a:ext>
              </a:extLst>
            </p:cNvPr>
            <p:cNvSpPr/>
            <p:nvPr/>
          </p:nvSpPr>
          <p:spPr bwMode="auto">
            <a:xfrm>
              <a:off x="5921940" y="2507790"/>
              <a:ext cx="397385" cy="213472"/>
            </a:xfrm>
            <a:custGeom>
              <a:avLst/>
              <a:gdLst>
                <a:gd name="T0" fmla="*/ 56 w 58"/>
                <a:gd name="T1" fmla="*/ 27 h 31"/>
                <a:gd name="T2" fmla="*/ 4 w 58"/>
                <a:gd name="T3" fmla="*/ 1 h 31"/>
                <a:gd name="T4" fmla="*/ 1 w 58"/>
                <a:gd name="T5" fmla="*/ 4 h 31"/>
                <a:gd name="T6" fmla="*/ 55 w 58"/>
                <a:gd name="T7" fmla="*/ 31 h 31"/>
                <a:gd name="T8" fmla="*/ 56 w 58"/>
                <a:gd name="T9" fmla="*/ 2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31">
                  <a:moveTo>
                    <a:pt x="56" y="27"/>
                  </a:moveTo>
                  <a:cubicBezTo>
                    <a:pt x="36" y="25"/>
                    <a:pt x="18" y="16"/>
                    <a:pt x="4" y="1"/>
                  </a:cubicBezTo>
                  <a:cubicBezTo>
                    <a:pt x="2" y="0"/>
                    <a:pt x="0" y="2"/>
                    <a:pt x="1" y="4"/>
                  </a:cubicBezTo>
                  <a:cubicBezTo>
                    <a:pt x="16" y="19"/>
                    <a:pt x="35" y="28"/>
                    <a:pt x="55" y="31"/>
                  </a:cubicBezTo>
                  <a:cubicBezTo>
                    <a:pt x="58" y="31"/>
                    <a:pt x="58" y="28"/>
                    <a:pt x="56" y="27"/>
                  </a:cubicBezTo>
                  <a:close/>
                </a:path>
              </a:pathLst>
            </a:custGeom>
            <a:solidFill>
              <a:srgbClr val="D632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" name="îSlïdê">
              <a:extLst>
                <a:ext uri="{FF2B5EF4-FFF2-40B4-BE49-F238E27FC236}">
                  <a16:creationId xmlns:a16="http://schemas.microsoft.com/office/drawing/2014/main" id="{B646EAE6-9E08-469F-87F9-38D22461D9A5}"/>
                </a:ext>
              </a:extLst>
            </p:cNvPr>
            <p:cNvSpPr/>
            <p:nvPr/>
          </p:nvSpPr>
          <p:spPr bwMode="auto">
            <a:xfrm>
              <a:off x="5885814" y="3171192"/>
              <a:ext cx="453215" cy="334985"/>
            </a:xfrm>
            <a:custGeom>
              <a:avLst/>
              <a:gdLst>
                <a:gd name="T0" fmla="*/ 62 w 66"/>
                <a:gd name="T1" fmla="*/ 2 h 49"/>
                <a:gd name="T2" fmla="*/ 2 w 66"/>
                <a:gd name="T3" fmla="*/ 45 h 49"/>
                <a:gd name="T4" fmla="*/ 3 w 66"/>
                <a:gd name="T5" fmla="*/ 48 h 49"/>
                <a:gd name="T6" fmla="*/ 64 w 66"/>
                <a:gd name="T7" fmla="*/ 4 h 49"/>
                <a:gd name="T8" fmla="*/ 62 w 66"/>
                <a:gd name="T9" fmla="*/ 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49">
                  <a:moveTo>
                    <a:pt x="62" y="2"/>
                  </a:moveTo>
                  <a:cubicBezTo>
                    <a:pt x="46" y="22"/>
                    <a:pt x="26" y="37"/>
                    <a:pt x="2" y="45"/>
                  </a:cubicBezTo>
                  <a:cubicBezTo>
                    <a:pt x="0" y="46"/>
                    <a:pt x="1" y="49"/>
                    <a:pt x="3" y="48"/>
                  </a:cubicBezTo>
                  <a:cubicBezTo>
                    <a:pt x="28" y="40"/>
                    <a:pt x="49" y="25"/>
                    <a:pt x="64" y="4"/>
                  </a:cubicBezTo>
                  <a:cubicBezTo>
                    <a:pt x="66" y="3"/>
                    <a:pt x="63" y="0"/>
                    <a:pt x="62" y="2"/>
                  </a:cubicBezTo>
                  <a:close/>
                </a:path>
              </a:pathLst>
            </a:custGeom>
            <a:solidFill>
              <a:srgbClr val="F7D2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" name="ïşlïde">
              <a:extLst>
                <a:ext uri="{FF2B5EF4-FFF2-40B4-BE49-F238E27FC236}">
                  <a16:creationId xmlns:a16="http://schemas.microsoft.com/office/drawing/2014/main" id="{311B7C14-A9F2-4AA9-9A1D-8F5E7177C060}"/>
                </a:ext>
              </a:extLst>
            </p:cNvPr>
            <p:cNvSpPr/>
            <p:nvPr/>
          </p:nvSpPr>
          <p:spPr bwMode="auto">
            <a:xfrm>
              <a:off x="5839835" y="4251683"/>
              <a:ext cx="259450" cy="151072"/>
            </a:xfrm>
            <a:custGeom>
              <a:avLst/>
              <a:gdLst>
                <a:gd name="T0" fmla="*/ 36 w 38"/>
                <a:gd name="T1" fmla="*/ 0 h 22"/>
                <a:gd name="T2" fmla="*/ 16 w 38"/>
                <a:gd name="T3" fmla="*/ 5 h 22"/>
                <a:gd name="T4" fmla="*/ 8 w 38"/>
                <a:gd name="T5" fmla="*/ 11 h 22"/>
                <a:gd name="T6" fmla="*/ 3 w 38"/>
                <a:gd name="T7" fmla="*/ 17 h 22"/>
                <a:gd name="T8" fmla="*/ 2 w 38"/>
                <a:gd name="T9" fmla="*/ 20 h 22"/>
                <a:gd name="T10" fmla="*/ 12 w 38"/>
                <a:gd name="T11" fmla="*/ 13 h 22"/>
                <a:gd name="T12" fmla="*/ 36 w 38"/>
                <a:gd name="T13" fmla="*/ 4 h 22"/>
                <a:gd name="T14" fmla="*/ 36 w 38"/>
                <a:gd name="T1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22">
                  <a:moveTo>
                    <a:pt x="36" y="0"/>
                  </a:moveTo>
                  <a:cubicBezTo>
                    <a:pt x="29" y="0"/>
                    <a:pt x="22" y="2"/>
                    <a:pt x="16" y="5"/>
                  </a:cubicBezTo>
                  <a:cubicBezTo>
                    <a:pt x="13" y="7"/>
                    <a:pt x="10" y="9"/>
                    <a:pt x="8" y="11"/>
                  </a:cubicBezTo>
                  <a:cubicBezTo>
                    <a:pt x="7" y="12"/>
                    <a:pt x="3" y="17"/>
                    <a:pt x="3" y="17"/>
                  </a:cubicBezTo>
                  <a:cubicBezTo>
                    <a:pt x="1" y="16"/>
                    <a:pt x="0" y="20"/>
                    <a:pt x="2" y="20"/>
                  </a:cubicBezTo>
                  <a:cubicBezTo>
                    <a:pt x="7" y="22"/>
                    <a:pt x="9" y="15"/>
                    <a:pt x="12" y="13"/>
                  </a:cubicBezTo>
                  <a:cubicBezTo>
                    <a:pt x="18" y="6"/>
                    <a:pt x="27" y="4"/>
                    <a:pt x="36" y="4"/>
                  </a:cubicBezTo>
                  <a:cubicBezTo>
                    <a:pt x="38" y="4"/>
                    <a:pt x="38" y="0"/>
                    <a:pt x="36" y="0"/>
                  </a:cubicBezTo>
                  <a:close/>
                </a:path>
              </a:pathLst>
            </a:custGeom>
            <a:solidFill>
              <a:srgbClr val="F7D2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2" name="íṧlíḑe">
              <a:extLst>
                <a:ext uri="{FF2B5EF4-FFF2-40B4-BE49-F238E27FC236}">
                  <a16:creationId xmlns:a16="http://schemas.microsoft.com/office/drawing/2014/main" id="{06A45288-BD0B-45B1-91A8-D46C46B35D75}"/>
                </a:ext>
              </a:extLst>
            </p:cNvPr>
            <p:cNvSpPr/>
            <p:nvPr/>
          </p:nvSpPr>
          <p:spPr bwMode="auto">
            <a:xfrm>
              <a:off x="5935077" y="3864151"/>
              <a:ext cx="289006" cy="121515"/>
            </a:xfrm>
            <a:custGeom>
              <a:avLst/>
              <a:gdLst>
                <a:gd name="T0" fmla="*/ 40 w 42"/>
                <a:gd name="T1" fmla="*/ 8 h 18"/>
                <a:gd name="T2" fmla="*/ 2 w 42"/>
                <a:gd name="T3" fmla="*/ 13 h 18"/>
                <a:gd name="T4" fmla="*/ 4 w 42"/>
                <a:gd name="T5" fmla="*/ 16 h 18"/>
                <a:gd name="T6" fmla="*/ 38 w 42"/>
                <a:gd name="T7" fmla="*/ 11 h 18"/>
                <a:gd name="T8" fmla="*/ 40 w 42"/>
                <a:gd name="T9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18">
                  <a:moveTo>
                    <a:pt x="40" y="8"/>
                  </a:moveTo>
                  <a:cubicBezTo>
                    <a:pt x="27" y="0"/>
                    <a:pt x="13" y="5"/>
                    <a:pt x="2" y="13"/>
                  </a:cubicBezTo>
                  <a:cubicBezTo>
                    <a:pt x="0" y="15"/>
                    <a:pt x="2" y="18"/>
                    <a:pt x="4" y="16"/>
                  </a:cubicBezTo>
                  <a:cubicBezTo>
                    <a:pt x="14" y="9"/>
                    <a:pt x="27" y="3"/>
                    <a:pt x="38" y="11"/>
                  </a:cubicBezTo>
                  <a:cubicBezTo>
                    <a:pt x="40" y="12"/>
                    <a:pt x="42" y="9"/>
                    <a:pt x="40" y="8"/>
                  </a:cubicBezTo>
                  <a:close/>
                </a:path>
              </a:pathLst>
            </a:custGeom>
            <a:solidFill>
              <a:srgbClr val="F7D2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3" name="î$ḻíḓê">
              <a:extLst>
                <a:ext uri="{FF2B5EF4-FFF2-40B4-BE49-F238E27FC236}">
                  <a16:creationId xmlns:a16="http://schemas.microsoft.com/office/drawing/2014/main" id="{5605677D-CE8D-4C62-8184-D5779DA6C1E1}"/>
                </a:ext>
              </a:extLst>
            </p:cNvPr>
            <p:cNvSpPr/>
            <p:nvPr/>
          </p:nvSpPr>
          <p:spPr bwMode="auto">
            <a:xfrm>
              <a:off x="4874291" y="4497994"/>
              <a:ext cx="233177" cy="541888"/>
            </a:xfrm>
            <a:custGeom>
              <a:avLst/>
              <a:gdLst>
                <a:gd name="T0" fmla="*/ 34 w 34"/>
                <a:gd name="T1" fmla="*/ 52 h 79"/>
                <a:gd name="T2" fmla="*/ 7 w 34"/>
                <a:gd name="T3" fmla="*/ 2 h 79"/>
                <a:gd name="T4" fmla="*/ 4 w 34"/>
                <a:gd name="T5" fmla="*/ 4 h 79"/>
                <a:gd name="T6" fmla="*/ 1 w 34"/>
                <a:gd name="T7" fmla="*/ 6 h 79"/>
                <a:gd name="T8" fmla="*/ 15 w 34"/>
                <a:gd name="T9" fmla="*/ 77 h 79"/>
                <a:gd name="T10" fmla="*/ 19 w 34"/>
                <a:gd name="T11" fmla="*/ 77 h 79"/>
                <a:gd name="T12" fmla="*/ 4 w 34"/>
                <a:gd name="T13" fmla="*/ 5 h 79"/>
                <a:gd name="T14" fmla="*/ 4 w 34"/>
                <a:gd name="T15" fmla="*/ 4 h 79"/>
                <a:gd name="T16" fmla="*/ 30 w 34"/>
                <a:gd name="T17" fmla="*/ 53 h 79"/>
                <a:gd name="T18" fmla="*/ 34 w 34"/>
                <a:gd name="T19" fmla="*/ 5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79">
                  <a:moveTo>
                    <a:pt x="34" y="52"/>
                  </a:moveTo>
                  <a:cubicBezTo>
                    <a:pt x="28" y="34"/>
                    <a:pt x="19" y="17"/>
                    <a:pt x="7" y="2"/>
                  </a:cubicBezTo>
                  <a:cubicBezTo>
                    <a:pt x="5" y="0"/>
                    <a:pt x="3" y="2"/>
                    <a:pt x="4" y="4"/>
                  </a:cubicBezTo>
                  <a:cubicBezTo>
                    <a:pt x="3" y="3"/>
                    <a:pt x="0" y="4"/>
                    <a:pt x="1" y="6"/>
                  </a:cubicBezTo>
                  <a:cubicBezTo>
                    <a:pt x="8" y="29"/>
                    <a:pt x="13" y="53"/>
                    <a:pt x="15" y="77"/>
                  </a:cubicBezTo>
                  <a:cubicBezTo>
                    <a:pt x="15" y="79"/>
                    <a:pt x="19" y="79"/>
                    <a:pt x="19" y="77"/>
                  </a:cubicBezTo>
                  <a:cubicBezTo>
                    <a:pt x="16" y="52"/>
                    <a:pt x="11" y="28"/>
                    <a:pt x="4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16" y="19"/>
                    <a:pt x="24" y="35"/>
                    <a:pt x="30" y="53"/>
                  </a:cubicBezTo>
                  <a:cubicBezTo>
                    <a:pt x="31" y="55"/>
                    <a:pt x="34" y="54"/>
                    <a:pt x="34" y="52"/>
                  </a:cubicBezTo>
                  <a:close/>
                </a:path>
              </a:pathLst>
            </a:custGeom>
            <a:solidFill>
              <a:srgbClr val="0A87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4" name="iṣļïḋê">
              <a:extLst>
                <a:ext uri="{FF2B5EF4-FFF2-40B4-BE49-F238E27FC236}">
                  <a16:creationId xmlns:a16="http://schemas.microsoft.com/office/drawing/2014/main" id="{DB2EED21-77FF-4054-8CE0-46B28794B797}"/>
                </a:ext>
              </a:extLst>
            </p:cNvPr>
            <p:cNvSpPr/>
            <p:nvPr/>
          </p:nvSpPr>
          <p:spPr bwMode="auto">
            <a:xfrm>
              <a:off x="6680581" y="4307512"/>
              <a:ext cx="699528" cy="758643"/>
            </a:xfrm>
            <a:custGeom>
              <a:avLst/>
              <a:gdLst>
                <a:gd name="T0" fmla="*/ 102 w 102"/>
                <a:gd name="T1" fmla="*/ 108 h 111"/>
                <a:gd name="T2" fmla="*/ 66 w 102"/>
                <a:gd name="T3" fmla="*/ 50 h 111"/>
                <a:gd name="T4" fmla="*/ 38 w 102"/>
                <a:gd name="T5" fmla="*/ 27 h 111"/>
                <a:gd name="T6" fmla="*/ 22 w 102"/>
                <a:gd name="T7" fmla="*/ 16 h 111"/>
                <a:gd name="T8" fmla="*/ 11 w 102"/>
                <a:gd name="T9" fmla="*/ 10 h 111"/>
                <a:gd name="T10" fmla="*/ 78 w 102"/>
                <a:gd name="T11" fmla="*/ 50 h 111"/>
                <a:gd name="T12" fmla="*/ 81 w 102"/>
                <a:gd name="T13" fmla="*/ 47 h 111"/>
                <a:gd name="T14" fmla="*/ 7 w 102"/>
                <a:gd name="T15" fmla="*/ 4 h 111"/>
                <a:gd name="T16" fmla="*/ 5 w 102"/>
                <a:gd name="T17" fmla="*/ 5 h 111"/>
                <a:gd name="T18" fmla="*/ 4 w 102"/>
                <a:gd name="T19" fmla="*/ 2 h 111"/>
                <a:gd name="T20" fmla="*/ 1 w 102"/>
                <a:gd name="T21" fmla="*/ 4 h 111"/>
                <a:gd name="T22" fmla="*/ 23 w 102"/>
                <a:gd name="T23" fmla="*/ 21 h 111"/>
                <a:gd name="T24" fmla="*/ 57 w 102"/>
                <a:gd name="T25" fmla="*/ 46 h 111"/>
                <a:gd name="T26" fmla="*/ 98 w 102"/>
                <a:gd name="T27" fmla="*/ 109 h 111"/>
                <a:gd name="T28" fmla="*/ 102 w 102"/>
                <a:gd name="T29" fmla="*/ 108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2" h="111">
                  <a:moveTo>
                    <a:pt x="102" y="108"/>
                  </a:moveTo>
                  <a:cubicBezTo>
                    <a:pt x="96" y="85"/>
                    <a:pt x="83" y="66"/>
                    <a:pt x="66" y="50"/>
                  </a:cubicBezTo>
                  <a:cubicBezTo>
                    <a:pt x="58" y="41"/>
                    <a:pt x="48" y="34"/>
                    <a:pt x="38" y="27"/>
                  </a:cubicBezTo>
                  <a:cubicBezTo>
                    <a:pt x="33" y="23"/>
                    <a:pt x="28" y="20"/>
                    <a:pt x="22" y="16"/>
                  </a:cubicBezTo>
                  <a:cubicBezTo>
                    <a:pt x="19" y="14"/>
                    <a:pt x="15" y="12"/>
                    <a:pt x="11" y="10"/>
                  </a:cubicBezTo>
                  <a:cubicBezTo>
                    <a:pt x="35" y="19"/>
                    <a:pt x="58" y="32"/>
                    <a:pt x="78" y="50"/>
                  </a:cubicBezTo>
                  <a:cubicBezTo>
                    <a:pt x="80" y="51"/>
                    <a:pt x="82" y="49"/>
                    <a:pt x="81" y="47"/>
                  </a:cubicBezTo>
                  <a:cubicBezTo>
                    <a:pt x="59" y="28"/>
                    <a:pt x="34" y="14"/>
                    <a:pt x="7" y="4"/>
                  </a:cubicBezTo>
                  <a:cubicBezTo>
                    <a:pt x="6" y="4"/>
                    <a:pt x="5" y="4"/>
                    <a:pt x="5" y="5"/>
                  </a:cubicBezTo>
                  <a:cubicBezTo>
                    <a:pt x="4" y="4"/>
                    <a:pt x="4" y="3"/>
                    <a:pt x="4" y="2"/>
                  </a:cubicBezTo>
                  <a:cubicBezTo>
                    <a:pt x="3" y="0"/>
                    <a:pt x="0" y="2"/>
                    <a:pt x="1" y="4"/>
                  </a:cubicBezTo>
                  <a:cubicBezTo>
                    <a:pt x="5" y="13"/>
                    <a:pt x="16" y="17"/>
                    <a:pt x="23" y="21"/>
                  </a:cubicBezTo>
                  <a:cubicBezTo>
                    <a:pt x="35" y="29"/>
                    <a:pt x="46" y="37"/>
                    <a:pt x="57" y="46"/>
                  </a:cubicBezTo>
                  <a:cubicBezTo>
                    <a:pt x="76" y="63"/>
                    <a:pt x="92" y="84"/>
                    <a:pt x="98" y="109"/>
                  </a:cubicBezTo>
                  <a:cubicBezTo>
                    <a:pt x="99" y="111"/>
                    <a:pt x="102" y="110"/>
                    <a:pt x="102" y="108"/>
                  </a:cubicBezTo>
                  <a:close/>
                </a:path>
              </a:pathLst>
            </a:custGeom>
            <a:solidFill>
              <a:srgbClr val="0A87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5" name="ïS1iḋe">
              <a:extLst>
                <a:ext uri="{FF2B5EF4-FFF2-40B4-BE49-F238E27FC236}">
                  <a16:creationId xmlns:a16="http://schemas.microsoft.com/office/drawing/2014/main" id="{41FC8063-AF8A-4FEC-92DE-703E9499755B}"/>
                </a:ext>
              </a:extLst>
            </p:cNvPr>
            <p:cNvSpPr/>
            <p:nvPr/>
          </p:nvSpPr>
          <p:spPr bwMode="auto">
            <a:xfrm>
              <a:off x="5866109" y="4819842"/>
              <a:ext cx="334985" cy="466351"/>
            </a:xfrm>
            <a:custGeom>
              <a:avLst/>
              <a:gdLst>
                <a:gd name="T0" fmla="*/ 44 w 49"/>
                <a:gd name="T1" fmla="*/ 2 h 68"/>
                <a:gd name="T2" fmla="*/ 1 w 49"/>
                <a:gd name="T3" fmla="*/ 64 h 68"/>
                <a:gd name="T4" fmla="*/ 4 w 49"/>
                <a:gd name="T5" fmla="*/ 66 h 68"/>
                <a:gd name="T6" fmla="*/ 48 w 49"/>
                <a:gd name="T7" fmla="*/ 4 h 68"/>
                <a:gd name="T8" fmla="*/ 44 w 49"/>
                <a:gd name="T9" fmla="*/ 2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68">
                  <a:moveTo>
                    <a:pt x="44" y="2"/>
                  </a:moveTo>
                  <a:cubicBezTo>
                    <a:pt x="31" y="24"/>
                    <a:pt x="16" y="44"/>
                    <a:pt x="1" y="64"/>
                  </a:cubicBezTo>
                  <a:cubicBezTo>
                    <a:pt x="0" y="66"/>
                    <a:pt x="2" y="68"/>
                    <a:pt x="4" y="66"/>
                  </a:cubicBezTo>
                  <a:cubicBezTo>
                    <a:pt x="19" y="46"/>
                    <a:pt x="34" y="26"/>
                    <a:pt x="48" y="4"/>
                  </a:cubicBezTo>
                  <a:cubicBezTo>
                    <a:pt x="49" y="2"/>
                    <a:pt x="46" y="0"/>
                    <a:pt x="44" y="2"/>
                  </a:cubicBezTo>
                  <a:close/>
                </a:path>
              </a:pathLst>
            </a:custGeom>
            <a:solidFill>
              <a:srgbClr val="0A87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6" name="íṣḷiḓê">
              <a:extLst>
                <a:ext uri="{FF2B5EF4-FFF2-40B4-BE49-F238E27FC236}">
                  <a16:creationId xmlns:a16="http://schemas.microsoft.com/office/drawing/2014/main" id="{8C07D01F-CE68-4697-94DE-474D9F5E111F}"/>
                </a:ext>
              </a:extLst>
            </p:cNvPr>
            <p:cNvSpPr/>
            <p:nvPr/>
          </p:nvSpPr>
          <p:spPr bwMode="auto">
            <a:xfrm>
              <a:off x="5928509" y="5003755"/>
              <a:ext cx="259450" cy="354690"/>
            </a:xfrm>
            <a:custGeom>
              <a:avLst/>
              <a:gdLst>
                <a:gd name="T0" fmla="*/ 34 w 38"/>
                <a:gd name="T1" fmla="*/ 2 h 52"/>
                <a:gd name="T2" fmla="*/ 21 w 38"/>
                <a:gd name="T3" fmla="*/ 23 h 52"/>
                <a:gd name="T4" fmla="*/ 1 w 38"/>
                <a:gd name="T5" fmla="*/ 47 h 52"/>
                <a:gd name="T6" fmla="*/ 4 w 38"/>
                <a:gd name="T7" fmla="*/ 50 h 52"/>
                <a:gd name="T8" fmla="*/ 22 w 38"/>
                <a:gd name="T9" fmla="*/ 28 h 52"/>
                <a:gd name="T10" fmla="*/ 37 w 38"/>
                <a:gd name="T11" fmla="*/ 4 h 52"/>
                <a:gd name="T12" fmla="*/ 34 w 38"/>
                <a:gd name="T13" fmla="*/ 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52">
                  <a:moveTo>
                    <a:pt x="34" y="2"/>
                  </a:moveTo>
                  <a:cubicBezTo>
                    <a:pt x="29" y="8"/>
                    <a:pt x="25" y="16"/>
                    <a:pt x="21" y="23"/>
                  </a:cubicBezTo>
                  <a:cubicBezTo>
                    <a:pt x="15" y="32"/>
                    <a:pt x="8" y="40"/>
                    <a:pt x="1" y="47"/>
                  </a:cubicBezTo>
                  <a:cubicBezTo>
                    <a:pt x="0" y="49"/>
                    <a:pt x="2" y="52"/>
                    <a:pt x="4" y="50"/>
                  </a:cubicBezTo>
                  <a:cubicBezTo>
                    <a:pt x="10" y="43"/>
                    <a:pt x="16" y="36"/>
                    <a:pt x="22" y="28"/>
                  </a:cubicBezTo>
                  <a:cubicBezTo>
                    <a:pt x="27" y="20"/>
                    <a:pt x="31" y="12"/>
                    <a:pt x="37" y="4"/>
                  </a:cubicBezTo>
                  <a:cubicBezTo>
                    <a:pt x="38" y="2"/>
                    <a:pt x="35" y="0"/>
                    <a:pt x="34" y="2"/>
                  </a:cubicBezTo>
                  <a:close/>
                </a:path>
              </a:pathLst>
            </a:custGeom>
            <a:solidFill>
              <a:srgbClr val="0A87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7" name="îṡḷïďe">
              <a:extLst>
                <a:ext uri="{FF2B5EF4-FFF2-40B4-BE49-F238E27FC236}">
                  <a16:creationId xmlns:a16="http://schemas.microsoft.com/office/drawing/2014/main" id="{35E4CB9B-8CA3-41C6-8A5C-060654996BD0}"/>
                </a:ext>
              </a:extLst>
            </p:cNvPr>
            <p:cNvSpPr/>
            <p:nvPr/>
          </p:nvSpPr>
          <p:spPr bwMode="auto">
            <a:xfrm>
              <a:off x="5879245" y="5358445"/>
              <a:ext cx="187198" cy="105093"/>
            </a:xfrm>
            <a:custGeom>
              <a:avLst/>
              <a:gdLst>
                <a:gd name="T0" fmla="*/ 23 w 27"/>
                <a:gd name="T1" fmla="*/ 1 h 15"/>
                <a:gd name="T2" fmla="*/ 2 w 27"/>
                <a:gd name="T3" fmla="*/ 10 h 15"/>
                <a:gd name="T4" fmla="*/ 3 w 27"/>
                <a:gd name="T5" fmla="*/ 14 h 15"/>
                <a:gd name="T6" fmla="*/ 25 w 27"/>
                <a:gd name="T7" fmla="*/ 4 h 15"/>
                <a:gd name="T8" fmla="*/ 23 w 27"/>
                <a:gd name="T9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5">
                  <a:moveTo>
                    <a:pt x="23" y="1"/>
                  </a:moveTo>
                  <a:cubicBezTo>
                    <a:pt x="16" y="4"/>
                    <a:pt x="9" y="8"/>
                    <a:pt x="2" y="10"/>
                  </a:cubicBezTo>
                  <a:cubicBezTo>
                    <a:pt x="0" y="11"/>
                    <a:pt x="1" y="15"/>
                    <a:pt x="3" y="14"/>
                  </a:cubicBezTo>
                  <a:cubicBezTo>
                    <a:pt x="11" y="11"/>
                    <a:pt x="18" y="8"/>
                    <a:pt x="25" y="4"/>
                  </a:cubicBezTo>
                  <a:cubicBezTo>
                    <a:pt x="27" y="3"/>
                    <a:pt x="25" y="0"/>
                    <a:pt x="23" y="1"/>
                  </a:cubicBezTo>
                  <a:close/>
                </a:path>
              </a:pathLst>
            </a:custGeom>
            <a:solidFill>
              <a:srgbClr val="0A87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grpSp>
        <p:nvGrpSpPr>
          <p:cNvPr id="128" name="0354bfa5-3032-4211-9404-b25ca2f57edf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261D97D9-6E22-4740-A374-826D4F6509F2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2348710" y="3028945"/>
            <a:ext cx="1081921" cy="1269295"/>
            <a:chOff x="4148138" y="1152525"/>
            <a:chExt cx="3895725" cy="4570413"/>
          </a:xfrm>
        </p:grpSpPr>
        <p:sp>
          <p:nvSpPr>
            <p:cNvPr id="129" name="iṩlîďê">
              <a:extLst>
                <a:ext uri="{FF2B5EF4-FFF2-40B4-BE49-F238E27FC236}">
                  <a16:creationId xmlns:a16="http://schemas.microsoft.com/office/drawing/2014/main" id="{7731BD29-3DF2-4EAD-9DCA-A167783F8612}"/>
                </a:ext>
              </a:extLst>
            </p:cNvPr>
            <p:cNvSpPr/>
            <p:nvPr/>
          </p:nvSpPr>
          <p:spPr bwMode="auto">
            <a:xfrm>
              <a:off x="4733926" y="2154238"/>
              <a:ext cx="1069975" cy="1066800"/>
            </a:xfrm>
            <a:prstGeom prst="rect">
              <a:avLst/>
            </a:prstGeom>
            <a:solidFill>
              <a:srgbClr val="B5B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0" name="ïślíḓè">
              <a:extLst>
                <a:ext uri="{FF2B5EF4-FFF2-40B4-BE49-F238E27FC236}">
                  <a16:creationId xmlns:a16="http://schemas.microsoft.com/office/drawing/2014/main" id="{4C82C1DD-A891-48FE-A01C-B6F86EAFAE40}"/>
                </a:ext>
              </a:extLst>
            </p:cNvPr>
            <p:cNvSpPr/>
            <p:nvPr/>
          </p:nvSpPr>
          <p:spPr bwMode="auto">
            <a:xfrm>
              <a:off x="5013326" y="2376488"/>
              <a:ext cx="482600" cy="473075"/>
            </a:xfrm>
            <a:prstGeom prst="ellipse">
              <a:avLst/>
            </a:prstGeom>
            <a:solidFill>
              <a:srgbClr val="7777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1" name="íšḷíďe">
              <a:extLst>
                <a:ext uri="{FF2B5EF4-FFF2-40B4-BE49-F238E27FC236}">
                  <a16:creationId xmlns:a16="http://schemas.microsoft.com/office/drawing/2014/main" id="{259B8882-FED8-4739-A94E-7490EF158CCC}"/>
                </a:ext>
              </a:extLst>
            </p:cNvPr>
            <p:cNvSpPr/>
            <p:nvPr/>
          </p:nvSpPr>
          <p:spPr bwMode="auto">
            <a:xfrm>
              <a:off x="4883151" y="2774950"/>
              <a:ext cx="771525" cy="862013"/>
            </a:xfrm>
            <a:custGeom>
              <a:avLst/>
              <a:gdLst>
                <a:gd name="T0" fmla="*/ 83 w 83"/>
                <a:gd name="T1" fmla="*/ 57 h 93"/>
                <a:gd name="T2" fmla="*/ 41 w 83"/>
                <a:gd name="T3" fmla="*/ 93 h 93"/>
                <a:gd name="T4" fmla="*/ 0 w 83"/>
                <a:gd name="T5" fmla="*/ 59 h 93"/>
                <a:gd name="T6" fmla="*/ 41 w 83"/>
                <a:gd name="T7" fmla="*/ 0 h 93"/>
                <a:gd name="T8" fmla="*/ 83 w 83"/>
                <a:gd name="T9" fmla="*/ 57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93">
                  <a:moveTo>
                    <a:pt x="83" y="57"/>
                  </a:moveTo>
                  <a:cubicBezTo>
                    <a:pt x="83" y="82"/>
                    <a:pt x="61" y="93"/>
                    <a:pt x="41" y="93"/>
                  </a:cubicBezTo>
                  <a:cubicBezTo>
                    <a:pt x="21" y="93"/>
                    <a:pt x="0" y="85"/>
                    <a:pt x="0" y="59"/>
                  </a:cubicBezTo>
                  <a:cubicBezTo>
                    <a:pt x="0" y="33"/>
                    <a:pt x="21" y="0"/>
                    <a:pt x="41" y="0"/>
                  </a:cubicBezTo>
                  <a:cubicBezTo>
                    <a:pt x="61" y="0"/>
                    <a:pt x="83" y="31"/>
                    <a:pt x="83" y="57"/>
                  </a:cubicBezTo>
                  <a:close/>
                </a:path>
              </a:pathLst>
            </a:custGeom>
            <a:solidFill>
              <a:srgbClr val="7777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2" name="iṡľiďê">
              <a:extLst>
                <a:ext uri="{FF2B5EF4-FFF2-40B4-BE49-F238E27FC236}">
                  <a16:creationId xmlns:a16="http://schemas.microsoft.com/office/drawing/2014/main" id="{9FEC5EFF-BC9B-4B30-A5DD-B069F2C626D3}"/>
                </a:ext>
              </a:extLst>
            </p:cNvPr>
            <p:cNvSpPr/>
            <p:nvPr/>
          </p:nvSpPr>
          <p:spPr bwMode="auto">
            <a:xfrm>
              <a:off x="7170738" y="1152525"/>
              <a:ext cx="873125" cy="871538"/>
            </a:xfrm>
            <a:prstGeom prst="rect">
              <a:avLst/>
            </a:prstGeom>
            <a:solidFill>
              <a:srgbClr val="B5B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3" name="íṡľiḓè">
              <a:extLst>
                <a:ext uri="{FF2B5EF4-FFF2-40B4-BE49-F238E27FC236}">
                  <a16:creationId xmlns:a16="http://schemas.microsoft.com/office/drawing/2014/main" id="{EA9A4AC0-890E-4D53-BD4E-BA08D2D021D6}"/>
                </a:ext>
              </a:extLst>
            </p:cNvPr>
            <p:cNvSpPr/>
            <p:nvPr/>
          </p:nvSpPr>
          <p:spPr bwMode="auto">
            <a:xfrm>
              <a:off x="7170738" y="1152525"/>
              <a:ext cx="873125" cy="871538"/>
            </a:xfrm>
            <a:prstGeom prst="rect">
              <a:avLst/>
            </a:prstGeom>
            <a:solidFill>
              <a:srgbClr val="B5B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4" name="iṡḷîďê">
              <a:extLst>
                <a:ext uri="{FF2B5EF4-FFF2-40B4-BE49-F238E27FC236}">
                  <a16:creationId xmlns:a16="http://schemas.microsoft.com/office/drawing/2014/main" id="{E0A92390-479D-4ED7-B0C3-56EBB6B7DE3D}"/>
                </a:ext>
              </a:extLst>
            </p:cNvPr>
            <p:cNvSpPr/>
            <p:nvPr/>
          </p:nvSpPr>
          <p:spPr bwMode="auto">
            <a:xfrm>
              <a:off x="6602413" y="1514475"/>
              <a:ext cx="874713" cy="881063"/>
            </a:xfrm>
            <a:prstGeom prst="rect">
              <a:avLst/>
            </a:prstGeom>
            <a:solidFill>
              <a:srgbClr val="CADD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5" name="îṡ1iḋe">
              <a:extLst>
                <a:ext uri="{FF2B5EF4-FFF2-40B4-BE49-F238E27FC236}">
                  <a16:creationId xmlns:a16="http://schemas.microsoft.com/office/drawing/2014/main" id="{C4F118C7-D7F4-45DC-95E9-ACF62B136BE0}"/>
                </a:ext>
              </a:extLst>
            </p:cNvPr>
            <p:cNvSpPr/>
            <p:nvPr/>
          </p:nvSpPr>
          <p:spPr bwMode="auto">
            <a:xfrm>
              <a:off x="6826251" y="1700213"/>
              <a:ext cx="400050" cy="388938"/>
            </a:xfrm>
            <a:prstGeom prst="ellipse">
              <a:avLst/>
            </a:prstGeom>
            <a:solidFill>
              <a:srgbClr val="ACCC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6" name="ïşḻiďê">
              <a:extLst>
                <a:ext uri="{FF2B5EF4-FFF2-40B4-BE49-F238E27FC236}">
                  <a16:creationId xmlns:a16="http://schemas.microsoft.com/office/drawing/2014/main" id="{6F314870-92CA-4530-9F33-134477973334}"/>
                </a:ext>
              </a:extLst>
            </p:cNvPr>
            <p:cNvSpPr/>
            <p:nvPr/>
          </p:nvSpPr>
          <p:spPr bwMode="auto">
            <a:xfrm>
              <a:off x="6715126" y="2024063"/>
              <a:ext cx="641350" cy="714375"/>
            </a:xfrm>
            <a:custGeom>
              <a:avLst/>
              <a:gdLst>
                <a:gd name="T0" fmla="*/ 69 w 69"/>
                <a:gd name="T1" fmla="*/ 47 h 77"/>
                <a:gd name="T2" fmla="*/ 34 w 69"/>
                <a:gd name="T3" fmla="*/ 77 h 77"/>
                <a:gd name="T4" fmla="*/ 0 w 69"/>
                <a:gd name="T5" fmla="*/ 49 h 77"/>
                <a:gd name="T6" fmla="*/ 34 w 69"/>
                <a:gd name="T7" fmla="*/ 0 h 77"/>
                <a:gd name="T8" fmla="*/ 69 w 69"/>
                <a:gd name="T9" fmla="*/ 4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77">
                  <a:moveTo>
                    <a:pt x="69" y="47"/>
                  </a:moveTo>
                  <a:cubicBezTo>
                    <a:pt x="69" y="68"/>
                    <a:pt x="51" y="77"/>
                    <a:pt x="34" y="77"/>
                  </a:cubicBezTo>
                  <a:cubicBezTo>
                    <a:pt x="18" y="77"/>
                    <a:pt x="0" y="70"/>
                    <a:pt x="0" y="49"/>
                  </a:cubicBezTo>
                  <a:cubicBezTo>
                    <a:pt x="0" y="28"/>
                    <a:pt x="18" y="0"/>
                    <a:pt x="34" y="0"/>
                  </a:cubicBezTo>
                  <a:cubicBezTo>
                    <a:pt x="51" y="0"/>
                    <a:pt x="69" y="26"/>
                    <a:pt x="69" y="47"/>
                  </a:cubicBezTo>
                  <a:close/>
                </a:path>
              </a:pathLst>
            </a:custGeom>
            <a:solidFill>
              <a:srgbClr val="ACCC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7" name="isľîḑè">
              <a:extLst>
                <a:ext uri="{FF2B5EF4-FFF2-40B4-BE49-F238E27FC236}">
                  <a16:creationId xmlns:a16="http://schemas.microsoft.com/office/drawing/2014/main" id="{7A1E66BD-3250-4D88-9213-24FD7A2C519D}"/>
                </a:ext>
              </a:extLst>
            </p:cNvPr>
            <p:cNvSpPr/>
            <p:nvPr/>
          </p:nvSpPr>
          <p:spPr bwMode="auto">
            <a:xfrm>
              <a:off x="4148138" y="3349625"/>
              <a:ext cx="1116013" cy="65088"/>
            </a:xfrm>
            <a:prstGeom prst="rect">
              <a:avLst/>
            </a:prstGeom>
            <a:solidFill>
              <a:srgbClr val="7777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8" name="îšľíḋé">
              <a:extLst>
                <a:ext uri="{FF2B5EF4-FFF2-40B4-BE49-F238E27FC236}">
                  <a16:creationId xmlns:a16="http://schemas.microsoft.com/office/drawing/2014/main" id="{B37F1AAC-6C15-4F62-9467-FD6BCC78665D}"/>
                </a:ext>
              </a:extLst>
            </p:cNvPr>
            <p:cNvSpPr/>
            <p:nvPr/>
          </p:nvSpPr>
          <p:spPr bwMode="auto">
            <a:xfrm>
              <a:off x="4752976" y="3433763"/>
              <a:ext cx="762000" cy="74613"/>
            </a:xfrm>
            <a:prstGeom prst="rect">
              <a:avLst/>
            </a:prstGeom>
            <a:solidFill>
              <a:srgbClr val="5151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9" name="îṧľïḍè">
              <a:extLst>
                <a:ext uri="{FF2B5EF4-FFF2-40B4-BE49-F238E27FC236}">
                  <a16:creationId xmlns:a16="http://schemas.microsoft.com/office/drawing/2014/main" id="{447E9369-8F92-417C-B475-73C1C971E9EA}"/>
                </a:ext>
              </a:extLst>
            </p:cNvPr>
            <p:cNvSpPr/>
            <p:nvPr/>
          </p:nvSpPr>
          <p:spPr bwMode="auto">
            <a:xfrm>
              <a:off x="5478463" y="1524000"/>
              <a:ext cx="1012825" cy="92075"/>
            </a:xfrm>
            <a:prstGeom prst="rect">
              <a:avLst/>
            </a:prstGeom>
            <a:solidFill>
              <a:srgbClr val="B5B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0" name="îṧḻïďé">
              <a:extLst>
                <a:ext uri="{FF2B5EF4-FFF2-40B4-BE49-F238E27FC236}">
                  <a16:creationId xmlns:a16="http://schemas.microsoft.com/office/drawing/2014/main" id="{AB93BA51-F58E-4251-8D1B-AD86879B9D29}"/>
                </a:ext>
              </a:extLst>
            </p:cNvPr>
            <p:cNvSpPr/>
            <p:nvPr/>
          </p:nvSpPr>
          <p:spPr bwMode="auto">
            <a:xfrm>
              <a:off x="5989638" y="1347788"/>
              <a:ext cx="1012825" cy="92075"/>
            </a:xfrm>
            <a:prstGeom prst="rect">
              <a:avLst/>
            </a:prstGeom>
            <a:solidFill>
              <a:srgbClr val="5151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1" name="ïs1íḍe">
              <a:extLst>
                <a:ext uri="{FF2B5EF4-FFF2-40B4-BE49-F238E27FC236}">
                  <a16:creationId xmlns:a16="http://schemas.microsoft.com/office/drawing/2014/main" id="{4A036AFF-236A-48B0-8776-CC2835B84854}"/>
                </a:ext>
              </a:extLst>
            </p:cNvPr>
            <p:cNvSpPr/>
            <p:nvPr/>
          </p:nvSpPr>
          <p:spPr bwMode="auto">
            <a:xfrm>
              <a:off x="5218113" y="3916363"/>
              <a:ext cx="1068388" cy="82550"/>
            </a:xfrm>
            <a:prstGeom prst="rect">
              <a:avLst/>
            </a:prstGeom>
            <a:solidFill>
              <a:srgbClr val="CADD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2" name="isľíďé">
              <a:extLst>
                <a:ext uri="{FF2B5EF4-FFF2-40B4-BE49-F238E27FC236}">
                  <a16:creationId xmlns:a16="http://schemas.microsoft.com/office/drawing/2014/main" id="{2325F33B-89EB-4711-8810-F0666CAA817B}"/>
                </a:ext>
              </a:extLst>
            </p:cNvPr>
            <p:cNvSpPr/>
            <p:nvPr/>
          </p:nvSpPr>
          <p:spPr bwMode="auto">
            <a:xfrm>
              <a:off x="5040313" y="4064000"/>
              <a:ext cx="1079500" cy="84138"/>
            </a:xfrm>
            <a:prstGeom prst="rect">
              <a:avLst/>
            </a:prstGeom>
            <a:solidFill>
              <a:srgbClr val="B5B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3" name="ïṡḷíďe">
              <a:extLst>
                <a:ext uri="{FF2B5EF4-FFF2-40B4-BE49-F238E27FC236}">
                  <a16:creationId xmlns:a16="http://schemas.microsoft.com/office/drawing/2014/main" id="{3E138A3F-C756-4808-A5F9-9953303E270D}"/>
                </a:ext>
              </a:extLst>
            </p:cNvPr>
            <p:cNvSpPr/>
            <p:nvPr/>
          </p:nvSpPr>
          <p:spPr bwMode="auto">
            <a:xfrm>
              <a:off x="6816726" y="3211513"/>
              <a:ext cx="233363" cy="490538"/>
            </a:xfrm>
            <a:custGeom>
              <a:avLst/>
              <a:gdLst>
                <a:gd name="T0" fmla="*/ 20 w 25"/>
                <a:gd name="T1" fmla="*/ 0 h 53"/>
                <a:gd name="T2" fmla="*/ 21 w 25"/>
                <a:gd name="T3" fmla="*/ 22 h 53"/>
                <a:gd name="T4" fmla="*/ 25 w 25"/>
                <a:gd name="T5" fmla="*/ 33 h 53"/>
                <a:gd name="T6" fmla="*/ 8 w 25"/>
                <a:gd name="T7" fmla="*/ 50 h 53"/>
                <a:gd name="T8" fmla="*/ 4 w 25"/>
                <a:gd name="T9" fmla="*/ 45 h 53"/>
                <a:gd name="T10" fmla="*/ 1 w 25"/>
                <a:gd name="T11" fmla="*/ 40 h 53"/>
                <a:gd name="T12" fmla="*/ 1 w 25"/>
                <a:gd name="T13" fmla="*/ 28 h 53"/>
                <a:gd name="T14" fmla="*/ 1 w 25"/>
                <a:gd name="T15" fmla="*/ 19 h 53"/>
                <a:gd name="T16" fmla="*/ 13 w 25"/>
                <a:gd name="T17" fmla="*/ 7 h 53"/>
                <a:gd name="T18" fmla="*/ 20 w 25"/>
                <a:gd name="T1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53">
                  <a:moveTo>
                    <a:pt x="20" y="0"/>
                  </a:moveTo>
                  <a:cubicBezTo>
                    <a:pt x="21" y="7"/>
                    <a:pt x="20" y="14"/>
                    <a:pt x="21" y="22"/>
                  </a:cubicBezTo>
                  <a:cubicBezTo>
                    <a:pt x="22" y="26"/>
                    <a:pt x="24" y="29"/>
                    <a:pt x="25" y="33"/>
                  </a:cubicBezTo>
                  <a:cubicBezTo>
                    <a:pt x="18" y="53"/>
                    <a:pt x="14" y="48"/>
                    <a:pt x="8" y="50"/>
                  </a:cubicBezTo>
                  <a:cubicBezTo>
                    <a:pt x="7" y="51"/>
                    <a:pt x="6" y="48"/>
                    <a:pt x="4" y="45"/>
                  </a:cubicBezTo>
                  <a:cubicBezTo>
                    <a:pt x="3" y="43"/>
                    <a:pt x="2" y="40"/>
                    <a:pt x="1" y="40"/>
                  </a:cubicBezTo>
                  <a:cubicBezTo>
                    <a:pt x="0" y="37"/>
                    <a:pt x="1" y="32"/>
                    <a:pt x="1" y="28"/>
                  </a:cubicBezTo>
                  <a:cubicBezTo>
                    <a:pt x="1" y="25"/>
                    <a:pt x="0" y="22"/>
                    <a:pt x="1" y="19"/>
                  </a:cubicBezTo>
                  <a:cubicBezTo>
                    <a:pt x="1" y="15"/>
                    <a:pt x="9" y="10"/>
                    <a:pt x="13" y="7"/>
                  </a:cubicBezTo>
                  <a:cubicBezTo>
                    <a:pt x="16" y="5"/>
                    <a:pt x="18" y="2"/>
                    <a:pt x="20" y="0"/>
                  </a:cubicBezTo>
                </a:path>
              </a:pathLst>
            </a:custGeom>
            <a:solidFill>
              <a:srgbClr val="FFD6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4" name="í$lîḑè">
              <a:extLst>
                <a:ext uri="{FF2B5EF4-FFF2-40B4-BE49-F238E27FC236}">
                  <a16:creationId xmlns:a16="http://schemas.microsoft.com/office/drawing/2014/main" id="{40E44A50-C72D-4B59-8CD5-F8CA816E46B3}"/>
                </a:ext>
              </a:extLst>
            </p:cNvPr>
            <p:cNvSpPr/>
            <p:nvPr/>
          </p:nvSpPr>
          <p:spPr bwMode="auto">
            <a:xfrm>
              <a:off x="6575426" y="2803525"/>
              <a:ext cx="520700" cy="704850"/>
            </a:xfrm>
            <a:custGeom>
              <a:avLst/>
              <a:gdLst>
                <a:gd name="T0" fmla="*/ 29 w 56"/>
                <a:gd name="T1" fmla="*/ 2 h 76"/>
                <a:gd name="T2" fmla="*/ 9 w 56"/>
                <a:gd name="T3" fmla="*/ 5 h 76"/>
                <a:gd name="T4" fmla="*/ 1 w 56"/>
                <a:gd name="T5" fmla="*/ 22 h 76"/>
                <a:gd name="T6" fmla="*/ 10 w 56"/>
                <a:gd name="T7" fmla="*/ 63 h 76"/>
                <a:gd name="T8" fmla="*/ 36 w 56"/>
                <a:gd name="T9" fmla="*/ 67 h 76"/>
                <a:gd name="T10" fmla="*/ 53 w 56"/>
                <a:gd name="T11" fmla="*/ 18 h 76"/>
                <a:gd name="T12" fmla="*/ 29 w 56"/>
                <a:gd name="T13" fmla="*/ 2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" h="76">
                  <a:moveTo>
                    <a:pt x="29" y="2"/>
                  </a:moveTo>
                  <a:cubicBezTo>
                    <a:pt x="22" y="2"/>
                    <a:pt x="15" y="0"/>
                    <a:pt x="9" y="5"/>
                  </a:cubicBezTo>
                  <a:cubicBezTo>
                    <a:pt x="4" y="10"/>
                    <a:pt x="2" y="15"/>
                    <a:pt x="1" y="22"/>
                  </a:cubicBezTo>
                  <a:cubicBezTo>
                    <a:pt x="0" y="38"/>
                    <a:pt x="0" y="54"/>
                    <a:pt x="10" y="63"/>
                  </a:cubicBezTo>
                  <a:cubicBezTo>
                    <a:pt x="16" y="68"/>
                    <a:pt x="26" y="76"/>
                    <a:pt x="36" y="67"/>
                  </a:cubicBezTo>
                  <a:cubicBezTo>
                    <a:pt x="46" y="58"/>
                    <a:pt x="56" y="29"/>
                    <a:pt x="53" y="18"/>
                  </a:cubicBezTo>
                  <a:cubicBezTo>
                    <a:pt x="51" y="6"/>
                    <a:pt x="43" y="3"/>
                    <a:pt x="29" y="2"/>
                  </a:cubicBezTo>
                </a:path>
              </a:pathLst>
            </a:custGeom>
            <a:solidFill>
              <a:srgbClr val="FFD6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5" name="îşļíḑe">
              <a:extLst>
                <a:ext uri="{FF2B5EF4-FFF2-40B4-BE49-F238E27FC236}">
                  <a16:creationId xmlns:a16="http://schemas.microsoft.com/office/drawing/2014/main" id="{586FEA10-EA11-42D6-9924-A3E112CD182A}"/>
                </a:ext>
              </a:extLst>
            </p:cNvPr>
            <p:cNvSpPr/>
            <p:nvPr/>
          </p:nvSpPr>
          <p:spPr bwMode="auto">
            <a:xfrm>
              <a:off x="6742113" y="3155950"/>
              <a:ext cx="47625" cy="138113"/>
            </a:xfrm>
            <a:custGeom>
              <a:avLst/>
              <a:gdLst>
                <a:gd name="T0" fmla="*/ 3 w 5"/>
                <a:gd name="T1" fmla="*/ 1 h 15"/>
                <a:gd name="T2" fmla="*/ 0 w 5"/>
                <a:gd name="T3" fmla="*/ 11 h 15"/>
                <a:gd name="T4" fmla="*/ 3 w 5"/>
                <a:gd name="T5" fmla="*/ 15 h 15"/>
                <a:gd name="T6" fmla="*/ 4 w 5"/>
                <a:gd name="T7" fmla="*/ 7 h 15"/>
                <a:gd name="T8" fmla="*/ 4 w 5"/>
                <a:gd name="T9" fmla="*/ 0 h 15"/>
                <a:gd name="T10" fmla="*/ 3 w 5"/>
                <a:gd name="T11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15">
                  <a:moveTo>
                    <a:pt x="3" y="1"/>
                  </a:moveTo>
                  <a:cubicBezTo>
                    <a:pt x="2" y="4"/>
                    <a:pt x="0" y="8"/>
                    <a:pt x="0" y="11"/>
                  </a:cubicBezTo>
                  <a:cubicBezTo>
                    <a:pt x="0" y="13"/>
                    <a:pt x="1" y="15"/>
                    <a:pt x="3" y="15"/>
                  </a:cubicBezTo>
                  <a:cubicBezTo>
                    <a:pt x="4" y="12"/>
                    <a:pt x="4" y="9"/>
                    <a:pt x="4" y="7"/>
                  </a:cubicBezTo>
                  <a:cubicBezTo>
                    <a:pt x="4" y="5"/>
                    <a:pt x="5" y="1"/>
                    <a:pt x="4" y="0"/>
                  </a:cubicBezTo>
                  <a:cubicBezTo>
                    <a:pt x="4" y="0"/>
                    <a:pt x="4" y="0"/>
                    <a:pt x="3" y="1"/>
                  </a:cubicBezTo>
                  <a:close/>
                </a:path>
              </a:pathLst>
            </a:custGeom>
            <a:solidFill>
              <a:srgbClr val="D8A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6" name="islïḓè">
              <a:extLst>
                <a:ext uri="{FF2B5EF4-FFF2-40B4-BE49-F238E27FC236}">
                  <a16:creationId xmlns:a16="http://schemas.microsoft.com/office/drawing/2014/main" id="{3A8E172E-4C37-4324-A7E2-AF67A1D61F06}"/>
                </a:ext>
              </a:extLst>
            </p:cNvPr>
            <p:cNvSpPr/>
            <p:nvPr/>
          </p:nvSpPr>
          <p:spPr bwMode="auto">
            <a:xfrm>
              <a:off x="6862763" y="3182938"/>
              <a:ext cx="112713" cy="101600"/>
            </a:xfrm>
            <a:custGeom>
              <a:avLst/>
              <a:gdLst>
                <a:gd name="T0" fmla="*/ 6 w 12"/>
                <a:gd name="T1" fmla="*/ 0 h 11"/>
                <a:gd name="T2" fmla="*/ 0 w 12"/>
                <a:gd name="T3" fmla="*/ 5 h 11"/>
                <a:gd name="T4" fmla="*/ 5 w 12"/>
                <a:gd name="T5" fmla="*/ 11 h 11"/>
                <a:gd name="T6" fmla="*/ 6 w 12"/>
                <a:gd name="T7" fmla="*/ 11 h 11"/>
                <a:gd name="T8" fmla="*/ 11 w 12"/>
                <a:gd name="T9" fmla="*/ 6 h 11"/>
                <a:gd name="T10" fmla="*/ 6 w 12"/>
                <a:gd name="T11" fmla="*/ 0 h 11"/>
                <a:gd name="T12" fmla="*/ 6 w 12"/>
                <a:gd name="T1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1">
                  <a:moveTo>
                    <a:pt x="6" y="0"/>
                  </a:moveTo>
                  <a:cubicBezTo>
                    <a:pt x="3" y="0"/>
                    <a:pt x="0" y="2"/>
                    <a:pt x="0" y="5"/>
                  </a:cubicBezTo>
                  <a:cubicBezTo>
                    <a:pt x="0" y="8"/>
                    <a:pt x="2" y="10"/>
                    <a:pt x="5" y="11"/>
                  </a:cubicBezTo>
                  <a:cubicBezTo>
                    <a:pt x="5" y="11"/>
                    <a:pt x="5" y="11"/>
                    <a:pt x="6" y="11"/>
                  </a:cubicBezTo>
                  <a:cubicBezTo>
                    <a:pt x="9" y="11"/>
                    <a:pt x="11" y="9"/>
                    <a:pt x="11" y="6"/>
                  </a:cubicBezTo>
                  <a:cubicBezTo>
                    <a:pt x="12" y="3"/>
                    <a:pt x="9" y="1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solidFill>
              <a:srgbClr val="FCC6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7" name="ísľíḋe">
              <a:extLst>
                <a:ext uri="{FF2B5EF4-FFF2-40B4-BE49-F238E27FC236}">
                  <a16:creationId xmlns:a16="http://schemas.microsoft.com/office/drawing/2014/main" id="{5861FEE2-6D44-4533-B8EB-86B49BA5223B}"/>
                </a:ext>
              </a:extLst>
            </p:cNvPr>
            <p:cNvSpPr/>
            <p:nvPr/>
          </p:nvSpPr>
          <p:spPr bwMode="auto">
            <a:xfrm>
              <a:off x="6594476" y="3163888"/>
              <a:ext cx="111125" cy="93663"/>
            </a:xfrm>
            <a:custGeom>
              <a:avLst/>
              <a:gdLst>
                <a:gd name="T0" fmla="*/ 6 w 12"/>
                <a:gd name="T1" fmla="*/ 0 h 10"/>
                <a:gd name="T2" fmla="*/ 0 w 12"/>
                <a:gd name="T3" fmla="*/ 5 h 10"/>
                <a:gd name="T4" fmla="*/ 5 w 12"/>
                <a:gd name="T5" fmla="*/ 10 h 10"/>
                <a:gd name="T6" fmla="*/ 6 w 12"/>
                <a:gd name="T7" fmla="*/ 10 h 10"/>
                <a:gd name="T8" fmla="*/ 12 w 12"/>
                <a:gd name="T9" fmla="*/ 6 h 10"/>
                <a:gd name="T10" fmla="*/ 6 w 12"/>
                <a:gd name="T11" fmla="*/ 0 h 10"/>
                <a:gd name="T12" fmla="*/ 6 w 12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0">
                  <a:moveTo>
                    <a:pt x="6" y="0"/>
                  </a:moveTo>
                  <a:cubicBezTo>
                    <a:pt x="3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9" y="10"/>
                    <a:pt x="11" y="8"/>
                    <a:pt x="12" y="6"/>
                  </a:cubicBezTo>
                  <a:cubicBezTo>
                    <a:pt x="12" y="3"/>
                    <a:pt x="10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solidFill>
              <a:srgbClr val="FCC6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8" name="isḷïḓe">
              <a:extLst>
                <a:ext uri="{FF2B5EF4-FFF2-40B4-BE49-F238E27FC236}">
                  <a16:creationId xmlns:a16="http://schemas.microsoft.com/office/drawing/2014/main" id="{A58440F0-5F62-4A5E-A5CF-92ED65F40874}"/>
                </a:ext>
              </a:extLst>
            </p:cNvPr>
            <p:cNvSpPr/>
            <p:nvPr/>
          </p:nvSpPr>
          <p:spPr bwMode="auto">
            <a:xfrm>
              <a:off x="6835776" y="3108325"/>
              <a:ext cx="74613" cy="47625"/>
            </a:xfrm>
            <a:custGeom>
              <a:avLst/>
              <a:gdLst>
                <a:gd name="T0" fmla="*/ 8 w 8"/>
                <a:gd name="T1" fmla="*/ 1 h 5"/>
                <a:gd name="T2" fmla="*/ 6 w 8"/>
                <a:gd name="T3" fmla="*/ 3 h 5"/>
                <a:gd name="T4" fmla="*/ 3 w 8"/>
                <a:gd name="T5" fmla="*/ 3 h 5"/>
                <a:gd name="T6" fmla="*/ 2 w 8"/>
                <a:gd name="T7" fmla="*/ 3 h 5"/>
                <a:gd name="T8" fmla="*/ 1 w 8"/>
                <a:gd name="T9" fmla="*/ 2 h 5"/>
                <a:gd name="T10" fmla="*/ 0 w 8"/>
                <a:gd name="T11" fmla="*/ 0 h 5"/>
                <a:gd name="T12" fmla="*/ 0 w 8"/>
                <a:gd name="T13" fmla="*/ 1 h 5"/>
                <a:gd name="T14" fmla="*/ 0 w 8"/>
                <a:gd name="T15" fmla="*/ 3 h 5"/>
                <a:gd name="T16" fmla="*/ 1 w 8"/>
                <a:gd name="T17" fmla="*/ 4 h 5"/>
                <a:gd name="T18" fmla="*/ 3 w 8"/>
                <a:gd name="T19" fmla="*/ 5 h 5"/>
                <a:gd name="T20" fmla="*/ 6 w 8"/>
                <a:gd name="T21" fmla="*/ 4 h 5"/>
                <a:gd name="T22" fmla="*/ 8 w 8"/>
                <a:gd name="T23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5">
                  <a:moveTo>
                    <a:pt x="8" y="1"/>
                  </a:moveTo>
                  <a:cubicBezTo>
                    <a:pt x="7" y="2"/>
                    <a:pt x="7" y="3"/>
                    <a:pt x="6" y="3"/>
                  </a:cubicBezTo>
                  <a:cubicBezTo>
                    <a:pt x="5" y="3"/>
                    <a:pt x="4" y="3"/>
                    <a:pt x="3" y="3"/>
                  </a:cubicBezTo>
                  <a:cubicBezTo>
                    <a:pt x="3" y="3"/>
                    <a:pt x="3" y="3"/>
                    <a:pt x="2" y="3"/>
                  </a:cubicBezTo>
                  <a:cubicBezTo>
                    <a:pt x="2" y="3"/>
                    <a:pt x="1" y="2"/>
                    <a:pt x="1" y="2"/>
                  </a:cubicBezTo>
                  <a:cubicBezTo>
                    <a:pt x="1" y="2"/>
                    <a:pt x="0" y="1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2" y="4"/>
                    <a:pt x="3" y="5"/>
                    <a:pt x="3" y="5"/>
                  </a:cubicBezTo>
                  <a:cubicBezTo>
                    <a:pt x="4" y="5"/>
                    <a:pt x="6" y="5"/>
                    <a:pt x="6" y="4"/>
                  </a:cubicBezTo>
                  <a:cubicBezTo>
                    <a:pt x="7" y="3"/>
                    <a:pt x="8" y="2"/>
                    <a:pt x="8" y="1"/>
                  </a:cubicBezTo>
                  <a:close/>
                </a:path>
              </a:pathLst>
            </a:custGeom>
            <a:solidFill>
              <a:srgbClr val="3234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9" name="îṡḻïḑé">
              <a:extLst>
                <a:ext uri="{FF2B5EF4-FFF2-40B4-BE49-F238E27FC236}">
                  <a16:creationId xmlns:a16="http://schemas.microsoft.com/office/drawing/2014/main" id="{01820B5F-4DC1-4707-B66E-2BB8BA4F37E3}"/>
                </a:ext>
              </a:extLst>
            </p:cNvPr>
            <p:cNvSpPr/>
            <p:nvPr/>
          </p:nvSpPr>
          <p:spPr bwMode="auto">
            <a:xfrm>
              <a:off x="6667501" y="3090863"/>
              <a:ext cx="84138" cy="46038"/>
            </a:xfrm>
            <a:custGeom>
              <a:avLst/>
              <a:gdLst>
                <a:gd name="T0" fmla="*/ 9 w 9"/>
                <a:gd name="T1" fmla="*/ 1 h 5"/>
                <a:gd name="T2" fmla="*/ 6 w 9"/>
                <a:gd name="T3" fmla="*/ 3 h 5"/>
                <a:gd name="T4" fmla="*/ 4 w 9"/>
                <a:gd name="T5" fmla="*/ 3 h 5"/>
                <a:gd name="T6" fmla="*/ 3 w 9"/>
                <a:gd name="T7" fmla="*/ 3 h 5"/>
                <a:gd name="T8" fmla="*/ 2 w 9"/>
                <a:gd name="T9" fmla="*/ 2 h 5"/>
                <a:gd name="T10" fmla="*/ 0 w 9"/>
                <a:gd name="T11" fmla="*/ 0 h 5"/>
                <a:gd name="T12" fmla="*/ 0 w 9"/>
                <a:gd name="T13" fmla="*/ 1 h 5"/>
                <a:gd name="T14" fmla="*/ 1 w 9"/>
                <a:gd name="T15" fmla="*/ 3 h 5"/>
                <a:gd name="T16" fmla="*/ 2 w 9"/>
                <a:gd name="T17" fmla="*/ 4 h 5"/>
                <a:gd name="T18" fmla="*/ 4 w 9"/>
                <a:gd name="T19" fmla="*/ 4 h 5"/>
                <a:gd name="T20" fmla="*/ 7 w 9"/>
                <a:gd name="T21" fmla="*/ 4 h 5"/>
                <a:gd name="T22" fmla="*/ 9 w 9"/>
                <a:gd name="T23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" h="5">
                  <a:moveTo>
                    <a:pt x="9" y="1"/>
                  </a:moveTo>
                  <a:cubicBezTo>
                    <a:pt x="8" y="2"/>
                    <a:pt x="7" y="2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2"/>
                    <a:pt x="1" y="1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0" y="2"/>
                    <a:pt x="1" y="3"/>
                  </a:cubicBezTo>
                  <a:cubicBezTo>
                    <a:pt x="1" y="3"/>
                    <a:pt x="1" y="4"/>
                    <a:pt x="2" y="4"/>
                  </a:cubicBezTo>
                  <a:cubicBezTo>
                    <a:pt x="2" y="4"/>
                    <a:pt x="3" y="4"/>
                    <a:pt x="4" y="4"/>
                  </a:cubicBezTo>
                  <a:cubicBezTo>
                    <a:pt x="5" y="5"/>
                    <a:pt x="6" y="4"/>
                    <a:pt x="7" y="4"/>
                  </a:cubicBezTo>
                  <a:cubicBezTo>
                    <a:pt x="8" y="3"/>
                    <a:pt x="9" y="2"/>
                    <a:pt x="9" y="1"/>
                  </a:cubicBezTo>
                  <a:close/>
                </a:path>
              </a:pathLst>
            </a:custGeom>
            <a:solidFill>
              <a:srgbClr val="3234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0" name="íṡļîďè">
              <a:extLst>
                <a:ext uri="{FF2B5EF4-FFF2-40B4-BE49-F238E27FC236}">
                  <a16:creationId xmlns:a16="http://schemas.microsoft.com/office/drawing/2014/main" id="{52395F9B-CF7A-485C-9596-38381254421E}"/>
                </a:ext>
              </a:extLst>
            </p:cNvPr>
            <p:cNvSpPr/>
            <p:nvPr/>
          </p:nvSpPr>
          <p:spPr bwMode="auto">
            <a:xfrm>
              <a:off x="7021513" y="3090863"/>
              <a:ext cx="74613" cy="111125"/>
            </a:xfrm>
            <a:custGeom>
              <a:avLst/>
              <a:gdLst>
                <a:gd name="T0" fmla="*/ 3 w 8"/>
                <a:gd name="T1" fmla="*/ 0 h 12"/>
                <a:gd name="T2" fmla="*/ 7 w 8"/>
                <a:gd name="T3" fmla="*/ 7 h 12"/>
                <a:gd name="T4" fmla="*/ 0 w 8"/>
                <a:gd name="T5" fmla="*/ 11 h 12"/>
                <a:gd name="T6" fmla="*/ 3 w 8"/>
                <a:gd name="T7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2">
                  <a:moveTo>
                    <a:pt x="3" y="0"/>
                  </a:moveTo>
                  <a:cubicBezTo>
                    <a:pt x="8" y="1"/>
                    <a:pt x="8" y="3"/>
                    <a:pt x="7" y="7"/>
                  </a:cubicBezTo>
                  <a:cubicBezTo>
                    <a:pt x="6" y="11"/>
                    <a:pt x="5" y="12"/>
                    <a:pt x="0" y="11"/>
                  </a:cubicBezTo>
                  <a:cubicBezTo>
                    <a:pt x="1" y="8"/>
                    <a:pt x="2" y="5"/>
                    <a:pt x="3" y="2"/>
                  </a:cubicBezTo>
                </a:path>
              </a:pathLst>
            </a:custGeom>
            <a:solidFill>
              <a:srgbClr val="FFD6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1" name="íŝļiḍê">
              <a:extLst>
                <a:ext uri="{FF2B5EF4-FFF2-40B4-BE49-F238E27FC236}">
                  <a16:creationId xmlns:a16="http://schemas.microsoft.com/office/drawing/2014/main" id="{D682537E-F135-46B7-8A96-01EDF034C02D}"/>
                </a:ext>
              </a:extLst>
            </p:cNvPr>
            <p:cNvSpPr/>
            <p:nvPr/>
          </p:nvSpPr>
          <p:spPr bwMode="auto">
            <a:xfrm>
              <a:off x="6845301" y="3052763"/>
              <a:ext cx="101600" cy="47625"/>
            </a:xfrm>
            <a:custGeom>
              <a:avLst/>
              <a:gdLst>
                <a:gd name="T0" fmla="*/ 0 w 11"/>
                <a:gd name="T1" fmla="*/ 3 h 5"/>
                <a:gd name="T2" fmla="*/ 11 w 11"/>
                <a:gd name="T3" fmla="*/ 5 h 5"/>
                <a:gd name="T4" fmla="*/ 10 w 11"/>
                <a:gd name="T5" fmla="*/ 2 h 5"/>
                <a:gd name="T6" fmla="*/ 6 w 11"/>
                <a:gd name="T7" fmla="*/ 1 h 5"/>
                <a:gd name="T8" fmla="*/ 0 w 11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5">
                  <a:moveTo>
                    <a:pt x="0" y="3"/>
                  </a:moveTo>
                  <a:cubicBezTo>
                    <a:pt x="4" y="2"/>
                    <a:pt x="8" y="3"/>
                    <a:pt x="11" y="5"/>
                  </a:cubicBezTo>
                  <a:cubicBezTo>
                    <a:pt x="11" y="4"/>
                    <a:pt x="11" y="3"/>
                    <a:pt x="10" y="2"/>
                  </a:cubicBezTo>
                  <a:cubicBezTo>
                    <a:pt x="9" y="1"/>
                    <a:pt x="8" y="1"/>
                    <a:pt x="6" y="1"/>
                  </a:cubicBezTo>
                  <a:cubicBezTo>
                    <a:pt x="5" y="1"/>
                    <a:pt x="0" y="0"/>
                    <a:pt x="0" y="3"/>
                  </a:cubicBezTo>
                  <a:close/>
                </a:path>
              </a:pathLst>
            </a:custGeom>
            <a:solidFill>
              <a:srgbClr val="5C67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2" name="ísļíďê">
              <a:extLst>
                <a:ext uri="{FF2B5EF4-FFF2-40B4-BE49-F238E27FC236}">
                  <a16:creationId xmlns:a16="http://schemas.microsoft.com/office/drawing/2014/main" id="{35448C52-2934-4E9A-9B47-8A442CCDA9E7}"/>
                </a:ext>
              </a:extLst>
            </p:cNvPr>
            <p:cNvSpPr/>
            <p:nvPr/>
          </p:nvSpPr>
          <p:spPr bwMode="auto">
            <a:xfrm>
              <a:off x="6650038" y="3025775"/>
              <a:ext cx="111125" cy="46038"/>
            </a:xfrm>
            <a:custGeom>
              <a:avLst/>
              <a:gdLst>
                <a:gd name="T0" fmla="*/ 10 w 12"/>
                <a:gd name="T1" fmla="*/ 5 h 5"/>
                <a:gd name="T2" fmla="*/ 0 w 12"/>
                <a:gd name="T3" fmla="*/ 3 h 5"/>
                <a:gd name="T4" fmla="*/ 2 w 12"/>
                <a:gd name="T5" fmla="*/ 1 h 5"/>
                <a:gd name="T6" fmla="*/ 6 w 12"/>
                <a:gd name="T7" fmla="*/ 1 h 5"/>
                <a:gd name="T8" fmla="*/ 10 w 12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5">
                  <a:moveTo>
                    <a:pt x="10" y="5"/>
                  </a:moveTo>
                  <a:cubicBezTo>
                    <a:pt x="8" y="2"/>
                    <a:pt x="4" y="2"/>
                    <a:pt x="0" y="3"/>
                  </a:cubicBezTo>
                  <a:cubicBezTo>
                    <a:pt x="1" y="2"/>
                    <a:pt x="1" y="1"/>
                    <a:pt x="2" y="1"/>
                  </a:cubicBezTo>
                  <a:cubicBezTo>
                    <a:pt x="3" y="0"/>
                    <a:pt x="5" y="1"/>
                    <a:pt x="6" y="1"/>
                  </a:cubicBezTo>
                  <a:cubicBezTo>
                    <a:pt x="7" y="1"/>
                    <a:pt x="12" y="3"/>
                    <a:pt x="10" y="5"/>
                  </a:cubicBezTo>
                  <a:close/>
                </a:path>
              </a:pathLst>
            </a:custGeom>
            <a:solidFill>
              <a:srgbClr val="5C67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3" name="îšḻiḍè">
              <a:extLst>
                <a:ext uri="{FF2B5EF4-FFF2-40B4-BE49-F238E27FC236}">
                  <a16:creationId xmlns:a16="http://schemas.microsoft.com/office/drawing/2014/main" id="{CD46CB9D-65CA-4441-B557-FDA1DB49B25C}"/>
                </a:ext>
              </a:extLst>
            </p:cNvPr>
            <p:cNvSpPr/>
            <p:nvPr/>
          </p:nvSpPr>
          <p:spPr bwMode="auto">
            <a:xfrm>
              <a:off x="6565901" y="2709863"/>
              <a:ext cx="520700" cy="287338"/>
            </a:xfrm>
            <a:custGeom>
              <a:avLst/>
              <a:gdLst>
                <a:gd name="T0" fmla="*/ 56 w 56"/>
                <a:gd name="T1" fmla="*/ 18 h 31"/>
                <a:gd name="T2" fmla="*/ 53 w 56"/>
                <a:gd name="T3" fmla="*/ 14 h 31"/>
                <a:gd name="T4" fmla="*/ 40 w 56"/>
                <a:gd name="T5" fmla="*/ 3 h 31"/>
                <a:gd name="T6" fmla="*/ 18 w 56"/>
                <a:gd name="T7" fmla="*/ 0 h 31"/>
                <a:gd name="T8" fmla="*/ 2 w 56"/>
                <a:gd name="T9" fmla="*/ 4 h 31"/>
                <a:gd name="T10" fmla="*/ 0 w 56"/>
                <a:gd name="T11" fmla="*/ 13 h 31"/>
                <a:gd name="T12" fmla="*/ 15 w 56"/>
                <a:gd name="T13" fmla="*/ 28 h 31"/>
                <a:gd name="T14" fmla="*/ 29 w 56"/>
                <a:gd name="T15" fmla="*/ 25 h 31"/>
                <a:gd name="T16" fmla="*/ 44 w 56"/>
                <a:gd name="T17" fmla="*/ 26 h 31"/>
                <a:gd name="T18" fmla="*/ 53 w 56"/>
                <a:gd name="T19" fmla="*/ 29 h 31"/>
                <a:gd name="T20" fmla="*/ 56 w 56"/>
                <a:gd name="T21" fmla="*/ 1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" h="31">
                  <a:moveTo>
                    <a:pt x="56" y="18"/>
                  </a:moveTo>
                  <a:cubicBezTo>
                    <a:pt x="56" y="16"/>
                    <a:pt x="54" y="15"/>
                    <a:pt x="53" y="14"/>
                  </a:cubicBezTo>
                  <a:cubicBezTo>
                    <a:pt x="49" y="10"/>
                    <a:pt x="45" y="6"/>
                    <a:pt x="40" y="3"/>
                  </a:cubicBezTo>
                  <a:cubicBezTo>
                    <a:pt x="34" y="0"/>
                    <a:pt x="25" y="0"/>
                    <a:pt x="18" y="0"/>
                  </a:cubicBezTo>
                  <a:cubicBezTo>
                    <a:pt x="13" y="0"/>
                    <a:pt x="5" y="0"/>
                    <a:pt x="2" y="4"/>
                  </a:cubicBezTo>
                  <a:cubicBezTo>
                    <a:pt x="1" y="6"/>
                    <a:pt x="0" y="10"/>
                    <a:pt x="0" y="13"/>
                  </a:cubicBezTo>
                  <a:cubicBezTo>
                    <a:pt x="0" y="22"/>
                    <a:pt x="8" y="28"/>
                    <a:pt x="15" y="28"/>
                  </a:cubicBezTo>
                  <a:cubicBezTo>
                    <a:pt x="20" y="28"/>
                    <a:pt x="24" y="26"/>
                    <a:pt x="29" y="25"/>
                  </a:cubicBezTo>
                  <a:cubicBezTo>
                    <a:pt x="34" y="24"/>
                    <a:pt x="40" y="24"/>
                    <a:pt x="44" y="26"/>
                  </a:cubicBezTo>
                  <a:cubicBezTo>
                    <a:pt x="47" y="27"/>
                    <a:pt x="50" y="31"/>
                    <a:pt x="53" y="29"/>
                  </a:cubicBezTo>
                  <a:cubicBezTo>
                    <a:pt x="55" y="27"/>
                    <a:pt x="56" y="22"/>
                    <a:pt x="56" y="18"/>
                  </a:cubicBezTo>
                  <a:close/>
                </a:path>
              </a:pathLst>
            </a:custGeom>
            <a:solidFill>
              <a:srgbClr val="5C67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4" name="îŝ1íďe">
              <a:extLst>
                <a:ext uri="{FF2B5EF4-FFF2-40B4-BE49-F238E27FC236}">
                  <a16:creationId xmlns:a16="http://schemas.microsoft.com/office/drawing/2014/main" id="{DFECA6FE-DDE4-432D-99AA-1562849C9773}"/>
                </a:ext>
              </a:extLst>
            </p:cNvPr>
            <p:cNvSpPr/>
            <p:nvPr/>
          </p:nvSpPr>
          <p:spPr bwMode="auto">
            <a:xfrm>
              <a:off x="6992938" y="2849563"/>
              <a:ext cx="93663" cy="342900"/>
            </a:xfrm>
            <a:custGeom>
              <a:avLst/>
              <a:gdLst>
                <a:gd name="T0" fmla="*/ 0 w 10"/>
                <a:gd name="T1" fmla="*/ 10 h 37"/>
                <a:gd name="T2" fmla="*/ 0 w 10"/>
                <a:gd name="T3" fmla="*/ 30 h 37"/>
                <a:gd name="T4" fmla="*/ 5 w 10"/>
                <a:gd name="T5" fmla="*/ 37 h 37"/>
                <a:gd name="T6" fmla="*/ 10 w 10"/>
                <a:gd name="T7" fmla="*/ 7 h 37"/>
                <a:gd name="T8" fmla="*/ 0 w 10"/>
                <a:gd name="T9" fmla="*/ 1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37">
                  <a:moveTo>
                    <a:pt x="0" y="10"/>
                  </a:moveTo>
                  <a:cubicBezTo>
                    <a:pt x="0" y="17"/>
                    <a:pt x="0" y="24"/>
                    <a:pt x="0" y="30"/>
                  </a:cubicBezTo>
                  <a:cubicBezTo>
                    <a:pt x="1" y="34"/>
                    <a:pt x="3" y="36"/>
                    <a:pt x="5" y="37"/>
                  </a:cubicBezTo>
                  <a:cubicBezTo>
                    <a:pt x="9" y="31"/>
                    <a:pt x="10" y="14"/>
                    <a:pt x="10" y="7"/>
                  </a:cubicBezTo>
                  <a:cubicBezTo>
                    <a:pt x="10" y="0"/>
                    <a:pt x="4" y="5"/>
                    <a:pt x="0" y="10"/>
                  </a:cubicBezTo>
                  <a:close/>
                </a:path>
              </a:pathLst>
            </a:custGeom>
            <a:solidFill>
              <a:srgbClr val="5C67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5" name="ísļîḑè">
              <a:extLst>
                <a:ext uri="{FF2B5EF4-FFF2-40B4-BE49-F238E27FC236}">
                  <a16:creationId xmlns:a16="http://schemas.microsoft.com/office/drawing/2014/main" id="{11479CAE-60BD-4A4E-896F-9D7364D9F640}"/>
                </a:ext>
              </a:extLst>
            </p:cNvPr>
            <p:cNvSpPr/>
            <p:nvPr/>
          </p:nvSpPr>
          <p:spPr bwMode="auto">
            <a:xfrm>
              <a:off x="6705601" y="3294063"/>
              <a:ext cx="185738" cy="93663"/>
            </a:xfrm>
            <a:custGeom>
              <a:avLst/>
              <a:gdLst>
                <a:gd name="T0" fmla="*/ 19 w 20"/>
                <a:gd name="T1" fmla="*/ 0 h 10"/>
                <a:gd name="T2" fmla="*/ 1 w 20"/>
                <a:gd name="T3" fmla="*/ 4 h 10"/>
                <a:gd name="T4" fmla="*/ 12 w 20"/>
                <a:gd name="T5" fmla="*/ 9 h 10"/>
                <a:gd name="T6" fmla="*/ 19 w 20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0">
                  <a:moveTo>
                    <a:pt x="19" y="0"/>
                  </a:moveTo>
                  <a:cubicBezTo>
                    <a:pt x="16" y="1"/>
                    <a:pt x="2" y="3"/>
                    <a:pt x="1" y="4"/>
                  </a:cubicBezTo>
                  <a:cubicBezTo>
                    <a:pt x="0" y="8"/>
                    <a:pt x="7" y="10"/>
                    <a:pt x="12" y="9"/>
                  </a:cubicBezTo>
                  <a:cubicBezTo>
                    <a:pt x="15" y="8"/>
                    <a:pt x="20" y="2"/>
                    <a:pt x="1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6" name="ïṧlïdé">
              <a:extLst>
                <a:ext uri="{FF2B5EF4-FFF2-40B4-BE49-F238E27FC236}">
                  <a16:creationId xmlns:a16="http://schemas.microsoft.com/office/drawing/2014/main" id="{EAD66544-A4A3-40F5-947B-ED36410BACA6}"/>
                </a:ext>
              </a:extLst>
            </p:cNvPr>
            <p:cNvSpPr/>
            <p:nvPr/>
          </p:nvSpPr>
          <p:spPr bwMode="auto">
            <a:xfrm>
              <a:off x="6529388" y="3571875"/>
              <a:ext cx="250825" cy="974725"/>
            </a:xfrm>
            <a:custGeom>
              <a:avLst/>
              <a:gdLst>
                <a:gd name="T0" fmla="*/ 12 w 27"/>
                <a:gd name="T1" fmla="*/ 2 h 105"/>
                <a:gd name="T2" fmla="*/ 2 w 27"/>
                <a:gd name="T3" fmla="*/ 45 h 105"/>
                <a:gd name="T4" fmla="*/ 1 w 27"/>
                <a:gd name="T5" fmla="*/ 93 h 105"/>
                <a:gd name="T6" fmla="*/ 2 w 27"/>
                <a:gd name="T7" fmla="*/ 103 h 105"/>
                <a:gd name="T8" fmla="*/ 17 w 27"/>
                <a:gd name="T9" fmla="*/ 103 h 105"/>
                <a:gd name="T10" fmla="*/ 21 w 27"/>
                <a:gd name="T11" fmla="*/ 74 h 105"/>
                <a:gd name="T12" fmla="*/ 23 w 27"/>
                <a:gd name="T13" fmla="*/ 46 h 105"/>
                <a:gd name="T14" fmla="*/ 12 w 27"/>
                <a:gd name="T15" fmla="*/ 2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105">
                  <a:moveTo>
                    <a:pt x="12" y="2"/>
                  </a:moveTo>
                  <a:cubicBezTo>
                    <a:pt x="1" y="0"/>
                    <a:pt x="2" y="39"/>
                    <a:pt x="2" y="45"/>
                  </a:cubicBezTo>
                  <a:cubicBezTo>
                    <a:pt x="2" y="61"/>
                    <a:pt x="3" y="78"/>
                    <a:pt x="1" y="93"/>
                  </a:cubicBezTo>
                  <a:cubicBezTo>
                    <a:pt x="1" y="97"/>
                    <a:pt x="0" y="101"/>
                    <a:pt x="2" y="103"/>
                  </a:cubicBezTo>
                  <a:cubicBezTo>
                    <a:pt x="5" y="105"/>
                    <a:pt x="14" y="103"/>
                    <a:pt x="17" y="103"/>
                  </a:cubicBezTo>
                  <a:cubicBezTo>
                    <a:pt x="17" y="94"/>
                    <a:pt x="19" y="83"/>
                    <a:pt x="21" y="74"/>
                  </a:cubicBezTo>
                  <a:cubicBezTo>
                    <a:pt x="22" y="65"/>
                    <a:pt x="23" y="56"/>
                    <a:pt x="23" y="46"/>
                  </a:cubicBezTo>
                  <a:cubicBezTo>
                    <a:pt x="24" y="32"/>
                    <a:pt x="27" y="19"/>
                    <a:pt x="12" y="2"/>
                  </a:cubicBezTo>
                  <a:close/>
                </a:path>
              </a:pathLst>
            </a:custGeom>
            <a:solidFill>
              <a:srgbClr val="524E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7" name="íşḷiḍé">
              <a:extLst>
                <a:ext uri="{FF2B5EF4-FFF2-40B4-BE49-F238E27FC236}">
                  <a16:creationId xmlns:a16="http://schemas.microsoft.com/office/drawing/2014/main" id="{10B0B9A1-5C78-4FF4-9F59-A782FE0E13FE}"/>
                </a:ext>
              </a:extLst>
            </p:cNvPr>
            <p:cNvSpPr/>
            <p:nvPr/>
          </p:nvSpPr>
          <p:spPr bwMode="auto">
            <a:xfrm>
              <a:off x="6546851" y="4722813"/>
              <a:ext cx="1246188" cy="415925"/>
            </a:xfrm>
            <a:custGeom>
              <a:avLst/>
              <a:gdLst>
                <a:gd name="T0" fmla="*/ 86 w 134"/>
                <a:gd name="T1" fmla="*/ 5 h 45"/>
                <a:gd name="T2" fmla="*/ 121 w 134"/>
                <a:gd name="T3" fmla="*/ 6 h 45"/>
                <a:gd name="T4" fmla="*/ 134 w 134"/>
                <a:gd name="T5" fmla="*/ 11 h 45"/>
                <a:gd name="T6" fmla="*/ 79 w 134"/>
                <a:gd name="T7" fmla="*/ 34 h 45"/>
                <a:gd name="T8" fmla="*/ 66 w 134"/>
                <a:gd name="T9" fmla="*/ 42 h 45"/>
                <a:gd name="T10" fmla="*/ 49 w 134"/>
                <a:gd name="T11" fmla="*/ 45 h 45"/>
                <a:gd name="T12" fmla="*/ 19 w 134"/>
                <a:gd name="T13" fmla="*/ 44 h 45"/>
                <a:gd name="T14" fmla="*/ 7 w 134"/>
                <a:gd name="T15" fmla="*/ 43 h 45"/>
                <a:gd name="T16" fmla="*/ 2 w 134"/>
                <a:gd name="T17" fmla="*/ 24 h 45"/>
                <a:gd name="T18" fmla="*/ 1 w 134"/>
                <a:gd name="T19" fmla="*/ 15 h 45"/>
                <a:gd name="T20" fmla="*/ 14 w 134"/>
                <a:gd name="T21" fmla="*/ 11 h 45"/>
                <a:gd name="T22" fmla="*/ 28 w 134"/>
                <a:gd name="T23" fmla="*/ 10 h 45"/>
                <a:gd name="T24" fmla="*/ 58 w 134"/>
                <a:gd name="T25" fmla="*/ 1 h 45"/>
                <a:gd name="T26" fmla="*/ 86 w 134"/>
                <a:gd name="T27" fmla="*/ 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4" h="45">
                  <a:moveTo>
                    <a:pt x="86" y="5"/>
                  </a:moveTo>
                  <a:cubicBezTo>
                    <a:pt x="97" y="5"/>
                    <a:pt x="110" y="3"/>
                    <a:pt x="121" y="6"/>
                  </a:cubicBezTo>
                  <a:cubicBezTo>
                    <a:pt x="124" y="7"/>
                    <a:pt x="132" y="8"/>
                    <a:pt x="134" y="11"/>
                  </a:cubicBezTo>
                  <a:cubicBezTo>
                    <a:pt x="116" y="20"/>
                    <a:pt x="97" y="25"/>
                    <a:pt x="79" y="34"/>
                  </a:cubicBezTo>
                  <a:cubicBezTo>
                    <a:pt x="74" y="36"/>
                    <a:pt x="71" y="40"/>
                    <a:pt x="66" y="42"/>
                  </a:cubicBezTo>
                  <a:cubicBezTo>
                    <a:pt x="60" y="45"/>
                    <a:pt x="55" y="45"/>
                    <a:pt x="49" y="45"/>
                  </a:cubicBezTo>
                  <a:cubicBezTo>
                    <a:pt x="39" y="45"/>
                    <a:pt x="29" y="44"/>
                    <a:pt x="19" y="44"/>
                  </a:cubicBezTo>
                  <a:cubicBezTo>
                    <a:pt x="16" y="44"/>
                    <a:pt x="9" y="45"/>
                    <a:pt x="7" y="43"/>
                  </a:cubicBezTo>
                  <a:cubicBezTo>
                    <a:pt x="2" y="41"/>
                    <a:pt x="2" y="29"/>
                    <a:pt x="2" y="24"/>
                  </a:cubicBezTo>
                  <a:cubicBezTo>
                    <a:pt x="1" y="21"/>
                    <a:pt x="0" y="17"/>
                    <a:pt x="1" y="15"/>
                  </a:cubicBezTo>
                  <a:cubicBezTo>
                    <a:pt x="2" y="13"/>
                    <a:pt x="12" y="12"/>
                    <a:pt x="14" y="11"/>
                  </a:cubicBezTo>
                  <a:cubicBezTo>
                    <a:pt x="19" y="10"/>
                    <a:pt x="23" y="11"/>
                    <a:pt x="28" y="10"/>
                  </a:cubicBezTo>
                  <a:cubicBezTo>
                    <a:pt x="40" y="10"/>
                    <a:pt x="46" y="1"/>
                    <a:pt x="58" y="1"/>
                  </a:cubicBezTo>
                  <a:cubicBezTo>
                    <a:pt x="65" y="0"/>
                    <a:pt x="78" y="7"/>
                    <a:pt x="86" y="5"/>
                  </a:cubicBezTo>
                  <a:close/>
                </a:path>
              </a:pathLst>
            </a:custGeom>
            <a:solidFill>
              <a:srgbClr val="6767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8" name="í$ļiḋê">
              <a:extLst>
                <a:ext uri="{FF2B5EF4-FFF2-40B4-BE49-F238E27FC236}">
                  <a16:creationId xmlns:a16="http://schemas.microsoft.com/office/drawing/2014/main" id="{956AA2E7-38C4-414D-9B3D-E325D97614F9}"/>
                </a:ext>
              </a:extLst>
            </p:cNvPr>
            <p:cNvSpPr/>
            <p:nvPr/>
          </p:nvSpPr>
          <p:spPr bwMode="auto">
            <a:xfrm>
              <a:off x="6602413" y="3479800"/>
              <a:ext cx="819150" cy="1325563"/>
            </a:xfrm>
            <a:custGeom>
              <a:avLst/>
              <a:gdLst>
                <a:gd name="T0" fmla="*/ 46 w 88"/>
                <a:gd name="T1" fmla="*/ 0 h 143"/>
                <a:gd name="T2" fmla="*/ 31 w 88"/>
                <a:gd name="T3" fmla="*/ 10 h 143"/>
                <a:gd name="T4" fmla="*/ 25 w 88"/>
                <a:gd name="T5" fmla="*/ 4 h 143"/>
                <a:gd name="T6" fmla="*/ 3 w 88"/>
                <a:gd name="T7" fmla="*/ 12 h 143"/>
                <a:gd name="T8" fmla="*/ 11 w 88"/>
                <a:gd name="T9" fmla="*/ 85 h 143"/>
                <a:gd name="T10" fmla="*/ 6 w 88"/>
                <a:gd name="T11" fmla="*/ 143 h 143"/>
                <a:gd name="T12" fmla="*/ 81 w 88"/>
                <a:gd name="T13" fmla="*/ 139 h 143"/>
                <a:gd name="T14" fmla="*/ 78 w 88"/>
                <a:gd name="T15" fmla="*/ 68 h 143"/>
                <a:gd name="T16" fmla="*/ 72 w 88"/>
                <a:gd name="T17" fmla="*/ 21 h 143"/>
                <a:gd name="T18" fmla="*/ 71 w 88"/>
                <a:gd name="T19" fmla="*/ 10 h 143"/>
                <a:gd name="T20" fmla="*/ 46 w 88"/>
                <a:gd name="T21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8" h="143">
                  <a:moveTo>
                    <a:pt x="46" y="0"/>
                  </a:moveTo>
                  <a:cubicBezTo>
                    <a:pt x="45" y="8"/>
                    <a:pt x="38" y="13"/>
                    <a:pt x="31" y="10"/>
                  </a:cubicBezTo>
                  <a:cubicBezTo>
                    <a:pt x="27" y="8"/>
                    <a:pt x="25" y="4"/>
                    <a:pt x="25" y="4"/>
                  </a:cubicBezTo>
                  <a:cubicBezTo>
                    <a:pt x="18" y="4"/>
                    <a:pt x="9" y="11"/>
                    <a:pt x="3" y="12"/>
                  </a:cubicBezTo>
                  <a:cubicBezTo>
                    <a:pt x="0" y="29"/>
                    <a:pt x="9" y="67"/>
                    <a:pt x="11" y="85"/>
                  </a:cubicBezTo>
                  <a:cubicBezTo>
                    <a:pt x="13" y="108"/>
                    <a:pt x="12" y="128"/>
                    <a:pt x="6" y="143"/>
                  </a:cubicBezTo>
                  <a:cubicBezTo>
                    <a:pt x="25" y="142"/>
                    <a:pt x="62" y="141"/>
                    <a:pt x="81" y="139"/>
                  </a:cubicBezTo>
                  <a:cubicBezTo>
                    <a:pt x="88" y="138"/>
                    <a:pt x="82" y="93"/>
                    <a:pt x="78" y="68"/>
                  </a:cubicBezTo>
                  <a:cubicBezTo>
                    <a:pt x="76" y="57"/>
                    <a:pt x="72" y="32"/>
                    <a:pt x="72" y="21"/>
                  </a:cubicBezTo>
                  <a:cubicBezTo>
                    <a:pt x="72" y="19"/>
                    <a:pt x="73" y="13"/>
                    <a:pt x="71" y="10"/>
                  </a:cubicBezTo>
                  <a:cubicBezTo>
                    <a:pt x="71" y="10"/>
                    <a:pt x="55" y="4"/>
                    <a:pt x="46" y="0"/>
                  </a:cubicBezTo>
                  <a:close/>
                </a:path>
              </a:pathLst>
            </a:custGeom>
            <a:solidFill>
              <a:srgbClr val="695E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9" name="îs1iďe">
              <a:extLst>
                <a:ext uri="{FF2B5EF4-FFF2-40B4-BE49-F238E27FC236}">
                  <a16:creationId xmlns:a16="http://schemas.microsoft.com/office/drawing/2014/main" id="{AE4B9FB8-E182-47B6-84F5-FFFCD868E987}"/>
                </a:ext>
              </a:extLst>
            </p:cNvPr>
            <p:cNvSpPr/>
            <p:nvPr/>
          </p:nvSpPr>
          <p:spPr bwMode="auto">
            <a:xfrm>
              <a:off x="6900863" y="3581400"/>
              <a:ext cx="576263" cy="1317625"/>
            </a:xfrm>
            <a:custGeom>
              <a:avLst/>
              <a:gdLst>
                <a:gd name="T0" fmla="*/ 40 w 62"/>
                <a:gd name="T1" fmla="*/ 0 h 142"/>
                <a:gd name="T2" fmla="*/ 57 w 62"/>
                <a:gd name="T3" fmla="*/ 38 h 142"/>
                <a:gd name="T4" fmla="*/ 61 w 62"/>
                <a:gd name="T5" fmla="*/ 71 h 142"/>
                <a:gd name="T6" fmla="*/ 56 w 62"/>
                <a:gd name="T7" fmla="*/ 101 h 142"/>
                <a:gd name="T8" fmla="*/ 32 w 62"/>
                <a:gd name="T9" fmla="*/ 126 h 142"/>
                <a:gd name="T10" fmla="*/ 2 w 62"/>
                <a:gd name="T11" fmla="*/ 142 h 142"/>
                <a:gd name="T12" fmla="*/ 0 w 62"/>
                <a:gd name="T13" fmla="*/ 134 h 142"/>
                <a:gd name="T14" fmla="*/ 12 w 62"/>
                <a:gd name="T15" fmla="*/ 124 h 142"/>
                <a:gd name="T16" fmla="*/ 20 w 62"/>
                <a:gd name="T17" fmla="*/ 118 h 142"/>
                <a:gd name="T18" fmla="*/ 39 w 62"/>
                <a:gd name="T19" fmla="*/ 96 h 142"/>
                <a:gd name="T20" fmla="*/ 43 w 62"/>
                <a:gd name="T21" fmla="*/ 63 h 142"/>
                <a:gd name="T22" fmla="*/ 39 w 62"/>
                <a:gd name="T23" fmla="*/ 44 h 142"/>
                <a:gd name="T24" fmla="*/ 34 w 62"/>
                <a:gd name="T25" fmla="*/ 20 h 142"/>
                <a:gd name="T26" fmla="*/ 40 w 62"/>
                <a:gd name="T27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2" h="142">
                  <a:moveTo>
                    <a:pt x="40" y="0"/>
                  </a:moveTo>
                  <a:cubicBezTo>
                    <a:pt x="53" y="8"/>
                    <a:pt x="54" y="25"/>
                    <a:pt x="57" y="38"/>
                  </a:cubicBezTo>
                  <a:cubicBezTo>
                    <a:pt x="59" y="49"/>
                    <a:pt x="61" y="60"/>
                    <a:pt x="61" y="71"/>
                  </a:cubicBezTo>
                  <a:cubicBezTo>
                    <a:pt x="61" y="83"/>
                    <a:pt x="62" y="92"/>
                    <a:pt x="56" y="101"/>
                  </a:cubicBezTo>
                  <a:cubicBezTo>
                    <a:pt x="50" y="111"/>
                    <a:pt x="42" y="120"/>
                    <a:pt x="32" y="126"/>
                  </a:cubicBezTo>
                  <a:cubicBezTo>
                    <a:pt x="24" y="132"/>
                    <a:pt x="12" y="142"/>
                    <a:pt x="2" y="142"/>
                  </a:cubicBezTo>
                  <a:cubicBezTo>
                    <a:pt x="2" y="140"/>
                    <a:pt x="0" y="136"/>
                    <a:pt x="0" y="134"/>
                  </a:cubicBezTo>
                  <a:cubicBezTo>
                    <a:pt x="1" y="131"/>
                    <a:pt x="10" y="126"/>
                    <a:pt x="12" y="124"/>
                  </a:cubicBezTo>
                  <a:cubicBezTo>
                    <a:pt x="15" y="122"/>
                    <a:pt x="17" y="120"/>
                    <a:pt x="20" y="118"/>
                  </a:cubicBezTo>
                  <a:cubicBezTo>
                    <a:pt x="28" y="112"/>
                    <a:pt x="35" y="105"/>
                    <a:pt x="39" y="96"/>
                  </a:cubicBezTo>
                  <a:cubicBezTo>
                    <a:pt x="45" y="86"/>
                    <a:pt x="45" y="74"/>
                    <a:pt x="43" y="63"/>
                  </a:cubicBezTo>
                  <a:cubicBezTo>
                    <a:pt x="42" y="57"/>
                    <a:pt x="40" y="50"/>
                    <a:pt x="39" y="44"/>
                  </a:cubicBezTo>
                  <a:cubicBezTo>
                    <a:pt x="38" y="38"/>
                    <a:pt x="35" y="26"/>
                    <a:pt x="34" y="20"/>
                  </a:cubicBezTo>
                  <a:cubicBezTo>
                    <a:pt x="33" y="11"/>
                    <a:pt x="35" y="4"/>
                    <a:pt x="40" y="0"/>
                  </a:cubicBezTo>
                  <a:close/>
                </a:path>
              </a:pathLst>
            </a:custGeom>
            <a:solidFill>
              <a:srgbClr val="524E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0" name="íşḷîďè">
              <a:extLst>
                <a:ext uri="{FF2B5EF4-FFF2-40B4-BE49-F238E27FC236}">
                  <a16:creationId xmlns:a16="http://schemas.microsoft.com/office/drawing/2014/main" id="{0DBC1117-E0AB-4A0D-BDB7-AD71BDF86E4C}"/>
                </a:ext>
              </a:extLst>
            </p:cNvPr>
            <p:cNvSpPr/>
            <p:nvPr/>
          </p:nvSpPr>
          <p:spPr bwMode="auto">
            <a:xfrm>
              <a:off x="5738813" y="4638675"/>
              <a:ext cx="1311275" cy="649288"/>
            </a:xfrm>
            <a:custGeom>
              <a:avLst/>
              <a:gdLst>
                <a:gd name="T0" fmla="*/ 103 w 141"/>
                <a:gd name="T1" fmla="*/ 36 h 70"/>
                <a:gd name="T2" fmla="*/ 133 w 141"/>
                <a:gd name="T3" fmla="*/ 49 h 70"/>
                <a:gd name="T4" fmla="*/ 141 w 141"/>
                <a:gd name="T5" fmla="*/ 53 h 70"/>
                <a:gd name="T6" fmla="*/ 133 w 141"/>
                <a:gd name="T7" fmla="*/ 64 h 70"/>
                <a:gd name="T8" fmla="*/ 115 w 141"/>
                <a:gd name="T9" fmla="*/ 65 h 70"/>
                <a:gd name="T10" fmla="*/ 58 w 141"/>
                <a:gd name="T11" fmla="*/ 54 h 70"/>
                <a:gd name="T12" fmla="*/ 7 w 141"/>
                <a:gd name="T13" fmla="*/ 34 h 70"/>
                <a:gd name="T14" fmla="*/ 1 w 141"/>
                <a:gd name="T15" fmla="*/ 24 h 70"/>
                <a:gd name="T16" fmla="*/ 65 w 141"/>
                <a:gd name="T17" fmla="*/ 2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1" h="70">
                  <a:moveTo>
                    <a:pt x="103" y="36"/>
                  </a:moveTo>
                  <a:cubicBezTo>
                    <a:pt x="114" y="40"/>
                    <a:pt x="123" y="45"/>
                    <a:pt x="133" y="49"/>
                  </a:cubicBezTo>
                  <a:cubicBezTo>
                    <a:pt x="136" y="50"/>
                    <a:pt x="140" y="50"/>
                    <a:pt x="141" y="53"/>
                  </a:cubicBezTo>
                  <a:cubicBezTo>
                    <a:pt x="141" y="55"/>
                    <a:pt x="135" y="62"/>
                    <a:pt x="133" y="64"/>
                  </a:cubicBezTo>
                  <a:cubicBezTo>
                    <a:pt x="127" y="70"/>
                    <a:pt x="123" y="66"/>
                    <a:pt x="115" y="65"/>
                  </a:cubicBezTo>
                  <a:cubicBezTo>
                    <a:pt x="90" y="61"/>
                    <a:pt x="83" y="59"/>
                    <a:pt x="58" y="54"/>
                  </a:cubicBezTo>
                  <a:cubicBezTo>
                    <a:pt x="47" y="51"/>
                    <a:pt x="15" y="42"/>
                    <a:pt x="7" y="34"/>
                  </a:cubicBezTo>
                  <a:cubicBezTo>
                    <a:pt x="4" y="31"/>
                    <a:pt x="0" y="28"/>
                    <a:pt x="1" y="24"/>
                  </a:cubicBezTo>
                  <a:cubicBezTo>
                    <a:pt x="4" y="0"/>
                    <a:pt x="49" y="12"/>
                    <a:pt x="65" y="20"/>
                  </a:cubicBezTo>
                </a:path>
              </a:pathLst>
            </a:custGeom>
            <a:solidFill>
              <a:srgbClr val="7676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1" name="íŝļíḑe">
              <a:extLst>
                <a:ext uri="{FF2B5EF4-FFF2-40B4-BE49-F238E27FC236}">
                  <a16:creationId xmlns:a16="http://schemas.microsoft.com/office/drawing/2014/main" id="{D2FF8706-04B5-4DB3-A5EB-6597C0BE4283}"/>
                </a:ext>
              </a:extLst>
            </p:cNvPr>
            <p:cNvSpPr/>
            <p:nvPr/>
          </p:nvSpPr>
          <p:spPr bwMode="auto">
            <a:xfrm>
              <a:off x="6119813" y="4379913"/>
              <a:ext cx="846138" cy="592138"/>
            </a:xfrm>
            <a:custGeom>
              <a:avLst/>
              <a:gdLst>
                <a:gd name="T0" fmla="*/ 1 w 91"/>
                <a:gd name="T1" fmla="*/ 0 h 64"/>
                <a:gd name="T2" fmla="*/ 87 w 91"/>
                <a:gd name="T3" fmla="*/ 1 h 64"/>
                <a:gd name="T4" fmla="*/ 89 w 91"/>
                <a:gd name="T5" fmla="*/ 61 h 64"/>
                <a:gd name="T6" fmla="*/ 0 w 91"/>
                <a:gd name="T7" fmla="*/ 59 h 64"/>
                <a:gd name="T8" fmla="*/ 0 w 91"/>
                <a:gd name="T9" fmla="*/ 47 h 64"/>
                <a:gd name="T10" fmla="*/ 1 w 91"/>
                <a:gd name="T11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1" h="64">
                  <a:moveTo>
                    <a:pt x="1" y="0"/>
                  </a:moveTo>
                  <a:cubicBezTo>
                    <a:pt x="87" y="1"/>
                    <a:pt x="87" y="1"/>
                    <a:pt x="87" y="1"/>
                  </a:cubicBezTo>
                  <a:cubicBezTo>
                    <a:pt x="91" y="13"/>
                    <a:pt x="90" y="57"/>
                    <a:pt x="89" y="61"/>
                  </a:cubicBezTo>
                  <a:cubicBezTo>
                    <a:pt x="72" y="64"/>
                    <a:pt x="13" y="60"/>
                    <a:pt x="0" y="59"/>
                  </a:cubicBezTo>
                  <a:cubicBezTo>
                    <a:pt x="0" y="55"/>
                    <a:pt x="0" y="51"/>
                    <a:pt x="0" y="47"/>
                  </a:cubicBezTo>
                  <a:cubicBezTo>
                    <a:pt x="0" y="38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4238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2" name="íṧḷíḓè">
              <a:extLst>
                <a:ext uri="{FF2B5EF4-FFF2-40B4-BE49-F238E27FC236}">
                  <a16:creationId xmlns:a16="http://schemas.microsoft.com/office/drawing/2014/main" id="{CCE0D40B-35C8-4621-B231-B59B05F0104E}"/>
                </a:ext>
              </a:extLst>
            </p:cNvPr>
            <p:cNvSpPr/>
            <p:nvPr/>
          </p:nvSpPr>
          <p:spPr bwMode="auto">
            <a:xfrm>
              <a:off x="6910388" y="4879975"/>
              <a:ext cx="250825" cy="74613"/>
            </a:xfrm>
            <a:custGeom>
              <a:avLst/>
              <a:gdLst>
                <a:gd name="T0" fmla="*/ 1 w 27"/>
                <a:gd name="T1" fmla="*/ 7 h 8"/>
                <a:gd name="T2" fmla="*/ 27 w 27"/>
                <a:gd name="T3" fmla="*/ 7 h 8"/>
                <a:gd name="T4" fmla="*/ 27 w 27"/>
                <a:gd name="T5" fmla="*/ 0 h 8"/>
                <a:gd name="T6" fmla="*/ 1 w 27"/>
                <a:gd name="T7" fmla="*/ 0 h 8"/>
                <a:gd name="T8" fmla="*/ 1 w 27"/>
                <a:gd name="T9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8">
                  <a:moveTo>
                    <a:pt x="1" y="7"/>
                  </a:moveTo>
                  <a:cubicBezTo>
                    <a:pt x="9" y="7"/>
                    <a:pt x="18" y="8"/>
                    <a:pt x="27" y="7"/>
                  </a:cubicBezTo>
                  <a:cubicBezTo>
                    <a:pt x="27" y="5"/>
                    <a:pt x="27" y="2"/>
                    <a:pt x="27" y="0"/>
                  </a:cubicBezTo>
                  <a:cubicBezTo>
                    <a:pt x="18" y="0"/>
                    <a:pt x="9" y="0"/>
                    <a:pt x="1" y="0"/>
                  </a:cubicBezTo>
                  <a:cubicBezTo>
                    <a:pt x="0" y="3"/>
                    <a:pt x="0" y="5"/>
                    <a:pt x="1" y="7"/>
                  </a:cubicBezTo>
                  <a:close/>
                </a:path>
              </a:pathLst>
            </a:custGeom>
            <a:solidFill>
              <a:srgbClr val="4238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3" name="îṣlídé">
              <a:extLst>
                <a:ext uri="{FF2B5EF4-FFF2-40B4-BE49-F238E27FC236}">
                  <a16:creationId xmlns:a16="http://schemas.microsoft.com/office/drawing/2014/main" id="{C74D1FE0-567B-4DAF-9C24-D13B77D139FF}"/>
                </a:ext>
              </a:extLst>
            </p:cNvPr>
            <p:cNvSpPr/>
            <p:nvPr/>
          </p:nvSpPr>
          <p:spPr bwMode="auto">
            <a:xfrm>
              <a:off x="6203951" y="5213350"/>
              <a:ext cx="325438" cy="509588"/>
            </a:xfrm>
            <a:custGeom>
              <a:avLst/>
              <a:gdLst>
                <a:gd name="T0" fmla="*/ 34 w 35"/>
                <a:gd name="T1" fmla="*/ 13 h 55"/>
                <a:gd name="T2" fmla="*/ 26 w 35"/>
                <a:gd name="T3" fmla="*/ 44 h 55"/>
                <a:gd name="T4" fmla="*/ 6 w 35"/>
                <a:gd name="T5" fmla="*/ 49 h 55"/>
                <a:gd name="T6" fmla="*/ 6 w 35"/>
                <a:gd name="T7" fmla="*/ 18 h 55"/>
                <a:gd name="T8" fmla="*/ 10 w 35"/>
                <a:gd name="T9" fmla="*/ 4 h 55"/>
                <a:gd name="T10" fmla="*/ 19 w 35"/>
                <a:gd name="T11" fmla="*/ 1 h 55"/>
                <a:gd name="T12" fmla="*/ 33 w 35"/>
                <a:gd name="T13" fmla="*/ 2 h 55"/>
                <a:gd name="T14" fmla="*/ 34 w 35"/>
                <a:gd name="T15" fmla="*/ 1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55">
                  <a:moveTo>
                    <a:pt x="34" y="13"/>
                  </a:moveTo>
                  <a:cubicBezTo>
                    <a:pt x="25" y="20"/>
                    <a:pt x="28" y="35"/>
                    <a:pt x="26" y="44"/>
                  </a:cubicBezTo>
                  <a:cubicBezTo>
                    <a:pt x="24" y="52"/>
                    <a:pt x="12" y="55"/>
                    <a:pt x="6" y="49"/>
                  </a:cubicBezTo>
                  <a:cubicBezTo>
                    <a:pt x="0" y="42"/>
                    <a:pt x="4" y="26"/>
                    <a:pt x="6" y="18"/>
                  </a:cubicBezTo>
                  <a:cubicBezTo>
                    <a:pt x="7" y="14"/>
                    <a:pt x="8" y="8"/>
                    <a:pt x="10" y="4"/>
                  </a:cubicBezTo>
                  <a:cubicBezTo>
                    <a:pt x="12" y="0"/>
                    <a:pt x="12" y="1"/>
                    <a:pt x="19" y="1"/>
                  </a:cubicBezTo>
                  <a:cubicBezTo>
                    <a:pt x="25" y="1"/>
                    <a:pt x="27" y="1"/>
                    <a:pt x="33" y="2"/>
                  </a:cubicBezTo>
                  <a:cubicBezTo>
                    <a:pt x="33" y="7"/>
                    <a:pt x="35" y="7"/>
                    <a:pt x="34" y="13"/>
                  </a:cubicBezTo>
                  <a:close/>
                </a:path>
              </a:pathLst>
            </a:custGeom>
            <a:solidFill>
              <a:srgbClr val="4A4A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4" name="î$ḻïďè">
              <a:extLst>
                <a:ext uri="{FF2B5EF4-FFF2-40B4-BE49-F238E27FC236}">
                  <a16:creationId xmlns:a16="http://schemas.microsoft.com/office/drawing/2014/main" id="{2F8D9257-888A-465B-B2BF-DDEE4427575E}"/>
                </a:ext>
              </a:extLst>
            </p:cNvPr>
            <p:cNvSpPr/>
            <p:nvPr/>
          </p:nvSpPr>
          <p:spPr bwMode="auto">
            <a:xfrm>
              <a:off x="6351588" y="5194300"/>
              <a:ext cx="223838" cy="231775"/>
            </a:xfrm>
            <a:custGeom>
              <a:avLst/>
              <a:gdLst>
                <a:gd name="T0" fmla="*/ 22 w 24"/>
                <a:gd name="T1" fmla="*/ 13 h 25"/>
                <a:gd name="T2" fmla="*/ 7 w 24"/>
                <a:gd name="T3" fmla="*/ 23 h 25"/>
                <a:gd name="T4" fmla="*/ 8 w 24"/>
                <a:gd name="T5" fmla="*/ 3 h 25"/>
                <a:gd name="T6" fmla="*/ 22 w 24"/>
                <a:gd name="T7" fmla="*/ 1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25">
                  <a:moveTo>
                    <a:pt x="22" y="13"/>
                  </a:moveTo>
                  <a:cubicBezTo>
                    <a:pt x="15" y="13"/>
                    <a:pt x="11" y="25"/>
                    <a:pt x="7" y="23"/>
                  </a:cubicBezTo>
                  <a:cubicBezTo>
                    <a:pt x="0" y="21"/>
                    <a:pt x="7" y="8"/>
                    <a:pt x="8" y="3"/>
                  </a:cubicBezTo>
                  <a:cubicBezTo>
                    <a:pt x="14" y="3"/>
                    <a:pt x="24" y="0"/>
                    <a:pt x="22" y="10"/>
                  </a:cubicBezTo>
                </a:path>
              </a:pathLst>
            </a:custGeom>
            <a:solidFill>
              <a:srgbClr val="FFD6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5" name="íṧḷiḑe">
              <a:extLst>
                <a:ext uri="{FF2B5EF4-FFF2-40B4-BE49-F238E27FC236}">
                  <a16:creationId xmlns:a16="http://schemas.microsoft.com/office/drawing/2014/main" id="{2CA2E626-6773-49CD-BAC5-AAF9F4984AA8}"/>
                </a:ext>
              </a:extLst>
            </p:cNvPr>
            <p:cNvSpPr/>
            <p:nvPr/>
          </p:nvSpPr>
          <p:spPr bwMode="auto">
            <a:xfrm>
              <a:off x="6910388" y="5157788"/>
              <a:ext cx="334963" cy="519113"/>
            </a:xfrm>
            <a:custGeom>
              <a:avLst/>
              <a:gdLst>
                <a:gd name="T0" fmla="*/ 1 w 36"/>
                <a:gd name="T1" fmla="*/ 15 h 56"/>
                <a:gd name="T2" fmla="*/ 10 w 36"/>
                <a:gd name="T3" fmla="*/ 45 h 56"/>
                <a:gd name="T4" fmla="*/ 30 w 36"/>
                <a:gd name="T5" fmla="*/ 49 h 56"/>
                <a:gd name="T6" fmla="*/ 29 w 36"/>
                <a:gd name="T7" fmla="*/ 19 h 56"/>
                <a:gd name="T8" fmla="*/ 25 w 36"/>
                <a:gd name="T9" fmla="*/ 5 h 56"/>
                <a:gd name="T10" fmla="*/ 15 w 36"/>
                <a:gd name="T11" fmla="*/ 2 h 56"/>
                <a:gd name="T12" fmla="*/ 2 w 36"/>
                <a:gd name="T13" fmla="*/ 4 h 56"/>
                <a:gd name="T14" fmla="*/ 1 w 36"/>
                <a:gd name="T15" fmla="*/ 1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56">
                  <a:moveTo>
                    <a:pt x="1" y="15"/>
                  </a:moveTo>
                  <a:cubicBezTo>
                    <a:pt x="11" y="21"/>
                    <a:pt x="7" y="36"/>
                    <a:pt x="10" y="45"/>
                  </a:cubicBezTo>
                  <a:cubicBezTo>
                    <a:pt x="12" y="53"/>
                    <a:pt x="25" y="56"/>
                    <a:pt x="30" y="49"/>
                  </a:cubicBezTo>
                  <a:cubicBezTo>
                    <a:pt x="36" y="42"/>
                    <a:pt x="31" y="27"/>
                    <a:pt x="29" y="19"/>
                  </a:cubicBezTo>
                  <a:cubicBezTo>
                    <a:pt x="28" y="15"/>
                    <a:pt x="27" y="9"/>
                    <a:pt x="25" y="5"/>
                  </a:cubicBezTo>
                  <a:cubicBezTo>
                    <a:pt x="22" y="0"/>
                    <a:pt x="22" y="1"/>
                    <a:pt x="15" y="2"/>
                  </a:cubicBezTo>
                  <a:cubicBezTo>
                    <a:pt x="9" y="2"/>
                    <a:pt x="8" y="2"/>
                    <a:pt x="2" y="4"/>
                  </a:cubicBezTo>
                  <a:cubicBezTo>
                    <a:pt x="2" y="8"/>
                    <a:pt x="0" y="9"/>
                    <a:pt x="1" y="15"/>
                  </a:cubicBezTo>
                  <a:close/>
                </a:path>
              </a:pathLst>
            </a:custGeom>
            <a:solidFill>
              <a:srgbClr val="4A4A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6" name="îš1íḓé">
              <a:extLst>
                <a:ext uri="{FF2B5EF4-FFF2-40B4-BE49-F238E27FC236}">
                  <a16:creationId xmlns:a16="http://schemas.microsoft.com/office/drawing/2014/main" id="{DBFEB491-597E-421D-B758-B576ECB3DC3D}"/>
                </a:ext>
              </a:extLst>
            </p:cNvPr>
            <p:cNvSpPr/>
            <p:nvPr/>
          </p:nvSpPr>
          <p:spPr bwMode="auto">
            <a:xfrm>
              <a:off x="6854826" y="5157788"/>
              <a:ext cx="231775" cy="222250"/>
            </a:xfrm>
            <a:custGeom>
              <a:avLst/>
              <a:gdLst>
                <a:gd name="T0" fmla="*/ 2 w 25"/>
                <a:gd name="T1" fmla="*/ 13 h 24"/>
                <a:gd name="T2" fmla="*/ 19 w 25"/>
                <a:gd name="T3" fmla="*/ 22 h 24"/>
                <a:gd name="T4" fmla="*/ 17 w 25"/>
                <a:gd name="T5" fmla="*/ 2 h 24"/>
                <a:gd name="T6" fmla="*/ 3 w 25"/>
                <a:gd name="T7" fmla="*/ 1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24">
                  <a:moveTo>
                    <a:pt x="2" y="13"/>
                  </a:moveTo>
                  <a:cubicBezTo>
                    <a:pt x="10" y="13"/>
                    <a:pt x="15" y="24"/>
                    <a:pt x="19" y="22"/>
                  </a:cubicBezTo>
                  <a:cubicBezTo>
                    <a:pt x="25" y="19"/>
                    <a:pt x="18" y="7"/>
                    <a:pt x="17" y="2"/>
                  </a:cubicBezTo>
                  <a:cubicBezTo>
                    <a:pt x="10" y="2"/>
                    <a:pt x="0" y="0"/>
                    <a:pt x="3" y="10"/>
                  </a:cubicBezTo>
                </a:path>
              </a:pathLst>
            </a:custGeom>
            <a:solidFill>
              <a:srgbClr val="FFD6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7" name="isļíḑè">
              <a:extLst>
                <a:ext uri="{FF2B5EF4-FFF2-40B4-BE49-F238E27FC236}">
                  <a16:creationId xmlns:a16="http://schemas.microsoft.com/office/drawing/2014/main" id="{7AE5497C-9122-4F0B-ABB9-EE3021ADDE05}"/>
                </a:ext>
              </a:extLst>
            </p:cNvPr>
            <p:cNvSpPr/>
            <p:nvPr/>
          </p:nvSpPr>
          <p:spPr bwMode="auto">
            <a:xfrm>
              <a:off x="6407151" y="4787900"/>
              <a:ext cx="1489075" cy="620713"/>
            </a:xfrm>
            <a:custGeom>
              <a:avLst/>
              <a:gdLst>
                <a:gd name="T0" fmla="*/ 2 w 160"/>
                <a:gd name="T1" fmla="*/ 46 h 67"/>
                <a:gd name="T2" fmla="*/ 28 w 160"/>
                <a:gd name="T3" fmla="*/ 38 h 67"/>
                <a:gd name="T4" fmla="*/ 72 w 160"/>
                <a:gd name="T5" fmla="*/ 19 h 67"/>
                <a:gd name="T6" fmla="*/ 125 w 160"/>
                <a:gd name="T7" fmla="*/ 3 h 67"/>
                <a:gd name="T8" fmla="*/ 151 w 160"/>
                <a:gd name="T9" fmla="*/ 6 h 67"/>
                <a:gd name="T10" fmla="*/ 149 w 160"/>
                <a:gd name="T11" fmla="*/ 30 h 67"/>
                <a:gd name="T12" fmla="*/ 81 w 160"/>
                <a:gd name="T13" fmla="*/ 49 h 67"/>
                <a:gd name="T14" fmla="*/ 11 w 160"/>
                <a:gd name="T15" fmla="*/ 66 h 67"/>
                <a:gd name="T16" fmla="*/ 2 w 160"/>
                <a:gd name="T17" fmla="*/ 4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0" h="67">
                  <a:moveTo>
                    <a:pt x="2" y="46"/>
                  </a:moveTo>
                  <a:cubicBezTo>
                    <a:pt x="12" y="41"/>
                    <a:pt x="17" y="41"/>
                    <a:pt x="28" y="38"/>
                  </a:cubicBezTo>
                  <a:cubicBezTo>
                    <a:pt x="43" y="33"/>
                    <a:pt x="58" y="26"/>
                    <a:pt x="72" y="19"/>
                  </a:cubicBezTo>
                  <a:cubicBezTo>
                    <a:pt x="88" y="12"/>
                    <a:pt x="107" y="4"/>
                    <a:pt x="125" y="3"/>
                  </a:cubicBezTo>
                  <a:cubicBezTo>
                    <a:pt x="133" y="2"/>
                    <a:pt x="145" y="0"/>
                    <a:pt x="151" y="6"/>
                  </a:cubicBezTo>
                  <a:cubicBezTo>
                    <a:pt x="160" y="14"/>
                    <a:pt x="155" y="21"/>
                    <a:pt x="149" y="30"/>
                  </a:cubicBezTo>
                  <a:cubicBezTo>
                    <a:pt x="142" y="39"/>
                    <a:pt x="109" y="39"/>
                    <a:pt x="81" y="49"/>
                  </a:cubicBezTo>
                  <a:cubicBezTo>
                    <a:pt x="60" y="57"/>
                    <a:pt x="33" y="60"/>
                    <a:pt x="11" y="66"/>
                  </a:cubicBezTo>
                  <a:cubicBezTo>
                    <a:pt x="6" y="67"/>
                    <a:pt x="0" y="47"/>
                    <a:pt x="2" y="46"/>
                  </a:cubicBezTo>
                  <a:close/>
                </a:path>
              </a:pathLst>
            </a:custGeom>
            <a:solidFill>
              <a:srgbClr val="8C8B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3" name="矩形 2">
            <a:extLst>
              <a:ext uri="{FF2B5EF4-FFF2-40B4-BE49-F238E27FC236}">
                <a16:creationId xmlns:a16="http://schemas.microsoft.com/office/drawing/2014/main" id="{2EA20B3C-DA6C-4EFE-84FA-E325F1255448}"/>
              </a:ext>
            </a:extLst>
          </p:cNvPr>
          <p:cNvSpPr/>
          <p:nvPr/>
        </p:nvSpPr>
        <p:spPr>
          <a:xfrm>
            <a:off x="4415155" y="4750733"/>
            <a:ext cx="166994" cy="13375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8" name="矩形 167">
            <a:extLst>
              <a:ext uri="{FF2B5EF4-FFF2-40B4-BE49-F238E27FC236}">
                <a16:creationId xmlns:a16="http://schemas.microsoft.com/office/drawing/2014/main" id="{F41731A9-415F-4AE6-A1FB-C3117E8A8CA2}"/>
              </a:ext>
            </a:extLst>
          </p:cNvPr>
          <p:cNvSpPr/>
          <p:nvPr/>
        </p:nvSpPr>
        <p:spPr>
          <a:xfrm>
            <a:off x="7287940" y="4753818"/>
            <a:ext cx="166994" cy="13375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9" name="矩形 168">
            <a:extLst>
              <a:ext uri="{FF2B5EF4-FFF2-40B4-BE49-F238E27FC236}">
                <a16:creationId xmlns:a16="http://schemas.microsoft.com/office/drawing/2014/main" id="{8D377CA9-62B0-40FD-AB7B-15E396BCE75B}"/>
              </a:ext>
            </a:extLst>
          </p:cNvPr>
          <p:cNvSpPr/>
          <p:nvPr/>
        </p:nvSpPr>
        <p:spPr>
          <a:xfrm>
            <a:off x="5886426" y="3039558"/>
            <a:ext cx="166994" cy="13375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6230633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A1B4EF6-44F5-40DA-8D35-477AF1CA15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写在最后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00C7C9A6-E193-45DE-A2E6-B812B6ED79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3</a:t>
            </a:fld>
            <a:endParaRPr lang="zh-CN" altLang="en-US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AEB77639-6AEB-44BE-9FD7-A67B453FCBF2}"/>
              </a:ext>
            </a:extLst>
          </p:cNvPr>
          <p:cNvSpPr txBox="1"/>
          <p:nvPr/>
        </p:nvSpPr>
        <p:spPr>
          <a:xfrm>
            <a:off x="803030" y="1078524"/>
            <a:ext cx="10715870" cy="30431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u"/>
            </a:pPr>
            <a:r>
              <a:rPr lang="zh-CN" altLang="en-US" sz="1400" dirty="0"/>
              <a:t>森马大数据项目组，通过研究分析人员在一线的能效问题，以及零售支持现有的需求，结合大数据算法与技术，优化完成人员排班模型的建立，最终形成此次研究成果。</a:t>
            </a:r>
            <a:endParaRPr lang="en-US" altLang="zh-CN" sz="1400" dirty="0"/>
          </a:p>
          <a:p>
            <a:pPr marL="285750" indent="-285750">
              <a:lnSpc>
                <a:spcPct val="200000"/>
              </a:lnSpc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u"/>
            </a:pPr>
            <a:r>
              <a:rPr lang="zh-CN" altLang="en-US" sz="1400" dirty="0"/>
              <a:t>未来，森马大数据也将继续密切关注线下大数据产业，进行更深入探讨，持续输出更多研究成果，推动产业创新升级。欢迎大家与我们联系交流，提出宝贵意见。</a:t>
            </a:r>
            <a:endParaRPr lang="en-US" altLang="zh-CN" sz="1400" dirty="0"/>
          </a:p>
          <a:p>
            <a:pPr marL="285750" indent="-285750">
              <a:lnSpc>
                <a:spcPct val="200000"/>
              </a:lnSpc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u"/>
            </a:pPr>
            <a:r>
              <a:rPr lang="zh-CN" altLang="en-US" sz="1400" dirty="0"/>
              <a:t>报告内思路参考方：</a:t>
            </a:r>
            <a:r>
              <a:rPr lang="en-US" altLang="zh-CN" sz="1400" dirty="0"/>
              <a:t>《</a:t>
            </a:r>
            <a:r>
              <a:rPr lang="zh-CN" altLang="en-US" sz="1400" dirty="0"/>
              <a:t>数据化管理</a:t>
            </a:r>
            <a:r>
              <a:rPr lang="en-US" altLang="zh-CN" sz="1400" dirty="0"/>
              <a:t>》</a:t>
            </a:r>
            <a:r>
              <a:rPr lang="zh-CN" altLang="en-US" sz="1400" dirty="0"/>
              <a:t>，波士顿咨询，百度发展研究中心</a:t>
            </a:r>
            <a:endParaRPr lang="en-US" altLang="zh-CN" sz="1400" dirty="0"/>
          </a:p>
          <a:p>
            <a:pPr marL="285750" indent="-285750">
              <a:lnSpc>
                <a:spcPct val="200000"/>
              </a:lnSpc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u"/>
            </a:pPr>
            <a:r>
              <a:rPr lang="zh-CN" altLang="en-US" sz="1400" dirty="0"/>
              <a:t>在此还要感谢所有为森马大数据此次项目提供帮助和协作的团队、及所有其他业内人士、行业专家，感谢您们的鼎力协助。</a:t>
            </a:r>
            <a:endParaRPr lang="en-US" altLang="zh-CN" sz="1400" dirty="0"/>
          </a:p>
          <a:p>
            <a:pPr marL="285750" indent="-285750">
              <a:lnSpc>
                <a:spcPct val="200000"/>
              </a:lnSpc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u"/>
            </a:pPr>
            <a:r>
              <a:rPr lang="zh-CN" altLang="en-US" sz="1400" dirty="0"/>
              <a:t>报告作者：</a:t>
            </a:r>
          </a:p>
        </p:txBody>
      </p:sp>
      <p:pic>
        <p:nvPicPr>
          <p:cNvPr id="11" name="图片 10" descr="图片包含 人员, 室内, 男士, 眼镜&#10;&#10;描述已自动生成">
            <a:extLst>
              <a:ext uri="{FF2B5EF4-FFF2-40B4-BE49-F238E27FC236}">
                <a16:creationId xmlns:a16="http://schemas.microsoft.com/office/drawing/2014/main" id="{C8328809-3F9F-4791-A83E-1CBC5F21E3B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23067" r="25579"/>
          <a:stretch/>
        </p:blipFill>
        <p:spPr>
          <a:xfrm>
            <a:off x="4589149" y="4598287"/>
            <a:ext cx="783664" cy="1022765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865BE6EE-3520-41CA-A636-623DD568A49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127" t="1" r="35397" b="74580"/>
          <a:stretch/>
        </p:blipFill>
        <p:spPr>
          <a:xfrm>
            <a:off x="1156224" y="4598287"/>
            <a:ext cx="790725" cy="1022765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6" name="文本框 15">
            <a:extLst>
              <a:ext uri="{FF2B5EF4-FFF2-40B4-BE49-F238E27FC236}">
                <a16:creationId xmlns:a16="http://schemas.microsoft.com/office/drawing/2014/main" id="{89F6843D-E4D0-44FA-AE68-C6BACB5721D2}"/>
              </a:ext>
            </a:extLst>
          </p:cNvPr>
          <p:cNvSpPr txBox="1"/>
          <p:nvPr/>
        </p:nvSpPr>
        <p:spPr>
          <a:xfrm>
            <a:off x="1946950" y="4542936"/>
            <a:ext cx="2423838" cy="10762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100" b="1" dirty="0">
                <a:latin typeface="Microsoft YaHei" panose="020B0503020204020204" pitchFamily="34" charset="-122"/>
                <a:ea typeface="黑体" panose="02010609060101010101" pitchFamily="49" charset="-122"/>
                <a:sym typeface="Microsoft YaHei" panose="020B0503020204020204" pitchFamily="34" charset="-122"/>
              </a:rPr>
              <a:t>郑乐君 </a:t>
            </a:r>
            <a:r>
              <a:rPr lang="en-US" altLang="zh-CN" sz="1100" b="1" dirty="0">
                <a:latin typeface="Microsoft YaHei" panose="020B0503020204020204" pitchFamily="34" charset="-122"/>
                <a:ea typeface="黑体" panose="02010609060101010101" pitchFamily="49" charset="-122"/>
                <a:sym typeface="Microsoft YaHei" panose="020B0503020204020204" pitchFamily="34" charset="-122"/>
              </a:rPr>
              <a:t>Kris</a:t>
            </a:r>
            <a:r>
              <a:rPr lang="en-US" altLang="zh-CN" sz="1100" dirty="0">
                <a:latin typeface="Microsoft YaHei" panose="020B0503020204020204" pitchFamily="34" charset="-122"/>
                <a:ea typeface="黑体" panose="02010609060101010101" pitchFamily="49" charset="-122"/>
                <a:sym typeface="Microsoft YaHei" panose="020B0503020204020204" pitchFamily="34" charset="-122"/>
              </a:rPr>
              <a:t> </a:t>
            </a:r>
          </a:p>
          <a:p>
            <a:pPr>
              <a:lnSpc>
                <a:spcPct val="150000"/>
              </a:lnSpc>
            </a:pPr>
            <a:r>
              <a:rPr lang="zh-CN" altLang="en-US" sz="1100" dirty="0">
                <a:latin typeface="Microsoft YaHei" panose="020B0503020204020204" pitchFamily="34" charset="-122"/>
                <a:ea typeface="黑体" panose="02010609060101010101" pitchFamily="49" charset="-122"/>
                <a:sym typeface="Microsoft YaHei" panose="020B0503020204020204" pitchFamily="34" charset="-122"/>
              </a:rPr>
              <a:t>大数据分析师</a:t>
            </a:r>
            <a:endParaRPr lang="en-US" altLang="zh-CN" sz="1100" dirty="0">
              <a:latin typeface="Microsoft YaHei" panose="020B0503020204020204" pitchFamily="34" charset="-122"/>
              <a:ea typeface="黑体" panose="02010609060101010101" pitchFamily="49" charset="-122"/>
              <a:sym typeface="Microsoft YaHei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100" dirty="0">
                <a:latin typeface="Microsoft YaHei" panose="020B0503020204020204" pitchFamily="34" charset="-122"/>
                <a:ea typeface="黑体" panose="02010609060101010101" pitchFamily="49" charset="-122"/>
                <a:sym typeface="Microsoft YaHei" panose="020B0503020204020204" pitchFamily="34" charset="-122"/>
              </a:rPr>
              <a:t>WeChat</a:t>
            </a:r>
            <a:r>
              <a:rPr lang="zh-CN" altLang="en-US" sz="1100" dirty="0">
                <a:latin typeface="Microsoft YaHei" panose="020B0503020204020204" pitchFamily="34" charset="-122"/>
                <a:ea typeface="黑体" panose="02010609060101010101" pitchFamily="49" charset="-122"/>
                <a:sym typeface="Microsoft YaHei" panose="020B0503020204020204" pitchFamily="34" charset="-122"/>
              </a:rPr>
              <a:t>：</a:t>
            </a:r>
            <a:r>
              <a:rPr lang="en-US" altLang="zh-CN" sz="1100" dirty="0">
                <a:latin typeface="Microsoft YaHei" panose="020B0503020204020204" pitchFamily="34" charset="-122"/>
                <a:ea typeface="黑体" panose="02010609060101010101" pitchFamily="49" charset="-122"/>
                <a:sym typeface="Microsoft YaHei" panose="020B0503020204020204" pitchFamily="34" charset="-122"/>
              </a:rPr>
              <a:t>zlj19960115</a:t>
            </a:r>
          </a:p>
          <a:p>
            <a:pPr>
              <a:lnSpc>
                <a:spcPct val="150000"/>
              </a:lnSpc>
            </a:pPr>
            <a:r>
              <a:rPr lang="en-US" altLang="zh-CN" sz="1100" dirty="0">
                <a:latin typeface="Microsoft YaHei" panose="020B0503020204020204" pitchFamily="34" charset="-122"/>
                <a:ea typeface="黑体" panose="02010609060101010101" pitchFamily="49" charset="-122"/>
                <a:sym typeface="Microsoft YaHei" panose="020B0503020204020204" pitchFamily="34" charset="-122"/>
              </a:rPr>
              <a:t>Email</a:t>
            </a:r>
            <a:r>
              <a:rPr lang="zh-CN" altLang="en-US" sz="1100" dirty="0">
                <a:latin typeface="Microsoft YaHei" panose="020B0503020204020204" pitchFamily="34" charset="-122"/>
                <a:ea typeface="黑体" panose="02010609060101010101" pitchFamily="49" charset="-122"/>
                <a:sym typeface="Microsoft YaHei" panose="020B0503020204020204" pitchFamily="34" charset="-122"/>
              </a:rPr>
              <a:t>：   </a:t>
            </a:r>
            <a:r>
              <a:rPr lang="en-US" altLang="zh-CN" sz="1100" dirty="0">
                <a:latin typeface="Microsoft YaHei" panose="020B0503020204020204" pitchFamily="34" charset="-122"/>
                <a:ea typeface="黑体" panose="02010609060101010101" pitchFamily="49" charset="-122"/>
                <a:sym typeface="Microsoft YaHei" panose="020B0503020204020204" pitchFamily="34" charset="-122"/>
              </a:rPr>
              <a:t>zhenglejun@semir.com</a:t>
            </a:r>
            <a:endParaRPr lang="zh-CN" altLang="en-US" sz="1100" dirty="0">
              <a:latin typeface="Microsoft YaHei" panose="020B0503020204020204" pitchFamily="34" charset="-122"/>
              <a:ea typeface="黑体" panose="02010609060101010101" pitchFamily="49" charset="-122"/>
              <a:sym typeface="Microsoft YaHei" panose="020B0503020204020204" pitchFamily="34" charset="-122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688A48F7-2FE3-43D3-9E33-964F1AF72C82}"/>
              </a:ext>
            </a:extLst>
          </p:cNvPr>
          <p:cNvSpPr txBox="1"/>
          <p:nvPr/>
        </p:nvSpPr>
        <p:spPr>
          <a:xfrm>
            <a:off x="5591174" y="4559747"/>
            <a:ext cx="2632869" cy="10781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100" b="1" dirty="0">
                <a:latin typeface="Microsoft YaHei" panose="020B0503020204020204" pitchFamily="34" charset="-122"/>
                <a:ea typeface="黑体" panose="02010609060101010101" pitchFamily="49" charset="-122"/>
                <a:sym typeface="Microsoft YaHei" panose="020B0503020204020204" pitchFamily="34" charset="-122"/>
              </a:rPr>
              <a:t>张欢欢 </a:t>
            </a:r>
            <a:r>
              <a:rPr lang="en-US" altLang="zh-CN" sz="1100" b="1" dirty="0">
                <a:latin typeface="Microsoft YaHei" panose="020B0503020204020204" pitchFamily="34" charset="-122"/>
                <a:ea typeface="黑体" panose="02010609060101010101" pitchFamily="49" charset="-122"/>
                <a:sym typeface="Microsoft YaHei" panose="020B0503020204020204" pitchFamily="34" charset="-122"/>
              </a:rPr>
              <a:t>Daniel </a:t>
            </a:r>
          </a:p>
          <a:p>
            <a:pPr>
              <a:lnSpc>
                <a:spcPct val="150000"/>
              </a:lnSpc>
            </a:pPr>
            <a:r>
              <a:rPr lang="zh-CN" altLang="en-US" sz="1100" dirty="0">
                <a:latin typeface="Microsoft YaHei" panose="020B0503020204020204" pitchFamily="34" charset="-122"/>
                <a:ea typeface="黑体" panose="02010609060101010101" pitchFamily="49" charset="-122"/>
                <a:sym typeface="Microsoft YaHei" panose="020B0503020204020204" pitchFamily="34" charset="-122"/>
              </a:rPr>
              <a:t>大数据分析师</a:t>
            </a:r>
            <a:endParaRPr lang="en-US" altLang="zh-CN" sz="1100" dirty="0">
              <a:latin typeface="Microsoft YaHei" panose="020B0503020204020204" pitchFamily="34" charset="-122"/>
              <a:ea typeface="黑体" panose="02010609060101010101" pitchFamily="49" charset="-122"/>
              <a:sym typeface="Microsoft YaHei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100" dirty="0">
                <a:latin typeface="Microsoft YaHei" panose="020B0503020204020204" pitchFamily="34" charset="-122"/>
                <a:ea typeface="黑体" panose="02010609060101010101" pitchFamily="49" charset="-122"/>
                <a:sym typeface="Microsoft YaHei" panose="020B0503020204020204" pitchFamily="34" charset="-122"/>
              </a:rPr>
              <a:t>WeChat</a:t>
            </a:r>
            <a:r>
              <a:rPr lang="zh-CN" altLang="en-US" sz="1100" dirty="0">
                <a:latin typeface="Microsoft YaHei" panose="020B0503020204020204" pitchFamily="34" charset="-122"/>
                <a:ea typeface="黑体" panose="02010609060101010101" pitchFamily="49" charset="-122"/>
                <a:sym typeface="Microsoft YaHei" panose="020B0503020204020204" pitchFamily="34" charset="-122"/>
              </a:rPr>
              <a:t>：</a:t>
            </a:r>
            <a:r>
              <a:rPr lang="en-US" altLang="zh-CN" sz="1100" dirty="0">
                <a:latin typeface="Microsoft YaHei" panose="020B0503020204020204" pitchFamily="34" charset="-122"/>
                <a:ea typeface="黑体" panose="02010609060101010101" pitchFamily="49" charset="-122"/>
                <a:sym typeface="Microsoft YaHei" panose="020B0503020204020204" pitchFamily="34" charset="-122"/>
              </a:rPr>
              <a:t>zhh610493710</a:t>
            </a:r>
          </a:p>
          <a:p>
            <a:pPr>
              <a:lnSpc>
                <a:spcPct val="150000"/>
              </a:lnSpc>
            </a:pPr>
            <a:r>
              <a:rPr lang="en-US" altLang="zh-CN" sz="1100" dirty="0">
                <a:latin typeface="Microsoft YaHei" panose="020B0503020204020204" pitchFamily="34" charset="-122"/>
                <a:ea typeface="黑体" panose="02010609060101010101" pitchFamily="49" charset="-122"/>
                <a:sym typeface="Microsoft YaHei" panose="020B0503020204020204" pitchFamily="34" charset="-122"/>
              </a:rPr>
              <a:t>Email</a:t>
            </a:r>
            <a:r>
              <a:rPr lang="zh-CN" altLang="en-US" sz="1100" dirty="0">
                <a:latin typeface="Microsoft YaHei" panose="020B0503020204020204" pitchFamily="34" charset="-122"/>
                <a:ea typeface="黑体" panose="02010609060101010101" pitchFamily="49" charset="-122"/>
                <a:sym typeface="Microsoft YaHei" panose="020B0503020204020204" pitchFamily="34" charset="-122"/>
              </a:rPr>
              <a:t>：</a:t>
            </a:r>
            <a:r>
              <a:rPr lang="en-US" altLang="zh-CN" sz="1100" dirty="0">
                <a:latin typeface="Microsoft YaHei" panose="020B0503020204020204" pitchFamily="34" charset="-122"/>
                <a:ea typeface="黑体" panose="02010609060101010101" pitchFamily="49" charset="-122"/>
                <a:sym typeface="Microsoft YaHei" panose="020B0503020204020204" pitchFamily="34" charset="-122"/>
              </a:rPr>
              <a:t>zhanghuanhuan@semir.com</a:t>
            </a:r>
            <a:endParaRPr lang="zh-CN" altLang="en-US" sz="1100" dirty="0">
              <a:latin typeface="Microsoft YaHei" panose="020B0503020204020204" pitchFamily="34" charset="-122"/>
              <a:ea typeface="黑体" panose="02010609060101010101" pitchFamily="49" charset="-122"/>
              <a:sym typeface="Microsoft YaHei" panose="020B0503020204020204" pitchFamily="34" charset="-122"/>
            </a:endParaRPr>
          </a:p>
        </p:txBody>
      </p:sp>
      <p:pic>
        <p:nvPicPr>
          <p:cNvPr id="20" name="图片 19">
            <a:extLst>
              <a:ext uri="{FF2B5EF4-FFF2-40B4-BE49-F238E27FC236}">
                <a16:creationId xmlns:a16="http://schemas.microsoft.com/office/drawing/2014/main" id="{BB40AF4B-4682-42E1-9258-E7A94F2D694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69" t="35922" r="13909" b="30690"/>
          <a:stretch/>
        </p:blipFill>
        <p:spPr>
          <a:xfrm>
            <a:off x="3554604" y="4644166"/>
            <a:ext cx="697356" cy="699665"/>
          </a:xfrm>
          <a:prstGeom prst="rect">
            <a:avLst/>
          </a:prstGeom>
        </p:spPr>
      </p:pic>
      <p:pic>
        <p:nvPicPr>
          <p:cNvPr id="21" name="图片 20">
            <a:extLst>
              <a:ext uri="{FF2B5EF4-FFF2-40B4-BE49-F238E27FC236}">
                <a16:creationId xmlns:a16="http://schemas.microsoft.com/office/drawing/2014/main" id="{415BFD14-7A3B-4588-B557-3831B8DDDAF9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grayscl/>
          </a:blip>
          <a:srcRect l="4672" t="4472" r="4180" b="5672"/>
          <a:stretch/>
        </p:blipFill>
        <p:spPr>
          <a:xfrm>
            <a:off x="7373225" y="4628922"/>
            <a:ext cx="725185" cy="714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816294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03BFB87-7703-458D-968D-FCD013ED77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免责声明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9572E25C-B23B-4FB5-9B42-CFAEBF8E1C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4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D9D5D1DC-2B3C-4A40-896A-8A74530A74D5}"/>
              </a:ext>
            </a:extLst>
          </p:cNvPr>
          <p:cNvSpPr txBox="1"/>
          <p:nvPr/>
        </p:nvSpPr>
        <p:spPr>
          <a:xfrm>
            <a:off x="669924" y="1130300"/>
            <a:ext cx="10685633" cy="34740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u"/>
            </a:pPr>
            <a:r>
              <a:rPr lang="zh-CN" altLang="en-US" sz="1400" dirty="0"/>
              <a:t>免责声明：</a:t>
            </a:r>
            <a:endParaRPr lang="en-US" altLang="zh-CN" sz="1400" dirty="0"/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本报告所采用的数据均来自合规渠道，分析逻辑基于团队的专业理解，清晰准确地反映了作者的研究观点。由于涉及领域较广部分案例和思路有借鉴与参考，如果涉及抄袭侵权请联系作者删减，本报告仅在相关法律许可的情况下发放，并仅为提供信息而发放，概不构成任何广告。在任何情况下，本报告中的信息或所表述的意见均不构成对任何人的投资建议。本报告的信息来源于已公开的资料，森马大数据对该等信息的准确性、完整性或可靠性作尽可能的追求但不作任何保证。本报告所载的资料、意见及推测仅反映森马大数据于发布本报告当日之前的判断，在不同时期，森马大数据可发出与本报告所载资料、意见及推测不一致的报告。森马大数据不保证本报告所含信息保持在最新状态。同时，森马大数据对本报告所含信息可在不发出通知的情形下做出修改，读者可自行关注相应的更新或修改。</a:t>
            </a:r>
          </a:p>
        </p:txBody>
      </p:sp>
    </p:spTree>
    <p:extLst>
      <p:ext uri="{BB962C8B-B14F-4D97-AF65-F5344CB8AC3E}">
        <p14:creationId xmlns:p14="http://schemas.microsoft.com/office/powerpoint/2010/main" val="50533183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9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>
          <a:xfrm>
            <a:off x="986967" y="3893078"/>
            <a:ext cx="3808347" cy="310871"/>
          </a:xfrm>
        </p:spPr>
        <p:txBody>
          <a:bodyPr>
            <a:noAutofit/>
          </a:bodyPr>
          <a:lstStyle/>
          <a:p>
            <a:pPr algn="l"/>
            <a:r>
              <a:rPr lang="zh-CN" altLang="en-US" sz="1600" b="1" dirty="0">
                <a:solidFill>
                  <a:schemeClr val="accent2"/>
                </a:solidFill>
              </a:rPr>
              <a:t>大数据项目组　</a:t>
            </a:r>
            <a:r>
              <a:rPr lang="zh-CN" altLang="en-US" sz="1600" dirty="0"/>
              <a:t>郑乐君</a:t>
            </a:r>
            <a:r>
              <a:rPr lang="en-US" altLang="zh-CN" sz="1600" dirty="0"/>
              <a:t>&amp;</a:t>
            </a:r>
            <a:r>
              <a:rPr lang="zh-CN" altLang="en-US" sz="1600" dirty="0"/>
              <a:t>张欢欢</a:t>
            </a:r>
            <a:endParaRPr lang="en-US" altLang="en-US" sz="1600" b="1" dirty="0">
              <a:solidFill>
                <a:schemeClr val="accent2"/>
              </a:solidFill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986967" y="3596807"/>
            <a:ext cx="3808347" cy="296271"/>
          </a:xfrm>
        </p:spPr>
        <p:txBody>
          <a:bodyPr/>
          <a:lstStyle/>
          <a:p>
            <a:r>
              <a:rPr lang="zh-CN" altLang="en-US" sz="1600" dirty="0"/>
              <a:t>基于大数据模型的自动化智能精细排班</a:t>
            </a:r>
            <a:endParaRPr lang="en-US" altLang="zh-CN" sz="1600" dirty="0"/>
          </a:p>
        </p:txBody>
      </p:sp>
      <p:sp>
        <p:nvSpPr>
          <p:cNvPr id="11" name="标题 10">
            <a:extLst>
              <a:ext uri="{FF2B5EF4-FFF2-40B4-BE49-F238E27FC236}">
                <a16:creationId xmlns:a16="http://schemas.microsoft.com/office/drawing/2014/main" id="{70A5D87E-BB0B-4979-8BE2-20719E440B4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6967" y="1684610"/>
            <a:ext cx="5223333" cy="1574364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zh-CN" altLang="zh-CN" sz="4000" dirty="0"/>
              <a:t>智能精益排班</a:t>
            </a:r>
            <a:r>
              <a:rPr lang="zh-CN" altLang="en-US" sz="4000" dirty="0"/>
              <a:t>项目</a:t>
            </a:r>
            <a:endParaRPr lang="zh-CN" altLang="en-US" sz="4000" dirty="0">
              <a:solidFill>
                <a:schemeClr val="bg1"/>
              </a:solidFill>
            </a:endParaRPr>
          </a:p>
        </p:txBody>
      </p:sp>
      <p:grpSp>
        <p:nvGrpSpPr>
          <p:cNvPr id="9" name="组合 8">
            <a:extLst>
              <a:ext uri="{FF2B5EF4-FFF2-40B4-BE49-F238E27FC236}">
                <a16:creationId xmlns:a16="http://schemas.microsoft.com/office/drawing/2014/main" id="{DAF3EA8E-531D-47EB-81A1-E49311729086}"/>
              </a:ext>
            </a:extLst>
          </p:cNvPr>
          <p:cNvGrpSpPr/>
          <p:nvPr/>
        </p:nvGrpSpPr>
        <p:grpSpPr>
          <a:xfrm>
            <a:off x="673100" y="524083"/>
            <a:ext cx="6519173" cy="894992"/>
            <a:chOff x="544541" y="488598"/>
            <a:chExt cx="6519173" cy="894992"/>
          </a:xfrm>
        </p:grpSpPr>
        <p:pic>
          <p:nvPicPr>
            <p:cNvPr id="10" name="图片 9">
              <a:extLst>
                <a:ext uri="{FF2B5EF4-FFF2-40B4-BE49-F238E27FC236}">
                  <a16:creationId xmlns:a16="http://schemas.microsoft.com/office/drawing/2014/main" id="{D9A16194-C076-43F0-B157-9CE785AB5CC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42233" y="549131"/>
              <a:ext cx="2021481" cy="834459"/>
            </a:xfrm>
            <a:prstGeom prst="rect">
              <a:avLst/>
            </a:prstGeom>
          </p:spPr>
        </p:pic>
        <p:pic>
          <p:nvPicPr>
            <p:cNvPr id="12" name="图片 11">
              <a:extLst>
                <a:ext uri="{FF2B5EF4-FFF2-40B4-BE49-F238E27FC236}">
                  <a16:creationId xmlns:a16="http://schemas.microsoft.com/office/drawing/2014/main" id="{F38199E0-A93C-46BD-A5AD-0624FD9414A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4541" y="488598"/>
              <a:ext cx="2021481" cy="729262"/>
            </a:xfrm>
            <a:prstGeom prst="rect">
              <a:avLst/>
            </a:prstGeom>
          </p:spPr>
        </p:pic>
        <p:pic>
          <p:nvPicPr>
            <p:cNvPr id="13" name="图片 12" descr="图片包含 物体&#10;&#10;描述已自动生成">
              <a:extLst>
                <a:ext uri="{FF2B5EF4-FFF2-40B4-BE49-F238E27FC236}">
                  <a16:creationId xmlns:a16="http://schemas.microsoft.com/office/drawing/2014/main" id="{09E1308E-2C4F-4851-B91C-C8C24AEEB4C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36528" y="608805"/>
              <a:ext cx="1855337" cy="555799"/>
            </a:xfrm>
            <a:prstGeom prst="rect">
              <a:avLst/>
            </a:prstGeom>
          </p:spPr>
        </p:pic>
        <p:sp>
          <p:nvSpPr>
            <p:cNvPr id="14" name="乘号 13">
              <a:extLst>
                <a:ext uri="{FF2B5EF4-FFF2-40B4-BE49-F238E27FC236}">
                  <a16:creationId xmlns:a16="http://schemas.microsoft.com/office/drawing/2014/main" id="{53CC9947-56B4-4366-A30A-9F2C9D9FE1D9}"/>
                </a:ext>
              </a:extLst>
            </p:cNvPr>
            <p:cNvSpPr/>
            <p:nvPr/>
          </p:nvSpPr>
          <p:spPr>
            <a:xfrm>
              <a:off x="4890065" y="772124"/>
              <a:ext cx="250777" cy="244025"/>
            </a:xfrm>
            <a:prstGeom prst="mathMultiply">
              <a:avLst>
                <a:gd name="adj1" fmla="val 0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乘号 14">
              <a:extLst>
                <a:ext uri="{FF2B5EF4-FFF2-40B4-BE49-F238E27FC236}">
                  <a16:creationId xmlns:a16="http://schemas.microsoft.com/office/drawing/2014/main" id="{B14E0C33-29E7-4D73-99FA-6027E4F6462A}"/>
                </a:ext>
              </a:extLst>
            </p:cNvPr>
            <p:cNvSpPr/>
            <p:nvPr/>
          </p:nvSpPr>
          <p:spPr>
            <a:xfrm>
              <a:off x="2543789" y="772124"/>
              <a:ext cx="250777" cy="244025"/>
            </a:xfrm>
            <a:prstGeom prst="mathMultiply">
              <a:avLst>
                <a:gd name="adj1" fmla="val 0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6" name="文本占位符 6">
            <a:extLst>
              <a:ext uri="{FF2B5EF4-FFF2-40B4-BE49-F238E27FC236}">
                <a16:creationId xmlns:a16="http://schemas.microsoft.com/office/drawing/2014/main" id="{EF8ABABE-7EAE-4948-AB02-8F791B2EB007}"/>
              </a:ext>
            </a:extLst>
          </p:cNvPr>
          <p:cNvSpPr txBox="1">
            <a:spLocks/>
          </p:cNvSpPr>
          <p:nvPr/>
        </p:nvSpPr>
        <p:spPr>
          <a:xfrm>
            <a:off x="5360933" y="5834712"/>
            <a:ext cx="1698734" cy="27724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zh-CN" altLang="en-US" sz="15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2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600" dirty="0"/>
              <a:t>www.semir.pro</a:t>
            </a: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29A0E74-FB26-40C4-81CA-80CA3DDB94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项目整体计划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39BACD7-80EA-4D10-BED1-DA76013DDB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</a:t>
            </a:fld>
            <a:endParaRPr lang="zh-CN" altLang="en-US"/>
          </a:p>
        </p:txBody>
      </p:sp>
      <p:grpSp>
        <p:nvGrpSpPr>
          <p:cNvPr id="5" name="282152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2AFDAB4B-DC9F-45DA-B20B-974E7C29F036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1170362"/>
            <a:ext cx="12192000" cy="4506539"/>
            <a:chOff x="0" y="1170362"/>
            <a:chExt cx="12192000" cy="4506539"/>
          </a:xfrm>
        </p:grpSpPr>
        <p:cxnSp>
          <p:nvCxnSpPr>
            <p:cNvPr id="7" name="直接连接符 6">
              <a:extLst>
                <a:ext uri="{FF2B5EF4-FFF2-40B4-BE49-F238E27FC236}">
                  <a16:creationId xmlns:a16="http://schemas.microsoft.com/office/drawing/2014/main" id="{7B667556-68C2-4BDE-A4F8-8C5C77952AA5}"/>
                </a:ext>
              </a:extLst>
            </p:cNvPr>
            <p:cNvCxnSpPr/>
            <p:nvPr/>
          </p:nvCxnSpPr>
          <p:spPr>
            <a:xfrm>
              <a:off x="0" y="5211558"/>
              <a:ext cx="12192000" cy="0"/>
            </a:xfrm>
            <a:prstGeom prst="line">
              <a:avLst/>
            </a:prstGeom>
            <a:ln w="38100" cap="flat" cmpd="sng" algn="ctr">
              <a:solidFill>
                <a:schemeClr val="bg1">
                  <a:lumMod val="9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îśḷïḋè">
              <a:extLst>
                <a:ext uri="{FF2B5EF4-FFF2-40B4-BE49-F238E27FC236}">
                  <a16:creationId xmlns:a16="http://schemas.microsoft.com/office/drawing/2014/main" id="{F6FA9609-FD7F-4DFA-8DDC-960C458D91AE}"/>
                </a:ext>
              </a:extLst>
            </p:cNvPr>
            <p:cNvSpPr/>
            <p:nvPr/>
          </p:nvSpPr>
          <p:spPr>
            <a:xfrm>
              <a:off x="872331" y="5114326"/>
              <a:ext cx="194470" cy="194464"/>
            </a:xfrm>
            <a:prstGeom prst="ellipse">
              <a:avLst/>
            </a:prstGeom>
            <a:solidFill>
              <a:schemeClr val="accent1">
                <a:lumMod val="100000"/>
              </a:schemeClr>
            </a:solidFill>
            <a:ln w="381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" name="íşḻïḑé">
              <a:extLst>
                <a:ext uri="{FF2B5EF4-FFF2-40B4-BE49-F238E27FC236}">
                  <a16:creationId xmlns:a16="http://schemas.microsoft.com/office/drawing/2014/main" id="{574EB5BA-F3FE-4693-B60A-C641BD6D9C4E}"/>
                </a:ext>
              </a:extLst>
            </p:cNvPr>
            <p:cNvSpPr txBox="1"/>
            <p:nvPr/>
          </p:nvSpPr>
          <p:spPr bwMode="auto">
            <a:xfrm>
              <a:off x="517525" y="5308791"/>
              <a:ext cx="911225" cy="368110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/>
              <a:r>
                <a:rPr lang="en-US" altLang="zh-CN" sz="1200" dirty="0">
                  <a:effectLst/>
                </a:rPr>
                <a:t>2019</a:t>
              </a:r>
              <a:r>
                <a:rPr lang="en-US" altLang="zh-CN" sz="1200" dirty="0"/>
                <a:t>.4.10</a:t>
              </a:r>
              <a:endParaRPr lang="zh-CN" altLang="en-US" sz="1200" dirty="0">
                <a:effectLst/>
              </a:endParaRPr>
            </a:p>
          </p:txBody>
        </p:sp>
        <p:grpSp>
          <p:nvGrpSpPr>
            <p:cNvPr id="10" name="íśļiḓè">
              <a:extLst>
                <a:ext uri="{FF2B5EF4-FFF2-40B4-BE49-F238E27FC236}">
                  <a16:creationId xmlns:a16="http://schemas.microsoft.com/office/drawing/2014/main" id="{7139C899-9F24-4555-8C3B-E84242630ACA}"/>
                </a:ext>
              </a:extLst>
            </p:cNvPr>
            <p:cNvGrpSpPr/>
            <p:nvPr/>
          </p:nvGrpSpPr>
          <p:grpSpPr>
            <a:xfrm>
              <a:off x="895990" y="3193392"/>
              <a:ext cx="1914278" cy="1349224"/>
              <a:chOff x="886465" y="2421867"/>
              <a:chExt cx="1914278" cy="1349224"/>
            </a:xfrm>
          </p:grpSpPr>
          <p:sp>
            <p:nvSpPr>
              <p:cNvPr id="58" name="iŝlîďé">
                <a:extLst>
                  <a:ext uri="{FF2B5EF4-FFF2-40B4-BE49-F238E27FC236}">
                    <a16:creationId xmlns:a16="http://schemas.microsoft.com/office/drawing/2014/main" id="{944D0AE5-71F4-41B6-8246-6E525EB3E6F6}"/>
                  </a:ext>
                </a:extLst>
              </p:cNvPr>
              <p:cNvSpPr/>
              <p:nvPr/>
            </p:nvSpPr>
            <p:spPr>
              <a:xfrm>
                <a:off x="963215" y="2421867"/>
                <a:ext cx="298452" cy="298452"/>
              </a:xfrm>
              <a:custGeom>
                <a:avLst/>
                <a:gdLst>
                  <a:gd name="connsiteX0" fmla="*/ 149221 w 298452"/>
                  <a:gd name="connsiteY0" fmla="*/ 121246 h 298452"/>
                  <a:gd name="connsiteX1" fmla="*/ 121241 w 298452"/>
                  <a:gd name="connsiteY1" fmla="*/ 149226 h 298452"/>
                  <a:gd name="connsiteX2" fmla="*/ 149221 w 298452"/>
                  <a:gd name="connsiteY2" fmla="*/ 177206 h 298452"/>
                  <a:gd name="connsiteX3" fmla="*/ 177200 w 298452"/>
                  <a:gd name="connsiteY3" fmla="*/ 149226 h 298452"/>
                  <a:gd name="connsiteX4" fmla="*/ 149221 w 298452"/>
                  <a:gd name="connsiteY4" fmla="*/ 121246 h 298452"/>
                  <a:gd name="connsiteX5" fmla="*/ 149221 w 298452"/>
                  <a:gd name="connsiteY5" fmla="*/ 111919 h 298452"/>
                  <a:gd name="connsiteX6" fmla="*/ 186526 w 298452"/>
                  <a:gd name="connsiteY6" fmla="*/ 149226 h 298452"/>
                  <a:gd name="connsiteX7" fmla="*/ 149221 w 298452"/>
                  <a:gd name="connsiteY7" fmla="*/ 186533 h 298452"/>
                  <a:gd name="connsiteX8" fmla="*/ 111915 w 298452"/>
                  <a:gd name="connsiteY8" fmla="*/ 149226 h 298452"/>
                  <a:gd name="connsiteX9" fmla="*/ 149221 w 298452"/>
                  <a:gd name="connsiteY9" fmla="*/ 111919 h 298452"/>
                  <a:gd name="connsiteX10" fmla="*/ 149221 w 298452"/>
                  <a:gd name="connsiteY10" fmla="*/ 92100 h 298452"/>
                  <a:gd name="connsiteX11" fmla="*/ 92097 w 298452"/>
                  <a:gd name="connsiteY11" fmla="*/ 149226 h 298452"/>
                  <a:gd name="connsiteX12" fmla="*/ 149221 w 298452"/>
                  <a:gd name="connsiteY12" fmla="*/ 206351 h 298452"/>
                  <a:gd name="connsiteX13" fmla="*/ 206345 w 298452"/>
                  <a:gd name="connsiteY13" fmla="*/ 149226 h 298452"/>
                  <a:gd name="connsiteX14" fmla="*/ 149221 w 298452"/>
                  <a:gd name="connsiteY14" fmla="*/ 92100 h 298452"/>
                  <a:gd name="connsiteX15" fmla="*/ 149221 w 298452"/>
                  <a:gd name="connsiteY15" fmla="*/ 83939 h 298452"/>
                  <a:gd name="connsiteX16" fmla="*/ 214505 w 298452"/>
                  <a:gd name="connsiteY16" fmla="*/ 149226 h 298452"/>
                  <a:gd name="connsiteX17" fmla="*/ 149221 w 298452"/>
                  <a:gd name="connsiteY17" fmla="*/ 214512 h 298452"/>
                  <a:gd name="connsiteX18" fmla="*/ 83936 w 298452"/>
                  <a:gd name="connsiteY18" fmla="*/ 149226 h 298452"/>
                  <a:gd name="connsiteX19" fmla="*/ 149221 w 298452"/>
                  <a:gd name="connsiteY19" fmla="*/ 83939 h 298452"/>
                  <a:gd name="connsiteX20" fmla="*/ 161910 w 298452"/>
                  <a:gd name="connsiteY20" fmla="*/ 18653 h 298452"/>
                  <a:gd name="connsiteX21" fmla="*/ 136528 w 298452"/>
                  <a:gd name="connsiteY21" fmla="*/ 18667 h 298452"/>
                  <a:gd name="connsiteX22" fmla="*/ 130822 w 298452"/>
                  <a:gd name="connsiteY22" fmla="*/ 47255 h 298452"/>
                  <a:gd name="connsiteX23" fmla="*/ 118649 w 298452"/>
                  <a:gd name="connsiteY23" fmla="*/ 61210 h 298452"/>
                  <a:gd name="connsiteX24" fmla="*/ 108631 w 298452"/>
                  <a:gd name="connsiteY24" fmla="*/ 65397 h 298452"/>
                  <a:gd name="connsiteX25" fmla="*/ 100507 w 298452"/>
                  <a:gd name="connsiteY25" fmla="*/ 67249 h 298452"/>
                  <a:gd name="connsiteX26" fmla="*/ 90157 w 298452"/>
                  <a:gd name="connsiteY26" fmla="*/ 64112 h 298452"/>
                  <a:gd name="connsiteX27" fmla="*/ 65867 w 298452"/>
                  <a:gd name="connsiteY27" fmla="*/ 47932 h 298452"/>
                  <a:gd name="connsiteX28" fmla="*/ 47918 w 298452"/>
                  <a:gd name="connsiteY28" fmla="*/ 65881 h 298452"/>
                  <a:gd name="connsiteX29" fmla="*/ 64112 w 298452"/>
                  <a:gd name="connsiteY29" fmla="*/ 90158 h 298452"/>
                  <a:gd name="connsiteX30" fmla="*/ 65369 w 298452"/>
                  <a:gd name="connsiteY30" fmla="*/ 108631 h 298452"/>
                  <a:gd name="connsiteX31" fmla="*/ 61210 w 298452"/>
                  <a:gd name="connsiteY31" fmla="*/ 118662 h 298452"/>
                  <a:gd name="connsiteX32" fmla="*/ 47255 w 298452"/>
                  <a:gd name="connsiteY32" fmla="*/ 130822 h 298452"/>
                  <a:gd name="connsiteX33" fmla="*/ 18653 w 298452"/>
                  <a:gd name="connsiteY33" fmla="*/ 136542 h 298452"/>
                  <a:gd name="connsiteX34" fmla="*/ 18667 w 298452"/>
                  <a:gd name="connsiteY34" fmla="*/ 161924 h 298452"/>
                  <a:gd name="connsiteX35" fmla="*/ 47255 w 298452"/>
                  <a:gd name="connsiteY35" fmla="*/ 167644 h 298452"/>
                  <a:gd name="connsiteX36" fmla="*/ 61210 w 298452"/>
                  <a:gd name="connsiteY36" fmla="*/ 179817 h 298452"/>
                  <a:gd name="connsiteX37" fmla="*/ 65383 w 298452"/>
                  <a:gd name="connsiteY37" fmla="*/ 189835 h 298452"/>
                  <a:gd name="connsiteX38" fmla="*/ 64112 w 298452"/>
                  <a:gd name="connsiteY38" fmla="*/ 208295 h 298452"/>
                  <a:gd name="connsiteX39" fmla="*/ 47918 w 298452"/>
                  <a:gd name="connsiteY39" fmla="*/ 232585 h 298452"/>
                  <a:gd name="connsiteX40" fmla="*/ 65867 w 298452"/>
                  <a:gd name="connsiteY40" fmla="*/ 250534 h 298452"/>
                  <a:gd name="connsiteX41" fmla="*/ 90157 w 298452"/>
                  <a:gd name="connsiteY41" fmla="*/ 234340 h 298452"/>
                  <a:gd name="connsiteX42" fmla="*/ 100507 w 298452"/>
                  <a:gd name="connsiteY42" fmla="*/ 231204 h 298452"/>
                  <a:gd name="connsiteX43" fmla="*/ 108631 w 298452"/>
                  <a:gd name="connsiteY43" fmla="*/ 233083 h 298452"/>
                  <a:gd name="connsiteX44" fmla="*/ 118662 w 298452"/>
                  <a:gd name="connsiteY44" fmla="*/ 237256 h 298452"/>
                  <a:gd name="connsiteX45" fmla="*/ 130822 w 298452"/>
                  <a:gd name="connsiteY45" fmla="*/ 251211 h 298452"/>
                  <a:gd name="connsiteX46" fmla="*/ 136528 w 298452"/>
                  <a:gd name="connsiteY46" fmla="*/ 279799 h 298452"/>
                  <a:gd name="connsiteX47" fmla="*/ 161910 w 298452"/>
                  <a:gd name="connsiteY47" fmla="*/ 279799 h 298452"/>
                  <a:gd name="connsiteX48" fmla="*/ 167644 w 298452"/>
                  <a:gd name="connsiteY48" fmla="*/ 251211 h 298452"/>
                  <a:gd name="connsiteX49" fmla="*/ 179790 w 298452"/>
                  <a:gd name="connsiteY49" fmla="*/ 237256 h 298452"/>
                  <a:gd name="connsiteX50" fmla="*/ 189835 w 298452"/>
                  <a:gd name="connsiteY50" fmla="*/ 233069 h 298452"/>
                  <a:gd name="connsiteX51" fmla="*/ 197959 w 298452"/>
                  <a:gd name="connsiteY51" fmla="*/ 231204 h 298452"/>
                  <a:gd name="connsiteX52" fmla="*/ 208309 w 298452"/>
                  <a:gd name="connsiteY52" fmla="*/ 234340 h 298452"/>
                  <a:gd name="connsiteX53" fmla="*/ 232585 w 298452"/>
                  <a:gd name="connsiteY53" fmla="*/ 250534 h 298452"/>
                  <a:gd name="connsiteX54" fmla="*/ 250520 w 298452"/>
                  <a:gd name="connsiteY54" fmla="*/ 232585 h 298452"/>
                  <a:gd name="connsiteX55" fmla="*/ 234326 w 298452"/>
                  <a:gd name="connsiteY55" fmla="*/ 208295 h 298452"/>
                  <a:gd name="connsiteX56" fmla="*/ 233083 w 298452"/>
                  <a:gd name="connsiteY56" fmla="*/ 189821 h 298452"/>
                  <a:gd name="connsiteX57" fmla="*/ 237242 w 298452"/>
                  <a:gd name="connsiteY57" fmla="*/ 179804 h 298452"/>
                  <a:gd name="connsiteX58" fmla="*/ 251197 w 298452"/>
                  <a:gd name="connsiteY58" fmla="*/ 167644 h 298452"/>
                  <a:gd name="connsiteX59" fmla="*/ 279799 w 298452"/>
                  <a:gd name="connsiteY59" fmla="*/ 161924 h 298452"/>
                  <a:gd name="connsiteX60" fmla="*/ 279785 w 298452"/>
                  <a:gd name="connsiteY60" fmla="*/ 136542 h 298452"/>
                  <a:gd name="connsiteX61" fmla="*/ 251197 w 298452"/>
                  <a:gd name="connsiteY61" fmla="*/ 130808 h 298452"/>
                  <a:gd name="connsiteX62" fmla="*/ 237242 w 298452"/>
                  <a:gd name="connsiteY62" fmla="*/ 118649 h 298452"/>
                  <a:gd name="connsiteX63" fmla="*/ 233055 w 298452"/>
                  <a:gd name="connsiteY63" fmla="*/ 108631 h 298452"/>
                  <a:gd name="connsiteX64" fmla="*/ 234326 w 298452"/>
                  <a:gd name="connsiteY64" fmla="*/ 90158 h 298452"/>
                  <a:gd name="connsiteX65" fmla="*/ 250520 w 298452"/>
                  <a:gd name="connsiteY65" fmla="*/ 65881 h 298452"/>
                  <a:gd name="connsiteX66" fmla="*/ 232585 w 298452"/>
                  <a:gd name="connsiteY66" fmla="*/ 47932 h 298452"/>
                  <a:gd name="connsiteX67" fmla="*/ 208309 w 298452"/>
                  <a:gd name="connsiteY67" fmla="*/ 64112 h 298452"/>
                  <a:gd name="connsiteX68" fmla="*/ 197959 w 298452"/>
                  <a:gd name="connsiteY68" fmla="*/ 67249 h 298452"/>
                  <a:gd name="connsiteX69" fmla="*/ 189807 w 298452"/>
                  <a:gd name="connsiteY69" fmla="*/ 65383 h 298452"/>
                  <a:gd name="connsiteX70" fmla="*/ 179790 w 298452"/>
                  <a:gd name="connsiteY70" fmla="*/ 61210 h 298452"/>
                  <a:gd name="connsiteX71" fmla="*/ 167631 w 298452"/>
                  <a:gd name="connsiteY71" fmla="*/ 47255 h 298452"/>
                  <a:gd name="connsiteX72" fmla="*/ 136528 w 298452"/>
                  <a:gd name="connsiteY72" fmla="*/ 0 h 298452"/>
                  <a:gd name="connsiteX73" fmla="*/ 161910 w 298452"/>
                  <a:gd name="connsiteY73" fmla="*/ 0 h 298452"/>
                  <a:gd name="connsiteX74" fmla="*/ 180190 w 298452"/>
                  <a:gd name="connsiteY74" fmla="*/ 15006 h 298452"/>
                  <a:gd name="connsiteX75" fmla="*/ 185911 w 298452"/>
                  <a:gd name="connsiteY75" fmla="*/ 43593 h 298452"/>
                  <a:gd name="connsiteX76" fmla="*/ 197959 w 298452"/>
                  <a:gd name="connsiteY76" fmla="*/ 48595 h 298452"/>
                  <a:gd name="connsiteX77" fmla="*/ 222250 w 298452"/>
                  <a:gd name="connsiteY77" fmla="*/ 32415 h 298452"/>
                  <a:gd name="connsiteX78" fmla="*/ 232572 w 298452"/>
                  <a:gd name="connsiteY78" fmla="*/ 29279 h 298452"/>
                  <a:gd name="connsiteX79" fmla="*/ 245767 w 298452"/>
                  <a:gd name="connsiteY79" fmla="*/ 34737 h 298452"/>
                  <a:gd name="connsiteX80" fmla="*/ 263716 w 298452"/>
                  <a:gd name="connsiteY80" fmla="*/ 52685 h 298452"/>
                  <a:gd name="connsiteX81" fmla="*/ 266051 w 298452"/>
                  <a:gd name="connsiteY81" fmla="*/ 76216 h 298452"/>
                  <a:gd name="connsiteX82" fmla="*/ 249857 w 298452"/>
                  <a:gd name="connsiteY82" fmla="*/ 100507 h 298452"/>
                  <a:gd name="connsiteX83" fmla="*/ 254859 w 298452"/>
                  <a:gd name="connsiteY83" fmla="*/ 112528 h 298452"/>
                  <a:gd name="connsiteX84" fmla="*/ 283447 w 298452"/>
                  <a:gd name="connsiteY84" fmla="*/ 118248 h 298452"/>
                  <a:gd name="connsiteX85" fmla="*/ 298452 w 298452"/>
                  <a:gd name="connsiteY85" fmla="*/ 136542 h 298452"/>
                  <a:gd name="connsiteX86" fmla="*/ 298452 w 298452"/>
                  <a:gd name="connsiteY86" fmla="*/ 161924 h 298452"/>
                  <a:gd name="connsiteX87" fmla="*/ 283447 w 298452"/>
                  <a:gd name="connsiteY87" fmla="*/ 180218 h 298452"/>
                  <a:gd name="connsiteX88" fmla="*/ 254859 w 298452"/>
                  <a:gd name="connsiteY88" fmla="*/ 185925 h 298452"/>
                  <a:gd name="connsiteX89" fmla="*/ 249857 w 298452"/>
                  <a:gd name="connsiteY89" fmla="*/ 197959 h 298452"/>
                  <a:gd name="connsiteX90" fmla="*/ 266051 w 298452"/>
                  <a:gd name="connsiteY90" fmla="*/ 222236 h 298452"/>
                  <a:gd name="connsiteX91" fmla="*/ 263716 w 298452"/>
                  <a:gd name="connsiteY91" fmla="*/ 245781 h 298452"/>
                  <a:gd name="connsiteX92" fmla="*/ 245767 w 298452"/>
                  <a:gd name="connsiteY92" fmla="*/ 263716 h 298452"/>
                  <a:gd name="connsiteX93" fmla="*/ 232572 w 298452"/>
                  <a:gd name="connsiteY93" fmla="*/ 269187 h 298452"/>
                  <a:gd name="connsiteX94" fmla="*/ 222250 w 298452"/>
                  <a:gd name="connsiteY94" fmla="*/ 266051 h 298452"/>
                  <a:gd name="connsiteX95" fmla="*/ 197959 w 298452"/>
                  <a:gd name="connsiteY95" fmla="*/ 249857 h 298452"/>
                  <a:gd name="connsiteX96" fmla="*/ 185938 w 298452"/>
                  <a:gd name="connsiteY96" fmla="*/ 254873 h 298452"/>
                  <a:gd name="connsiteX97" fmla="*/ 180190 w 298452"/>
                  <a:gd name="connsiteY97" fmla="*/ 283460 h 298452"/>
                  <a:gd name="connsiteX98" fmla="*/ 161910 w 298452"/>
                  <a:gd name="connsiteY98" fmla="*/ 298452 h 298452"/>
                  <a:gd name="connsiteX99" fmla="*/ 136528 w 298452"/>
                  <a:gd name="connsiteY99" fmla="*/ 298452 h 298452"/>
                  <a:gd name="connsiteX100" fmla="*/ 118248 w 298452"/>
                  <a:gd name="connsiteY100" fmla="*/ 283460 h 298452"/>
                  <a:gd name="connsiteX101" fmla="*/ 112528 w 298452"/>
                  <a:gd name="connsiteY101" fmla="*/ 254873 h 298452"/>
                  <a:gd name="connsiteX102" fmla="*/ 100507 w 298452"/>
                  <a:gd name="connsiteY102" fmla="*/ 249857 h 298452"/>
                  <a:gd name="connsiteX103" fmla="*/ 76216 w 298452"/>
                  <a:gd name="connsiteY103" fmla="*/ 266051 h 298452"/>
                  <a:gd name="connsiteX104" fmla="*/ 65881 w 298452"/>
                  <a:gd name="connsiteY104" fmla="*/ 269187 h 298452"/>
                  <a:gd name="connsiteX105" fmla="*/ 52685 w 298452"/>
                  <a:gd name="connsiteY105" fmla="*/ 263716 h 298452"/>
                  <a:gd name="connsiteX106" fmla="*/ 34737 w 298452"/>
                  <a:gd name="connsiteY106" fmla="*/ 245781 h 298452"/>
                  <a:gd name="connsiteX107" fmla="*/ 32401 w 298452"/>
                  <a:gd name="connsiteY107" fmla="*/ 222236 h 298452"/>
                  <a:gd name="connsiteX108" fmla="*/ 48595 w 298452"/>
                  <a:gd name="connsiteY108" fmla="*/ 197959 h 298452"/>
                  <a:gd name="connsiteX109" fmla="*/ 43593 w 298452"/>
                  <a:gd name="connsiteY109" fmla="*/ 185938 h 298452"/>
                  <a:gd name="connsiteX110" fmla="*/ 15006 w 298452"/>
                  <a:gd name="connsiteY110" fmla="*/ 180218 h 298452"/>
                  <a:gd name="connsiteX111" fmla="*/ 0 w 298452"/>
                  <a:gd name="connsiteY111" fmla="*/ 161924 h 298452"/>
                  <a:gd name="connsiteX112" fmla="*/ 0 w 298452"/>
                  <a:gd name="connsiteY112" fmla="*/ 136542 h 298452"/>
                  <a:gd name="connsiteX113" fmla="*/ 15006 w 298452"/>
                  <a:gd name="connsiteY113" fmla="*/ 118248 h 298452"/>
                  <a:gd name="connsiteX114" fmla="*/ 43593 w 298452"/>
                  <a:gd name="connsiteY114" fmla="*/ 112528 h 298452"/>
                  <a:gd name="connsiteX115" fmla="*/ 48595 w 298452"/>
                  <a:gd name="connsiteY115" fmla="*/ 100507 h 298452"/>
                  <a:gd name="connsiteX116" fmla="*/ 32401 w 298452"/>
                  <a:gd name="connsiteY116" fmla="*/ 76216 h 298452"/>
                  <a:gd name="connsiteX117" fmla="*/ 34737 w 298452"/>
                  <a:gd name="connsiteY117" fmla="*/ 52685 h 298452"/>
                  <a:gd name="connsiteX118" fmla="*/ 52685 w 298452"/>
                  <a:gd name="connsiteY118" fmla="*/ 34737 h 298452"/>
                  <a:gd name="connsiteX119" fmla="*/ 65881 w 298452"/>
                  <a:gd name="connsiteY119" fmla="*/ 29279 h 298452"/>
                  <a:gd name="connsiteX120" fmla="*/ 76216 w 298452"/>
                  <a:gd name="connsiteY120" fmla="*/ 32415 h 298452"/>
                  <a:gd name="connsiteX121" fmla="*/ 100507 w 298452"/>
                  <a:gd name="connsiteY121" fmla="*/ 48595 h 298452"/>
                  <a:gd name="connsiteX122" fmla="*/ 112528 w 298452"/>
                  <a:gd name="connsiteY122" fmla="*/ 43593 h 298452"/>
                  <a:gd name="connsiteX123" fmla="*/ 118248 w 298452"/>
                  <a:gd name="connsiteY123" fmla="*/ 15006 h 298452"/>
                  <a:gd name="connsiteX124" fmla="*/ 136528 w 298452"/>
                  <a:gd name="connsiteY124" fmla="*/ 0 h 298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</a:cxnLst>
                <a:rect l="l" t="t" r="r" b="b"/>
                <a:pathLst>
                  <a:path w="298452" h="298452">
                    <a:moveTo>
                      <a:pt x="149221" y="121246"/>
                    </a:moveTo>
                    <a:cubicBezTo>
                      <a:pt x="133773" y="121246"/>
                      <a:pt x="121241" y="133782"/>
                      <a:pt x="121241" y="149226"/>
                    </a:cubicBezTo>
                    <a:cubicBezTo>
                      <a:pt x="121241" y="164674"/>
                      <a:pt x="133773" y="177206"/>
                      <a:pt x="149221" y="177206"/>
                    </a:cubicBezTo>
                    <a:cubicBezTo>
                      <a:pt x="164668" y="177206"/>
                      <a:pt x="177200" y="164674"/>
                      <a:pt x="177200" y="149226"/>
                    </a:cubicBezTo>
                    <a:cubicBezTo>
                      <a:pt x="177200" y="133782"/>
                      <a:pt x="164668" y="121246"/>
                      <a:pt x="149221" y="121246"/>
                    </a:cubicBezTo>
                    <a:close/>
                    <a:moveTo>
                      <a:pt x="149221" y="111919"/>
                    </a:moveTo>
                    <a:cubicBezTo>
                      <a:pt x="169821" y="111919"/>
                      <a:pt x="186526" y="128614"/>
                      <a:pt x="186526" y="149226"/>
                    </a:cubicBezTo>
                    <a:cubicBezTo>
                      <a:pt x="186526" y="169838"/>
                      <a:pt x="169821" y="186533"/>
                      <a:pt x="149221" y="186533"/>
                    </a:cubicBezTo>
                    <a:cubicBezTo>
                      <a:pt x="128599" y="186533"/>
                      <a:pt x="111915" y="169838"/>
                      <a:pt x="111915" y="149226"/>
                    </a:cubicBezTo>
                    <a:cubicBezTo>
                      <a:pt x="111915" y="128614"/>
                      <a:pt x="128599" y="111919"/>
                      <a:pt x="149221" y="111919"/>
                    </a:cubicBezTo>
                    <a:close/>
                    <a:moveTo>
                      <a:pt x="149221" y="92100"/>
                    </a:moveTo>
                    <a:cubicBezTo>
                      <a:pt x="117672" y="92100"/>
                      <a:pt x="92097" y="117683"/>
                      <a:pt x="92097" y="149226"/>
                    </a:cubicBezTo>
                    <a:cubicBezTo>
                      <a:pt x="92097" y="180769"/>
                      <a:pt x="117672" y="206351"/>
                      <a:pt x="149221" y="206351"/>
                    </a:cubicBezTo>
                    <a:cubicBezTo>
                      <a:pt x="180751" y="206351"/>
                      <a:pt x="206345" y="180769"/>
                      <a:pt x="206345" y="149226"/>
                    </a:cubicBezTo>
                    <a:cubicBezTo>
                      <a:pt x="206345" y="117683"/>
                      <a:pt x="180751" y="92100"/>
                      <a:pt x="149221" y="92100"/>
                    </a:cubicBezTo>
                    <a:close/>
                    <a:moveTo>
                      <a:pt x="149221" y="83939"/>
                    </a:moveTo>
                    <a:cubicBezTo>
                      <a:pt x="185266" y="83939"/>
                      <a:pt x="214505" y="113173"/>
                      <a:pt x="214505" y="149226"/>
                    </a:cubicBezTo>
                    <a:cubicBezTo>
                      <a:pt x="214505" y="185278"/>
                      <a:pt x="185266" y="214512"/>
                      <a:pt x="149221" y="214512"/>
                    </a:cubicBezTo>
                    <a:cubicBezTo>
                      <a:pt x="113169" y="214512"/>
                      <a:pt x="83936" y="185278"/>
                      <a:pt x="83936" y="149226"/>
                    </a:cubicBezTo>
                    <a:cubicBezTo>
                      <a:pt x="83936" y="113173"/>
                      <a:pt x="113169" y="83939"/>
                      <a:pt x="149221" y="83939"/>
                    </a:cubicBezTo>
                    <a:close/>
                    <a:moveTo>
                      <a:pt x="161910" y="18653"/>
                    </a:moveTo>
                    <a:lnTo>
                      <a:pt x="136528" y="18667"/>
                    </a:lnTo>
                    <a:lnTo>
                      <a:pt x="130822" y="47255"/>
                    </a:lnTo>
                    <a:cubicBezTo>
                      <a:pt x="129523" y="53735"/>
                      <a:pt x="124894" y="59041"/>
                      <a:pt x="118649" y="61210"/>
                    </a:cubicBezTo>
                    <a:cubicBezTo>
                      <a:pt x="115208" y="62413"/>
                      <a:pt x="111850" y="63822"/>
                      <a:pt x="108631" y="65397"/>
                    </a:cubicBezTo>
                    <a:cubicBezTo>
                      <a:pt x="106047" y="66627"/>
                      <a:pt x="103270" y="67249"/>
                      <a:pt x="100507" y="67249"/>
                    </a:cubicBezTo>
                    <a:cubicBezTo>
                      <a:pt x="96873" y="67249"/>
                      <a:pt x="93266" y="66198"/>
                      <a:pt x="90157" y="64112"/>
                    </a:cubicBezTo>
                    <a:lnTo>
                      <a:pt x="65867" y="47932"/>
                    </a:lnTo>
                    <a:lnTo>
                      <a:pt x="47918" y="65881"/>
                    </a:lnTo>
                    <a:lnTo>
                      <a:pt x="64112" y="90158"/>
                    </a:lnTo>
                    <a:cubicBezTo>
                      <a:pt x="67774" y="95657"/>
                      <a:pt x="68257" y="102690"/>
                      <a:pt x="65369" y="108631"/>
                    </a:cubicBezTo>
                    <a:cubicBezTo>
                      <a:pt x="63794" y="111878"/>
                      <a:pt x="62412" y="115222"/>
                      <a:pt x="61210" y="118662"/>
                    </a:cubicBezTo>
                    <a:cubicBezTo>
                      <a:pt x="59041" y="124908"/>
                      <a:pt x="53721" y="129537"/>
                      <a:pt x="47255" y="130822"/>
                    </a:cubicBezTo>
                    <a:lnTo>
                      <a:pt x="18653" y="136542"/>
                    </a:lnTo>
                    <a:lnTo>
                      <a:pt x="18667" y="161924"/>
                    </a:lnTo>
                    <a:lnTo>
                      <a:pt x="47255" y="167644"/>
                    </a:lnTo>
                    <a:cubicBezTo>
                      <a:pt x="53721" y="168943"/>
                      <a:pt x="59041" y="173572"/>
                      <a:pt x="61210" y="179817"/>
                    </a:cubicBezTo>
                    <a:cubicBezTo>
                      <a:pt x="62412" y="183258"/>
                      <a:pt x="63822" y="186602"/>
                      <a:pt x="65383" y="189835"/>
                    </a:cubicBezTo>
                    <a:cubicBezTo>
                      <a:pt x="68257" y="195790"/>
                      <a:pt x="67774" y="202809"/>
                      <a:pt x="64112" y="208295"/>
                    </a:cubicBezTo>
                    <a:lnTo>
                      <a:pt x="47918" y="232585"/>
                    </a:lnTo>
                    <a:lnTo>
                      <a:pt x="65867" y="250534"/>
                    </a:lnTo>
                    <a:lnTo>
                      <a:pt x="90157" y="234340"/>
                    </a:lnTo>
                    <a:cubicBezTo>
                      <a:pt x="93266" y="232268"/>
                      <a:pt x="96873" y="231204"/>
                      <a:pt x="100507" y="231204"/>
                    </a:cubicBezTo>
                    <a:cubicBezTo>
                      <a:pt x="103270" y="231204"/>
                      <a:pt x="106047" y="231825"/>
                      <a:pt x="108631" y="233083"/>
                    </a:cubicBezTo>
                    <a:cubicBezTo>
                      <a:pt x="111864" y="234658"/>
                      <a:pt x="115222" y="236054"/>
                      <a:pt x="118662" y="237256"/>
                    </a:cubicBezTo>
                    <a:cubicBezTo>
                      <a:pt x="124894" y="239411"/>
                      <a:pt x="129523" y="244731"/>
                      <a:pt x="130822" y="251211"/>
                    </a:cubicBezTo>
                    <a:lnTo>
                      <a:pt x="136528" y="279799"/>
                    </a:lnTo>
                    <a:lnTo>
                      <a:pt x="161910" y="279799"/>
                    </a:lnTo>
                    <a:lnTo>
                      <a:pt x="167644" y="251211"/>
                    </a:lnTo>
                    <a:cubicBezTo>
                      <a:pt x="168943" y="244731"/>
                      <a:pt x="173572" y="239411"/>
                      <a:pt x="179790" y="237256"/>
                    </a:cubicBezTo>
                    <a:cubicBezTo>
                      <a:pt x="183258" y="236054"/>
                      <a:pt x="186588" y="234644"/>
                      <a:pt x="189835" y="233069"/>
                    </a:cubicBezTo>
                    <a:cubicBezTo>
                      <a:pt x="192405" y="231825"/>
                      <a:pt x="195182" y="231204"/>
                      <a:pt x="197959" y="231204"/>
                    </a:cubicBezTo>
                    <a:cubicBezTo>
                      <a:pt x="201580" y="231204"/>
                      <a:pt x="205186" y="232268"/>
                      <a:pt x="208309" y="234340"/>
                    </a:cubicBezTo>
                    <a:lnTo>
                      <a:pt x="232585" y="250534"/>
                    </a:lnTo>
                    <a:lnTo>
                      <a:pt x="250520" y="232585"/>
                    </a:lnTo>
                    <a:lnTo>
                      <a:pt x="234326" y="208295"/>
                    </a:lnTo>
                    <a:cubicBezTo>
                      <a:pt x="230665" y="202809"/>
                      <a:pt x="230181" y="195776"/>
                      <a:pt x="233083" y="189821"/>
                    </a:cubicBezTo>
                    <a:cubicBezTo>
                      <a:pt x="234644" y="186574"/>
                      <a:pt x="236040" y="183244"/>
                      <a:pt x="237242" y="179804"/>
                    </a:cubicBezTo>
                    <a:cubicBezTo>
                      <a:pt x="239411" y="173558"/>
                      <a:pt x="244717" y="168929"/>
                      <a:pt x="251197" y="167644"/>
                    </a:cubicBezTo>
                    <a:cubicBezTo>
                      <a:pt x="251197" y="167644"/>
                      <a:pt x="279799" y="161924"/>
                      <a:pt x="279799" y="161924"/>
                    </a:cubicBezTo>
                    <a:lnTo>
                      <a:pt x="279785" y="136542"/>
                    </a:lnTo>
                    <a:lnTo>
                      <a:pt x="251197" y="130808"/>
                    </a:lnTo>
                    <a:cubicBezTo>
                      <a:pt x="244717" y="129523"/>
                      <a:pt x="239411" y="124894"/>
                      <a:pt x="237242" y="118649"/>
                    </a:cubicBezTo>
                    <a:cubicBezTo>
                      <a:pt x="236040" y="115208"/>
                      <a:pt x="234630" y="111864"/>
                      <a:pt x="233055" y="108631"/>
                    </a:cubicBezTo>
                    <a:cubicBezTo>
                      <a:pt x="230195" y="102676"/>
                      <a:pt x="230665" y="95657"/>
                      <a:pt x="234326" y="90158"/>
                    </a:cubicBezTo>
                    <a:lnTo>
                      <a:pt x="250520" y="65881"/>
                    </a:lnTo>
                    <a:lnTo>
                      <a:pt x="232585" y="47932"/>
                    </a:lnTo>
                    <a:lnTo>
                      <a:pt x="208309" y="64112"/>
                    </a:lnTo>
                    <a:cubicBezTo>
                      <a:pt x="205186" y="66198"/>
                      <a:pt x="201580" y="67249"/>
                      <a:pt x="197959" y="67249"/>
                    </a:cubicBezTo>
                    <a:cubicBezTo>
                      <a:pt x="195168" y="67249"/>
                      <a:pt x="192405" y="66627"/>
                      <a:pt x="189807" y="65383"/>
                    </a:cubicBezTo>
                    <a:cubicBezTo>
                      <a:pt x="186574" y="63808"/>
                      <a:pt x="183244" y="62413"/>
                      <a:pt x="179790" y="61210"/>
                    </a:cubicBezTo>
                    <a:cubicBezTo>
                      <a:pt x="173544" y="59041"/>
                      <a:pt x="168916" y="53735"/>
                      <a:pt x="167631" y="47255"/>
                    </a:cubicBezTo>
                    <a:close/>
                    <a:moveTo>
                      <a:pt x="136528" y="0"/>
                    </a:moveTo>
                    <a:lnTo>
                      <a:pt x="161910" y="0"/>
                    </a:lnTo>
                    <a:cubicBezTo>
                      <a:pt x="170795" y="0"/>
                      <a:pt x="178463" y="6287"/>
                      <a:pt x="180190" y="15006"/>
                    </a:cubicBezTo>
                    <a:lnTo>
                      <a:pt x="185911" y="43593"/>
                    </a:lnTo>
                    <a:cubicBezTo>
                      <a:pt x="190056" y="45030"/>
                      <a:pt x="194063" y="46716"/>
                      <a:pt x="197959" y="48595"/>
                    </a:cubicBezTo>
                    <a:lnTo>
                      <a:pt x="222250" y="32415"/>
                    </a:lnTo>
                    <a:cubicBezTo>
                      <a:pt x="225387" y="30301"/>
                      <a:pt x="228993" y="29279"/>
                      <a:pt x="232572" y="29279"/>
                    </a:cubicBezTo>
                    <a:cubicBezTo>
                      <a:pt x="237408" y="29279"/>
                      <a:pt x="242161" y="31130"/>
                      <a:pt x="245767" y="34737"/>
                    </a:cubicBezTo>
                    <a:lnTo>
                      <a:pt x="263716" y="52685"/>
                    </a:lnTo>
                    <a:cubicBezTo>
                      <a:pt x="270002" y="58972"/>
                      <a:pt x="270983" y="68824"/>
                      <a:pt x="266051" y="76216"/>
                    </a:cubicBezTo>
                    <a:lnTo>
                      <a:pt x="249857" y="100507"/>
                    </a:lnTo>
                    <a:cubicBezTo>
                      <a:pt x="251722" y="104389"/>
                      <a:pt x="253422" y="108382"/>
                      <a:pt x="254859" y="112528"/>
                    </a:cubicBezTo>
                    <a:lnTo>
                      <a:pt x="283447" y="118248"/>
                    </a:lnTo>
                    <a:cubicBezTo>
                      <a:pt x="292165" y="120003"/>
                      <a:pt x="298452" y="127657"/>
                      <a:pt x="298452" y="136542"/>
                    </a:cubicBezTo>
                    <a:lnTo>
                      <a:pt x="298452" y="161924"/>
                    </a:lnTo>
                    <a:cubicBezTo>
                      <a:pt x="298452" y="170809"/>
                      <a:pt x="292165" y="178463"/>
                      <a:pt x="283447" y="180218"/>
                    </a:cubicBezTo>
                    <a:lnTo>
                      <a:pt x="254859" y="185925"/>
                    </a:lnTo>
                    <a:cubicBezTo>
                      <a:pt x="253422" y="190056"/>
                      <a:pt x="251750" y="194063"/>
                      <a:pt x="249857" y="197959"/>
                    </a:cubicBezTo>
                    <a:lnTo>
                      <a:pt x="266051" y="222236"/>
                    </a:lnTo>
                    <a:cubicBezTo>
                      <a:pt x="270983" y="229629"/>
                      <a:pt x="270002" y="239494"/>
                      <a:pt x="263716" y="245781"/>
                    </a:cubicBezTo>
                    <a:lnTo>
                      <a:pt x="245767" y="263716"/>
                    </a:lnTo>
                    <a:cubicBezTo>
                      <a:pt x="242161" y="267322"/>
                      <a:pt x="237408" y="269187"/>
                      <a:pt x="232572" y="269187"/>
                    </a:cubicBezTo>
                    <a:cubicBezTo>
                      <a:pt x="228993" y="269187"/>
                      <a:pt x="225387" y="268151"/>
                      <a:pt x="222250" y="266051"/>
                    </a:cubicBezTo>
                    <a:lnTo>
                      <a:pt x="197959" y="249857"/>
                    </a:lnTo>
                    <a:cubicBezTo>
                      <a:pt x="194077" y="251750"/>
                      <a:pt x="190070" y="253422"/>
                      <a:pt x="185938" y="254873"/>
                    </a:cubicBezTo>
                    <a:lnTo>
                      <a:pt x="180190" y="283460"/>
                    </a:lnTo>
                    <a:cubicBezTo>
                      <a:pt x="178463" y="292193"/>
                      <a:pt x="170795" y="298452"/>
                      <a:pt x="161910" y="298452"/>
                    </a:cubicBezTo>
                    <a:lnTo>
                      <a:pt x="136528" y="298452"/>
                    </a:lnTo>
                    <a:cubicBezTo>
                      <a:pt x="127644" y="298452"/>
                      <a:pt x="119989" y="292193"/>
                      <a:pt x="118248" y="283460"/>
                    </a:cubicBezTo>
                    <a:lnTo>
                      <a:pt x="112528" y="254873"/>
                    </a:lnTo>
                    <a:cubicBezTo>
                      <a:pt x="108382" y="253422"/>
                      <a:pt x="104389" y="251750"/>
                      <a:pt x="100507" y="249857"/>
                    </a:cubicBezTo>
                    <a:lnTo>
                      <a:pt x="76216" y="266051"/>
                    </a:lnTo>
                    <a:cubicBezTo>
                      <a:pt x="73066" y="268151"/>
                      <a:pt x="69459" y="269187"/>
                      <a:pt x="65881" y="269187"/>
                    </a:cubicBezTo>
                    <a:cubicBezTo>
                      <a:pt x="61058" y="269187"/>
                      <a:pt x="56291" y="267322"/>
                      <a:pt x="52685" y="263716"/>
                    </a:cubicBezTo>
                    <a:lnTo>
                      <a:pt x="34737" y="245781"/>
                    </a:lnTo>
                    <a:cubicBezTo>
                      <a:pt x="28450" y="239494"/>
                      <a:pt x="27469" y="229629"/>
                      <a:pt x="32401" y="222236"/>
                    </a:cubicBezTo>
                    <a:lnTo>
                      <a:pt x="48595" y="197959"/>
                    </a:lnTo>
                    <a:cubicBezTo>
                      <a:pt x="46716" y="194077"/>
                      <a:pt x="45030" y="190070"/>
                      <a:pt x="43593" y="185938"/>
                    </a:cubicBezTo>
                    <a:lnTo>
                      <a:pt x="15006" y="180218"/>
                    </a:lnTo>
                    <a:cubicBezTo>
                      <a:pt x="6273" y="178463"/>
                      <a:pt x="0" y="170809"/>
                      <a:pt x="0" y="161924"/>
                    </a:cubicBezTo>
                    <a:lnTo>
                      <a:pt x="0" y="136542"/>
                    </a:lnTo>
                    <a:cubicBezTo>
                      <a:pt x="0" y="127657"/>
                      <a:pt x="6273" y="120003"/>
                      <a:pt x="15006" y="118248"/>
                    </a:cubicBezTo>
                    <a:lnTo>
                      <a:pt x="43593" y="112528"/>
                    </a:lnTo>
                    <a:cubicBezTo>
                      <a:pt x="45030" y="108396"/>
                      <a:pt x="46702" y="104389"/>
                      <a:pt x="48595" y="100507"/>
                    </a:cubicBezTo>
                    <a:lnTo>
                      <a:pt x="32401" y="76216"/>
                    </a:lnTo>
                    <a:cubicBezTo>
                      <a:pt x="27469" y="68824"/>
                      <a:pt x="28450" y="58972"/>
                      <a:pt x="34737" y="52685"/>
                    </a:cubicBezTo>
                    <a:lnTo>
                      <a:pt x="52685" y="34737"/>
                    </a:lnTo>
                    <a:cubicBezTo>
                      <a:pt x="56291" y="31130"/>
                      <a:pt x="61058" y="29279"/>
                      <a:pt x="65881" y="29279"/>
                    </a:cubicBezTo>
                    <a:cubicBezTo>
                      <a:pt x="69459" y="29279"/>
                      <a:pt x="73052" y="30301"/>
                      <a:pt x="76216" y="32415"/>
                    </a:cubicBezTo>
                    <a:lnTo>
                      <a:pt x="100507" y="48595"/>
                    </a:lnTo>
                    <a:cubicBezTo>
                      <a:pt x="104389" y="46716"/>
                      <a:pt x="108382" y="45030"/>
                      <a:pt x="112528" y="43593"/>
                    </a:cubicBezTo>
                    <a:lnTo>
                      <a:pt x="118248" y="15006"/>
                    </a:lnTo>
                    <a:cubicBezTo>
                      <a:pt x="119989" y="6287"/>
                      <a:pt x="127644" y="0"/>
                      <a:pt x="136528" y="0"/>
                    </a:cubicBezTo>
                    <a:close/>
                  </a:path>
                </a:pathLst>
              </a:custGeom>
              <a:solidFill>
                <a:schemeClr val="accent1">
                  <a:lumMod val="10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anchor="ctr"/>
              <a:lstStyle/>
              <a:p>
                <a:pPr algn="ctr"/>
                <a:endParaRPr/>
              </a:p>
            </p:txBody>
          </p:sp>
          <p:grpSp>
            <p:nvGrpSpPr>
              <p:cNvPr id="59" name="îṥlîďé">
                <a:extLst>
                  <a:ext uri="{FF2B5EF4-FFF2-40B4-BE49-F238E27FC236}">
                    <a16:creationId xmlns:a16="http://schemas.microsoft.com/office/drawing/2014/main" id="{8CC8AD8E-1FE2-425C-AFB1-DA6EF2E6FC2F}"/>
                  </a:ext>
                </a:extLst>
              </p:cNvPr>
              <p:cNvGrpSpPr/>
              <p:nvPr/>
            </p:nvGrpSpPr>
            <p:grpSpPr>
              <a:xfrm>
                <a:off x="886465" y="2731985"/>
                <a:ext cx="1914278" cy="1039106"/>
                <a:chOff x="4601215" y="1415695"/>
                <a:chExt cx="1914278" cy="1039106"/>
              </a:xfrm>
            </p:grpSpPr>
            <p:sp>
              <p:nvSpPr>
                <p:cNvPr id="60" name="ïṧľíḋè">
                  <a:extLst>
                    <a:ext uri="{FF2B5EF4-FFF2-40B4-BE49-F238E27FC236}">
                      <a16:creationId xmlns:a16="http://schemas.microsoft.com/office/drawing/2014/main" id="{C1D18742-2628-433A-ADA8-405AE6653EEA}"/>
                    </a:ext>
                  </a:extLst>
                </p:cNvPr>
                <p:cNvSpPr/>
                <p:nvPr/>
              </p:nvSpPr>
              <p:spPr>
                <a:xfrm>
                  <a:off x="4601215" y="1415695"/>
                  <a:ext cx="1914278" cy="391664"/>
                </a:xfrm>
                <a:prstGeom prst="rect">
                  <a:avLst/>
                </a:prstGeom>
              </p:spPr>
              <p:txBody>
                <a:bodyPr wrap="none" lIns="90000" tIns="46800" rIns="90000" bIns="46800" anchor="b" anchorCtr="0">
                  <a:normAutofit/>
                </a:bodyPr>
                <a:lstStyle/>
                <a:p>
                  <a:r>
                    <a:rPr lang="zh-CN" altLang="en-US" sz="1400" b="1" dirty="0">
                      <a:effectLst/>
                    </a:rPr>
                    <a:t>模型</a:t>
                  </a:r>
                  <a:r>
                    <a:rPr lang="zh-CN" altLang="en-US" sz="1400" b="1" dirty="0"/>
                    <a:t>搭建</a:t>
                  </a:r>
                  <a:endParaRPr lang="zh-CN" altLang="en-US" sz="1400" b="1" dirty="0">
                    <a:effectLst/>
                  </a:endParaRPr>
                </a:p>
              </p:txBody>
            </p:sp>
            <p:sp>
              <p:nvSpPr>
                <p:cNvPr id="61" name="îṡḷiḋè">
                  <a:extLst>
                    <a:ext uri="{FF2B5EF4-FFF2-40B4-BE49-F238E27FC236}">
                      <a16:creationId xmlns:a16="http://schemas.microsoft.com/office/drawing/2014/main" id="{0085BEE8-961A-4F65-A5BB-949ED5CFD487}"/>
                    </a:ext>
                  </a:extLst>
                </p:cNvPr>
                <p:cNvSpPr/>
                <p:nvPr/>
              </p:nvSpPr>
              <p:spPr>
                <a:xfrm>
                  <a:off x="4601215" y="1807358"/>
                  <a:ext cx="1914278" cy="647443"/>
                </a:xfrm>
                <a:prstGeom prst="rect">
                  <a:avLst/>
                </a:prstGeom>
              </p:spPr>
              <p:txBody>
                <a:bodyPr wrap="square" lIns="90000" tIns="46800" rIns="90000" bIns="46800">
                  <a:normAutofit lnSpcReduction="10000"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zh-CN" altLang="en-US" sz="1100" dirty="0"/>
                    <a:t>模型准备</a:t>
                  </a:r>
                  <a:endParaRPr lang="en-US" altLang="zh-CN" sz="1100" dirty="0"/>
                </a:p>
                <a:p>
                  <a:pPr>
                    <a:lnSpc>
                      <a:spcPct val="120000"/>
                    </a:lnSpc>
                  </a:pPr>
                  <a:r>
                    <a:rPr lang="zh-CN" altLang="en-US" sz="1100" dirty="0"/>
                    <a:t>业务理解</a:t>
                  </a:r>
                  <a:endParaRPr lang="en-US" altLang="zh-CN" sz="1100" dirty="0"/>
                </a:p>
                <a:p>
                  <a:pPr>
                    <a:lnSpc>
                      <a:spcPct val="120000"/>
                    </a:lnSpc>
                  </a:pPr>
                  <a:r>
                    <a:rPr lang="zh-CN" altLang="en-US" sz="1100" dirty="0"/>
                    <a:t>数据准备</a:t>
                  </a:r>
                  <a:endParaRPr lang="en-US" altLang="zh-CN" sz="1100" dirty="0"/>
                </a:p>
              </p:txBody>
            </p:sp>
          </p:grpSp>
        </p:grpSp>
        <p:sp>
          <p:nvSpPr>
            <p:cNvPr id="11" name="iṣlîḓè">
              <a:extLst>
                <a:ext uri="{FF2B5EF4-FFF2-40B4-BE49-F238E27FC236}">
                  <a16:creationId xmlns:a16="http://schemas.microsoft.com/office/drawing/2014/main" id="{9753934A-D695-4FD2-B6EF-86F464F9B595}"/>
                </a:ext>
              </a:extLst>
            </p:cNvPr>
            <p:cNvSpPr/>
            <p:nvPr/>
          </p:nvSpPr>
          <p:spPr>
            <a:xfrm>
              <a:off x="3051870" y="5114326"/>
              <a:ext cx="194470" cy="19446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381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" name="íṧḻïḋe">
              <a:extLst>
                <a:ext uri="{FF2B5EF4-FFF2-40B4-BE49-F238E27FC236}">
                  <a16:creationId xmlns:a16="http://schemas.microsoft.com/office/drawing/2014/main" id="{3A727400-7FCE-4B16-85DA-A6FA81023EE9}"/>
                </a:ext>
              </a:extLst>
            </p:cNvPr>
            <p:cNvSpPr txBox="1"/>
            <p:nvPr/>
          </p:nvSpPr>
          <p:spPr bwMode="auto">
            <a:xfrm>
              <a:off x="2689921" y="5302855"/>
              <a:ext cx="911225" cy="368110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/>
              <a:r>
                <a:rPr lang="en-US" altLang="zh-CN" sz="1200" dirty="0">
                  <a:effectLst/>
                </a:rPr>
                <a:t>2019.5.10</a:t>
              </a:r>
              <a:endParaRPr lang="zh-CN" altLang="en-US" sz="1200" dirty="0">
                <a:effectLst/>
              </a:endParaRPr>
            </a:p>
          </p:txBody>
        </p:sp>
        <p:grpSp>
          <p:nvGrpSpPr>
            <p:cNvPr id="13" name="íṩ1îdê">
              <a:extLst>
                <a:ext uri="{FF2B5EF4-FFF2-40B4-BE49-F238E27FC236}">
                  <a16:creationId xmlns:a16="http://schemas.microsoft.com/office/drawing/2014/main" id="{4BB54760-7834-406C-B5F6-001F2D79F1CA}"/>
                </a:ext>
              </a:extLst>
            </p:cNvPr>
            <p:cNvGrpSpPr/>
            <p:nvPr/>
          </p:nvGrpSpPr>
          <p:grpSpPr>
            <a:xfrm>
              <a:off x="3073844" y="2687633"/>
              <a:ext cx="1914278" cy="1397788"/>
              <a:chOff x="3066004" y="2421867"/>
              <a:chExt cx="1914278" cy="1397788"/>
            </a:xfrm>
          </p:grpSpPr>
          <p:sp>
            <p:nvSpPr>
              <p:cNvPr id="54" name="íṥľïḓè">
                <a:extLst>
                  <a:ext uri="{FF2B5EF4-FFF2-40B4-BE49-F238E27FC236}">
                    <a16:creationId xmlns:a16="http://schemas.microsoft.com/office/drawing/2014/main" id="{1EB48D98-74B4-4D52-B62D-3E0A91E13901}"/>
                  </a:ext>
                </a:extLst>
              </p:cNvPr>
              <p:cNvSpPr/>
              <p:nvPr/>
            </p:nvSpPr>
            <p:spPr>
              <a:xfrm>
                <a:off x="3142754" y="2421867"/>
                <a:ext cx="298452" cy="298452"/>
              </a:xfrm>
              <a:custGeom>
                <a:avLst/>
                <a:gdLst>
                  <a:gd name="connsiteX0" fmla="*/ 149221 w 298452"/>
                  <a:gd name="connsiteY0" fmla="*/ 121246 h 298452"/>
                  <a:gd name="connsiteX1" fmla="*/ 121241 w 298452"/>
                  <a:gd name="connsiteY1" fmla="*/ 149226 h 298452"/>
                  <a:gd name="connsiteX2" fmla="*/ 149221 w 298452"/>
                  <a:gd name="connsiteY2" fmla="*/ 177206 h 298452"/>
                  <a:gd name="connsiteX3" fmla="*/ 177200 w 298452"/>
                  <a:gd name="connsiteY3" fmla="*/ 149226 h 298452"/>
                  <a:gd name="connsiteX4" fmla="*/ 149221 w 298452"/>
                  <a:gd name="connsiteY4" fmla="*/ 121246 h 298452"/>
                  <a:gd name="connsiteX5" fmla="*/ 149221 w 298452"/>
                  <a:gd name="connsiteY5" fmla="*/ 111919 h 298452"/>
                  <a:gd name="connsiteX6" fmla="*/ 186526 w 298452"/>
                  <a:gd name="connsiteY6" fmla="*/ 149226 h 298452"/>
                  <a:gd name="connsiteX7" fmla="*/ 149221 w 298452"/>
                  <a:gd name="connsiteY7" fmla="*/ 186533 h 298452"/>
                  <a:gd name="connsiteX8" fmla="*/ 111915 w 298452"/>
                  <a:gd name="connsiteY8" fmla="*/ 149226 h 298452"/>
                  <a:gd name="connsiteX9" fmla="*/ 149221 w 298452"/>
                  <a:gd name="connsiteY9" fmla="*/ 111919 h 298452"/>
                  <a:gd name="connsiteX10" fmla="*/ 149221 w 298452"/>
                  <a:gd name="connsiteY10" fmla="*/ 92100 h 298452"/>
                  <a:gd name="connsiteX11" fmla="*/ 92097 w 298452"/>
                  <a:gd name="connsiteY11" fmla="*/ 149226 h 298452"/>
                  <a:gd name="connsiteX12" fmla="*/ 149221 w 298452"/>
                  <a:gd name="connsiteY12" fmla="*/ 206351 h 298452"/>
                  <a:gd name="connsiteX13" fmla="*/ 206345 w 298452"/>
                  <a:gd name="connsiteY13" fmla="*/ 149226 h 298452"/>
                  <a:gd name="connsiteX14" fmla="*/ 149221 w 298452"/>
                  <a:gd name="connsiteY14" fmla="*/ 92100 h 298452"/>
                  <a:gd name="connsiteX15" fmla="*/ 149221 w 298452"/>
                  <a:gd name="connsiteY15" fmla="*/ 83939 h 298452"/>
                  <a:gd name="connsiteX16" fmla="*/ 214505 w 298452"/>
                  <a:gd name="connsiteY16" fmla="*/ 149226 h 298452"/>
                  <a:gd name="connsiteX17" fmla="*/ 149221 w 298452"/>
                  <a:gd name="connsiteY17" fmla="*/ 214512 h 298452"/>
                  <a:gd name="connsiteX18" fmla="*/ 83936 w 298452"/>
                  <a:gd name="connsiteY18" fmla="*/ 149226 h 298452"/>
                  <a:gd name="connsiteX19" fmla="*/ 149221 w 298452"/>
                  <a:gd name="connsiteY19" fmla="*/ 83939 h 298452"/>
                  <a:gd name="connsiteX20" fmla="*/ 161910 w 298452"/>
                  <a:gd name="connsiteY20" fmla="*/ 18653 h 298452"/>
                  <a:gd name="connsiteX21" fmla="*/ 136528 w 298452"/>
                  <a:gd name="connsiteY21" fmla="*/ 18667 h 298452"/>
                  <a:gd name="connsiteX22" fmla="*/ 130822 w 298452"/>
                  <a:gd name="connsiteY22" fmla="*/ 47255 h 298452"/>
                  <a:gd name="connsiteX23" fmla="*/ 118649 w 298452"/>
                  <a:gd name="connsiteY23" fmla="*/ 61210 h 298452"/>
                  <a:gd name="connsiteX24" fmla="*/ 108631 w 298452"/>
                  <a:gd name="connsiteY24" fmla="*/ 65397 h 298452"/>
                  <a:gd name="connsiteX25" fmla="*/ 100507 w 298452"/>
                  <a:gd name="connsiteY25" fmla="*/ 67249 h 298452"/>
                  <a:gd name="connsiteX26" fmla="*/ 90157 w 298452"/>
                  <a:gd name="connsiteY26" fmla="*/ 64112 h 298452"/>
                  <a:gd name="connsiteX27" fmla="*/ 65867 w 298452"/>
                  <a:gd name="connsiteY27" fmla="*/ 47932 h 298452"/>
                  <a:gd name="connsiteX28" fmla="*/ 47918 w 298452"/>
                  <a:gd name="connsiteY28" fmla="*/ 65881 h 298452"/>
                  <a:gd name="connsiteX29" fmla="*/ 64112 w 298452"/>
                  <a:gd name="connsiteY29" fmla="*/ 90158 h 298452"/>
                  <a:gd name="connsiteX30" fmla="*/ 65369 w 298452"/>
                  <a:gd name="connsiteY30" fmla="*/ 108631 h 298452"/>
                  <a:gd name="connsiteX31" fmla="*/ 61210 w 298452"/>
                  <a:gd name="connsiteY31" fmla="*/ 118662 h 298452"/>
                  <a:gd name="connsiteX32" fmla="*/ 47255 w 298452"/>
                  <a:gd name="connsiteY32" fmla="*/ 130822 h 298452"/>
                  <a:gd name="connsiteX33" fmla="*/ 18653 w 298452"/>
                  <a:gd name="connsiteY33" fmla="*/ 136542 h 298452"/>
                  <a:gd name="connsiteX34" fmla="*/ 18667 w 298452"/>
                  <a:gd name="connsiteY34" fmla="*/ 161924 h 298452"/>
                  <a:gd name="connsiteX35" fmla="*/ 47255 w 298452"/>
                  <a:gd name="connsiteY35" fmla="*/ 167644 h 298452"/>
                  <a:gd name="connsiteX36" fmla="*/ 61210 w 298452"/>
                  <a:gd name="connsiteY36" fmla="*/ 179817 h 298452"/>
                  <a:gd name="connsiteX37" fmla="*/ 65383 w 298452"/>
                  <a:gd name="connsiteY37" fmla="*/ 189835 h 298452"/>
                  <a:gd name="connsiteX38" fmla="*/ 64112 w 298452"/>
                  <a:gd name="connsiteY38" fmla="*/ 208295 h 298452"/>
                  <a:gd name="connsiteX39" fmla="*/ 47918 w 298452"/>
                  <a:gd name="connsiteY39" fmla="*/ 232585 h 298452"/>
                  <a:gd name="connsiteX40" fmla="*/ 65867 w 298452"/>
                  <a:gd name="connsiteY40" fmla="*/ 250534 h 298452"/>
                  <a:gd name="connsiteX41" fmla="*/ 90157 w 298452"/>
                  <a:gd name="connsiteY41" fmla="*/ 234340 h 298452"/>
                  <a:gd name="connsiteX42" fmla="*/ 100507 w 298452"/>
                  <a:gd name="connsiteY42" fmla="*/ 231204 h 298452"/>
                  <a:gd name="connsiteX43" fmla="*/ 108631 w 298452"/>
                  <a:gd name="connsiteY43" fmla="*/ 233083 h 298452"/>
                  <a:gd name="connsiteX44" fmla="*/ 118662 w 298452"/>
                  <a:gd name="connsiteY44" fmla="*/ 237256 h 298452"/>
                  <a:gd name="connsiteX45" fmla="*/ 130822 w 298452"/>
                  <a:gd name="connsiteY45" fmla="*/ 251211 h 298452"/>
                  <a:gd name="connsiteX46" fmla="*/ 136528 w 298452"/>
                  <a:gd name="connsiteY46" fmla="*/ 279799 h 298452"/>
                  <a:gd name="connsiteX47" fmla="*/ 161910 w 298452"/>
                  <a:gd name="connsiteY47" fmla="*/ 279799 h 298452"/>
                  <a:gd name="connsiteX48" fmla="*/ 167644 w 298452"/>
                  <a:gd name="connsiteY48" fmla="*/ 251211 h 298452"/>
                  <a:gd name="connsiteX49" fmla="*/ 179790 w 298452"/>
                  <a:gd name="connsiteY49" fmla="*/ 237256 h 298452"/>
                  <a:gd name="connsiteX50" fmla="*/ 189835 w 298452"/>
                  <a:gd name="connsiteY50" fmla="*/ 233069 h 298452"/>
                  <a:gd name="connsiteX51" fmla="*/ 197959 w 298452"/>
                  <a:gd name="connsiteY51" fmla="*/ 231204 h 298452"/>
                  <a:gd name="connsiteX52" fmla="*/ 208309 w 298452"/>
                  <a:gd name="connsiteY52" fmla="*/ 234340 h 298452"/>
                  <a:gd name="connsiteX53" fmla="*/ 232585 w 298452"/>
                  <a:gd name="connsiteY53" fmla="*/ 250534 h 298452"/>
                  <a:gd name="connsiteX54" fmla="*/ 250520 w 298452"/>
                  <a:gd name="connsiteY54" fmla="*/ 232585 h 298452"/>
                  <a:gd name="connsiteX55" fmla="*/ 234326 w 298452"/>
                  <a:gd name="connsiteY55" fmla="*/ 208295 h 298452"/>
                  <a:gd name="connsiteX56" fmla="*/ 233083 w 298452"/>
                  <a:gd name="connsiteY56" fmla="*/ 189821 h 298452"/>
                  <a:gd name="connsiteX57" fmla="*/ 237242 w 298452"/>
                  <a:gd name="connsiteY57" fmla="*/ 179804 h 298452"/>
                  <a:gd name="connsiteX58" fmla="*/ 251197 w 298452"/>
                  <a:gd name="connsiteY58" fmla="*/ 167644 h 298452"/>
                  <a:gd name="connsiteX59" fmla="*/ 279799 w 298452"/>
                  <a:gd name="connsiteY59" fmla="*/ 161924 h 298452"/>
                  <a:gd name="connsiteX60" fmla="*/ 279785 w 298452"/>
                  <a:gd name="connsiteY60" fmla="*/ 136542 h 298452"/>
                  <a:gd name="connsiteX61" fmla="*/ 251197 w 298452"/>
                  <a:gd name="connsiteY61" fmla="*/ 130808 h 298452"/>
                  <a:gd name="connsiteX62" fmla="*/ 237242 w 298452"/>
                  <a:gd name="connsiteY62" fmla="*/ 118649 h 298452"/>
                  <a:gd name="connsiteX63" fmla="*/ 233055 w 298452"/>
                  <a:gd name="connsiteY63" fmla="*/ 108631 h 298452"/>
                  <a:gd name="connsiteX64" fmla="*/ 234326 w 298452"/>
                  <a:gd name="connsiteY64" fmla="*/ 90158 h 298452"/>
                  <a:gd name="connsiteX65" fmla="*/ 250520 w 298452"/>
                  <a:gd name="connsiteY65" fmla="*/ 65881 h 298452"/>
                  <a:gd name="connsiteX66" fmla="*/ 232585 w 298452"/>
                  <a:gd name="connsiteY66" fmla="*/ 47932 h 298452"/>
                  <a:gd name="connsiteX67" fmla="*/ 208309 w 298452"/>
                  <a:gd name="connsiteY67" fmla="*/ 64112 h 298452"/>
                  <a:gd name="connsiteX68" fmla="*/ 197959 w 298452"/>
                  <a:gd name="connsiteY68" fmla="*/ 67249 h 298452"/>
                  <a:gd name="connsiteX69" fmla="*/ 189807 w 298452"/>
                  <a:gd name="connsiteY69" fmla="*/ 65383 h 298452"/>
                  <a:gd name="connsiteX70" fmla="*/ 179790 w 298452"/>
                  <a:gd name="connsiteY70" fmla="*/ 61210 h 298452"/>
                  <a:gd name="connsiteX71" fmla="*/ 167631 w 298452"/>
                  <a:gd name="connsiteY71" fmla="*/ 47255 h 298452"/>
                  <a:gd name="connsiteX72" fmla="*/ 136528 w 298452"/>
                  <a:gd name="connsiteY72" fmla="*/ 0 h 298452"/>
                  <a:gd name="connsiteX73" fmla="*/ 161910 w 298452"/>
                  <a:gd name="connsiteY73" fmla="*/ 0 h 298452"/>
                  <a:gd name="connsiteX74" fmla="*/ 180190 w 298452"/>
                  <a:gd name="connsiteY74" fmla="*/ 15006 h 298452"/>
                  <a:gd name="connsiteX75" fmla="*/ 185911 w 298452"/>
                  <a:gd name="connsiteY75" fmla="*/ 43593 h 298452"/>
                  <a:gd name="connsiteX76" fmla="*/ 197959 w 298452"/>
                  <a:gd name="connsiteY76" fmla="*/ 48595 h 298452"/>
                  <a:gd name="connsiteX77" fmla="*/ 222250 w 298452"/>
                  <a:gd name="connsiteY77" fmla="*/ 32415 h 298452"/>
                  <a:gd name="connsiteX78" fmla="*/ 232572 w 298452"/>
                  <a:gd name="connsiteY78" fmla="*/ 29279 h 298452"/>
                  <a:gd name="connsiteX79" fmla="*/ 245767 w 298452"/>
                  <a:gd name="connsiteY79" fmla="*/ 34737 h 298452"/>
                  <a:gd name="connsiteX80" fmla="*/ 263716 w 298452"/>
                  <a:gd name="connsiteY80" fmla="*/ 52685 h 298452"/>
                  <a:gd name="connsiteX81" fmla="*/ 266051 w 298452"/>
                  <a:gd name="connsiteY81" fmla="*/ 76216 h 298452"/>
                  <a:gd name="connsiteX82" fmla="*/ 249857 w 298452"/>
                  <a:gd name="connsiteY82" fmla="*/ 100507 h 298452"/>
                  <a:gd name="connsiteX83" fmla="*/ 254859 w 298452"/>
                  <a:gd name="connsiteY83" fmla="*/ 112528 h 298452"/>
                  <a:gd name="connsiteX84" fmla="*/ 283447 w 298452"/>
                  <a:gd name="connsiteY84" fmla="*/ 118248 h 298452"/>
                  <a:gd name="connsiteX85" fmla="*/ 298452 w 298452"/>
                  <a:gd name="connsiteY85" fmla="*/ 136542 h 298452"/>
                  <a:gd name="connsiteX86" fmla="*/ 298452 w 298452"/>
                  <a:gd name="connsiteY86" fmla="*/ 161924 h 298452"/>
                  <a:gd name="connsiteX87" fmla="*/ 283447 w 298452"/>
                  <a:gd name="connsiteY87" fmla="*/ 180218 h 298452"/>
                  <a:gd name="connsiteX88" fmla="*/ 254859 w 298452"/>
                  <a:gd name="connsiteY88" fmla="*/ 185925 h 298452"/>
                  <a:gd name="connsiteX89" fmla="*/ 249857 w 298452"/>
                  <a:gd name="connsiteY89" fmla="*/ 197959 h 298452"/>
                  <a:gd name="connsiteX90" fmla="*/ 266051 w 298452"/>
                  <a:gd name="connsiteY90" fmla="*/ 222236 h 298452"/>
                  <a:gd name="connsiteX91" fmla="*/ 263716 w 298452"/>
                  <a:gd name="connsiteY91" fmla="*/ 245781 h 298452"/>
                  <a:gd name="connsiteX92" fmla="*/ 245767 w 298452"/>
                  <a:gd name="connsiteY92" fmla="*/ 263716 h 298452"/>
                  <a:gd name="connsiteX93" fmla="*/ 232572 w 298452"/>
                  <a:gd name="connsiteY93" fmla="*/ 269187 h 298452"/>
                  <a:gd name="connsiteX94" fmla="*/ 222250 w 298452"/>
                  <a:gd name="connsiteY94" fmla="*/ 266051 h 298452"/>
                  <a:gd name="connsiteX95" fmla="*/ 197959 w 298452"/>
                  <a:gd name="connsiteY95" fmla="*/ 249857 h 298452"/>
                  <a:gd name="connsiteX96" fmla="*/ 185938 w 298452"/>
                  <a:gd name="connsiteY96" fmla="*/ 254873 h 298452"/>
                  <a:gd name="connsiteX97" fmla="*/ 180190 w 298452"/>
                  <a:gd name="connsiteY97" fmla="*/ 283460 h 298452"/>
                  <a:gd name="connsiteX98" fmla="*/ 161910 w 298452"/>
                  <a:gd name="connsiteY98" fmla="*/ 298452 h 298452"/>
                  <a:gd name="connsiteX99" fmla="*/ 136528 w 298452"/>
                  <a:gd name="connsiteY99" fmla="*/ 298452 h 298452"/>
                  <a:gd name="connsiteX100" fmla="*/ 118248 w 298452"/>
                  <a:gd name="connsiteY100" fmla="*/ 283460 h 298452"/>
                  <a:gd name="connsiteX101" fmla="*/ 112528 w 298452"/>
                  <a:gd name="connsiteY101" fmla="*/ 254873 h 298452"/>
                  <a:gd name="connsiteX102" fmla="*/ 100507 w 298452"/>
                  <a:gd name="connsiteY102" fmla="*/ 249857 h 298452"/>
                  <a:gd name="connsiteX103" fmla="*/ 76216 w 298452"/>
                  <a:gd name="connsiteY103" fmla="*/ 266051 h 298452"/>
                  <a:gd name="connsiteX104" fmla="*/ 65881 w 298452"/>
                  <a:gd name="connsiteY104" fmla="*/ 269187 h 298452"/>
                  <a:gd name="connsiteX105" fmla="*/ 52685 w 298452"/>
                  <a:gd name="connsiteY105" fmla="*/ 263716 h 298452"/>
                  <a:gd name="connsiteX106" fmla="*/ 34737 w 298452"/>
                  <a:gd name="connsiteY106" fmla="*/ 245781 h 298452"/>
                  <a:gd name="connsiteX107" fmla="*/ 32401 w 298452"/>
                  <a:gd name="connsiteY107" fmla="*/ 222236 h 298452"/>
                  <a:gd name="connsiteX108" fmla="*/ 48595 w 298452"/>
                  <a:gd name="connsiteY108" fmla="*/ 197959 h 298452"/>
                  <a:gd name="connsiteX109" fmla="*/ 43593 w 298452"/>
                  <a:gd name="connsiteY109" fmla="*/ 185938 h 298452"/>
                  <a:gd name="connsiteX110" fmla="*/ 15006 w 298452"/>
                  <a:gd name="connsiteY110" fmla="*/ 180218 h 298452"/>
                  <a:gd name="connsiteX111" fmla="*/ 0 w 298452"/>
                  <a:gd name="connsiteY111" fmla="*/ 161924 h 298452"/>
                  <a:gd name="connsiteX112" fmla="*/ 0 w 298452"/>
                  <a:gd name="connsiteY112" fmla="*/ 136542 h 298452"/>
                  <a:gd name="connsiteX113" fmla="*/ 15006 w 298452"/>
                  <a:gd name="connsiteY113" fmla="*/ 118248 h 298452"/>
                  <a:gd name="connsiteX114" fmla="*/ 43593 w 298452"/>
                  <a:gd name="connsiteY114" fmla="*/ 112528 h 298452"/>
                  <a:gd name="connsiteX115" fmla="*/ 48595 w 298452"/>
                  <a:gd name="connsiteY115" fmla="*/ 100507 h 298452"/>
                  <a:gd name="connsiteX116" fmla="*/ 32401 w 298452"/>
                  <a:gd name="connsiteY116" fmla="*/ 76216 h 298452"/>
                  <a:gd name="connsiteX117" fmla="*/ 34737 w 298452"/>
                  <a:gd name="connsiteY117" fmla="*/ 52685 h 298452"/>
                  <a:gd name="connsiteX118" fmla="*/ 52685 w 298452"/>
                  <a:gd name="connsiteY118" fmla="*/ 34737 h 298452"/>
                  <a:gd name="connsiteX119" fmla="*/ 65881 w 298452"/>
                  <a:gd name="connsiteY119" fmla="*/ 29279 h 298452"/>
                  <a:gd name="connsiteX120" fmla="*/ 76216 w 298452"/>
                  <a:gd name="connsiteY120" fmla="*/ 32415 h 298452"/>
                  <a:gd name="connsiteX121" fmla="*/ 100507 w 298452"/>
                  <a:gd name="connsiteY121" fmla="*/ 48595 h 298452"/>
                  <a:gd name="connsiteX122" fmla="*/ 112528 w 298452"/>
                  <a:gd name="connsiteY122" fmla="*/ 43593 h 298452"/>
                  <a:gd name="connsiteX123" fmla="*/ 118248 w 298452"/>
                  <a:gd name="connsiteY123" fmla="*/ 15006 h 298452"/>
                  <a:gd name="connsiteX124" fmla="*/ 136528 w 298452"/>
                  <a:gd name="connsiteY124" fmla="*/ 0 h 298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</a:cxnLst>
                <a:rect l="l" t="t" r="r" b="b"/>
                <a:pathLst>
                  <a:path w="298452" h="298452">
                    <a:moveTo>
                      <a:pt x="149221" y="121246"/>
                    </a:moveTo>
                    <a:cubicBezTo>
                      <a:pt x="133773" y="121246"/>
                      <a:pt x="121241" y="133782"/>
                      <a:pt x="121241" y="149226"/>
                    </a:cubicBezTo>
                    <a:cubicBezTo>
                      <a:pt x="121241" y="164674"/>
                      <a:pt x="133773" y="177206"/>
                      <a:pt x="149221" y="177206"/>
                    </a:cubicBezTo>
                    <a:cubicBezTo>
                      <a:pt x="164668" y="177206"/>
                      <a:pt x="177200" y="164674"/>
                      <a:pt x="177200" y="149226"/>
                    </a:cubicBezTo>
                    <a:cubicBezTo>
                      <a:pt x="177200" y="133782"/>
                      <a:pt x="164668" y="121246"/>
                      <a:pt x="149221" y="121246"/>
                    </a:cubicBezTo>
                    <a:close/>
                    <a:moveTo>
                      <a:pt x="149221" y="111919"/>
                    </a:moveTo>
                    <a:cubicBezTo>
                      <a:pt x="169821" y="111919"/>
                      <a:pt x="186526" y="128614"/>
                      <a:pt x="186526" y="149226"/>
                    </a:cubicBezTo>
                    <a:cubicBezTo>
                      <a:pt x="186526" y="169838"/>
                      <a:pt x="169821" y="186533"/>
                      <a:pt x="149221" y="186533"/>
                    </a:cubicBezTo>
                    <a:cubicBezTo>
                      <a:pt x="128599" y="186533"/>
                      <a:pt x="111915" y="169838"/>
                      <a:pt x="111915" y="149226"/>
                    </a:cubicBezTo>
                    <a:cubicBezTo>
                      <a:pt x="111915" y="128614"/>
                      <a:pt x="128599" y="111919"/>
                      <a:pt x="149221" y="111919"/>
                    </a:cubicBezTo>
                    <a:close/>
                    <a:moveTo>
                      <a:pt x="149221" y="92100"/>
                    </a:moveTo>
                    <a:cubicBezTo>
                      <a:pt x="117672" y="92100"/>
                      <a:pt x="92097" y="117683"/>
                      <a:pt x="92097" y="149226"/>
                    </a:cubicBezTo>
                    <a:cubicBezTo>
                      <a:pt x="92097" y="180769"/>
                      <a:pt x="117672" y="206351"/>
                      <a:pt x="149221" y="206351"/>
                    </a:cubicBezTo>
                    <a:cubicBezTo>
                      <a:pt x="180751" y="206351"/>
                      <a:pt x="206345" y="180769"/>
                      <a:pt x="206345" y="149226"/>
                    </a:cubicBezTo>
                    <a:cubicBezTo>
                      <a:pt x="206345" y="117683"/>
                      <a:pt x="180751" y="92100"/>
                      <a:pt x="149221" y="92100"/>
                    </a:cubicBezTo>
                    <a:close/>
                    <a:moveTo>
                      <a:pt x="149221" y="83939"/>
                    </a:moveTo>
                    <a:cubicBezTo>
                      <a:pt x="185266" y="83939"/>
                      <a:pt x="214505" y="113173"/>
                      <a:pt x="214505" y="149226"/>
                    </a:cubicBezTo>
                    <a:cubicBezTo>
                      <a:pt x="214505" y="185278"/>
                      <a:pt x="185266" y="214512"/>
                      <a:pt x="149221" y="214512"/>
                    </a:cubicBezTo>
                    <a:cubicBezTo>
                      <a:pt x="113169" y="214512"/>
                      <a:pt x="83936" y="185278"/>
                      <a:pt x="83936" y="149226"/>
                    </a:cubicBezTo>
                    <a:cubicBezTo>
                      <a:pt x="83936" y="113173"/>
                      <a:pt x="113169" y="83939"/>
                      <a:pt x="149221" y="83939"/>
                    </a:cubicBezTo>
                    <a:close/>
                    <a:moveTo>
                      <a:pt x="161910" y="18653"/>
                    </a:moveTo>
                    <a:lnTo>
                      <a:pt x="136528" y="18667"/>
                    </a:lnTo>
                    <a:lnTo>
                      <a:pt x="130822" y="47255"/>
                    </a:lnTo>
                    <a:cubicBezTo>
                      <a:pt x="129523" y="53735"/>
                      <a:pt x="124894" y="59041"/>
                      <a:pt x="118649" y="61210"/>
                    </a:cubicBezTo>
                    <a:cubicBezTo>
                      <a:pt x="115208" y="62413"/>
                      <a:pt x="111850" y="63822"/>
                      <a:pt x="108631" y="65397"/>
                    </a:cubicBezTo>
                    <a:cubicBezTo>
                      <a:pt x="106047" y="66627"/>
                      <a:pt x="103270" y="67249"/>
                      <a:pt x="100507" y="67249"/>
                    </a:cubicBezTo>
                    <a:cubicBezTo>
                      <a:pt x="96873" y="67249"/>
                      <a:pt x="93266" y="66198"/>
                      <a:pt x="90157" y="64112"/>
                    </a:cubicBezTo>
                    <a:lnTo>
                      <a:pt x="65867" y="47932"/>
                    </a:lnTo>
                    <a:lnTo>
                      <a:pt x="47918" y="65881"/>
                    </a:lnTo>
                    <a:lnTo>
                      <a:pt x="64112" y="90158"/>
                    </a:lnTo>
                    <a:cubicBezTo>
                      <a:pt x="67774" y="95657"/>
                      <a:pt x="68257" y="102690"/>
                      <a:pt x="65369" y="108631"/>
                    </a:cubicBezTo>
                    <a:cubicBezTo>
                      <a:pt x="63794" y="111878"/>
                      <a:pt x="62412" y="115222"/>
                      <a:pt x="61210" y="118662"/>
                    </a:cubicBezTo>
                    <a:cubicBezTo>
                      <a:pt x="59041" y="124908"/>
                      <a:pt x="53721" y="129537"/>
                      <a:pt x="47255" y="130822"/>
                    </a:cubicBezTo>
                    <a:lnTo>
                      <a:pt x="18653" y="136542"/>
                    </a:lnTo>
                    <a:lnTo>
                      <a:pt x="18667" y="161924"/>
                    </a:lnTo>
                    <a:lnTo>
                      <a:pt x="47255" y="167644"/>
                    </a:lnTo>
                    <a:cubicBezTo>
                      <a:pt x="53721" y="168943"/>
                      <a:pt x="59041" y="173572"/>
                      <a:pt x="61210" y="179817"/>
                    </a:cubicBezTo>
                    <a:cubicBezTo>
                      <a:pt x="62412" y="183258"/>
                      <a:pt x="63822" y="186602"/>
                      <a:pt x="65383" y="189835"/>
                    </a:cubicBezTo>
                    <a:cubicBezTo>
                      <a:pt x="68257" y="195790"/>
                      <a:pt x="67774" y="202809"/>
                      <a:pt x="64112" y="208295"/>
                    </a:cubicBezTo>
                    <a:lnTo>
                      <a:pt x="47918" y="232585"/>
                    </a:lnTo>
                    <a:lnTo>
                      <a:pt x="65867" y="250534"/>
                    </a:lnTo>
                    <a:lnTo>
                      <a:pt x="90157" y="234340"/>
                    </a:lnTo>
                    <a:cubicBezTo>
                      <a:pt x="93266" y="232268"/>
                      <a:pt x="96873" y="231204"/>
                      <a:pt x="100507" y="231204"/>
                    </a:cubicBezTo>
                    <a:cubicBezTo>
                      <a:pt x="103270" y="231204"/>
                      <a:pt x="106047" y="231825"/>
                      <a:pt x="108631" y="233083"/>
                    </a:cubicBezTo>
                    <a:cubicBezTo>
                      <a:pt x="111864" y="234658"/>
                      <a:pt x="115222" y="236054"/>
                      <a:pt x="118662" y="237256"/>
                    </a:cubicBezTo>
                    <a:cubicBezTo>
                      <a:pt x="124894" y="239411"/>
                      <a:pt x="129523" y="244731"/>
                      <a:pt x="130822" y="251211"/>
                    </a:cubicBezTo>
                    <a:lnTo>
                      <a:pt x="136528" y="279799"/>
                    </a:lnTo>
                    <a:lnTo>
                      <a:pt x="161910" y="279799"/>
                    </a:lnTo>
                    <a:lnTo>
                      <a:pt x="167644" y="251211"/>
                    </a:lnTo>
                    <a:cubicBezTo>
                      <a:pt x="168943" y="244731"/>
                      <a:pt x="173572" y="239411"/>
                      <a:pt x="179790" y="237256"/>
                    </a:cubicBezTo>
                    <a:cubicBezTo>
                      <a:pt x="183258" y="236054"/>
                      <a:pt x="186588" y="234644"/>
                      <a:pt x="189835" y="233069"/>
                    </a:cubicBezTo>
                    <a:cubicBezTo>
                      <a:pt x="192405" y="231825"/>
                      <a:pt x="195182" y="231204"/>
                      <a:pt x="197959" y="231204"/>
                    </a:cubicBezTo>
                    <a:cubicBezTo>
                      <a:pt x="201580" y="231204"/>
                      <a:pt x="205186" y="232268"/>
                      <a:pt x="208309" y="234340"/>
                    </a:cubicBezTo>
                    <a:lnTo>
                      <a:pt x="232585" y="250534"/>
                    </a:lnTo>
                    <a:lnTo>
                      <a:pt x="250520" y="232585"/>
                    </a:lnTo>
                    <a:lnTo>
                      <a:pt x="234326" y="208295"/>
                    </a:lnTo>
                    <a:cubicBezTo>
                      <a:pt x="230665" y="202809"/>
                      <a:pt x="230181" y="195776"/>
                      <a:pt x="233083" y="189821"/>
                    </a:cubicBezTo>
                    <a:cubicBezTo>
                      <a:pt x="234644" y="186574"/>
                      <a:pt x="236040" y="183244"/>
                      <a:pt x="237242" y="179804"/>
                    </a:cubicBezTo>
                    <a:cubicBezTo>
                      <a:pt x="239411" y="173558"/>
                      <a:pt x="244717" y="168929"/>
                      <a:pt x="251197" y="167644"/>
                    </a:cubicBezTo>
                    <a:cubicBezTo>
                      <a:pt x="251197" y="167644"/>
                      <a:pt x="279799" y="161924"/>
                      <a:pt x="279799" y="161924"/>
                    </a:cubicBezTo>
                    <a:lnTo>
                      <a:pt x="279785" y="136542"/>
                    </a:lnTo>
                    <a:lnTo>
                      <a:pt x="251197" y="130808"/>
                    </a:lnTo>
                    <a:cubicBezTo>
                      <a:pt x="244717" y="129523"/>
                      <a:pt x="239411" y="124894"/>
                      <a:pt x="237242" y="118649"/>
                    </a:cubicBezTo>
                    <a:cubicBezTo>
                      <a:pt x="236040" y="115208"/>
                      <a:pt x="234630" y="111864"/>
                      <a:pt x="233055" y="108631"/>
                    </a:cubicBezTo>
                    <a:cubicBezTo>
                      <a:pt x="230195" y="102676"/>
                      <a:pt x="230665" y="95657"/>
                      <a:pt x="234326" y="90158"/>
                    </a:cubicBezTo>
                    <a:lnTo>
                      <a:pt x="250520" y="65881"/>
                    </a:lnTo>
                    <a:lnTo>
                      <a:pt x="232585" y="47932"/>
                    </a:lnTo>
                    <a:lnTo>
                      <a:pt x="208309" y="64112"/>
                    </a:lnTo>
                    <a:cubicBezTo>
                      <a:pt x="205186" y="66198"/>
                      <a:pt x="201580" y="67249"/>
                      <a:pt x="197959" y="67249"/>
                    </a:cubicBezTo>
                    <a:cubicBezTo>
                      <a:pt x="195168" y="67249"/>
                      <a:pt x="192405" y="66627"/>
                      <a:pt x="189807" y="65383"/>
                    </a:cubicBezTo>
                    <a:cubicBezTo>
                      <a:pt x="186574" y="63808"/>
                      <a:pt x="183244" y="62413"/>
                      <a:pt x="179790" y="61210"/>
                    </a:cubicBezTo>
                    <a:cubicBezTo>
                      <a:pt x="173544" y="59041"/>
                      <a:pt x="168916" y="53735"/>
                      <a:pt x="167631" y="47255"/>
                    </a:cubicBezTo>
                    <a:close/>
                    <a:moveTo>
                      <a:pt x="136528" y="0"/>
                    </a:moveTo>
                    <a:lnTo>
                      <a:pt x="161910" y="0"/>
                    </a:lnTo>
                    <a:cubicBezTo>
                      <a:pt x="170795" y="0"/>
                      <a:pt x="178463" y="6287"/>
                      <a:pt x="180190" y="15006"/>
                    </a:cubicBezTo>
                    <a:lnTo>
                      <a:pt x="185911" y="43593"/>
                    </a:lnTo>
                    <a:cubicBezTo>
                      <a:pt x="190056" y="45030"/>
                      <a:pt x="194063" y="46716"/>
                      <a:pt x="197959" y="48595"/>
                    </a:cubicBezTo>
                    <a:lnTo>
                      <a:pt x="222250" y="32415"/>
                    </a:lnTo>
                    <a:cubicBezTo>
                      <a:pt x="225387" y="30301"/>
                      <a:pt x="228993" y="29279"/>
                      <a:pt x="232572" y="29279"/>
                    </a:cubicBezTo>
                    <a:cubicBezTo>
                      <a:pt x="237408" y="29279"/>
                      <a:pt x="242161" y="31130"/>
                      <a:pt x="245767" y="34737"/>
                    </a:cubicBezTo>
                    <a:lnTo>
                      <a:pt x="263716" y="52685"/>
                    </a:lnTo>
                    <a:cubicBezTo>
                      <a:pt x="270002" y="58972"/>
                      <a:pt x="270983" y="68824"/>
                      <a:pt x="266051" y="76216"/>
                    </a:cubicBezTo>
                    <a:lnTo>
                      <a:pt x="249857" y="100507"/>
                    </a:lnTo>
                    <a:cubicBezTo>
                      <a:pt x="251722" y="104389"/>
                      <a:pt x="253422" y="108382"/>
                      <a:pt x="254859" y="112528"/>
                    </a:cubicBezTo>
                    <a:lnTo>
                      <a:pt x="283447" y="118248"/>
                    </a:lnTo>
                    <a:cubicBezTo>
                      <a:pt x="292165" y="120003"/>
                      <a:pt x="298452" y="127657"/>
                      <a:pt x="298452" y="136542"/>
                    </a:cubicBezTo>
                    <a:lnTo>
                      <a:pt x="298452" y="161924"/>
                    </a:lnTo>
                    <a:cubicBezTo>
                      <a:pt x="298452" y="170809"/>
                      <a:pt x="292165" y="178463"/>
                      <a:pt x="283447" y="180218"/>
                    </a:cubicBezTo>
                    <a:lnTo>
                      <a:pt x="254859" y="185925"/>
                    </a:lnTo>
                    <a:cubicBezTo>
                      <a:pt x="253422" y="190056"/>
                      <a:pt x="251750" y="194063"/>
                      <a:pt x="249857" y="197959"/>
                    </a:cubicBezTo>
                    <a:lnTo>
                      <a:pt x="266051" y="222236"/>
                    </a:lnTo>
                    <a:cubicBezTo>
                      <a:pt x="270983" y="229629"/>
                      <a:pt x="270002" y="239494"/>
                      <a:pt x="263716" y="245781"/>
                    </a:cubicBezTo>
                    <a:lnTo>
                      <a:pt x="245767" y="263716"/>
                    </a:lnTo>
                    <a:cubicBezTo>
                      <a:pt x="242161" y="267322"/>
                      <a:pt x="237408" y="269187"/>
                      <a:pt x="232572" y="269187"/>
                    </a:cubicBezTo>
                    <a:cubicBezTo>
                      <a:pt x="228993" y="269187"/>
                      <a:pt x="225387" y="268151"/>
                      <a:pt x="222250" y="266051"/>
                    </a:cubicBezTo>
                    <a:lnTo>
                      <a:pt x="197959" y="249857"/>
                    </a:lnTo>
                    <a:cubicBezTo>
                      <a:pt x="194077" y="251750"/>
                      <a:pt x="190070" y="253422"/>
                      <a:pt x="185938" y="254873"/>
                    </a:cubicBezTo>
                    <a:lnTo>
                      <a:pt x="180190" y="283460"/>
                    </a:lnTo>
                    <a:cubicBezTo>
                      <a:pt x="178463" y="292193"/>
                      <a:pt x="170795" y="298452"/>
                      <a:pt x="161910" y="298452"/>
                    </a:cubicBezTo>
                    <a:lnTo>
                      <a:pt x="136528" y="298452"/>
                    </a:lnTo>
                    <a:cubicBezTo>
                      <a:pt x="127644" y="298452"/>
                      <a:pt x="119989" y="292193"/>
                      <a:pt x="118248" y="283460"/>
                    </a:cubicBezTo>
                    <a:lnTo>
                      <a:pt x="112528" y="254873"/>
                    </a:lnTo>
                    <a:cubicBezTo>
                      <a:pt x="108382" y="253422"/>
                      <a:pt x="104389" y="251750"/>
                      <a:pt x="100507" y="249857"/>
                    </a:cubicBezTo>
                    <a:lnTo>
                      <a:pt x="76216" y="266051"/>
                    </a:lnTo>
                    <a:cubicBezTo>
                      <a:pt x="73066" y="268151"/>
                      <a:pt x="69459" y="269187"/>
                      <a:pt x="65881" y="269187"/>
                    </a:cubicBezTo>
                    <a:cubicBezTo>
                      <a:pt x="61058" y="269187"/>
                      <a:pt x="56291" y="267322"/>
                      <a:pt x="52685" y="263716"/>
                    </a:cubicBezTo>
                    <a:lnTo>
                      <a:pt x="34737" y="245781"/>
                    </a:lnTo>
                    <a:cubicBezTo>
                      <a:pt x="28450" y="239494"/>
                      <a:pt x="27469" y="229629"/>
                      <a:pt x="32401" y="222236"/>
                    </a:cubicBezTo>
                    <a:lnTo>
                      <a:pt x="48595" y="197959"/>
                    </a:lnTo>
                    <a:cubicBezTo>
                      <a:pt x="46716" y="194077"/>
                      <a:pt x="45030" y="190070"/>
                      <a:pt x="43593" y="185938"/>
                    </a:cubicBezTo>
                    <a:lnTo>
                      <a:pt x="15006" y="180218"/>
                    </a:lnTo>
                    <a:cubicBezTo>
                      <a:pt x="6273" y="178463"/>
                      <a:pt x="0" y="170809"/>
                      <a:pt x="0" y="161924"/>
                    </a:cubicBezTo>
                    <a:lnTo>
                      <a:pt x="0" y="136542"/>
                    </a:lnTo>
                    <a:cubicBezTo>
                      <a:pt x="0" y="127657"/>
                      <a:pt x="6273" y="120003"/>
                      <a:pt x="15006" y="118248"/>
                    </a:cubicBezTo>
                    <a:lnTo>
                      <a:pt x="43593" y="112528"/>
                    </a:lnTo>
                    <a:cubicBezTo>
                      <a:pt x="45030" y="108396"/>
                      <a:pt x="46702" y="104389"/>
                      <a:pt x="48595" y="100507"/>
                    </a:cubicBezTo>
                    <a:lnTo>
                      <a:pt x="32401" y="76216"/>
                    </a:lnTo>
                    <a:cubicBezTo>
                      <a:pt x="27469" y="68824"/>
                      <a:pt x="28450" y="58972"/>
                      <a:pt x="34737" y="52685"/>
                    </a:cubicBezTo>
                    <a:lnTo>
                      <a:pt x="52685" y="34737"/>
                    </a:lnTo>
                    <a:cubicBezTo>
                      <a:pt x="56291" y="31130"/>
                      <a:pt x="61058" y="29279"/>
                      <a:pt x="65881" y="29279"/>
                    </a:cubicBezTo>
                    <a:cubicBezTo>
                      <a:pt x="69459" y="29279"/>
                      <a:pt x="73052" y="30301"/>
                      <a:pt x="76216" y="32415"/>
                    </a:cubicBezTo>
                    <a:lnTo>
                      <a:pt x="100507" y="48595"/>
                    </a:lnTo>
                    <a:cubicBezTo>
                      <a:pt x="104389" y="46716"/>
                      <a:pt x="108382" y="45030"/>
                      <a:pt x="112528" y="43593"/>
                    </a:cubicBezTo>
                    <a:lnTo>
                      <a:pt x="118248" y="15006"/>
                    </a:lnTo>
                    <a:cubicBezTo>
                      <a:pt x="119989" y="6287"/>
                      <a:pt x="127644" y="0"/>
                      <a:pt x="136528" y="0"/>
                    </a:cubicBez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anchor="ctr"/>
              <a:lstStyle/>
              <a:p>
                <a:pPr algn="ctr"/>
                <a:endParaRPr/>
              </a:p>
            </p:txBody>
          </p:sp>
          <p:grpSp>
            <p:nvGrpSpPr>
              <p:cNvPr id="55" name="îsľîdê">
                <a:extLst>
                  <a:ext uri="{FF2B5EF4-FFF2-40B4-BE49-F238E27FC236}">
                    <a16:creationId xmlns:a16="http://schemas.microsoft.com/office/drawing/2014/main" id="{777EB689-1EF2-4B8B-BE8A-37760ED3936A}"/>
                  </a:ext>
                </a:extLst>
              </p:cNvPr>
              <p:cNvGrpSpPr/>
              <p:nvPr/>
            </p:nvGrpSpPr>
            <p:grpSpPr>
              <a:xfrm>
                <a:off x="3066004" y="2731985"/>
                <a:ext cx="1914278" cy="1087670"/>
                <a:chOff x="4601215" y="1415695"/>
                <a:chExt cx="1914278" cy="1087670"/>
              </a:xfrm>
            </p:grpSpPr>
            <p:sp>
              <p:nvSpPr>
                <p:cNvPr id="56" name="îS1íďè">
                  <a:extLst>
                    <a:ext uri="{FF2B5EF4-FFF2-40B4-BE49-F238E27FC236}">
                      <a16:creationId xmlns:a16="http://schemas.microsoft.com/office/drawing/2014/main" id="{4731CF70-4859-45A5-B89B-039F4A4F56F2}"/>
                    </a:ext>
                  </a:extLst>
                </p:cNvPr>
                <p:cNvSpPr/>
                <p:nvPr/>
              </p:nvSpPr>
              <p:spPr>
                <a:xfrm>
                  <a:off x="4601215" y="1415695"/>
                  <a:ext cx="1914278" cy="391664"/>
                </a:xfrm>
                <a:prstGeom prst="rect">
                  <a:avLst/>
                </a:prstGeom>
              </p:spPr>
              <p:txBody>
                <a:bodyPr wrap="none" lIns="90000" tIns="46800" rIns="90000" bIns="46800" anchor="b" anchorCtr="0">
                  <a:normAutofit/>
                </a:bodyPr>
                <a:lstStyle/>
                <a:p>
                  <a:r>
                    <a:rPr lang="zh-CN" altLang="en-US" sz="1400" b="1" dirty="0">
                      <a:effectLst/>
                    </a:rPr>
                    <a:t>模型的优化</a:t>
                  </a:r>
                </a:p>
              </p:txBody>
            </p:sp>
            <p:sp>
              <p:nvSpPr>
                <p:cNvPr id="57" name="ís1iḋê">
                  <a:extLst>
                    <a:ext uri="{FF2B5EF4-FFF2-40B4-BE49-F238E27FC236}">
                      <a16:creationId xmlns:a16="http://schemas.microsoft.com/office/drawing/2014/main" id="{8BE693BF-0ADD-4131-A0A2-CC8B88A3E8E1}"/>
                    </a:ext>
                  </a:extLst>
                </p:cNvPr>
                <p:cNvSpPr/>
                <p:nvPr/>
              </p:nvSpPr>
              <p:spPr>
                <a:xfrm>
                  <a:off x="4601215" y="1807358"/>
                  <a:ext cx="1914278" cy="696007"/>
                </a:xfrm>
                <a:prstGeom prst="rect">
                  <a:avLst/>
                </a:prstGeom>
              </p:spPr>
              <p:txBody>
                <a:bodyPr wrap="square" lIns="90000" tIns="46800" rIns="90000" bIns="46800">
                  <a:normAutofit lnSpcReduction="10000"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zh-CN" altLang="en-US" sz="1100" dirty="0"/>
                    <a:t>用户调研</a:t>
                  </a:r>
                  <a:endParaRPr lang="en-US" altLang="zh-CN" sz="1100" dirty="0"/>
                </a:p>
                <a:p>
                  <a:pPr>
                    <a:lnSpc>
                      <a:spcPct val="120000"/>
                    </a:lnSpc>
                  </a:pPr>
                  <a:r>
                    <a:rPr lang="zh-CN" altLang="en-US" sz="1100" dirty="0"/>
                    <a:t>实际要求</a:t>
                  </a:r>
                  <a:endParaRPr lang="en-US" altLang="zh-CN" sz="1100" dirty="0"/>
                </a:p>
                <a:p>
                  <a:pPr>
                    <a:lnSpc>
                      <a:spcPct val="120000"/>
                    </a:lnSpc>
                  </a:pPr>
                  <a:r>
                    <a:rPr lang="zh-CN" altLang="en-US" sz="1100" dirty="0"/>
                    <a:t>优化模型</a:t>
                  </a:r>
                  <a:endParaRPr lang="en-US" altLang="zh-CN" sz="1100" dirty="0"/>
                </a:p>
                <a:p>
                  <a:pPr>
                    <a:lnSpc>
                      <a:spcPct val="120000"/>
                    </a:lnSpc>
                  </a:pPr>
                  <a:endParaRPr lang="en-US" altLang="zh-CN" sz="1100" dirty="0"/>
                </a:p>
              </p:txBody>
            </p:sp>
          </p:grpSp>
        </p:grpSp>
        <p:sp>
          <p:nvSpPr>
            <p:cNvPr id="14" name="îsḷîḑê">
              <a:extLst>
                <a:ext uri="{FF2B5EF4-FFF2-40B4-BE49-F238E27FC236}">
                  <a16:creationId xmlns:a16="http://schemas.microsoft.com/office/drawing/2014/main" id="{C9A37F31-1DCD-47FB-8D85-922DFF735EAF}"/>
                </a:ext>
              </a:extLst>
            </p:cNvPr>
            <p:cNvSpPr/>
            <p:nvPr/>
          </p:nvSpPr>
          <p:spPr>
            <a:xfrm>
              <a:off x="5231409" y="5114326"/>
              <a:ext cx="194470" cy="194464"/>
            </a:xfrm>
            <a:prstGeom prst="ellipse">
              <a:avLst/>
            </a:prstGeom>
            <a:solidFill>
              <a:schemeClr val="accent1">
                <a:lumMod val="100000"/>
              </a:schemeClr>
            </a:solidFill>
            <a:ln w="381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" name="íṣḻiḋe">
              <a:extLst>
                <a:ext uri="{FF2B5EF4-FFF2-40B4-BE49-F238E27FC236}">
                  <a16:creationId xmlns:a16="http://schemas.microsoft.com/office/drawing/2014/main" id="{5FEA4C47-DAA5-4758-A751-0852D292CBB3}"/>
                </a:ext>
              </a:extLst>
            </p:cNvPr>
            <p:cNvSpPr txBox="1"/>
            <p:nvPr/>
          </p:nvSpPr>
          <p:spPr bwMode="auto">
            <a:xfrm>
              <a:off x="4876603" y="5308791"/>
              <a:ext cx="911225" cy="368110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/>
              <a:r>
                <a:rPr lang="en-US" altLang="zh-CN" sz="1200" dirty="0">
                  <a:effectLst/>
                </a:rPr>
                <a:t>2019.7.1</a:t>
              </a:r>
              <a:endParaRPr lang="zh-CN" altLang="en-US" sz="1200" dirty="0">
                <a:effectLst/>
              </a:endParaRPr>
            </a:p>
          </p:txBody>
        </p:sp>
        <p:grpSp>
          <p:nvGrpSpPr>
            <p:cNvPr id="16" name="íṣļiḋe">
              <a:extLst>
                <a:ext uri="{FF2B5EF4-FFF2-40B4-BE49-F238E27FC236}">
                  <a16:creationId xmlns:a16="http://schemas.microsoft.com/office/drawing/2014/main" id="{7AEA92DD-4F60-450E-9BE4-6B9A60D1893E}"/>
                </a:ext>
              </a:extLst>
            </p:cNvPr>
            <p:cNvGrpSpPr/>
            <p:nvPr/>
          </p:nvGrpSpPr>
          <p:grpSpPr>
            <a:xfrm>
              <a:off x="5251698" y="2181876"/>
              <a:ext cx="1914278" cy="1283056"/>
              <a:chOff x="5245543" y="2421867"/>
              <a:chExt cx="1914278" cy="1283056"/>
            </a:xfrm>
          </p:grpSpPr>
          <p:sp>
            <p:nvSpPr>
              <p:cNvPr id="50" name="ïşļidé">
                <a:extLst>
                  <a:ext uri="{FF2B5EF4-FFF2-40B4-BE49-F238E27FC236}">
                    <a16:creationId xmlns:a16="http://schemas.microsoft.com/office/drawing/2014/main" id="{A03A61E2-FF6A-4827-8C58-65CE923A0A5A}"/>
                  </a:ext>
                </a:extLst>
              </p:cNvPr>
              <p:cNvSpPr/>
              <p:nvPr/>
            </p:nvSpPr>
            <p:spPr>
              <a:xfrm>
                <a:off x="5322293" y="2421867"/>
                <a:ext cx="298452" cy="298452"/>
              </a:xfrm>
              <a:custGeom>
                <a:avLst/>
                <a:gdLst>
                  <a:gd name="connsiteX0" fmla="*/ 149221 w 298452"/>
                  <a:gd name="connsiteY0" fmla="*/ 121246 h 298452"/>
                  <a:gd name="connsiteX1" fmla="*/ 121241 w 298452"/>
                  <a:gd name="connsiteY1" fmla="*/ 149226 h 298452"/>
                  <a:gd name="connsiteX2" fmla="*/ 149221 w 298452"/>
                  <a:gd name="connsiteY2" fmla="*/ 177206 h 298452"/>
                  <a:gd name="connsiteX3" fmla="*/ 177200 w 298452"/>
                  <a:gd name="connsiteY3" fmla="*/ 149226 h 298452"/>
                  <a:gd name="connsiteX4" fmla="*/ 149221 w 298452"/>
                  <a:gd name="connsiteY4" fmla="*/ 121246 h 298452"/>
                  <a:gd name="connsiteX5" fmla="*/ 149221 w 298452"/>
                  <a:gd name="connsiteY5" fmla="*/ 111919 h 298452"/>
                  <a:gd name="connsiteX6" fmla="*/ 186526 w 298452"/>
                  <a:gd name="connsiteY6" fmla="*/ 149226 h 298452"/>
                  <a:gd name="connsiteX7" fmla="*/ 149221 w 298452"/>
                  <a:gd name="connsiteY7" fmla="*/ 186533 h 298452"/>
                  <a:gd name="connsiteX8" fmla="*/ 111915 w 298452"/>
                  <a:gd name="connsiteY8" fmla="*/ 149226 h 298452"/>
                  <a:gd name="connsiteX9" fmla="*/ 149221 w 298452"/>
                  <a:gd name="connsiteY9" fmla="*/ 111919 h 298452"/>
                  <a:gd name="connsiteX10" fmla="*/ 149221 w 298452"/>
                  <a:gd name="connsiteY10" fmla="*/ 92100 h 298452"/>
                  <a:gd name="connsiteX11" fmla="*/ 92097 w 298452"/>
                  <a:gd name="connsiteY11" fmla="*/ 149226 h 298452"/>
                  <a:gd name="connsiteX12" fmla="*/ 149221 w 298452"/>
                  <a:gd name="connsiteY12" fmla="*/ 206351 h 298452"/>
                  <a:gd name="connsiteX13" fmla="*/ 206345 w 298452"/>
                  <a:gd name="connsiteY13" fmla="*/ 149226 h 298452"/>
                  <a:gd name="connsiteX14" fmla="*/ 149221 w 298452"/>
                  <a:gd name="connsiteY14" fmla="*/ 92100 h 298452"/>
                  <a:gd name="connsiteX15" fmla="*/ 149221 w 298452"/>
                  <a:gd name="connsiteY15" fmla="*/ 83939 h 298452"/>
                  <a:gd name="connsiteX16" fmla="*/ 214505 w 298452"/>
                  <a:gd name="connsiteY16" fmla="*/ 149226 h 298452"/>
                  <a:gd name="connsiteX17" fmla="*/ 149221 w 298452"/>
                  <a:gd name="connsiteY17" fmla="*/ 214512 h 298452"/>
                  <a:gd name="connsiteX18" fmla="*/ 83936 w 298452"/>
                  <a:gd name="connsiteY18" fmla="*/ 149226 h 298452"/>
                  <a:gd name="connsiteX19" fmla="*/ 149221 w 298452"/>
                  <a:gd name="connsiteY19" fmla="*/ 83939 h 298452"/>
                  <a:gd name="connsiteX20" fmla="*/ 161910 w 298452"/>
                  <a:gd name="connsiteY20" fmla="*/ 18653 h 298452"/>
                  <a:gd name="connsiteX21" fmla="*/ 136528 w 298452"/>
                  <a:gd name="connsiteY21" fmla="*/ 18667 h 298452"/>
                  <a:gd name="connsiteX22" fmla="*/ 130822 w 298452"/>
                  <a:gd name="connsiteY22" fmla="*/ 47255 h 298452"/>
                  <a:gd name="connsiteX23" fmla="*/ 118649 w 298452"/>
                  <a:gd name="connsiteY23" fmla="*/ 61210 h 298452"/>
                  <a:gd name="connsiteX24" fmla="*/ 108631 w 298452"/>
                  <a:gd name="connsiteY24" fmla="*/ 65397 h 298452"/>
                  <a:gd name="connsiteX25" fmla="*/ 100507 w 298452"/>
                  <a:gd name="connsiteY25" fmla="*/ 67249 h 298452"/>
                  <a:gd name="connsiteX26" fmla="*/ 90157 w 298452"/>
                  <a:gd name="connsiteY26" fmla="*/ 64112 h 298452"/>
                  <a:gd name="connsiteX27" fmla="*/ 65867 w 298452"/>
                  <a:gd name="connsiteY27" fmla="*/ 47932 h 298452"/>
                  <a:gd name="connsiteX28" fmla="*/ 47918 w 298452"/>
                  <a:gd name="connsiteY28" fmla="*/ 65881 h 298452"/>
                  <a:gd name="connsiteX29" fmla="*/ 64112 w 298452"/>
                  <a:gd name="connsiteY29" fmla="*/ 90158 h 298452"/>
                  <a:gd name="connsiteX30" fmla="*/ 65369 w 298452"/>
                  <a:gd name="connsiteY30" fmla="*/ 108631 h 298452"/>
                  <a:gd name="connsiteX31" fmla="*/ 61210 w 298452"/>
                  <a:gd name="connsiteY31" fmla="*/ 118662 h 298452"/>
                  <a:gd name="connsiteX32" fmla="*/ 47255 w 298452"/>
                  <a:gd name="connsiteY32" fmla="*/ 130822 h 298452"/>
                  <a:gd name="connsiteX33" fmla="*/ 18653 w 298452"/>
                  <a:gd name="connsiteY33" fmla="*/ 136542 h 298452"/>
                  <a:gd name="connsiteX34" fmla="*/ 18667 w 298452"/>
                  <a:gd name="connsiteY34" fmla="*/ 161924 h 298452"/>
                  <a:gd name="connsiteX35" fmla="*/ 47255 w 298452"/>
                  <a:gd name="connsiteY35" fmla="*/ 167644 h 298452"/>
                  <a:gd name="connsiteX36" fmla="*/ 61210 w 298452"/>
                  <a:gd name="connsiteY36" fmla="*/ 179817 h 298452"/>
                  <a:gd name="connsiteX37" fmla="*/ 65383 w 298452"/>
                  <a:gd name="connsiteY37" fmla="*/ 189835 h 298452"/>
                  <a:gd name="connsiteX38" fmla="*/ 64112 w 298452"/>
                  <a:gd name="connsiteY38" fmla="*/ 208295 h 298452"/>
                  <a:gd name="connsiteX39" fmla="*/ 47918 w 298452"/>
                  <a:gd name="connsiteY39" fmla="*/ 232585 h 298452"/>
                  <a:gd name="connsiteX40" fmla="*/ 65867 w 298452"/>
                  <a:gd name="connsiteY40" fmla="*/ 250534 h 298452"/>
                  <a:gd name="connsiteX41" fmla="*/ 90157 w 298452"/>
                  <a:gd name="connsiteY41" fmla="*/ 234340 h 298452"/>
                  <a:gd name="connsiteX42" fmla="*/ 100507 w 298452"/>
                  <a:gd name="connsiteY42" fmla="*/ 231204 h 298452"/>
                  <a:gd name="connsiteX43" fmla="*/ 108631 w 298452"/>
                  <a:gd name="connsiteY43" fmla="*/ 233083 h 298452"/>
                  <a:gd name="connsiteX44" fmla="*/ 118662 w 298452"/>
                  <a:gd name="connsiteY44" fmla="*/ 237256 h 298452"/>
                  <a:gd name="connsiteX45" fmla="*/ 130822 w 298452"/>
                  <a:gd name="connsiteY45" fmla="*/ 251211 h 298452"/>
                  <a:gd name="connsiteX46" fmla="*/ 136528 w 298452"/>
                  <a:gd name="connsiteY46" fmla="*/ 279799 h 298452"/>
                  <a:gd name="connsiteX47" fmla="*/ 161910 w 298452"/>
                  <a:gd name="connsiteY47" fmla="*/ 279799 h 298452"/>
                  <a:gd name="connsiteX48" fmla="*/ 167644 w 298452"/>
                  <a:gd name="connsiteY48" fmla="*/ 251211 h 298452"/>
                  <a:gd name="connsiteX49" fmla="*/ 179790 w 298452"/>
                  <a:gd name="connsiteY49" fmla="*/ 237256 h 298452"/>
                  <a:gd name="connsiteX50" fmla="*/ 189835 w 298452"/>
                  <a:gd name="connsiteY50" fmla="*/ 233069 h 298452"/>
                  <a:gd name="connsiteX51" fmla="*/ 197959 w 298452"/>
                  <a:gd name="connsiteY51" fmla="*/ 231204 h 298452"/>
                  <a:gd name="connsiteX52" fmla="*/ 208309 w 298452"/>
                  <a:gd name="connsiteY52" fmla="*/ 234340 h 298452"/>
                  <a:gd name="connsiteX53" fmla="*/ 232585 w 298452"/>
                  <a:gd name="connsiteY53" fmla="*/ 250534 h 298452"/>
                  <a:gd name="connsiteX54" fmla="*/ 250520 w 298452"/>
                  <a:gd name="connsiteY54" fmla="*/ 232585 h 298452"/>
                  <a:gd name="connsiteX55" fmla="*/ 234326 w 298452"/>
                  <a:gd name="connsiteY55" fmla="*/ 208295 h 298452"/>
                  <a:gd name="connsiteX56" fmla="*/ 233083 w 298452"/>
                  <a:gd name="connsiteY56" fmla="*/ 189821 h 298452"/>
                  <a:gd name="connsiteX57" fmla="*/ 237242 w 298452"/>
                  <a:gd name="connsiteY57" fmla="*/ 179804 h 298452"/>
                  <a:gd name="connsiteX58" fmla="*/ 251197 w 298452"/>
                  <a:gd name="connsiteY58" fmla="*/ 167644 h 298452"/>
                  <a:gd name="connsiteX59" fmla="*/ 279799 w 298452"/>
                  <a:gd name="connsiteY59" fmla="*/ 161924 h 298452"/>
                  <a:gd name="connsiteX60" fmla="*/ 279785 w 298452"/>
                  <a:gd name="connsiteY60" fmla="*/ 136542 h 298452"/>
                  <a:gd name="connsiteX61" fmla="*/ 251197 w 298452"/>
                  <a:gd name="connsiteY61" fmla="*/ 130808 h 298452"/>
                  <a:gd name="connsiteX62" fmla="*/ 237242 w 298452"/>
                  <a:gd name="connsiteY62" fmla="*/ 118649 h 298452"/>
                  <a:gd name="connsiteX63" fmla="*/ 233055 w 298452"/>
                  <a:gd name="connsiteY63" fmla="*/ 108631 h 298452"/>
                  <a:gd name="connsiteX64" fmla="*/ 234326 w 298452"/>
                  <a:gd name="connsiteY64" fmla="*/ 90158 h 298452"/>
                  <a:gd name="connsiteX65" fmla="*/ 250520 w 298452"/>
                  <a:gd name="connsiteY65" fmla="*/ 65881 h 298452"/>
                  <a:gd name="connsiteX66" fmla="*/ 232585 w 298452"/>
                  <a:gd name="connsiteY66" fmla="*/ 47932 h 298452"/>
                  <a:gd name="connsiteX67" fmla="*/ 208309 w 298452"/>
                  <a:gd name="connsiteY67" fmla="*/ 64112 h 298452"/>
                  <a:gd name="connsiteX68" fmla="*/ 197959 w 298452"/>
                  <a:gd name="connsiteY68" fmla="*/ 67249 h 298452"/>
                  <a:gd name="connsiteX69" fmla="*/ 189807 w 298452"/>
                  <a:gd name="connsiteY69" fmla="*/ 65383 h 298452"/>
                  <a:gd name="connsiteX70" fmla="*/ 179790 w 298452"/>
                  <a:gd name="connsiteY70" fmla="*/ 61210 h 298452"/>
                  <a:gd name="connsiteX71" fmla="*/ 167631 w 298452"/>
                  <a:gd name="connsiteY71" fmla="*/ 47255 h 298452"/>
                  <a:gd name="connsiteX72" fmla="*/ 136528 w 298452"/>
                  <a:gd name="connsiteY72" fmla="*/ 0 h 298452"/>
                  <a:gd name="connsiteX73" fmla="*/ 161910 w 298452"/>
                  <a:gd name="connsiteY73" fmla="*/ 0 h 298452"/>
                  <a:gd name="connsiteX74" fmla="*/ 180190 w 298452"/>
                  <a:gd name="connsiteY74" fmla="*/ 15006 h 298452"/>
                  <a:gd name="connsiteX75" fmla="*/ 185911 w 298452"/>
                  <a:gd name="connsiteY75" fmla="*/ 43593 h 298452"/>
                  <a:gd name="connsiteX76" fmla="*/ 197959 w 298452"/>
                  <a:gd name="connsiteY76" fmla="*/ 48595 h 298452"/>
                  <a:gd name="connsiteX77" fmla="*/ 222250 w 298452"/>
                  <a:gd name="connsiteY77" fmla="*/ 32415 h 298452"/>
                  <a:gd name="connsiteX78" fmla="*/ 232572 w 298452"/>
                  <a:gd name="connsiteY78" fmla="*/ 29279 h 298452"/>
                  <a:gd name="connsiteX79" fmla="*/ 245767 w 298452"/>
                  <a:gd name="connsiteY79" fmla="*/ 34737 h 298452"/>
                  <a:gd name="connsiteX80" fmla="*/ 263716 w 298452"/>
                  <a:gd name="connsiteY80" fmla="*/ 52685 h 298452"/>
                  <a:gd name="connsiteX81" fmla="*/ 266051 w 298452"/>
                  <a:gd name="connsiteY81" fmla="*/ 76216 h 298452"/>
                  <a:gd name="connsiteX82" fmla="*/ 249857 w 298452"/>
                  <a:gd name="connsiteY82" fmla="*/ 100507 h 298452"/>
                  <a:gd name="connsiteX83" fmla="*/ 254859 w 298452"/>
                  <a:gd name="connsiteY83" fmla="*/ 112528 h 298452"/>
                  <a:gd name="connsiteX84" fmla="*/ 283447 w 298452"/>
                  <a:gd name="connsiteY84" fmla="*/ 118248 h 298452"/>
                  <a:gd name="connsiteX85" fmla="*/ 298452 w 298452"/>
                  <a:gd name="connsiteY85" fmla="*/ 136542 h 298452"/>
                  <a:gd name="connsiteX86" fmla="*/ 298452 w 298452"/>
                  <a:gd name="connsiteY86" fmla="*/ 161924 h 298452"/>
                  <a:gd name="connsiteX87" fmla="*/ 283447 w 298452"/>
                  <a:gd name="connsiteY87" fmla="*/ 180218 h 298452"/>
                  <a:gd name="connsiteX88" fmla="*/ 254859 w 298452"/>
                  <a:gd name="connsiteY88" fmla="*/ 185925 h 298452"/>
                  <a:gd name="connsiteX89" fmla="*/ 249857 w 298452"/>
                  <a:gd name="connsiteY89" fmla="*/ 197959 h 298452"/>
                  <a:gd name="connsiteX90" fmla="*/ 266051 w 298452"/>
                  <a:gd name="connsiteY90" fmla="*/ 222236 h 298452"/>
                  <a:gd name="connsiteX91" fmla="*/ 263716 w 298452"/>
                  <a:gd name="connsiteY91" fmla="*/ 245781 h 298452"/>
                  <a:gd name="connsiteX92" fmla="*/ 245767 w 298452"/>
                  <a:gd name="connsiteY92" fmla="*/ 263716 h 298452"/>
                  <a:gd name="connsiteX93" fmla="*/ 232572 w 298452"/>
                  <a:gd name="connsiteY93" fmla="*/ 269187 h 298452"/>
                  <a:gd name="connsiteX94" fmla="*/ 222250 w 298452"/>
                  <a:gd name="connsiteY94" fmla="*/ 266051 h 298452"/>
                  <a:gd name="connsiteX95" fmla="*/ 197959 w 298452"/>
                  <a:gd name="connsiteY95" fmla="*/ 249857 h 298452"/>
                  <a:gd name="connsiteX96" fmla="*/ 185938 w 298452"/>
                  <a:gd name="connsiteY96" fmla="*/ 254873 h 298452"/>
                  <a:gd name="connsiteX97" fmla="*/ 180190 w 298452"/>
                  <a:gd name="connsiteY97" fmla="*/ 283460 h 298452"/>
                  <a:gd name="connsiteX98" fmla="*/ 161910 w 298452"/>
                  <a:gd name="connsiteY98" fmla="*/ 298452 h 298452"/>
                  <a:gd name="connsiteX99" fmla="*/ 136528 w 298452"/>
                  <a:gd name="connsiteY99" fmla="*/ 298452 h 298452"/>
                  <a:gd name="connsiteX100" fmla="*/ 118248 w 298452"/>
                  <a:gd name="connsiteY100" fmla="*/ 283460 h 298452"/>
                  <a:gd name="connsiteX101" fmla="*/ 112528 w 298452"/>
                  <a:gd name="connsiteY101" fmla="*/ 254873 h 298452"/>
                  <a:gd name="connsiteX102" fmla="*/ 100507 w 298452"/>
                  <a:gd name="connsiteY102" fmla="*/ 249857 h 298452"/>
                  <a:gd name="connsiteX103" fmla="*/ 76216 w 298452"/>
                  <a:gd name="connsiteY103" fmla="*/ 266051 h 298452"/>
                  <a:gd name="connsiteX104" fmla="*/ 65881 w 298452"/>
                  <a:gd name="connsiteY104" fmla="*/ 269187 h 298452"/>
                  <a:gd name="connsiteX105" fmla="*/ 52685 w 298452"/>
                  <a:gd name="connsiteY105" fmla="*/ 263716 h 298452"/>
                  <a:gd name="connsiteX106" fmla="*/ 34737 w 298452"/>
                  <a:gd name="connsiteY106" fmla="*/ 245781 h 298452"/>
                  <a:gd name="connsiteX107" fmla="*/ 32401 w 298452"/>
                  <a:gd name="connsiteY107" fmla="*/ 222236 h 298452"/>
                  <a:gd name="connsiteX108" fmla="*/ 48595 w 298452"/>
                  <a:gd name="connsiteY108" fmla="*/ 197959 h 298452"/>
                  <a:gd name="connsiteX109" fmla="*/ 43593 w 298452"/>
                  <a:gd name="connsiteY109" fmla="*/ 185938 h 298452"/>
                  <a:gd name="connsiteX110" fmla="*/ 15006 w 298452"/>
                  <a:gd name="connsiteY110" fmla="*/ 180218 h 298452"/>
                  <a:gd name="connsiteX111" fmla="*/ 0 w 298452"/>
                  <a:gd name="connsiteY111" fmla="*/ 161924 h 298452"/>
                  <a:gd name="connsiteX112" fmla="*/ 0 w 298452"/>
                  <a:gd name="connsiteY112" fmla="*/ 136542 h 298452"/>
                  <a:gd name="connsiteX113" fmla="*/ 15006 w 298452"/>
                  <a:gd name="connsiteY113" fmla="*/ 118248 h 298452"/>
                  <a:gd name="connsiteX114" fmla="*/ 43593 w 298452"/>
                  <a:gd name="connsiteY114" fmla="*/ 112528 h 298452"/>
                  <a:gd name="connsiteX115" fmla="*/ 48595 w 298452"/>
                  <a:gd name="connsiteY115" fmla="*/ 100507 h 298452"/>
                  <a:gd name="connsiteX116" fmla="*/ 32401 w 298452"/>
                  <a:gd name="connsiteY116" fmla="*/ 76216 h 298452"/>
                  <a:gd name="connsiteX117" fmla="*/ 34737 w 298452"/>
                  <a:gd name="connsiteY117" fmla="*/ 52685 h 298452"/>
                  <a:gd name="connsiteX118" fmla="*/ 52685 w 298452"/>
                  <a:gd name="connsiteY118" fmla="*/ 34737 h 298452"/>
                  <a:gd name="connsiteX119" fmla="*/ 65881 w 298452"/>
                  <a:gd name="connsiteY119" fmla="*/ 29279 h 298452"/>
                  <a:gd name="connsiteX120" fmla="*/ 76216 w 298452"/>
                  <a:gd name="connsiteY120" fmla="*/ 32415 h 298452"/>
                  <a:gd name="connsiteX121" fmla="*/ 100507 w 298452"/>
                  <a:gd name="connsiteY121" fmla="*/ 48595 h 298452"/>
                  <a:gd name="connsiteX122" fmla="*/ 112528 w 298452"/>
                  <a:gd name="connsiteY122" fmla="*/ 43593 h 298452"/>
                  <a:gd name="connsiteX123" fmla="*/ 118248 w 298452"/>
                  <a:gd name="connsiteY123" fmla="*/ 15006 h 298452"/>
                  <a:gd name="connsiteX124" fmla="*/ 136528 w 298452"/>
                  <a:gd name="connsiteY124" fmla="*/ 0 h 298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</a:cxnLst>
                <a:rect l="l" t="t" r="r" b="b"/>
                <a:pathLst>
                  <a:path w="298452" h="298452">
                    <a:moveTo>
                      <a:pt x="149221" y="121246"/>
                    </a:moveTo>
                    <a:cubicBezTo>
                      <a:pt x="133773" y="121246"/>
                      <a:pt x="121241" y="133782"/>
                      <a:pt x="121241" y="149226"/>
                    </a:cubicBezTo>
                    <a:cubicBezTo>
                      <a:pt x="121241" y="164674"/>
                      <a:pt x="133773" y="177206"/>
                      <a:pt x="149221" y="177206"/>
                    </a:cubicBezTo>
                    <a:cubicBezTo>
                      <a:pt x="164668" y="177206"/>
                      <a:pt x="177200" y="164674"/>
                      <a:pt x="177200" y="149226"/>
                    </a:cubicBezTo>
                    <a:cubicBezTo>
                      <a:pt x="177200" y="133782"/>
                      <a:pt x="164668" y="121246"/>
                      <a:pt x="149221" y="121246"/>
                    </a:cubicBezTo>
                    <a:close/>
                    <a:moveTo>
                      <a:pt x="149221" y="111919"/>
                    </a:moveTo>
                    <a:cubicBezTo>
                      <a:pt x="169821" y="111919"/>
                      <a:pt x="186526" y="128614"/>
                      <a:pt x="186526" y="149226"/>
                    </a:cubicBezTo>
                    <a:cubicBezTo>
                      <a:pt x="186526" y="169838"/>
                      <a:pt x="169821" y="186533"/>
                      <a:pt x="149221" y="186533"/>
                    </a:cubicBezTo>
                    <a:cubicBezTo>
                      <a:pt x="128599" y="186533"/>
                      <a:pt x="111915" y="169838"/>
                      <a:pt x="111915" y="149226"/>
                    </a:cubicBezTo>
                    <a:cubicBezTo>
                      <a:pt x="111915" y="128614"/>
                      <a:pt x="128599" y="111919"/>
                      <a:pt x="149221" y="111919"/>
                    </a:cubicBezTo>
                    <a:close/>
                    <a:moveTo>
                      <a:pt x="149221" y="92100"/>
                    </a:moveTo>
                    <a:cubicBezTo>
                      <a:pt x="117672" y="92100"/>
                      <a:pt x="92097" y="117683"/>
                      <a:pt x="92097" y="149226"/>
                    </a:cubicBezTo>
                    <a:cubicBezTo>
                      <a:pt x="92097" y="180769"/>
                      <a:pt x="117672" y="206351"/>
                      <a:pt x="149221" y="206351"/>
                    </a:cubicBezTo>
                    <a:cubicBezTo>
                      <a:pt x="180751" y="206351"/>
                      <a:pt x="206345" y="180769"/>
                      <a:pt x="206345" y="149226"/>
                    </a:cubicBezTo>
                    <a:cubicBezTo>
                      <a:pt x="206345" y="117683"/>
                      <a:pt x="180751" y="92100"/>
                      <a:pt x="149221" y="92100"/>
                    </a:cubicBezTo>
                    <a:close/>
                    <a:moveTo>
                      <a:pt x="149221" y="83939"/>
                    </a:moveTo>
                    <a:cubicBezTo>
                      <a:pt x="185266" y="83939"/>
                      <a:pt x="214505" y="113173"/>
                      <a:pt x="214505" y="149226"/>
                    </a:cubicBezTo>
                    <a:cubicBezTo>
                      <a:pt x="214505" y="185278"/>
                      <a:pt x="185266" y="214512"/>
                      <a:pt x="149221" y="214512"/>
                    </a:cubicBezTo>
                    <a:cubicBezTo>
                      <a:pt x="113169" y="214512"/>
                      <a:pt x="83936" y="185278"/>
                      <a:pt x="83936" y="149226"/>
                    </a:cubicBezTo>
                    <a:cubicBezTo>
                      <a:pt x="83936" y="113173"/>
                      <a:pt x="113169" y="83939"/>
                      <a:pt x="149221" y="83939"/>
                    </a:cubicBezTo>
                    <a:close/>
                    <a:moveTo>
                      <a:pt x="161910" y="18653"/>
                    </a:moveTo>
                    <a:lnTo>
                      <a:pt x="136528" y="18667"/>
                    </a:lnTo>
                    <a:lnTo>
                      <a:pt x="130822" y="47255"/>
                    </a:lnTo>
                    <a:cubicBezTo>
                      <a:pt x="129523" y="53735"/>
                      <a:pt x="124894" y="59041"/>
                      <a:pt x="118649" y="61210"/>
                    </a:cubicBezTo>
                    <a:cubicBezTo>
                      <a:pt x="115208" y="62413"/>
                      <a:pt x="111850" y="63822"/>
                      <a:pt x="108631" y="65397"/>
                    </a:cubicBezTo>
                    <a:cubicBezTo>
                      <a:pt x="106047" y="66627"/>
                      <a:pt x="103270" y="67249"/>
                      <a:pt x="100507" y="67249"/>
                    </a:cubicBezTo>
                    <a:cubicBezTo>
                      <a:pt x="96873" y="67249"/>
                      <a:pt x="93266" y="66198"/>
                      <a:pt x="90157" y="64112"/>
                    </a:cubicBezTo>
                    <a:lnTo>
                      <a:pt x="65867" y="47932"/>
                    </a:lnTo>
                    <a:lnTo>
                      <a:pt x="47918" y="65881"/>
                    </a:lnTo>
                    <a:lnTo>
                      <a:pt x="64112" y="90158"/>
                    </a:lnTo>
                    <a:cubicBezTo>
                      <a:pt x="67774" y="95657"/>
                      <a:pt x="68257" y="102690"/>
                      <a:pt x="65369" y="108631"/>
                    </a:cubicBezTo>
                    <a:cubicBezTo>
                      <a:pt x="63794" y="111878"/>
                      <a:pt x="62412" y="115222"/>
                      <a:pt x="61210" y="118662"/>
                    </a:cubicBezTo>
                    <a:cubicBezTo>
                      <a:pt x="59041" y="124908"/>
                      <a:pt x="53721" y="129537"/>
                      <a:pt x="47255" y="130822"/>
                    </a:cubicBezTo>
                    <a:lnTo>
                      <a:pt x="18653" y="136542"/>
                    </a:lnTo>
                    <a:lnTo>
                      <a:pt x="18667" y="161924"/>
                    </a:lnTo>
                    <a:lnTo>
                      <a:pt x="47255" y="167644"/>
                    </a:lnTo>
                    <a:cubicBezTo>
                      <a:pt x="53721" y="168943"/>
                      <a:pt x="59041" y="173572"/>
                      <a:pt x="61210" y="179817"/>
                    </a:cubicBezTo>
                    <a:cubicBezTo>
                      <a:pt x="62412" y="183258"/>
                      <a:pt x="63822" y="186602"/>
                      <a:pt x="65383" y="189835"/>
                    </a:cubicBezTo>
                    <a:cubicBezTo>
                      <a:pt x="68257" y="195790"/>
                      <a:pt x="67774" y="202809"/>
                      <a:pt x="64112" y="208295"/>
                    </a:cubicBezTo>
                    <a:lnTo>
                      <a:pt x="47918" y="232585"/>
                    </a:lnTo>
                    <a:lnTo>
                      <a:pt x="65867" y="250534"/>
                    </a:lnTo>
                    <a:lnTo>
                      <a:pt x="90157" y="234340"/>
                    </a:lnTo>
                    <a:cubicBezTo>
                      <a:pt x="93266" y="232268"/>
                      <a:pt x="96873" y="231204"/>
                      <a:pt x="100507" y="231204"/>
                    </a:cubicBezTo>
                    <a:cubicBezTo>
                      <a:pt x="103270" y="231204"/>
                      <a:pt x="106047" y="231825"/>
                      <a:pt x="108631" y="233083"/>
                    </a:cubicBezTo>
                    <a:cubicBezTo>
                      <a:pt x="111864" y="234658"/>
                      <a:pt x="115222" y="236054"/>
                      <a:pt x="118662" y="237256"/>
                    </a:cubicBezTo>
                    <a:cubicBezTo>
                      <a:pt x="124894" y="239411"/>
                      <a:pt x="129523" y="244731"/>
                      <a:pt x="130822" y="251211"/>
                    </a:cubicBezTo>
                    <a:lnTo>
                      <a:pt x="136528" y="279799"/>
                    </a:lnTo>
                    <a:lnTo>
                      <a:pt x="161910" y="279799"/>
                    </a:lnTo>
                    <a:lnTo>
                      <a:pt x="167644" y="251211"/>
                    </a:lnTo>
                    <a:cubicBezTo>
                      <a:pt x="168943" y="244731"/>
                      <a:pt x="173572" y="239411"/>
                      <a:pt x="179790" y="237256"/>
                    </a:cubicBezTo>
                    <a:cubicBezTo>
                      <a:pt x="183258" y="236054"/>
                      <a:pt x="186588" y="234644"/>
                      <a:pt x="189835" y="233069"/>
                    </a:cubicBezTo>
                    <a:cubicBezTo>
                      <a:pt x="192405" y="231825"/>
                      <a:pt x="195182" y="231204"/>
                      <a:pt x="197959" y="231204"/>
                    </a:cubicBezTo>
                    <a:cubicBezTo>
                      <a:pt x="201580" y="231204"/>
                      <a:pt x="205186" y="232268"/>
                      <a:pt x="208309" y="234340"/>
                    </a:cubicBezTo>
                    <a:lnTo>
                      <a:pt x="232585" y="250534"/>
                    </a:lnTo>
                    <a:lnTo>
                      <a:pt x="250520" y="232585"/>
                    </a:lnTo>
                    <a:lnTo>
                      <a:pt x="234326" y="208295"/>
                    </a:lnTo>
                    <a:cubicBezTo>
                      <a:pt x="230665" y="202809"/>
                      <a:pt x="230181" y="195776"/>
                      <a:pt x="233083" y="189821"/>
                    </a:cubicBezTo>
                    <a:cubicBezTo>
                      <a:pt x="234644" y="186574"/>
                      <a:pt x="236040" y="183244"/>
                      <a:pt x="237242" y="179804"/>
                    </a:cubicBezTo>
                    <a:cubicBezTo>
                      <a:pt x="239411" y="173558"/>
                      <a:pt x="244717" y="168929"/>
                      <a:pt x="251197" y="167644"/>
                    </a:cubicBezTo>
                    <a:cubicBezTo>
                      <a:pt x="251197" y="167644"/>
                      <a:pt x="279799" y="161924"/>
                      <a:pt x="279799" y="161924"/>
                    </a:cubicBezTo>
                    <a:lnTo>
                      <a:pt x="279785" y="136542"/>
                    </a:lnTo>
                    <a:lnTo>
                      <a:pt x="251197" y="130808"/>
                    </a:lnTo>
                    <a:cubicBezTo>
                      <a:pt x="244717" y="129523"/>
                      <a:pt x="239411" y="124894"/>
                      <a:pt x="237242" y="118649"/>
                    </a:cubicBezTo>
                    <a:cubicBezTo>
                      <a:pt x="236040" y="115208"/>
                      <a:pt x="234630" y="111864"/>
                      <a:pt x="233055" y="108631"/>
                    </a:cubicBezTo>
                    <a:cubicBezTo>
                      <a:pt x="230195" y="102676"/>
                      <a:pt x="230665" y="95657"/>
                      <a:pt x="234326" y="90158"/>
                    </a:cubicBezTo>
                    <a:lnTo>
                      <a:pt x="250520" y="65881"/>
                    </a:lnTo>
                    <a:lnTo>
                      <a:pt x="232585" y="47932"/>
                    </a:lnTo>
                    <a:lnTo>
                      <a:pt x="208309" y="64112"/>
                    </a:lnTo>
                    <a:cubicBezTo>
                      <a:pt x="205186" y="66198"/>
                      <a:pt x="201580" y="67249"/>
                      <a:pt x="197959" y="67249"/>
                    </a:cubicBezTo>
                    <a:cubicBezTo>
                      <a:pt x="195168" y="67249"/>
                      <a:pt x="192405" y="66627"/>
                      <a:pt x="189807" y="65383"/>
                    </a:cubicBezTo>
                    <a:cubicBezTo>
                      <a:pt x="186574" y="63808"/>
                      <a:pt x="183244" y="62413"/>
                      <a:pt x="179790" y="61210"/>
                    </a:cubicBezTo>
                    <a:cubicBezTo>
                      <a:pt x="173544" y="59041"/>
                      <a:pt x="168916" y="53735"/>
                      <a:pt x="167631" y="47255"/>
                    </a:cubicBezTo>
                    <a:close/>
                    <a:moveTo>
                      <a:pt x="136528" y="0"/>
                    </a:moveTo>
                    <a:lnTo>
                      <a:pt x="161910" y="0"/>
                    </a:lnTo>
                    <a:cubicBezTo>
                      <a:pt x="170795" y="0"/>
                      <a:pt x="178463" y="6287"/>
                      <a:pt x="180190" y="15006"/>
                    </a:cubicBezTo>
                    <a:lnTo>
                      <a:pt x="185911" y="43593"/>
                    </a:lnTo>
                    <a:cubicBezTo>
                      <a:pt x="190056" y="45030"/>
                      <a:pt x="194063" y="46716"/>
                      <a:pt x="197959" y="48595"/>
                    </a:cubicBezTo>
                    <a:lnTo>
                      <a:pt x="222250" y="32415"/>
                    </a:lnTo>
                    <a:cubicBezTo>
                      <a:pt x="225387" y="30301"/>
                      <a:pt x="228993" y="29279"/>
                      <a:pt x="232572" y="29279"/>
                    </a:cubicBezTo>
                    <a:cubicBezTo>
                      <a:pt x="237408" y="29279"/>
                      <a:pt x="242161" y="31130"/>
                      <a:pt x="245767" y="34737"/>
                    </a:cubicBezTo>
                    <a:lnTo>
                      <a:pt x="263716" y="52685"/>
                    </a:lnTo>
                    <a:cubicBezTo>
                      <a:pt x="270002" y="58972"/>
                      <a:pt x="270983" y="68824"/>
                      <a:pt x="266051" y="76216"/>
                    </a:cubicBezTo>
                    <a:lnTo>
                      <a:pt x="249857" y="100507"/>
                    </a:lnTo>
                    <a:cubicBezTo>
                      <a:pt x="251722" y="104389"/>
                      <a:pt x="253422" y="108382"/>
                      <a:pt x="254859" y="112528"/>
                    </a:cubicBezTo>
                    <a:lnTo>
                      <a:pt x="283447" y="118248"/>
                    </a:lnTo>
                    <a:cubicBezTo>
                      <a:pt x="292165" y="120003"/>
                      <a:pt x="298452" y="127657"/>
                      <a:pt x="298452" y="136542"/>
                    </a:cubicBezTo>
                    <a:lnTo>
                      <a:pt x="298452" y="161924"/>
                    </a:lnTo>
                    <a:cubicBezTo>
                      <a:pt x="298452" y="170809"/>
                      <a:pt x="292165" y="178463"/>
                      <a:pt x="283447" y="180218"/>
                    </a:cubicBezTo>
                    <a:lnTo>
                      <a:pt x="254859" y="185925"/>
                    </a:lnTo>
                    <a:cubicBezTo>
                      <a:pt x="253422" y="190056"/>
                      <a:pt x="251750" y="194063"/>
                      <a:pt x="249857" y="197959"/>
                    </a:cubicBezTo>
                    <a:lnTo>
                      <a:pt x="266051" y="222236"/>
                    </a:lnTo>
                    <a:cubicBezTo>
                      <a:pt x="270983" y="229629"/>
                      <a:pt x="270002" y="239494"/>
                      <a:pt x="263716" y="245781"/>
                    </a:cubicBezTo>
                    <a:lnTo>
                      <a:pt x="245767" y="263716"/>
                    </a:lnTo>
                    <a:cubicBezTo>
                      <a:pt x="242161" y="267322"/>
                      <a:pt x="237408" y="269187"/>
                      <a:pt x="232572" y="269187"/>
                    </a:cubicBezTo>
                    <a:cubicBezTo>
                      <a:pt x="228993" y="269187"/>
                      <a:pt x="225387" y="268151"/>
                      <a:pt x="222250" y="266051"/>
                    </a:cubicBezTo>
                    <a:lnTo>
                      <a:pt x="197959" y="249857"/>
                    </a:lnTo>
                    <a:cubicBezTo>
                      <a:pt x="194077" y="251750"/>
                      <a:pt x="190070" y="253422"/>
                      <a:pt x="185938" y="254873"/>
                    </a:cubicBezTo>
                    <a:lnTo>
                      <a:pt x="180190" y="283460"/>
                    </a:lnTo>
                    <a:cubicBezTo>
                      <a:pt x="178463" y="292193"/>
                      <a:pt x="170795" y="298452"/>
                      <a:pt x="161910" y="298452"/>
                    </a:cubicBezTo>
                    <a:lnTo>
                      <a:pt x="136528" y="298452"/>
                    </a:lnTo>
                    <a:cubicBezTo>
                      <a:pt x="127644" y="298452"/>
                      <a:pt x="119989" y="292193"/>
                      <a:pt x="118248" y="283460"/>
                    </a:cubicBezTo>
                    <a:lnTo>
                      <a:pt x="112528" y="254873"/>
                    </a:lnTo>
                    <a:cubicBezTo>
                      <a:pt x="108382" y="253422"/>
                      <a:pt x="104389" y="251750"/>
                      <a:pt x="100507" y="249857"/>
                    </a:cubicBezTo>
                    <a:lnTo>
                      <a:pt x="76216" y="266051"/>
                    </a:lnTo>
                    <a:cubicBezTo>
                      <a:pt x="73066" y="268151"/>
                      <a:pt x="69459" y="269187"/>
                      <a:pt x="65881" y="269187"/>
                    </a:cubicBezTo>
                    <a:cubicBezTo>
                      <a:pt x="61058" y="269187"/>
                      <a:pt x="56291" y="267322"/>
                      <a:pt x="52685" y="263716"/>
                    </a:cubicBezTo>
                    <a:lnTo>
                      <a:pt x="34737" y="245781"/>
                    </a:lnTo>
                    <a:cubicBezTo>
                      <a:pt x="28450" y="239494"/>
                      <a:pt x="27469" y="229629"/>
                      <a:pt x="32401" y="222236"/>
                    </a:cubicBezTo>
                    <a:lnTo>
                      <a:pt x="48595" y="197959"/>
                    </a:lnTo>
                    <a:cubicBezTo>
                      <a:pt x="46716" y="194077"/>
                      <a:pt x="45030" y="190070"/>
                      <a:pt x="43593" y="185938"/>
                    </a:cubicBezTo>
                    <a:lnTo>
                      <a:pt x="15006" y="180218"/>
                    </a:lnTo>
                    <a:cubicBezTo>
                      <a:pt x="6273" y="178463"/>
                      <a:pt x="0" y="170809"/>
                      <a:pt x="0" y="161924"/>
                    </a:cubicBezTo>
                    <a:lnTo>
                      <a:pt x="0" y="136542"/>
                    </a:lnTo>
                    <a:cubicBezTo>
                      <a:pt x="0" y="127657"/>
                      <a:pt x="6273" y="120003"/>
                      <a:pt x="15006" y="118248"/>
                    </a:cubicBezTo>
                    <a:lnTo>
                      <a:pt x="43593" y="112528"/>
                    </a:lnTo>
                    <a:cubicBezTo>
                      <a:pt x="45030" y="108396"/>
                      <a:pt x="46702" y="104389"/>
                      <a:pt x="48595" y="100507"/>
                    </a:cubicBezTo>
                    <a:lnTo>
                      <a:pt x="32401" y="76216"/>
                    </a:lnTo>
                    <a:cubicBezTo>
                      <a:pt x="27469" y="68824"/>
                      <a:pt x="28450" y="58972"/>
                      <a:pt x="34737" y="52685"/>
                    </a:cubicBezTo>
                    <a:lnTo>
                      <a:pt x="52685" y="34737"/>
                    </a:lnTo>
                    <a:cubicBezTo>
                      <a:pt x="56291" y="31130"/>
                      <a:pt x="61058" y="29279"/>
                      <a:pt x="65881" y="29279"/>
                    </a:cubicBezTo>
                    <a:cubicBezTo>
                      <a:pt x="69459" y="29279"/>
                      <a:pt x="73052" y="30301"/>
                      <a:pt x="76216" y="32415"/>
                    </a:cubicBezTo>
                    <a:lnTo>
                      <a:pt x="100507" y="48595"/>
                    </a:lnTo>
                    <a:cubicBezTo>
                      <a:pt x="104389" y="46716"/>
                      <a:pt x="108382" y="45030"/>
                      <a:pt x="112528" y="43593"/>
                    </a:cubicBezTo>
                    <a:lnTo>
                      <a:pt x="118248" y="15006"/>
                    </a:lnTo>
                    <a:cubicBezTo>
                      <a:pt x="119989" y="6287"/>
                      <a:pt x="127644" y="0"/>
                      <a:pt x="136528" y="0"/>
                    </a:cubicBezTo>
                    <a:close/>
                  </a:path>
                </a:pathLst>
              </a:custGeom>
              <a:solidFill>
                <a:schemeClr val="accent1">
                  <a:lumMod val="10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anchor="ctr"/>
              <a:lstStyle/>
              <a:p>
                <a:pPr algn="ctr"/>
                <a:endParaRPr/>
              </a:p>
            </p:txBody>
          </p:sp>
          <p:grpSp>
            <p:nvGrpSpPr>
              <p:cNvPr id="51" name="îšlîďe">
                <a:extLst>
                  <a:ext uri="{FF2B5EF4-FFF2-40B4-BE49-F238E27FC236}">
                    <a16:creationId xmlns:a16="http://schemas.microsoft.com/office/drawing/2014/main" id="{37A125A0-DEE9-4552-A01C-864596B5CCC7}"/>
                  </a:ext>
                </a:extLst>
              </p:cNvPr>
              <p:cNvGrpSpPr/>
              <p:nvPr/>
            </p:nvGrpSpPr>
            <p:grpSpPr>
              <a:xfrm>
                <a:off x="5245543" y="2731985"/>
                <a:ext cx="1914278" cy="972938"/>
                <a:chOff x="4601215" y="1415695"/>
                <a:chExt cx="1914278" cy="972938"/>
              </a:xfrm>
            </p:grpSpPr>
            <p:sp>
              <p:nvSpPr>
                <p:cNvPr id="52" name="išḷíḑè">
                  <a:extLst>
                    <a:ext uri="{FF2B5EF4-FFF2-40B4-BE49-F238E27FC236}">
                      <a16:creationId xmlns:a16="http://schemas.microsoft.com/office/drawing/2014/main" id="{41429F2B-74C2-4D3D-BCE7-9C56E606987F}"/>
                    </a:ext>
                  </a:extLst>
                </p:cNvPr>
                <p:cNvSpPr/>
                <p:nvPr/>
              </p:nvSpPr>
              <p:spPr>
                <a:xfrm>
                  <a:off x="4601215" y="1415695"/>
                  <a:ext cx="1914278" cy="391664"/>
                </a:xfrm>
                <a:prstGeom prst="rect">
                  <a:avLst/>
                </a:prstGeom>
              </p:spPr>
              <p:txBody>
                <a:bodyPr wrap="none" lIns="90000" tIns="46800" rIns="90000" bIns="46800" anchor="b" anchorCtr="0">
                  <a:normAutofit/>
                </a:bodyPr>
                <a:lstStyle/>
                <a:p>
                  <a:r>
                    <a:rPr lang="zh-CN" altLang="en-US" sz="1400" b="1" dirty="0">
                      <a:effectLst/>
                    </a:rPr>
                    <a:t>模型的试点</a:t>
                  </a:r>
                </a:p>
              </p:txBody>
            </p:sp>
            <p:sp>
              <p:nvSpPr>
                <p:cNvPr id="53" name="íṧḷïḋé">
                  <a:extLst>
                    <a:ext uri="{FF2B5EF4-FFF2-40B4-BE49-F238E27FC236}">
                      <a16:creationId xmlns:a16="http://schemas.microsoft.com/office/drawing/2014/main" id="{EE2A8DBA-4EDB-477A-878B-6D07DDB53C89}"/>
                    </a:ext>
                  </a:extLst>
                </p:cNvPr>
                <p:cNvSpPr/>
                <p:nvPr/>
              </p:nvSpPr>
              <p:spPr>
                <a:xfrm>
                  <a:off x="4601215" y="1807359"/>
                  <a:ext cx="1914278" cy="581274"/>
                </a:xfrm>
                <a:prstGeom prst="rect">
                  <a:avLst/>
                </a:prstGeom>
              </p:spPr>
              <p:txBody>
                <a:bodyPr wrap="square" lIns="90000" tIns="46800" rIns="90000" bIns="46800">
                  <a:normAutofit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zh-CN" altLang="en-US" sz="1100" dirty="0"/>
                    <a:t>客户门店应用</a:t>
                  </a:r>
                  <a:endParaRPr lang="en-US" altLang="zh-CN" sz="1100" dirty="0"/>
                </a:p>
                <a:p>
                  <a:pPr>
                    <a:lnSpc>
                      <a:spcPct val="120000"/>
                    </a:lnSpc>
                  </a:pPr>
                  <a:r>
                    <a:rPr lang="zh-CN" altLang="en-US" sz="1100" dirty="0"/>
                    <a:t>客户培训和介绍</a:t>
                  </a:r>
                  <a:endParaRPr lang="en-US" altLang="zh-CN" sz="1100" dirty="0"/>
                </a:p>
              </p:txBody>
            </p:sp>
          </p:grpSp>
        </p:grpSp>
        <p:sp>
          <p:nvSpPr>
            <p:cNvPr id="17" name="iśļiḍe">
              <a:extLst>
                <a:ext uri="{FF2B5EF4-FFF2-40B4-BE49-F238E27FC236}">
                  <a16:creationId xmlns:a16="http://schemas.microsoft.com/office/drawing/2014/main" id="{27CF48EA-7DDA-43BC-B76C-8E4DA446557D}"/>
                </a:ext>
              </a:extLst>
            </p:cNvPr>
            <p:cNvSpPr/>
            <p:nvPr/>
          </p:nvSpPr>
          <p:spPr>
            <a:xfrm>
              <a:off x="7410948" y="5114326"/>
              <a:ext cx="194470" cy="19446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381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" name="íŝḻíḍe">
              <a:extLst>
                <a:ext uri="{FF2B5EF4-FFF2-40B4-BE49-F238E27FC236}">
                  <a16:creationId xmlns:a16="http://schemas.microsoft.com/office/drawing/2014/main" id="{EB743CCC-4CFD-48FC-A91D-B8AA7042C615}"/>
                </a:ext>
              </a:extLst>
            </p:cNvPr>
            <p:cNvSpPr txBox="1"/>
            <p:nvPr/>
          </p:nvSpPr>
          <p:spPr bwMode="auto">
            <a:xfrm>
              <a:off x="7056142" y="5308791"/>
              <a:ext cx="911225" cy="368110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/>
              <a:r>
                <a:rPr lang="en-US" altLang="zh-CN" sz="1200" dirty="0">
                  <a:effectLst/>
                </a:rPr>
                <a:t>2019.8.1</a:t>
              </a:r>
              <a:endParaRPr lang="zh-CN" altLang="en-US" sz="1200" dirty="0">
                <a:effectLst/>
              </a:endParaRPr>
            </a:p>
          </p:txBody>
        </p:sp>
        <p:grpSp>
          <p:nvGrpSpPr>
            <p:cNvPr id="19" name="î$ľîḋé">
              <a:extLst>
                <a:ext uri="{FF2B5EF4-FFF2-40B4-BE49-F238E27FC236}">
                  <a16:creationId xmlns:a16="http://schemas.microsoft.com/office/drawing/2014/main" id="{3744ABC9-6CB9-4B02-9D93-BB82B4D39D67}"/>
                </a:ext>
              </a:extLst>
            </p:cNvPr>
            <p:cNvGrpSpPr/>
            <p:nvPr/>
          </p:nvGrpSpPr>
          <p:grpSpPr>
            <a:xfrm>
              <a:off x="7429552" y="1676119"/>
              <a:ext cx="1914278" cy="1283056"/>
              <a:chOff x="7425082" y="2421867"/>
              <a:chExt cx="1914278" cy="1283056"/>
            </a:xfrm>
          </p:grpSpPr>
          <p:sp>
            <p:nvSpPr>
              <p:cNvPr id="46" name="íṩḷïḑe">
                <a:extLst>
                  <a:ext uri="{FF2B5EF4-FFF2-40B4-BE49-F238E27FC236}">
                    <a16:creationId xmlns:a16="http://schemas.microsoft.com/office/drawing/2014/main" id="{5A6DD38E-FCE5-4E9E-9714-ADD3D6F50DE6}"/>
                  </a:ext>
                </a:extLst>
              </p:cNvPr>
              <p:cNvSpPr/>
              <p:nvPr/>
            </p:nvSpPr>
            <p:spPr>
              <a:xfrm>
                <a:off x="7501832" y="2421867"/>
                <a:ext cx="298452" cy="298452"/>
              </a:xfrm>
              <a:custGeom>
                <a:avLst/>
                <a:gdLst>
                  <a:gd name="connsiteX0" fmla="*/ 149221 w 298452"/>
                  <a:gd name="connsiteY0" fmla="*/ 121246 h 298452"/>
                  <a:gd name="connsiteX1" fmla="*/ 121241 w 298452"/>
                  <a:gd name="connsiteY1" fmla="*/ 149226 h 298452"/>
                  <a:gd name="connsiteX2" fmla="*/ 149221 w 298452"/>
                  <a:gd name="connsiteY2" fmla="*/ 177206 h 298452"/>
                  <a:gd name="connsiteX3" fmla="*/ 177200 w 298452"/>
                  <a:gd name="connsiteY3" fmla="*/ 149226 h 298452"/>
                  <a:gd name="connsiteX4" fmla="*/ 149221 w 298452"/>
                  <a:gd name="connsiteY4" fmla="*/ 121246 h 298452"/>
                  <a:gd name="connsiteX5" fmla="*/ 149221 w 298452"/>
                  <a:gd name="connsiteY5" fmla="*/ 111919 h 298452"/>
                  <a:gd name="connsiteX6" fmla="*/ 186526 w 298452"/>
                  <a:gd name="connsiteY6" fmla="*/ 149226 h 298452"/>
                  <a:gd name="connsiteX7" fmla="*/ 149221 w 298452"/>
                  <a:gd name="connsiteY7" fmla="*/ 186533 h 298452"/>
                  <a:gd name="connsiteX8" fmla="*/ 111915 w 298452"/>
                  <a:gd name="connsiteY8" fmla="*/ 149226 h 298452"/>
                  <a:gd name="connsiteX9" fmla="*/ 149221 w 298452"/>
                  <a:gd name="connsiteY9" fmla="*/ 111919 h 298452"/>
                  <a:gd name="connsiteX10" fmla="*/ 149221 w 298452"/>
                  <a:gd name="connsiteY10" fmla="*/ 92100 h 298452"/>
                  <a:gd name="connsiteX11" fmla="*/ 92097 w 298452"/>
                  <a:gd name="connsiteY11" fmla="*/ 149226 h 298452"/>
                  <a:gd name="connsiteX12" fmla="*/ 149221 w 298452"/>
                  <a:gd name="connsiteY12" fmla="*/ 206351 h 298452"/>
                  <a:gd name="connsiteX13" fmla="*/ 206345 w 298452"/>
                  <a:gd name="connsiteY13" fmla="*/ 149226 h 298452"/>
                  <a:gd name="connsiteX14" fmla="*/ 149221 w 298452"/>
                  <a:gd name="connsiteY14" fmla="*/ 92100 h 298452"/>
                  <a:gd name="connsiteX15" fmla="*/ 149221 w 298452"/>
                  <a:gd name="connsiteY15" fmla="*/ 83939 h 298452"/>
                  <a:gd name="connsiteX16" fmla="*/ 214505 w 298452"/>
                  <a:gd name="connsiteY16" fmla="*/ 149226 h 298452"/>
                  <a:gd name="connsiteX17" fmla="*/ 149221 w 298452"/>
                  <a:gd name="connsiteY17" fmla="*/ 214512 h 298452"/>
                  <a:gd name="connsiteX18" fmla="*/ 83936 w 298452"/>
                  <a:gd name="connsiteY18" fmla="*/ 149226 h 298452"/>
                  <a:gd name="connsiteX19" fmla="*/ 149221 w 298452"/>
                  <a:gd name="connsiteY19" fmla="*/ 83939 h 298452"/>
                  <a:gd name="connsiteX20" fmla="*/ 161910 w 298452"/>
                  <a:gd name="connsiteY20" fmla="*/ 18653 h 298452"/>
                  <a:gd name="connsiteX21" fmla="*/ 136528 w 298452"/>
                  <a:gd name="connsiteY21" fmla="*/ 18667 h 298452"/>
                  <a:gd name="connsiteX22" fmla="*/ 130822 w 298452"/>
                  <a:gd name="connsiteY22" fmla="*/ 47255 h 298452"/>
                  <a:gd name="connsiteX23" fmla="*/ 118649 w 298452"/>
                  <a:gd name="connsiteY23" fmla="*/ 61210 h 298452"/>
                  <a:gd name="connsiteX24" fmla="*/ 108631 w 298452"/>
                  <a:gd name="connsiteY24" fmla="*/ 65397 h 298452"/>
                  <a:gd name="connsiteX25" fmla="*/ 100507 w 298452"/>
                  <a:gd name="connsiteY25" fmla="*/ 67249 h 298452"/>
                  <a:gd name="connsiteX26" fmla="*/ 90157 w 298452"/>
                  <a:gd name="connsiteY26" fmla="*/ 64112 h 298452"/>
                  <a:gd name="connsiteX27" fmla="*/ 65867 w 298452"/>
                  <a:gd name="connsiteY27" fmla="*/ 47932 h 298452"/>
                  <a:gd name="connsiteX28" fmla="*/ 47918 w 298452"/>
                  <a:gd name="connsiteY28" fmla="*/ 65881 h 298452"/>
                  <a:gd name="connsiteX29" fmla="*/ 64112 w 298452"/>
                  <a:gd name="connsiteY29" fmla="*/ 90158 h 298452"/>
                  <a:gd name="connsiteX30" fmla="*/ 65369 w 298452"/>
                  <a:gd name="connsiteY30" fmla="*/ 108631 h 298452"/>
                  <a:gd name="connsiteX31" fmla="*/ 61210 w 298452"/>
                  <a:gd name="connsiteY31" fmla="*/ 118662 h 298452"/>
                  <a:gd name="connsiteX32" fmla="*/ 47255 w 298452"/>
                  <a:gd name="connsiteY32" fmla="*/ 130822 h 298452"/>
                  <a:gd name="connsiteX33" fmla="*/ 18653 w 298452"/>
                  <a:gd name="connsiteY33" fmla="*/ 136542 h 298452"/>
                  <a:gd name="connsiteX34" fmla="*/ 18667 w 298452"/>
                  <a:gd name="connsiteY34" fmla="*/ 161924 h 298452"/>
                  <a:gd name="connsiteX35" fmla="*/ 47255 w 298452"/>
                  <a:gd name="connsiteY35" fmla="*/ 167644 h 298452"/>
                  <a:gd name="connsiteX36" fmla="*/ 61210 w 298452"/>
                  <a:gd name="connsiteY36" fmla="*/ 179817 h 298452"/>
                  <a:gd name="connsiteX37" fmla="*/ 65383 w 298452"/>
                  <a:gd name="connsiteY37" fmla="*/ 189835 h 298452"/>
                  <a:gd name="connsiteX38" fmla="*/ 64112 w 298452"/>
                  <a:gd name="connsiteY38" fmla="*/ 208295 h 298452"/>
                  <a:gd name="connsiteX39" fmla="*/ 47918 w 298452"/>
                  <a:gd name="connsiteY39" fmla="*/ 232585 h 298452"/>
                  <a:gd name="connsiteX40" fmla="*/ 65867 w 298452"/>
                  <a:gd name="connsiteY40" fmla="*/ 250534 h 298452"/>
                  <a:gd name="connsiteX41" fmla="*/ 90157 w 298452"/>
                  <a:gd name="connsiteY41" fmla="*/ 234340 h 298452"/>
                  <a:gd name="connsiteX42" fmla="*/ 100507 w 298452"/>
                  <a:gd name="connsiteY42" fmla="*/ 231204 h 298452"/>
                  <a:gd name="connsiteX43" fmla="*/ 108631 w 298452"/>
                  <a:gd name="connsiteY43" fmla="*/ 233083 h 298452"/>
                  <a:gd name="connsiteX44" fmla="*/ 118662 w 298452"/>
                  <a:gd name="connsiteY44" fmla="*/ 237256 h 298452"/>
                  <a:gd name="connsiteX45" fmla="*/ 130822 w 298452"/>
                  <a:gd name="connsiteY45" fmla="*/ 251211 h 298452"/>
                  <a:gd name="connsiteX46" fmla="*/ 136528 w 298452"/>
                  <a:gd name="connsiteY46" fmla="*/ 279799 h 298452"/>
                  <a:gd name="connsiteX47" fmla="*/ 161910 w 298452"/>
                  <a:gd name="connsiteY47" fmla="*/ 279799 h 298452"/>
                  <a:gd name="connsiteX48" fmla="*/ 167644 w 298452"/>
                  <a:gd name="connsiteY48" fmla="*/ 251211 h 298452"/>
                  <a:gd name="connsiteX49" fmla="*/ 179790 w 298452"/>
                  <a:gd name="connsiteY49" fmla="*/ 237256 h 298452"/>
                  <a:gd name="connsiteX50" fmla="*/ 189835 w 298452"/>
                  <a:gd name="connsiteY50" fmla="*/ 233069 h 298452"/>
                  <a:gd name="connsiteX51" fmla="*/ 197959 w 298452"/>
                  <a:gd name="connsiteY51" fmla="*/ 231204 h 298452"/>
                  <a:gd name="connsiteX52" fmla="*/ 208309 w 298452"/>
                  <a:gd name="connsiteY52" fmla="*/ 234340 h 298452"/>
                  <a:gd name="connsiteX53" fmla="*/ 232585 w 298452"/>
                  <a:gd name="connsiteY53" fmla="*/ 250534 h 298452"/>
                  <a:gd name="connsiteX54" fmla="*/ 250520 w 298452"/>
                  <a:gd name="connsiteY54" fmla="*/ 232585 h 298452"/>
                  <a:gd name="connsiteX55" fmla="*/ 234326 w 298452"/>
                  <a:gd name="connsiteY55" fmla="*/ 208295 h 298452"/>
                  <a:gd name="connsiteX56" fmla="*/ 233083 w 298452"/>
                  <a:gd name="connsiteY56" fmla="*/ 189821 h 298452"/>
                  <a:gd name="connsiteX57" fmla="*/ 237242 w 298452"/>
                  <a:gd name="connsiteY57" fmla="*/ 179804 h 298452"/>
                  <a:gd name="connsiteX58" fmla="*/ 251197 w 298452"/>
                  <a:gd name="connsiteY58" fmla="*/ 167644 h 298452"/>
                  <a:gd name="connsiteX59" fmla="*/ 279799 w 298452"/>
                  <a:gd name="connsiteY59" fmla="*/ 161924 h 298452"/>
                  <a:gd name="connsiteX60" fmla="*/ 279785 w 298452"/>
                  <a:gd name="connsiteY60" fmla="*/ 136542 h 298452"/>
                  <a:gd name="connsiteX61" fmla="*/ 251197 w 298452"/>
                  <a:gd name="connsiteY61" fmla="*/ 130808 h 298452"/>
                  <a:gd name="connsiteX62" fmla="*/ 237242 w 298452"/>
                  <a:gd name="connsiteY62" fmla="*/ 118649 h 298452"/>
                  <a:gd name="connsiteX63" fmla="*/ 233055 w 298452"/>
                  <a:gd name="connsiteY63" fmla="*/ 108631 h 298452"/>
                  <a:gd name="connsiteX64" fmla="*/ 234326 w 298452"/>
                  <a:gd name="connsiteY64" fmla="*/ 90158 h 298452"/>
                  <a:gd name="connsiteX65" fmla="*/ 250520 w 298452"/>
                  <a:gd name="connsiteY65" fmla="*/ 65881 h 298452"/>
                  <a:gd name="connsiteX66" fmla="*/ 232585 w 298452"/>
                  <a:gd name="connsiteY66" fmla="*/ 47932 h 298452"/>
                  <a:gd name="connsiteX67" fmla="*/ 208309 w 298452"/>
                  <a:gd name="connsiteY67" fmla="*/ 64112 h 298452"/>
                  <a:gd name="connsiteX68" fmla="*/ 197959 w 298452"/>
                  <a:gd name="connsiteY68" fmla="*/ 67249 h 298452"/>
                  <a:gd name="connsiteX69" fmla="*/ 189807 w 298452"/>
                  <a:gd name="connsiteY69" fmla="*/ 65383 h 298452"/>
                  <a:gd name="connsiteX70" fmla="*/ 179790 w 298452"/>
                  <a:gd name="connsiteY70" fmla="*/ 61210 h 298452"/>
                  <a:gd name="connsiteX71" fmla="*/ 167631 w 298452"/>
                  <a:gd name="connsiteY71" fmla="*/ 47255 h 298452"/>
                  <a:gd name="connsiteX72" fmla="*/ 136528 w 298452"/>
                  <a:gd name="connsiteY72" fmla="*/ 0 h 298452"/>
                  <a:gd name="connsiteX73" fmla="*/ 161910 w 298452"/>
                  <a:gd name="connsiteY73" fmla="*/ 0 h 298452"/>
                  <a:gd name="connsiteX74" fmla="*/ 180190 w 298452"/>
                  <a:gd name="connsiteY74" fmla="*/ 15006 h 298452"/>
                  <a:gd name="connsiteX75" fmla="*/ 185911 w 298452"/>
                  <a:gd name="connsiteY75" fmla="*/ 43593 h 298452"/>
                  <a:gd name="connsiteX76" fmla="*/ 197959 w 298452"/>
                  <a:gd name="connsiteY76" fmla="*/ 48595 h 298452"/>
                  <a:gd name="connsiteX77" fmla="*/ 222250 w 298452"/>
                  <a:gd name="connsiteY77" fmla="*/ 32415 h 298452"/>
                  <a:gd name="connsiteX78" fmla="*/ 232572 w 298452"/>
                  <a:gd name="connsiteY78" fmla="*/ 29279 h 298452"/>
                  <a:gd name="connsiteX79" fmla="*/ 245767 w 298452"/>
                  <a:gd name="connsiteY79" fmla="*/ 34737 h 298452"/>
                  <a:gd name="connsiteX80" fmla="*/ 263716 w 298452"/>
                  <a:gd name="connsiteY80" fmla="*/ 52685 h 298452"/>
                  <a:gd name="connsiteX81" fmla="*/ 266051 w 298452"/>
                  <a:gd name="connsiteY81" fmla="*/ 76216 h 298452"/>
                  <a:gd name="connsiteX82" fmla="*/ 249857 w 298452"/>
                  <a:gd name="connsiteY82" fmla="*/ 100507 h 298452"/>
                  <a:gd name="connsiteX83" fmla="*/ 254859 w 298452"/>
                  <a:gd name="connsiteY83" fmla="*/ 112528 h 298452"/>
                  <a:gd name="connsiteX84" fmla="*/ 283447 w 298452"/>
                  <a:gd name="connsiteY84" fmla="*/ 118248 h 298452"/>
                  <a:gd name="connsiteX85" fmla="*/ 298452 w 298452"/>
                  <a:gd name="connsiteY85" fmla="*/ 136542 h 298452"/>
                  <a:gd name="connsiteX86" fmla="*/ 298452 w 298452"/>
                  <a:gd name="connsiteY86" fmla="*/ 161924 h 298452"/>
                  <a:gd name="connsiteX87" fmla="*/ 283447 w 298452"/>
                  <a:gd name="connsiteY87" fmla="*/ 180218 h 298452"/>
                  <a:gd name="connsiteX88" fmla="*/ 254859 w 298452"/>
                  <a:gd name="connsiteY88" fmla="*/ 185925 h 298452"/>
                  <a:gd name="connsiteX89" fmla="*/ 249857 w 298452"/>
                  <a:gd name="connsiteY89" fmla="*/ 197959 h 298452"/>
                  <a:gd name="connsiteX90" fmla="*/ 266051 w 298452"/>
                  <a:gd name="connsiteY90" fmla="*/ 222236 h 298452"/>
                  <a:gd name="connsiteX91" fmla="*/ 263716 w 298452"/>
                  <a:gd name="connsiteY91" fmla="*/ 245781 h 298452"/>
                  <a:gd name="connsiteX92" fmla="*/ 245767 w 298452"/>
                  <a:gd name="connsiteY92" fmla="*/ 263716 h 298452"/>
                  <a:gd name="connsiteX93" fmla="*/ 232572 w 298452"/>
                  <a:gd name="connsiteY93" fmla="*/ 269187 h 298452"/>
                  <a:gd name="connsiteX94" fmla="*/ 222250 w 298452"/>
                  <a:gd name="connsiteY94" fmla="*/ 266051 h 298452"/>
                  <a:gd name="connsiteX95" fmla="*/ 197959 w 298452"/>
                  <a:gd name="connsiteY95" fmla="*/ 249857 h 298452"/>
                  <a:gd name="connsiteX96" fmla="*/ 185938 w 298452"/>
                  <a:gd name="connsiteY96" fmla="*/ 254873 h 298452"/>
                  <a:gd name="connsiteX97" fmla="*/ 180190 w 298452"/>
                  <a:gd name="connsiteY97" fmla="*/ 283460 h 298452"/>
                  <a:gd name="connsiteX98" fmla="*/ 161910 w 298452"/>
                  <a:gd name="connsiteY98" fmla="*/ 298452 h 298452"/>
                  <a:gd name="connsiteX99" fmla="*/ 136528 w 298452"/>
                  <a:gd name="connsiteY99" fmla="*/ 298452 h 298452"/>
                  <a:gd name="connsiteX100" fmla="*/ 118248 w 298452"/>
                  <a:gd name="connsiteY100" fmla="*/ 283460 h 298452"/>
                  <a:gd name="connsiteX101" fmla="*/ 112528 w 298452"/>
                  <a:gd name="connsiteY101" fmla="*/ 254873 h 298452"/>
                  <a:gd name="connsiteX102" fmla="*/ 100507 w 298452"/>
                  <a:gd name="connsiteY102" fmla="*/ 249857 h 298452"/>
                  <a:gd name="connsiteX103" fmla="*/ 76216 w 298452"/>
                  <a:gd name="connsiteY103" fmla="*/ 266051 h 298452"/>
                  <a:gd name="connsiteX104" fmla="*/ 65881 w 298452"/>
                  <a:gd name="connsiteY104" fmla="*/ 269187 h 298452"/>
                  <a:gd name="connsiteX105" fmla="*/ 52685 w 298452"/>
                  <a:gd name="connsiteY105" fmla="*/ 263716 h 298452"/>
                  <a:gd name="connsiteX106" fmla="*/ 34737 w 298452"/>
                  <a:gd name="connsiteY106" fmla="*/ 245781 h 298452"/>
                  <a:gd name="connsiteX107" fmla="*/ 32401 w 298452"/>
                  <a:gd name="connsiteY107" fmla="*/ 222236 h 298452"/>
                  <a:gd name="connsiteX108" fmla="*/ 48595 w 298452"/>
                  <a:gd name="connsiteY108" fmla="*/ 197959 h 298452"/>
                  <a:gd name="connsiteX109" fmla="*/ 43593 w 298452"/>
                  <a:gd name="connsiteY109" fmla="*/ 185938 h 298452"/>
                  <a:gd name="connsiteX110" fmla="*/ 15006 w 298452"/>
                  <a:gd name="connsiteY110" fmla="*/ 180218 h 298452"/>
                  <a:gd name="connsiteX111" fmla="*/ 0 w 298452"/>
                  <a:gd name="connsiteY111" fmla="*/ 161924 h 298452"/>
                  <a:gd name="connsiteX112" fmla="*/ 0 w 298452"/>
                  <a:gd name="connsiteY112" fmla="*/ 136542 h 298452"/>
                  <a:gd name="connsiteX113" fmla="*/ 15006 w 298452"/>
                  <a:gd name="connsiteY113" fmla="*/ 118248 h 298452"/>
                  <a:gd name="connsiteX114" fmla="*/ 43593 w 298452"/>
                  <a:gd name="connsiteY114" fmla="*/ 112528 h 298452"/>
                  <a:gd name="connsiteX115" fmla="*/ 48595 w 298452"/>
                  <a:gd name="connsiteY115" fmla="*/ 100507 h 298452"/>
                  <a:gd name="connsiteX116" fmla="*/ 32401 w 298452"/>
                  <a:gd name="connsiteY116" fmla="*/ 76216 h 298452"/>
                  <a:gd name="connsiteX117" fmla="*/ 34737 w 298452"/>
                  <a:gd name="connsiteY117" fmla="*/ 52685 h 298452"/>
                  <a:gd name="connsiteX118" fmla="*/ 52685 w 298452"/>
                  <a:gd name="connsiteY118" fmla="*/ 34737 h 298452"/>
                  <a:gd name="connsiteX119" fmla="*/ 65881 w 298452"/>
                  <a:gd name="connsiteY119" fmla="*/ 29279 h 298452"/>
                  <a:gd name="connsiteX120" fmla="*/ 76216 w 298452"/>
                  <a:gd name="connsiteY120" fmla="*/ 32415 h 298452"/>
                  <a:gd name="connsiteX121" fmla="*/ 100507 w 298452"/>
                  <a:gd name="connsiteY121" fmla="*/ 48595 h 298452"/>
                  <a:gd name="connsiteX122" fmla="*/ 112528 w 298452"/>
                  <a:gd name="connsiteY122" fmla="*/ 43593 h 298452"/>
                  <a:gd name="connsiteX123" fmla="*/ 118248 w 298452"/>
                  <a:gd name="connsiteY123" fmla="*/ 15006 h 298452"/>
                  <a:gd name="connsiteX124" fmla="*/ 136528 w 298452"/>
                  <a:gd name="connsiteY124" fmla="*/ 0 h 298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</a:cxnLst>
                <a:rect l="l" t="t" r="r" b="b"/>
                <a:pathLst>
                  <a:path w="298452" h="298452">
                    <a:moveTo>
                      <a:pt x="149221" y="121246"/>
                    </a:moveTo>
                    <a:cubicBezTo>
                      <a:pt x="133773" y="121246"/>
                      <a:pt x="121241" y="133782"/>
                      <a:pt x="121241" y="149226"/>
                    </a:cubicBezTo>
                    <a:cubicBezTo>
                      <a:pt x="121241" y="164674"/>
                      <a:pt x="133773" y="177206"/>
                      <a:pt x="149221" y="177206"/>
                    </a:cubicBezTo>
                    <a:cubicBezTo>
                      <a:pt x="164668" y="177206"/>
                      <a:pt x="177200" y="164674"/>
                      <a:pt x="177200" y="149226"/>
                    </a:cubicBezTo>
                    <a:cubicBezTo>
                      <a:pt x="177200" y="133782"/>
                      <a:pt x="164668" y="121246"/>
                      <a:pt x="149221" y="121246"/>
                    </a:cubicBezTo>
                    <a:close/>
                    <a:moveTo>
                      <a:pt x="149221" y="111919"/>
                    </a:moveTo>
                    <a:cubicBezTo>
                      <a:pt x="169821" y="111919"/>
                      <a:pt x="186526" y="128614"/>
                      <a:pt x="186526" y="149226"/>
                    </a:cubicBezTo>
                    <a:cubicBezTo>
                      <a:pt x="186526" y="169838"/>
                      <a:pt x="169821" y="186533"/>
                      <a:pt x="149221" y="186533"/>
                    </a:cubicBezTo>
                    <a:cubicBezTo>
                      <a:pt x="128599" y="186533"/>
                      <a:pt x="111915" y="169838"/>
                      <a:pt x="111915" y="149226"/>
                    </a:cubicBezTo>
                    <a:cubicBezTo>
                      <a:pt x="111915" y="128614"/>
                      <a:pt x="128599" y="111919"/>
                      <a:pt x="149221" y="111919"/>
                    </a:cubicBezTo>
                    <a:close/>
                    <a:moveTo>
                      <a:pt x="149221" y="92100"/>
                    </a:moveTo>
                    <a:cubicBezTo>
                      <a:pt x="117672" y="92100"/>
                      <a:pt x="92097" y="117683"/>
                      <a:pt x="92097" y="149226"/>
                    </a:cubicBezTo>
                    <a:cubicBezTo>
                      <a:pt x="92097" y="180769"/>
                      <a:pt x="117672" y="206351"/>
                      <a:pt x="149221" y="206351"/>
                    </a:cubicBezTo>
                    <a:cubicBezTo>
                      <a:pt x="180751" y="206351"/>
                      <a:pt x="206345" y="180769"/>
                      <a:pt x="206345" y="149226"/>
                    </a:cubicBezTo>
                    <a:cubicBezTo>
                      <a:pt x="206345" y="117683"/>
                      <a:pt x="180751" y="92100"/>
                      <a:pt x="149221" y="92100"/>
                    </a:cubicBezTo>
                    <a:close/>
                    <a:moveTo>
                      <a:pt x="149221" y="83939"/>
                    </a:moveTo>
                    <a:cubicBezTo>
                      <a:pt x="185266" y="83939"/>
                      <a:pt x="214505" y="113173"/>
                      <a:pt x="214505" y="149226"/>
                    </a:cubicBezTo>
                    <a:cubicBezTo>
                      <a:pt x="214505" y="185278"/>
                      <a:pt x="185266" y="214512"/>
                      <a:pt x="149221" y="214512"/>
                    </a:cubicBezTo>
                    <a:cubicBezTo>
                      <a:pt x="113169" y="214512"/>
                      <a:pt x="83936" y="185278"/>
                      <a:pt x="83936" y="149226"/>
                    </a:cubicBezTo>
                    <a:cubicBezTo>
                      <a:pt x="83936" y="113173"/>
                      <a:pt x="113169" y="83939"/>
                      <a:pt x="149221" y="83939"/>
                    </a:cubicBezTo>
                    <a:close/>
                    <a:moveTo>
                      <a:pt x="161910" y="18653"/>
                    </a:moveTo>
                    <a:lnTo>
                      <a:pt x="136528" y="18667"/>
                    </a:lnTo>
                    <a:lnTo>
                      <a:pt x="130822" y="47255"/>
                    </a:lnTo>
                    <a:cubicBezTo>
                      <a:pt x="129523" y="53735"/>
                      <a:pt x="124894" y="59041"/>
                      <a:pt x="118649" y="61210"/>
                    </a:cubicBezTo>
                    <a:cubicBezTo>
                      <a:pt x="115208" y="62413"/>
                      <a:pt x="111850" y="63822"/>
                      <a:pt x="108631" y="65397"/>
                    </a:cubicBezTo>
                    <a:cubicBezTo>
                      <a:pt x="106047" y="66627"/>
                      <a:pt x="103270" y="67249"/>
                      <a:pt x="100507" y="67249"/>
                    </a:cubicBezTo>
                    <a:cubicBezTo>
                      <a:pt x="96873" y="67249"/>
                      <a:pt x="93266" y="66198"/>
                      <a:pt x="90157" y="64112"/>
                    </a:cubicBezTo>
                    <a:lnTo>
                      <a:pt x="65867" y="47932"/>
                    </a:lnTo>
                    <a:lnTo>
                      <a:pt x="47918" y="65881"/>
                    </a:lnTo>
                    <a:lnTo>
                      <a:pt x="64112" y="90158"/>
                    </a:lnTo>
                    <a:cubicBezTo>
                      <a:pt x="67774" y="95657"/>
                      <a:pt x="68257" y="102690"/>
                      <a:pt x="65369" y="108631"/>
                    </a:cubicBezTo>
                    <a:cubicBezTo>
                      <a:pt x="63794" y="111878"/>
                      <a:pt x="62412" y="115222"/>
                      <a:pt x="61210" y="118662"/>
                    </a:cubicBezTo>
                    <a:cubicBezTo>
                      <a:pt x="59041" y="124908"/>
                      <a:pt x="53721" y="129537"/>
                      <a:pt x="47255" y="130822"/>
                    </a:cubicBezTo>
                    <a:lnTo>
                      <a:pt x="18653" y="136542"/>
                    </a:lnTo>
                    <a:lnTo>
                      <a:pt x="18667" y="161924"/>
                    </a:lnTo>
                    <a:lnTo>
                      <a:pt x="47255" y="167644"/>
                    </a:lnTo>
                    <a:cubicBezTo>
                      <a:pt x="53721" y="168943"/>
                      <a:pt x="59041" y="173572"/>
                      <a:pt x="61210" y="179817"/>
                    </a:cubicBezTo>
                    <a:cubicBezTo>
                      <a:pt x="62412" y="183258"/>
                      <a:pt x="63822" y="186602"/>
                      <a:pt x="65383" y="189835"/>
                    </a:cubicBezTo>
                    <a:cubicBezTo>
                      <a:pt x="68257" y="195790"/>
                      <a:pt x="67774" y="202809"/>
                      <a:pt x="64112" y="208295"/>
                    </a:cubicBezTo>
                    <a:lnTo>
                      <a:pt x="47918" y="232585"/>
                    </a:lnTo>
                    <a:lnTo>
                      <a:pt x="65867" y="250534"/>
                    </a:lnTo>
                    <a:lnTo>
                      <a:pt x="90157" y="234340"/>
                    </a:lnTo>
                    <a:cubicBezTo>
                      <a:pt x="93266" y="232268"/>
                      <a:pt x="96873" y="231204"/>
                      <a:pt x="100507" y="231204"/>
                    </a:cubicBezTo>
                    <a:cubicBezTo>
                      <a:pt x="103270" y="231204"/>
                      <a:pt x="106047" y="231825"/>
                      <a:pt x="108631" y="233083"/>
                    </a:cubicBezTo>
                    <a:cubicBezTo>
                      <a:pt x="111864" y="234658"/>
                      <a:pt x="115222" y="236054"/>
                      <a:pt x="118662" y="237256"/>
                    </a:cubicBezTo>
                    <a:cubicBezTo>
                      <a:pt x="124894" y="239411"/>
                      <a:pt x="129523" y="244731"/>
                      <a:pt x="130822" y="251211"/>
                    </a:cubicBezTo>
                    <a:lnTo>
                      <a:pt x="136528" y="279799"/>
                    </a:lnTo>
                    <a:lnTo>
                      <a:pt x="161910" y="279799"/>
                    </a:lnTo>
                    <a:lnTo>
                      <a:pt x="167644" y="251211"/>
                    </a:lnTo>
                    <a:cubicBezTo>
                      <a:pt x="168943" y="244731"/>
                      <a:pt x="173572" y="239411"/>
                      <a:pt x="179790" y="237256"/>
                    </a:cubicBezTo>
                    <a:cubicBezTo>
                      <a:pt x="183258" y="236054"/>
                      <a:pt x="186588" y="234644"/>
                      <a:pt x="189835" y="233069"/>
                    </a:cubicBezTo>
                    <a:cubicBezTo>
                      <a:pt x="192405" y="231825"/>
                      <a:pt x="195182" y="231204"/>
                      <a:pt x="197959" y="231204"/>
                    </a:cubicBezTo>
                    <a:cubicBezTo>
                      <a:pt x="201580" y="231204"/>
                      <a:pt x="205186" y="232268"/>
                      <a:pt x="208309" y="234340"/>
                    </a:cubicBezTo>
                    <a:lnTo>
                      <a:pt x="232585" y="250534"/>
                    </a:lnTo>
                    <a:lnTo>
                      <a:pt x="250520" y="232585"/>
                    </a:lnTo>
                    <a:lnTo>
                      <a:pt x="234326" y="208295"/>
                    </a:lnTo>
                    <a:cubicBezTo>
                      <a:pt x="230665" y="202809"/>
                      <a:pt x="230181" y="195776"/>
                      <a:pt x="233083" y="189821"/>
                    </a:cubicBezTo>
                    <a:cubicBezTo>
                      <a:pt x="234644" y="186574"/>
                      <a:pt x="236040" y="183244"/>
                      <a:pt x="237242" y="179804"/>
                    </a:cubicBezTo>
                    <a:cubicBezTo>
                      <a:pt x="239411" y="173558"/>
                      <a:pt x="244717" y="168929"/>
                      <a:pt x="251197" y="167644"/>
                    </a:cubicBezTo>
                    <a:cubicBezTo>
                      <a:pt x="251197" y="167644"/>
                      <a:pt x="279799" y="161924"/>
                      <a:pt x="279799" y="161924"/>
                    </a:cubicBezTo>
                    <a:lnTo>
                      <a:pt x="279785" y="136542"/>
                    </a:lnTo>
                    <a:lnTo>
                      <a:pt x="251197" y="130808"/>
                    </a:lnTo>
                    <a:cubicBezTo>
                      <a:pt x="244717" y="129523"/>
                      <a:pt x="239411" y="124894"/>
                      <a:pt x="237242" y="118649"/>
                    </a:cubicBezTo>
                    <a:cubicBezTo>
                      <a:pt x="236040" y="115208"/>
                      <a:pt x="234630" y="111864"/>
                      <a:pt x="233055" y="108631"/>
                    </a:cubicBezTo>
                    <a:cubicBezTo>
                      <a:pt x="230195" y="102676"/>
                      <a:pt x="230665" y="95657"/>
                      <a:pt x="234326" y="90158"/>
                    </a:cubicBezTo>
                    <a:lnTo>
                      <a:pt x="250520" y="65881"/>
                    </a:lnTo>
                    <a:lnTo>
                      <a:pt x="232585" y="47932"/>
                    </a:lnTo>
                    <a:lnTo>
                      <a:pt x="208309" y="64112"/>
                    </a:lnTo>
                    <a:cubicBezTo>
                      <a:pt x="205186" y="66198"/>
                      <a:pt x="201580" y="67249"/>
                      <a:pt x="197959" y="67249"/>
                    </a:cubicBezTo>
                    <a:cubicBezTo>
                      <a:pt x="195168" y="67249"/>
                      <a:pt x="192405" y="66627"/>
                      <a:pt x="189807" y="65383"/>
                    </a:cubicBezTo>
                    <a:cubicBezTo>
                      <a:pt x="186574" y="63808"/>
                      <a:pt x="183244" y="62413"/>
                      <a:pt x="179790" y="61210"/>
                    </a:cubicBezTo>
                    <a:cubicBezTo>
                      <a:pt x="173544" y="59041"/>
                      <a:pt x="168916" y="53735"/>
                      <a:pt x="167631" y="47255"/>
                    </a:cubicBezTo>
                    <a:close/>
                    <a:moveTo>
                      <a:pt x="136528" y="0"/>
                    </a:moveTo>
                    <a:lnTo>
                      <a:pt x="161910" y="0"/>
                    </a:lnTo>
                    <a:cubicBezTo>
                      <a:pt x="170795" y="0"/>
                      <a:pt x="178463" y="6287"/>
                      <a:pt x="180190" y="15006"/>
                    </a:cubicBezTo>
                    <a:lnTo>
                      <a:pt x="185911" y="43593"/>
                    </a:lnTo>
                    <a:cubicBezTo>
                      <a:pt x="190056" y="45030"/>
                      <a:pt x="194063" y="46716"/>
                      <a:pt x="197959" y="48595"/>
                    </a:cubicBezTo>
                    <a:lnTo>
                      <a:pt x="222250" y="32415"/>
                    </a:lnTo>
                    <a:cubicBezTo>
                      <a:pt x="225387" y="30301"/>
                      <a:pt x="228993" y="29279"/>
                      <a:pt x="232572" y="29279"/>
                    </a:cubicBezTo>
                    <a:cubicBezTo>
                      <a:pt x="237408" y="29279"/>
                      <a:pt x="242161" y="31130"/>
                      <a:pt x="245767" y="34737"/>
                    </a:cubicBezTo>
                    <a:lnTo>
                      <a:pt x="263716" y="52685"/>
                    </a:lnTo>
                    <a:cubicBezTo>
                      <a:pt x="270002" y="58972"/>
                      <a:pt x="270983" y="68824"/>
                      <a:pt x="266051" y="76216"/>
                    </a:cubicBezTo>
                    <a:lnTo>
                      <a:pt x="249857" y="100507"/>
                    </a:lnTo>
                    <a:cubicBezTo>
                      <a:pt x="251722" y="104389"/>
                      <a:pt x="253422" y="108382"/>
                      <a:pt x="254859" y="112528"/>
                    </a:cubicBezTo>
                    <a:lnTo>
                      <a:pt x="283447" y="118248"/>
                    </a:lnTo>
                    <a:cubicBezTo>
                      <a:pt x="292165" y="120003"/>
                      <a:pt x="298452" y="127657"/>
                      <a:pt x="298452" y="136542"/>
                    </a:cubicBezTo>
                    <a:lnTo>
                      <a:pt x="298452" y="161924"/>
                    </a:lnTo>
                    <a:cubicBezTo>
                      <a:pt x="298452" y="170809"/>
                      <a:pt x="292165" y="178463"/>
                      <a:pt x="283447" y="180218"/>
                    </a:cubicBezTo>
                    <a:lnTo>
                      <a:pt x="254859" y="185925"/>
                    </a:lnTo>
                    <a:cubicBezTo>
                      <a:pt x="253422" y="190056"/>
                      <a:pt x="251750" y="194063"/>
                      <a:pt x="249857" y="197959"/>
                    </a:cubicBezTo>
                    <a:lnTo>
                      <a:pt x="266051" y="222236"/>
                    </a:lnTo>
                    <a:cubicBezTo>
                      <a:pt x="270983" y="229629"/>
                      <a:pt x="270002" y="239494"/>
                      <a:pt x="263716" y="245781"/>
                    </a:cubicBezTo>
                    <a:lnTo>
                      <a:pt x="245767" y="263716"/>
                    </a:lnTo>
                    <a:cubicBezTo>
                      <a:pt x="242161" y="267322"/>
                      <a:pt x="237408" y="269187"/>
                      <a:pt x="232572" y="269187"/>
                    </a:cubicBezTo>
                    <a:cubicBezTo>
                      <a:pt x="228993" y="269187"/>
                      <a:pt x="225387" y="268151"/>
                      <a:pt x="222250" y="266051"/>
                    </a:cubicBezTo>
                    <a:lnTo>
                      <a:pt x="197959" y="249857"/>
                    </a:lnTo>
                    <a:cubicBezTo>
                      <a:pt x="194077" y="251750"/>
                      <a:pt x="190070" y="253422"/>
                      <a:pt x="185938" y="254873"/>
                    </a:cubicBezTo>
                    <a:lnTo>
                      <a:pt x="180190" y="283460"/>
                    </a:lnTo>
                    <a:cubicBezTo>
                      <a:pt x="178463" y="292193"/>
                      <a:pt x="170795" y="298452"/>
                      <a:pt x="161910" y="298452"/>
                    </a:cubicBezTo>
                    <a:lnTo>
                      <a:pt x="136528" y="298452"/>
                    </a:lnTo>
                    <a:cubicBezTo>
                      <a:pt x="127644" y="298452"/>
                      <a:pt x="119989" y="292193"/>
                      <a:pt x="118248" y="283460"/>
                    </a:cubicBezTo>
                    <a:lnTo>
                      <a:pt x="112528" y="254873"/>
                    </a:lnTo>
                    <a:cubicBezTo>
                      <a:pt x="108382" y="253422"/>
                      <a:pt x="104389" y="251750"/>
                      <a:pt x="100507" y="249857"/>
                    </a:cubicBezTo>
                    <a:lnTo>
                      <a:pt x="76216" y="266051"/>
                    </a:lnTo>
                    <a:cubicBezTo>
                      <a:pt x="73066" y="268151"/>
                      <a:pt x="69459" y="269187"/>
                      <a:pt x="65881" y="269187"/>
                    </a:cubicBezTo>
                    <a:cubicBezTo>
                      <a:pt x="61058" y="269187"/>
                      <a:pt x="56291" y="267322"/>
                      <a:pt x="52685" y="263716"/>
                    </a:cubicBezTo>
                    <a:lnTo>
                      <a:pt x="34737" y="245781"/>
                    </a:lnTo>
                    <a:cubicBezTo>
                      <a:pt x="28450" y="239494"/>
                      <a:pt x="27469" y="229629"/>
                      <a:pt x="32401" y="222236"/>
                    </a:cubicBezTo>
                    <a:lnTo>
                      <a:pt x="48595" y="197959"/>
                    </a:lnTo>
                    <a:cubicBezTo>
                      <a:pt x="46716" y="194077"/>
                      <a:pt x="45030" y="190070"/>
                      <a:pt x="43593" y="185938"/>
                    </a:cubicBezTo>
                    <a:lnTo>
                      <a:pt x="15006" y="180218"/>
                    </a:lnTo>
                    <a:cubicBezTo>
                      <a:pt x="6273" y="178463"/>
                      <a:pt x="0" y="170809"/>
                      <a:pt x="0" y="161924"/>
                    </a:cubicBezTo>
                    <a:lnTo>
                      <a:pt x="0" y="136542"/>
                    </a:lnTo>
                    <a:cubicBezTo>
                      <a:pt x="0" y="127657"/>
                      <a:pt x="6273" y="120003"/>
                      <a:pt x="15006" y="118248"/>
                    </a:cubicBezTo>
                    <a:lnTo>
                      <a:pt x="43593" y="112528"/>
                    </a:lnTo>
                    <a:cubicBezTo>
                      <a:pt x="45030" y="108396"/>
                      <a:pt x="46702" y="104389"/>
                      <a:pt x="48595" y="100507"/>
                    </a:cubicBezTo>
                    <a:lnTo>
                      <a:pt x="32401" y="76216"/>
                    </a:lnTo>
                    <a:cubicBezTo>
                      <a:pt x="27469" y="68824"/>
                      <a:pt x="28450" y="58972"/>
                      <a:pt x="34737" y="52685"/>
                    </a:cubicBezTo>
                    <a:lnTo>
                      <a:pt x="52685" y="34737"/>
                    </a:lnTo>
                    <a:cubicBezTo>
                      <a:pt x="56291" y="31130"/>
                      <a:pt x="61058" y="29279"/>
                      <a:pt x="65881" y="29279"/>
                    </a:cubicBezTo>
                    <a:cubicBezTo>
                      <a:pt x="69459" y="29279"/>
                      <a:pt x="73052" y="30301"/>
                      <a:pt x="76216" y="32415"/>
                    </a:cubicBezTo>
                    <a:lnTo>
                      <a:pt x="100507" y="48595"/>
                    </a:lnTo>
                    <a:cubicBezTo>
                      <a:pt x="104389" y="46716"/>
                      <a:pt x="108382" y="45030"/>
                      <a:pt x="112528" y="43593"/>
                    </a:cubicBezTo>
                    <a:lnTo>
                      <a:pt x="118248" y="15006"/>
                    </a:lnTo>
                    <a:cubicBezTo>
                      <a:pt x="119989" y="6287"/>
                      <a:pt x="127644" y="0"/>
                      <a:pt x="136528" y="0"/>
                    </a:cubicBez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anchor="ctr"/>
              <a:lstStyle/>
              <a:p>
                <a:pPr algn="ctr"/>
                <a:endParaRPr/>
              </a:p>
            </p:txBody>
          </p:sp>
          <p:grpSp>
            <p:nvGrpSpPr>
              <p:cNvPr id="47" name="íŝlïḍé">
                <a:extLst>
                  <a:ext uri="{FF2B5EF4-FFF2-40B4-BE49-F238E27FC236}">
                    <a16:creationId xmlns:a16="http://schemas.microsoft.com/office/drawing/2014/main" id="{8C4BDFD1-146E-4966-9404-4900C1ED5C8C}"/>
                  </a:ext>
                </a:extLst>
              </p:cNvPr>
              <p:cNvGrpSpPr/>
              <p:nvPr/>
            </p:nvGrpSpPr>
            <p:grpSpPr>
              <a:xfrm>
                <a:off x="7425082" y="2731985"/>
                <a:ext cx="1914278" cy="972938"/>
                <a:chOff x="4601215" y="1415695"/>
                <a:chExt cx="1914278" cy="972938"/>
              </a:xfrm>
            </p:grpSpPr>
            <p:sp>
              <p:nvSpPr>
                <p:cNvPr id="48" name="ï$1íḋè">
                  <a:extLst>
                    <a:ext uri="{FF2B5EF4-FFF2-40B4-BE49-F238E27FC236}">
                      <a16:creationId xmlns:a16="http://schemas.microsoft.com/office/drawing/2014/main" id="{C311923E-41DC-49B4-A384-DE452584AF9B}"/>
                    </a:ext>
                  </a:extLst>
                </p:cNvPr>
                <p:cNvSpPr/>
                <p:nvPr/>
              </p:nvSpPr>
              <p:spPr>
                <a:xfrm>
                  <a:off x="4601215" y="1415695"/>
                  <a:ext cx="1914278" cy="391664"/>
                </a:xfrm>
                <a:prstGeom prst="rect">
                  <a:avLst/>
                </a:prstGeom>
              </p:spPr>
              <p:txBody>
                <a:bodyPr wrap="none" lIns="90000" tIns="46800" rIns="90000" bIns="46800" anchor="b" anchorCtr="0">
                  <a:normAutofit/>
                </a:bodyPr>
                <a:lstStyle/>
                <a:p>
                  <a:r>
                    <a:rPr lang="zh-CN" altLang="en-US" sz="1400" b="1" dirty="0">
                      <a:effectLst/>
                    </a:rPr>
                    <a:t>模型的反馈与跟进</a:t>
                  </a:r>
                </a:p>
              </p:txBody>
            </p:sp>
            <p:sp>
              <p:nvSpPr>
                <p:cNvPr id="49" name="isľíḋê">
                  <a:extLst>
                    <a:ext uri="{FF2B5EF4-FFF2-40B4-BE49-F238E27FC236}">
                      <a16:creationId xmlns:a16="http://schemas.microsoft.com/office/drawing/2014/main" id="{ED27DEF1-AB3F-4CC2-BFF7-3765C113AAA6}"/>
                    </a:ext>
                  </a:extLst>
                </p:cNvPr>
                <p:cNvSpPr/>
                <p:nvPr/>
              </p:nvSpPr>
              <p:spPr>
                <a:xfrm>
                  <a:off x="4601215" y="1807359"/>
                  <a:ext cx="1914278" cy="581274"/>
                </a:xfrm>
                <a:prstGeom prst="rect">
                  <a:avLst/>
                </a:prstGeom>
              </p:spPr>
              <p:txBody>
                <a:bodyPr wrap="square" lIns="90000" tIns="46800" rIns="90000" bIns="46800">
                  <a:normAutofit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zh-CN" altLang="en-US" sz="1100" dirty="0"/>
                    <a:t>跟进应用中的问题</a:t>
                  </a:r>
                  <a:endParaRPr lang="en-US" altLang="zh-CN" sz="1100" dirty="0"/>
                </a:p>
                <a:p>
                  <a:pPr>
                    <a:lnSpc>
                      <a:spcPct val="120000"/>
                    </a:lnSpc>
                  </a:pPr>
                  <a:r>
                    <a:rPr lang="zh-CN" altLang="en-US" sz="1100" dirty="0"/>
                    <a:t>根据客户反馈优化模型</a:t>
                  </a:r>
                  <a:endParaRPr lang="en-US" altLang="zh-CN" sz="1100" dirty="0"/>
                </a:p>
              </p:txBody>
            </p:sp>
          </p:grpSp>
        </p:grpSp>
        <p:sp>
          <p:nvSpPr>
            <p:cNvPr id="20" name="íṥľíḓê">
              <a:extLst>
                <a:ext uri="{FF2B5EF4-FFF2-40B4-BE49-F238E27FC236}">
                  <a16:creationId xmlns:a16="http://schemas.microsoft.com/office/drawing/2014/main" id="{5C106931-645E-4A77-A2F6-9276A0CFBC0F}"/>
                </a:ext>
              </a:extLst>
            </p:cNvPr>
            <p:cNvSpPr/>
            <p:nvPr/>
          </p:nvSpPr>
          <p:spPr>
            <a:xfrm>
              <a:off x="9590488" y="5114326"/>
              <a:ext cx="194470" cy="194464"/>
            </a:xfrm>
            <a:prstGeom prst="ellipse">
              <a:avLst/>
            </a:prstGeom>
            <a:solidFill>
              <a:schemeClr val="accent1">
                <a:lumMod val="100000"/>
              </a:schemeClr>
            </a:solidFill>
            <a:ln w="381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" name="îŝļîḓè">
              <a:extLst>
                <a:ext uri="{FF2B5EF4-FFF2-40B4-BE49-F238E27FC236}">
                  <a16:creationId xmlns:a16="http://schemas.microsoft.com/office/drawing/2014/main" id="{3DD84CFC-2416-4936-9DEA-A64B1ABF29F3}"/>
                </a:ext>
              </a:extLst>
            </p:cNvPr>
            <p:cNvSpPr txBox="1"/>
            <p:nvPr/>
          </p:nvSpPr>
          <p:spPr bwMode="auto">
            <a:xfrm>
              <a:off x="9235682" y="5308791"/>
              <a:ext cx="911225" cy="368110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/>
              <a:r>
                <a:rPr lang="en-US" altLang="zh-CN" sz="1200" dirty="0">
                  <a:effectLst/>
                </a:rPr>
                <a:t>2019</a:t>
              </a:r>
              <a:r>
                <a:rPr lang="en-US" altLang="zh-CN" sz="1200" dirty="0"/>
                <a:t>.9.1</a:t>
              </a:r>
              <a:endParaRPr lang="zh-CN" altLang="en-US" sz="1200" dirty="0">
                <a:effectLst/>
              </a:endParaRPr>
            </a:p>
          </p:txBody>
        </p:sp>
        <p:grpSp>
          <p:nvGrpSpPr>
            <p:cNvPr id="22" name="ï$ḻíďé">
              <a:extLst>
                <a:ext uri="{FF2B5EF4-FFF2-40B4-BE49-F238E27FC236}">
                  <a16:creationId xmlns:a16="http://schemas.microsoft.com/office/drawing/2014/main" id="{555E993B-9327-4F9D-8D72-3850EB245E9C}"/>
                </a:ext>
              </a:extLst>
            </p:cNvPr>
            <p:cNvGrpSpPr/>
            <p:nvPr/>
          </p:nvGrpSpPr>
          <p:grpSpPr>
            <a:xfrm>
              <a:off x="9607405" y="1170362"/>
              <a:ext cx="1914278" cy="1283056"/>
              <a:chOff x="9604622" y="2421867"/>
              <a:chExt cx="1914278" cy="1283056"/>
            </a:xfrm>
          </p:grpSpPr>
          <p:sp>
            <p:nvSpPr>
              <p:cNvPr id="42" name="ïṥľîde">
                <a:extLst>
                  <a:ext uri="{FF2B5EF4-FFF2-40B4-BE49-F238E27FC236}">
                    <a16:creationId xmlns:a16="http://schemas.microsoft.com/office/drawing/2014/main" id="{73C536DA-21F7-445A-B2E3-D1F476953421}"/>
                  </a:ext>
                </a:extLst>
              </p:cNvPr>
              <p:cNvSpPr/>
              <p:nvPr/>
            </p:nvSpPr>
            <p:spPr>
              <a:xfrm>
                <a:off x="9681372" y="2421867"/>
                <a:ext cx="298452" cy="298452"/>
              </a:xfrm>
              <a:custGeom>
                <a:avLst/>
                <a:gdLst>
                  <a:gd name="connsiteX0" fmla="*/ 149221 w 298452"/>
                  <a:gd name="connsiteY0" fmla="*/ 121246 h 298452"/>
                  <a:gd name="connsiteX1" fmla="*/ 121241 w 298452"/>
                  <a:gd name="connsiteY1" fmla="*/ 149226 h 298452"/>
                  <a:gd name="connsiteX2" fmla="*/ 149221 w 298452"/>
                  <a:gd name="connsiteY2" fmla="*/ 177206 h 298452"/>
                  <a:gd name="connsiteX3" fmla="*/ 177200 w 298452"/>
                  <a:gd name="connsiteY3" fmla="*/ 149226 h 298452"/>
                  <a:gd name="connsiteX4" fmla="*/ 149221 w 298452"/>
                  <a:gd name="connsiteY4" fmla="*/ 121246 h 298452"/>
                  <a:gd name="connsiteX5" fmla="*/ 149221 w 298452"/>
                  <a:gd name="connsiteY5" fmla="*/ 111919 h 298452"/>
                  <a:gd name="connsiteX6" fmla="*/ 186526 w 298452"/>
                  <a:gd name="connsiteY6" fmla="*/ 149226 h 298452"/>
                  <a:gd name="connsiteX7" fmla="*/ 149221 w 298452"/>
                  <a:gd name="connsiteY7" fmla="*/ 186533 h 298452"/>
                  <a:gd name="connsiteX8" fmla="*/ 111915 w 298452"/>
                  <a:gd name="connsiteY8" fmla="*/ 149226 h 298452"/>
                  <a:gd name="connsiteX9" fmla="*/ 149221 w 298452"/>
                  <a:gd name="connsiteY9" fmla="*/ 111919 h 298452"/>
                  <a:gd name="connsiteX10" fmla="*/ 149221 w 298452"/>
                  <a:gd name="connsiteY10" fmla="*/ 92100 h 298452"/>
                  <a:gd name="connsiteX11" fmla="*/ 92097 w 298452"/>
                  <a:gd name="connsiteY11" fmla="*/ 149226 h 298452"/>
                  <a:gd name="connsiteX12" fmla="*/ 149221 w 298452"/>
                  <a:gd name="connsiteY12" fmla="*/ 206351 h 298452"/>
                  <a:gd name="connsiteX13" fmla="*/ 206345 w 298452"/>
                  <a:gd name="connsiteY13" fmla="*/ 149226 h 298452"/>
                  <a:gd name="connsiteX14" fmla="*/ 149221 w 298452"/>
                  <a:gd name="connsiteY14" fmla="*/ 92100 h 298452"/>
                  <a:gd name="connsiteX15" fmla="*/ 149221 w 298452"/>
                  <a:gd name="connsiteY15" fmla="*/ 83939 h 298452"/>
                  <a:gd name="connsiteX16" fmla="*/ 214505 w 298452"/>
                  <a:gd name="connsiteY16" fmla="*/ 149226 h 298452"/>
                  <a:gd name="connsiteX17" fmla="*/ 149221 w 298452"/>
                  <a:gd name="connsiteY17" fmla="*/ 214512 h 298452"/>
                  <a:gd name="connsiteX18" fmla="*/ 83936 w 298452"/>
                  <a:gd name="connsiteY18" fmla="*/ 149226 h 298452"/>
                  <a:gd name="connsiteX19" fmla="*/ 149221 w 298452"/>
                  <a:gd name="connsiteY19" fmla="*/ 83939 h 298452"/>
                  <a:gd name="connsiteX20" fmla="*/ 161910 w 298452"/>
                  <a:gd name="connsiteY20" fmla="*/ 18653 h 298452"/>
                  <a:gd name="connsiteX21" fmla="*/ 136528 w 298452"/>
                  <a:gd name="connsiteY21" fmla="*/ 18667 h 298452"/>
                  <a:gd name="connsiteX22" fmla="*/ 130822 w 298452"/>
                  <a:gd name="connsiteY22" fmla="*/ 47255 h 298452"/>
                  <a:gd name="connsiteX23" fmla="*/ 118649 w 298452"/>
                  <a:gd name="connsiteY23" fmla="*/ 61210 h 298452"/>
                  <a:gd name="connsiteX24" fmla="*/ 108631 w 298452"/>
                  <a:gd name="connsiteY24" fmla="*/ 65397 h 298452"/>
                  <a:gd name="connsiteX25" fmla="*/ 100507 w 298452"/>
                  <a:gd name="connsiteY25" fmla="*/ 67249 h 298452"/>
                  <a:gd name="connsiteX26" fmla="*/ 90157 w 298452"/>
                  <a:gd name="connsiteY26" fmla="*/ 64112 h 298452"/>
                  <a:gd name="connsiteX27" fmla="*/ 65867 w 298452"/>
                  <a:gd name="connsiteY27" fmla="*/ 47932 h 298452"/>
                  <a:gd name="connsiteX28" fmla="*/ 47918 w 298452"/>
                  <a:gd name="connsiteY28" fmla="*/ 65881 h 298452"/>
                  <a:gd name="connsiteX29" fmla="*/ 64112 w 298452"/>
                  <a:gd name="connsiteY29" fmla="*/ 90158 h 298452"/>
                  <a:gd name="connsiteX30" fmla="*/ 65369 w 298452"/>
                  <a:gd name="connsiteY30" fmla="*/ 108631 h 298452"/>
                  <a:gd name="connsiteX31" fmla="*/ 61210 w 298452"/>
                  <a:gd name="connsiteY31" fmla="*/ 118662 h 298452"/>
                  <a:gd name="connsiteX32" fmla="*/ 47255 w 298452"/>
                  <a:gd name="connsiteY32" fmla="*/ 130822 h 298452"/>
                  <a:gd name="connsiteX33" fmla="*/ 18653 w 298452"/>
                  <a:gd name="connsiteY33" fmla="*/ 136542 h 298452"/>
                  <a:gd name="connsiteX34" fmla="*/ 18667 w 298452"/>
                  <a:gd name="connsiteY34" fmla="*/ 161924 h 298452"/>
                  <a:gd name="connsiteX35" fmla="*/ 47255 w 298452"/>
                  <a:gd name="connsiteY35" fmla="*/ 167644 h 298452"/>
                  <a:gd name="connsiteX36" fmla="*/ 61210 w 298452"/>
                  <a:gd name="connsiteY36" fmla="*/ 179817 h 298452"/>
                  <a:gd name="connsiteX37" fmla="*/ 65383 w 298452"/>
                  <a:gd name="connsiteY37" fmla="*/ 189835 h 298452"/>
                  <a:gd name="connsiteX38" fmla="*/ 64112 w 298452"/>
                  <a:gd name="connsiteY38" fmla="*/ 208295 h 298452"/>
                  <a:gd name="connsiteX39" fmla="*/ 47918 w 298452"/>
                  <a:gd name="connsiteY39" fmla="*/ 232585 h 298452"/>
                  <a:gd name="connsiteX40" fmla="*/ 65867 w 298452"/>
                  <a:gd name="connsiteY40" fmla="*/ 250534 h 298452"/>
                  <a:gd name="connsiteX41" fmla="*/ 90157 w 298452"/>
                  <a:gd name="connsiteY41" fmla="*/ 234340 h 298452"/>
                  <a:gd name="connsiteX42" fmla="*/ 100507 w 298452"/>
                  <a:gd name="connsiteY42" fmla="*/ 231204 h 298452"/>
                  <a:gd name="connsiteX43" fmla="*/ 108631 w 298452"/>
                  <a:gd name="connsiteY43" fmla="*/ 233083 h 298452"/>
                  <a:gd name="connsiteX44" fmla="*/ 118662 w 298452"/>
                  <a:gd name="connsiteY44" fmla="*/ 237256 h 298452"/>
                  <a:gd name="connsiteX45" fmla="*/ 130822 w 298452"/>
                  <a:gd name="connsiteY45" fmla="*/ 251211 h 298452"/>
                  <a:gd name="connsiteX46" fmla="*/ 136528 w 298452"/>
                  <a:gd name="connsiteY46" fmla="*/ 279799 h 298452"/>
                  <a:gd name="connsiteX47" fmla="*/ 161910 w 298452"/>
                  <a:gd name="connsiteY47" fmla="*/ 279799 h 298452"/>
                  <a:gd name="connsiteX48" fmla="*/ 167644 w 298452"/>
                  <a:gd name="connsiteY48" fmla="*/ 251211 h 298452"/>
                  <a:gd name="connsiteX49" fmla="*/ 179790 w 298452"/>
                  <a:gd name="connsiteY49" fmla="*/ 237256 h 298452"/>
                  <a:gd name="connsiteX50" fmla="*/ 189835 w 298452"/>
                  <a:gd name="connsiteY50" fmla="*/ 233069 h 298452"/>
                  <a:gd name="connsiteX51" fmla="*/ 197959 w 298452"/>
                  <a:gd name="connsiteY51" fmla="*/ 231204 h 298452"/>
                  <a:gd name="connsiteX52" fmla="*/ 208309 w 298452"/>
                  <a:gd name="connsiteY52" fmla="*/ 234340 h 298452"/>
                  <a:gd name="connsiteX53" fmla="*/ 232585 w 298452"/>
                  <a:gd name="connsiteY53" fmla="*/ 250534 h 298452"/>
                  <a:gd name="connsiteX54" fmla="*/ 250520 w 298452"/>
                  <a:gd name="connsiteY54" fmla="*/ 232585 h 298452"/>
                  <a:gd name="connsiteX55" fmla="*/ 234326 w 298452"/>
                  <a:gd name="connsiteY55" fmla="*/ 208295 h 298452"/>
                  <a:gd name="connsiteX56" fmla="*/ 233083 w 298452"/>
                  <a:gd name="connsiteY56" fmla="*/ 189821 h 298452"/>
                  <a:gd name="connsiteX57" fmla="*/ 237242 w 298452"/>
                  <a:gd name="connsiteY57" fmla="*/ 179804 h 298452"/>
                  <a:gd name="connsiteX58" fmla="*/ 251197 w 298452"/>
                  <a:gd name="connsiteY58" fmla="*/ 167644 h 298452"/>
                  <a:gd name="connsiteX59" fmla="*/ 279799 w 298452"/>
                  <a:gd name="connsiteY59" fmla="*/ 161924 h 298452"/>
                  <a:gd name="connsiteX60" fmla="*/ 279785 w 298452"/>
                  <a:gd name="connsiteY60" fmla="*/ 136542 h 298452"/>
                  <a:gd name="connsiteX61" fmla="*/ 251197 w 298452"/>
                  <a:gd name="connsiteY61" fmla="*/ 130808 h 298452"/>
                  <a:gd name="connsiteX62" fmla="*/ 237242 w 298452"/>
                  <a:gd name="connsiteY62" fmla="*/ 118649 h 298452"/>
                  <a:gd name="connsiteX63" fmla="*/ 233055 w 298452"/>
                  <a:gd name="connsiteY63" fmla="*/ 108631 h 298452"/>
                  <a:gd name="connsiteX64" fmla="*/ 234326 w 298452"/>
                  <a:gd name="connsiteY64" fmla="*/ 90158 h 298452"/>
                  <a:gd name="connsiteX65" fmla="*/ 250520 w 298452"/>
                  <a:gd name="connsiteY65" fmla="*/ 65881 h 298452"/>
                  <a:gd name="connsiteX66" fmla="*/ 232585 w 298452"/>
                  <a:gd name="connsiteY66" fmla="*/ 47932 h 298452"/>
                  <a:gd name="connsiteX67" fmla="*/ 208309 w 298452"/>
                  <a:gd name="connsiteY67" fmla="*/ 64112 h 298452"/>
                  <a:gd name="connsiteX68" fmla="*/ 197959 w 298452"/>
                  <a:gd name="connsiteY68" fmla="*/ 67249 h 298452"/>
                  <a:gd name="connsiteX69" fmla="*/ 189807 w 298452"/>
                  <a:gd name="connsiteY69" fmla="*/ 65383 h 298452"/>
                  <a:gd name="connsiteX70" fmla="*/ 179790 w 298452"/>
                  <a:gd name="connsiteY70" fmla="*/ 61210 h 298452"/>
                  <a:gd name="connsiteX71" fmla="*/ 167631 w 298452"/>
                  <a:gd name="connsiteY71" fmla="*/ 47255 h 298452"/>
                  <a:gd name="connsiteX72" fmla="*/ 136528 w 298452"/>
                  <a:gd name="connsiteY72" fmla="*/ 0 h 298452"/>
                  <a:gd name="connsiteX73" fmla="*/ 161910 w 298452"/>
                  <a:gd name="connsiteY73" fmla="*/ 0 h 298452"/>
                  <a:gd name="connsiteX74" fmla="*/ 180190 w 298452"/>
                  <a:gd name="connsiteY74" fmla="*/ 15006 h 298452"/>
                  <a:gd name="connsiteX75" fmla="*/ 185911 w 298452"/>
                  <a:gd name="connsiteY75" fmla="*/ 43593 h 298452"/>
                  <a:gd name="connsiteX76" fmla="*/ 197959 w 298452"/>
                  <a:gd name="connsiteY76" fmla="*/ 48595 h 298452"/>
                  <a:gd name="connsiteX77" fmla="*/ 222250 w 298452"/>
                  <a:gd name="connsiteY77" fmla="*/ 32415 h 298452"/>
                  <a:gd name="connsiteX78" fmla="*/ 232572 w 298452"/>
                  <a:gd name="connsiteY78" fmla="*/ 29279 h 298452"/>
                  <a:gd name="connsiteX79" fmla="*/ 245767 w 298452"/>
                  <a:gd name="connsiteY79" fmla="*/ 34737 h 298452"/>
                  <a:gd name="connsiteX80" fmla="*/ 263716 w 298452"/>
                  <a:gd name="connsiteY80" fmla="*/ 52685 h 298452"/>
                  <a:gd name="connsiteX81" fmla="*/ 266051 w 298452"/>
                  <a:gd name="connsiteY81" fmla="*/ 76216 h 298452"/>
                  <a:gd name="connsiteX82" fmla="*/ 249857 w 298452"/>
                  <a:gd name="connsiteY82" fmla="*/ 100507 h 298452"/>
                  <a:gd name="connsiteX83" fmla="*/ 254859 w 298452"/>
                  <a:gd name="connsiteY83" fmla="*/ 112528 h 298452"/>
                  <a:gd name="connsiteX84" fmla="*/ 283447 w 298452"/>
                  <a:gd name="connsiteY84" fmla="*/ 118248 h 298452"/>
                  <a:gd name="connsiteX85" fmla="*/ 298452 w 298452"/>
                  <a:gd name="connsiteY85" fmla="*/ 136542 h 298452"/>
                  <a:gd name="connsiteX86" fmla="*/ 298452 w 298452"/>
                  <a:gd name="connsiteY86" fmla="*/ 161924 h 298452"/>
                  <a:gd name="connsiteX87" fmla="*/ 283447 w 298452"/>
                  <a:gd name="connsiteY87" fmla="*/ 180218 h 298452"/>
                  <a:gd name="connsiteX88" fmla="*/ 254859 w 298452"/>
                  <a:gd name="connsiteY88" fmla="*/ 185925 h 298452"/>
                  <a:gd name="connsiteX89" fmla="*/ 249857 w 298452"/>
                  <a:gd name="connsiteY89" fmla="*/ 197959 h 298452"/>
                  <a:gd name="connsiteX90" fmla="*/ 266051 w 298452"/>
                  <a:gd name="connsiteY90" fmla="*/ 222236 h 298452"/>
                  <a:gd name="connsiteX91" fmla="*/ 263716 w 298452"/>
                  <a:gd name="connsiteY91" fmla="*/ 245781 h 298452"/>
                  <a:gd name="connsiteX92" fmla="*/ 245767 w 298452"/>
                  <a:gd name="connsiteY92" fmla="*/ 263716 h 298452"/>
                  <a:gd name="connsiteX93" fmla="*/ 232572 w 298452"/>
                  <a:gd name="connsiteY93" fmla="*/ 269187 h 298452"/>
                  <a:gd name="connsiteX94" fmla="*/ 222250 w 298452"/>
                  <a:gd name="connsiteY94" fmla="*/ 266051 h 298452"/>
                  <a:gd name="connsiteX95" fmla="*/ 197959 w 298452"/>
                  <a:gd name="connsiteY95" fmla="*/ 249857 h 298452"/>
                  <a:gd name="connsiteX96" fmla="*/ 185938 w 298452"/>
                  <a:gd name="connsiteY96" fmla="*/ 254873 h 298452"/>
                  <a:gd name="connsiteX97" fmla="*/ 180190 w 298452"/>
                  <a:gd name="connsiteY97" fmla="*/ 283460 h 298452"/>
                  <a:gd name="connsiteX98" fmla="*/ 161910 w 298452"/>
                  <a:gd name="connsiteY98" fmla="*/ 298452 h 298452"/>
                  <a:gd name="connsiteX99" fmla="*/ 136528 w 298452"/>
                  <a:gd name="connsiteY99" fmla="*/ 298452 h 298452"/>
                  <a:gd name="connsiteX100" fmla="*/ 118248 w 298452"/>
                  <a:gd name="connsiteY100" fmla="*/ 283460 h 298452"/>
                  <a:gd name="connsiteX101" fmla="*/ 112528 w 298452"/>
                  <a:gd name="connsiteY101" fmla="*/ 254873 h 298452"/>
                  <a:gd name="connsiteX102" fmla="*/ 100507 w 298452"/>
                  <a:gd name="connsiteY102" fmla="*/ 249857 h 298452"/>
                  <a:gd name="connsiteX103" fmla="*/ 76216 w 298452"/>
                  <a:gd name="connsiteY103" fmla="*/ 266051 h 298452"/>
                  <a:gd name="connsiteX104" fmla="*/ 65881 w 298452"/>
                  <a:gd name="connsiteY104" fmla="*/ 269187 h 298452"/>
                  <a:gd name="connsiteX105" fmla="*/ 52685 w 298452"/>
                  <a:gd name="connsiteY105" fmla="*/ 263716 h 298452"/>
                  <a:gd name="connsiteX106" fmla="*/ 34737 w 298452"/>
                  <a:gd name="connsiteY106" fmla="*/ 245781 h 298452"/>
                  <a:gd name="connsiteX107" fmla="*/ 32401 w 298452"/>
                  <a:gd name="connsiteY107" fmla="*/ 222236 h 298452"/>
                  <a:gd name="connsiteX108" fmla="*/ 48595 w 298452"/>
                  <a:gd name="connsiteY108" fmla="*/ 197959 h 298452"/>
                  <a:gd name="connsiteX109" fmla="*/ 43593 w 298452"/>
                  <a:gd name="connsiteY109" fmla="*/ 185938 h 298452"/>
                  <a:gd name="connsiteX110" fmla="*/ 15006 w 298452"/>
                  <a:gd name="connsiteY110" fmla="*/ 180218 h 298452"/>
                  <a:gd name="connsiteX111" fmla="*/ 0 w 298452"/>
                  <a:gd name="connsiteY111" fmla="*/ 161924 h 298452"/>
                  <a:gd name="connsiteX112" fmla="*/ 0 w 298452"/>
                  <a:gd name="connsiteY112" fmla="*/ 136542 h 298452"/>
                  <a:gd name="connsiteX113" fmla="*/ 15006 w 298452"/>
                  <a:gd name="connsiteY113" fmla="*/ 118248 h 298452"/>
                  <a:gd name="connsiteX114" fmla="*/ 43593 w 298452"/>
                  <a:gd name="connsiteY114" fmla="*/ 112528 h 298452"/>
                  <a:gd name="connsiteX115" fmla="*/ 48595 w 298452"/>
                  <a:gd name="connsiteY115" fmla="*/ 100507 h 298452"/>
                  <a:gd name="connsiteX116" fmla="*/ 32401 w 298452"/>
                  <a:gd name="connsiteY116" fmla="*/ 76216 h 298452"/>
                  <a:gd name="connsiteX117" fmla="*/ 34737 w 298452"/>
                  <a:gd name="connsiteY117" fmla="*/ 52685 h 298452"/>
                  <a:gd name="connsiteX118" fmla="*/ 52685 w 298452"/>
                  <a:gd name="connsiteY118" fmla="*/ 34737 h 298452"/>
                  <a:gd name="connsiteX119" fmla="*/ 65881 w 298452"/>
                  <a:gd name="connsiteY119" fmla="*/ 29279 h 298452"/>
                  <a:gd name="connsiteX120" fmla="*/ 76216 w 298452"/>
                  <a:gd name="connsiteY120" fmla="*/ 32415 h 298452"/>
                  <a:gd name="connsiteX121" fmla="*/ 100507 w 298452"/>
                  <a:gd name="connsiteY121" fmla="*/ 48595 h 298452"/>
                  <a:gd name="connsiteX122" fmla="*/ 112528 w 298452"/>
                  <a:gd name="connsiteY122" fmla="*/ 43593 h 298452"/>
                  <a:gd name="connsiteX123" fmla="*/ 118248 w 298452"/>
                  <a:gd name="connsiteY123" fmla="*/ 15006 h 298452"/>
                  <a:gd name="connsiteX124" fmla="*/ 136528 w 298452"/>
                  <a:gd name="connsiteY124" fmla="*/ 0 h 298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</a:cxnLst>
                <a:rect l="l" t="t" r="r" b="b"/>
                <a:pathLst>
                  <a:path w="298452" h="298452">
                    <a:moveTo>
                      <a:pt x="149221" y="121246"/>
                    </a:moveTo>
                    <a:cubicBezTo>
                      <a:pt x="133773" y="121246"/>
                      <a:pt x="121241" y="133782"/>
                      <a:pt x="121241" y="149226"/>
                    </a:cubicBezTo>
                    <a:cubicBezTo>
                      <a:pt x="121241" y="164674"/>
                      <a:pt x="133773" y="177206"/>
                      <a:pt x="149221" y="177206"/>
                    </a:cubicBezTo>
                    <a:cubicBezTo>
                      <a:pt x="164668" y="177206"/>
                      <a:pt x="177200" y="164674"/>
                      <a:pt x="177200" y="149226"/>
                    </a:cubicBezTo>
                    <a:cubicBezTo>
                      <a:pt x="177200" y="133782"/>
                      <a:pt x="164668" y="121246"/>
                      <a:pt x="149221" y="121246"/>
                    </a:cubicBezTo>
                    <a:close/>
                    <a:moveTo>
                      <a:pt x="149221" y="111919"/>
                    </a:moveTo>
                    <a:cubicBezTo>
                      <a:pt x="169821" y="111919"/>
                      <a:pt x="186526" y="128614"/>
                      <a:pt x="186526" y="149226"/>
                    </a:cubicBezTo>
                    <a:cubicBezTo>
                      <a:pt x="186526" y="169838"/>
                      <a:pt x="169821" y="186533"/>
                      <a:pt x="149221" y="186533"/>
                    </a:cubicBezTo>
                    <a:cubicBezTo>
                      <a:pt x="128599" y="186533"/>
                      <a:pt x="111915" y="169838"/>
                      <a:pt x="111915" y="149226"/>
                    </a:cubicBezTo>
                    <a:cubicBezTo>
                      <a:pt x="111915" y="128614"/>
                      <a:pt x="128599" y="111919"/>
                      <a:pt x="149221" y="111919"/>
                    </a:cubicBezTo>
                    <a:close/>
                    <a:moveTo>
                      <a:pt x="149221" y="92100"/>
                    </a:moveTo>
                    <a:cubicBezTo>
                      <a:pt x="117672" y="92100"/>
                      <a:pt x="92097" y="117683"/>
                      <a:pt x="92097" y="149226"/>
                    </a:cubicBezTo>
                    <a:cubicBezTo>
                      <a:pt x="92097" y="180769"/>
                      <a:pt x="117672" y="206351"/>
                      <a:pt x="149221" y="206351"/>
                    </a:cubicBezTo>
                    <a:cubicBezTo>
                      <a:pt x="180751" y="206351"/>
                      <a:pt x="206345" y="180769"/>
                      <a:pt x="206345" y="149226"/>
                    </a:cubicBezTo>
                    <a:cubicBezTo>
                      <a:pt x="206345" y="117683"/>
                      <a:pt x="180751" y="92100"/>
                      <a:pt x="149221" y="92100"/>
                    </a:cubicBezTo>
                    <a:close/>
                    <a:moveTo>
                      <a:pt x="149221" y="83939"/>
                    </a:moveTo>
                    <a:cubicBezTo>
                      <a:pt x="185266" y="83939"/>
                      <a:pt x="214505" y="113173"/>
                      <a:pt x="214505" y="149226"/>
                    </a:cubicBezTo>
                    <a:cubicBezTo>
                      <a:pt x="214505" y="185278"/>
                      <a:pt x="185266" y="214512"/>
                      <a:pt x="149221" y="214512"/>
                    </a:cubicBezTo>
                    <a:cubicBezTo>
                      <a:pt x="113169" y="214512"/>
                      <a:pt x="83936" y="185278"/>
                      <a:pt x="83936" y="149226"/>
                    </a:cubicBezTo>
                    <a:cubicBezTo>
                      <a:pt x="83936" y="113173"/>
                      <a:pt x="113169" y="83939"/>
                      <a:pt x="149221" y="83939"/>
                    </a:cubicBezTo>
                    <a:close/>
                    <a:moveTo>
                      <a:pt x="161910" y="18653"/>
                    </a:moveTo>
                    <a:lnTo>
                      <a:pt x="136528" y="18667"/>
                    </a:lnTo>
                    <a:lnTo>
                      <a:pt x="130822" y="47255"/>
                    </a:lnTo>
                    <a:cubicBezTo>
                      <a:pt x="129523" y="53735"/>
                      <a:pt x="124894" y="59041"/>
                      <a:pt x="118649" y="61210"/>
                    </a:cubicBezTo>
                    <a:cubicBezTo>
                      <a:pt x="115208" y="62413"/>
                      <a:pt x="111850" y="63822"/>
                      <a:pt x="108631" y="65397"/>
                    </a:cubicBezTo>
                    <a:cubicBezTo>
                      <a:pt x="106047" y="66627"/>
                      <a:pt x="103270" y="67249"/>
                      <a:pt x="100507" y="67249"/>
                    </a:cubicBezTo>
                    <a:cubicBezTo>
                      <a:pt x="96873" y="67249"/>
                      <a:pt x="93266" y="66198"/>
                      <a:pt x="90157" y="64112"/>
                    </a:cubicBezTo>
                    <a:lnTo>
                      <a:pt x="65867" y="47932"/>
                    </a:lnTo>
                    <a:lnTo>
                      <a:pt x="47918" y="65881"/>
                    </a:lnTo>
                    <a:lnTo>
                      <a:pt x="64112" y="90158"/>
                    </a:lnTo>
                    <a:cubicBezTo>
                      <a:pt x="67774" y="95657"/>
                      <a:pt x="68257" y="102690"/>
                      <a:pt x="65369" y="108631"/>
                    </a:cubicBezTo>
                    <a:cubicBezTo>
                      <a:pt x="63794" y="111878"/>
                      <a:pt x="62412" y="115222"/>
                      <a:pt x="61210" y="118662"/>
                    </a:cubicBezTo>
                    <a:cubicBezTo>
                      <a:pt x="59041" y="124908"/>
                      <a:pt x="53721" y="129537"/>
                      <a:pt x="47255" y="130822"/>
                    </a:cubicBezTo>
                    <a:lnTo>
                      <a:pt x="18653" y="136542"/>
                    </a:lnTo>
                    <a:lnTo>
                      <a:pt x="18667" y="161924"/>
                    </a:lnTo>
                    <a:lnTo>
                      <a:pt x="47255" y="167644"/>
                    </a:lnTo>
                    <a:cubicBezTo>
                      <a:pt x="53721" y="168943"/>
                      <a:pt x="59041" y="173572"/>
                      <a:pt x="61210" y="179817"/>
                    </a:cubicBezTo>
                    <a:cubicBezTo>
                      <a:pt x="62412" y="183258"/>
                      <a:pt x="63822" y="186602"/>
                      <a:pt x="65383" y="189835"/>
                    </a:cubicBezTo>
                    <a:cubicBezTo>
                      <a:pt x="68257" y="195790"/>
                      <a:pt x="67774" y="202809"/>
                      <a:pt x="64112" y="208295"/>
                    </a:cubicBezTo>
                    <a:lnTo>
                      <a:pt x="47918" y="232585"/>
                    </a:lnTo>
                    <a:lnTo>
                      <a:pt x="65867" y="250534"/>
                    </a:lnTo>
                    <a:lnTo>
                      <a:pt x="90157" y="234340"/>
                    </a:lnTo>
                    <a:cubicBezTo>
                      <a:pt x="93266" y="232268"/>
                      <a:pt x="96873" y="231204"/>
                      <a:pt x="100507" y="231204"/>
                    </a:cubicBezTo>
                    <a:cubicBezTo>
                      <a:pt x="103270" y="231204"/>
                      <a:pt x="106047" y="231825"/>
                      <a:pt x="108631" y="233083"/>
                    </a:cubicBezTo>
                    <a:cubicBezTo>
                      <a:pt x="111864" y="234658"/>
                      <a:pt x="115222" y="236054"/>
                      <a:pt x="118662" y="237256"/>
                    </a:cubicBezTo>
                    <a:cubicBezTo>
                      <a:pt x="124894" y="239411"/>
                      <a:pt x="129523" y="244731"/>
                      <a:pt x="130822" y="251211"/>
                    </a:cubicBezTo>
                    <a:lnTo>
                      <a:pt x="136528" y="279799"/>
                    </a:lnTo>
                    <a:lnTo>
                      <a:pt x="161910" y="279799"/>
                    </a:lnTo>
                    <a:lnTo>
                      <a:pt x="167644" y="251211"/>
                    </a:lnTo>
                    <a:cubicBezTo>
                      <a:pt x="168943" y="244731"/>
                      <a:pt x="173572" y="239411"/>
                      <a:pt x="179790" y="237256"/>
                    </a:cubicBezTo>
                    <a:cubicBezTo>
                      <a:pt x="183258" y="236054"/>
                      <a:pt x="186588" y="234644"/>
                      <a:pt x="189835" y="233069"/>
                    </a:cubicBezTo>
                    <a:cubicBezTo>
                      <a:pt x="192405" y="231825"/>
                      <a:pt x="195182" y="231204"/>
                      <a:pt x="197959" y="231204"/>
                    </a:cubicBezTo>
                    <a:cubicBezTo>
                      <a:pt x="201580" y="231204"/>
                      <a:pt x="205186" y="232268"/>
                      <a:pt x="208309" y="234340"/>
                    </a:cubicBezTo>
                    <a:lnTo>
                      <a:pt x="232585" y="250534"/>
                    </a:lnTo>
                    <a:lnTo>
                      <a:pt x="250520" y="232585"/>
                    </a:lnTo>
                    <a:lnTo>
                      <a:pt x="234326" y="208295"/>
                    </a:lnTo>
                    <a:cubicBezTo>
                      <a:pt x="230665" y="202809"/>
                      <a:pt x="230181" y="195776"/>
                      <a:pt x="233083" y="189821"/>
                    </a:cubicBezTo>
                    <a:cubicBezTo>
                      <a:pt x="234644" y="186574"/>
                      <a:pt x="236040" y="183244"/>
                      <a:pt x="237242" y="179804"/>
                    </a:cubicBezTo>
                    <a:cubicBezTo>
                      <a:pt x="239411" y="173558"/>
                      <a:pt x="244717" y="168929"/>
                      <a:pt x="251197" y="167644"/>
                    </a:cubicBezTo>
                    <a:cubicBezTo>
                      <a:pt x="251197" y="167644"/>
                      <a:pt x="279799" y="161924"/>
                      <a:pt x="279799" y="161924"/>
                    </a:cubicBezTo>
                    <a:lnTo>
                      <a:pt x="279785" y="136542"/>
                    </a:lnTo>
                    <a:lnTo>
                      <a:pt x="251197" y="130808"/>
                    </a:lnTo>
                    <a:cubicBezTo>
                      <a:pt x="244717" y="129523"/>
                      <a:pt x="239411" y="124894"/>
                      <a:pt x="237242" y="118649"/>
                    </a:cubicBezTo>
                    <a:cubicBezTo>
                      <a:pt x="236040" y="115208"/>
                      <a:pt x="234630" y="111864"/>
                      <a:pt x="233055" y="108631"/>
                    </a:cubicBezTo>
                    <a:cubicBezTo>
                      <a:pt x="230195" y="102676"/>
                      <a:pt x="230665" y="95657"/>
                      <a:pt x="234326" y="90158"/>
                    </a:cubicBezTo>
                    <a:lnTo>
                      <a:pt x="250520" y="65881"/>
                    </a:lnTo>
                    <a:lnTo>
                      <a:pt x="232585" y="47932"/>
                    </a:lnTo>
                    <a:lnTo>
                      <a:pt x="208309" y="64112"/>
                    </a:lnTo>
                    <a:cubicBezTo>
                      <a:pt x="205186" y="66198"/>
                      <a:pt x="201580" y="67249"/>
                      <a:pt x="197959" y="67249"/>
                    </a:cubicBezTo>
                    <a:cubicBezTo>
                      <a:pt x="195168" y="67249"/>
                      <a:pt x="192405" y="66627"/>
                      <a:pt x="189807" y="65383"/>
                    </a:cubicBezTo>
                    <a:cubicBezTo>
                      <a:pt x="186574" y="63808"/>
                      <a:pt x="183244" y="62413"/>
                      <a:pt x="179790" y="61210"/>
                    </a:cubicBezTo>
                    <a:cubicBezTo>
                      <a:pt x="173544" y="59041"/>
                      <a:pt x="168916" y="53735"/>
                      <a:pt x="167631" y="47255"/>
                    </a:cubicBezTo>
                    <a:close/>
                    <a:moveTo>
                      <a:pt x="136528" y="0"/>
                    </a:moveTo>
                    <a:lnTo>
                      <a:pt x="161910" y="0"/>
                    </a:lnTo>
                    <a:cubicBezTo>
                      <a:pt x="170795" y="0"/>
                      <a:pt x="178463" y="6287"/>
                      <a:pt x="180190" y="15006"/>
                    </a:cubicBezTo>
                    <a:lnTo>
                      <a:pt x="185911" y="43593"/>
                    </a:lnTo>
                    <a:cubicBezTo>
                      <a:pt x="190056" y="45030"/>
                      <a:pt x="194063" y="46716"/>
                      <a:pt x="197959" y="48595"/>
                    </a:cubicBezTo>
                    <a:lnTo>
                      <a:pt x="222250" y="32415"/>
                    </a:lnTo>
                    <a:cubicBezTo>
                      <a:pt x="225387" y="30301"/>
                      <a:pt x="228993" y="29279"/>
                      <a:pt x="232572" y="29279"/>
                    </a:cubicBezTo>
                    <a:cubicBezTo>
                      <a:pt x="237408" y="29279"/>
                      <a:pt x="242161" y="31130"/>
                      <a:pt x="245767" y="34737"/>
                    </a:cubicBezTo>
                    <a:lnTo>
                      <a:pt x="263716" y="52685"/>
                    </a:lnTo>
                    <a:cubicBezTo>
                      <a:pt x="270002" y="58972"/>
                      <a:pt x="270983" y="68824"/>
                      <a:pt x="266051" y="76216"/>
                    </a:cubicBezTo>
                    <a:lnTo>
                      <a:pt x="249857" y="100507"/>
                    </a:lnTo>
                    <a:cubicBezTo>
                      <a:pt x="251722" y="104389"/>
                      <a:pt x="253422" y="108382"/>
                      <a:pt x="254859" y="112528"/>
                    </a:cubicBezTo>
                    <a:lnTo>
                      <a:pt x="283447" y="118248"/>
                    </a:lnTo>
                    <a:cubicBezTo>
                      <a:pt x="292165" y="120003"/>
                      <a:pt x="298452" y="127657"/>
                      <a:pt x="298452" y="136542"/>
                    </a:cubicBezTo>
                    <a:lnTo>
                      <a:pt x="298452" y="161924"/>
                    </a:lnTo>
                    <a:cubicBezTo>
                      <a:pt x="298452" y="170809"/>
                      <a:pt x="292165" y="178463"/>
                      <a:pt x="283447" y="180218"/>
                    </a:cubicBezTo>
                    <a:lnTo>
                      <a:pt x="254859" y="185925"/>
                    </a:lnTo>
                    <a:cubicBezTo>
                      <a:pt x="253422" y="190056"/>
                      <a:pt x="251750" y="194063"/>
                      <a:pt x="249857" y="197959"/>
                    </a:cubicBezTo>
                    <a:lnTo>
                      <a:pt x="266051" y="222236"/>
                    </a:lnTo>
                    <a:cubicBezTo>
                      <a:pt x="270983" y="229629"/>
                      <a:pt x="270002" y="239494"/>
                      <a:pt x="263716" y="245781"/>
                    </a:cubicBezTo>
                    <a:lnTo>
                      <a:pt x="245767" y="263716"/>
                    </a:lnTo>
                    <a:cubicBezTo>
                      <a:pt x="242161" y="267322"/>
                      <a:pt x="237408" y="269187"/>
                      <a:pt x="232572" y="269187"/>
                    </a:cubicBezTo>
                    <a:cubicBezTo>
                      <a:pt x="228993" y="269187"/>
                      <a:pt x="225387" y="268151"/>
                      <a:pt x="222250" y="266051"/>
                    </a:cubicBezTo>
                    <a:lnTo>
                      <a:pt x="197959" y="249857"/>
                    </a:lnTo>
                    <a:cubicBezTo>
                      <a:pt x="194077" y="251750"/>
                      <a:pt x="190070" y="253422"/>
                      <a:pt x="185938" y="254873"/>
                    </a:cubicBezTo>
                    <a:lnTo>
                      <a:pt x="180190" y="283460"/>
                    </a:lnTo>
                    <a:cubicBezTo>
                      <a:pt x="178463" y="292193"/>
                      <a:pt x="170795" y="298452"/>
                      <a:pt x="161910" y="298452"/>
                    </a:cubicBezTo>
                    <a:lnTo>
                      <a:pt x="136528" y="298452"/>
                    </a:lnTo>
                    <a:cubicBezTo>
                      <a:pt x="127644" y="298452"/>
                      <a:pt x="119989" y="292193"/>
                      <a:pt x="118248" y="283460"/>
                    </a:cubicBezTo>
                    <a:lnTo>
                      <a:pt x="112528" y="254873"/>
                    </a:lnTo>
                    <a:cubicBezTo>
                      <a:pt x="108382" y="253422"/>
                      <a:pt x="104389" y="251750"/>
                      <a:pt x="100507" y="249857"/>
                    </a:cubicBezTo>
                    <a:lnTo>
                      <a:pt x="76216" y="266051"/>
                    </a:lnTo>
                    <a:cubicBezTo>
                      <a:pt x="73066" y="268151"/>
                      <a:pt x="69459" y="269187"/>
                      <a:pt x="65881" y="269187"/>
                    </a:cubicBezTo>
                    <a:cubicBezTo>
                      <a:pt x="61058" y="269187"/>
                      <a:pt x="56291" y="267322"/>
                      <a:pt x="52685" y="263716"/>
                    </a:cubicBezTo>
                    <a:lnTo>
                      <a:pt x="34737" y="245781"/>
                    </a:lnTo>
                    <a:cubicBezTo>
                      <a:pt x="28450" y="239494"/>
                      <a:pt x="27469" y="229629"/>
                      <a:pt x="32401" y="222236"/>
                    </a:cubicBezTo>
                    <a:lnTo>
                      <a:pt x="48595" y="197959"/>
                    </a:lnTo>
                    <a:cubicBezTo>
                      <a:pt x="46716" y="194077"/>
                      <a:pt x="45030" y="190070"/>
                      <a:pt x="43593" y="185938"/>
                    </a:cubicBezTo>
                    <a:lnTo>
                      <a:pt x="15006" y="180218"/>
                    </a:lnTo>
                    <a:cubicBezTo>
                      <a:pt x="6273" y="178463"/>
                      <a:pt x="0" y="170809"/>
                      <a:pt x="0" y="161924"/>
                    </a:cubicBezTo>
                    <a:lnTo>
                      <a:pt x="0" y="136542"/>
                    </a:lnTo>
                    <a:cubicBezTo>
                      <a:pt x="0" y="127657"/>
                      <a:pt x="6273" y="120003"/>
                      <a:pt x="15006" y="118248"/>
                    </a:cubicBezTo>
                    <a:lnTo>
                      <a:pt x="43593" y="112528"/>
                    </a:lnTo>
                    <a:cubicBezTo>
                      <a:pt x="45030" y="108396"/>
                      <a:pt x="46702" y="104389"/>
                      <a:pt x="48595" y="100507"/>
                    </a:cubicBezTo>
                    <a:lnTo>
                      <a:pt x="32401" y="76216"/>
                    </a:lnTo>
                    <a:cubicBezTo>
                      <a:pt x="27469" y="68824"/>
                      <a:pt x="28450" y="58972"/>
                      <a:pt x="34737" y="52685"/>
                    </a:cubicBezTo>
                    <a:lnTo>
                      <a:pt x="52685" y="34737"/>
                    </a:lnTo>
                    <a:cubicBezTo>
                      <a:pt x="56291" y="31130"/>
                      <a:pt x="61058" y="29279"/>
                      <a:pt x="65881" y="29279"/>
                    </a:cubicBezTo>
                    <a:cubicBezTo>
                      <a:pt x="69459" y="29279"/>
                      <a:pt x="73052" y="30301"/>
                      <a:pt x="76216" y="32415"/>
                    </a:cubicBezTo>
                    <a:lnTo>
                      <a:pt x="100507" y="48595"/>
                    </a:lnTo>
                    <a:cubicBezTo>
                      <a:pt x="104389" y="46716"/>
                      <a:pt x="108382" y="45030"/>
                      <a:pt x="112528" y="43593"/>
                    </a:cubicBezTo>
                    <a:lnTo>
                      <a:pt x="118248" y="15006"/>
                    </a:lnTo>
                    <a:cubicBezTo>
                      <a:pt x="119989" y="6287"/>
                      <a:pt x="127644" y="0"/>
                      <a:pt x="136528" y="0"/>
                    </a:cubicBezTo>
                    <a:close/>
                  </a:path>
                </a:pathLst>
              </a:custGeom>
              <a:solidFill>
                <a:schemeClr val="accent1">
                  <a:lumMod val="10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anchor="ctr"/>
              <a:lstStyle/>
              <a:p>
                <a:pPr algn="ctr"/>
                <a:endParaRPr/>
              </a:p>
            </p:txBody>
          </p:sp>
          <p:grpSp>
            <p:nvGrpSpPr>
              <p:cNvPr id="43" name="íŝlïḑe">
                <a:extLst>
                  <a:ext uri="{FF2B5EF4-FFF2-40B4-BE49-F238E27FC236}">
                    <a16:creationId xmlns:a16="http://schemas.microsoft.com/office/drawing/2014/main" id="{E2365390-C677-4B29-88B4-882932507AD5}"/>
                  </a:ext>
                </a:extLst>
              </p:cNvPr>
              <p:cNvGrpSpPr/>
              <p:nvPr/>
            </p:nvGrpSpPr>
            <p:grpSpPr>
              <a:xfrm>
                <a:off x="9604622" y="2731985"/>
                <a:ext cx="1914278" cy="972938"/>
                <a:chOff x="4601215" y="1415695"/>
                <a:chExt cx="1914278" cy="972938"/>
              </a:xfrm>
            </p:grpSpPr>
            <p:sp>
              <p:nvSpPr>
                <p:cNvPr id="44" name="íṩ1îdê">
                  <a:extLst>
                    <a:ext uri="{FF2B5EF4-FFF2-40B4-BE49-F238E27FC236}">
                      <a16:creationId xmlns:a16="http://schemas.microsoft.com/office/drawing/2014/main" id="{7B99CE6F-31FE-4E36-8D65-43703D8D03EB}"/>
                    </a:ext>
                  </a:extLst>
                </p:cNvPr>
                <p:cNvSpPr/>
                <p:nvPr/>
              </p:nvSpPr>
              <p:spPr>
                <a:xfrm>
                  <a:off x="4601215" y="1415695"/>
                  <a:ext cx="1914278" cy="391664"/>
                </a:xfrm>
                <a:prstGeom prst="rect">
                  <a:avLst/>
                </a:prstGeom>
              </p:spPr>
              <p:txBody>
                <a:bodyPr wrap="none" lIns="90000" tIns="46800" rIns="90000" bIns="46800" anchor="b" anchorCtr="0">
                  <a:normAutofit/>
                </a:bodyPr>
                <a:lstStyle/>
                <a:p>
                  <a:r>
                    <a:rPr lang="zh-CN" altLang="en-US" sz="1400" b="1" dirty="0">
                      <a:effectLst/>
                    </a:rPr>
                    <a:t>模型应用扩大</a:t>
                  </a:r>
                </a:p>
              </p:txBody>
            </p:sp>
            <p:sp>
              <p:nvSpPr>
                <p:cNvPr id="45" name="îş1iḓè">
                  <a:extLst>
                    <a:ext uri="{FF2B5EF4-FFF2-40B4-BE49-F238E27FC236}">
                      <a16:creationId xmlns:a16="http://schemas.microsoft.com/office/drawing/2014/main" id="{D85B5341-C1A7-41D8-B2E3-1B6D043FBC39}"/>
                    </a:ext>
                  </a:extLst>
                </p:cNvPr>
                <p:cNvSpPr/>
                <p:nvPr/>
              </p:nvSpPr>
              <p:spPr>
                <a:xfrm>
                  <a:off x="4601215" y="1807359"/>
                  <a:ext cx="1914278" cy="581274"/>
                </a:xfrm>
                <a:prstGeom prst="rect">
                  <a:avLst/>
                </a:prstGeom>
              </p:spPr>
              <p:txBody>
                <a:bodyPr wrap="square" lIns="90000" tIns="46800" rIns="90000" bIns="46800">
                  <a:normAutofit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zh-CN" altLang="en-US" sz="1100" dirty="0"/>
                    <a:t>模型阔应用推广</a:t>
                  </a:r>
                  <a:endParaRPr lang="en-US" altLang="zh-CN" sz="1100" dirty="0"/>
                </a:p>
                <a:p>
                  <a:pPr>
                    <a:lnSpc>
                      <a:spcPct val="120000"/>
                    </a:lnSpc>
                  </a:pPr>
                  <a:r>
                    <a:rPr lang="zh-CN" altLang="en-US" sz="1100" dirty="0"/>
                    <a:t>与大规模应用</a:t>
                  </a:r>
                  <a:endParaRPr lang="en-US" altLang="zh-CN" sz="1100" dirty="0"/>
                </a:p>
              </p:txBody>
            </p:sp>
          </p:grpSp>
        </p:grpSp>
        <p:sp>
          <p:nvSpPr>
            <p:cNvPr id="23" name="îSľiḋê">
              <a:extLst>
                <a:ext uri="{FF2B5EF4-FFF2-40B4-BE49-F238E27FC236}">
                  <a16:creationId xmlns:a16="http://schemas.microsoft.com/office/drawing/2014/main" id="{F622F200-2520-4321-9F9E-AE9F7AEE6BA0}"/>
                </a:ext>
              </a:extLst>
            </p:cNvPr>
            <p:cNvSpPr/>
            <p:nvPr/>
          </p:nvSpPr>
          <p:spPr>
            <a:xfrm flipV="1">
              <a:off x="972740" y="4639849"/>
              <a:ext cx="2177853" cy="45719"/>
            </a:xfrm>
            <a:prstGeom prst="rect">
              <a:avLst/>
            </a:prstGeom>
            <a:solidFill>
              <a:schemeClr val="accent1">
                <a:lumMod val="100000"/>
              </a:schemeClr>
            </a:solidFill>
            <a:ln w="25400">
              <a:noFill/>
              <a:miter lim="4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îsḷïḋê">
              <a:extLst>
                <a:ext uri="{FF2B5EF4-FFF2-40B4-BE49-F238E27FC236}">
                  <a16:creationId xmlns:a16="http://schemas.microsoft.com/office/drawing/2014/main" id="{B30CDD13-680A-48BE-89A0-9D92E3A4370E}"/>
                </a:ext>
              </a:extLst>
            </p:cNvPr>
            <p:cNvSpPr/>
            <p:nvPr/>
          </p:nvSpPr>
          <p:spPr>
            <a:xfrm>
              <a:off x="3143441" y="4066009"/>
              <a:ext cx="6540714" cy="57692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25400">
              <a:noFill/>
              <a:miter lim="4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íśľîḑé">
              <a:extLst>
                <a:ext uri="{FF2B5EF4-FFF2-40B4-BE49-F238E27FC236}">
                  <a16:creationId xmlns:a16="http://schemas.microsoft.com/office/drawing/2014/main" id="{20AB5F4E-1A7F-4B78-81A0-2675263C0BAE}"/>
                </a:ext>
              </a:extLst>
            </p:cNvPr>
            <p:cNvSpPr/>
            <p:nvPr/>
          </p:nvSpPr>
          <p:spPr>
            <a:xfrm>
              <a:off x="5317920" y="3537887"/>
              <a:ext cx="2188382" cy="53152"/>
            </a:xfrm>
            <a:prstGeom prst="rect">
              <a:avLst/>
            </a:prstGeom>
            <a:solidFill>
              <a:schemeClr val="accent1"/>
            </a:solidFill>
            <a:ln w="25400">
              <a:noFill/>
              <a:miter lim="4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ïṣḻíďé">
              <a:extLst>
                <a:ext uri="{FF2B5EF4-FFF2-40B4-BE49-F238E27FC236}">
                  <a16:creationId xmlns:a16="http://schemas.microsoft.com/office/drawing/2014/main" id="{1C778136-45C9-468F-9BB5-E88A924595C8}"/>
                </a:ext>
              </a:extLst>
            </p:cNvPr>
            <p:cNvSpPr/>
            <p:nvPr/>
          </p:nvSpPr>
          <p:spPr>
            <a:xfrm>
              <a:off x="7500750" y="3009765"/>
              <a:ext cx="3780000" cy="4571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25400">
              <a:noFill/>
              <a:miter lim="4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ïṣľíḑê">
              <a:extLst>
                <a:ext uri="{FF2B5EF4-FFF2-40B4-BE49-F238E27FC236}">
                  <a16:creationId xmlns:a16="http://schemas.microsoft.com/office/drawing/2014/main" id="{673707C1-61D5-49DA-B089-F75D02249AAF}"/>
                </a:ext>
              </a:extLst>
            </p:cNvPr>
            <p:cNvSpPr/>
            <p:nvPr/>
          </p:nvSpPr>
          <p:spPr>
            <a:xfrm>
              <a:off x="9677003" y="2480329"/>
              <a:ext cx="1589494" cy="47034"/>
            </a:xfrm>
            <a:prstGeom prst="rect">
              <a:avLst/>
            </a:prstGeom>
            <a:solidFill>
              <a:schemeClr val="accent1"/>
            </a:solidFill>
            <a:ln w="25400">
              <a:noFill/>
              <a:miter lim="4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ïṡḻídé">
              <a:extLst>
                <a:ext uri="{FF2B5EF4-FFF2-40B4-BE49-F238E27FC236}">
                  <a16:creationId xmlns:a16="http://schemas.microsoft.com/office/drawing/2014/main" id="{79ACCB8B-BE6D-45B9-B3A7-3CA639075C77}"/>
                </a:ext>
              </a:extLst>
            </p:cNvPr>
            <p:cNvSpPr/>
            <p:nvPr/>
          </p:nvSpPr>
          <p:spPr>
            <a:xfrm>
              <a:off x="11170443" y="5114326"/>
              <a:ext cx="194470" cy="19446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381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ïŝlîďê">
              <a:extLst>
                <a:ext uri="{FF2B5EF4-FFF2-40B4-BE49-F238E27FC236}">
                  <a16:creationId xmlns:a16="http://schemas.microsoft.com/office/drawing/2014/main" id="{02EF1AE8-8B19-43D2-81FC-BB52DC32FDF3}"/>
                </a:ext>
              </a:extLst>
            </p:cNvPr>
            <p:cNvSpPr txBox="1"/>
            <p:nvPr/>
          </p:nvSpPr>
          <p:spPr bwMode="auto">
            <a:xfrm>
              <a:off x="10815637" y="5308791"/>
              <a:ext cx="911225" cy="368110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/>
              <a:r>
                <a:rPr lang="en-US" altLang="zh-CN" sz="1200" dirty="0">
                  <a:effectLst/>
                </a:rPr>
                <a:t>2020</a:t>
              </a:r>
              <a:endParaRPr lang="zh-CN" altLang="en-US" sz="1200" dirty="0">
                <a:effectLst/>
              </a:endParaRPr>
            </a:p>
          </p:txBody>
        </p:sp>
        <p:cxnSp>
          <p:nvCxnSpPr>
            <p:cNvPr id="30" name="直接连接符 29">
              <a:extLst>
                <a:ext uri="{FF2B5EF4-FFF2-40B4-BE49-F238E27FC236}">
                  <a16:creationId xmlns:a16="http://schemas.microsoft.com/office/drawing/2014/main" id="{17410535-EBD9-445D-B385-5CF6F4D682A6}"/>
                </a:ext>
              </a:extLst>
            </p:cNvPr>
            <p:cNvCxnSpPr>
              <a:cxnSpLocks/>
              <a:endCxn id="28" idx="0"/>
            </p:cNvCxnSpPr>
            <p:nvPr/>
          </p:nvCxnSpPr>
          <p:spPr>
            <a:xfrm>
              <a:off x="11267678" y="2527362"/>
              <a:ext cx="0" cy="2586964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直接连接符 30">
              <a:extLst>
                <a:ext uri="{FF2B5EF4-FFF2-40B4-BE49-F238E27FC236}">
                  <a16:creationId xmlns:a16="http://schemas.microsoft.com/office/drawing/2014/main" id="{0E0238FD-12EF-4C63-A7BA-BB913EB54DB9}"/>
                </a:ext>
              </a:extLst>
            </p:cNvPr>
            <p:cNvCxnSpPr>
              <a:cxnSpLocks/>
            </p:cNvCxnSpPr>
            <p:nvPr/>
          </p:nvCxnSpPr>
          <p:spPr>
            <a:xfrm>
              <a:off x="9677003" y="2527362"/>
              <a:ext cx="0" cy="2586964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直接连接符 31">
              <a:extLst>
                <a:ext uri="{FF2B5EF4-FFF2-40B4-BE49-F238E27FC236}">
                  <a16:creationId xmlns:a16="http://schemas.microsoft.com/office/drawing/2014/main" id="{F5F47673-CA7F-484C-8477-ABC557D70FC0}"/>
                </a:ext>
              </a:extLst>
            </p:cNvPr>
            <p:cNvCxnSpPr>
              <a:cxnSpLocks/>
            </p:cNvCxnSpPr>
            <p:nvPr/>
          </p:nvCxnSpPr>
          <p:spPr>
            <a:xfrm>
              <a:off x="969566" y="4639849"/>
              <a:ext cx="0" cy="474477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直接连接符 32">
              <a:extLst>
                <a:ext uri="{FF2B5EF4-FFF2-40B4-BE49-F238E27FC236}">
                  <a16:creationId xmlns:a16="http://schemas.microsoft.com/office/drawing/2014/main" id="{CBAC36B3-359B-4E6F-A31E-8ADF61974260}"/>
                </a:ext>
              </a:extLst>
            </p:cNvPr>
            <p:cNvCxnSpPr>
              <a:cxnSpLocks/>
            </p:cNvCxnSpPr>
            <p:nvPr/>
          </p:nvCxnSpPr>
          <p:spPr>
            <a:xfrm>
              <a:off x="3147121" y="4111728"/>
              <a:ext cx="0" cy="1002598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直接连接符 33">
              <a:extLst>
                <a:ext uri="{FF2B5EF4-FFF2-40B4-BE49-F238E27FC236}">
                  <a16:creationId xmlns:a16="http://schemas.microsoft.com/office/drawing/2014/main" id="{D0017DCF-C87C-41BE-9D81-1069E0F44592}"/>
                </a:ext>
              </a:extLst>
            </p:cNvPr>
            <p:cNvCxnSpPr>
              <a:cxnSpLocks/>
            </p:cNvCxnSpPr>
            <p:nvPr/>
          </p:nvCxnSpPr>
          <p:spPr>
            <a:xfrm>
              <a:off x="5328448" y="3560746"/>
              <a:ext cx="0" cy="155358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直接连接符 34">
              <a:extLst>
                <a:ext uri="{FF2B5EF4-FFF2-40B4-BE49-F238E27FC236}">
                  <a16:creationId xmlns:a16="http://schemas.microsoft.com/office/drawing/2014/main" id="{A9930342-C78E-420C-BA8E-6C911E3F3FBC}"/>
                </a:ext>
              </a:extLst>
            </p:cNvPr>
            <p:cNvCxnSpPr>
              <a:cxnSpLocks/>
            </p:cNvCxnSpPr>
            <p:nvPr/>
          </p:nvCxnSpPr>
          <p:spPr>
            <a:xfrm>
              <a:off x="7500750" y="3055484"/>
              <a:ext cx="0" cy="2058842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446709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îŝľiďê">
            <a:extLst>
              <a:ext uri="{FF2B5EF4-FFF2-40B4-BE49-F238E27FC236}">
                <a16:creationId xmlns:a16="http://schemas.microsoft.com/office/drawing/2014/main" id="{7E9FE16C-F1C1-4E7A-9A0B-31964842EDBF}"/>
              </a:ext>
            </a:extLst>
          </p:cNvPr>
          <p:cNvGrpSpPr/>
          <p:nvPr/>
        </p:nvGrpSpPr>
        <p:grpSpPr>
          <a:xfrm>
            <a:off x="-1240939" y="-3443"/>
            <a:ext cx="10903940" cy="4829828"/>
            <a:chOff x="644028" y="21043"/>
            <a:chExt cx="10903940" cy="4829828"/>
          </a:xfrm>
          <a:solidFill>
            <a:schemeClr val="bg1">
              <a:lumMod val="85000"/>
            </a:schemeClr>
          </a:solidFill>
        </p:grpSpPr>
        <p:sp>
          <p:nvSpPr>
            <p:cNvPr id="18" name="íṧ1ïḋè">
              <a:extLst>
                <a:ext uri="{FF2B5EF4-FFF2-40B4-BE49-F238E27FC236}">
                  <a16:creationId xmlns:a16="http://schemas.microsoft.com/office/drawing/2014/main" id="{67D6A2D6-5A9F-4963-B427-C919D51CB871}"/>
                </a:ext>
              </a:extLst>
            </p:cNvPr>
            <p:cNvSpPr/>
            <p:nvPr/>
          </p:nvSpPr>
          <p:spPr bwMode="auto">
            <a:xfrm>
              <a:off x="1333855" y="675944"/>
              <a:ext cx="286628" cy="286628"/>
            </a:xfrm>
            <a:custGeom>
              <a:avLst/>
              <a:gdLst>
                <a:gd name="T0" fmla="*/ 8083 w 16058"/>
                <a:gd name="T1" fmla="*/ 10645 h 16058"/>
                <a:gd name="T2" fmla="*/ 6322 w 16058"/>
                <a:gd name="T3" fmla="*/ 9396 h 16058"/>
                <a:gd name="T4" fmla="*/ 5244 w 16058"/>
                <a:gd name="T5" fmla="*/ 7514 h 16058"/>
                <a:gd name="T6" fmla="*/ 5076 w 16058"/>
                <a:gd name="T7" fmla="*/ 5258 h 16058"/>
                <a:gd name="T8" fmla="*/ 5875 w 16058"/>
                <a:gd name="T9" fmla="*/ 3217 h 16058"/>
                <a:gd name="T10" fmla="*/ 7435 w 16058"/>
                <a:gd name="T11" fmla="*/ 1730 h 16058"/>
                <a:gd name="T12" fmla="*/ 9523 w 16058"/>
                <a:gd name="T13" fmla="*/ 1030 h 16058"/>
                <a:gd name="T14" fmla="*/ 11761 w 16058"/>
                <a:gd name="T15" fmla="*/ 1308 h 16058"/>
                <a:gd name="T16" fmla="*/ 13584 w 16058"/>
                <a:gd name="T17" fmla="*/ 2474 h 16058"/>
                <a:gd name="T18" fmla="*/ 14750 w 16058"/>
                <a:gd name="T19" fmla="*/ 4297 h 16058"/>
                <a:gd name="T20" fmla="*/ 15028 w 16058"/>
                <a:gd name="T21" fmla="*/ 6535 h 16058"/>
                <a:gd name="T22" fmla="*/ 14328 w 16058"/>
                <a:gd name="T23" fmla="*/ 8624 h 16058"/>
                <a:gd name="T24" fmla="*/ 12841 w 16058"/>
                <a:gd name="T25" fmla="*/ 10183 h 16058"/>
                <a:gd name="T26" fmla="*/ 10800 w 16058"/>
                <a:gd name="T27" fmla="*/ 10982 h 16058"/>
                <a:gd name="T28" fmla="*/ 2326 w 16058"/>
                <a:gd name="T29" fmla="*/ 14973 h 16058"/>
                <a:gd name="T30" fmla="*/ 2162 w 16058"/>
                <a:gd name="T31" fmla="*/ 15080 h 16058"/>
                <a:gd name="T32" fmla="*/ 1975 w 16058"/>
                <a:gd name="T33" fmla="*/ 15148 h 16058"/>
                <a:gd name="T34" fmla="*/ 1771 w 16058"/>
                <a:gd name="T35" fmla="*/ 15172 h 16058"/>
                <a:gd name="T36" fmla="*/ 1387 w 16058"/>
                <a:gd name="T37" fmla="*/ 15084 h 16058"/>
                <a:gd name="T38" fmla="*/ 1088 w 16058"/>
                <a:gd name="T39" fmla="*/ 14850 h 16058"/>
                <a:gd name="T40" fmla="*/ 913 w 16058"/>
                <a:gd name="T41" fmla="*/ 14508 h 16058"/>
                <a:gd name="T42" fmla="*/ 890 w 16058"/>
                <a:gd name="T43" fmla="*/ 14194 h 16058"/>
                <a:gd name="T44" fmla="*/ 935 w 16058"/>
                <a:gd name="T45" fmla="*/ 13998 h 16058"/>
                <a:gd name="T46" fmla="*/ 1021 w 16058"/>
                <a:gd name="T47" fmla="*/ 13820 h 16058"/>
                <a:gd name="T48" fmla="*/ 1142 w 16058"/>
                <a:gd name="T49" fmla="*/ 13667 h 16058"/>
                <a:gd name="T50" fmla="*/ 5408 w 16058"/>
                <a:gd name="T51" fmla="*/ 9863 h 16058"/>
                <a:gd name="T52" fmla="*/ 5742 w 16058"/>
                <a:gd name="T53" fmla="*/ 10234 h 16058"/>
                <a:gd name="T54" fmla="*/ 6106 w 16058"/>
                <a:gd name="T55" fmla="*/ 10575 h 16058"/>
                <a:gd name="T56" fmla="*/ 2407 w 16058"/>
                <a:gd name="T57" fmla="*/ 14900 h 16058"/>
                <a:gd name="T58" fmla="*/ 7693 w 16058"/>
                <a:gd name="T59" fmla="*/ 474 h 16058"/>
                <a:gd name="T60" fmla="*/ 5579 w 16058"/>
                <a:gd name="T61" fmla="*/ 1973 h 16058"/>
                <a:gd name="T62" fmla="*/ 4285 w 16058"/>
                <a:gd name="T63" fmla="*/ 4231 h 16058"/>
                <a:gd name="T64" fmla="*/ 4022 w 16058"/>
                <a:gd name="T65" fmla="*/ 6306 h 16058"/>
                <a:gd name="T66" fmla="*/ 4119 w 16058"/>
                <a:gd name="T67" fmla="*/ 7138 h 16058"/>
                <a:gd name="T68" fmla="*/ 4326 w 16058"/>
                <a:gd name="T69" fmla="*/ 7930 h 16058"/>
                <a:gd name="T70" fmla="*/ 4634 w 16058"/>
                <a:gd name="T71" fmla="*/ 8676 h 16058"/>
                <a:gd name="T72" fmla="*/ 386 w 16058"/>
                <a:gd name="T73" fmla="*/ 13185 h 16058"/>
                <a:gd name="T74" fmla="*/ 179 w 16058"/>
                <a:gd name="T75" fmla="*/ 13512 h 16058"/>
                <a:gd name="T76" fmla="*/ 46 w 16058"/>
                <a:gd name="T77" fmla="*/ 13883 h 16058"/>
                <a:gd name="T78" fmla="*/ 0 w 16058"/>
                <a:gd name="T79" fmla="*/ 14287 h 16058"/>
                <a:gd name="T80" fmla="*/ 175 w 16058"/>
                <a:gd name="T81" fmla="*/ 15054 h 16058"/>
                <a:gd name="T82" fmla="*/ 644 w 16058"/>
                <a:gd name="T83" fmla="*/ 15654 h 16058"/>
                <a:gd name="T84" fmla="*/ 1329 w 16058"/>
                <a:gd name="T85" fmla="*/ 16002 h 16058"/>
                <a:gd name="T86" fmla="*/ 1954 w 16058"/>
                <a:gd name="T87" fmla="*/ 16049 h 16058"/>
                <a:gd name="T88" fmla="*/ 2344 w 16058"/>
                <a:gd name="T89" fmla="*/ 15963 h 16058"/>
                <a:gd name="T90" fmla="*/ 2698 w 16058"/>
                <a:gd name="T91" fmla="*/ 15795 h 16058"/>
                <a:gd name="T92" fmla="*/ 3003 w 16058"/>
                <a:gd name="T93" fmla="*/ 15557 h 16058"/>
                <a:gd name="T94" fmla="*/ 7703 w 16058"/>
                <a:gd name="T95" fmla="*/ 11572 h 16058"/>
                <a:gd name="T96" fmla="*/ 8472 w 16058"/>
                <a:gd name="T97" fmla="*/ 11837 h 16058"/>
                <a:gd name="T98" fmla="*/ 9285 w 16058"/>
                <a:gd name="T99" fmla="*/ 11996 h 16058"/>
                <a:gd name="T100" fmla="*/ 10346 w 16058"/>
                <a:gd name="T101" fmla="*/ 12035 h 16058"/>
                <a:gd name="T102" fmla="*/ 12907 w 16058"/>
                <a:gd name="T103" fmla="*/ 11317 h 16058"/>
                <a:gd name="T104" fmla="*/ 14862 w 16058"/>
                <a:gd name="T105" fmla="*/ 9625 h 16058"/>
                <a:gd name="T106" fmla="*/ 15936 w 16058"/>
                <a:gd name="T107" fmla="*/ 7235 h 16058"/>
                <a:gd name="T108" fmla="*/ 15868 w 16058"/>
                <a:gd name="T109" fmla="*/ 4517 h 16058"/>
                <a:gd name="T110" fmla="*/ 14683 w 16058"/>
                <a:gd name="T111" fmla="*/ 2191 h 16058"/>
                <a:gd name="T112" fmla="*/ 12647 w 16058"/>
                <a:gd name="T113" fmla="*/ 594 h 16058"/>
                <a:gd name="T114" fmla="*/ 10036 w 16058"/>
                <a:gd name="T115" fmla="*/ 0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058" h="16058">
                  <a:moveTo>
                    <a:pt x="10036" y="11040"/>
                  </a:moveTo>
                  <a:lnTo>
                    <a:pt x="9778" y="11034"/>
                  </a:lnTo>
                  <a:lnTo>
                    <a:pt x="9523" y="11014"/>
                  </a:lnTo>
                  <a:lnTo>
                    <a:pt x="9272" y="10982"/>
                  </a:lnTo>
                  <a:lnTo>
                    <a:pt x="9025" y="10938"/>
                  </a:lnTo>
                  <a:lnTo>
                    <a:pt x="8783" y="10882"/>
                  </a:lnTo>
                  <a:lnTo>
                    <a:pt x="8544" y="10814"/>
                  </a:lnTo>
                  <a:lnTo>
                    <a:pt x="8311" y="10736"/>
                  </a:lnTo>
                  <a:lnTo>
                    <a:pt x="8083" y="10645"/>
                  </a:lnTo>
                  <a:lnTo>
                    <a:pt x="7860" y="10545"/>
                  </a:lnTo>
                  <a:lnTo>
                    <a:pt x="7645" y="10434"/>
                  </a:lnTo>
                  <a:lnTo>
                    <a:pt x="7435" y="10313"/>
                  </a:lnTo>
                  <a:lnTo>
                    <a:pt x="7231" y="10183"/>
                  </a:lnTo>
                  <a:lnTo>
                    <a:pt x="7034" y="10043"/>
                  </a:lnTo>
                  <a:lnTo>
                    <a:pt x="6845" y="9894"/>
                  </a:lnTo>
                  <a:lnTo>
                    <a:pt x="6662" y="9736"/>
                  </a:lnTo>
                  <a:lnTo>
                    <a:pt x="6488" y="9570"/>
                  </a:lnTo>
                  <a:lnTo>
                    <a:pt x="6322" y="9396"/>
                  </a:lnTo>
                  <a:lnTo>
                    <a:pt x="6164" y="9213"/>
                  </a:lnTo>
                  <a:lnTo>
                    <a:pt x="6015" y="9024"/>
                  </a:lnTo>
                  <a:lnTo>
                    <a:pt x="5875" y="8827"/>
                  </a:lnTo>
                  <a:lnTo>
                    <a:pt x="5745" y="8624"/>
                  </a:lnTo>
                  <a:lnTo>
                    <a:pt x="5624" y="8413"/>
                  </a:lnTo>
                  <a:lnTo>
                    <a:pt x="5513" y="8198"/>
                  </a:lnTo>
                  <a:lnTo>
                    <a:pt x="5413" y="7975"/>
                  </a:lnTo>
                  <a:lnTo>
                    <a:pt x="5322" y="7747"/>
                  </a:lnTo>
                  <a:lnTo>
                    <a:pt x="5244" y="7514"/>
                  </a:lnTo>
                  <a:lnTo>
                    <a:pt x="5176" y="7275"/>
                  </a:lnTo>
                  <a:lnTo>
                    <a:pt x="5120" y="7033"/>
                  </a:lnTo>
                  <a:lnTo>
                    <a:pt x="5076" y="6786"/>
                  </a:lnTo>
                  <a:lnTo>
                    <a:pt x="5044" y="6535"/>
                  </a:lnTo>
                  <a:lnTo>
                    <a:pt x="5025" y="6280"/>
                  </a:lnTo>
                  <a:lnTo>
                    <a:pt x="5018" y="6022"/>
                  </a:lnTo>
                  <a:lnTo>
                    <a:pt x="5025" y="5764"/>
                  </a:lnTo>
                  <a:lnTo>
                    <a:pt x="5044" y="5509"/>
                  </a:lnTo>
                  <a:lnTo>
                    <a:pt x="5076" y="5258"/>
                  </a:lnTo>
                  <a:lnTo>
                    <a:pt x="5120" y="5011"/>
                  </a:lnTo>
                  <a:lnTo>
                    <a:pt x="5176" y="4768"/>
                  </a:lnTo>
                  <a:lnTo>
                    <a:pt x="5244" y="4529"/>
                  </a:lnTo>
                  <a:lnTo>
                    <a:pt x="5322" y="4297"/>
                  </a:lnTo>
                  <a:lnTo>
                    <a:pt x="5413" y="4069"/>
                  </a:lnTo>
                  <a:lnTo>
                    <a:pt x="5513" y="3846"/>
                  </a:lnTo>
                  <a:lnTo>
                    <a:pt x="5624" y="3630"/>
                  </a:lnTo>
                  <a:lnTo>
                    <a:pt x="5745" y="3420"/>
                  </a:lnTo>
                  <a:lnTo>
                    <a:pt x="5875" y="3217"/>
                  </a:lnTo>
                  <a:lnTo>
                    <a:pt x="6015" y="3020"/>
                  </a:lnTo>
                  <a:lnTo>
                    <a:pt x="6164" y="2830"/>
                  </a:lnTo>
                  <a:lnTo>
                    <a:pt x="6322" y="2648"/>
                  </a:lnTo>
                  <a:lnTo>
                    <a:pt x="6488" y="2474"/>
                  </a:lnTo>
                  <a:lnTo>
                    <a:pt x="6662" y="2307"/>
                  </a:lnTo>
                  <a:lnTo>
                    <a:pt x="6845" y="2150"/>
                  </a:lnTo>
                  <a:lnTo>
                    <a:pt x="7034" y="2000"/>
                  </a:lnTo>
                  <a:lnTo>
                    <a:pt x="7231" y="1861"/>
                  </a:lnTo>
                  <a:lnTo>
                    <a:pt x="7435" y="1730"/>
                  </a:lnTo>
                  <a:lnTo>
                    <a:pt x="7645" y="1610"/>
                  </a:lnTo>
                  <a:lnTo>
                    <a:pt x="7860" y="1498"/>
                  </a:lnTo>
                  <a:lnTo>
                    <a:pt x="8083" y="1398"/>
                  </a:lnTo>
                  <a:lnTo>
                    <a:pt x="8311" y="1308"/>
                  </a:lnTo>
                  <a:lnTo>
                    <a:pt x="8544" y="1229"/>
                  </a:lnTo>
                  <a:lnTo>
                    <a:pt x="8783" y="1161"/>
                  </a:lnTo>
                  <a:lnTo>
                    <a:pt x="9025" y="1106"/>
                  </a:lnTo>
                  <a:lnTo>
                    <a:pt x="9272" y="1062"/>
                  </a:lnTo>
                  <a:lnTo>
                    <a:pt x="9523" y="1030"/>
                  </a:lnTo>
                  <a:lnTo>
                    <a:pt x="9778" y="1010"/>
                  </a:lnTo>
                  <a:lnTo>
                    <a:pt x="10036" y="1004"/>
                  </a:lnTo>
                  <a:lnTo>
                    <a:pt x="10294" y="1010"/>
                  </a:lnTo>
                  <a:lnTo>
                    <a:pt x="10549" y="1030"/>
                  </a:lnTo>
                  <a:lnTo>
                    <a:pt x="10800" y="1062"/>
                  </a:lnTo>
                  <a:lnTo>
                    <a:pt x="11048" y="1106"/>
                  </a:lnTo>
                  <a:lnTo>
                    <a:pt x="11291" y="1161"/>
                  </a:lnTo>
                  <a:lnTo>
                    <a:pt x="11529" y="1229"/>
                  </a:lnTo>
                  <a:lnTo>
                    <a:pt x="11761" y="1308"/>
                  </a:lnTo>
                  <a:lnTo>
                    <a:pt x="11989" y="1398"/>
                  </a:lnTo>
                  <a:lnTo>
                    <a:pt x="12212" y="1498"/>
                  </a:lnTo>
                  <a:lnTo>
                    <a:pt x="12428" y="1610"/>
                  </a:lnTo>
                  <a:lnTo>
                    <a:pt x="12639" y="1730"/>
                  </a:lnTo>
                  <a:lnTo>
                    <a:pt x="12841" y="1861"/>
                  </a:lnTo>
                  <a:lnTo>
                    <a:pt x="13038" y="2000"/>
                  </a:lnTo>
                  <a:lnTo>
                    <a:pt x="13228" y="2150"/>
                  </a:lnTo>
                  <a:lnTo>
                    <a:pt x="13410" y="2307"/>
                  </a:lnTo>
                  <a:lnTo>
                    <a:pt x="13584" y="2474"/>
                  </a:lnTo>
                  <a:lnTo>
                    <a:pt x="13751" y="2648"/>
                  </a:lnTo>
                  <a:lnTo>
                    <a:pt x="13908" y="2830"/>
                  </a:lnTo>
                  <a:lnTo>
                    <a:pt x="14058" y="3020"/>
                  </a:lnTo>
                  <a:lnTo>
                    <a:pt x="14197" y="3217"/>
                  </a:lnTo>
                  <a:lnTo>
                    <a:pt x="14328" y="3420"/>
                  </a:lnTo>
                  <a:lnTo>
                    <a:pt x="14448" y="3630"/>
                  </a:lnTo>
                  <a:lnTo>
                    <a:pt x="14560" y="3846"/>
                  </a:lnTo>
                  <a:lnTo>
                    <a:pt x="14660" y="4069"/>
                  </a:lnTo>
                  <a:lnTo>
                    <a:pt x="14750" y="4297"/>
                  </a:lnTo>
                  <a:lnTo>
                    <a:pt x="14829" y="4529"/>
                  </a:lnTo>
                  <a:lnTo>
                    <a:pt x="14897" y="4768"/>
                  </a:lnTo>
                  <a:lnTo>
                    <a:pt x="14952" y="5011"/>
                  </a:lnTo>
                  <a:lnTo>
                    <a:pt x="14996" y="5258"/>
                  </a:lnTo>
                  <a:lnTo>
                    <a:pt x="15028" y="5509"/>
                  </a:lnTo>
                  <a:lnTo>
                    <a:pt x="15048" y="5764"/>
                  </a:lnTo>
                  <a:lnTo>
                    <a:pt x="15054" y="6022"/>
                  </a:lnTo>
                  <a:lnTo>
                    <a:pt x="15048" y="6280"/>
                  </a:lnTo>
                  <a:lnTo>
                    <a:pt x="15028" y="6535"/>
                  </a:lnTo>
                  <a:lnTo>
                    <a:pt x="14996" y="6786"/>
                  </a:lnTo>
                  <a:lnTo>
                    <a:pt x="14952" y="7033"/>
                  </a:lnTo>
                  <a:lnTo>
                    <a:pt x="14897" y="7275"/>
                  </a:lnTo>
                  <a:lnTo>
                    <a:pt x="14829" y="7514"/>
                  </a:lnTo>
                  <a:lnTo>
                    <a:pt x="14750" y="7747"/>
                  </a:lnTo>
                  <a:lnTo>
                    <a:pt x="14660" y="7975"/>
                  </a:lnTo>
                  <a:lnTo>
                    <a:pt x="14560" y="8198"/>
                  </a:lnTo>
                  <a:lnTo>
                    <a:pt x="14448" y="8413"/>
                  </a:lnTo>
                  <a:lnTo>
                    <a:pt x="14328" y="8624"/>
                  </a:lnTo>
                  <a:lnTo>
                    <a:pt x="14197" y="8827"/>
                  </a:lnTo>
                  <a:lnTo>
                    <a:pt x="14058" y="9024"/>
                  </a:lnTo>
                  <a:lnTo>
                    <a:pt x="13908" y="9213"/>
                  </a:lnTo>
                  <a:lnTo>
                    <a:pt x="13751" y="9396"/>
                  </a:lnTo>
                  <a:lnTo>
                    <a:pt x="13584" y="9570"/>
                  </a:lnTo>
                  <a:lnTo>
                    <a:pt x="13410" y="9736"/>
                  </a:lnTo>
                  <a:lnTo>
                    <a:pt x="13228" y="9894"/>
                  </a:lnTo>
                  <a:lnTo>
                    <a:pt x="13038" y="10043"/>
                  </a:lnTo>
                  <a:lnTo>
                    <a:pt x="12841" y="10183"/>
                  </a:lnTo>
                  <a:lnTo>
                    <a:pt x="12639" y="10313"/>
                  </a:lnTo>
                  <a:lnTo>
                    <a:pt x="12428" y="10434"/>
                  </a:lnTo>
                  <a:lnTo>
                    <a:pt x="12212" y="10545"/>
                  </a:lnTo>
                  <a:lnTo>
                    <a:pt x="11989" y="10645"/>
                  </a:lnTo>
                  <a:lnTo>
                    <a:pt x="11761" y="10736"/>
                  </a:lnTo>
                  <a:lnTo>
                    <a:pt x="11529" y="10814"/>
                  </a:lnTo>
                  <a:lnTo>
                    <a:pt x="11291" y="10882"/>
                  </a:lnTo>
                  <a:lnTo>
                    <a:pt x="11048" y="10938"/>
                  </a:lnTo>
                  <a:lnTo>
                    <a:pt x="10800" y="10982"/>
                  </a:lnTo>
                  <a:lnTo>
                    <a:pt x="10549" y="11014"/>
                  </a:lnTo>
                  <a:lnTo>
                    <a:pt x="10294" y="11034"/>
                  </a:lnTo>
                  <a:lnTo>
                    <a:pt x="10036" y="11040"/>
                  </a:lnTo>
                  <a:close/>
                  <a:moveTo>
                    <a:pt x="2407" y="14900"/>
                  </a:moveTo>
                  <a:lnTo>
                    <a:pt x="2391" y="14915"/>
                  </a:lnTo>
                  <a:lnTo>
                    <a:pt x="2376" y="14930"/>
                  </a:lnTo>
                  <a:lnTo>
                    <a:pt x="2360" y="14945"/>
                  </a:lnTo>
                  <a:lnTo>
                    <a:pt x="2342" y="14959"/>
                  </a:lnTo>
                  <a:lnTo>
                    <a:pt x="2326" y="14973"/>
                  </a:lnTo>
                  <a:lnTo>
                    <a:pt x="2309" y="14987"/>
                  </a:lnTo>
                  <a:lnTo>
                    <a:pt x="2291" y="15000"/>
                  </a:lnTo>
                  <a:lnTo>
                    <a:pt x="2274" y="15013"/>
                  </a:lnTo>
                  <a:lnTo>
                    <a:pt x="2256" y="15025"/>
                  </a:lnTo>
                  <a:lnTo>
                    <a:pt x="2238" y="15037"/>
                  </a:lnTo>
                  <a:lnTo>
                    <a:pt x="2219" y="15048"/>
                  </a:lnTo>
                  <a:lnTo>
                    <a:pt x="2200" y="15059"/>
                  </a:lnTo>
                  <a:lnTo>
                    <a:pt x="2181" y="15069"/>
                  </a:lnTo>
                  <a:lnTo>
                    <a:pt x="2162" y="15080"/>
                  </a:lnTo>
                  <a:lnTo>
                    <a:pt x="2142" y="15090"/>
                  </a:lnTo>
                  <a:lnTo>
                    <a:pt x="2122" y="15099"/>
                  </a:lnTo>
                  <a:lnTo>
                    <a:pt x="2102" y="15108"/>
                  </a:lnTo>
                  <a:lnTo>
                    <a:pt x="2081" y="15116"/>
                  </a:lnTo>
                  <a:lnTo>
                    <a:pt x="2060" y="15123"/>
                  </a:lnTo>
                  <a:lnTo>
                    <a:pt x="2039" y="15130"/>
                  </a:lnTo>
                  <a:lnTo>
                    <a:pt x="2018" y="15137"/>
                  </a:lnTo>
                  <a:lnTo>
                    <a:pt x="1996" y="15143"/>
                  </a:lnTo>
                  <a:lnTo>
                    <a:pt x="1975" y="15148"/>
                  </a:lnTo>
                  <a:lnTo>
                    <a:pt x="1953" y="15153"/>
                  </a:lnTo>
                  <a:lnTo>
                    <a:pt x="1931" y="15158"/>
                  </a:lnTo>
                  <a:lnTo>
                    <a:pt x="1909" y="15162"/>
                  </a:lnTo>
                  <a:lnTo>
                    <a:pt x="1886" y="15165"/>
                  </a:lnTo>
                  <a:lnTo>
                    <a:pt x="1864" y="15168"/>
                  </a:lnTo>
                  <a:lnTo>
                    <a:pt x="1841" y="15170"/>
                  </a:lnTo>
                  <a:lnTo>
                    <a:pt x="1818" y="15171"/>
                  </a:lnTo>
                  <a:lnTo>
                    <a:pt x="1794" y="15172"/>
                  </a:lnTo>
                  <a:lnTo>
                    <a:pt x="1771" y="15172"/>
                  </a:lnTo>
                  <a:lnTo>
                    <a:pt x="1725" y="15171"/>
                  </a:lnTo>
                  <a:lnTo>
                    <a:pt x="1680" y="15168"/>
                  </a:lnTo>
                  <a:lnTo>
                    <a:pt x="1636" y="15162"/>
                  </a:lnTo>
                  <a:lnTo>
                    <a:pt x="1593" y="15154"/>
                  </a:lnTo>
                  <a:lnTo>
                    <a:pt x="1550" y="15145"/>
                  </a:lnTo>
                  <a:lnTo>
                    <a:pt x="1507" y="15133"/>
                  </a:lnTo>
                  <a:lnTo>
                    <a:pt x="1466" y="15119"/>
                  </a:lnTo>
                  <a:lnTo>
                    <a:pt x="1426" y="15103"/>
                  </a:lnTo>
                  <a:lnTo>
                    <a:pt x="1387" y="15084"/>
                  </a:lnTo>
                  <a:lnTo>
                    <a:pt x="1349" y="15065"/>
                  </a:lnTo>
                  <a:lnTo>
                    <a:pt x="1312" y="15044"/>
                  </a:lnTo>
                  <a:lnTo>
                    <a:pt x="1276" y="15021"/>
                  </a:lnTo>
                  <a:lnTo>
                    <a:pt x="1241" y="14996"/>
                  </a:lnTo>
                  <a:lnTo>
                    <a:pt x="1208" y="14970"/>
                  </a:lnTo>
                  <a:lnTo>
                    <a:pt x="1176" y="14942"/>
                  </a:lnTo>
                  <a:lnTo>
                    <a:pt x="1145" y="14913"/>
                  </a:lnTo>
                  <a:lnTo>
                    <a:pt x="1116" y="14882"/>
                  </a:lnTo>
                  <a:lnTo>
                    <a:pt x="1088" y="14850"/>
                  </a:lnTo>
                  <a:lnTo>
                    <a:pt x="1062" y="14817"/>
                  </a:lnTo>
                  <a:lnTo>
                    <a:pt x="1037" y="14782"/>
                  </a:lnTo>
                  <a:lnTo>
                    <a:pt x="1014" y="14746"/>
                  </a:lnTo>
                  <a:lnTo>
                    <a:pt x="993" y="14709"/>
                  </a:lnTo>
                  <a:lnTo>
                    <a:pt x="974" y="14671"/>
                  </a:lnTo>
                  <a:lnTo>
                    <a:pt x="955" y="14632"/>
                  </a:lnTo>
                  <a:lnTo>
                    <a:pt x="939" y="14592"/>
                  </a:lnTo>
                  <a:lnTo>
                    <a:pt x="925" y="14551"/>
                  </a:lnTo>
                  <a:lnTo>
                    <a:pt x="913" y="14508"/>
                  </a:lnTo>
                  <a:lnTo>
                    <a:pt x="903" y="14465"/>
                  </a:lnTo>
                  <a:lnTo>
                    <a:pt x="896" y="14422"/>
                  </a:lnTo>
                  <a:lnTo>
                    <a:pt x="890" y="14378"/>
                  </a:lnTo>
                  <a:lnTo>
                    <a:pt x="887" y="14333"/>
                  </a:lnTo>
                  <a:lnTo>
                    <a:pt x="886" y="14287"/>
                  </a:lnTo>
                  <a:lnTo>
                    <a:pt x="886" y="14264"/>
                  </a:lnTo>
                  <a:lnTo>
                    <a:pt x="887" y="14240"/>
                  </a:lnTo>
                  <a:lnTo>
                    <a:pt x="888" y="14217"/>
                  </a:lnTo>
                  <a:lnTo>
                    <a:pt x="890" y="14194"/>
                  </a:lnTo>
                  <a:lnTo>
                    <a:pt x="893" y="14172"/>
                  </a:lnTo>
                  <a:lnTo>
                    <a:pt x="896" y="14149"/>
                  </a:lnTo>
                  <a:lnTo>
                    <a:pt x="900" y="14127"/>
                  </a:lnTo>
                  <a:lnTo>
                    <a:pt x="905" y="14105"/>
                  </a:lnTo>
                  <a:lnTo>
                    <a:pt x="910" y="14083"/>
                  </a:lnTo>
                  <a:lnTo>
                    <a:pt x="915" y="14062"/>
                  </a:lnTo>
                  <a:lnTo>
                    <a:pt x="921" y="14040"/>
                  </a:lnTo>
                  <a:lnTo>
                    <a:pt x="928" y="14019"/>
                  </a:lnTo>
                  <a:lnTo>
                    <a:pt x="935" y="13998"/>
                  </a:lnTo>
                  <a:lnTo>
                    <a:pt x="942" y="13977"/>
                  </a:lnTo>
                  <a:lnTo>
                    <a:pt x="950" y="13956"/>
                  </a:lnTo>
                  <a:lnTo>
                    <a:pt x="959" y="13936"/>
                  </a:lnTo>
                  <a:lnTo>
                    <a:pt x="968" y="13916"/>
                  </a:lnTo>
                  <a:lnTo>
                    <a:pt x="978" y="13896"/>
                  </a:lnTo>
                  <a:lnTo>
                    <a:pt x="988" y="13877"/>
                  </a:lnTo>
                  <a:lnTo>
                    <a:pt x="999" y="13858"/>
                  </a:lnTo>
                  <a:lnTo>
                    <a:pt x="1010" y="13839"/>
                  </a:lnTo>
                  <a:lnTo>
                    <a:pt x="1021" y="13820"/>
                  </a:lnTo>
                  <a:lnTo>
                    <a:pt x="1033" y="13802"/>
                  </a:lnTo>
                  <a:lnTo>
                    <a:pt x="1045" y="13784"/>
                  </a:lnTo>
                  <a:lnTo>
                    <a:pt x="1058" y="13767"/>
                  </a:lnTo>
                  <a:lnTo>
                    <a:pt x="1071" y="13749"/>
                  </a:lnTo>
                  <a:lnTo>
                    <a:pt x="1085" y="13732"/>
                  </a:lnTo>
                  <a:lnTo>
                    <a:pt x="1099" y="13716"/>
                  </a:lnTo>
                  <a:lnTo>
                    <a:pt x="1113" y="13698"/>
                  </a:lnTo>
                  <a:lnTo>
                    <a:pt x="1127" y="13682"/>
                  </a:lnTo>
                  <a:lnTo>
                    <a:pt x="1142" y="13667"/>
                  </a:lnTo>
                  <a:lnTo>
                    <a:pt x="1158" y="13651"/>
                  </a:lnTo>
                  <a:lnTo>
                    <a:pt x="1154" y="13647"/>
                  </a:lnTo>
                  <a:lnTo>
                    <a:pt x="5202" y="9601"/>
                  </a:lnTo>
                  <a:lnTo>
                    <a:pt x="5235" y="9645"/>
                  </a:lnTo>
                  <a:lnTo>
                    <a:pt x="5268" y="9689"/>
                  </a:lnTo>
                  <a:lnTo>
                    <a:pt x="5302" y="9733"/>
                  </a:lnTo>
                  <a:lnTo>
                    <a:pt x="5337" y="9776"/>
                  </a:lnTo>
                  <a:lnTo>
                    <a:pt x="5372" y="9819"/>
                  </a:lnTo>
                  <a:lnTo>
                    <a:pt x="5408" y="9863"/>
                  </a:lnTo>
                  <a:lnTo>
                    <a:pt x="5443" y="9906"/>
                  </a:lnTo>
                  <a:lnTo>
                    <a:pt x="5479" y="9948"/>
                  </a:lnTo>
                  <a:lnTo>
                    <a:pt x="5516" y="9989"/>
                  </a:lnTo>
                  <a:lnTo>
                    <a:pt x="5552" y="10031"/>
                  </a:lnTo>
                  <a:lnTo>
                    <a:pt x="5589" y="10072"/>
                  </a:lnTo>
                  <a:lnTo>
                    <a:pt x="5627" y="10114"/>
                  </a:lnTo>
                  <a:lnTo>
                    <a:pt x="5665" y="10154"/>
                  </a:lnTo>
                  <a:lnTo>
                    <a:pt x="5704" y="10194"/>
                  </a:lnTo>
                  <a:lnTo>
                    <a:pt x="5742" y="10234"/>
                  </a:lnTo>
                  <a:lnTo>
                    <a:pt x="5781" y="10273"/>
                  </a:lnTo>
                  <a:lnTo>
                    <a:pt x="5820" y="10312"/>
                  </a:lnTo>
                  <a:lnTo>
                    <a:pt x="5860" y="10350"/>
                  </a:lnTo>
                  <a:lnTo>
                    <a:pt x="5900" y="10390"/>
                  </a:lnTo>
                  <a:lnTo>
                    <a:pt x="5940" y="10427"/>
                  </a:lnTo>
                  <a:lnTo>
                    <a:pt x="5982" y="10465"/>
                  </a:lnTo>
                  <a:lnTo>
                    <a:pt x="6023" y="10502"/>
                  </a:lnTo>
                  <a:lnTo>
                    <a:pt x="6064" y="10539"/>
                  </a:lnTo>
                  <a:lnTo>
                    <a:pt x="6106" y="10575"/>
                  </a:lnTo>
                  <a:lnTo>
                    <a:pt x="6148" y="10611"/>
                  </a:lnTo>
                  <a:lnTo>
                    <a:pt x="6190" y="10647"/>
                  </a:lnTo>
                  <a:lnTo>
                    <a:pt x="6234" y="10683"/>
                  </a:lnTo>
                  <a:lnTo>
                    <a:pt x="6277" y="10718"/>
                  </a:lnTo>
                  <a:lnTo>
                    <a:pt x="6320" y="10752"/>
                  </a:lnTo>
                  <a:lnTo>
                    <a:pt x="6364" y="10786"/>
                  </a:lnTo>
                  <a:lnTo>
                    <a:pt x="6408" y="10820"/>
                  </a:lnTo>
                  <a:lnTo>
                    <a:pt x="6453" y="10854"/>
                  </a:lnTo>
                  <a:lnTo>
                    <a:pt x="2407" y="14900"/>
                  </a:lnTo>
                  <a:close/>
                  <a:moveTo>
                    <a:pt x="10036" y="0"/>
                  </a:moveTo>
                  <a:lnTo>
                    <a:pt x="9726" y="8"/>
                  </a:lnTo>
                  <a:lnTo>
                    <a:pt x="9421" y="31"/>
                  </a:lnTo>
                  <a:lnTo>
                    <a:pt x="9119" y="69"/>
                  </a:lnTo>
                  <a:lnTo>
                    <a:pt x="8823" y="122"/>
                  </a:lnTo>
                  <a:lnTo>
                    <a:pt x="8532" y="190"/>
                  </a:lnTo>
                  <a:lnTo>
                    <a:pt x="8246" y="271"/>
                  </a:lnTo>
                  <a:lnTo>
                    <a:pt x="7966" y="365"/>
                  </a:lnTo>
                  <a:lnTo>
                    <a:pt x="7693" y="474"/>
                  </a:lnTo>
                  <a:lnTo>
                    <a:pt x="7426" y="594"/>
                  </a:lnTo>
                  <a:lnTo>
                    <a:pt x="7166" y="727"/>
                  </a:lnTo>
                  <a:lnTo>
                    <a:pt x="6914" y="872"/>
                  </a:lnTo>
                  <a:lnTo>
                    <a:pt x="6669" y="1029"/>
                  </a:lnTo>
                  <a:lnTo>
                    <a:pt x="6433" y="1196"/>
                  </a:lnTo>
                  <a:lnTo>
                    <a:pt x="6206" y="1375"/>
                  </a:lnTo>
                  <a:lnTo>
                    <a:pt x="5988" y="1565"/>
                  </a:lnTo>
                  <a:lnTo>
                    <a:pt x="5778" y="1763"/>
                  </a:lnTo>
                  <a:lnTo>
                    <a:pt x="5579" y="1973"/>
                  </a:lnTo>
                  <a:lnTo>
                    <a:pt x="5389" y="2191"/>
                  </a:lnTo>
                  <a:lnTo>
                    <a:pt x="5211" y="2419"/>
                  </a:lnTo>
                  <a:lnTo>
                    <a:pt x="5043" y="2655"/>
                  </a:lnTo>
                  <a:lnTo>
                    <a:pt x="4887" y="2899"/>
                  </a:lnTo>
                  <a:lnTo>
                    <a:pt x="4741" y="3151"/>
                  </a:lnTo>
                  <a:lnTo>
                    <a:pt x="4609" y="3411"/>
                  </a:lnTo>
                  <a:lnTo>
                    <a:pt x="4488" y="3678"/>
                  </a:lnTo>
                  <a:lnTo>
                    <a:pt x="4380" y="3951"/>
                  </a:lnTo>
                  <a:lnTo>
                    <a:pt x="4285" y="4231"/>
                  </a:lnTo>
                  <a:lnTo>
                    <a:pt x="4204" y="4517"/>
                  </a:lnTo>
                  <a:lnTo>
                    <a:pt x="4137" y="4808"/>
                  </a:lnTo>
                  <a:lnTo>
                    <a:pt x="4084" y="5104"/>
                  </a:lnTo>
                  <a:lnTo>
                    <a:pt x="4046" y="5407"/>
                  </a:lnTo>
                  <a:lnTo>
                    <a:pt x="4023" y="5712"/>
                  </a:lnTo>
                  <a:lnTo>
                    <a:pt x="4015" y="6022"/>
                  </a:lnTo>
                  <a:lnTo>
                    <a:pt x="4016" y="6117"/>
                  </a:lnTo>
                  <a:lnTo>
                    <a:pt x="4018" y="6211"/>
                  </a:lnTo>
                  <a:lnTo>
                    <a:pt x="4022" y="6306"/>
                  </a:lnTo>
                  <a:lnTo>
                    <a:pt x="4027" y="6400"/>
                  </a:lnTo>
                  <a:lnTo>
                    <a:pt x="4033" y="6493"/>
                  </a:lnTo>
                  <a:lnTo>
                    <a:pt x="4041" y="6587"/>
                  </a:lnTo>
                  <a:lnTo>
                    <a:pt x="4051" y="6680"/>
                  </a:lnTo>
                  <a:lnTo>
                    <a:pt x="4062" y="6772"/>
                  </a:lnTo>
                  <a:lnTo>
                    <a:pt x="4074" y="6864"/>
                  </a:lnTo>
                  <a:lnTo>
                    <a:pt x="4087" y="6956"/>
                  </a:lnTo>
                  <a:lnTo>
                    <a:pt x="4102" y="7046"/>
                  </a:lnTo>
                  <a:lnTo>
                    <a:pt x="4119" y="7138"/>
                  </a:lnTo>
                  <a:lnTo>
                    <a:pt x="4136" y="7227"/>
                  </a:lnTo>
                  <a:lnTo>
                    <a:pt x="4155" y="7317"/>
                  </a:lnTo>
                  <a:lnTo>
                    <a:pt x="4176" y="7406"/>
                  </a:lnTo>
                  <a:lnTo>
                    <a:pt x="4197" y="7495"/>
                  </a:lnTo>
                  <a:lnTo>
                    <a:pt x="4220" y="7583"/>
                  </a:lnTo>
                  <a:lnTo>
                    <a:pt x="4244" y="7671"/>
                  </a:lnTo>
                  <a:lnTo>
                    <a:pt x="4270" y="7758"/>
                  </a:lnTo>
                  <a:lnTo>
                    <a:pt x="4298" y="7844"/>
                  </a:lnTo>
                  <a:lnTo>
                    <a:pt x="4326" y="7930"/>
                  </a:lnTo>
                  <a:lnTo>
                    <a:pt x="4355" y="8015"/>
                  </a:lnTo>
                  <a:lnTo>
                    <a:pt x="4386" y="8100"/>
                  </a:lnTo>
                  <a:lnTo>
                    <a:pt x="4417" y="8185"/>
                  </a:lnTo>
                  <a:lnTo>
                    <a:pt x="4450" y="8268"/>
                  </a:lnTo>
                  <a:lnTo>
                    <a:pt x="4484" y="8351"/>
                  </a:lnTo>
                  <a:lnTo>
                    <a:pt x="4520" y="8433"/>
                  </a:lnTo>
                  <a:lnTo>
                    <a:pt x="4556" y="8515"/>
                  </a:lnTo>
                  <a:lnTo>
                    <a:pt x="4595" y="8596"/>
                  </a:lnTo>
                  <a:lnTo>
                    <a:pt x="4634" y="8676"/>
                  </a:lnTo>
                  <a:lnTo>
                    <a:pt x="4673" y="8757"/>
                  </a:lnTo>
                  <a:lnTo>
                    <a:pt x="4715" y="8835"/>
                  </a:lnTo>
                  <a:lnTo>
                    <a:pt x="528" y="13021"/>
                  </a:lnTo>
                  <a:lnTo>
                    <a:pt x="531" y="13025"/>
                  </a:lnTo>
                  <a:lnTo>
                    <a:pt x="501" y="13055"/>
                  </a:lnTo>
                  <a:lnTo>
                    <a:pt x="471" y="13086"/>
                  </a:lnTo>
                  <a:lnTo>
                    <a:pt x="443" y="13118"/>
                  </a:lnTo>
                  <a:lnTo>
                    <a:pt x="414" y="13152"/>
                  </a:lnTo>
                  <a:lnTo>
                    <a:pt x="386" y="13185"/>
                  </a:lnTo>
                  <a:lnTo>
                    <a:pt x="360" y="13219"/>
                  </a:lnTo>
                  <a:lnTo>
                    <a:pt x="335" y="13253"/>
                  </a:lnTo>
                  <a:lnTo>
                    <a:pt x="310" y="13288"/>
                  </a:lnTo>
                  <a:lnTo>
                    <a:pt x="286" y="13324"/>
                  </a:lnTo>
                  <a:lnTo>
                    <a:pt x="263" y="13360"/>
                  </a:lnTo>
                  <a:lnTo>
                    <a:pt x="241" y="13397"/>
                  </a:lnTo>
                  <a:lnTo>
                    <a:pt x="219" y="13436"/>
                  </a:lnTo>
                  <a:lnTo>
                    <a:pt x="199" y="13474"/>
                  </a:lnTo>
                  <a:lnTo>
                    <a:pt x="179" y="13512"/>
                  </a:lnTo>
                  <a:lnTo>
                    <a:pt x="161" y="13551"/>
                  </a:lnTo>
                  <a:lnTo>
                    <a:pt x="143" y="13591"/>
                  </a:lnTo>
                  <a:lnTo>
                    <a:pt x="126" y="13631"/>
                  </a:lnTo>
                  <a:lnTo>
                    <a:pt x="110" y="13672"/>
                  </a:lnTo>
                  <a:lnTo>
                    <a:pt x="95" y="13714"/>
                  </a:lnTo>
                  <a:lnTo>
                    <a:pt x="81" y="13755"/>
                  </a:lnTo>
                  <a:lnTo>
                    <a:pt x="69" y="13797"/>
                  </a:lnTo>
                  <a:lnTo>
                    <a:pt x="57" y="13840"/>
                  </a:lnTo>
                  <a:lnTo>
                    <a:pt x="46" y="13883"/>
                  </a:lnTo>
                  <a:lnTo>
                    <a:pt x="37" y="13926"/>
                  </a:lnTo>
                  <a:lnTo>
                    <a:pt x="28" y="13970"/>
                  </a:lnTo>
                  <a:lnTo>
                    <a:pt x="21" y="14015"/>
                  </a:lnTo>
                  <a:lnTo>
                    <a:pt x="15" y="14059"/>
                  </a:lnTo>
                  <a:lnTo>
                    <a:pt x="9" y="14104"/>
                  </a:lnTo>
                  <a:lnTo>
                    <a:pt x="5" y="14149"/>
                  </a:lnTo>
                  <a:lnTo>
                    <a:pt x="2" y="14195"/>
                  </a:lnTo>
                  <a:lnTo>
                    <a:pt x="1" y="14240"/>
                  </a:lnTo>
                  <a:lnTo>
                    <a:pt x="0" y="14287"/>
                  </a:lnTo>
                  <a:lnTo>
                    <a:pt x="2" y="14378"/>
                  </a:lnTo>
                  <a:lnTo>
                    <a:pt x="9" y="14468"/>
                  </a:lnTo>
                  <a:lnTo>
                    <a:pt x="20" y="14557"/>
                  </a:lnTo>
                  <a:lnTo>
                    <a:pt x="36" y="14644"/>
                  </a:lnTo>
                  <a:lnTo>
                    <a:pt x="56" y="14729"/>
                  </a:lnTo>
                  <a:lnTo>
                    <a:pt x="79" y="14814"/>
                  </a:lnTo>
                  <a:lnTo>
                    <a:pt x="107" y="14896"/>
                  </a:lnTo>
                  <a:lnTo>
                    <a:pt x="140" y="14976"/>
                  </a:lnTo>
                  <a:lnTo>
                    <a:pt x="175" y="15054"/>
                  </a:lnTo>
                  <a:lnTo>
                    <a:pt x="214" y="15132"/>
                  </a:lnTo>
                  <a:lnTo>
                    <a:pt x="256" y="15205"/>
                  </a:lnTo>
                  <a:lnTo>
                    <a:pt x="302" y="15277"/>
                  </a:lnTo>
                  <a:lnTo>
                    <a:pt x="352" y="15346"/>
                  </a:lnTo>
                  <a:lnTo>
                    <a:pt x="404" y="15414"/>
                  </a:lnTo>
                  <a:lnTo>
                    <a:pt x="460" y="15478"/>
                  </a:lnTo>
                  <a:lnTo>
                    <a:pt x="519" y="15539"/>
                  </a:lnTo>
                  <a:lnTo>
                    <a:pt x="580" y="15598"/>
                  </a:lnTo>
                  <a:lnTo>
                    <a:pt x="644" y="15654"/>
                  </a:lnTo>
                  <a:lnTo>
                    <a:pt x="712" y="15706"/>
                  </a:lnTo>
                  <a:lnTo>
                    <a:pt x="781" y="15756"/>
                  </a:lnTo>
                  <a:lnTo>
                    <a:pt x="853" y="15801"/>
                  </a:lnTo>
                  <a:lnTo>
                    <a:pt x="926" y="15844"/>
                  </a:lnTo>
                  <a:lnTo>
                    <a:pt x="1004" y="15883"/>
                  </a:lnTo>
                  <a:lnTo>
                    <a:pt x="1082" y="15918"/>
                  </a:lnTo>
                  <a:lnTo>
                    <a:pt x="1162" y="15951"/>
                  </a:lnTo>
                  <a:lnTo>
                    <a:pt x="1244" y="15979"/>
                  </a:lnTo>
                  <a:lnTo>
                    <a:pt x="1329" y="16002"/>
                  </a:lnTo>
                  <a:lnTo>
                    <a:pt x="1414" y="16022"/>
                  </a:lnTo>
                  <a:lnTo>
                    <a:pt x="1501" y="16038"/>
                  </a:lnTo>
                  <a:lnTo>
                    <a:pt x="1590" y="16049"/>
                  </a:lnTo>
                  <a:lnTo>
                    <a:pt x="1680" y="16056"/>
                  </a:lnTo>
                  <a:lnTo>
                    <a:pt x="1771" y="16058"/>
                  </a:lnTo>
                  <a:lnTo>
                    <a:pt x="1818" y="16057"/>
                  </a:lnTo>
                  <a:lnTo>
                    <a:pt x="1863" y="16056"/>
                  </a:lnTo>
                  <a:lnTo>
                    <a:pt x="1909" y="16053"/>
                  </a:lnTo>
                  <a:lnTo>
                    <a:pt x="1954" y="16049"/>
                  </a:lnTo>
                  <a:lnTo>
                    <a:pt x="1999" y="16043"/>
                  </a:lnTo>
                  <a:lnTo>
                    <a:pt x="2043" y="16037"/>
                  </a:lnTo>
                  <a:lnTo>
                    <a:pt x="2088" y="16030"/>
                  </a:lnTo>
                  <a:lnTo>
                    <a:pt x="2132" y="16021"/>
                  </a:lnTo>
                  <a:lnTo>
                    <a:pt x="2175" y="16012"/>
                  </a:lnTo>
                  <a:lnTo>
                    <a:pt x="2218" y="16001"/>
                  </a:lnTo>
                  <a:lnTo>
                    <a:pt x="2261" y="15989"/>
                  </a:lnTo>
                  <a:lnTo>
                    <a:pt x="2302" y="15977"/>
                  </a:lnTo>
                  <a:lnTo>
                    <a:pt x="2344" y="15963"/>
                  </a:lnTo>
                  <a:lnTo>
                    <a:pt x="2386" y="15948"/>
                  </a:lnTo>
                  <a:lnTo>
                    <a:pt x="2427" y="15932"/>
                  </a:lnTo>
                  <a:lnTo>
                    <a:pt x="2467" y="15915"/>
                  </a:lnTo>
                  <a:lnTo>
                    <a:pt x="2507" y="15897"/>
                  </a:lnTo>
                  <a:lnTo>
                    <a:pt x="2546" y="15878"/>
                  </a:lnTo>
                  <a:lnTo>
                    <a:pt x="2584" y="15859"/>
                  </a:lnTo>
                  <a:lnTo>
                    <a:pt x="2622" y="15839"/>
                  </a:lnTo>
                  <a:lnTo>
                    <a:pt x="2661" y="15817"/>
                  </a:lnTo>
                  <a:lnTo>
                    <a:pt x="2698" y="15795"/>
                  </a:lnTo>
                  <a:lnTo>
                    <a:pt x="2734" y="15772"/>
                  </a:lnTo>
                  <a:lnTo>
                    <a:pt x="2770" y="15748"/>
                  </a:lnTo>
                  <a:lnTo>
                    <a:pt x="2805" y="15723"/>
                  </a:lnTo>
                  <a:lnTo>
                    <a:pt x="2839" y="15698"/>
                  </a:lnTo>
                  <a:lnTo>
                    <a:pt x="2873" y="15671"/>
                  </a:lnTo>
                  <a:lnTo>
                    <a:pt x="2906" y="15644"/>
                  </a:lnTo>
                  <a:lnTo>
                    <a:pt x="2940" y="15615"/>
                  </a:lnTo>
                  <a:lnTo>
                    <a:pt x="2971" y="15587"/>
                  </a:lnTo>
                  <a:lnTo>
                    <a:pt x="3003" y="15557"/>
                  </a:lnTo>
                  <a:lnTo>
                    <a:pt x="3033" y="15527"/>
                  </a:lnTo>
                  <a:lnTo>
                    <a:pt x="3032" y="15526"/>
                  </a:lnTo>
                  <a:lnTo>
                    <a:pt x="7217" y="11342"/>
                  </a:lnTo>
                  <a:lnTo>
                    <a:pt x="7296" y="11383"/>
                  </a:lnTo>
                  <a:lnTo>
                    <a:pt x="7377" y="11423"/>
                  </a:lnTo>
                  <a:lnTo>
                    <a:pt x="7457" y="11462"/>
                  </a:lnTo>
                  <a:lnTo>
                    <a:pt x="7538" y="11500"/>
                  </a:lnTo>
                  <a:lnTo>
                    <a:pt x="7621" y="11537"/>
                  </a:lnTo>
                  <a:lnTo>
                    <a:pt x="7703" y="11572"/>
                  </a:lnTo>
                  <a:lnTo>
                    <a:pt x="7786" y="11606"/>
                  </a:lnTo>
                  <a:lnTo>
                    <a:pt x="7869" y="11640"/>
                  </a:lnTo>
                  <a:lnTo>
                    <a:pt x="7954" y="11671"/>
                  </a:lnTo>
                  <a:lnTo>
                    <a:pt x="8039" y="11702"/>
                  </a:lnTo>
                  <a:lnTo>
                    <a:pt x="8124" y="11731"/>
                  </a:lnTo>
                  <a:lnTo>
                    <a:pt x="8211" y="11759"/>
                  </a:lnTo>
                  <a:lnTo>
                    <a:pt x="8297" y="11787"/>
                  </a:lnTo>
                  <a:lnTo>
                    <a:pt x="8384" y="11813"/>
                  </a:lnTo>
                  <a:lnTo>
                    <a:pt x="8472" y="11837"/>
                  </a:lnTo>
                  <a:lnTo>
                    <a:pt x="8560" y="11860"/>
                  </a:lnTo>
                  <a:lnTo>
                    <a:pt x="8649" y="11882"/>
                  </a:lnTo>
                  <a:lnTo>
                    <a:pt x="8739" y="11902"/>
                  </a:lnTo>
                  <a:lnTo>
                    <a:pt x="8828" y="11921"/>
                  </a:lnTo>
                  <a:lnTo>
                    <a:pt x="8918" y="11939"/>
                  </a:lnTo>
                  <a:lnTo>
                    <a:pt x="9010" y="11955"/>
                  </a:lnTo>
                  <a:lnTo>
                    <a:pt x="9100" y="11970"/>
                  </a:lnTo>
                  <a:lnTo>
                    <a:pt x="9192" y="11984"/>
                  </a:lnTo>
                  <a:lnTo>
                    <a:pt x="9285" y="11996"/>
                  </a:lnTo>
                  <a:lnTo>
                    <a:pt x="9377" y="12007"/>
                  </a:lnTo>
                  <a:lnTo>
                    <a:pt x="9470" y="12016"/>
                  </a:lnTo>
                  <a:lnTo>
                    <a:pt x="9564" y="12024"/>
                  </a:lnTo>
                  <a:lnTo>
                    <a:pt x="9657" y="12031"/>
                  </a:lnTo>
                  <a:lnTo>
                    <a:pt x="9751" y="12036"/>
                  </a:lnTo>
                  <a:lnTo>
                    <a:pt x="9846" y="12040"/>
                  </a:lnTo>
                  <a:lnTo>
                    <a:pt x="9941" y="12042"/>
                  </a:lnTo>
                  <a:lnTo>
                    <a:pt x="10036" y="12044"/>
                  </a:lnTo>
                  <a:lnTo>
                    <a:pt x="10346" y="12035"/>
                  </a:lnTo>
                  <a:lnTo>
                    <a:pt x="10651" y="12012"/>
                  </a:lnTo>
                  <a:lnTo>
                    <a:pt x="10954" y="11974"/>
                  </a:lnTo>
                  <a:lnTo>
                    <a:pt x="11250" y="11921"/>
                  </a:lnTo>
                  <a:lnTo>
                    <a:pt x="11541" y="11854"/>
                  </a:lnTo>
                  <a:lnTo>
                    <a:pt x="11827" y="11773"/>
                  </a:lnTo>
                  <a:lnTo>
                    <a:pt x="12107" y="11678"/>
                  </a:lnTo>
                  <a:lnTo>
                    <a:pt x="12380" y="11570"/>
                  </a:lnTo>
                  <a:lnTo>
                    <a:pt x="12647" y="11449"/>
                  </a:lnTo>
                  <a:lnTo>
                    <a:pt x="12907" y="11317"/>
                  </a:lnTo>
                  <a:lnTo>
                    <a:pt x="13159" y="11171"/>
                  </a:lnTo>
                  <a:lnTo>
                    <a:pt x="13403" y="11015"/>
                  </a:lnTo>
                  <a:lnTo>
                    <a:pt x="13639" y="10847"/>
                  </a:lnTo>
                  <a:lnTo>
                    <a:pt x="13866" y="10669"/>
                  </a:lnTo>
                  <a:lnTo>
                    <a:pt x="14085" y="10479"/>
                  </a:lnTo>
                  <a:lnTo>
                    <a:pt x="14295" y="10280"/>
                  </a:lnTo>
                  <a:lnTo>
                    <a:pt x="14493" y="10070"/>
                  </a:lnTo>
                  <a:lnTo>
                    <a:pt x="14683" y="9852"/>
                  </a:lnTo>
                  <a:lnTo>
                    <a:pt x="14862" y="9625"/>
                  </a:lnTo>
                  <a:lnTo>
                    <a:pt x="15029" y="9389"/>
                  </a:lnTo>
                  <a:lnTo>
                    <a:pt x="15186" y="9144"/>
                  </a:lnTo>
                  <a:lnTo>
                    <a:pt x="15331" y="8892"/>
                  </a:lnTo>
                  <a:lnTo>
                    <a:pt x="15464" y="8632"/>
                  </a:lnTo>
                  <a:lnTo>
                    <a:pt x="15584" y="8365"/>
                  </a:lnTo>
                  <a:lnTo>
                    <a:pt x="15693" y="8092"/>
                  </a:lnTo>
                  <a:lnTo>
                    <a:pt x="15787" y="7812"/>
                  </a:lnTo>
                  <a:lnTo>
                    <a:pt x="15868" y="7526"/>
                  </a:lnTo>
                  <a:lnTo>
                    <a:pt x="15936" y="7235"/>
                  </a:lnTo>
                  <a:lnTo>
                    <a:pt x="15989" y="6939"/>
                  </a:lnTo>
                  <a:lnTo>
                    <a:pt x="16027" y="6638"/>
                  </a:lnTo>
                  <a:lnTo>
                    <a:pt x="16050" y="6332"/>
                  </a:lnTo>
                  <a:lnTo>
                    <a:pt x="16058" y="6022"/>
                  </a:lnTo>
                  <a:lnTo>
                    <a:pt x="16050" y="5712"/>
                  </a:lnTo>
                  <a:lnTo>
                    <a:pt x="16027" y="5407"/>
                  </a:lnTo>
                  <a:lnTo>
                    <a:pt x="15989" y="5104"/>
                  </a:lnTo>
                  <a:lnTo>
                    <a:pt x="15936" y="4808"/>
                  </a:lnTo>
                  <a:lnTo>
                    <a:pt x="15868" y="4517"/>
                  </a:lnTo>
                  <a:lnTo>
                    <a:pt x="15787" y="4231"/>
                  </a:lnTo>
                  <a:lnTo>
                    <a:pt x="15693" y="3951"/>
                  </a:lnTo>
                  <a:lnTo>
                    <a:pt x="15584" y="3678"/>
                  </a:lnTo>
                  <a:lnTo>
                    <a:pt x="15464" y="3411"/>
                  </a:lnTo>
                  <a:lnTo>
                    <a:pt x="15331" y="3151"/>
                  </a:lnTo>
                  <a:lnTo>
                    <a:pt x="15186" y="2899"/>
                  </a:lnTo>
                  <a:lnTo>
                    <a:pt x="15029" y="2655"/>
                  </a:lnTo>
                  <a:lnTo>
                    <a:pt x="14862" y="2419"/>
                  </a:lnTo>
                  <a:lnTo>
                    <a:pt x="14683" y="2191"/>
                  </a:lnTo>
                  <a:lnTo>
                    <a:pt x="14493" y="1973"/>
                  </a:lnTo>
                  <a:lnTo>
                    <a:pt x="14295" y="1763"/>
                  </a:lnTo>
                  <a:lnTo>
                    <a:pt x="14085" y="1565"/>
                  </a:lnTo>
                  <a:lnTo>
                    <a:pt x="13866" y="1375"/>
                  </a:lnTo>
                  <a:lnTo>
                    <a:pt x="13639" y="1196"/>
                  </a:lnTo>
                  <a:lnTo>
                    <a:pt x="13403" y="1029"/>
                  </a:lnTo>
                  <a:lnTo>
                    <a:pt x="13159" y="872"/>
                  </a:lnTo>
                  <a:lnTo>
                    <a:pt x="12907" y="727"/>
                  </a:lnTo>
                  <a:lnTo>
                    <a:pt x="12647" y="594"/>
                  </a:lnTo>
                  <a:lnTo>
                    <a:pt x="12380" y="474"/>
                  </a:lnTo>
                  <a:lnTo>
                    <a:pt x="12107" y="365"/>
                  </a:lnTo>
                  <a:lnTo>
                    <a:pt x="11827" y="271"/>
                  </a:lnTo>
                  <a:lnTo>
                    <a:pt x="11541" y="190"/>
                  </a:lnTo>
                  <a:lnTo>
                    <a:pt x="11250" y="122"/>
                  </a:lnTo>
                  <a:lnTo>
                    <a:pt x="10954" y="69"/>
                  </a:lnTo>
                  <a:lnTo>
                    <a:pt x="10651" y="31"/>
                  </a:lnTo>
                  <a:lnTo>
                    <a:pt x="10346" y="8"/>
                  </a:lnTo>
                  <a:lnTo>
                    <a:pt x="100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9" name="i$ḷîde">
              <a:extLst>
                <a:ext uri="{FF2B5EF4-FFF2-40B4-BE49-F238E27FC236}">
                  <a16:creationId xmlns:a16="http://schemas.microsoft.com/office/drawing/2014/main" id="{438B8B75-69D2-4E1A-BAF3-E72D8F4AFFDE}"/>
                </a:ext>
              </a:extLst>
            </p:cNvPr>
            <p:cNvSpPr/>
            <p:nvPr/>
          </p:nvSpPr>
          <p:spPr bwMode="auto">
            <a:xfrm>
              <a:off x="1450091" y="720853"/>
              <a:ext cx="67364" cy="67364"/>
            </a:xfrm>
            <a:custGeom>
              <a:avLst/>
              <a:gdLst>
                <a:gd name="T0" fmla="*/ 2977 w 3763"/>
                <a:gd name="T1" fmla="*/ 40 h 3764"/>
                <a:gd name="T2" fmla="*/ 2305 w 3763"/>
                <a:gd name="T3" fmla="*/ 213 h 3764"/>
                <a:gd name="T4" fmla="*/ 1691 w 3763"/>
                <a:gd name="T5" fmla="*/ 509 h 3764"/>
                <a:gd name="T6" fmla="*/ 1151 w 3763"/>
                <a:gd name="T7" fmla="*/ 912 h 3764"/>
                <a:gd name="T8" fmla="*/ 697 w 3763"/>
                <a:gd name="T9" fmla="*/ 1411 h 3764"/>
                <a:gd name="T10" fmla="*/ 346 w 3763"/>
                <a:gd name="T11" fmla="*/ 1990 h 3764"/>
                <a:gd name="T12" fmla="*/ 110 w 3763"/>
                <a:gd name="T13" fmla="*/ 2635 h 3764"/>
                <a:gd name="T14" fmla="*/ 5 w 3763"/>
                <a:gd name="T15" fmla="*/ 3332 h 3764"/>
                <a:gd name="T16" fmla="*/ 3 w 3763"/>
                <a:gd name="T17" fmla="*/ 3551 h 3764"/>
                <a:gd name="T18" fmla="*/ 15 w 3763"/>
                <a:gd name="T19" fmla="*/ 3599 h 3764"/>
                <a:gd name="T20" fmla="*/ 36 w 3763"/>
                <a:gd name="T21" fmla="*/ 3643 h 3764"/>
                <a:gd name="T22" fmla="*/ 65 w 3763"/>
                <a:gd name="T23" fmla="*/ 3681 h 3764"/>
                <a:gd name="T24" fmla="*/ 100 w 3763"/>
                <a:gd name="T25" fmla="*/ 3713 h 3764"/>
                <a:gd name="T26" fmla="*/ 142 w 3763"/>
                <a:gd name="T27" fmla="*/ 3739 h 3764"/>
                <a:gd name="T28" fmla="*/ 188 w 3763"/>
                <a:gd name="T29" fmla="*/ 3756 h 3764"/>
                <a:gd name="T30" fmla="*/ 237 w 3763"/>
                <a:gd name="T31" fmla="*/ 3764 h 3764"/>
                <a:gd name="T32" fmla="*/ 289 w 3763"/>
                <a:gd name="T33" fmla="*/ 3761 h 3764"/>
                <a:gd name="T34" fmla="*/ 337 w 3763"/>
                <a:gd name="T35" fmla="*/ 3749 h 3764"/>
                <a:gd name="T36" fmla="*/ 381 w 3763"/>
                <a:gd name="T37" fmla="*/ 3728 h 3764"/>
                <a:gd name="T38" fmla="*/ 419 w 3763"/>
                <a:gd name="T39" fmla="*/ 3698 h 3764"/>
                <a:gd name="T40" fmla="*/ 451 w 3763"/>
                <a:gd name="T41" fmla="*/ 3663 h 3764"/>
                <a:gd name="T42" fmla="*/ 476 w 3763"/>
                <a:gd name="T43" fmla="*/ 3621 h 3764"/>
                <a:gd name="T44" fmla="*/ 493 w 3763"/>
                <a:gd name="T45" fmla="*/ 3576 h 3764"/>
                <a:gd name="T46" fmla="*/ 501 w 3763"/>
                <a:gd name="T47" fmla="*/ 3526 h 3764"/>
                <a:gd name="T48" fmla="*/ 537 w 3763"/>
                <a:gd name="T49" fmla="*/ 3054 h 3764"/>
                <a:gd name="T50" fmla="*/ 684 w 3763"/>
                <a:gd name="T51" fmla="*/ 2478 h 3764"/>
                <a:gd name="T52" fmla="*/ 937 w 3763"/>
                <a:gd name="T53" fmla="*/ 1952 h 3764"/>
                <a:gd name="T54" fmla="*/ 1283 w 3763"/>
                <a:gd name="T55" fmla="*/ 1488 h 3764"/>
                <a:gd name="T56" fmla="*/ 1711 w 3763"/>
                <a:gd name="T57" fmla="*/ 1100 h 3764"/>
                <a:gd name="T58" fmla="*/ 2208 w 3763"/>
                <a:gd name="T59" fmla="*/ 799 h 3764"/>
                <a:gd name="T60" fmla="*/ 2760 w 3763"/>
                <a:gd name="T61" fmla="*/ 596 h 3764"/>
                <a:gd name="T62" fmla="*/ 3358 w 3763"/>
                <a:gd name="T63" fmla="*/ 506 h 3764"/>
                <a:gd name="T64" fmla="*/ 3550 w 3763"/>
                <a:gd name="T65" fmla="*/ 499 h 3764"/>
                <a:gd name="T66" fmla="*/ 3599 w 3763"/>
                <a:gd name="T67" fmla="*/ 487 h 3764"/>
                <a:gd name="T68" fmla="*/ 3643 w 3763"/>
                <a:gd name="T69" fmla="*/ 466 h 3764"/>
                <a:gd name="T70" fmla="*/ 3681 w 3763"/>
                <a:gd name="T71" fmla="*/ 437 h 3764"/>
                <a:gd name="T72" fmla="*/ 3713 w 3763"/>
                <a:gd name="T73" fmla="*/ 402 h 3764"/>
                <a:gd name="T74" fmla="*/ 3738 w 3763"/>
                <a:gd name="T75" fmla="*/ 359 h 3764"/>
                <a:gd name="T76" fmla="*/ 3755 w 3763"/>
                <a:gd name="T77" fmla="*/ 313 h 3764"/>
                <a:gd name="T78" fmla="*/ 3763 w 3763"/>
                <a:gd name="T79" fmla="*/ 264 h 3764"/>
                <a:gd name="T80" fmla="*/ 3760 w 3763"/>
                <a:gd name="T81" fmla="*/ 213 h 3764"/>
                <a:gd name="T82" fmla="*/ 3748 w 3763"/>
                <a:gd name="T83" fmla="*/ 165 h 3764"/>
                <a:gd name="T84" fmla="*/ 3727 w 3763"/>
                <a:gd name="T85" fmla="*/ 120 h 3764"/>
                <a:gd name="T86" fmla="*/ 3698 w 3763"/>
                <a:gd name="T87" fmla="*/ 82 h 3764"/>
                <a:gd name="T88" fmla="*/ 3663 w 3763"/>
                <a:gd name="T89" fmla="*/ 50 h 3764"/>
                <a:gd name="T90" fmla="*/ 3621 w 3763"/>
                <a:gd name="T91" fmla="*/ 25 h 3764"/>
                <a:gd name="T92" fmla="*/ 3574 w 3763"/>
                <a:gd name="T93" fmla="*/ 8 h 3764"/>
                <a:gd name="T94" fmla="*/ 3525 w 3763"/>
                <a:gd name="T95" fmla="*/ 0 h 3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763" h="3764">
                  <a:moveTo>
                    <a:pt x="3512" y="0"/>
                  </a:moveTo>
                  <a:lnTo>
                    <a:pt x="3332" y="5"/>
                  </a:lnTo>
                  <a:lnTo>
                    <a:pt x="3153" y="18"/>
                  </a:lnTo>
                  <a:lnTo>
                    <a:pt x="2977" y="40"/>
                  </a:lnTo>
                  <a:lnTo>
                    <a:pt x="2805" y="71"/>
                  </a:lnTo>
                  <a:lnTo>
                    <a:pt x="2634" y="110"/>
                  </a:lnTo>
                  <a:lnTo>
                    <a:pt x="2467" y="158"/>
                  </a:lnTo>
                  <a:lnTo>
                    <a:pt x="2305" y="213"/>
                  </a:lnTo>
                  <a:lnTo>
                    <a:pt x="2145" y="276"/>
                  </a:lnTo>
                  <a:lnTo>
                    <a:pt x="1990" y="346"/>
                  </a:lnTo>
                  <a:lnTo>
                    <a:pt x="1838" y="424"/>
                  </a:lnTo>
                  <a:lnTo>
                    <a:pt x="1691" y="509"/>
                  </a:lnTo>
                  <a:lnTo>
                    <a:pt x="1548" y="600"/>
                  </a:lnTo>
                  <a:lnTo>
                    <a:pt x="1411" y="698"/>
                  </a:lnTo>
                  <a:lnTo>
                    <a:pt x="1278" y="802"/>
                  </a:lnTo>
                  <a:lnTo>
                    <a:pt x="1151" y="912"/>
                  </a:lnTo>
                  <a:lnTo>
                    <a:pt x="1028" y="1029"/>
                  </a:lnTo>
                  <a:lnTo>
                    <a:pt x="912" y="1151"/>
                  </a:lnTo>
                  <a:lnTo>
                    <a:pt x="801" y="1279"/>
                  </a:lnTo>
                  <a:lnTo>
                    <a:pt x="697" y="1411"/>
                  </a:lnTo>
                  <a:lnTo>
                    <a:pt x="600" y="1549"/>
                  </a:lnTo>
                  <a:lnTo>
                    <a:pt x="508" y="1691"/>
                  </a:lnTo>
                  <a:lnTo>
                    <a:pt x="423" y="1839"/>
                  </a:lnTo>
                  <a:lnTo>
                    <a:pt x="346" y="1990"/>
                  </a:lnTo>
                  <a:lnTo>
                    <a:pt x="276" y="2146"/>
                  </a:lnTo>
                  <a:lnTo>
                    <a:pt x="212" y="2305"/>
                  </a:lnTo>
                  <a:lnTo>
                    <a:pt x="157" y="2468"/>
                  </a:lnTo>
                  <a:lnTo>
                    <a:pt x="110" y="2635"/>
                  </a:lnTo>
                  <a:lnTo>
                    <a:pt x="71" y="2805"/>
                  </a:lnTo>
                  <a:lnTo>
                    <a:pt x="40" y="2978"/>
                  </a:lnTo>
                  <a:lnTo>
                    <a:pt x="18" y="3153"/>
                  </a:lnTo>
                  <a:lnTo>
                    <a:pt x="5" y="3332"/>
                  </a:lnTo>
                  <a:lnTo>
                    <a:pt x="0" y="3513"/>
                  </a:lnTo>
                  <a:lnTo>
                    <a:pt x="0" y="3526"/>
                  </a:lnTo>
                  <a:lnTo>
                    <a:pt x="1" y="3539"/>
                  </a:lnTo>
                  <a:lnTo>
                    <a:pt x="3" y="3551"/>
                  </a:lnTo>
                  <a:lnTo>
                    <a:pt x="5" y="3563"/>
                  </a:lnTo>
                  <a:lnTo>
                    <a:pt x="8" y="3576"/>
                  </a:lnTo>
                  <a:lnTo>
                    <a:pt x="11" y="3587"/>
                  </a:lnTo>
                  <a:lnTo>
                    <a:pt x="15" y="3599"/>
                  </a:lnTo>
                  <a:lnTo>
                    <a:pt x="20" y="3610"/>
                  </a:lnTo>
                  <a:lnTo>
                    <a:pt x="25" y="3621"/>
                  </a:lnTo>
                  <a:lnTo>
                    <a:pt x="30" y="3632"/>
                  </a:lnTo>
                  <a:lnTo>
                    <a:pt x="36" y="3643"/>
                  </a:lnTo>
                  <a:lnTo>
                    <a:pt x="43" y="3653"/>
                  </a:lnTo>
                  <a:lnTo>
                    <a:pt x="50" y="3663"/>
                  </a:lnTo>
                  <a:lnTo>
                    <a:pt x="57" y="3672"/>
                  </a:lnTo>
                  <a:lnTo>
                    <a:pt x="65" y="3681"/>
                  </a:lnTo>
                  <a:lnTo>
                    <a:pt x="73" y="3690"/>
                  </a:lnTo>
                  <a:lnTo>
                    <a:pt x="82" y="3698"/>
                  </a:lnTo>
                  <a:lnTo>
                    <a:pt x="91" y="3706"/>
                  </a:lnTo>
                  <a:lnTo>
                    <a:pt x="100" y="3713"/>
                  </a:lnTo>
                  <a:lnTo>
                    <a:pt x="110" y="3721"/>
                  </a:lnTo>
                  <a:lnTo>
                    <a:pt x="120" y="3728"/>
                  </a:lnTo>
                  <a:lnTo>
                    <a:pt x="131" y="3734"/>
                  </a:lnTo>
                  <a:lnTo>
                    <a:pt x="142" y="3739"/>
                  </a:lnTo>
                  <a:lnTo>
                    <a:pt x="153" y="3744"/>
                  </a:lnTo>
                  <a:lnTo>
                    <a:pt x="164" y="3749"/>
                  </a:lnTo>
                  <a:lnTo>
                    <a:pt x="176" y="3753"/>
                  </a:lnTo>
                  <a:lnTo>
                    <a:pt x="188" y="3756"/>
                  </a:lnTo>
                  <a:lnTo>
                    <a:pt x="200" y="3759"/>
                  </a:lnTo>
                  <a:lnTo>
                    <a:pt x="212" y="3761"/>
                  </a:lnTo>
                  <a:lnTo>
                    <a:pt x="224" y="3763"/>
                  </a:lnTo>
                  <a:lnTo>
                    <a:pt x="237" y="3764"/>
                  </a:lnTo>
                  <a:lnTo>
                    <a:pt x="250" y="3764"/>
                  </a:lnTo>
                  <a:lnTo>
                    <a:pt x="264" y="3764"/>
                  </a:lnTo>
                  <a:lnTo>
                    <a:pt x="276" y="3763"/>
                  </a:lnTo>
                  <a:lnTo>
                    <a:pt x="289" y="3761"/>
                  </a:lnTo>
                  <a:lnTo>
                    <a:pt x="301" y="3759"/>
                  </a:lnTo>
                  <a:lnTo>
                    <a:pt x="313" y="3756"/>
                  </a:lnTo>
                  <a:lnTo>
                    <a:pt x="325" y="3753"/>
                  </a:lnTo>
                  <a:lnTo>
                    <a:pt x="337" y="3749"/>
                  </a:lnTo>
                  <a:lnTo>
                    <a:pt x="348" y="3744"/>
                  </a:lnTo>
                  <a:lnTo>
                    <a:pt x="359" y="3739"/>
                  </a:lnTo>
                  <a:lnTo>
                    <a:pt x="370" y="3734"/>
                  </a:lnTo>
                  <a:lnTo>
                    <a:pt x="381" y="3728"/>
                  </a:lnTo>
                  <a:lnTo>
                    <a:pt x="391" y="3721"/>
                  </a:lnTo>
                  <a:lnTo>
                    <a:pt x="401" y="3713"/>
                  </a:lnTo>
                  <a:lnTo>
                    <a:pt x="410" y="3706"/>
                  </a:lnTo>
                  <a:lnTo>
                    <a:pt x="419" y="3698"/>
                  </a:lnTo>
                  <a:lnTo>
                    <a:pt x="428" y="3690"/>
                  </a:lnTo>
                  <a:lnTo>
                    <a:pt x="436" y="3681"/>
                  </a:lnTo>
                  <a:lnTo>
                    <a:pt x="444" y="3672"/>
                  </a:lnTo>
                  <a:lnTo>
                    <a:pt x="451" y="3663"/>
                  </a:lnTo>
                  <a:lnTo>
                    <a:pt x="458" y="3653"/>
                  </a:lnTo>
                  <a:lnTo>
                    <a:pt x="465" y="3643"/>
                  </a:lnTo>
                  <a:lnTo>
                    <a:pt x="471" y="3632"/>
                  </a:lnTo>
                  <a:lnTo>
                    <a:pt x="476" y="3621"/>
                  </a:lnTo>
                  <a:lnTo>
                    <a:pt x="481" y="3610"/>
                  </a:lnTo>
                  <a:lnTo>
                    <a:pt x="486" y="3599"/>
                  </a:lnTo>
                  <a:lnTo>
                    <a:pt x="490" y="3587"/>
                  </a:lnTo>
                  <a:lnTo>
                    <a:pt x="493" y="3576"/>
                  </a:lnTo>
                  <a:lnTo>
                    <a:pt x="496" y="3563"/>
                  </a:lnTo>
                  <a:lnTo>
                    <a:pt x="498" y="3551"/>
                  </a:lnTo>
                  <a:lnTo>
                    <a:pt x="500" y="3539"/>
                  </a:lnTo>
                  <a:lnTo>
                    <a:pt x="501" y="3526"/>
                  </a:lnTo>
                  <a:lnTo>
                    <a:pt x="501" y="3513"/>
                  </a:lnTo>
                  <a:lnTo>
                    <a:pt x="505" y="3358"/>
                  </a:lnTo>
                  <a:lnTo>
                    <a:pt x="517" y="3205"/>
                  </a:lnTo>
                  <a:lnTo>
                    <a:pt x="537" y="3054"/>
                  </a:lnTo>
                  <a:lnTo>
                    <a:pt x="563" y="2907"/>
                  </a:lnTo>
                  <a:lnTo>
                    <a:pt x="596" y="2760"/>
                  </a:lnTo>
                  <a:lnTo>
                    <a:pt x="637" y="2618"/>
                  </a:lnTo>
                  <a:lnTo>
                    <a:pt x="684" y="2478"/>
                  </a:lnTo>
                  <a:lnTo>
                    <a:pt x="738" y="2341"/>
                  </a:lnTo>
                  <a:lnTo>
                    <a:pt x="798" y="2208"/>
                  </a:lnTo>
                  <a:lnTo>
                    <a:pt x="865" y="2078"/>
                  </a:lnTo>
                  <a:lnTo>
                    <a:pt x="937" y="1952"/>
                  </a:lnTo>
                  <a:lnTo>
                    <a:pt x="1015" y="1830"/>
                  </a:lnTo>
                  <a:lnTo>
                    <a:pt x="1100" y="1711"/>
                  </a:lnTo>
                  <a:lnTo>
                    <a:pt x="1189" y="1598"/>
                  </a:lnTo>
                  <a:lnTo>
                    <a:pt x="1283" y="1488"/>
                  </a:lnTo>
                  <a:lnTo>
                    <a:pt x="1384" y="1384"/>
                  </a:lnTo>
                  <a:lnTo>
                    <a:pt x="1488" y="1285"/>
                  </a:lnTo>
                  <a:lnTo>
                    <a:pt x="1597" y="1189"/>
                  </a:lnTo>
                  <a:lnTo>
                    <a:pt x="1711" y="1100"/>
                  </a:lnTo>
                  <a:lnTo>
                    <a:pt x="1829" y="1017"/>
                  </a:lnTo>
                  <a:lnTo>
                    <a:pt x="1952" y="937"/>
                  </a:lnTo>
                  <a:lnTo>
                    <a:pt x="2077" y="865"/>
                  </a:lnTo>
                  <a:lnTo>
                    <a:pt x="2208" y="799"/>
                  </a:lnTo>
                  <a:lnTo>
                    <a:pt x="2340" y="739"/>
                  </a:lnTo>
                  <a:lnTo>
                    <a:pt x="2478" y="685"/>
                  </a:lnTo>
                  <a:lnTo>
                    <a:pt x="2617" y="637"/>
                  </a:lnTo>
                  <a:lnTo>
                    <a:pt x="2760" y="596"/>
                  </a:lnTo>
                  <a:lnTo>
                    <a:pt x="2906" y="563"/>
                  </a:lnTo>
                  <a:lnTo>
                    <a:pt x="3054" y="537"/>
                  </a:lnTo>
                  <a:lnTo>
                    <a:pt x="3204" y="517"/>
                  </a:lnTo>
                  <a:lnTo>
                    <a:pt x="3358" y="506"/>
                  </a:lnTo>
                  <a:lnTo>
                    <a:pt x="3512" y="502"/>
                  </a:lnTo>
                  <a:lnTo>
                    <a:pt x="3525" y="502"/>
                  </a:lnTo>
                  <a:lnTo>
                    <a:pt x="3538" y="501"/>
                  </a:lnTo>
                  <a:lnTo>
                    <a:pt x="3550" y="499"/>
                  </a:lnTo>
                  <a:lnTo>
                    <a:pt x="3562" y="497"/>
                  </a:lnTo>
                  <a:lnTo>
                    <a:pt x="3574" y="494"/>
                  </a:lnTo>
                  <a:lnTo>
                    <a:pt x="3587" y="491"/>
                  </a:lnTo>
                  <a:lnTo>
                    <a:pt x="3599" y="487"/>
                  </a:lnTo>
                  <a:lnTo>
                    <a:pt x="3610" y="482"/>
                  </a:lnTo>
                  <a:lnTo>
                    <a:pt x="3621" y="477"/>
                  </a:lnTo>
                  <a:lnTo>
                    <a:pt x="3632" y="472"/>
                  </a:lnTo>
                  <a:lnTo>
                    <a:pt x="3643" y="466"/>
                  </a:lnTo>
                  <a:lnTo>
                    <a:pt x="3653" y="459"/>
                  </a:lnTo>
                  <a:lnTo>
                    <a:pt x="3663" y="452"/>
                  </a:lnTo>
                  <a:lnTo>
                    <a:pt x="3672" y="445"/>
                  </a:lnTo>
                  <a:lnTo>
                    <a:pt x="3681" y="437"/>
                  </a:lnTo>
                  <a:lnTo>
                    <a:pt x="3690" y="429"/>
                  </a:lnTo>
                  <a:lnTo>
                    <a:pt x="3698" y="420"/>
                  </a:lnTo>
                  <a:lnTo>
                    <a:pt x="3706" y="411"/>
                  </a:lnTo>
                  <a:lnTo>
                    <a:pt x="3713" y="402"/>
                  </a:lnTo>
                  <a:lnTo>
                    <a:pt x="3720" y="391"/>
                  </a:lnTo>
                  <a:lnTo>
                    <a:pt x="3727" y="381"/>
                  </a:lnTo>
                  <a:lnTo>
                    <a:pt x="3733" y="370"/>
                  </a:lnTo>
                  <a:lnTo>
                    <a:pt x="3738" y="359"/>
                  </a:lnTo>
                  <a:lnTo>
                    <a:pt x="3743" y="348"/>
                  </a:lnTo>
                  <a:lnTo>
                    <a:pt x="3748" y="337"/>
                  </a:lnTo>
                  <a:lnTo>
                    <a:pt x="3752" y="325"/>
                  </a:lnTo>
                  <a:lnTo>
                    <a:pt x="3755" y="313"/>
                  </a:lnTo>
                  <a:lnTo>
                    <a:pt x="3758" y="301"/>
                  </a:lnTo>
                  <a:lnTo>
                    <a:pt x="3760" y="289"/>
                  </a:lnTo>
                  <a:lnTo>
                    <a:pt x="3762" y="276"/>
                  </a:lnTo>
                  <a:lnTo>
                    <a:pt x="3763" y="264"/>
                  </a:lnTo>
                  <a:lnTo>
                    <a:pt x="3763" y="251"/>
                  </a:lnTo>
                  <a:lnTo>
                    <a:pt x="3763" y="238"/>
                  </a:lnTo>
                  <a:lnTo>
                    <a:pt x="3762" y="225"/>
                  </a:lnTo>
                  <a:lnTo>
                    <a:pt x="3760" y="213"/>
                  </a:lnTo>
                  <a:lnTo>
                    <a:pt x="3758" y="201"/>
                  </a:lnTo>
                  <a:lnTo>
                    <a:pt x="3755" y="188"/>
                  </a:lnTo>
                  <a:lnTo>
                    <a:pt x="3752" y="177"/>
                  </a:lnTo>
                  <a:lnTo>
                    <a:pt x="3748" y="165"/>
                  </a:lnTo>
                  <a:lnTo>
                    <a:pt x="3743" y="154"/>
                  </a:lnTo>
                  <a:lnTo>
                    <a:pt x="3738" y="143"/>
                  </a:lnTo>
                  <a:lnTo>
                    <a:pt x="3733" y="132"/>
                  </a:lnTo>
                  <a:lnTo>
                    <a:pt x="3727" y="120"/>
                  </a:lnTo>
                  <a:lnTo>
                    <a:pt x="3720" y="110"/>
                  </a:lnTo>
                  <a:lnTo>
                    <a:pt x="3713" y="100"/>
                  </a:lnTo>
                  <a:lnTo>
                    <a:pt x="3706" y="91"/>
                  </a:lnTo>
                  <a:lnTo>
                    <a:pt x="3698" y="82"/>
                  </a:lnTo>
                  <a:lnTo>
                    <a:pt x="3690" y="73"/>
                  </a:lnTo>
                  <a:lnTo>
                    <a:pt x="3681" y="65"/>
                  </a:lnTo>
                  <a:lnTo>
                    <a:pt x="3672" y="57"/>
                  </a:lnTo>
                  <a:lnTo>
                    <a:pt x="3663" y="50"/>
                  </a:lnTo>
                  <a:lnTo>
                    <a:pt x="3653" y="43"/>
                  </a:lnTo>
                  <a:lnTo>
                    <a:pt x="3643" y="36"/>
                  </a:lnTo>
                  <a:lnTo>
                    <a:pt x="3632" y="30"/>
                  </a:lnTo>
                  <a:lnTo>
                    <a:pt x="3621" y="25"/>
                  </a:lnTo>
                  <a:lnTo>
                    <a:pt x="3610" y="20"/>
                  </a:lnTo>
                  <a:lnTo>
                    <a:pt x="3599" y="15"/>
                  </a:lnTo>
                  <a:lnTo>
                    <a:pt x="3587" y="11"/>
                  </a:lnTo>
                  <a:lnTo>
                    <a:pt x="3574" y="8"/>
                  </a:lnTo>
                  <a:lnTo>
                    <a:pt x="3562" y="5"/>
                  </a:lnTo>
                  <a:lnTo>
                    <a:pt x="3550" y="3"/>
                  </a:lnTo>
                  <a:lnTo>
                    <a:pt x="3538" y="1"/>
                  </a:lnTo>
                  <a:lnTo>
                    <a:pt x="3525" y="0"/>
                  </a:lnTo>
                  <a:lnTo>
                    <a:pt x="35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0" name="ïŝlîḑe">
              <a:extLst>
                <a:ext uri="{FF2B5EF4-FFF2-40B4-BE49-F238E27FC236}">
                  <a16:creationId xmlns:a16="http://schemas.microsoft.com/office/drawing/2014/main" id="{2D37ADC3-6874-4B12-9890-9D2FCB278F6C}"/>
                </a:ext>
              </a:extLst>
            </p:cNvPr>
            <p:cNvSpPr/>
            <p:nvPr/>
          </p:nvSpPr>
          <p:spPr bwMode="auto">
            <a:xfrm>
              <a:off x="1813298" y="256061"/>
              <a:ext cx="393778" cy="391972"/>
            </a:xfrm>
            <a:custGeom>
              <a:avLst/>
              <a:gdLst>
                <a:gd name="T0" fmla="*/ 10476 w 16132"/>
                <a:gd name="T1" fmla="*/ 8984 h 16058"/>
                <a:gd name="T2" fmla="*/ 9828 w 16132"/>
                <a:gd name="T3" fmla="*/ 8821 h 16058"/>
                <a:gd name="T4" fmla="*/ 9225 w 16132"/>
                <a:gd name="T5" fmla="*/ 8560 h 16058"/>
                <a:gd name="T6" fmla="*/ 7288 w 16132"/>
                <a:gd name="T7" fmla="*/ 10231 h 16058"/>
                <a:gd name="T8" fmla="*/ 7156 w 16132"/>
                <a:gd name="T9" fmla="*/ 10439 h 16058"/>
                <a:gd name="T10" fmla="*/ 7079 w 16132"/>
                <a:gd name="T11" fmla="*/ 10671 h 16058"/>
                <a:gd name="T12" fmla="*/ 6051 w 16132"/>
                <a:gd name="T13" fmla="*/ 12043 h 16058"/>
                <a:gd name="T14" fmla="*/ 5571 w 16132"/>
                <a:gd name="T15" fmla="*/ 12164 h 16058"/>
                <a:gd name="T16" fmla="*/ 5215 w 16132"/>
                <a:gd name="T17" fmla="*/ 12486 h 16058"/>
                <a:gd name="T18" fmla="*/ 5048 w 16132"/>
                <a:gd name="T19" fmla="*/ 12944 h 16058"/>
                <a:gd name="T20" fmla="*/ 3713 w 16132"/>
                <a:gd name="T21" fmla="*/ 14062 h 16058"/>
                <a:gd name="T22" fmla="*/ 3476 w 16132"/>
                <a:gd name="T23" fmla="*/ 14127 h 16058"/>
                <a:gd name="T24" fmla="*/ 3262 w 16132"/>
                <a:gd name="T25" fmla="*/ 14248 h 16058"/>
                <a:gd name="T26" fmla="*/ 6888 w 16132"/>
                <a:gd name="T27" fmla="*/ 7782 h 16058"/>
                <a:gd name="T28" fmla="*/ 7418 w 16132"/>
                <a:gd name="T29" fmla="*/ 6641 h 16058"/>
                <a:gd name="T30" fmla="*/ 7194 w 16132"/>
                <a:gd name="T31" fmla="*/ 6023 h 16058"/>
                <a:gd name="T32" fmla="*/ 7075 w 16132"/>
                <a:gd name="T33" fmla="*/ 5362 h 16058"/>
                <a:gd name="T34" fmla="*/ 7186 w 16132"/>
                <a:gd name="T35" fmla="*/ 4015 h 16058"/>
                <a:gd name="T36" fmla="*/ 8106 w 16132"/>
                <a:gd name="T37" fmla="*/ 2319 h 16058"/>
                <a:gd name="T38" fmla="*/ 9705 w 16132"/>
                <a:gd name="T39" fmla="*/ 1248 h 16058"/>
                <a:gd name="T40" fmla="*/ 11706 w 16132"/>
                <a:gd name="T41" fmla="*/ 1050 h 16058"/>
                <a:gd name="T42" fmla="*/ 13505 w 16132"/>
                <a:gd name="T43" fmla="*/ 1801 h 16058"/>
                <a:gd name="T44" fmla="*/ 14726 w 16132"/>
                <a:gd name="T45" fmla="*/ 3277 h 16058"/>
                <a:gd name="T46" fmla="*/ 15119 w 16132"/>
                <a:gd name="T47" fmla="*/ 5225 h 16058"/>
                <a:gd name="T48" fmla="*/ 14540 w 16132"/>
                <a:gd name="T49" fmla="*/ 7100 h 16058"/>
                <a:gd name="T50" fmla="*/ 13182 w 16132"/>
                <a:gd name="T51" fmla="*/ 8452 h 16058"/>
                <a:gd name="T52" fmla="*/ 11298 w 16132"/>
                <a:gd name="T53" fmla="*/ 9028 h 16058"/>
                <a:gd name="T54" fmla="*/ 9130 w 16132"/>
                <a:gd name="T55" fmla="*/ 394 h 16058"/>
                <a:gd name="T56" fmla="*/ 7202 w 16132"/>
                <a:gd name="T57" fmla="*/ 1826 h 16058"/>
                <a:gd name="T58" fmla="*/ 6153 w 16132"/>
                <a:gd name="T59" fmla="*/ 4007 h 16058"/>
                <a:gd name="T60" fmla="*/ 6065 w 16132"/>
                <a:gd name="T61" fmla="*/ 5377 h 16058"/>
                <a:gd name="T62" fmla="*/ 6146 w 16132"/>
                <a:gd name="T63" fmla="*/ 5958 h 16058"/>
                <a:gd name="T64" fmla="*/ 6293 w 16132"/>
                <a:gd name="T65" fmla="*/ 6516 h 16058"/>
                <a:gd name="T66" fmla="*/ 195 w 16132"/>
                <a:gd name="T67" fmla="*/ 13035 h 16058"/>
                <a:gd name="T68" fmla="*/ 51 w 16132"/>
                <a:gd name="T69" fmla="*/ 13264 h 16058"/>
                <a:gd name="T70" fmla="*/ 3 w 16132"/>
                <a:gd name="T71" fmla="*/ 13475 h 16058"/>
                <a:gd name="T72" fmla="*/ 46 w 16132"/>
                <a:gd name="T73" fmla="*/ 15346 h 16058"/>
                <a:gd name="T74" fmla="*/ 301 w 16132"/>
                <a:gd name="T75" fmla="*/ 15758 h 16058"/>
                <a:gd name="T76" fmla="*/ 715 w 16132"/>
                <a:gd name="T77" fmla="*/ 16012 h 16058"/>
                <a:gd name="T78" fmla="*/ 2594 w 16132"/>
                <a:gd name="T79" fmla="*/ 16055 h 16058"/>
                <a:gd name="T80" fmla="*/ 2808 w 16132"/>
                <a:gd name="T81" fmla="*/ 16008 h 16058"/>
                <a:gd name="T82" fmla="*/ 3039 w 16132"/>
                <a:gd name="T83" fmla="*/ 15866 h 16058"/>
                <a:gd name="T84" fmla="*/ 5294 w 16132"/>
                <a:gd name="T85" fmla="*/ 15022 h 16058"/>
                <a:gd name="T86" fmla="*/ 5721 w 16132"/>
                <a:gd name="T87" fmla="*/ 14793 h 16058"/>
                <a:gd name="T88" fmla="*/ 5990 w 16132"/>
                <a:gd name="T89" fmla="*/ 14396 h 16058"/>
                <a:gd name="T90" fmla="*/ 7111 w 16132"/>
                <a:gd name="T91" fmla="*/ 13046 h 16058"/>
                <a:gd name="T92" fmla="*/ 7582 w 16132"/>
                <a:gd name="T93" fmla="*/ 12902 h 16058"/>
                <a:gd name="T94" fmla="*/ 7921 w 16132"/>
                <a:gd name="T95" fmla="*/ 12564 h 16058"/>
                <a:gd name="T96" fmla="*/ 8066 w 16132"/>
                <a:gd name="T97" fmla="*/ 12095 h 16058"/>
                <a:gd name="T98" fmla="*/ 9641 w 16132"/>
                <a:gd name="T99" fmla="*/ 9812 h 16058"/>
                <a:gd name="T100" fmla="*/ 10204 w 16132"/>
                <a:gd name="T101" fmla="*/ 9952 h 16058"/>
                <a:gd name="T102" fmla="*/ 10790 w 16132"/>
                <a:gd name="T103" fmla="*/ 10026 h 16058"/>
                <a:gd name="T104" fmla="*/ 12351 w 16132"/>
                <a:gd name="T105" fmla="*/ 9878 h 16058"/>
                <a:gd name="T106" fmla="*/ 14480 w 16132"/>
                <a:gd name="T107" fmla="*/ 8733 h 16058"/>
                <a:gd name="T108" fmla="*/ 15827 w 16132"/>
                <a:gd name="T109" fmla="*/ 6743 h 16058"/>
                <a:gd name="T110" fmla="*/ 16074 w 16132"/>
                <a:gd name="T111" fmla="*/ 4254 h 16058"/>
                <a:gd name="T112" fmla="*/ 15131 w 16132"/>
                <a:gd name="T113" fmla="*/ 2016 h 16058"/>
                <a:gd name="T114" fmla="*/ 13277 w 16132"/>
                <a:gd name="T115" fmla="*/ 495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132" h="16058">
                  <a:moveTo>
                    <a:pt x="11092" y="9033"/>
                  </a:moveTo>
                  <a:lnTo>
                    <a:pt x="11021" y="9032"/>
                  </a:lnTo>
                  <a:lnTo>
                    <a:pt x="10953" y="9030"/>
                  </a:lnTo>
                  <a:lnTo>
                    <a:pt x="10883" y="9027"/>
                  </a:lnTo>
                  <a:lnTo>
                    <a:pt x="10814" y="9023"/>
                  </a:lnTo>
                  <a:lnTo>
                    <a:pt x="10746" y="9018"/>
                  </a:lnTo>
                  <a:lnTo>
                    <a:pt x="10677" y="9011"/>
                  </a:lnTo>
                  <a:lnTo>
                    <a:pt x="10610" y="9003"/>
                  </a:lnTo>
                  <a:lnTo>
                    <a:pt x="10543" y="8994"/>
                  </a:lnTo>
                  <a:lnTo>
                    <a:pt x="10476" y="8984"/>
                  </a:lnTo>
                  <a:lnTo>
                    <a:pt x="10409" y="8972"/>
                  </a:lnTo>
                  <a:lnTo>
                    <a:pt x="10343" y="8959"/>
                  </a:lnTo>
                  <a:lnTo>
                    <a:pt x="10277" y="8945"/>
                  </a:lnTo>
                  <a:lnTo>
                    <a:pt x="10212" y="8931"/>
                  </a:lnTo>
                  <a:lnTo>
                    <a:pt x="10147" y="8915"/>
                  </a:lnTo>
                  <a:lnTo>
                    <a:pt x="10083" y="8898"/>
                  </a:lnTo>
                  <a:lnTo>
                    <a:pt x="10018" y="8881"/>
                  </a:lnTo>
                  <a:lnTo>
                    <a:pt x="9954" y="8862"/>
                  </a:lnTo>
                  <a:lnTo>
                    <a:pt x="9891" y="8842"/>
                  </a:lnTo>
                  <a:lnTo>
                    <a:pt x="9828" y="8821"/>
                  </a:lnTo>
                  <a:lnTo>
                    <a:pt x="9766" y="8799"/>
                  </a:lnTo>
                  <a:lnTo>
                    <a:pt x="9704" y="8777"/>
                  </a:lnTo>
                  <a:lnTo>
                    <a:pt x="9643" y="8753"/>
                  </a:lnTo>
                  <a:lnTo>
                    <a:pt x="9581" y="8728"/>
                  </a:lnTo>
                  <a:lnTo>
                    <a:pt x="9521" y="8703"/>
                  </a:lnTo>
                  <a:lnTo>
                    <a:pt x="9461" y="8675"/>
                  </a:lnTo>
                  <a:lnTo>
                    <a:pt x="9402" y="8648"/>
                  </a:lnTo>
                  <a:lnTo>
                    <a:pt x="9342" y="8619"/>
                  </a:lnTo>
                  <a:lnTo>
                    <a:pt x="9284" y="8590"/>
                  </a:lnTo>
                  <a:lnTo>
                    <a:pt x="9225" y="8560"/>
                  </a:lnTo>
                  <a:lnTo>
                    <a:pt x="9168" y="8529"/>
                  </a:lnTo>
                  <a:lnTo>
                    <a:pt x="9112" y="8498"/>
                  </a:lnTo>
                  <a:lnTo>
                    <a:pt x="9055" y="8465"/>
                  </a:lnTo>
                  <a:lnTo>
                    <a:pt x="8882" y="8637"/>
                  </a:lnTo>
                  <a:lnTo>
                    <a:pt x="8315" y="9201"/>
                  </a:lnTo>
                  <a:lnTo>
                    <a:pt x="7354" y="10158"/>
                  </a:lnTo>
                  <a:lnTo>
                    <a:pt x="7337" y="10176"/>
                  </a:lnTo>
                  <a:lnTo>
                    <a:pt x="7320" y="10194"/>
                  </a:lnTo>
                  <a:lnTo>
                    <a:pt x="7304" y="10212"/>
                  </a:lnTo>
                  <a:lnTo>
                    <a:pt x="7288" y="10231"/>
                  </a:lnTo>
                  <a:lnTo>
                    <a:pt x="7271" y="10250"/>
                  </a:lnTo>
                  <a:lnTo>
                    <a:pt x="7256" y="10270"/>
                  </a:lnTo>
                  <a:lnTo>
                    <a:pt x="7242" y="10290"/>
                  </a:lnTo>
                  <a:lnTo>
                    <a:pt x="7228" y="10311"/>
                  </a:lnTo>
                  <a:lnTo>
                    <a:pt x="7215" y="10332"/>
                  </a:lnTo>
                  <a:lnTo>
                    <a:pt x="7202" y="10352"/>
                  </a:lnTo>
                  <a:lnTo>
                    <a:pt x="7190" y="10374"/>
                  </a:lnTo>
                  <a:lnTo>
                    <a:pt x="7178" y="10395"/>
                  </a:lnTo>
                  <a:lnTo>
                    <a:pt x="7167" y="10417"/>
                  </a:lnTo>
                  <a:lnTo>
                    <a:pt x="7156" y="10439"/>
                  </a:lnTo>
                  <a:lnTo>
                    <a:pt x="7145" y="10461"/>
                  </a:lnTo>
                  <a:lnTo>
                    <a:pt x="7135" y="10483"/>
                  </a:lnTo>
                  <a:lnTo>
                    <a:pt x="7126" y="10506"/>
                  </a:lnTo>
                  <a:lnTo>
                    <a:pt x="7118" y="10529"/>
                  </a:lnTo>
                  <a:lnTo>
                    <a:pt x="7110" y="10552"/>
                  </a:lnTo>
                  <a:lnTo>
                    <a:pt x="7102" y="10576"/>
                  </a:lnTo>
                  <a:lnTo>
                    <a:pt x="7096" y="10600"/>
                  </a:lnTo>
                  <a:lnTo>
                    <a:pt x="7089" y="10623"/>
                  </a:lnTo>
                  <a:lnTo>
                    <a:pt x="7084" y="10647"/>
                  </a:lnTo>
                  <a:lnTo>
                    <a:pt x="7079" y="10671"/>
                  </a:lnTo>
                  <a:lnTo>
                    <a:pt x="7074" y="10695"/>
                  </a:lnTo>
                  <a:lnTo>
                    <a:pt x="7070" y="10719"/>
                  </a:lnTo>
                  <a:lnTo>
                    <a:pt x="7067" y="10744"/>
                  </a:lnTo>
                  <a:lnTo>
                    <a:pt x="7064" y="10768"/>
                  </a:lnTo>
                  <a:lnTo>
                    <a:pt x="7062" y="10793"/>
                  </a:lnTo>
                  <a:lnTo>
                    <a:pt x="7060" y="10817"/>
                  </a:lnTo>
                  <a:lnTo>
                    <a:pt x="7059" y="10843"/>
                  </a:lnTo>
                  <a:lnTo>
                    <a:pt x="7059" y="10868"/>
                  </a:lnTo>
                  <a:lnTo>
                    <a:pt x="7059" y="12043"/>
                  </a:lnTo>
                  <a:lnTo>
                    <a:pt x="6051" y="12043"/>
                  </a:lnTo>
                  <a:lnTo>
                    <a:pt x="5999" y="12045"/>
                  </a:lnTo>
                  <a:lnTo>
                    <a:pt x="5948" y="12049"/>
                  </a:lnTo>
                  <a:lnTo>
                    <a:pt x="5897" y="12055"/>
                  </a:lnTo>
                  <a:lnTo>
                    <a:pt x="5848" y="12064"/>
                  </a:lnTo>
                  <a:lnTo>
                    <a:pt x="5799" y="12075"/>
                  </a:lnTo>
                  <a:lnTo>
                    <a:pt x="5751" y="12088"/>
                  </a:lnTo>
                  <a:lnTo>
                    <a:pt x="5705" y="12104"/>
                  </a:lnTo>
                  <a:lnTo>
                    <a:pt x="5658" y="12122"/>
                  </a:lnTo>
                  <a:lnTo>
                    <a:pt x="5614" y="12142"/>
                  </a:lnTo>
                  <a:lnTo>
                    <a:pt x="5571" y="12164"/>
                  </a:lnTo>
                  <a:lnTo>
                    <a:pt x="5528" y="12189"/>
                  </a:lnTo>
                  <a:lnTo>
                    <a:pt x="5487" y="12215"/>
                  </a:lnTo>
                  <a:lnTo>
                    <a:pt x="5448" y="12243"/>
                  </a:lnTo>
                  <a:lnTo>
                    <a:pt x="5409" y="12273"/>
                  </a:lnTo>
                  <a:lnTo>
                    <a:pt x="5373" y="12304"/>
                  </a:lnTo>
                  <a:lnTo>
                    <a:pt x="5338" y="12337"/>
                  </a:lnTo>
                  <a:lnTo>
                    <a:pt x="5304" y="12372"/>
                  </a:lnTo>
                  <a:lnTo>
                    <a:pt x="5273" y="12408"/>
                  </a:lnTo>
                  <a:lnTo>
                    <a:pt x="5243" y="12447"/>
                  </a:lnTo>
                  <a:lnTo>
                    <a:pt x="5215" y="12486"/>
                  </a:lnTo>
                  <a:lnTo>
                    <a:pt x="5188" y="12527"/>
                  </a:lnTo>
                  <a:lnTo>
                    <a:pt x="5164" y="12569"/>
                  </a:lnTo>
                  <a:lnTo>
                    <a:pt x="5142" y="12612"/>
                  </a:lnTo>
                  <a:lnTo>
                    <a:pt x="5122" y="12656"/>
                  </a:lnTo>
                  <a:lnTo>
                    <a:pt x="5104" y="12702"/>
                  </a:lnTo>
                  <a:lnTo>
                    <a:pt x="5088" y="12749"/>
                  </a:lnTo>
                  <a:lnTo>
                    <a:pt x="5075" y="12797"/>
                  </a:lnTo>
                  <a:lnTo>
                    <a:pt x="5063" y="12845"/>
                  </a:lnTo>
                  <a:lnTo>
                    <a:pt x="5054" y="12894"/>
                  </a:lnTo>
                  <a:lnTo>
                    <a:pt x="5048" y="12944"/>
                  </a:lnTo>
                  <a:lnTo>
                    <a:pt x="5044" y="12996"/>
                  </a:lnTo>
                  <a:lnTo>
                    <a:pt x="5042" y="13047"/>
                  </a:lnTo>
                  <a:lnTo>
                    <a:pt x="5042" y="14050"/>
                  </a:lnTo>
                  <a:lnTo>
                    <a:pt x="3862" y="14050"/>
                  </a:lnTo>
                  <a:lnTo>
                    <a:pt x="3836" y="14050"/>
                  </a:lnTo>
                  <a:lnTo>
                    <a:pt x="3812" y="14052"/>
                  </a:lnTo>
                  <a:lnTo>
                    <a:pt x="3787" y="14054"/>
                  </a:lnTo>
                  <a:lnTo>
                    <a:pt x="3762" y="14056"/>
                  </a:lnTo>
                  <a:lnTo>
                    <a:pt x="3738" y="14059"/>
                  </a:lnTo>
                  <a:lnTo>
                    <a:pt x="3713" y="14062"/>
                  </a:lnTo>
                  <a:lnTo>
                    <a:pt x="3688" y="14066"/>
                  </a:lnTo>
                  <a:lnTo>
                    <a:pt x="3664" y="14071"/>
                  </a:lnTo>
                  <a:lnTo>
                    <a:pt x="3640" y="14076"/>
                  </a:lnTo>
                  <a:lnTo>
                    <a:pt x="3616" y="14081"/>
                  </a:lnTo>
                  <a:lnTo>
                    <a:pt x="3592" y="14088"/>
                  </a:lnTo>
                  <a:lnTo>
                    <a:pt x="3568" y="14094"/>
                  </a:lnTo>
                  <a:lnTo>
                    <a:pt x="3545" y="14102"/>
                  </a:lnTo>
                  <a:lnTo>
                    <a:pt x="3522" y="14110"/>
                  </a:lnTo>
                  <a:lnTo>
                    <a:pt x="3499" y="14118"/>
                  </a:lnTo>
                  <a:lnTo>
                    <a:pt x="3476" y="14127"/>
                  </a:lnTo>
                  <a:lnTo>
                    <a:pt x="3453" y="14137"/>
                  </a:lnTo>
                  <a:lnTo>
                    <a:pt x="3431" y="14147"/>
                  </a:lnTo>
                  <a:lnTo>
                    <a:pt x="3409" y="14158"/>
                  </a:lnTo>
                  <a:lnTo>
                    <a:pt x="3387" y="14169"/>
                  </a:lnTo>
                  <a:lnTo>
                    <a:pt x="3366" y="14181"/>
                  </a:lnTo>
                  <a:lnTo>
                    <a:pt x="3344" y="14193"/>
                  </a:lnTo>
                  <a:lnTo>
                    <a:pt x="3323" y="14206"/>
                  </a:lnTo>
                  <a:lnTo>
                    <a:pt x="3302" y="14219"/>
                  </a:lnTo>
                  <a:lnTo>
                    <a:pt x="3282" y="14233"/>
                  </a:lnTo>
                  <a:lnTo>
                    <a:pt x="3262" y="14248"/>
                  </a:lnTo>
                  <a:lnTo>
                    <a:pt x="3243" y="14262"/>
                  </a:lnTo>
                  <a:lnTo>
                    <a:pt x="3222" y="14278"/>
                  </a:lnTo>
                  <a:lnTo>
                    <a:pt x="3204" y="14294"/>
                  </a:lnTo>
                  <a:lnTo>
                    <a:pt x="3185" y="14310"/>
                  </a:lnTo>
                  <a:lnTo>
                    <a:pt x="3167" y="14328"/>
                  </a:lnTo>
                  <a:lnTo>
                    <a:pt x="3149" y="14345"/>
                  </a:lnTo>
                  <a:lnTo>
                    <a:pt x="2434" y="15056"/>
                  </a:lnTo>
                  <a:lnTo>
                    <a:pt x="1010" y="15054"/>
                  </a:lnTo>
                  <a:lnTo>
                    <a:pt x="1008" y="13625"/>
                  </a:lnTo>
                  <a:lnTo>
                    <a:pt x="6888" y="7782"/>
                  </a:lnTo>
                  <a:lnTo>
                    <a:pt x="6888" y="7782"/>
                  </a:lnTo>
                  <a:lnTo>
                    <a:pt x="6889" y="7783"/>
                  </a:lnTo>
                  <a:lnTo>
                    <a:pt x="7629" y="7045"/>
                  </a:lnTo>
                  <a:lnTo>
                    <a:pt x="7597" y="6989"/>
                  </a:lnTo>
                  <a:lnTo>
                    <a:pt x="7565" y="6933"/>
                  </a:lnTo>
                  <a:lnTo>
                    <a:pt x="7534" y="6876"/>
                  </a:lnTo>
                  <a:lnTo>
                    <a:pt x="7503" y="6817"/>
                  </a:lnTo>
                  <a:lnTo>
                    <a:pt x="7474" y="6759"/>
                  </a:lnTo>
                  <a:lnTo>
                    <a:pt x="7446" y="6700"/>
                  </a:lnTo>
                  <a:lnTo>
                    <a:pt x="7418" y="6641"/>
                  </a:lnTo>
                  <a:lnTo>
                    <a:pt x="7391" y="6582"/>
                  </a:lnTo>
                  <a:lnTo>
                    <a:pt x="7365" y="6521"/>
                  </a:lnTo>
                  <a:lnTo>
                    <a:pt x="7340" y="6460"/>
                  </a:lnTo>
                  <a:lnTo>
                    <a:pt x="7317" y="6399"/>
                  </a:lnTo>
                  <a:lnTo>
                    <a:pt x="7294" y="6338"/>
                  </a:lnTo>
                  <a:lnTo>
                    <a:pt x="7271" y="6275"/>
                  </a:lnTo>
                  <a:lnTo>
                    <a:pt x="7250" y="6213"/>
                  </a:lnTo>
                  <a:lnTo>
                    <a:pt x="7230" y="6150"/>
                  </a:lnTo>
                  <a:lnTo>
                    <a:pt x="7212" y="6087"/>
                  </a:lnTo>
                  <a:lnTo>
                    <a:pt x="7194" y="6023"/>
                  </a:lnTo>
                  <a:lnTo>
                    <a:pt x="7177" y="5958"/>
                  </a:lnTo>
                  <a:lnTo>
                    <a:pt x="7161" y="5894"/>
                  </a:lnTo>
                  <a:lnTo>
                    <a:pt x="7146" y="5829"/>
                  </a:lnTo>
                  <a:lnTo>
                    <a:pt x="7132" y="5764"/>
                  </a:lnTo>
                  <a:lnTo>
                    <a:pt x="7120" y="5697"/>
                  </a:lnTo>
                  <a:lnTo>
                    <a:pt x="7108" y="5631"/>
                  </a:lnTo>
                  <a:lnTo>
                    <a:pt x="7098" y="5565"/>
                  </a:lnTo>
                  <a:lnTo>
                    <a:pt x="7089" y="5498"/>
                  </a:lnTo>
                  <a:lnTo>
                    <a:pt x="7081" y="5430"/>
                  </a:lnTo>
                  <a:lnTo>
                    <a:pt x="7075" y="5362"/>
                  </a:lnTo>
                  <a:lnTo>
                    <a:pt x="7069" y="5294"/>
                  </a:lnTo>
                  <a:lnTo>
                    <a:pt x="7065" y="5226"/>
                  </a:lnTo>
                  <a:lnTo>
                    <a:pt x="7062" y="5156"/>
                  </a:lnTo>
                  <a:lnTo>
                    <a:pt x="7060" y="5088"/>
                  </a:lnTo>
                  <a:lnTo>
                    <a:pt x="7059" y="5018"/>
                  </a:lnTo>
                  <a:lnTo>
                    <a:pt x="7064" y="4812"/>
                  </a:lnTo>
                  <a:lnTo>
                    <a:pt x="7080" y="4607"/>
                  </a:lnTo>
                  <a:lnTo>
                    <a:pt x="7105" y="4406"/>
                  </a:lnTo>
                  <a:lnTo>
                    <a:pt x="7140" y="4209"/>
                  </a:lnTo>
                  <a:lnTo>
                    <a:pt x="7186" y="4015"/>
                  </a:lnTo>
                  <a:lnTo>
                    <a:pt x="7240" y="3824"/>
                  </a:lnTo>
                  <a:lnTo>
                    <a:pt x="7304" y="3638"/>
                  </a:lnTo>
                  <a:lnTo>
                    <a:pt x="7376" y="3456"/>
                  </a:lnTo>
                  <a:lnTo>
                    <a:pt x="7457" y="3277"/>
                  </a:lnTo>
                  <a:lnTo>
                    <a:pt x="7546" y="3105"/>
                  </a:lnTo>
                  <a:lnTo>
                    <a:pt x="7643" y="2937"/>
                  </a:lnTo>
                  <a:lnTo>
                    <a:pt x="7747" y="2773"/>
                  </a:lnTo>
                  <a:lnTo>
                    <a:pt x="7860" y="2616"/>
                  </a:lnTo>
                  <a:lnTo>
                    <a:pt x="7980" y="2464"/>
                  </a:lnTo>
                  <a:lnTo>
                    <a:pt x="8106" y="2319"/>
                  </a:lnTo>
                  <a:lnTo>
                    <a:pt x="8240" y="2179"/>
                  </a:lnTo>
                  <a:lnTo>
                    <a:pt x="8381" y="2047"/>
                  </a:lnTo>
                  <a:lnTo>
                    <a:pt x="8527" y="1920"/>
                  </a:lnTo>
                  <a:lnTo>
                    <a:pt x="8679" y="1801"/>
                  </a:lnTo>
                  <a:lnTo>
                    <a:pt x="8837" y="1689"/>
                  </a:lnTo>
                  <a:lnTo>
                    <a:pt x="9001" y="1585"/>
                  </a:lnTo>
                  <a:lnTo>
                    <a:pt x="9169" y="1489"/>
                  </a:lnTo>
                  <a:lnTo>
                    <a:pt x="9343" y="1399"/>
                  </a:lnTo>
                  <a:lnTo>
                    <a:pt x="9522" y="1319"/>
                  </a:lnTo>
                  <a:lnTo>
                    <a:pt x="9705" y="1248"/>
                  </a:lnTo>
                  <a:lnTo>
                    <a:pt x="9892" y="1184"/>
                  </a:lnTo>
                  <a:lnTo>
                    <a:pt x="10084" y="1130"/>
                  </a:lnTo>
                  <a:lnTo>
                    <a:pt x="10279" y="1085"/>
                  </a:lnTo>
                  <a:lnTo>
                    <a:pt x="10478" y="1050"/>
                  </a:lnTo>
                  <a:lnTo>
                    <a:pt x="10679" y="1024"/>
                  </a:lnTo>
                  <a:lnTo>
                    <a:pt x="10884" y="1009"/>
                  </a:lnTo>
                  <a:lnTo>
                    <a:pt x="11092" y="1004"/>
                  </a:lnTo>
                  <a:lnTo>
                    <a:pt x="11298" y="1009"/>
                  </a:lnTo>
                  <a:lnTo>
                    <a:pt x="11504" y="1024"/>
                  </a:lnTo>
                  <a:lnTo>
                    <a:pt x="11706" y="1050"/>
                  </a:lnTo>
                  <a:lnTo>
                    <a:pt x="11904" y="1085"/>
                  </a:lnTo>
                  <a:lnTo>
                    <a:pt x="12099" y="1130"/>
                  </a:lnTo>
                  <a:lnTo>
                    <a:pt x="12291" y="1184"/>
                  </a:lnTo>
                  <a:lnTo>
                    <a:pt x="12478" y="1248"/>
                  </a:lnTo>
                  <a:lnTo>
                    <a:pt x="12661" y="1319"/>
                  </a:lnTo>
                  <a:lnTo>
                    <a:pt x="12840" y="1399"/>
                  </a:lnTo>
                  <a:lnTo>
                    <a:pt x="13013" y="1489"/>
                  </a:lnTo>
                  <a:lnTo>
                    <a:pt x="13182" y="1585"/>
                  </a:lnTo>
                  <a:lnTo>
                    <a:pt x="13346" y="1689"/>
                  </a:lnTo>
                  <a:lnTo>
                    <a:pt x="13505" y="1801"/>
                  </a:lnTo>
                  <a:lnTo>
                    <a:pt x="13657" y="1920"/>
                  </a:lnTo>
                  <a:lnTo>
                    <a:pt x="13803" y="2047"/>
                  </a:lnTo>
                  <a:lnTo>
                    <a:pt x="13943" y="2179"/>
                  </a:lnTo>
                  <a:lnTo>
                    <a:pt x="14076" y="2319"/>
                  </a:lnTo>
                  <a:lnTo>
                    <a:pt x="14203" y="2464"/>
                  </a:lnTo>
                  <a:lnTo>
                    <a:pt x="14323" y="2616"/>
                  </a:lnTo>
                  <a:lnTo>
                    <a:pt x="14435" y="2773"/>
                  </a:lnTo>
                  <a:lnTo>
                    <a:pt x="14540" y="2937"/>
                  </a:lnTo>
                  <a:lnTo>
                    <a:pt x="14637" y="3105"/>
                  </a:lnTo>
                  <a:lnTo>
                    <a:pt x="14726" y="3277"/>
                  </a:lnTo>
                  <a:lnTo>
                    <a:pt x="14807" y="3456"/>
                  </a:lnTo>
                  <a:lnTo>
                    <a:pt x="14879" y="3638"/>
                  </a:lnTo>
                  <a:lnTo>
                    <a:pt x="14942" y="3824"/>
                  </a:lnTo>
                  <a:lnTo>
                    <a:pt x="14997" y="4015"/>
                  </a:lnTo>
                  <a:lnTo>
                    <a:pt x="15042" y="4209"/>
                  </a:lnTo>
                  <a:lnTo>
                    <a:pt x="15077" y="4406"/>
                  </a:lnTo>
                  <a:lnTo>
                    <a:pt x="15104" y="4607"/>
                  </a:lnTo>
                  <a:lnTo>
                    <a:pt x="15119" y="4812"/>
                  </a:lnTo>
                  <a:lnTo>
                    <a:pt x="15124" y="5018"/>
                  </a:lnTo>
                  <a:lnTo>
                    <a:pt x="15119" y="5225"/>
                  </a:lnTo>
                  <a:lnTo>
                    <a:pt x="15104" y="5428"/>
                  </a:lnTo>
                  <a:lnTo>
                    <a:pt x="15077" y="5629"/>
                  </a:lnTo>
                  <a:lnTo>
                    <a:pt x="15042" y="5827"/>
                  </a:lnTo>
                  <a:lnTo>
                    <a:pt x="14997" y="6021"/>
                  </a:lnTo>
                  <a:lnTo>
                    <a:pt x="14942" y="6212"/>
                  </a:lnTo>
                  <a:lnTo>
                    <a:pt x="14879" y="6398"/>
                  </a:lnTo>
                  <a:lnTo>
                    <a:pt x="14807" y="6581"/>
                  </a:lnTo>
                  <a:lnTo>
                    <a:pt x="14726" y="6758"/>
                  </a:lnTo>
                  <a:lnTo>
                    <a:pt x="14637" y="6932"/>
                  </a:lnTo>
                  <a:lnTo>
                    <a:pt x="14540" y="7100"/>
                  </a:lnTo>
                  <a:lnTo>
                    <a:pt x="14435" y="7262"/>
                  </a:lnTo>
                  <a:lnTo>
                    <a:pt x="14323" y="7420"/>
                  </a:lnTo>
                  <a:lnTo>
                    <a:pt x="14203" y="7571"/>
                  </a:lnTo>
                  <a:lnTo>
                    <a:pt x="14076" y="7718"/>
                  </a:lnTo>
                  <a:lnTo>
                    <a:pt x="13943" y="7856"/>
                  </a:lnTo>
                  <a:lnTo>
                    <a:pt x="13803" y="7990"/>
                  </a:lnTo>
                  <a:lnTo>
                    <a:pt x="13657" y="8116"/>
                  </a:lnTo>
                  <a:lnTo>
                    <a:pt x="13505" y="8235"/>
                  </a:lnTo>
                  <a:lnTo>
                    <a:pt x="13346" y="8347"/>
                  </a:lnTo>
                  <a:lnTo>
                    <a:pt x="13182" y="8452"/>
                  </a:lnTo>
                  <a:lnTo>
                    <a:pt x="13013" y="8548"/>
                  </a:lnTo>
                  <a:lnTo>
                    <a:pt x="12840" y="8637"/>
                  </a:lnTo>
                  <a:lnTo>
                    <a:pt x="12661" y="8718"/>
                  </a:lnTo>
                  <a:lnTo>
                    <a:pt x="12478" y="8789"/>
                  </a:lnTo>
                  <a:lnTo>
                    <a:pt x="12291" y="8852"/>
                  </a:lnTo>
                  <a:lnTo>
                    <a:pt x="12099" y="8906"/>
                  </a:lnTo>
                  <a:lnTo>
                    <a:pt x="11904" y="8951"/>
                  </a:lnTo>
                  <a:lnTo>
                    <a:pt x="11706" y="8987"/>
                  </a:lnTo>
                  <a:lnTo>
                    <a:pt x="11504" y="9012"/>
                  </a:lnTo>
                  <a:lnTo>
                    <a:pt x="11298" y="9028"/>
                  </a:lnTo>
                  <a:lnTo>
                    <a:pt x="11092" y="9033"/>
                  </a:lnTo>
                  <a:close/>
                  <a:moveTo>
                    <a:pt x="11092" y="0"/>
                  </a:moveTo>
                  <a:lnTo>
                    <a:pt x="10832" y="7"/>
                  </a:lnTo>
                  <a:lnTo>
                    <a:pt x="10577" y="26"/>
                  </a:lnTo>
                  <a:lnTo>
                    <a:pt x="10323" y="58"/>
                  </a:lnTo>
                  <a:lnTo>
                    <a:pt x="10075" y="102"/>
                  </a:lnTo>
                  <a:lnTo>
                    <a:pt x="9831" y="158"/>
                  </a:lnTo>
                  <a:lnTo>
                    <a:pt x="9592" y="226"/>
                  </a:lnTo>
                  <a:lnTo>
                    <a:pt x="9359" y="304"/>
                  </a:lnTo>
                  <a:lnTo>
                    <a:pt x="9130" y="394"/>
                  </a:lnTo>
                  <a:lnTo>
                    <a:pt x="8906" y="495"/>
                  </a:lnTo>
                  <a:lnTo>
                    <a:pt x="8689" y="605"/>
                  </a:lnTo>
                  <a:lnTo>
                    <a:pt x="8477" y="727"/>
                  </a:lnTo>
                  <a:lnTo>
                    <a:pt x="8274" y="857"/>
                  </a:lnTo>
                  <a:lnTo>
                    <a:pt x="8076" y="997"/>
                  </a:lnTo>
                  <a:lnTo>
                    <a:pt x="7886" y="1146"/>
                  </a:lnTo>
                  <a:lnTo>
                    <a:pt x="7702" y="1304"/>
                  </a:lnTo>
                  <a:lnTo>
                    <a:pt x="7528" y="1469"/>
                  </a:lnTo>
                  <a:lnTo>
                    <a:pt x="7360" y="1644"/>
                  </a:lnTo>
                  <a:lnTo>
                    <a:pt x="7202" y="1826"/>
                  </a:lnTo>
                  <a:lnTo>
                    <a:pt x="7053" y="2016"/>
                  </a:lnTo>
                  <a:lnTo>
                    <a:pt x="6912" y="2212"/>
                  </a:lnTo>
                  <a:lnTo>
                    <a:pt x="6780" y="2416"/>
                  </a:lnTo>
                  <a:lnTo>
                    <a:pt x="6659" y="2627"/>
                  </a:lnTo>
                  <a:lnTo>
                    <a:pt x="6548" y="2843"/>
                  </a:lnTo>
                  <a:lnTo>
                    <a:pt x="6447" y="3064"/>
                  </a:lnTo>
                  <a:lnTo>
                    <a:pt x="6357" y="3293"/>
                  </a:lnTo>
                  <a:lnTo>
                    <a:pt x="6277" y="3526"/>
                  </a:lnTo>
                  <a:lnTo>
                    <a:pt x="6210" y="3764"/>
                  </a:lnTo>
                  <a:lnTo>
                    <a:pt x="6153" y="4007"/>
                  </a:lnTo>
                  <a:lnTo>
                    <a:pt x="6109" y="4254"/>
                  </a:lnTo>
                  <a:lnTo>
                    <a:pt x="6077" y="4505"/>
                  </a:lnTo>
                  <a:lnTo>
                    <a:pt x="6058" y="4760"/>
                  </a:lnTo>
                  <a:lnTo>
                    <a:pt x="6051" y="5018"/>
                  </a:lnTo>
                  <a:lnTo>
                    <a:pt x="6052" y="5078"/>
                  </a:lnTo>
                  <a:lnTo>
                    <a:pt x="6053" y="5138"/>
                  </a:lnTo>
                  <a:lnTo>
                    <a:pt x="6055" y="5198"/>
                  </a:lnTo>
                  <a:lnTo>
                    <a:pt x="6058" y="5259"/>
                  </a:lnTo>
                  <a:lnTo>
                    <a:pt x="6061" y="5318"/>
                  </a:lnTo>
                  <a:lnTo>
                    <a:pt x="6065" y="5377"/>
                  </a:lnTo>
                  <a:lnTo>
                    <a:pt x="6070" y="5436"/>
                  </a:lnTo>
                  <a:lnTo>
                    <a:pt x="6076" y="5496"/>
                  </a:lnTo>
                  <a:lnTo>
                    <a:pt x="6082" y="5554"/>
                  </a:lnTo>
                  <a:lnTo>
                    <a:pt x="6089" y="5612"/>
                  </a:lnTo>
                  <a:lnTo>
                    <a:pt x="6097" y="5670"/>
                  </a:lnTo>
                  <a:lnTo>
                    <a:pt x="6106" y="5728"/>
                  </a:lnTo>
                  <a:lnTo>
                    <a:pt x="6115" y="5787"/>
                  </a:lnTo>
                  <a:lnTo>
                    <a:pt x="6125" y="5844"/>
                  </a:lnTo>
                  <a:lnTo>
                    <a:pt x="6135" y="5901"/>
                  </a:lnTo>
                  <a:lnTo>
                    <a:pt x="6146" y="5958"/>
                  </a:lnTo>
                  <a:lnTo>
                    <a:pt x="6158" y="6015"/>
                  </a:lnTo>
                  <a:lnTo>
                    <a:pt x="6171" y="6072"/>
                  </a:lnTo>
                  <a:lnTo>
                    <a:pt x="6185" y="6128"/>
                  </a:lnTo>
                  <a:lnTo>
                    <a:pt x="6198" y="6184"/>
                  </a:lnTo>
                  <a:lnTo>
                    <a:pt x="6213" y="6240"/>
                  </a:lnTo>
                  <a:lnTo>
                    <a:pt x="6228" y="6296"/>
                  </a:lnTo>
                  <a:lnTo>
                    <a:pt x="6243" y="6352"/>
                  </a:lnTo>
                  <a:lnTo>
                    <a:pt x="6259" y="6407"/>
                  </a:lnTo>
                  <a:lnTo>
                    <a:pt x="6276" y="6461"/>
                  </a:lnTo>
                  <a:lnTo>
                    <a:pt x="6293" y="6516"/>
                  </a:lnTo>
                  <a:lnTo>
                    <a:pt x="6312" y="6571"/>
                  </a:lnTo>
                  <a:lnTo>
                    <a:pt x="6331" y="6625"/>
                  </a:lnTo>
                  <a:lnTo>
                    <a:pt x="6350" y="6679"/>
                  </a:lnTo>
                  <a:lnTo>
                    <a:pt x="6369" y="6732"/>
                  </a:lnTo>
                  <a:lnTo>
                    <a:pt x="6389" y="6786"/>
                  </a:lnTo>
                  <a:lnTo>
                    <a:pt x="6410" y="6840"/>
                  </a:lnTo>
                  <a:lnTo>
                    <a:pt x="286" y="12935"/>
                  </a:lnTo>
                  <a:lnTo>
                    <a:pt x="254" y="12968"/>
                  </a:lnTo>
                  <a:lnTo>
                    <a:pt x="224" y="13002"/>
                  </a:lnTo>
                  <a:lnTo>
                    <a:pt x="195" y="13035"/>
                  </a:lnTo>
                  <a:lnTo>
                    <a:pt x="167" y="13068"/>
                  </a:lnTo>
                  <a:lnTo>
                    <a:pt x="142" y="13102"/>
                  </a:lnTo>
                  <a:lnTo>
                    <a:pt x="118" y="13136"/>
                  </a:lnTo>
                  <a:lnTo>
                    <a:pt x="107" y="13153"/>
                  </a:lnTo>
                  <a:lnTo>
                    <a:pt x="97" y="13171"/>
                  </a:lnTo>
                  <a:lnTo>
                    <a:pt x="87" y="13189"/>
                  </a:lnTo>
                  <a:lnTo>
                    <a:pt x="77" y="13207"/>
                  </a:lnTo>
                  <a:lnTo>
                    <a:pt x="68" y="13225"/>
                  </a:lnTo>
                  <a:lnTo>
                    <a:pt x="59" y="13244"/>
                  </a:lnTo>
                  <a:lnTo>
                    <a:pt x="51" y="13264"/>
                  </a:lnTo>
                  <a:lnTo>
                    <a:pt x="44" y="13283"/>
                  </a:lnTo>
                  <a:lnTo>
                    <a:pt x="37" y="13303"/>
                  </a:lnTo>
                  <a:lnTo>
                    <a:pt x="31" y="13323"/>
                  </a:lnTo>
                  <a:lnTo>
                    <a:pt x="25" y="13344"/>
                  </a:lnTo>
                  <a:lnTo>
                    <a:pt x="20" y="13364"/>
                  </a:lnTo>
                  <a:lnTo>
                    <a:pt x="15" y="13386"/>
                  </a:lnTo>
                  <a:lnTo>
                    <a:pt x="11" y="13407"/>
                  </a:lnTo>
                  <a:lnTo>
                    <a:pt x="8" y="13430"/>
                  </a:lnTo>
                  <a:lnTo>
                    <a:pt x="5" y="13452"/>
                  </a:lnTo>
                  <a:lnTo>
                    <a:pt x="3" y="13475"/>
                  </a:lnTo>
                  <a:lnTo>
                    <a:pt x="1" y="13499"/>
                  </a:lnTo>
                  <a:lnTo>
                    <a:pt x="0" y="13524"/>
                  </a:lnTo>
                  <a:lnTo>
                    <a:pt x="0" y="13549"/>
                  </a:lnTo>
                  <a:lnTo>
                    <a:pt x="0" y="15054"/>
                  </a:lnTo>
                  <a:lnTo>
                    <a:pt x="1" y="15104"/>
                  </a:lnTo>
                  <a:lnTo>
                    <a:pt x="5" y="15155"/>
                  </a:lnTo>
                  <a:lnTo>
                    <a:pt x="12" y="15203"/>
                  </a:lnTo>
                  <a:lnTo>
                    <a:pt x="21" y="15252"/>
                  </a:lnTo>
                  <a:lnTo>
                    <a:pt x="33" y="15299"/>
                  </a:lnTo>
                  <a:lnTo>
                    <a:pt x="46" y="15346"/>
                  </a:lnTo>
                  <a:lnTo>
                    <a:pt x="64" y="15393"/>
                  </a:lnTo>
                  <a:lnTo>
                    <a:pt x="82" y="15438"/>
                  </a:lnTo>
                  <a:lnTo>
                    <a:pt x="103" y="15482"/>
                  </a:lnTo>
                  <a:lnTo>
                    <a:pt x="125" y="15525"/>
                  </a:lnTo>
                  <a:lnTo>
                    <a:pt x="150" y="15567"/>
                  </a:lnTo>
                  <a:lnTo>
                    <a:pt x="176" y="15608"/>
                  </a:lnTo>
                  <a:lnTo>
                    <a:pt x="206" y="15647"/>
                  </a:lnTo>
                  <a:lnTo>
                    <a:pt x="236" y="15686"/>
                  </a:lnTo>
                  <a:lnTo>
                    <a:pt x="268" y="15723"/>
                  </a:lnTo>
                  <a:lnTo>
                    <a:pt x="301" y="15758"/>
                  </a:lnTo>
                  <a:lnTo>
                    <a:pt x="337" y="15791"/>
                  </a:lnTo>
                  <a:lnTo>
                    <a:pt x="374" y="15823"/>
                  </a:lnTo>
                  <a:lnTo>
                    <a:pt x="412" y="15853"/>
                  </a:lnTo>
                  <a:lnTo>
                    <a:pt x="452" y="15882"/>
                  </a:lnTo>
                  <a:lnTo>
                    <a:pt x="493" y="15908"/>
                  </a:lnTo>
                  <a:lnTo>
                    <a:pt x="535" y="15934"/>
                  </a:lnTo>
                  <a:lnTo>
                    <a:pt x="579" y="15956"/>
                  </a:lnTo>
                  <a:lnTo>
                    <a:pt x="623" y="15977"/>
                  </a:lnTo>
                  <a:lnTo>
                    <a:pt x="668" y="15995"/>
                  </a:lnTo>
                  <a:lnTo>
                    <a:pt x="715" y="16012"/>
                  </a:lnTo>
                  <a:lnTo>
                    <a:pt x="762" y="16025"/>
                  </a:lnTo>
                  <a:lnTo>
                    <a:pt x="810" y="16037"/>
                  </a:lnTo>
                  <a:lnTo>
                    <a:pt x="859" y="16046"/>
                  </a:lnTo>
                  <a:lnTo>
                    <a:pt x="907" y="16053"/>
                  </a:lnTo>
                  <a:lnTo>
                    <a:pt x="958" y="16057"/>
                  </a:lnTo>
                  <a:lnTo>
                    <a:pt x="1008" y="16058"/>
                  </a:lnTo>
                  <a:lnTo>
                    <a:pt x="2521" y="16058"/>
                  </a:lnTo>
                  <a:lnTo>
                    <a:pt x="2546" y="16058"/>
                  </a:lnTo>
                  <a:lnTo>
                    <a:pt x="2570" y="16057"/>
                  </a:lnTo>
                  <a:lnTo>
                    <a:pt x="2594" y="16055"/>
                  </a:lnTo>
                  <a:lnTo>
                    <a:pt x="2617" y="16053"/>
                  </a:lnTo>
                  <a:lnTo>
                    <a:pt x="2640" y="16050"/>
                  </a:lnTo>
                  <a:lnTo>
                    <a:pt x="2663" y="16047"/>
                  </a:lnTo>
                  <a:lnTo>
                    <a:pt x="2685" y="16043"/>
                  </a:lnTo>
                  <a:lnTo>
                    <a:pt x="2706" y="16039"/>
                  </a:lnTo>
                  <a:lnTo>
                    <a:pt x="2727" y="16033"/>
                  </a:lnTo>
                  <a:lnTo>
                    <a:pt x="2747" y="16028"/>
                  </a:lnTo>
                  <a:lnTo>
                    <a:pt x="2768" y="16022"/>
                  </a:lnTo>
                  <a:lnTo>
                    <a:pt x="2788" y="16015"/>
                  </a:lnTo>
                  <a:lnTo>
                    <a:pt x="2808" y="16008"/>
                  </a:lnTo>
                  <a:lnTo>
                    <a:pt x="2827" y="16000"/>
                  </a:lnTo>
                  <a:lnTo>
                    <a:pt x="2845" y="15991"/>
                  </a:lnTo>
                  <a:lnTo>
                    <a:pt x="2864" y="15983"/>
                  </a:lnTo>
                  <a:lnTo>
                    <a:pt x="2883" y="15973"/>
                  </a:lnTo>
                  <a:lnTo>
                    <a:pt x="2901" y="15963"/>
                  </a:lnTo>
                  <a:lnTo>
                    <a:pt x="2919" y="15953"/>
                  </a:lnTo>
                  <a:lnTo>
                    <a:pt x="2936" y="15942"/>
                  </a:lnTo>
                  <a:lnTo>
                    <a:pt x="2971" y="15918"/>
                  </a:lnTo>
                  <a:lnTo>
                    <a:pt x="3005" y="15893"/>
                  </a:lnTo>
                  <a:lnTo>
                    <a:pt x="3039" y="15866"/>
                  </a:lnTo>
                  <a:lnTo>
                    <a:pt x="3072" y="15837"/>
                  </a:lnTo>
                  <a:lnTo>
                    <a:pt x="3105" y="15807"/>
                  </a:lnTo>
                  <a:lnTo>
                    <a:pt x="3139" y="15775"/>
                  </a:lnTo>
                  <a:lnTo>
                    <a:pt x="3862" y="15054"/>
                  </a:lnTo>
                  <a:lnTo>
                    <a:pt x="5042" y="15054"/>
                  </a:lnTo>
                  <a:lnTo>
                    <a:pt x="5095" y="15053"/>
                  </a:lnTo>
                  <a:lnTo>
                    <a:pt x="5146" y="15049"/>
                  </a:lnTo>
                  <a:lnTo>
                    <a:pt x="5197" y="15043"/>
                  </a:lnTo>
                  <a:lnTo>
                    <a:pt x="5246" y="15034"/>
                  </a:lnTo>
                  <a:lnTo>
                    <a:pt x="5294" y="15022"/>
                  </a:lnTo>
                  <a:lnTo>
                    <a:pt x="5343" y="15009"/>
                  </a:lnTo>
                  <a:lnTo>
                    <a:pt x="5389" y="14993"/>
                  </a:lnTo>
                  <a:lnTo>
                    <a:pt x="5434" y="14975"/>
                  </a:lnTo>
                  <a:lnTo>
                    <a:pt x="5480" y="14955"/>
                  </a:lnTo>
                  <a:lnTo>
                    <a:pt x="5523" y="14933"/>
                  </a:lnTo>
                  <a:lnTo>
                    <a:pt x="5566" y="14909"/>
                  </a:lnTo>
                  <a:lnTo>
                    <a:pt x="5606" y="14883"/>
                  </a:lnTo>
                  <a:lnTo>
                    <a:pt x="5646" y="14855"/>
                  </a:lnTo>
                  <a:lnTo>
                    <a:pt x="5684" y="14825"/>
                  </a:lnTo>
                  <a:lnTo>
                    <a:pt x="5721" y="14793"/>
                  </a:lnTo>
                  <a:lnTo>
                    <a:pt x="5755" y="14760"/>
                  </a:lnTo>
                  <a:lnTo>
                    <a:pt x="5788" y="14725"/>
                  </a:lnTo>
                  <a:lnTo>
                    <a:pt x="5821" y="14689"/>
                  </a:lnTo>
                  <a:lnTo>
                    <a:pt x="5851" y="14651"/>
                  </a:lnTo>
                  <a:lnTo>
                    <a:pt x="5879" y="14612"/>
                  </a:lnTo>
                  <a:lnTo>
                    <a:pt x="5905" y="14571"/>
                  </a:lnTo>
                  <a:lnTo>
                    <a:pt x="5930" y="14529"/>
                  </a:lnTo>
                  <a:lnTo>
                    <a:pt x="5952" y="14486"/>
                  </a:lnTo>
                  <a:lnTo>
                    <a:pt x="5972" y="14441"/>
                  </a:lnTo>
                  <a:lnTo>
                    <a:pt x="5990" y="14396"/>
                  </a:lnTo>
                  <a:lnTo>
                    <a:pt x="6005" y="14349"/>
                  </a:lnTo>
                  <a:lnTo>
                    <a:pt x="6019" y="14301"/>
                  </a:lnTo>
                  <a:lnTo>
                    <a:pt x="6030" y="14253"/>
                  </a:lnTo>
                  <a:lnTo>
                    <a:pt x="6039" y="14203"/>
                  </a:lnTo>
                  <a:lnTo>
                    <a:pt x="6045" y="14153"/>
                  </a:lnTo>
                  <a:lnTo>
                    <a:pt x="6050" y="14103"/>
                  </a:lnTo>
                  <a:lnTo>
                    <a:pt x="6051" y="14050"/>
                  </a:lnTo>
                  <a:lnTo>
                    <a:pt x="6051" y="13047"/>
                  </a:lnTo>
                  <a:lnTo>
                    <a:pt x="7059" y="13047"/>
                  </a:lnTo>
                  <a:lnTo>
                    <a:pt x="7111" y="13046"/>
                  </a:lnTo>
                  <a:lnTo>
                    <a:pt x="7162" y="13042"/>
                  </a:lnTo>
                  <a:lnTo>
                    <a:pt x="7212" y="13036"/>
                  </a:lnTo>
                  <a:lnTo>
                    <a:pt x="7262" y="13027"/>
                  </a:lnTo>
                  <a:lnTo>
                    <a:pt x="7311" y="13016"/>
                  </a:lnTo>
                  <a:lnTo>
                    <a:pt x="7358" y="13002"/>
                  </a:lnTo>
                  <a:lnTo>
                    <a:pt x="7406" y="12987"/>
                  </a:lnTo>
                  <a:lnTo>
                    <a:pt x="7451" y="12968"/>
                  </a:lnTo>
                  <a:lnTo>
                    <a:pt x="7496" y="12948"/>
                  </a:lnTo>
                  <a:lnTo>
                    <a:pt x="7540" y="12926"/>
                  </a:lnTo>
                  <a:lnTo>
                    <a:pt x="7582" y="12902"/>
                  </a:lnTo>
                  <a:lnTo>
                    <a:pt x="7622" y="12875"/>
                  </a:lnTo>
                  <a:lnTo>
                    <a:pt x="7662" y="12848"/>
                  </a:lnTo>
                  <a:lnTo>
                    <a:pt x="7700" y="12818"/>
                  </a:lnTo>
                  <a:lnTo>
                    <a:pt x="7736" y="12786"/>
                  </a:lnTo>
                  <a:lnTo>
                    <a:pt x="7772" y="12753"/>
                  </a:lnTo>
                  <a:lnTo>
                    <a:pt x="7805" y="12719"/>
                  </a:lnTo>
                  <a:lnTo>
                    <a:pt x="7837" y="12681"/>
                  </a:lnTo>
                  <a:lnTo>
                    <a:pt x="7866" y="12644"/>
                  </a:lnTo>
                  <a:lnTo>
                    <a:pt x="7895" y="12604"/>
                  </a:lnTo>
                  <a:lnTo>
                    <a:pt x="7921" y="12564"/>
                  </a:lnTo>
                  <a:lnTo>
                    <a:pt x="7945" y="12522"/>
                  </a:lnTo>
                  <a:lnTo>
                    <a:pt x="7967" y="12479"/>
                  </a:lnTo>
                  <a:lnTo>
                    <a:pt x="7987" y="12433"/>
                  </a:lnTo>
                  <a:lnTo>
                    <a:pt x="8006" y="12388"/>
                  </a:lnTo>
                  <a:lnTo>
                    <a:pt x="8022" y="12342"/>
                  </a:lnTo>
                  <a:lnTo>
                    <a:pt x="8036" y="12294"/>
                  </a:lnTo>
                  <a:lnTo>
                    <a:pt x="8047" y="12246"/>
                  </a:lnTo>
                  <a:lnTo>
                    <a:pt x="8056" y="12197"/>
                  </a:lnTo>
                  <a:lnTo>
                    <a:pt x="8062" y="12146"/>
                  </a:lnTo>
                  <a:lnTo>
                    <a:pt x="8066" y="12095"/>
                  </a:lnTo>
                  <a:lnTo>
                    <a:pt x="8067" y="12043"/>
                  </a:lnTo>
                  <a:lnTo>
                    <a:pt x="8067" y="10868"/>
                  </a:lnTo>
                  <a:lnTo>
                    <a:pt x="9262" y="9678"/>
                  </a:lnTo>
                  <a:lnTo>
                    <a:pt x="9315" y="9698"/>
                  </a:lnTo>
                  <a:lnTo>
                    <a:pt x="9369" y="9718"/>
                  </a:lnTo>
                  <a:lnTo>
                    <a:pt x="9423" y="9738"/>
                  </a:lnTo>
                  <a:lnTo>
                    <a:pt x="9477" y="9757"/>
                  </a:lnTo>
                  <a:lnTo>
                    <a:pt x="9531" y="9776"/>
                  </a:lnTo>
                  <a:lnTo>
                    <a:pt x="9586" y="9794"/>
                  </a:lnTo>
                  <a:lnTo>
                    <a:pt x="9641" y="9812"/>
                  </a:lnTo>
                  <a:lnTo>
                    <a:pt x="9696" y="9828"/>
                  </a:lnTo>
                  <a:lnTo>
                    <a:pt x="9752" y="9844"/>
                  </a:lnTo>
                  <a:lnTo>
                    <a:pt x="9807" y="9860"/>
                  </a:lnTo>
                  <a:lnTo>
                    <a:pt x="9864" y="9875"/>
                  </a:lnTo>
                  <a:lnTo>
                    <a:pt x="9919" y="9889"/>
                  </a:lnTo>
                  <a:lnTo>
                    <a:pt x="9976" y="9903"/>
                  </a:lnTo>
                  <a:lnTo>
                    <a:pt x="10033" y="9916"/>
                  </a:lnTo>
                  <a:lnTo>
                    <a:pt x="10090" y="9929"/>
                  </a:lnTo>
                  <a:lnTo>
                    <a:pt x="10147" y="9941"/>
                  </a:lnTo>
                  <a:lnTo>
                    <a:pt x="10204" y="9952"/>
                  </a:lnTo>
                  <a:lnTo>
                    <a:pt x="10262" y="9962"/>
                  </a:lnTo>
                  <a:lnTo>
                    <a:pt x="10319" y="9972"/>
                  </a:lnTo>
                  <a:lnTo>
                    <a:pt x="10378" y="9981"/>
                  </a:lnTo>
                  <a:lnTo>
                    <a:pt x="10435" y="9990"/>
                  </a:lnTo>
                  <a:lnTo>
                    <a:pt x="10495" y="9998"/>
                  </a:lnTo>
                  <a:lnTo>
                    <a:pt x="10553" y="10005"/>
                  </a:lnTo>
                  <a:lnTo>
                    <a:pt x="10612" y="10011"/>
                  </a:lnTo>
                  <a:lnTo>
                    <a:pt x="10671" y="10017"/>
                  </a:lnTo>
                  <a:lnTo>
                    <a:pt x="10731" y="10022"/>
                  </a:lnTo>
                  <a:lnTo>
                    <a:pt x="10790" y="10026"/>
                  </a:lnTo>
                  <a:lnTo>
                    <a:pt x="10850" y="10030"/>
                  </a:lnTo>
                  <a:lnTo>
                    <a:pt x="10910" y="10032"/>
                  </a:lnTo>
                  <a:lnTo>
                    <a:pt x="10971" y="10034"/>
                  </a:lnTo>
                  <a:lnTo>
                    <a:pt x="11031" y="10035"/>
                  </a:lnTo>
                  <a:lnTo>
                    <a:pt x="11092" y="10037"/>
                  </a:lnTo>
                  <a:lnTo>
                    <a:pt x="11351" y="10029"/>
                  </a:lnTo>
                  <a:lnTo>
                    <a:pt x="11607" y="10010"/>
                  </a:lnTo>
                  <a:lnTo>
                    <a:pt x="11859" y="9978"/>
                  </a:lnTo>
                  <a:lnTo>
                    <a:pt x="12107" y="9934"/>
                  </a:lnTo>
                  <a:lnTo>
                    <a:pt x="12351" y="9878"/>
                  </a:lnTo>
                  <a:lnTo>
                    <a:pt x="12590" y="9811"/>
                  </a:lnTo>
                  <a:lnTo>
                    <a:pt x="12824" y="9731"/>
                  </a:lnTo>
                  <a:lnTo>
                    <a:pt x="13054" y="9642"/>
                  </a:lnTo>
                  <a:lnTo>
                    <a:pt x="13277" y="9542"/>
                  </a:lnTo>
                  <a:lnTo>
                    <a:pt x="13494" y="9430"/>
                  </a:lnTo>
                  <a:lnTo>
                    <a:pt x="13705" y="9310"/>
                  </a:lnTo>
                  <a:lnTo>
                    <a:pt x="13910" y="9179"/>
                  </a:lnTo>
                  <a:lnTo>
                    <a:pt x="14107" y="9039"/>
                  </a:lnTo>
                  <a:lnTo>
                    <a:pt x="14298" y="8890"/>
                  </a:lnTo>
                  <a:lnTo>
                    <a:pt x="14480" y="8733"/>
                  </a:lnTo>
                  <a:lnTo>
                    <a:pt x="14656" y="8566"/>
                  </a:lnTo>
                  <a:lnTo>
                    <a:pt x="14822" y="8392"/>
                  </a:lnTo>
                  <a:lnTo>
                    <a:pt x="14981" y="8210"/>
                  </a:lnTo>
                  <a:lnTo>
                    <a:pt x="15131" y="8020"/>
                  </a:lnTo>
                  <a:lnTo>
                    <a:pt x="15271" y="7823"/>
                  </a:lnTo>
                  <a:lnTo>
                    <a:pt x="15402" y="7620"/>
                  </a:lnTo>
                  <a:lnTo>
                    <a:pt x="15524" y="7410"/>
                  </a:lnTo>
                  <a:lnTo>
                    <a:pt x="15635" y="7194"/>
                  </a:lnTo>
                  <a:lnTo>
                    <a:pt x="15736" y="6971"/>
                  </a:lnTo>
                  <a:lnTo>
                    <a:pt x="15827" y="6743"/>
                  </a:lnTo>
                  <a:lnTo>
                    <a:pt x="15905" y="6510"/>
                  </a:lnTo>
                  <a:lnTo>
                    <a:pt x="15974" y="6272"/>
                  </a:lnTo>
                  <a:lnTo>
                    <a:pt x="16029" y="6030"/>
                  </a:lnTo>
                  <a:lnTo>
                    <a:pt x="16074" y="5783"/>
                  </a:lnTo>
                  <a:lnTo>
                    <a:pt x="16106" y="5531"/>
                  </a:lnTo>
                  <a:lnTo>
                    <a:pt x="16125" y="5277"/>
                  </a:lnTo>
                  <a:lnTo>
                    <a:pt x="16132" y="5018"/>
                  </a:lnTo>
                  <a:lnTo>
                    <a:pt x="16125" y="4760"/>
                  </a:lnTo>
                  <a:lnTo>
                    <a:pt x="16106" y="4505"/>
                  </a:lnTo>
                  <a:lnTo>
                    <a:pt x="16074" y="4254"/>
                  </a:lnTo>
                  <a:lnTo>
                    <a:pt x="16029" y="4007"/>
                  </a:lnTo>
                  <a:lnTo>
                    <a:pt x="15974" y="3764"/>
                  </a:lnTo>
                  <a:lnTo>
                    <a:pt x="15905" y="3526"/>
                  </a:lnTo>
                  <a:lnTo>
                    <a:pt x="15827" y="3293"/>
                  </a:lnTo>
                  <a:lnTo>
                    <a:pt x="15736" y="3064"/>
                  </a:lnTo>
                  <a:lnTo>
                    <a:pt x="15635" y="2843"/>
                  </a:lnTo>
                  <a:lnTo>
                    <a:pt x="15524" y="2627"/>
                  </a:lnTo>
                  <a:lnTo>
                    <a:pt x="15402" y="2416"/>
                  </a:lnTo>
                  <a:lnTo>
                    <a:pt x="15271" y="2212"/>
                  </a:lnTo>
                  <a:lnTo>
                    <a:pt x="15131" y="2016"/>
                  </a:lnTo>
                  <a:lnTo>
                    <a:pt x="14981" y="1826"/>
                  </a:lnTo>
                  <a:lnTo>
                    <a:pt x="14822" y="1644"/>
                  </a:lnTo>
                  <a:lnTo>
                    <a:pt x="14656" y="1469"/>
                  </a:lnTo>
                  <a:lnTo>
                    <a:pt x="14480" y="1304"/>
                  </a:lnTo>
                  <a:lnTo>
                    <a:pt x="14298" y="1146"/>
                  </a:lnTo>
                  <a:lnTo>
                    <a:pt x="14107" y="997"/>
                  </a:lnTo>
                  <a:lnTo>
                    <a:pt x="13910" y="857"/>
                  </a:lnTo>
                  <a:lnTo>
                    <a:pt x="13705" y="727"/>
                  </a:lnTo>
                  <a:lnTo>
                    <a:pt x="13494" y="605"/>
                  </a:lnTo>
                  <a:lnTo>
                    <a:pt x="13277" y="495"/>
                  </a:lnTo>
                  <a:lnTo>
                    <a:pt x="13054" y="394"/>
                  </a:lnTo>
                  <a:lnTo>
                    <a:pt x="12824" y="304"/>
                  </a:lnTo>
                  <a:lnTo>
                    <a:pt x="12590" y="226"/>
                  </a:lnTo>
                  <a:lnTo>
                    <a:pt x="12351" y="158"/>
                  </a:lnTo>
                  <a:lnTo>
                    <a:pt x="12107" y="102"/>
                  </a:lnTo>
                  <a:lnTo>
                    <a:pt x="11859" y="58"/>
                  </a:lnTo>
                  <a:lnTo>
                    <a:pt x="11607" y="26"/>
                  </a:lnTo>
                  <a:lnTo>
                    <a:pt x="11351" y="7"/>
                  </a:lnTo>
                  <a:lnTo>
                    <a:pt x="1109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1" name="iśḷîďe">
              <a:extLst>
                <a:ext uri="{FF2B5EF4-FFF2-40B4-BE49-F238E27FC236}">
                  <a16:creationId xmlns:a16="http://schemas.microsoft.com/office/drawing/2014/main" id="{441A6301-787E-408E-B5D5-A056199B955C}"/>
                </a:ext>
              </a:extLst>
            </p:cNvPr>
            <p:cNvSpPr/>
            <p:nvPr/>
          </p:nvSpPr>
          <p:spPr bwMode="auto">
            <a:xfrm>
              <a:off x="2059861" y="304832"/>
              <a:ext cx="98445" cy="98445"/>
            </a:xfrm>
            <a:custGeom>
              <a:avLst/>
              <a:gdLst>
                <a:gd name="T0" fmla="*/ 2086 w 4033"/>
                <a:gd name="T1" fmla="*/ 3257 h 4014"/>
                <a:gd name="T2" fmla="*/ 1694 w 4033"/>
                <a:gd name="T3" fmla="*/ 2926 h 4014"/>
                <a:gd name="T4" fmla="*/ 1325 w 4033"/>
                <a:gd name="T5" fmla="*/ 2575 h 4014"/>
                <a:gd name="T6" fmla="*/ 979 w 4033"/>
                <a:gd name="T7" fmla="*/ 2204 h 4014"/>
                <a:gd name="T8" fmla="*/ 655 w 4033"/>
                <a:gd name="T9" fmla="*/ 1813 h 4014"/>
                <a:gd name="T10" fmla="*/ 562 w 4033"/>
                <a:gd name="T11" fmla="*/ 1461 h 4014"/>
                <a:gd name="T12" fmla="*/ 707 w 4033"/>
                <a:gd name="T13" fmla="*/ 1190 h 4014"/>
                <a:gd name="T14" fmla="*/ 889 w 4033"/>
                <a:gd name="T15" fmla="*/ 956 h 4014"/>
                <a:gd name="T16" fmla="*/ 1108 w 4033"/>
                <a:gd name="T17" fmla="*/ 761 h 4014"/>
                <a:gd name="T18" fmla="*/ 1362 w 4033"/>
                <a:gd name="T19" fmla="*/ 603 h 4014"/>
                <a:gd name="T20" fmla="*/ 1672 w 4033"/>
                <a:gd name="T21" fmla="*/ 548 h 4014"/>
                <a:gd name="T22" fmla="*/ 2078 w 4033"/>
                <a:gd name="T23" fmla="*/ 864 h 4014"/>
                <a:gd name="T24" fmla="*/ 2462 w 4033"/>
                <a:gd name="T25" fmla="*/ 1202 h 4014"/>
                <a:gd name="T26" fmla="*/ 2823 w 4033"/>
                <a:gd name="T27" fmla="*/ 1561 h 4014"/>
                <a:gd name="T28" fmla="*/ 3161 w 4033"/>
                <a:gd name="T29" fmla="*/ 1942 h 4014"/>
                <a:gd name="T30" fmla="*/ 3476 w 4033"/>
                <a:gd name="T31" fmla="*/ 2341 h 4014"/>
                <a:gd name="T32" fmla="*/ 3422 w 4033"/>
                <a:gd name="T33" fmla="*/ 2653 h 4014"/>
                <a:gd name="T34" fmla="*/ 3263 w 4033"/>
                <a:gd name="T35" fmla="*/ 2910 h 4014"/>
                <a:gd name="T36" fmla="*/ 3070 w 4033"/>
                <a:gd name="T37" fmla="*/ 3129 h 4014"/>
                <a:gd name="T38" fmla="*/ 2840 w 4033"/>
                <a:gd name="T39" fmla="*/ 3311 h 4014"/>
                <a:gd name="T40" fmla="*/ 2575 w 4033"/>
                <a:gd name="T41" fmla="*/ 3456 h 4014"/>
                <a:gd name="T42" fmla="*/ 3833 w 4033"/>
                <a:gd name="T43" fmla="*/ 1979 h 4014"/>
                <a:gd name="T44" fmla="*/ 3494 w 4033"/>
                <a:gd name="T45" fmla="*/ 1556 h 4014"/>
                <a:gd name="T46" fmla="*/ 3130 w 4033"/>
                <a:gd name="T47" fmla="*/ 1155 h 4014"/>
                <a:gd name="T48" fmla="*/ 2742 w 4033"/>
                <a:gd name="T49" fmla="*/ 776 h 4014"/>
                <a:gd name="T50" fmla="*/ 2331 w 4033"/>
                <a:gd name="T51" fmla="*/ 421 h 4014"/>
                <a:gd name="T52" fmla="*/ 1897 w 4033"/>
                <a:gd name="T53" fmla="*/ 91 h 4014"/>
                <a:gd name="T54" fmla="*/ 1739 w 4033"/>
                <a:gd name="T55" fmla="*/ 16 h 4014"/>
                <a:gd name="T56" fmla="*/ 1566 w 4033"/>
                <a:gd name="T57" fmla="*/ 2 h 4014"/>
                <a:gd name="T58" fmla="*/ 1323 w 4033"/>
                <a:gd name="T59" fmla="*/ 76 h 4014"/>
                <a:gd name="T60" fmla="*/ 968 w 4033"/>
                <a:gd name="T61" fmla="*/ 254 h 4014"/>
                <a:gd name="T62" fmla="*/ 661 w 4033"/>
                <a:gd name="T63" fmla="*/ 480 h 4014"/>
                <a:gd name="T64" fmla="*/ 401 w 4033"/>
                <a:gd name="T65" fmla="*/ 755 h 4014"/>
                <a:gd name="T66" fmla="*/ 189 w 4033"/>
                <a:gd name="T67" fmla="*/ 1078 h 4014"/>
                <a:gd name="T68" fmla="*/ 27 w 4033"/>
                <a:gd name="T69" fmla="*/ 1446 h 4014"/>
                <a:gd name="T70" fmla="*/ 1 w 4033"/>
                <a:gd name="T71" fmla="*/ 1565 h 4014"/>
                <a:gd name="T72" fmla="*/ 6 w 4033"/>
                <a:gd name="T73" fmla="*/ 1681 h 4014"/>
                <a:gd name="T74" fmla="*/ 36 w 4033"/>
                <a:gd name="T75" fmla="*/ 1789 h 4014"/>
                <a:gd name="T76" fmla="*/ 90 w 4033"/>
                <a:gd name="T77" fmla="*/ 1889 h 4014"/>
                <a:gd name="T78" fmla="*/ 422 w 4033"/>
                <a:gd name="T79" fmla="*/ 2319 h 4014"/>
                <a:gd name="T80" fmla="*/ 779 w 4033"/>
                <a:gd name="T81" fmla="*/ 2729 h 4014"/>
                <a:gd name="T82" fmla="*/ 1159 w 4033"/>
                <a:gd name="T83" fmla="*/ 3114 h 4014"/>
                <a:gd name="T84" fmla="*/ 1562 w 4033"/>
                <a:gd name="T85" fmla="*/ 3478 h 4014"/>
                <a:gd name="T86" fmla="*/ 1987 w 4033"/>
                <a:gd name="T87" fmla="*/ 3816 h 4014"/>
                <a:gd name="T88" fmla="*/ 2237 w 4033"/>
                <a:gd name="T89" fmla="*/ 3979 h 4014"/>
                <a:gd name="T90" fmla="*/ 2406 w 4033"/>
                <a:gd name="T91" fmla="*/ 4014 h 4014"/>
                <a:gd name="T92" fmla="*/ 2579 w 4033"/>
                <a:gd name="T93" fmla="*/ 3986 h 4014"/>
                <a:gd name="T94" fmla="*/ 2949 w 4033"/>
                <a:gd name="T95" fmla="*/ 3825 h 4014"/>
                <a:gd name="T96" fmla="*/ 3272 w 4033"/>
                <a:gd name="T97" fmla="*/ 3614 h 4014"/>
                <a:gd name="T98" fmla="*/ 3549 w 4033"/>
                <a:gd name="T99" fmla="*/ 3356 h 4014"/>
                <a:gd name="T100" fmla="*/ 3776 w 4033"/>
                <a:gd name="T101" fmla="*/ 3049 h 4014"/>
                <a:gd name="T102" fmla="*/ 3956 w 4033"/>
                <a:gd name="T103" fmla="*/ 2696 h 4014"/>
                <a:gd name="T104" fmla="*/ 4025 w 4033"/>
                <a:gd name="T105" fmla="*/ 2488 h 4014"/>
                <a:gd name="T106" fmla="*/ 4030 w 4033"/>
                <a:gd name="T107" fmla="*/ 2370 h 4014"/>
                <a:gd name="T108" fmla="*/ 4008 w 4033"/>
                <a:gd name="T109" fmla="*/ 2260 h 4014"/>
                <a:gd name="T110" fmla="*/ 3962 w 4033"/>
                <a:gd name="T111" fmla="*/ 2157 h 40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033" h="4014">
                  <a:moveTo>
                    <a:pt x="2428" y="3516"/>
                  </a:moveTo>
                  <a:lnTo>
                    <a:pt x="2359" y="3465"/>
                  </a:lnTo>
                  <a:lnTo>
                    <a:pt x="2289" y="3414"/>
                  </a:lnTo>
                  <a:lnTo>
                    <a:pt x="2221" y="3362"/>
                  </a:lnTo>
                  <a:lnTo>
                    <a:pt x="2153" y="3310"/>
                  </a:lnTo>
                  <a:lnTo>
                    <a:pt x="2086" y="3257"/>
                  </a:lnTo>
                  <a:lnTo>
                    <a:pt x="2019" y="3203"/>
                  </a:lnTo>
                  <a:lnTo>
                    <a:pt x="1953" y="3149"/>
                  </a:lnTo>
                  <a:lnTo>
                    <a:pt x="1888" y="3095"/>
                  </a:lnTo>
                  <a:lnTo>
                    <a:pt x="1822" y="3039"/>
                  </a:lnTo>
                  <a:lnTo>
                    <a:pt x="1759" y="2984"/>
                  </a:lnTo>
                  <a:lnTo>
                    <a:pt x="1694" y="2926"/>
                  </a:lnTo>
                  <a:lnTo>
                    <a:pt x="1632" y="2869"/>
                  </a:lnTo>
                  <a:lnTo>
                    <a:pt x="1569" y="2812"/>
                  </a:lnTo>
                  <a:lnTo>
                    <a:pt x="1507" y="2754"/>
                  </a:lnTo>
                  <a:lnTo>
                    <a:pt x="1446" y="2695"/>
                  </a:lnTo>
                  <a:lnTo>
                    <a:pt x="1385" y="2635"/>
                  </a:lnTo>
                  <a:lnTo>
                    <a:pt x="1325" y="2575"/>
                  </a:lnTo>
                  <a:lnTo>
                    <a:pt x="1266" y="2514"/>
                  </a:lnTo>
                  <a:lnTo>
                    <a:pt x="1207" y="2453"/>
                  </a:lnTo>
                  <a:lnTo>
                    <a:pt x="1149" y="2391"/>
                  </a:lnTo>
                  <a:lnTo>
                    <a:pt x="1091" y="2329"/>
                  </a:lnTo>
                  <a:lnTo>
                    <a:pt x="1035" y="2267"/>
                  </a:lnTo>
                  <a:lnTo>
                    <a:pt x="979" y="2204"/>
                  </a:lnTo>
                  <a:lnTo>
                    <a:pt x="923" y="2140"/>
                  </a:lnTo>
                  <a:lnTo>
                    <a:pt x="869" y="2075"/>
                  </a:lnTo>
                  <a:lnTo>
                    <a:pt x="814" y="2011"/>
                  </a:lnTo>
                  <a:lnTo>
                    <a:pt x="761" y="1946"/>
                  </a:lnTo>
                  <a:lnTo>
                    <a:pt x="707" y="1880"/>
                  </a:lnTo>
                  <a:lnTo>
                    <a:pt x="655" y="1813"/>
                  </a:lnTo>
                  <a:lnTo>
                    <a:pt x="603" y="1747"/>
                  </a:lnTo>
                  <a:lnTo>
                    <a:pt x="553" y="1680"/>
                  </a:lnTo>
                  <a:lnTo>
                    <a:pt x="503" y="1612"/>
                  </a:lnTo>
                  <a:lnTo>
                    <a:pt x="522" y="1560"/>
                  </a:lnTo>
                  <a:lnTo>
                    <a:pt x="541" y="1510"/>
                  </a:lnTo>
                  <a:lnTo>
                    <a:pt x="562" y="1461"/>
                  </a:lnTo>
                  <a:lnTo>
                    <a:pt x="583" y="1413"/>
                  </a:lnTo>
                  <a:lnTo>
                    <a:pt x="606" y="1367"/>
                  </a:lnTo>
                  <a:lnTo>
                    <a:pt x="630" y="1320"/>
                  </a:lnTo>
                  <a:lnTo>
                    <a:pt x="655" y="1275"/>
                  </a:lnTo>
                  <a:lnTo>
                    <a:pt x="681" y="1232"/>
                  </a:lnTo>
                  <a:lnTo>
                    <a:pt x="707" y="1190"/>
                  </a:lnTo>
                  <a:lnTo>
                    <a:pt x="736" y="1148"/>
                  </a:lnTo>
                  <a:lnTo>
                    <a:pt x="764" y="1108"/>
                  </a:lnTo>
                  <a:lnTo>
                    <a:pt x="794" y="1069"/>
                  </a:lnTo>
                  <a:lnTo>
                    <a:pt x="824" y="1030"/>
                  </a:lnTo>
                  <a:lnTo>
                    <a:pt x="857" y="992"/>
                  </a:lnTo>
                  <a:lnTo>
                    <a:pt x="889" y="956"/>
                  </a:lnTo>
                  <a:lnTo>
                    <a:pt x="923" y="921"/>
                  </a:lnTo>
                  <a:lnTo>
                    <a:pt x="958" y="887"/>
                  </a:lnTo>
                  <a:lnTo>
                    <a:pt x="994" y="854"/>
                  </a:lnTo>
                  <a:lnTo>
                    <a:pt x="1031" y="822"/>
                  </a:lnTo>
                  <a:lnTo>
                    <a:pt x="1068" y="791"/>
                  </a:lnTo>
                  <a:lnTo>
                    <a:pt x="1108" y="761"/>
                  </a:lnTo>
                  <a:lnTo>
                    <a:pt x="1147" y="732"/>
                  </a:lnTo>
                  <a:lnTo>
                    <a:pt x="1188" y="704"/>
                  </a:lnTo>
                  <a:lnTo>
                    <a:pt x="1231" y="677"/>
                  </a:lnTo>
                  <a:lnTo>
                    <a:pt x="1273" y="651"/>
                  </a:lnTo>
                  <a:lnTo>
                    <a:pt x="1317" y="626"/>
                  </a:lnTo>
                  <a:lnTo>
                    <a:pt x="1362" y="603"/>
                  </a:lnTo>
                  <a:lnTo>
                    <a:pt x="1408" y="580"/>
                  </a:lnTo>
                  <a:lnTo>
                    <a:pt x="1455" y="558"/>
                  </a:lnTo>
                  <a:lnTo>
                    <a:pt x="1503" y="537"/>
                  </a:lnTo>
                  <a:lnTo>
                    <a:pt x="1552" y="516"/>
                  </a:lnTo>
                  <a:lnTo>
                    <a:pt x="1603" y="497"/>
                  </a:lnTo>
                  <a:lnTo>
                    <a:pt x="1672" y="548"/>
                  </a:lnTo>
                  <a:lnTo>
                    <a:pt x="1741" y="599"/>
                  </a:lnTo>
                  <a:lnTo>
                    <a:pt x="1809" y="651"/>
                  </a:lnTo>
                  <a:lnTo>
                    <a:pt x="1877" y="703"/>
                  </a:lnTo>
                  <a:lnTo>
                    <a:pt x="1944" y="756"/>
                  </a:lnTo>
                  <a:lnTo>
                    <a:pt x="2011" y="810"/>
                  </a:lnTo>
                  <a:lnTo>
                    <a:pt x="2078" y="864"/>
                  </a:lnTo>
                  <a:lnTo>
                    <a:pt x="2143" y="919"/>
                  </a:lnTo>
                  <a:lnTo>
                    <a:pt x="2208" y="974"/>
                  </a:lnTo>
                  <a:lnTo>
                    <a:pt x="2272" y="1030"/>
                  </a:lnTo>
                  <a:lnTo>
                    <a:pt x="2336" y="1087"/>
                  </a:lnTo>
                  <a:lnTo>
                    <a:pt x="2399" y="1144"/>
                  </a:lnTo>
                  <a:lnTo>
                    <a:pt x="2462" y="1202"/>
                  </a:lnTo>
                  <a:lnTo>
                    <a:pt x="2523" y="1260"/>
                  </a:lnTo>
                  <a:lnTo>
                    <a:pt x="2585" y="1319"/>
                  </a:lnTo>
                  <a:lnTo>
                    <a:pt x="2645" y="1379"/>
                  </a:lnTo>
                  <a:lnTo>
                    <a:pt x="2705" y="1439"/>
                  </a:lnTo>
                  <a:lnTo>
                    <a:pt x="2764" y="1500"/>
                  </a:lnTo>
                  <a:lnTo>
                    <a:pt x="2823" y="1561"/>
                  </a:lnTo>
                  <a:lnTo>
                    <a:pt x="2881" y="1624"/>
                  </a:lnTo>
                  <a:lnTo>
                    <a:pt x="2939" y="1686"/>
                  </a:lnTo>
                  <a:lnTo>
                    <a:pt x="2995" y="1749"/>
                  </a:lnTo>
                  <a:lnTo>
                    <a:pt x="3051" y="1812"/>
                  </a:lnTo>
                  <a:lnTo>
                    <a:pt x="3107" y="1877"/>
                  </a:lnTo>
                  <a:lnTo>
                    <a:pt x="3161" y="1942"/>
                  </a:lnTo>
                  <a:lnTo>
                    <a:pt x="3216" y="2007"/>
                  </a:lnTo>
                  <a:lnTo>
                    <a:pt x="3269" y="2072"/>
                  </a:lnTo>
                  <a:lnTo>
                    <a:pt x="3322" y="2139"/>
                  </a:lnTo>
                  <a:lnTo>
                    <a:pt x="3374" y="2206"/>
                  </a:lnTo>
                  <a:lnTo>
                    <a:pt x="3426" y="2273"/>
                  </a:lnTo>
                  <a:lnTo>
                    <a:pt x="3476" y="2341"/>
                  </a:lnTo>
                  <a:lnTo>
                    <a:pt x="3526" y="2410"/>
                  </a:lnTo>
                  <a:lnTo>
                    <a:pt x="3507" y="2461"/>
                  </a:lnTo>
                  <a:lnTo>
                    <a:pt x="3487" y="2511"/>
                  </a:lnTo>
                  <a:lnTo>
                    <a:pt x="3466" y="2559"/>
                  </a:lnTo>
                  <a:lnTo>
                    <a:pt x="3445" y="2607"/>
                  </a:lnTo>
                  <a:lnTo>
                    <a:pt x="3422" y="2653"/>
                  </a:lnTo>
                  <a:lnTo>
                    <a:pt x="3397" y="2700"/>
                  </a:lnTo>
                  <a:lnTo>
                    <a:pt x="3373" y="2744"/>
                  </a:lnTo>
                  <a:lnTo>
                    <a:pt x="3347" y="2787"/>
                  </a:lnTo>
                  <a:lnTo>
                    <a:pt x="3320" y="2829"/>
                  </a:lnTo>
                  <a:lnTo>
                    <a:pt x="3292" y="2870"/>
                  </a:lnTo>
                  <a:lnTo>
                    <a:pt x="3263" y="2910"/>
                  </a:lnTo>
                  <a:lnTo>
                    <a:pt x="3234" y="2950"/>
                  </a:lnTo>
                  <a:lnTo>
                    <a:pt x="3203" y="2988"/>
                  </a:lnTo>
                  <a:lnTo>
                    <a:pt x="3171" y="3025"/>
                  </a:lnTo>
                  <a:lnTo>
                    <a:pt x="3138" y="3061"/>
                  </a:lnTo>
                  <a:lnTo>
                    <a:pt x="3105" y="3095"/>
                  </a:lnTo>
                  <a:lnTo>
                    <a:pt x="3070" y="3129"/>
                  </a:lnTo>
                  <a:lnTo>
                    <a:pt x="3034" y="3162"/>
                  </a:lnTo>
                  <a:lnTo>
                    <a:pt x="2997" y="3193"/>
                  </a:lnTo>
                  <a:lnTo>
                    <a:pt x="2960" y="3225"/>
                  </a:lnTo>
                  <a:lnTo>
                    <a:pt x="2920" y="3255"/>
                  </a:lnTo>
                  <a:lnTo>
                    <a:pt x="2881" y="3283"/>
                  </a:lnTo>
                  <a:lnTo>
                    <a:pt x="2840" y="3311"/>
                  </a:lnTo>
                  <a:lnTo>
                    <a:pt x="2798" y="3338"/>
                  </a:lnTo>
                  <a:lnTo>
                    <a:pt x="2756" y="3363"/>
                  </a:lnTo>
                  <a:lnTo>
                    <a:pt x="2712" y="3388"/>
                  </a:lnTo>
                  <a:lnTo>
                    <a:pt x="2667" y="3411"/>
                  </a:lnTo>
                  <a:lnTo>
                    <a:pt x="2621" y="3434"/>
                  </a:lnTo>
                  <a:lnTo>
                    <a:pt x="2575" y="3456"/>
                  </a:lnTo>
                  <a:lnTo>
                    <a:pt x="2526" y="3477"/>
                  </a:lnTo>
                  <a:lnTo>
                    <a:pt x="2478" y="3497"/>
                  </a:lnTo>
                  <a:lnTo>
                    <a:pt x="2428" y="3516"/>
                  </a:lnTo>
                  <a:close/>
                  <a:moveTo>
                    <a:pt x="3941" y="2124"/>
                  </a:moveTo>
                  <a:lnTo>
                    <a:pt x="3887" y="2052"/>
                  </a:lnTo>
                  <a:lnTo>
                    <a:pt x="3833" y="1979"/>
                  </a:lnTo>
                  <a:lnTo>
                    <a:pt x="3778" y="1907"/>
                  </a:lnTo>
                  <a:lnTo>
                    <a:pt x="3723" y="1835"/>
                  </a:lnTo>
                  <a:lnTo>
                    <a:pt x="3667" y="1765"/>
                  </a:lnTo>
                  <a:lnTo>
                    <a:pt x="3610" y="1695"/>
                  </a:lnTo>
                  <a:lnTo>
                    <a:pt x="3553" y="1625"/>
                  </a:lnTo>
                  <a:lnTo>
                    <a:pt x="3494" y="1556"/>
                  </a:lnTo>
                  <a:lnTo>
                    <a:pt x="3435" y="1487"/>
                  </a:lnTo>
                  <a:lnTo>
                    <a:pt x="3375" y="1420"/>
                  </a:lnTo>
                  <a:lnTo>
                    <a:pt x="3315" y="1353"/>
                  </a:lnTo>
                  <a:lnTo>
                    <a:pt x="3254" y="1286"/>
                  </a:lnTo>
                  <a:lnTo>
                    <a:pt x="3193" y="1220"/>
                  </a:lnTo>
                  <a:lnTo>
                    <a:pt x="3130" y="1155"/>
                  </a:lnTo>
                  <a:lnTo>
                    <a:pt x="3067" y="1091"/>
                  </a:lnTo>
                  <a:lnTo>
                    <a:pt x="3003" y="1026"/>
                  </a:lnTo>
                  <a:lnTo>
                    <a:pt x="2939" y="963"/>
                  </a:lnTo>
                  <a:lnTo>
                    <a:pt x="2874" y="900"/>
                  </a:lnTo>
                  <a:lnTo>
                    <a:pt x="2808" y="838"/>
                  </a:lnTo>
                  <a:lnTo>
                    <a:pt x="2742" y="776"/>
                  </a:lnTo>
                  <a:lnTo>
                    <a:pt x="2674" y="715"/>
                  </a:lnTo>
                  <a:lnTo>
                    <a:pt x="2607" y="655"/>
                  </a:lnTo>
                  <a:lnTo>
                    <a:pt x="2539" y="596"/>
                  </a:lnTo>
                  <a:lnTo>
                    <a:pt x="2470" y="538"/>
                  </a:lnTo>
                  <a:lnTo>
                    <a:pt x="2400" y="479"/>
                  </a:lnTo>
                  <a:lnTo>
                    <a:pt x="2331" y="421"/>
                  </a:lnTo>
                  <a:lnTo>
                    <a:pt x="2260" y="365"/>
                  </a:lnTo>
                  <a:lnTo>
                    <a:pt x="2188" y="309"/>
                  </a:lnTo>
                  <a:lnTo>
                    <a:pt x="2117" y="252"/>
                  </a:lnTo>
                  <a:lnTo>
                    <a:pt x="2044" y="198"/>
                  </a:lnTo>
                  <a:lnTo>
                    <a:pt x="1971" y="144"/>
                  </a:lnTo>
                  <a:lnTo>
                    <a:pt x="1897" y="91"/>
                  </a:lnTo>
                  <a:lnTo>
                    <a:pt x="1872" y="74"/>
                  </a:lnTo>
                  <a:lnTo>
                    <a:pt x="1847" y="59"/>
                  </a:lnTo>
                  <a:lnTo>
                    <a:pt x="1820" y="46"/>
                  </a:lnTo>
                  <a:lnTo>
                    <a:pt x="1793" y="34"/>
                  </a:lnTo>
                  <a:lnTo>
                    <a:pt x="1766" y="24"/>
                  </a:lnTo>
                  <a:lnTo>
                    <a:pt x="1739" y="16"/>
                  </a:lnTo>
                  <a:lnTo>
                    <a:pt x="1711" y="9"/>
                  </a:lnTo>
                  <a:lnTo>
                    <a:pt x="1682" y="4"/>
                  </a:lnTo>
                  <a:lnTo>
                    <a:pt x="1653" y="1"/>
                  </a:lnTo>
                  <a:lnTo>
                    <a:pt x="1624" y="0"/>
                  </a:lnTo>
                  <a:lnTo>
                    <a:pt x="1596" y="0"/>
                  </a:lnTo>
                  <a:lnTo>
                    <a:pt x="1566" y="2"/>
                  </a:lnTo>
                  <a:lnTo>
                    <a:pt x="1537" y="6"/>
                  </a:lnTo>
                  <a:lnTo>
                    <a:pt x="1509" y="11"/>
                  </a:lnTo>
                  <a:lnTo>
                    <a:pt x="1480" y="18"/>
                  </a:lnTo>
                  <a:lnTo>
                    <a:pt x="1451" y="27"/>
                  </a:lnTo>
                  <a:lnTo>
                    <a:pt x="1387" y="51"/>
                  </a:lnTo>
                  <a:lnTo>
                    <a:pt x="1323" y="76"/>
                  </a:lnTo>
                  <a:lnTo>
                    <a:pt x="1261" y="102"/>
                  </a:lnTo>
                  <a:lnTo>
                    <a:pt x="1199" y="130"/>
                  </a:lnTo>
                  <a:lnTo>
                    <a:pt x="1140" y="159"/>
                  </a:lnTo>
                  <a:lnTo>
                    <a:pt x="1081" y="189"/>
                  </a:lnTo>
                  <a:lnTo>
                    <a:pt x="1024" y="220"/>
                  </a:lnTo>
                  <a:lnTo>
                    <a:pt x="968" y="254"/>
                  </a:lnTo>
                  <a:lnTo>
                    <a:pt x="914" y="289"/>
                  </a:lnTo>
                  <a:lnTo>
                    <a:pt x="861" y="325"/>
                  </a:lnTo>
                  <a:lnTo>
                    <a:pt x="808" y="361"/>
                  </a:lnTo>
                  <a:lnTo>
                    <a:pt x="758" y="400"/>
                  </a:lnTo>
                  <a:lnTo>
                    <a:pt x="708" y="439"/>
                  </a:lnTo>
                  <a:lnTo>
                    <a:pt x="661" y="480"/>
                  </a:lnTo>
                  <a:lnTo>
                    <a:pt x="615" y="523"/>
                  </a:lnTo>
                  <a:lnTo>
                    <a:pt x="569" y="567"/>
                  </a:lnTo>
                  <a:lnTo>
                    <a:pt x="525" y="612"/>
                  </a:lnTo>
                  <a:lnTo>
                    <a:pt x="482" y="658"/>
                  </a:lnTo>
                  <a:lnTo>
                    <a:pt x="441" y="706"/>
                  </a:lnTo>
                  <a:lnTo>
                    <a:pt x="401" y="755"/>
                  </a:lnTo>
                  <a:lnTo>
                    <a:pt x="362" y="806"/>
                  </a:lnTo>
                  <a:lnTo>
                    <a:pt x="325" y="857"/>
                  </a:lnTo>
                  <a:lnTo>
                    <a:pt x="289" y="910"/>
                  </a:lnTo>
                  <a:lnTo>
                    <a:pt x="255" y="964"/>
                  </a:lnTo>
                  <a:lnTo>
                    <a:pt x="221" y="1020"/>
                  </a:lnTo>
                  <a:lnTo>
                    <a:pt x="189" y="1078"/>
                  </a:lnTo>
                  <a:lnTo>
                    <a:pt x="159" y="1135"/>
                  </a:lnTo>
                  <a:lnTo>
                    <a:pt x="130" y="1195"/>
                  </a:lnTo>
                  <a:lnTo>
                    <a:pt x="102" y="1255"/>
                  </a:lnTo>
                  <a:lnTo>
                    <a:pt x="75" y="1317"/>
                  </a:lnTo>
                  <a:lnTo>
                    <a:pt x="51" y="1381"/>
                  </a:lnTo>
                  <a:lnTo>
                    <a:pt x="27" y="1446"/>
                  </a:lnTo>
                  <a:lnTo>
                    <a:pt x="21" y="1465"/>
                  </a:lnTo>
                  <a:lnTo>
                    <a:pt x="15" y="1485"/>
                  </a:lnTo>
                  <a:lnTo>
                    <a:pt x="10" y="1505"/>
                  </a:lnTo>
                  <a:lnTo>
                    <a:pt x="6" y="1525"/>
                  </a:lnTo>
                  <a:lnTo>
                    <a:pt x="4" y="1545"/>
                  </a:lnTo>
                  <a:lnTo>
                    <a:pt x="1" y="1565"/>
                  </a:lnTo>
                  <a:lnTo>
                    <a:pt x="0" y="1585"/>
                  </a:lnTo>
                  <a:lnTo>
                    <a:pt x="0" y="1606"/>
                  </a:lnTo>
                  <a:lnTo>
                    <a:pt x="0" y="1625"/>
                  </a:lnTo>
                  <a:lnTo>
                    <a:pt x="1" y="1644"/>
                  </a:lnTo>
                  <a:lnTo>
                    <a:pt x="3" y="1662"/>
                  </a:lnTo>
                  <a:lnTo>
                    <a:pt x="6" y="1681"/>
                  </a:lnTo>
                  <a:lnTo>
                    <a:pt x="9" y="1699"/>
                  </a:lnTo>
                  <a:lnTo>
                    <a:pt x="13" y="1717"/>
                  </a:lnTo>
                  <a:lnTo>
                    <a:pt x="18" y="1736"/>
                  </a:lnTo>
                  <a:lnTo>
                    <a:pt x="23" y="1754"/>
                  </a:lnTo>
                  <a:lnTo>
                    <a:pt x="29" y="1771"/>
                  </a:lnTo>
                  <a:lnTo>
                    <a:pt x="36" y="1789"/>
                  </a:lnTo>
                  <a:lnTo>
                    <a:pt x="43" y="1806"/>
                  </a:lnTo>
                  <a:lnTo>
                    <a:pt x="51" y="1823"/>
                  </a:lnTo>
                  <a:lnTo>
                    <a:pt x="60" y="1840"/>
                  </a:lnTo>
                  <a:lnTo>
                    <a:pt x="70" y="1856"/>
                  </a:lnTo>
                  <a:lnTo>
                    <a:pt x="80" y="1873"/>
                  </a:lnTo>
                  <a:lnTo>
                    <a:pt x="90" y="1889"/>
                  </a:lnTo>
                  <a:lnTo>
                    <a:pt x="145" y="1962"/>
                  </a:lnTo>
                  <a:lnTo>
                    <a:pt x="198" y="2035"/>
                  </a:lnTo>
                  <a:lnTo>
                    <a:pt x="254" y="2107"/>
                  </a:lnTo>
                  <a:lnTo>
                    <a:pt x="309" y="2179"/>
                  </a:lnTo>
                  <a:lnTo>
                    <a:pt x="365" y="2249"/>
                  </a:lnTo>
                  <a:lnTo>
                    <a:pt x="422" y="2319"/>
                  </a:lnTo>
                  <a:lnTo>
                    <a:pt x="480" y="2389"/>
                  </a:lnTo>
                  <a:lnTo>
                    <a:pt x="539" y="2459"/>
                  </a:lnTo>
                  <a:lnTo>
                    <a:pt x="597" y="2527"/>
                  </a:lnTo>
                  <a:lnTo>
                    <a:pt x="657" y="2595"/>
                  </a:lnTo>
                  <a:lnTo>
                    <a:pt x="717" y="2661"/>
                  </a:lnTo>
                  <a:lnTo>
                    <a:pt x="779" y="2729"/>
                  </a:lnTo>
                  <a:lnTo>
                    <a:pt x="840" y="2795"/>
                  </a:lnTo>
                  <a:lnTo>
                    <a:pt x="903" y="2860"/>
                  </a:lnTo>
                  <a:lnTo>
                    <a:pt x="965" y="2924"/>
                  </a:lnTo>
                  <a:lnTo>
                    <a:pt x="1029" y="2989"/>
                  </a:lnTo>
                  <a:lnTo>
                    <a:pt x="1093" y="3052"/>
                  </a:lnTo>
                  <a:lnTo>
                    <a:pt x="1159" y="3114"/>
                  </a:lnTo>
                  <a:lnTo>
                    <a:pt x="1225" y="3176"/>
                  </a:lnTo>
                  <a:lnTo>
                    <a:pt x="1291" y="3239"/>
                  </a:lnTo>
                  <a:lnTo>
                    <a:pt x="1358" y="3299"/>
                  </a:lnTo>
                  <a:lnTo>
                    <a:pt x="1425" y="3359"/>
                  </a:lnTo>
                  <a:lnTo>
                    <a:pt x="1493" y="3418"/>
                  </a:lnTo>
                  <a:lnTo>
                    <a:pt x="1562" y="3478"/>
                  </a:lnTo>
                  <a:lnTo>
                    <a:pt x="1631" y="3536"/>
                  </a:lnTo>
                  <a:lnTo>
                    <a:pt x="1701" y="3593"/>
                  </a:lnTo>
                  <a:lnTo>
                    <a:pt x="1772" y="3649"/>
                  </a:lnTo>
                  <a:lnTo>
                    <a:pt x="1843" y="3705"/>
                  </a:lnTo>
                  <a:lnTo>
                    <a:pt x="1915" y="3761"/>
                  </a:lnTo>
                  <a:lnTo>
                    <a:pt x="1987" y="3816"/>
                  </a:lnTo>
                  <a:lnTo>
                    <a:pt x="2060" y="3870"/>
                  </a:lnTo>
                  <a:lnTo>
                    <a:pt x="2134" y="3923"/>
                  </a:lnTo>
                  <a:lnTo>
                    <a:pt x="2158" y="3939"/>
                  </a:lnTo>
                  <a:lnTo>
                    <a:pt x="2183" y="3954"/>
                  </a:lnTo>
                  <a:lnTo>
                    <a:pt x="2210" y="3967"/>
                  </a:lnTo>
                  <a:lnTo>
                    <a:pt x="2237" y="3979"/>
                  </a:lnTo>
                  <a:lnTo>
                    <a:pt x="2264" y="3988"/>
                  </a:lnTo>
                  <a:lnTo>
                    <a:pt x="2291" y="3997"/>
                  </a:lnTo>
                  <a:lnTo>
                    <a:pt x="2319" y="4003"/>
                  </a:lnTo>
                  <a:lnTo>
                    <a:pt x="2348" y="4008"/>
                  </a:lnTo>
                  <a:lnTo>
                    <a:pt x="2377" y="4011"/>
                  </a:lnTo>
                  <a:lnTo>
                    <a:pt x="2406" y="4014"/>
                  </a:lnTo>
                  <a:lnTo>
                    <a:pt x="2434" y="4014"/>
                  </a:lnTo>
                  <a:lnTo>
                    <a:pt x="2464" y="4011"/>
                  </a:lnTo>
                  <a:lnTo>
                    <a:pt x="2493" y="4007"/>
                  </a:lnTo>
                  <a:lnTo>
                    <a:pt x="2521" y="4002"/>
                  </a:lnTo>
                  <a:lnTo>
                    <a:pt x="2550" y="3995"/>
                  </a:lnTo>
                  <a:lnTo>
                    <a:pt x="2579" y="3986"/>
                  </a:lnTo>
                  <a:lnTo>
                    <a:pt x="2643" y="3963"/>
                  </a:lnTo>
                  <a:lnTo>
                    <a:pt x="2707" y="3938"/>
                  </a:lnTo>
                  <a:lnTo>
                    <a:pt x="2769" y="3912"/>
                  </a:lnTo>
                  <a:lnTo>
                    <a:pt x="2831" y="3884"/>
                  </a:lnTo>
                  <a:lnTo>
                    <a:pt x="2890" y="3855"/>
                  </a:lnTo>
                  <a:lnTo>
                    <a:pt x="2949" y="3825"/>
                  </a:lnTo>
                  <a:lnTo>
                    <a:pt x="3006" y="3793"/>
                  </a:lnTo>
                  <a:lnTo>
                    <a:pt x="3062" y="3760"/>
                  </a:lnTo>
                  <a:lnTo>
                    <a:pt x="3116" y="3725"/>
                  </a:lnTo>
                  <a:lnTo>
                    <a:pt x="3169" y="3690"/>
                  </a:lnTo>
                  <a:lnTo>
                    <a:pt x="3222" y="3653"/>
                  </a:lnTo>
                  <a:lnTo>
                    <a:pt x="3272" y="3614"/>
                  </a:lnTo>
                  <a:lnTo>
                    <a:pt x="3322" y="3575"/>
                  </a:lnTo>
                  <a:lnTo>
                    <a:pt x="3370" y="3534"/>
                  </a:lnTo>
                  <a:lnTo>
                    <a:pt x="3416" y="3491"/>
                  </a:lnTo>
                  <a:lnTo>
                    <a:pt x="3462" y="3447"/>
                  </a:lnTo>
                  <a:lnTo>
                    <a:pt x="3505" y="3402"/>
                  </a:lnTo>
                  <a:lnTo>
                    <a:pt x="3549" y="3356"/>
                  </a:lnTo>
                  <a:lnTo>
                    <a:pt x="3590" y="3308"/>
                  </a:lnTo>
                  <a:lnTo>
                    <a:pt x="3629" y="3259"/>
                  </a:lnTo>
                  <a:lnTo>
                    <a:pt x="3669" y="3208"/>
                  </a:lnTo>
                  <a:lnTo>
                    <a:pt x="3706" y="3156"/>
                  </a:lnTo>
                  <a:lnTo>
                    <a:pt x="3741" y="3104"/>
                  </a:lnTo>
                  <a:lnTo>
                    <a:pt x="3776" y="3049"/>
                  </a:lnTo>
                  <a:lnTo>
                    <a:pt x="3810" y="2994"/>
                  </a:lnTo>
                  <a:lnTo>
                    <a:pt x="3841" y="2936"/>
                  </a:lnTo>
                  <a:lnTo>
                    <a:pt x="3872" y="2878"/>
                  </a:lnTo>
                  <a:lnTo>
                    <a:pt x="3901" y="2819"/>
                  </a:lnTo>
                  <a:lnTo>
                    <a:pt x="3929" y="2758"/>
                  </a:lnTo>
                  <a:lnTo>
                    <a:pt x="3956" y="2696"/>
                  </a:lnTo>
                  <a:lnTo>
                    <a:pt x="3981" y="2632"/>
                  </a:lnTo>
                  <a:lnTo>
                    <a:pt x="4004" y="2567"/>
                  </a:lnTo>
                  <a:lnTo>
                    <a:pt x="4011" y="2548"/>
                  </a:lnTo>
                  <a:lnTo>
                    <a:pt x="4016" y="2528"/>
                  </a:lnTo>
                  <a:lnTo>
                    <a:pt x="4021" y="2508"/>
                  </a:lnTo>
                  <a:lnTo>
                    <a:pt x="4025" y="2488"/>
                  </a:lnTo>
                  <a:lnTo>
                    <a:pt x="4028" y="2468"/>
                  </a:lnTo>
                  <a:lnTo>
                    <a:pt x="4030" y="2448"/>
                  </a:lnTo>
                  <a:lnTo>
                    <a:pt x="4031" y="2428"/>
                  </a:lnTo>
                  <a:lnTo>
                    <a:pt x="4033" y="2408"/>
                  </a:lnTo>
                  <a:lnTo>
                    <a:pt x="4031" y="2388"/>
                  </a:lnTo>
                  <a:lnTo>
                    <a:pt x="4030" y="2370"/>
                  </a:lnTo>
                  <a:lnTo>
                    <a:pt x="4028" y="2351"/>
                  </a:lnTo>
                  <a:lnTo>
                    <a:pt x="4026" y="2333"/>
                  </a:lnTo>
                  <a:lnTo>
                    <a:pt x="4022" y="2314"/>
                  </a:lnTo>
                  <a:lnTo>
                    <a:pt x="4018" y="2296"/>
                  </a:lnTo>
                  <a:lnTo>
                    <a:pt x="4014" y="2278"/>
                  </a:lnTo>
                  <a:lnTo>
                    <a:pt x="4008" y="2260"/>
                  </a:lnTo>
                  <a:lnTo>
                    <a:pt x="4002" y="2242"/>
                  </a:lnTo>
                  <a:lnTo>
                    <a:pt x="3996" y="2225"/>
                  </a:lnTo>
                  <a:lnTo>
                    <a:pt x="3988" y="2208"/>
                  </a:lnTo>
                  <a:lnTo>
                    <a:pt x="3980" y="2191"/>
                  </a:lnTo>
                  <a:lnTo>
                    <a:pt x="3971" y="2174"/>
                  </a:lnTo>
                  <a:lnTo>
                    <a:pt x="3962" y="2157"/>
                  </a:lnTo>
                  <a:lnTo>
                    <a:pt x="3952" y="2141"/>
                  </a:lnTo>
                  <a:lnTo>
                    <a:pt x="3941" y="21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2" name="ïṧliḋê">
              <a:extLst>
                <a:ext uri="{FF2B5EF4-FFF2-40B4-BE49-F238E27FC236}">
                  <a16:creationId xmlns:a16="http://schemas.microsoft.com/office/drawing/2014/main" id="{9848B917-A7E2-4D5B-A341-D166E4567186}"/>
                </a:ext>
              </a:extLst>
            </p:cNvPr>
            <p:cNvSpPr/>
            <p:nvPr/>
          </p:nvSpPr>
          <p:spPr bwMode="auto">
            <a:xfrm>
              <a:off x="1035504" y="462190"/>
              <a:ext cx="253416" cy="253416"/>
            </a:xfrm>
            <a:custGeom>
              <a:avLst/>
              <a:gdLst>
                <a:gd name="T0" fmla="*/ 1728 w 16058"/>
                <a:gd name="T1" fmla="*/ 14638 h 16058"/>
                <a:gd name="T2" fmla="*/ 3386 w 16058"/>
                <a:gd name="T3" fmla="*/ 13906 h 16058"/>
                <a:gd name="T4" fmla="*/ 6601 w 16058"/>
                <a:gd name="T5" fmla="*/ 13102 h 16058"/>
                <a:gd name="T6" fmla="*/ 7078 w 16058"/>
                <a:gd name="T7" fmla="*/ 13353 h 16058"/>
                <a:gd name="T8" fmla="*/ 7587 w 16058"/>
                <a:gd name="T9" fmla="*/ 13508 h 16058"/>
                <a:gd name="T10" fmla="*/ 8129 w 16058"/>
                <a:gd name="T11" fmla="*/ 13547 h 16058"/>
                <a:gd name="T12" fmla="*/ 8659 w 16058"/>
                <a:gd name="T13" fmla="*/ 13463 h 16058"/>
                <a:gd name="T14" fmla="*/ 9157 w 16058"/>
                <a:gd name="T15" fmla="*/ 13272 h 16058"/>
                <a:gd name="T16" fmla="*/ 11208 w 16058"/>
                <a:gd name="T17" fmla="*/ 13452 h 16058"/>
                <a:gd name="T18" fmla="*/ 13356 w 16058"/>
                <a:gd name="T19" fmla="*/ 14177 h 16058"/>
                <a:gd name="T20" fmla="*/ 14695 w 16058"/>
                <a:gd name="T21" fmla="*/ 14838 h 16058"/>
                <a:gd name="T22" fmla="*/ 9777 w 16058"/>
                <a:gd name="T23" fmla="*/ 12192 h 16058"/>
                <a:gd name="T24" fmla="*/ 8416 w 16058"/>
                <a:gd name="T25" fmla="*/ 12945 h 16058"/>
                <a:gd name="T26" fmla="*/ 7006 w 16058"/>
                <a:gd name="T27" fmla="*/ 12723 h 16058"/>
                <a:gd name="T28" fmla="*/ 5634 w 16058"/>
                <a:gd name="T29" fmla="*/ 11403 h 16058"/>
                <a:gd name="T30" fmla="*/ 4552 w 16058"/>
                <a:gd name="T31" fmla="*/ 9346 h 16058"/>
                <a:gd name="T32" fmla="*/ 4053 w 16058"/>
                <a:gd name="T33" fmla="*/ 7080 h 16058"/>
                <a:gd name="T34" fmla="*/ 4198 w 16058"/>
                <a:gd name="T35" fmla="*/ 4790 h 16058"/>
                <a:gd name="T36" fmla="*/ 5024 w 16058"/>
                <a:gd name="T37" fmla="*/ 2717 h 16058"/>
                <a:gd name="T38" fmla="*/ 6605 w 16058"/>
                <a:gd name="T39" fmla="*/ 1301 h 16058"/>
                <a:gd name="T40" fmla="*/ 8884 w 16058"/>
                <a:gd name="T41" fmla="*/ 1104 h 16058"/>
                <a:gd name="T42" fmla="*/ 10680 w 16058"/>
                <a:gd name="T43" fmla="*/ 2241 h 16058"/>
                <a:gd name="T44" fmla="*/ 11706 w 16058"/>
                <a:gd name="T45" fmla="*/ 4191 h 16058"/>
                <a:gd name="T46" fmla="*/ 12030 w 16058"/>
                <a:gd name="T47" fmla="*/ 6447 h 16058"/>
                <a:gd name="T48" fmla="*/ 11702 w 16058"/>
                <a:gd name="T49" fmla="*/ 8742 h 16058"/>
                <a:gd name="T50" fmla="*/ 10773 w 16058"/>
                <a:gd name="T51" fmla="*/ 10872 h 16058"/>
                <a:gd name="T52" fmla="*/ 15305 w 16058"/>
                <a:gd name="T53" fmla="*/ 14031 h 16058"/>
                <a:gd name="T54" fmla="*/ 13948 w 16058"/>
                <a:gd name="T55" fmla="*/ 13341 h 16058"/>
                <a:gd name="T56" fmla="*/ 11699 w 16058"/>
                <a:gd name="T57" fmla="*/ 12544 h 16058"/>
                <a:gd name="T58" fmla="*/ 11640 w 16058"/>
                <a:gd name="T59" fmla="*/ 11349 h 16058"/>
                <a:gd name="T60" fmla="*/ 12357 w 16058"/>
                <a:gd name="T61" fmla="*/ 9858 h 16058"/>
                <a:gd name="T62" fmla="*/ 12814 w 16058"/>
                <a:gd name="T63" fmla="*/ 8482 h 16058"/>
                <a:gd name="T64" fmla="*/ 13046 w 16058"/>
                <a:gd name="T65" fmla="*/ 6642 h 16058"/>
                <a:gd name="T66" fmla="*/ 12760 w 16058"/>
                <a:gd name="T67" fmla="*/ 4210 h 16058"/>
                <a:gd name="T68" fmla="*/ 11731 w 16058"/>
                <a:gd name="T69" fmla="*/ 1892 h 16058"/>
                <a:gd name="T70" fmla="*/ 10669 w 16058"/>
                <a:gd name="T71" fmla="*/ 817 h 16058"/>
                <a:gd name="T72" fmla="*/ 9443 w 16058"/>
                <a:gd name="T73" fmla="*/ 207 h 16058"/>
                <a:gd name="T74" fmla="*/ 8029 w 16058"/>
                <a:gd name="T75" fmla="*/ 0 h 16058"/>
                <a:gd name="T76" fmla="*/ 6615 w 16058"/>
                <a:gd name="T77" fmla="*/ 207 h 16058"/>
                <a:gd name="T78" fmla="*/ 5389 w 16058"/>
                <a:gd name="T79" fmla="*/ 817 h 16058"/>
                <a:gd name="T80" fmla="*/ 4327 w 16058"/>
                <a:gd name="T81" fmla="*/ 1892 h 16058"/>
                <a:gd name="T82" fmla="*/ 3298 w 16058"/>
                <a:gd name="T83" fmla="*/ 4210 h 16058"/>
                <a:gd name="T84" fmla="*/ 3013 w 16058"/>
                <a:gd name="T85" fmla="*/ 6642 h 16058"/>
                <a:gd name="T86" fmla="*/ 3244 w 16058"/>
                <a:gd name="T87" fmla="*/ 8482 h 16058"/>
                <a:gd name="T88" fmla="*/ 3702 w 16058"/>
                <a:gd name="T89" fmla="*/ 9858 h 16058"/>
                <a:gd name="T90" fmla="*/ 4418 w 16058"/>
                <a:gd name="T91" fmla="*/ 11349 h 16058"/>
                <a:gd name="T92" fmla="*/ 4359 w 16058"/>
                <a:gd name="T93" fmla="*/ 12544 h 16058"/>
                <a:gd name="T94" fmla="*/ 2110 w 16058"/>
                <a:gd name="T95" fmla="*/ 13341 h 16058"/>
                <a:gd name="T96" fmla="*/ 753 w 16058"/>
                <a:gd name="T97" fmla="*/ 14031 h 16058"/>
                <a:gd name="T98" fmla="*/ 262 w 16058"/>
                <a:gd name="T99" fmla="*/ 14378 h 16058"/>
                <a:gd name="T100" fmla="*/ 46 w 16058"/>
                <a:gd name="T101" fmla="*/ 14753 h 16058"/>
                <a:gd name="T102" fmla="*/ 9 w 16058"/>
                <a:gd name="T103" fmla="*/ 15185 h 16058"/>
                <a:gd name="T104" fmla="*/ 163 w 16058"/>
                <a:gd name="T105" fmla="*/ 15602 h 16058"/>
                <a:gd name="T106" fmla="*/ 471 w 16058"/>
                <a:gd name="T107" fmla="*/ 15904 h 16058"/>
                <a:gd name="T108" fmla="*/ 881 w 16058"/>
                <a:gd name="T109" fmla="*/ 16050 h 16058"/>
                <a:gd name="T110" fmla="*/ 15334 w 16058"/>
                <a:gd name="T111" fmla="*/ 16018 h 16058"/>
                <a:gd name="T112" fmla="*/ 15714 w 16058"/>
                <a:gd name="T113" fmla="*/ 15811 h 16058"/>
                <a:gd name="T114" fmla="*/ 15972 w 16058"/>
                <a:gd name="T115" fmla="*/ 15461 h 16058"/>
                <a:gd name="T116" fmla="*/ 16057 w 16058"/>
                <a:gd name="T117" fmla="*/ 15025 h 16058"/>
                <a:gd name="T118" fmla="*/ 15953 w 16058"/>
                <a:gd name="T119" fmla="*/ 14607 h 16058"/>
                <a:gd name="T120" fmla="*/ 15678 w 16058"/>
                <a:gd name="T121" fmla="*/ 14267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058" h="16058">
                  <a:moveTo>
                    <a:pt x="1004" y="15054"/>
                  </a:moveTo>
                  <a:lnTo>
                    <a:pt x="1036" y="15033"/>
                  </a:lnTo>
                  <a:lnTo>
                    <a:pt x="1105" y="14990"/>
                  </a:lnTo>
                  <a:lnTo>
                    <a:pt x="1153" y="14961"/>
                  </a:lnTo>
                  <a:lnTo>
                    <a:pt x="1209" y="14927"/>
                  </a:lnTo>
                  <a:lnTo>
                    <a:pt x="1276" y="14888"/>
                  </a:lnTo>
                  <a:lnTo>
                    <a:pt x="1349" y="14845"/>
                  </a:lnTo>
                  <a:lnTo>
                    <a:pt x="1431" y="14798"/>
                  </a:lnTo>
                  <a:lnTo>
                    <a:pt x="1522" y="14748"/>
                  </a:lnTo>
                  <a:lnTo>
                    <a:pt x="1621" y="14694"/>
                  </a:lnTo>
                  <a:lnTo>
                    <a:pt x="1728" y="14638"/>
                  </a:lnTo>
                  <a:lnTo>
                    <a:pt x="1843" y="14579"/>
                  </a:lnTo>
                  <a:lnTo>
                    <a:pt x="1965" y="14517"/>
                  </a:lnTo>
                  <a:lnTo>
                    <a:pt x="2095" y="14453"/>
                  </a:lnTo>
                  <a:lnTo>
                    <a:pt x="2232" y="14388"/>
                  </a:lnTo>
                  <a:lnTo>
                    <a:pt x="2377" y="14322"/>
                  </a:lnTo>
                  <a:lnTo>
                    <a:pt x="2528" y="14253"/>
                  </a:lnTo>
                  <a:lnTo>
                    <a:pt x="2687" y="14184"/>
                  </a:lnTo>
                  <a:lnTo>
                    <a:pt x="2851" y="14115"/>
                  </a:lnTo>
                  <a:lnTo>
                    <a:pt x="3023" y="14045"/>
                  </a:lnTo>
                  <a:lnTo>
                    <a:pt x="3202" y="13975"/>
                  </a:lnTo>
                  <a:lnTo>
                    <a:pt x="3386" y="13906"/>
                  </a:lnTo>
                  <a:lnTo>
                    <a:pt x="3578" y="13837"/>
                  </a:lnTo>
                  <a:lnTo>
                    <a:pt x="3775" y="13769"/>
                  </a:lnTo>
                  <a:lnTo>
                    <a:pt x="3977" y="13702"/>
                  </a:lnTo>
                  <a:lnTo>
                    <a:pt x="4186" y="13637"/>
                  </a:lnTo>
                  <a:lnTo>
                    <a:pt x="4401" y="13574"/>
                  </a:lnTo>
                  <a:lnTo>
                    <a:pt x="4621" y="13513"/>
                  </a:lnTo>
                  <a:lnTo>
                    <a:pt x="4847" y="13453"/>
                  </a:lnTo>
                  <a:lnTo>
                    <a:pt x="5076" y="13397"/>
                  </a:lnTo>
                  <a:lnTo>
                    <a:pt x="5312" y="13345"/>
                  </a:lnTo>
                  <a:lnTo>
                    <a:pt x="6559" y="13075"/>
                  </a:lnTo>
                  <a:lnTo>
                    <a:pt x="6601" y="13102"/>
                  </a:lnTo>
                  <a:lnTo>
                    <a:pt x="6643" y="13128"/>
                  </a:lnTo>
                  <a:lnTo>
                    <a:pt x="6685" y="13154"/>
                  </a:lnTo>
                  <a:lnTo>
                    <a:pt x="6727" y="13179"/>
                  </a:lnTo>
                  <a:lnTo>
                    <a:pt x="6770" y="13204"/>
                  </a:lnTo>
                  <a:lnTo>
                    <a:pt x="6814" y="13228"/>
                  </a:lnTo>
                  <a:lnTo>
                    <a:pt x="6857" y="13250"/>
                  </a:lnTo>
                  <a:lnTo>
                    <a:pt x="6901" y="13272"/>
                  </a:lnTo>
                  <a:lnTo>
                    <a:pt x="6944" y="13294"/>
                  </a:lnTo>
                  <a:lnTo>
                    <a:pt x="6988" y="13314"/>
                  </a:lnTo>
                  <a:lnTo>
                    <a:pt x="7033" y="13334"/>
                  </a:lnTo>
                  <a:lnTo>
                    <a:pt x="7078" y="13353"/>
                  </a:lnTo>
                  <a:lnTo>
                    <a:pt x="7123" y="13371"/>
                  </a:lnTo>
                  <a:lnTo>
                    <a:pt x="7168" y="13389"/>
                  </a:lnTo>
                  <a:lnTo>
                    <a:pt x="7213" y="13405"/>
                  </a:lnTo>
                  <a:lnTo>
                    <a:pt x="7259" y="13421"/>
                  </a:lnTo>
                  <a:lnTo>
                    <a:pt x="7305" y="13436"/>
                  </a:lnTo>
                  <a:lnTo>
                    <a:pt x="7352" y="13450"/>
                  </a:lnTo>
                  <a:lnTo>
                    <a:pt x="7399" y="13463"/>
                  </a:lnTo>
                  <a:lnTo>
                    <a:pt x="7445" y="13476"/>
                  </a:lnTo>
                  <a:lnTo>
                    <a:pt x="7492" y="13488"/>
                  </a:lnTo>
                  <a:lnTo>
                    <a:pt x="7539" y="13498"/>
                  </a:lnTo>
                  <a:lnTo>
                    <a:pt x="7587" y="13508"/>
                  </a:lnTo>
                  <a:lnTo>
                    <a:pt x="7636" y="13516"/>
                  </a:lnTo>
                  <a:lnTo>
                    <a:pt x="7684" y="13524"/>
                  </a:lnTo>
                  <a:lnTo>
                    <a:pt x="7732" y="13531"/>
                  </a:lnTo>
                  <a:lnTo>
                    <a:pt x="7781" y="13536"/>
                  </a:lnTo>
                  <a:lnTo>
                    <a:pt x="7830" y="13541"/>
                  </a:lnTo>
                  <a:lnTo>
                    <a:pt x="7879" y="13544"/>
                  </a:lnTo>
                  <a:lnTo>
                    <a:pt x="7929" y="13547"/>
                  </a:lnTo>
                  <a:lnTo>
                    <a:pt x="7979" y="13549"/>
                  </a:lnTo>
                  <a:lnTo>
                    <a:pt x="8029" y="13549"/>
                  </a:lnTo>
                  <a:lnTo>
                    <a:pt x="8079" y="13549"/>
                  </a:lnTo>
                  <a:lnTo>
                    <a:pt x="8129" y="13547"/>
                  </a:lnTo>
                  <a:lnTo>
                    <a:pt x="8179" y="13544"/>
                  </a:lnTo>
                  <a:lnTo>
                    <a:pt x="8228" y="13541"/>
                  </a:lnTo>
                  <a:lnTo>
                    <a:pt x="8277" y="13536"/>
                  </a:lnTo>
                  <a:lnTo>
                    <a:pt x="8326" y="13531"/>
                  </a:lnTo>
                  <a:lnTo>
                    <a:pt x="8374" y="13524"/>
                  </a:lnTo>
                  <a:lnTo>
                    <a:pt x="8422" y="13516"/>
                  </a:lnTo>
                  <a:lnTo>
                    <a:pt x="8471" y="13508"/>
                  </a:lnTo>
                  <a:lnTo>
                    <a:pt x="8519" y="13498"/>
                  </a:lnTo>
                  <a:lnTo>
                    <a:pt x="8566" y="13488"/>
                  </a:lnTo>
                  <a:lnTo>
                    <a:pt x="8613" y="13476"/>
                  </a:lnTo>
                  <a:lnTo>
                    <a:pt x="8659" y="13463"/>
                  </a:lnTo>
                  <a:lnTo>
                    <a:pt x="8706" y="13450"/>
                  </a:lnTo>
                  <a:lnTo>
                    <a:pt x="8753" y="13436"/>
                  </a:lnTo>
                  <a:lnTo>
                    <a:pt x="8799" y="13421"/>
                  </a:lnTo>
                  <a:lnTo>
                    <a:pt x="8845" y="13405"/>
                  </a:lnTo>
                  <a:lnTo>
                    <a:pt x="8890" y="13389"/>
                  </a:lnTo>
                  <a:lnTo>
                    <a:pt x="8935" y="13371"/>
                  </a:lnTo>
                  <a:lnTo>
                    <a:pt x="8980" y="13353"/>
                  </a:lnTo>
                  <a:lnTo>
                    <a:pt x="9025" y="13334"/>
                  </a:lnTo>
                  <a:lnTo>
                    <a:pt x="9070" y="13314"/>
                  </a:lnTo>
                  <a:lnTo>
                    <a:pt x="9114" y="13294"/>
                  </a:lnTo>
                  <a:lnTo>
                    <a:pt x="9157" y="13272"/>
                  </a:lnTo>
                  <a:lnTo>
                    <a:pt x="9201" y="13250"/>
                  </a:lnTo>
                  <a:lnTo>
                    <a:pt x="9244" y="13228"/>
                  </a:lnTo>
                  <a:lnTo>
                    <a:pt x="9288" y="13204"/>
                  </a:lnTo>
                  <a:lnTo>
                    <a:pt x="9331" y="13179"/>
                  </a:lnTo>
                  <a:lnTo>
                    <a:pt x="9373" y="13154"/>
                  </a:lnTo>
                  <a:lnTo>
                    <a:pt x="9415" y="13128"/>
                  </a:lnTo>
                  <a:lnTo>
                    <a:pt x="9457" y="13102"/>
                  </a:lnTo>
                  <a:lnTo>
                    <a:pt x="9499" y="13075"/>
                  </a:lnTo>
                  <a:lnTo>
                    <a:pt x="10746" y="13345"/>
                  </a:lnTo>
                  <a:lnTo>
                    <a:pt x="10980" y="13397"/>
                  </a:lnTo>
                  <a:lnTo>
                    <a:pt x="11208" y="13452"/>
                  </a:lnTo>
                  <a:lnTo>
                    <a:pt x="11432" y="13511"/>
                  </a:lnTo>
                  <a:lnTo>
                    <a:pt x="11650" y="13572"/>
                  </a:lnTo>
                  <a:lnTo>
                    <a:pt x="11863" y="13635"/>
                  </a:lnTo>
                  <a:lnTo>
                    <a:pt x="12071" y="13699"/>
                  </a:lnTo>
                  <a:lnTo>
                    <a:pt x="12272" y="13766"/>
                  </a:lnTo>
                  <a:lnTo>
                    <a:pt x="12468" y="13833"/>
                  </a:lnTo>
                  <a:lnTo>
                    <a:pt x="12659" y="13901"/>
                  </a:lnTo>
                  <a:lnTo>
                    <a:pt x="12842" y="13969"/>
                  </a:lnTo>
                  <a:lnTo>
                    <a:pt x="13020" y="14039"/>
                  </a:lnTo>
                  <a:lnTo>
                    <a:pt x="13191" y="14108"/>
                  </a:lnTo>
                  <a:lnTo>
                    <a:pt x="13356" y="14177"/>
                  </a:lnTo>
                  <a:lnTo>
                    <a:pt x="13514" y="14246"/>
                  </a:lnTo>
                  <a:lnTo>
                    <a:pt x="13665" y="14314"/>
                  </a:lnTo>
                  <a:lnTo>
                    <a:pt x="13809" y="14380"/>
                  </a:lnTo>
                  <a:lnTo>
                    <a:pt x="13946" y="14445"/>
                  </a:lnTo>
                  <a:lnTo>
                    <a:pt x="14076" y="14508"/>
                  </a:lnTo>
                  <a:lnTo>
                    <a:pt x="14198" y="14571"/>
                  </a:lnTo>
                  <a:lnTo>
                    <a:pt x="14314" y="14630"/>
                  </a:lnTo>
                  <a:lnTo>
                    <a:pt x="14421" y="14686"/>
                  </a:lnTo>
                  <a:lnTo>
                    <a:pt x="14520" y="14739"/>
                  </a:lnTo>
                  <a:lnTo>
                    <a:pt x="14612" y="14790"/>
                  </a:lnTo>
                  <a:lnTo>
                    <a:pt x="14695" y="14838"/>
                  </a:lnTo>
                  <a:lnTo>
                    <a:pt x="14770" y="14881"/>
                  </a:lnTo>
                  <a:lnTo>
                    <a:pt x="14838" y="14920"/>
                  </a:lnTo>
                  <a:lnTo>
                    <a:pt x="14896" y="14955"/>
                  </a:lnTo>
                  <a:lnTo>
                    <a:pt x="14945" y="14985"/>
                  </a:lnTo>
                  <a:lnTo>
                    <a:pt x="15018" y="15031"/>
                  </a:lnTo>
                  <a:lnTo>
                    <a:pt x="15054" y="15054"/>
                  </a:lnTo>
                  <a:lnTo>
                    <a:pt x="1004" y="15054"/>
                  </a:lnTo>
                  <a:close/>
                  <a:moveTo>
                    <a:pt x="10170" y="11741"/>
                  </a:moveTo>
                  <a:lnTo>
                    <a:pt x="10005" y="11950"/>
                  </a:lnTo>
                  <a:lnTo>
                    <a:pt x="9893" y="12074"/>
                  </a:lnTo>
                  <a:lnTo>
                    <a:pt x="9777" y="12192"/>
                  </a:lnTo>
                  <a:lnTo>
                    <a:pt x="9660" y="12300"/>
                  </a:lnTo>
                  <a:lnTo>
                    <a:pt x="9541" y="12401"/>
                  </a:lnTo>
                  <a:lnTo>
                    <a:pt x="9421" y="12494"/>
                  </a:lnTo>
                  <a:lnTo>
                    <a:pt x="9300" y="12578"/>
                  </a:lnTo>
                  <a:lnTo>
                    <a:pt x="9176" y="12654"/>
                  </a:lnTo>
                  <a:lnTo>
                    <a:pt x="9052" y="12723"/>
                  </a:lnTo>
                  <a:lnTo>
                    <a:pt x="8926" y="12784"/>
                  </a:lnTo>
                  <a:lnTo>
                    <a:pt x="8800" y="12836"/>
                  </a:lnTo>
                  <a:lnTo>
                    <a:pt x="8672" y="12880"/>
                  </a:lnTo>
                  <a:lnTo>
                    <a:pt x="8545" y="12916"/>
                  </a:lnTo>
                  <a:lnTo>
                    <a:pt x="8416" y="12945"/>
                  </a:lnTo>
                  <a:lnTo>
                    <a:pt x="8287" y="12965"/>
                  </a:lnTo>
                  <a:lnTo>
                    <a:pt x="8158" y="12977"/>
                  </a:lnTo>
                  <a:lnTo>
                    <a:pt x="8029" y="12981"/>
                  </a:lnTo>
                  <a:lnTo>
                    <a:pt x="7900" y="12977"/>
                  </a:lnTo>
                  <a:lnTo>
                    <a:pt x="7771" y="12965"/>
                  </a:lnTo>
                  <a:lnTo>
                    <a:pt x="7642" y="12945"/>
                  </a:lnTo>
                  <a:lnTo>
                    <a:pt x="7513" y="12916"/>
                  </a:lnTo>
                  <a:lnTo>
                    <a:pt x="7386" y="12880"/>
                  </a:lnTo>
                  <a:lnTo>
                    <a:pt x="7258" y="12836"/>
                  </a:lnTo>
                  <a:lnTo>
                    <a:pt x="7132" y="12784"/>
                  </a:lnTo>
                  <a:lnTo>
                    <a:pt x="7006" y="12723"/>
                  </a:lnTo>
                  <a:lnTo>
                    <a:pt x="6882" y="12654"/>
                  </a:lnTo>
                  <a:lnTo>
                    <a:pt x="6758" y="12578"/>
                  </a:lnTo>
                  <a:lnTo>
                    <a:pt x="6637" y="12494"/>
                  </a:lnTo>
                  <a:lnTo>
                    <a:pt x="6517" y="12401"/>
                  </a:lnTo>
                  <a:lnTo>
                    <a:pt x="6398" y="12300"/>
                  </a:lnTo>
                  <a:lnTo>
                    <a:pt x="6281" y="12192"/>
                  </a:lnTo>
                  <a:lnTo>
                    <a:pt x="6165" y="12074"/>
                  </a:lnTo>
                  <a:lnTo>
                    <a:pt x="6053" y="11950"/>
                  </a:lnTo>
                  <a:lnTo>
                    <a:pt x="5888" y="11741"/>
                  </a:lnTo>
                  <a:lnTo>
                    <a:pt x="5759" y="11574"/>
                  </a:lnTo>
                  <a:lnTo>
                    <a:pt x="5634" y="11403"/>
                  </a:lnTo>
                  <a:lnTo>
                    <a:pt x="5514" y="11229"/>
                  </a:lnTo>
                  <a:lnTo>
                    <a:pt x="5397" y="11052"/>
                  </a:lnTo>
                  <a:lnTo>
                    <a:pt x="5285" y="10872"/>
                  </a:lnTo>
                  <a:lnTo>
                    <a:pt x="5178" y="10689"/>
                  </a:lnTo>
                  <a:lnTo>
                    <a:pt x="5074" y="10505"/>
                  </a:lnTo>
                  <a:lnTo>
                    <a:pt x="4976" y="10317"/>
                  </a:lnTo>
                  <a:lnTo>
                    <a:pt x="4883" y="10127"/>
                  </a:lnTo>
                  <a:lnTo>
                    <a:pt x="4792" y="9935"/>
                  </a:lnTo>
                  <a:lnTo>
                    <a:pt x="4708" y="9741"/>
                  </a:lnTo>
                  <a:lnTo>
                    <a:pt x="4628" y="9544"/>
                  </a:lnTo>
                  <a:lnTo>
                    <a:pt x="4552" y="9346"/>
                  </a:lnTo>
                  <a:lnTo>
                    <a:pt x="4482" y="9146"/>
                  </a:lnTo>
                  <a:lnTo>
                    <a:pt x="4416" y="8945"/>
                  </a:lnTo>
                  <a:lnTo>
                    <a:pt x="4356" y="8742"/>
                  </a:lnTo>
                  <a:lnTo>
                    <a:pt x="4300" y="8537"/>
                  </a:lnTo>
                  <a:lnTo>
                    <a:pt x="4249" y="8332"/>
                  </a:lnTo>
                  <a:lnTo>
                    <a:pt x="4203" y="8125"/>
                  </a:lnTo>
                  <a:lnTo>
                    <a:pt x="4163" y="7917"/>
                  </a:lnTo>
                  <a:lnTo>
                    <a:pt x="4128" y="7709"/>
                  </a:lnTo>
                  <a:lnTo>
                    <a:pt x="4098" y="7500"/>
                  </a:lnTo>
                  <a:lnTo>
                    <a:pt x="4073" y="7290"/>
                  </a:lnTo>
                  <a:lnTo>
                    <a:pt x="4053" y="7080"/>
                  </a:lnTo>
                  <a:lnTo>
                    <a:pt x="4039" y="6869"/>
                  </a:lnTo>
                  <a:lnTo>
                    <a:pt x="4031" y="6657"/>
                  </a:lnTo>
                  <a:lnTo>
                    <a:pt x="4028" y="6447"/>
                  </a:lnTo>
                  <a:lnTo>
                    <a:pt x="4030" y="6236"/>
                  </a:lnTo>
                  <a:lnTo>
                    <a:pt x="4038" y="6025"/>
                  </a:lnTo>
                  <a:lnTo>
                    <a:pt x="4051" y="5814"/>
                  </a:lnTo>
                  <a:lnTo>
                    <a:pt x="4071" y="5604"/>
                  </a:lnTo>
                  <a:lnTo>
                    <a:pt x="4096" y="5394"/>
                  </a:lnTo>
                  <a:lnTo>
                    <a:pt x="4124" y="5192"/>
                  </a:lnTo>
                  <a:lnTo>
                    <a:pt x="4158" y="4991"/>
                  </a:lnTo>
                  <a:lnTo>
                    <a:pt x="4198" y="4790"/>
                  </a:lnTo>
                  <a:lnTo>
                    <a:pt x="4243" y="4589"/>
                  </a:lnTo>
                  <a:lnTo>
                    <a:pt x="4295" y="4389"/>
                  </a:lnTo>
                  <a:lnTo>
                    <a:pt x="4352" y="4191"/>
                  </a:lnTo>
                  <a:lnTo>
                    <a:pt x="4415" y="3996"/>
                  </a:lnTo>
                  <a:lnTo>
                    <a:pt x="4484" y="3802"/>
                  </a:lnTo>
                  <a:lnTo>
                    <a:pt x="4558" y="3611"/>
                  </a:lnTo>
                  <a:lnTo>
                    <a:pt x="4640" y="3425"/>
                  </a:lnTo>
                  <a:lnTo>
                    <a:pt x="4727" y="3241"/>
                  </a:lnTo>
                  <a:lnTo>
                    <a:pt x="4820" y="3061"/>
                  </a:lnTo>
                  <a:lnTo>
                    <a:pt x="4919" y="2887"/>
                  </a:lnTo>
                  <a:lnTo>
                    <a:pt x="5024" y="2717"/>
                  </a:lnTo>
                  <a:lnTo>
                    <a:pt x="5137" y="2552"/>
                  </a:lnTo>
                  <a:lnTo>
                    <a:pt x="5254" y="2394"/>
                  </a:lnTo>
                  <a:lnTo>
                    <a:pt x="5378" y="2241"/>
                  </a:lnTo>
                  <a:lnTo>
                    <a:pt x="5509" y="2096"/>
                  </a:lnTo>
                  <a:lnTo>
                    <a:pt x="5645" y="1957"/>
                  </a:lnTo>
                  <a:lnTo>
                    <a:pt x="5789" y="1827"/>
                  </a:lnTo>
                  <a:lnTo>
                    <a:pt x="5939" y="1703"/>
                  </a:lnTo>
                  <a:lnTo>
                    <a:pt x="6095" y="1590"/>
                  </a:lnTo>
                  <a:lnTo>
                    <a:pt x="6259" y="1483"/>
                  </a:lnTo>
                  <a:lnTo>
                    <a:pt x="6428" y="1387"/>
                  </a:lnTo>
                  <a:lnTo>
                    <a:pt x="6605" y="1301"/>
                  </a:lnTo>
                  <a:lnTo>
                    <a:pt x="6788" y="1224"/>
                  </a:lnTo>
                  <a:lnTo>
                    <a:pt x="6977" y="1159"/>
                  </a:lnTo>
                  <a:lnTo>
                    <a:pt x="7174" y="1104"/>
                  </a:lnTo>
                  <a:lnTo>
                    <a:pt x="7378" y="1061"/>
                  </a:lnTo>
                  <a:lnTo>
                    <a:pt x="7587" y="1029"/>
                  </a:lnTo>
                  <a:lnTo>
                    <a:pt x="7805" y="1010"/>
                  </a:lnTo>
                  <a:lnTo>
                    <a:pt x="8029" y="1004"/>
                  </a:lnTo>
                  <a:lnTo>
                    <a:pt x="8253" y="1010"/>
                  </a:lnTo>
                  <a:lnTo>
                    <a:pt x="8471" y="1029"/>
                  </a:lnTo>
                  <a:lnTo>
                    <a:pt x="8681" y="1061"/>
                  </a:lnTo>
                  <a:lnTo>
                    <a:pt x="8884" y="1104"/>
                  </a:lnTo>
                  <a:lnTo>
                    <a:pt x="9081" y="1159"/>
                  </a:lnTo>
                  <a:lnTo>
                    <a:pt x="9270" y="1224"/>
                  </a:lnTo>
                  <a:lnTo>
                    <a:pt x="9453" y="1301"/>
                  </a:lnTo>
                  <a:lnTo>
                    <a:pt x="9630" y="1387"/>
                  </a:lnTo>
                  <a:lnTo>
                    <a:pt x="9799" y="1483"/>
                  </a:lnTo>
                  <a:lnTo>
                    <a:pt x="9963" y="1590"/>
                  </a:lnTo>
                  <a:lnTo>
                    <a:pt x="10119" y="1703"/>
                  </a:lnTo>
                  <a:lnTo>
                    <a:pt x="10269" y="1827"/>
                  </a:lnTo>
                  <a:lnTo>
                    <a:pt x="10413" y="1957"/>
                  </a:lnTo>
                  <a:lnTo>
                    <a:pt x="10549" y="2096"/>
                  </a:lnTo>
                  <a:lnTo>
                    <a:pt x="10680" y="2241"/>
                  </a:lnTo>
                  <a:lnTo>
                    <a:pt x="10804" y="2394"/>
                  </a:lnTo>
                  <a:lnTo>
                    <a:pt x="10921" y="2552"/>
                  </a:lnTo>
                  <a:lnTo>
                    <a:pt x="11034" y="2717"/>
                  </a:lnTo>
                  <a:lnTo>
                    <a:pt x="11139" y="2887"/>
                  </a:lnTo>
                  <a:lnTo>
                    <a:pt x="11238" y="3061"/>
                  </a:lnTo>
                  <a:lnTo>
                    <a:pt x="11331" y="3241"/>
                  </a:lnTo>
                  <a:lnTo>
                    <a:pt x="11418" y="3425"/>
                  </a:lnTo>
                  <a:lnTo>
                    <a:pt x="11500" y="3611"/>
                  </a:lnTo>
                  <a:lnTo>
                    <a:pt x="11574" y="3802"/>
                  </a:lnTo>
                  <a:lnTo>
                    <a:pt x="11643" y="3996"/>
                  </a:lnTo>
                  <a:lnTo>
                    <a:pt x="11706" y="4191"/>
                  </a:lnTo>
                  <a:lnTo>
                    <a:pt x="11763" y="4389"/>
                  </a:lnTo>
                  <a:lnTo>
                    <a:pt x="11815" y="4589"/>
                  </a:lnTo>
                  <a:lnTo>
                    <a:pt x="11860" y="4790"/>
                  </a:lnTo>
                  <a:lnTo>
                    <a:pt x="11900" y="4991"/>
                  </a:lnTo>
                  <a:lnTo>
                    <a:pt x="11934" y="5192"/>
                  </a:lnTo>
                  <a:lnTo>
                    <a:pt x="11962" y="5394"/>
                  </a:lnTo>
                  <a:lnTo>
                    <a:pt x="11987" y="5604"/>
                  </a:lnTo>
                  <a:lnTo>
                    <a:pt x="12006" y="5814"/>
                  </a:lnTo>
                  <a:lnTo>
                    <a:pt x="12020" y="6025"/>
                  </a:lnTo>
                  <a:lnTo>
                    <a:pt x="12028" y="6236"/>
                  </a:lnTo>
                  <a:lnTo>
                    <a:pt x="12030" y="6447"/>
                  </a:lnTo>
                  <a:lnTo>
                    <a:pt x="12027" y="6658"/>
                  </a:lnTo>
                  <a:lnTo>
                    <a:pt x="12018" y="6869"/>
                  </a:lnTo>
                  <a:lnTo>
                    <a:pt x="12004" y="7080"/>
                  </a:lnTo>
                  <a:lnTo>
                    <a:pt x="11985" y="7290"/>
                  </a:lnTo>
                  <a:lnTo>
                    <a:pt x="11960" y="7500"/>
                  </a:lnTo>
                  <a:lnTo>
                    <a:pt x="11930" y="7709"/>
                  </a:lnTo>
                  <a:lnTo>
                    <a:pt x="11895" y="7918"/>
                  </a:lnTo>
                  <a:lnTo>
                    <a:pt x="11854" y="8126"/>
                  </a:lnTo>
                  <a:lnTo>
                    <a:pt x="11809" y="8332"/>
                  </a:lnTo>
                  <a:lnTo>
                    <a:pt x="11757" y="8537"/>
                  </a:lnTo>
                  <a:lnTo>
                    <a:pt x="11702" y="8742"/>
                  </a:lnTo>
                  <a:lnTo>
                    <a:pt x="11642" y="8945"/>
                  </a:lnTo>
                  <a:lnTo>
                    <a:pt x="11576" y="9147"/>
                  </a:lnTo>
                  <a:lnTo>
                    <a:pt x="11506" y="9346"/>
                  </a:lnTo>
                  <a:lnTo>
                    <a:pt x="11430" y="9544"/>
                  </a:lnTo>
                  <a:lnTo>
                    <a:pt x="11350" y="9741"/>
                  </a:lnTo>
                  <a:lnTo>
                    <a:pt x="11266" y="9935"/>
                  </a:lnTo>
                  <a:lnTo>
                    <a:pt x="11176" y="10127"/>
                  </a:lnTo>
                  <a:lnTo>
                    <a:pt x="11082" y="10317"/>
                  </a:lnTo>
                  <a:lnTo>
                    <a:pt x="10984" y="10505"/>
                  </a:lnTo>
                  <a:lnTo>
                    <a:pt x="10880" y="10689"/>
                  </a:lnTo>
                  <a:lnTo>
                    <a:pt x="10773" y="10872"/>
                  </a:lnTo>
                  <a:lnTo>
                    <a:pt x="10661" y="11052"/>
                  </a:lnTo>
                  <a:lnTo>
                    <a:pt x="10545" y="11228"/>
                  </a:lnTo>
                  <a:lnTo>
                    <a:pt x="10424" y="11403"/>
                  </a:lnTo>
                  <a:lnTo>
                    <a:pt x="10299" y="11574"/>
                  </a:lnTo>
                  <a:lnTo>
                    <a:pt x="10170" y="11741"/>
                  </a:lnTo>
                  <a:close/>
                  <a:moveTo>
                    <a:pt x="15610" y="14219"/>
                  </a:moveTo>
                  <a:lnTo>
                    <a:pt x="15572" y="14194"/>
                  </a:lnTo>
                  <a:lnTo>
                    <a:pt x="15494" y="14145"/>
                  </a:lnTo>
                  <a:lnTo>
                    <a:pt x="15440" y="14112"/>
                  </a:lnTo>
                  <a:lnTo>
                    <a:pt x="15378" y="14074"/>
                  </a:lnTo>
                  <a:lnTo>
                    <a:pt x="15305" y="14031"/>
                  </a:lnTo>
                  <a:lnTo>
                    <a:pt x="15224" y="13984"/>
                  </a:lnTo>
                  <a:lnTo>
                    <a:pt x="15135" y="13933"/>
                  </a:lnTo>
                  <a:lnTo>
                    <a:pt x="15035" y="13878"/>
                  </a:lnTo>
                  <a:lnTo>
                    <a:pt x="14928" y="13820"/>
                  </a:lnTo>
                  <a:lnTo>
                    <a:pt x="14813" y="13758"/>
                  </a:lnTo>
                  <a:lnTo>
                    <a:pt x="14688" y="13693"/>
                  </a:lnTo>
                  <a:lnTo>
                    <a:pt x="14556" y="13627"/>
                  </a:lnTo>
                  <a:lnTo>
                    <a:pt x="14416" y="13558"/>
                  </a:lnTo>
                  <a:lnTo>
                    <a:pt x="14268" y="13488"/>
                  </a:lnTo>
                  <a:lnTo>
                    <a:pt x="14112" y="13415"/>
                  </a:lnTo>
                  <a:lnTo>
                    <a:pt x="13948" y="13341"/>
                  </a:lnTo>
                  <a:lnTo>
                    <a:pt x="13778" y="13267"/>
                  </a:lnTo>
                  <a:lnTo>
                    <a:pt x="13600" y="13191"/>
                  </a:lnTo>
                  <a:lnTo>
                    <a:pt x="13415" y="13116"/>
                  </a:lnTo>
                  <a:lnTo>
                    <a:pt x="13223" y="13041"/>
                  </a:lnTo>
                  <a:lnTo>
                    <a:pt x="13025" y="12967"/>
                  </a:lnTo>
                  <a:lnTo>
                    <a:pt x="12819" y="12892"/>
                  </a:lnTo>
                  <a:lnTo>
                    <a:pt x="12608" y="12819"/>
                  </a:lnTo>
                  <a:lnTo>
                    <a:pt x="12390" y="12748"/>
                  </a:lnTo>
                  <a:lnTo>
                    <a:pt x="12166" y="12678"/>
                  </a:lnTo>
                  <a:lnTo>
                    <a:pt x="11935" y="12609"/>
                  </a:lnTo>
                  <a:lnTo>
                    <a:pt x="11699" y="12544"/>
                  </a:lnTo>
                  <a:lnTo>
                    <a:pt x="11457" y="12481"/>
                  </a:lnTo>
                  <a:lnTo>
                    <a:pt x="11210" y="12421"/>
                  </a:lnTo>
                  <a:lnTo>
                    <a:pt x="10958" y="12363"/>
                  </a:lnTo>
                  <a:lnTo>
                    <a:pt x="11051" y="12244"/>
                  </a:lnTo>
                  <a:lnTo>
                    <a:pt x="11141" y="12122"/>
                  </a:lnTo>
                  <a:lnTo>
                    <a:pt x="11230" y="11997"/>
                  </a:lnTo>
                  <a:lnTo>
                    <a:pt x="11316" y="11871"/>
                  </a:lnTo>
                  <a:lnTo>
                    <a:pt x="11400" y="11742"/>
                  </a:lnTo>
                  <a:lnTo>
                    <a:pt x="11481" y="11613"/>
                  </a:lnTo>
                  <a:lnTo>
                    <a:pt x="11562" y="11481"/>
                  </a:lnTo>
                  <a:lnTo>
                    <a:pt x="11640" y="11349"/>
                  </a:lnTo>
                  <a:lnTo>
                    <a:pt x="11715" y="11214"/>
                  </a:lnTo>
                  <a:lnTo>
                    <a:pt x="11789" y="11080"/>
                  </a:lnTo>
                  <a:lnTo>
                    <a:pt x="11861" y="10944"/>
                  </a:lnTo>
                  <a:lnTo>
                    <a:pt x="11930" y="10809"/>
                  </a:lnTo>
                  <a:lnTo>
                    <a:pt x="11997" y="10672"/>
                  </a:lnTo>
                  <a:lnTo>
                    <a:pt x="12063" y="10536"/>
                  </a:lnTo>
                  <a:lnTo>
                    <a:pt x="12126" y="10400"/>
                  </a:lnTo>
                  <a:lnTo>
                    <a:pt x="12186" y="10264"/>
                  </a:lnTo>
                  <a:lnTo>
                    <a:pt x="12245" y="10128"/>
                  </a:lnTo>
                  <a:lnTo>
                    <a:pt x="12301" y="9993"/>
                  </a:lnTo>
                  <a:lnTo>
                    <a:pt x="12357" y="9858"/>
                  </a:lnTo>
                  <a:lnTo>
                    <a:pt x="12409" y="9725"/>
                  </a:lnTo>
                  <a:lnTo>
                    <a:pt x="12459" y="9592"/>
                  </a:lnTo>
                  <a:lnTo>
                    <a:pt x="12507" y="9462"/>
                  </a:lnTo>
                  <a:lnTo>
                    <a:pt x="12552" y="9332"/>
                  </a:lnTo>
                  <a:lnTo>
                    <a:pt x="12596" y="9204"/>
                  </a:lnTo>
                  <a:lnTo>
                    <a:pt x="12639" y="9078"/>
                  </a:lnTo>
                  <a:lnTo>
                    <a:pt x="12678" y="8954"/>
                  </a:lnTo>
                  <a:lnTo>
                    <a:pt x="12715" y="8832"/>
                  </a:lnTo>
                  <a:lnTo>
                    <a:pt x="12750" y="8713"/>
                  </a:lnTo>
                  <a:lnTo>
                    <a:pt x="12783" y="8597"/>
                  </a:lnTo>
                  <a:lnTo>
                    <a:pt x="12814" y="8482"/>
                  </a:lnTo>
                  <a:lnTo>
                    <a:pt x="12843" y="8372"/>
                  </a:lnTo>
                  <a:lnTo>
                    <a:pt x="12869" y="8263"/>
                  </a:lnTo>
                  <a:lnTo>
                    <a:pt x="12904" y="8113"/>
                  </a:lnTo>
                  <a:lnTo>
                    <a:pt x="12935" y="7952"/>
                  </a:lnTo>
                  <a:lnTo>
                    <a:pt x="12962" y="7785"/>
                  </a:lnTo>
                  <a:lnTo>
                    <a:pt x="12985" y="7610"/>
                  </a:lnTo>
                  <a:lnTo>
                    <a:pt x="13005" y="7428"/>
                  </a:lnTo>
                  <a:lnTo>
                    <a:pt x="13022" y="7240"/>
                  </a:lnTo>
                  <a:lnTo>
                    <a:pt x="13034" y="7046"/>
                  </a:lnTo>
                  <a:lnTo>
                    <a:pt x="13042" y="6846"/>
                  </a:lnTo>
                  <a:lnTo>
                    <a:pt x="13046" y="6642"/>
                  </a:lnTo>
                  <a:lnTo>
                    <a:pt x="13045" y="6434"/>
                  </a:lnTo>
                  <a:lnTo>
                    <a:pt x="13040" y="6221"/>
                  </a:lnTo>
                  <a:lnTo>
                    <a:pt x="13030" y="6005"/>
                  </a:lnTo>
                  <a:lnTo>
                    <a:pt x="13015" y="5785"/>
                  </a:lnTo>
                  <a:lnTo>
                    <a:pt x="12995" y="5564"/>
                  </a:lnTo>
                  <a:lnTo>
                    <a:pt x="12970" y="5341"/>
                  </a:lnTo>
                  <a:lnTo>
                    <a:pt x="12939" y="5116"/>
                  </a:lnTo>
                  <a:lnTo>
                    <a:pt x="12903" y="4890"/>
                  </a:lnTo>
                  <a:lnTo>
                    <a:pt x="12860" y="4663"/>
                  </a:lnTo>
                  <a:lnTo>
                    <a:pt x="12813" y="4436"/>
                  </a:lnTo>
                  <a:lnTo>
                    <a:pt x="12760" y="4210"/>
                  </a:lnTo>
                  <a:lnTo>
                    <a:pt x="12700" y="3985"/>
                  </a:lnTo>
                  <a:lnTo>
                    <a:pt x="12634" y="3762"/>
                  </a:lnTo>
                  <a:lnTo>
                    <a:pt x="12561" y="3539"/>
                  </a:lnTo>
                  <a:lnTo>
                    <a:pt x="12482" y="3320"/>
                  </a:lnTo>
                  <a:lnTo>
                    <a:pt x="12397" y="3103"/>
                  </a:lnTo>
                  <a:lnTo>
                    <a:pt x="12303" y="2891"/>
                  </a:lnTo>
                  <a:lnTo>
                    <a:pt x="12204" y="2681"/>
                  </a:lnTo>
                  <a:lnTo>
                    <a:pt x="12097" y="2476"/>
                  </a:lnTo>
                  <a:lnTo>
                    <a:pt x="11982" y="2275"/>
                  </a:lnTo>
                  <a:lnTo>
                    <a:pt x="11861" y="2081"/>
                  </a:lnTo>
                  <a:lnTo>
                    <a:pt x="11731" y="1892"/>
                  </a:lnTo>
                  <a:lnTo>
                    <a:pt x="11594" y="1709"/>
                  </a:lnTo>
                  <a:lnTo>
                    <a:pt x="11511" y="1606"/>
                  </a:lnTo>
                  <a:lnTo>
                    <a:pt x="11424" y="1506"/>
                  </a:lnTo>
                  <a:lnTo>
                    <a:pt x="11337" y="1409"/>
                  </a:lnTo>
                  <a:lnTo>
                    <a:pt x="11248" y="1315"/>
                  </a:lnTo>
                  <a:lnTo>
                    <a:pt x="11155" y="1223"/>
                  </a:lnTo>
                  <a:lnTo>
                    <a:pt x="11062" y="1136"/>
                  </a:lnTo>
                  <a:lnTo>
                    <a:pt x="10967" y="1052"/>
                  </a:lnTo>
                  <a:lnTo>
                    <a:pt x="10869" y="971"/>
                  </a:lnTo>
                  <a:lnTo>
                    <a:pt x="10770" y="892"/>
                  </a:lnTo>
                  <a:lnTo>
                    <a:pt x="10669" y="817"/>
                  </a:lnTo>
                  <a:lnTo>
                    <a:pt x="10566" y="746"/>
                  </a:lnTo>
                  <a:lnTo>
                    <a:pt x="10462" y="677"/>
                  </a:lnTo>
                  <a:lnTo>
                    <a:pt x="10355" y="612"/>
                  </a:lnTo>
                  <a:lnTo>
                    <a:pt x="10247" y="550"/>
                  </a:lnTo>
                  <a:lnTo>
                    <a:pt x="10137" y="491"/>
                  </a:lnTo>
                  <a:lnTo>
                    <a:pt x="10025" y="436"/>
                  </a:lnTo>
                  <a:lnTo>
                    <a:pt x="9912" y="383"/>
                  </a:lnTo>
                  <a:lnTo>
                    <a:pt x="9797" y="334"/>
                  </a:lnTo>
                  <a:lnTo>
                    <a:pt x="9681" y="288"/>
                  </a:lnTo>
                  <a:lnTo>
                    <a:pt x="9563" y="246"/>
                  </a:lnTo>
                  <a:lnTo>
                    <a:pt x="9443" y="207"/>
                  </a:lnTo>
                  <a:lnTo>
                    <a:pt x="9322" y="172"/>
                  </a:lnTo>
                  <a:lnTo>
                    <a:pt x="9198" y="139"/>
                  </a:lnTo>
                  <a:lnTo>
                    <a:pt x="9075" y="109"/>
                  </a:lnTo>
                  <a:lnTo>
                    <a:pt x="8948" y="84"/>
                  </a:lnTo>
                  <a:lnTo>
                    <a:pt x="8821" y="62"/>
                  </a:lnTo>
                  <a:lnTo>
                    <a:pt x="8692" y="43"/>
                  </a:lnTo>
                  <a:lnTo>
                    <a:pt x="8563" y="27"/>
                  </a:lnTo>
                  <a:lnTo>
                    <a:pt x="8431" y="16"/>
                  </a:lnTo>
                  <a:lnTo>
                    <a:pt x="8299" y="7"/>
                  </a:lnTo>
                  <a:lnTo>
                    <a:pt x="8164" y="2"/>
                  </a:lnTo>
                  <a:lnTo>
                    <a:pt x="8029" y="0"/>
                  </a:lnTo>
                  <a:lnTo>
                    <a:pt x="7894" y="2"/>
                  </a:lnTo>
                  <a:lnTo>
                    <a:pt x="7760" y="7"/>
                  </a:lnTo>
                  <a:lnTo>
                    <a:pt x="7627" y="16"/>
                  </a:lnTo>
                  <a:lnTo>
                    <a:pt x="7495" y="27"/>
                  </a:lnTo>
                  <a:lnTo>
                    <a:pt x="7366" y="43"/>
                  </a:lnTo>
                  <a:lnTo>
                    <a:pt x="7237" y="62"/>
                  </a:lnTo>
                  <a:lnTo>
                    <a:pt x="7110" y="84"/>
                  </a:lnTo>
                  <a:lnTo>
                    <a:pt x="6983" y="109"/>
                  </a:lnTo>
                  <a:lnTo>
                    <a:pt x="6860" y="139"/>
                  </a:lnTo>
                  <a:lnTo>
                    <a:pt x="6736" y="172"/>
                  </a:lnTo>
                  <a:lnTo>
                    <a:pt x="6615" y="207"/>
                  </a:lnTo>
                  <a:lnTo>
                    <a:pt x="6495" y="246"/>
                  </a:lnTo>
                  <a:lnTo>
                    <a:pt x="6377" y="288"/>
                  </a:lnTo>
                  <a:lnTo>
                    <a:pt x="6261" y="334"/>
                  </a:lnTo>
                  <a:lnTo>
                    <a:pt x="6146" y="383"/>
                  </a:lnTo>
                  <a:lnTo>
                    <a:pt x="6033" y="436"/>
                  </a:lnTo>
                  <a:lnTo>
                    <a:pt x="5921" y="491"/>
                  </a:lnTo>
                  <a:lnTo>
                    <a:pt x="5811" y="550"/>
                  </a:lnTo>
                  <a:lnTo>
                    <a:pt x="5703" y="612"/>
                  </a:lnTo>
                  <a:lnTo>
                    <a:pt x="5596" y="677"/>
                  </a:lnTo>
                  <a:lnTo>
                    <a:pt x="5492" y="746"/>
                  </a:lnTo>
                  <a:lnTo>
                    <a:pt x="5389" y="817"/>
                  </a:lnTo>
                  <a:lnTo>
                    <a:pt x="5288" y="892"/>
                  </a:lnTo>
                  <a:lnTo>
                    <a:pt x="5189" y="971"/>
                  </a:lnTo>
                  <a:lnTo>
                    <a:pt x="5091" y="1052"/>
                  </a:lnTo>
                  <a:lnTo>
                    <a:pt x="4996" y="1136"/>
                  </a:lnTo>
                  <a:lnTo>
                    <a:pt x="4903" y="1223"/>
                  </a:lnTo>
                  <a:lnTo>
                    <a:pt x="4810" y="1315"/>
                  </a:lnTo>
                  <a:lnTo>
                    <a:pt x="4721" y="1409"/>
                  </a:lnTo>
                  <a:lnTo>
                    <a:pt x="4634" y="1506"/>
                  </a:lnTo>
                  <a:lnTo>
                    <a:pt x="4547" y="1606"/>
                  </a:lnTo>
                  <a:lnTo>
                    <a:pt x="4464" y="1709"/>
                  </a:lnTo>
                  <a:lnTo>
                    <a:pt x="4327" y="1892"/>
                  </a:lnTo>
                  <a:lnTo>
                    <a:pt x="4197" y="2081"/>
                  </a:lnTo>
                  <a:lnTo>
                    <a:pt x="4076" y="2275"/>
                  </a:lnTo>
                  <a:lnTo>
                    <a:pt x="3961" y="2476"/>
                  </a:lnTo>
                  <a:lnTo>
                    <a:pt x="3854" y="2681"/>
                  </a:lnTo>
                  <a:lnTo>
                    <a:pt x="3755" y="2891"/>
                  </a:lnTo>
                  <a:lnTo>
                    <a:pt x="3661" y="3103"/>
                  </a:lnTo>
                  <a:lnTo>
                    <a:pt x="3576" y="3320"/>
                  </a:lnTo>
                  <a:lnTo>
                    <a:pt x="3497" y="3539"/>
                  </a:lnTo>
                  <a:lnTo>
                    <a:pt x="3424" y="3762"/>
                  </a:lnTo>
                  <a:lnTo>
                    <a:pt x="3358" y="3985"/>
                  </a:lnTo>
                  <a:lnTo>
                    <a:pt x="3298" y="4210"/>
                  </a:lnTo>
                  <a:lnTo>
                    <a:pt x="3245" y="4436"/>
                  </a:lnTo>
                  <a:lnTo>
                    <a:pt x="3198" y="4663"/>
                  </a:lnTo>
                  <a:lnTo>
                    <a:pt x="3155" y="4890"/>
                  </a:lnTo>
                  <a:lnTo>
                    <a:pt x="3119" y="5116"/>
                  </a:lnTo>
                  <a:lnTo>
                    <a:pt x="3088" y="5341"/>
                  </a:lnTo>
                  <a:lnTo>
                    <a:pt x="3063" y="5564"/>
                  </a:lnTo>
                  <a:lnTo>
                    <a:pt x="3043" y="5785"/>
                  </a:lnTo>
                  <a:lnTo>
                    <a:pt x="3028" y="6005"/>
                  </a:lnTo>
                  <a:lnTo>
                    <a:pt x="3018" y="6221"/>
                  </a:lnTo>
                  <a:lnTo>
                    <a:pt x="3013" y="6434"/>
                  </a:lnTo>
                  <a:lnTo>
                    <a:pt x="3013" y="6642"/>
                  </a:lnTo>
                  <a:lnTo>
                    <a:pt x="3016" y="6846"/>
                  </a:lnTo>
                  <a:lnTo>
                    <a:pt x="3024" y="7046"/>
                  </a:lnTo>
                  <a:lnTo>
                    <a:pt x="3036" y="7240"/>
                  </a:lnTo>
                  <a:lnTo>
                    <a:pt x="3053" y="7428"/>
                  </a:lnTo>
                  <a:lnTo>
                    <a:pt x="3073" y="7610"/>
                  </a:lnTo>
                  <a:lnTo>
                    <a:pt x="3096" y="7785"/>
                  </a:lnTo>
                  <a:lnTo>
                    <a:pt x="3123" y="7952"/>
                  </a:lnTo>
                  <a:lnTo>
                    <a:pt x="3154" y="8113"/>
                  </a:lnTo>
                  <a:lnTo>
                    <a:pt x="3189" y="8263"/>
                  </a:lnTo>
                  <a:lnTo>
                    <a:pt x="3215" y="8372"/>
                  </a:lnTo>
                  <a:lnTo>
                    <a:pt x="3244" y="8482"/>
                  </a:lnTo>
                  <a:lnTo>
                    <a:pt x="3275" y="8597"/>
                  </a:lnTo>
                  <a:lnTo>
                    <a:pt x="3308" y="8713"/>
                  </a:lnTo>
                  <a:lnTo>
                    <a:pt x="3343" y="8832"/>
                  </a:lnTo>
                  <a:lnTo>
                    <a:pt x="3380" y="8954"/>
                  </a:lnTo>
                  <a:lnTo>
                    <a:pt x="3419" y="9078"/>
                  </a:lnTo>
                  <a:lnTo>
                    <a:pt x="3462" y="9204"/>
                  </a:lnTo>
                  <a:lnTo>
                    <a:pt x="3506" y="9332"/>
                  </a:lnTo>
                  <a:lnTo>
                    <a:pt x="3551" y="9462"/>
                  </a:lnTo>
                  <a:lnTo>
                    <a:pt x="3599" y="9592"/>
                  </a:lnTo>
                  <a:lnTo>
                    <a:pt x="3649" y="9725"/>
                  </a:lnTo>
                  <a:lnTo>
                    <a:pt x="3702" y="9858"/>
                  </a:lnTo>
                  <a:lnTo>
                    <a:pt x="3757" y="9993"/>
                  </a:lnTo>
                  <a:lnTo>
                    <a:pt x="3813" y="10128"/>
                  </a:lnTo>
                  <a:lnTo>
                    <a:pt x="3872" y="10264"/>
                  </a:lnTo>
                  <a:lnTo>
                    <a:pt x="3932" y="10400"/>
                  </a:lnTo>
                  <a:lnTo>
                    <a:pt x="3995" y="10536"/>
                  </a:lnTo>
                  <a:lnTo>
                    <a:pt x="4061" y="10672"/>
                  </a:lnTo>
                  <a:lnTo>
                    <a:pt x="4128" y="10809"/>
                  </a:lnTo>
                  <a:lnTo>
                    <a:pt x="4197" y="10944"/>
                  </a:lnTo>
                  <a:lnTo>
                    <a:pt x="4269" y="11080"/>
                  </a:lnTo>
                  <a:lnTo>
                    <a:pt x="4343" y="11214"/>
                  </a:lnTo>
                  <a:lnTo>
                    <a:pt x="4418" y="11349"/>
                  </a:lnTo>
                  <a:lnTo>
                    <a:pt x="4496" y="11481"/>
                  </a:lnTo>
                  <a:lnTo>
                    <a:pt x="4577" y="11613"/>
                  </a:lnTo>
                  <a:lnTo>
                    <a:pt x="4658" y="11742"/>
                  </a:lnTo>
                  <a:lnTo>
                    <a:pt x="4742" y="11871"/>
                  </a:lnTo>
                  <a:lnTo>
                    <a:pt x="4828" y="11997"/>
                  </a:lnTo>
                  <a:lnTo>
                    <a:pt x="4917" y="12122"/>
                  </a:lnTo>
                  <a:lnTo>
                    <a:pt x="5007" y="12244"/>
                  </a:lnTo>
                  <a:lnTo>
                    <a:pt x="5100" y="12363"/>
                  </a:lnTo>
                  <a:lnTo>
                    <a:pt x="4848" y="12421"/>
                  </a:lnTo>
                  <a:lnTo>
                    <a:pt x="4601" y="12481"/>
                  </a:lnTo>
                  <a:lnTo>
                    <a:pt x="4359" y="12544"/>
                  </a:lnTo>
                  <a:lnTo>
                    <a:pt x="4123" y="12609"/>
                  </a:lnTo>
                  <a:lnTo>
                    <a:pt x="3892" y="12678"/>
                  </a:lnTo>
                  <a:lnTo>
                    <a:pt x="3668" y="12748"/>
                  </a:lnTo>
                  <a:lnTo>
                    <a:pt x="3450" y="12819"/>
                  </a:lnTo>
                  <a:lnTo>
                    <a:pt x="3239" y="12892"/>
                  </a:lnTo>
                  <a:lnTo>
                    <a:pt x="3033" y="12967"/>
                  </a:lnTo>
                  <a:lnTo>
                    <a:pt x="2835" y="13041"/>
                  </a:lnTo>
                  <a:lnTo>
                    <a:pt x="2643" y="13116"/>
                  </a:lnTo>
                  <a:lnTo>
                    <a:pt x="2458" y="13191"/>
                  </a:lnTo>
                  <a:lnTo>
                    <a:pt x="2280" y="13267"/>
                  </a:lnTo>
                  <a:lnTo>
                    <a:pt x="2110" y="13341"/>
                  </a:lnTo>
                  <a:lnTo>
                    <a:pt x="1946" y="13415"/>
                  </a:lnTo>
                  <a:lnTo>
                    <a:pt x="1790" y="13488"/>
                  </a:lnTo>
                  <a:lnTo>
                    <a:pt x="1642" y="13558"/>
                  </a:lnTo>
                  <a:lnTo>
                    <a:pt x="1502" y="13627"/>
                  </a:lnTo>
                  <a:lnTo>
                    <a:pt x="1370" y="13693"/>
                  </a:lnTo>
                  <a:lnTo>
                    <a:pt x="1245" y="13758"/>
                  </a:lnTo>
                  <a:lnTo>
                    <a:pt x="1130" y="13820"/>
                  </a:lnTo>
                  <a:lnTo>
                    <a:pt x="1023" y="13878"/>
                  </a:lnTo>
                  <a:lnTo>
                    <a:pt x="923" y="13933"/>
                  </a:lnTo>
                  <a:lnTo>
                    <a:pt x="834" y="13984"/>
                  </a:lnTo>
                  <a:lnTo>
                    <a:pt x="753" y="14031"/>
                  </a:lnTo>
                  <a:lnTo>
                    <a:pt x="680" y="14074"/>
                  </a:lnTo>
                  <a:lnTo>
                    <a:pt x="618" y="14112"/>
                  </a:lnTo>
                  <a:lnTo>
                    <a:pt x="564" y="14145"/>
                  </a:lnTo>
                  <a:lnTo>
                    <a:pt x="486" y="14194"/>
                  </a:lnTo>
                  <a:lnTo>
                    <a:pt x="448" y="14219"/>
                  </a:lnTo>
                  <a:lnTo>
                    <a:pt x="413" y="14243"/>
                  </a:lnTo>
                  <a:lnTo>
                    <a:pt x="380" y="14267"/>
                  </a:lnTo>
                  <a:lnTo>
                    <a:pt x="349" y="14294"/>
                  </a:lnTo>
                  <a:lnTo>
                    <a:pt x="319" y="14321"/>
                  </a:lnTo>
                  <a:lnTo>
                    <a:pt x="290" y="14349"/>
                  </a:lnTo>
                  <a:lnTo>
                    <a:pt x="262" y="14378"/>
                  </a:lnTo>
                  <a:lnTo>
                    <a:pt x="236" y="14408"/>
                  </a:lnTo>
                  <a:lnTo>
                    <a:pt x="211" y="14439"/>
                  </a:lnTo>
                  <a:lnTo>
                    <a:pt x="187" y="14471"/>
                  </a:lnTo>
                  <a:lnTo>
                    <a:pt x="165" y="14504"/>
                  </a:lnTo>
                  <a:lnTo>
                    <a:pt x="144" y="14537"/>
                  </a:lnTo>
                  <a:lnTo>
                    <a:pt x="123" y="14572"/>
                  </a:lnTo>
                  <a:lnTo>
                    <a:pt x="105" y="14607"/>
                  </a:lnTo>
                  <a:lnTo>
                    <a:pt x="88" y="14643"/>
                  </a:lnTo>
                  <a:lnTo>
                    <a:pt x="73" y="14679"/>
                  </a:lnTo>
                  <a:lnTo>
                    <a:pt x="59" y="14715"/>
                  </a:lnTo>
                  <a:lnTo>
                    <a:pt x="46" y="14753"/>
                  </a:lnTo>
                  <a:lnTo>
                    <a:pt x="35" y="14790"/>
                  </a:lnTo>
                  <a:lnTo>
                    <a:pt x="26" y="14828"/>
                  </a:lnTo>
                  <a:lnTo>
                    <a:pt x="18" y="14868"/>
                  </a:lnTo>
                  <a:lnTo>
                    <a:pt x="11" y="14907"/>
                  </a:lnTo>
                  <a:lnTo>
                    <a:pt x="6" y="14946"/>
                  </a:lnTo>
                  <a:lnTo>
                    <a:pt x="3" y="14985"/>
                  </a:lnTo>
                  <a:lnTo>
                    <a:pt x="1" y="15025"/>
                  </a:lnTo>
                  <a:lnTo>
                    <a:pt x="0" y="15065"/>
                  </a:lnTo>
                  <a:lnTo>
                    <a:pt x="1" y="15106"/>
                  </a:lnTo>
                  <a:lnTo>
                    <a:pt x="4" y="15145"/>
                  </a:lnTo>
                  <a:lnTo>
                    <a:pt x="9" y="15185"/>
                  </a:lnTo>
                  <a:lnTo>
                    <a:pt x="15" y="15225"/>
                  </a:lnTo>
                  <a:lnTo>
                    <a:pt x="23" y="15265"/>
                  </a:lnTo>
                  <a:lnTo>
                    <a:pt x="32" y="15305"/>
                  </a:lnTo>
                  <a:lnTo>
                    <a:pt x="43" y="15345"/>
                  </a:lnTo>
                  <a:lnTo>
                    <a:pt x="56" y="15385"/>
                  </a:lnTo>
                  <a:lnTo>
                    <a:pt x="70" y="15423"/>
                  </a:lnTo>
                  <a:lnTo>
                    <a:pt x="86" y="15461"/>
                  </a:lnTo>
                  <a:lnTo>
                    <a:pt x="103" y="15497"/>
                  </a:lnTo>
                  <a:lnTo>
                    <a:pt x="121" y="15533"/>
                  </a:lnTo>
                  <a:lnTo>
                    <a:pt x="142" y="15568"/>
                  </a:lnTo>
                  <a:lnTo>
                    <a:pt x="163" y="15602"/>
                  </a:lnTo>
                  <a:lnTo>
                    <a:pt x="186" y="15635"/>
                  </a:lnTo>
                  <a:lnTo>
                    <a:pt x="209" y="15667"/>
                  </a:lnTo>
                  <a:lnTo>
                    <a:pt x="234" y="15698"/>
                  </a:lnTo>
                  <a:lnTo>
                    <a:pt x="260" y="15728"/>
                  </a:lnTo>
                  <a:lnTo>
                    <a:pt x="287" y="15757"/>
                  </a:lnTo>
                  <a:lnTo>
                    <a:pt x="315" y="15784"/>
                  </a:lnTo>
                  <a:lnTo>
                    <a:pt x="344" y="15811"/>
                  </a:lnTo>
                  <a:lnTo>
                    <a:pt x="374" y="15836"/>
                  </a:lnTo>
                  <a:lnTo>
                    <a:pt x="405" y="15860"/>
                  </a:lnTo>
                  <a:lnTo>
                    <a:pt x="438" y="15883"/>
                  </a:lnTo>
                  <a:lnTo>
                    <a:pt x="471" y="15904"/>
                  </a:lnTo>
                  <a:lnTo>
                    <a:pt x="505" y="15926"/>
                  </a:lnTo>
                  <a:lnTo>
                    <a:pt x="540" y="15944"/>
                  </a:lnTo>
                  <a:lnTo>
                    <a:pt x="575" y="15962"/>
                  </a:lnTo>
                  <a:lnTo>
                    <a:pt x="611" y="15978"/>
                  </a:lnTo>
                  <a:lnTo>
                    <a:pt x="647" y="15993"/>
                  </a:lnTo>
                  <a:lnTo>
                    <a:pt x="685" y="16006"/>
                  </a:lnTo>
                  <a:lnTo>
                    <a:pt x="724" y="16018"/>
                  </a:lnTo>
                  <a:lnTo>
                    <a:pt x="762" y="16029"/>
                  </a:lnTo>
                  <a:lnTo>
                    <a:pt x="801" y="16037"/>
                  </a:lnTo>
                  <a:lnTo>
                    <a:pt x="841" y="16045"/>
                  </a:lnTo>
                  <a:lnTo>
                    <a:pt x="881" y="16050"/>
                  </a:lnTo>
                  <a:lnTo>
                    <a:pt x="921" y="16055"/>
                  </a:lnTo>
                  <a:lnTo>
                    <a:pt x="962" y="16057"/>
                  </a:lnTo>
                  <a:lnTo>
                    <a:pt x="1004" y="16058"/>
                  </a:lnTo>
                  <a:lnTo>
                    <a:pt x="15054" y="16058"/>
                  </a:lnTo>
                  <a:lnTo>
                    <a:pt x="15096" y="16057"/>
                  </a:lnTo>
                  <a:lnTo>
                    <a:pt x="15137" y="16055"/>
                  </a:lnTo>
                  <a:lnTo>
                    <a:pt x="15177" y="16050"/>
                  </a:lnTo>
                  <a:lnTo>
                    <a:pt x="15217" y="16045"/>
                  </a:lnTo>
                  <a:lnTo>
                    <a:pt x="15257" y="16037"/>
                  </a:lnTo>
                  <a:lnTo>
                    <a:pt x="15296" y="16029"/>
                  </a:lnTo>
                  <a:lnTo>
                    <a:pt x="15334" y="16018"/>
                  </a:lnTo>
                  <a:lnTo>
                    <a:pt x="15373" y="16006"/>
                  </a:lnTo>
                  <a:lnTo>
                    <a:pt x="15411" y="15993"/>
                  </a:lnTo>
                  <a:lnTo>
                    <a:pt x="15447" y="15978"/>
                  </a:lnTo>
                  <a:lnTo>
                    <a:pt x="15483" y="15962"/>
                  </a:lnTo>
                  <a:lnTo>
                    <a:pt x="15519" y="15944"/>
                  </a:lnTo>
                  <a:lnTo>
                    <a:pt x="15553" y="15926"/>
                  </a:lnTo>
                  <a:lnTo>
                    <a:pt x="15587" y="15904"/>
                  </a:lnTo>
                  <a:lnTo>
                    <a:pt x="15620" y="15883"/>
                  </a:lnTo>
                  <a:lnTo>
                    <a:pt x="15653" y="15860"/>
                  </a:lnTo>
                  <a:lnTo>
                    <a:pt x="15684" y="15836"/>
                  </a:lnTo>
                  <a:lnTo>
                    <a:pt x="15714" y="15811"/>
                  </a:lnTo>
                  <a:lnTo>
                    <a:pt x="15743" y="15784"/>
                  </a:lnTo>
                  <a:lnTo>
                    <a:pt x="15771" y="15757"/>
                  </a:lnTo>
                  <a:lnTo>
                    <a:pt x="15798" y="15728"/>
                  </a:lnTo>
                  <a:lnTo>
                    <a:pt x="15824" y="15698"/>
                  </a:lnTo>
                  <a:lnTo>
                    <a:pt x="15849" y="15667"/>
                  </a:lnTo>
                  <a:lnTo>
                    <a:pt x="15872" y="15635"/>
                  </a:lnTo>
                  <a:lnTo>
                    <a:pt x="15895" y="15602"/>
                  </a:lnTo>
                  <a:lnTo>
                    <a:pt x="15916" y="15568"/>
                  </a:lnTo>
                  <a:lnTo>
                    <a:pt x="15937" y="15533"/>
                  </a:lnTo>
                  <a:lnTo>
                    <a:pt x="15955" y="15497"/>
                  </a:lnTo>
                  <a:lnTo>
                    <a:pt x="15972" y="15461"/>
                  </a:lnTo>
                  <a:lnTo>
                    <a:pt x="15988" y="15423"/>
                  </a:lnTo>
                  <a:lnTo>
                    <a:pt x="16002" y="15385"/>
                  </a:lnTo>
                  <a:lnTo>
                    <a:pt x="16015" y="15345"/>
                  </a:lnTo>
                  <a:lnTo>
                    <a:pt x="16026" y="15305"/>
                  </a:lnTo>
                  <a:lnTo>
                    <a:pt x="16035" y="15265"/>
                  </a:lnTo>
                  <a:lnTo>
                    <a:pt x="16043" y="15225"/>
                  </a:lnTo>
                  <a:lnTo>
                    <a:pt x="16049" y="15185"/>
                  </a:lnTo>
                  <a:lnTo>
                    <a:pt x="16054" y="15145"/>
                  </a:lnTo>
                  <a:lnTo>
                    <a:pt x="16057" y="15106"/>
                  </a:lnTo>
                  <a:lnTo>
                    <a:pt x="16058" y="15065"/>
                  </a:lnTo>
                  <a:lnTo>
                    <a:pt x="16057" y="15025"/>
                  </a:lnTo>
                  <a:lnTo>
                    <a:pt x="16056" y="14985"/>
                  </a:lnTo>
                  <a:lnTo>
                    <a:pt x="16052" y="14946"/>
                  </a:lnTo>
                  <a:lnTo>
                    <a:pt x="16047" y="14907"/>
                  </a:lnTo>
                  <a:lnTo>
                    <a:pt x="16040" y="14868"/>
                  </a:lnTo>
                  <a:lnTo>
                    <a:pt x="16032" y="14828"/>
                  </a:lnTo>
                  <a:lnTo>
                    <a:pt x="16023" y="14790"/>
                  </a:lnTo>
                  <a:lnTo>
                    <a:pt x="16012" y="14753"/>
                  </a:lnTo>
                  <a:lnTo>
                    <a:pt x="15999" y="14715"/>
                  </a:lnTo>
                  <a:lnTo>
                    <a:pt x="15985" y="14679"/>
                  </a:lnTo>
                  <a:lnTo>
                    <a:pt x="15970" y="14643"/>
                  </a:lnTo>
                  <a:lnTo>
                    <a:pt x="15953" y="14607"/>
                  </a:lnTo>
                  <a:lnTo>
                    <a:pt x="15935" y="14572"/>
                  </a:lnTo>
                  <a:lnTo>
                    <a:pt x="15914" y="14537"/>
                  </a:lnTo>
                  <a:lnTo>
                    <a:pt x="15893" y="14504"/>
                  </a:lnTo>
                  <a:lnTo>
                    <a:pt x="15871" y="14471"/>
                  </a:lnTo>
                  <a:lnTo>
                    <a:pt x="15847" y="14439"/>
                  </a:lnTo>
                  <a:lnTo>
                    <a:pt x="15822" y="14408"/>
                  </a:lnTo>
                  <a:lnTo>
                    <a:pt x="15796" y="14378"/>
                  </a:lnTo>
                  <a:lnTo>
                    <a:pt x="15768" y="14349"/>
                  </a:lnTo>
                  <a:lnTo>
                    <a:pt x="15739" y="14321"/>
                  </a:lnTo>
                  <a:lnTo>
                    <a:pt x="15709" y="14294"/>
                  </a:lnTo>
                  <a:lnTo>
                    <a:pt x="15678" y="14267"/>
                  </a:lnTo>
                  <a:lnTo>
                    <a:pt x="15645" y="14243"/>
                  </a:lnTo>
                  <a:lnTo>
                    <a:pt x="15610" y="1421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7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3" name="ísḷïḋè">
              <a:extLst>
                <a:ext uri="{FF2B5EF4-FFF2-40B4-BE49-F238E27FC236}">
                  <a16:creationId xmlns:a16="http://schemas.microsoft.com/office/drawing/2014/main" id="{2BAFCAB9-40F6-498A-9DDC-8B7383EC11AD}"/>
                </a:ext>
              </a:extLst>
            </p:cNvPr>
            <p:cNvSpPr/>
            <p:nvPr/>
          </p:nvSpPr>
          <p:spPr bwMode="auto">
            <a:xfrm>
              <a:off x="1275039" y="21043"/>
              <a:ext cx="537200" cy="611928"/>
            </a:xfrm>
            <a:custGeom>
              <a:avLst/>
              <a:gdLst>
                <a:gd name="T0" fmla="*/ 1013 w 14097"/>
                <a:gd name="T1" fmla="*/ 3436 h 16058"/>
                <a:gd name="T2" fmla="*/ 1079 w 14097"/>
                <a:gd name="T3" fmla="*/ 3253 h 16058"/>
                <a:gd name="T4" fmla="*/ 1209 w 14097"/>
                <a:gd name="T5" fmla="*/ 3111 h 16058"/>
                <a:gd name="T6" fmla="*/ 1385 w 14097"/>
                <a:gd name="T7" fmla="*/ 3027 h 16058"/>
                <a:gd name="T8" fmla="*/ 12638 w 14097"/>
                <a:gd name="T9" fmla="*/ 3014 h 16058"/>
                <a:gd name="T10" fmla="*/ 12827 w 14097"/>
                <a:gd name="T11" fmla="*/ 3072 h 16058"/>
                <a:gd name="T12" fmla="*/ 12975 w 14097"/>
                <a:gd name="T13" fmla="*/ 3194 h 16058"/>
                <a:gd name="T14" fmla="*/ 13068 w 14097"/>
                <a:gd name="T15" fmla="*/ 3364 h 16058"/>
                <a:gd name="T16" fmla="*/ 12083 w 14097"/>
                <a:gd name="T17" fmla="*/ 14051 h 16058"/>
                <a:gd name="T18" fmla="*/ 12004 w 14097"/>
                <a:gd name="T19" fmla="*/ 14441 h 16058"/>
                <a:gd name="T20" fmla="*/ 11788 w 14097"/>
                <a:gd name="T21" fmla="*/ 14760 h 16058"/>
                <a:gd name="T22" fmla="*/ 11468 w 14097"/>
                <a:gd name="T23" fmla="*/ 14975 h 16058"/>
                <a:gd name="T24" fmla="*/ 11076 w 14097"/>
                <a:gd name="T25" fmla="*/ 15054 h 16058"/>
                <a:gd name="T26" fmla="*/ 2675 w 14097"/>
                <a:gd name="T27" fmla="*/ 14993 h 16058"/>
                <a:gd name="T28" fmla="*/ 2344 w 14097"/>
                <a:gd name="T29" fmla="*/ 14793 h 16058"/>
                <a:gd name="T30" fmla="*/ 2114 w 14097"/>
                <a:gd name="T31" fmla="*/ 14485 h 16058"/>
                <a:gd name="T32" fmla="*/ 2015 w 14097"/>
                <a:gd name="T33" fmla="*/ 14102 h 16058"/>
                <a:gd name="T34" fmla="*/ 4034 w 14097"/>
                <a:gd name="T35" fmla="*/ 1429 h 16058"/>
                <a:gd name="T36" fmla="*/ 4100 w 14097"/>
                <a:gd name="T37" fmla="*/ 1245 h 16058"/>
                <a:gd name="T38" fmla="*/ 4230 w 14097"/>
                <a:gd name="T39" fmla="*/ 1104 h 16058"/>
                <a:gd name="T40" fmla="*/ 4405 w 14097"/>
                <a:gd name="T41" fmla="*/ 1020 h 16058"/>
                <a:gd name="T42" fmla="*/ 9617 w 14097"/>
                <a:gd name="T43" fmla="*/ 1007 h 16058"/>
                <a:gd name="T44" fmla="*/ 9806 w 14097"/>
                <a:gd name="T45" fmla="*/ 1065 h 16058"/>
                <a:gd name="T46" fmla="*/ 9954 w 14097"/>
                <a:gd name="T47" fmla="*/ 1186 h 16058"/>
                <a:gd name="T48" fmla="*/ 10047 w 14097"/>
                <a:gd name="T49" fmla="*/ 1357 h 16058"/>
                <a:gd name="T50" fmla="*/ 4028 w 14097"/>
                <a:gd name="T51" fmla="*/ 2007 h 16058"/>
                <a:gd name="T52" fmla="*/ 13999 w 14097"/>
                <a:gd name="T53" fmla="*/ 2998 h 16058"/>
                <a:gd name="T54" fmla="*/ 13716 w 14097"/>
                <a:gd name="T55" fmla="*/ 2519 h 16058"/>
                <a:gd name="T56" fmla="*/ 13281 w 14097"/>
                <a:gd name="T57" fmla="*/ 2177 h 16058"/>
                <a:gd name="T58" fmla="*/ 12736 w 14097"/>
                <a:gd name="T59" fmla="*/ 2015 h 16058"/>
                <a:gd name="T60" fmla="*/ 11059 w 14097"/>
                <a:gd name="T61" fmla="*/ 1277 h 16058"/>
                <a:gd name="T62" fmla="*/ 10858 w 14097"/>
                <a:gd name="T63" fmla="*/ 725 h 16058"/>
                <a:gd name="T64" fmla="*/ 10470 w 14097"/>
                <a:gd name="T65" fmla="*/ 299 h 16058"/>
                <a:gd name="T66" fmla="*/ 9943 w 14097"/>
                <a:gd name="T67" fmla="*/ 47 h 16058"/>
                <a:gd name="T68" fmla="*/ 4377 w 14097"/>
                <a:gd name="T69" fmla="*/ 8 h 16058"/>
                <a:gd name="T70" fmla="*/ 3811 w 14097"/>
                <a:gd name="T71" fmla="*/ 182 h 16058"/>
                <a:gd name="T72" fmla="*/ 3366 w 14097"/>
                <a:gd name="T73" fmla="*/ 548 h 16058"/>
                <a:gd name="T74" fmla="*/ 3088 w 14097"/>
                <a:gd name="T75" fmla="*/ 1058 h 16058"/>
                <a:gd name="T76" fmla="*/ 3021 w 14097"/>
                <a:gd name="T77" fmla="*/ 2007 h 16058"/>
                <a:gd name="T78" fmla="*/ 1010 w 14097"/>
                <a:gd name="T79" fmla="*/ 2093 h 16058"/>
                <a:gd name="T80" fmla="*/ 529 w 14097"/>
                <a:gd name="T81" fmla="*/ 2373 h 16058"/>
                <a:gd name="T82" fmla="*/ 183 w 14097"/>
                <a:gd name="T83" fmla="*/ 2805 h 16058"/>
                <a:gd name="T84" fmla="*/ 16 w 14097"/>
                <a:gd name="T85" fmla="*/ 3347 h 16058"/>
                <a:gd name="T86" fmla="*/ 20 w 14097"/>
                <a:gd name="T87" fmla="*/ 4719 h 16058"/>
                <a:gd name="T88" fmla="*/ 172 w 14097"/>
                <a:gd name="T89" fmla="*/ 5077 h 16058"/>
                <a:gd name="T90" fmla="*/ 444 w 14097"/>
                <a:gd name="T91" fmla="*/ 5348 h 16058"/>
                <a:gd name="T92" fmla="*/ 805 w 14097"/>
                <a:gd name="T93" fmla="*/ 5500 h 16058"/>
                <a:gd name="T94" fmla="*/ 1030 w 14097"/>
                <a:gd name="T95" fmla="*/ 14357 h 16058"/>
                <a:gd name="T96" fmla="*/ 1299 w 14097"/>
                <a:gd name="T97" fmla="*/ 15092 h 16058"/>
                <a:gd name="T98" fmla="*/ 1815 w 14097"/>
                <a:gd name="T99" fmla="*/ 15660 h 16058"/>
                <a:gd name="T100" fmla="*/ 2517 w 14097"/>
                <a:gd name="T101" fmla="*/ 15995 h 16058"/>
                <a:gd name="T102" fmla="*/ 11283 w 14097"/>
                <a:gd name="T103" fmla="*/ 16048 h 16058"/>
                <a:gd name="T104" fmla="*/ 12036 w 14097"/>
                <a:gd name="T105" fmla="*/ 15816 h 16058"/>
                <a:gd name="T106" fmla="*/ 12630 w 14097"/>
                <a:gd name="T107" fmla="*/ 15327 h 16058"/>
                <a:gd name="T108" fmla="*/ 12999 w 14097"/>
                <a:gd name="T109" fmla="*/ 14648 h 16058"/>
                <a:gd name="T110" fmla="*/ 13141 w 14097"/>
                <a:gd name="T111" fmla="*/ 5519 h 16058"/>
                <a:gd name="T112" fmla="*/ 13526 w 14097"/>
                <a:gd name="T113" fmla="*/ 5421 h 16058"/>
                <a:gd name="T114" fmla="*/ 13835 w 14097"/>
                <a:gd name="T115" fmla="*/ 5191 h 16058"/>
                <a:gd name="T116" fmla="*/ 14036 w 14097"/>
                <a:gd name="T117" fmla="*/ 4862 h 16058"/>
                <a:gd name="T118" fmla="*/ 14097 w 14097"/>
                <a:gd name="T119" fmla="*/ 4015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4097" h="16058">
                  <a:moveTo>
                    <a:pt x="13090" y="4015"/>
                  </a:moveTo>
                  <a:lnTo>
                    <a:pt x="13090" y="4516"/>
                  </a:lnTo>
                  <a:lnTo>
                    <a:pt x="1007" y="4516"/>
                  </a:lnTo>
                  <a:lnTo>
                    <a:pt x="1007" y="4015"/>
                  </a:lnTo>
                  <a:lnTo>
                    <a:pt x="1007" y="3514"/>
                  </a:lnTo>
                  <a:lnTo>
                    <a:pt x="1008" y="3488"/>
                  </a:lnTo>
                  <a:lnTo>
                    <a:pt x="1010" y="3462"/>
                  </a:lnTo>
                  <a:lnTo>
                    <a:pt x="1013" y="3436"/>
                  </a:lnTo>
                  <a:lnTo>
                    <a:pt x="1017" y="3412"/>
                  </a:lnTo>
                  <a:lnTo>
                    <a:pt x="1023" y="3387"/>
                  </a:lnTo>
                  <a:lnTo>
                    <a:pt x="1029" y="3364"/>
                  </a:lnTo>
                  <a:lnTo>
                    <a:pt x="1037" y="3340"/>
                  </a:lnTo>
                  <a:lnTo>
                    <a:pt x="1046" y="3318"/>
                  </a:lnTo>
                  <a:lnTo>
                    <a:pt x="1056" y="3296"/>
                  </a:lnTo>
                  <a:lnTo>
                    <a:pt x="1067" y="3274"/>
                  </a:lnTo>
                  <a:lnTo>
                    <a:pt x="1079" y="3253"/>
                  </a:lnTo>
                  <a:lnTo>
                    <a:pt x="1093" y="3233"/>
                  </a:lnTo>
                  <a:lnTo>
                    <a:pt x="1107" y="3213"/>
                  </a:lnTo>
                  <a:lnTo>
                    <a:pt x="1122" y="3194"/>
                  </a:lnTo>
                  <a:lnTo>
                    <a:pt x="1138" y="3175"/>
                  </a:lnTo>
                  <a:lnTo>
                    <a:pt x="1154" y="3158"/>
                  </a:lnTo>
                  <a:lnTo>
                    <a:pt x="1172" y="3141"/>
                  </a:lnTo>
                  <a:lnTo>
                    <a:pt x="1190" y="3126"/>
                  </a:lnTo>
                  <a:lnTo>
                    <a:pt x="1209" y="3111"/>
                  </a:lnTo>
                  <a:lnTo>
                    <a:pt x="1228" y="3097"/>
                  </a:lnTo>
                  <a:lnTo>
                    <a:pt x="1250" y="3084"/>
                  </a:lnTo>
                  <a:lnTo>
                    <a:pt x="1271" y="3072"/>
                  </a:lnTo>
                  <a:lnTo>
                    <a:pt x="1292" y="3061"/>
                  </a:lnTo>
                  <a:lnTo>
                    <a:pt x="1314" y="3051"/>
                  </a:lnTo>
                  <a:lnTo>
                    <a:pt x="1337" y="3042"/>
                  </a:lnTo>
                  <a:lnTo>
                    <a:pt x="1360" y="3034"/>
                  </a:lnTo>
                  <a:lnTo>
                    <a:pt x="1385" y="3027"/>
                  </a:lnTo>
                  <a:lnTo>
                    <a:pt x="1409" y="3022"/>
                  </a:lnTo>
                  <a:lnTo>
                    <a:pt x="1434" y="3017"/>
                  </a:lnTo>
                  <a:lnTo>
                    <a:pt x="1459" y="3014"/>
                  </a:lnTo>
                  <a:lnTo>
                    <a:pt x="1484" y="3012"/>
                  </a:lnTo>
                  <a:lnTo>
                    <a:pt x="1510" y="3012"/>
                  </a:lnTo>
                  <a:lnTo>
                    <a:pt x="12587" y="3012"/>
                  </a:lnTo>
                  <a:lnTo>
                    <a:pt x="12613" y="3012"/>
                  </a:lnTo>
                  <a:lnTo>
                    <a:pt x="12638" y="3014"/>
                  </a:lnTo>
                  <a:lnTo>
                    <a:pt x="12663" y="3017"/>
                  </a:lnTo>
                  <a:lnTo>
                    <a:pt x="12688" y="3022"/>
                  </a:lnTo>
                  <a:lnTo>
                    <a:pt x="12712" y="3027"/>
                  </a:lnTo>
                  <a:lnTo>
                    <a:pt x="12737" y="3034"/>
                  </a:lnTo>
                  <a:lnTo>
                    <a:pt x="12760" y="3042"/>
                  </a:lnTo>
                  <a:lnTo>
                    <a:pt x="12783" y="3051"/>
                  </a:lnTo>
                  <a:lnTo>
                    <a:pt x="12805" y="3061"/>
                  </a:lnTo>
                  <a:lnTo>
                    <a:pt x="12827" y="3072"/>
                  </a:lnTo>
                  <a:lnTo>
                    <a:pt x="12847" y="3084"/>
                  </a:lnTo>
                  <a:lnTo>
                    <a:pt x="12869" y="3097"/>
                  </a:lnTo>
                  <a:lnTo>
                    <a:pt x="12888" y="3111"/>
                  </a:lnTo>
                  <a:lnTo>
                    <a:pt x="12907" y="3126"/>
                  </a:lnTo>
                  <a:lnTo>
                    <a:pt x="12925" y="3141"/>
                  </a:lnTo>
                  <a:lnTo>
                    <a:pt x="12943" y="3158"/>
                  </a:lnTo>
                  <a:lnTo>
                    <a:pt x="12959" y="3175"/>
                  </a:lnTo>
                  <a:lnTo>
                    <a:pt x="12975" y="3194"/>
                  </a:lnTo>
                  <a:lnTo>
                    <a:pt x="12990" y="3213"/>
                  </a:lnTo>
                  <a:lnTo>
                    <a:pt x="13004" y="3233"/>
                  </a:lnTo>
                  <a:lnTo>
                    <a:pt x="13018" y="3253"/>
                  </a:lnTo>
                  <a:lnTo>
                    <a:pt x="13030" y="3274"/>
                  </a:lnTo>
                  <a:lnTo>
                    <a:pt x="13041" y="3296"/>
                  </a:lnTo>
                  <a:lnTo>
                    <a:pt x="13051" y="3318"/>
                  </a:lnTo>
                  <a:lnTo>
                    <a:pt x="13060" y="3340"/>
                  </a:lnTo>
                  <a:lnTo>
                    <a:pt x="13068" y="3364"/>
                  </a:lnTo>
                  <a:lnTo>
                    <a:pt x="13074" y="3387"/>
                  </a:lnTo>
                  <a:lnTo>
                    <a:pt x="13080" y="3412"/>
                  </a:lnTo>
                  <a:lnTo>
                    <a:pt x="13084" y="3436"/>
                  </a:lnTo>
                  <a:lnTo>
                    <a:pt x="13087" y="3462"/>
                  </a:lnTo>
                  <a:lnTo>
                    <a:pt x="13089" y="3488"/>
                  </a:lnTo>
                  <a:lnTo>
                    <a:pt x="13090" y="3514"/>
                  </a:lnTo>
                  <a:lnTo>
                    <a:pt x="13090" y="4015"/>
                  </a:lnTo>
                  <a:close/>
                  <a:moveTo>
                    <a:pt x="12083" y="14051"/>
                  </a:moveTo>
                  <a:lnTo>
                    <a:pt x="12082" y="14102"/>
                  </a:lnTo>
                  <a:lnTo>
                    <a:pt x="12078" y="14153"/>
                  </a:lnTo>
                  <a:lnTo>
                    <a:pt x="12071" y="14203"/>
                  </a:lnTo>
                  <a:lnTo>
                    <a:pt x="12063" y="14252"/>
                  </a:lnTo>
                  <a:lnTo>
                    <a:pt x="12051" y="14302"/>
                  </a:lnTo>
                  <a:lnTo>
                    <a:pt x="12038" y="14349"/>
                  </a:lnTo>
                  <a:lnTo>
                    <a:pt x="12022" y="14396"/>
                  </a:lnTo>
                  <a:lnTo>
                    <a:pt x="12004" y="14441"/>
                  </a:lnTo>
                  <a:lnTo>
                    <a:pt x="11983" y="14485"/>
                  </a:lnTo>
                  <a:lnTo>
                    <a:pt x="11961" y="14528"/>
                  </a:lnTo>
                  <a:lnTo>
                    <a:pt x="11937" y="14571"/>
                  </a:lnTo>
                  <a:lnTo>
                    <a:pt x="11911" y="14612"/>
                  </a:lnTo>
                  <a:lnTo>
                    <a:pt x="11883" y="14651"/>
                  </a:lnTo>
                  <a:lnTo>
                    <a:pt x="11853" y="14689"/>
                  </a:lnTo>
                  <a:lnTo>
                    <a:pt x="11821" y="14725"/>
                  </a:lnTo>
                  <a:lnTo>
                    <a:pt x="11788" y="14760"/>
                  </a:lnTo>
                  <a:lnTo>
                    <a:pt x="11753" y="14793"/>
                  </a:lnTo>
                  <a:lnTo>
                    <a:pt x="11717" y="14825"/>
                  </a:lnTo>
                  <a:lnTo>
                    <a:pt x="11678" y="14855"/>
                  </a:lnTo>
                  <a:lnTo>
                    <a:pt x="11639" y="14883"/>
                  </a:lnTo>
                  <a:lnTo>
                    <a:pt x="11598" y="14909"/>
                  </a:lnTo>
                  <a:lnTo>
                    <a:pt x="11556" y="14933"/>
                  </a:lnTo>
                  <a:lnTo>
                    <a:pt x="11512" y="14955"/>
                  </a:lnTo>
                  <a:lnTo>
                    <a:pt x="11468" y="14975"/>
                  </a:lnTo>
                  <a:lnTo>
                    <a:pt x="11423" y="14993"/>
                  </a:lnTo>
                  <a:lnTo>
                    <a:pt x="11375" y="15009"/>
                  </a:lnTo>
                  <a:lnTo>
                    <a:pt x="11328" y="15022"/>
                  </a:lnTo>
                  <a:lnTo>
                    <a:pt x="11279" y="15034"/>
                  </a:lnTo>
                  <a:lnTo>
                    <a:pt x="11229" y="15042"/>
                  </a:lnTo>
                  <a:lnTo>
                    <a:pt x="11179" y="15049"/>
                  </a:lnTo>
                  <a:lnTo>
                    <a:pt x="11128" y="15053"/>
                  </a:lnTo>
                  <a:lnTo>
                    <a:pt x="11076" y="15054"/>
                  </a:lnTo>
                  <a:lnTo>
                    <a:pt x="3021" y="15054"/>
                  </a:lnTo>
                  <a:lnTo>
                    <a:pt x="2969" y="15053"/>
                  </a:lnTo>
                  <a:lnTo>
                    <a:pt x="2918" y="15049"/>
                  </a:lnTo>
                  <a:lnTo>
                    <a:pt x="2868" y="15042"/>
                  </a:lnTo>
                  <a:lnTo>
                    <a:pt x="2818" y="15034"/>
                  </a:lnTo>
                  <a:lnTo>
                    <a:pt x="2769" y="15022"/>
                  </a:lnTo>
                  <a:lnTo>
                    <a:pt x="2722" y="15009"/>
                  </a:lnTo>
                  <a:lnTo>
                    <a:pt x="2675" y="14993"/>
                  </a:lnTo>
                  <a:lnTo>
                    <a:pt x="2629" y="14975"/>
                  </a:lnTo>
                  <a:lnTo>
                    <a:pt x="2585" y="14955"/>
                  </a:lnTo>
                  <a:lnTo>
                    <a:pt x="2541" y="14933"/>
                  </a:lnTo>
                  <a:lnTo>
                    <a:pt x="2499" y="14909"/>
                  </a:lnTo>
                  <a:lnTo>
                    <a:pt x="2458" y="14883"/>
                  </a:lnTo>
                  <a:lnTo>
                    <a:pt x="2419" y="14855"/>
                  </a:lnTo>
                  <a:lnTo>
                    <a:pt x="2380" y="14825"/>
                  </a:lnTo>
                  <a:lnTo>
                    <a:pt x="2344" y="14793"/>
                  </a:lnTo>
                  <a:lnTo>
                    <a:pt x="2309" y="14760"/>
                  </a:lnTo>
                  <a:lnTo>
                    <a:pt x="2276" y="14725"/>
                  </a:lnTo>
                  <a:lnTo>
                    <a:pt x="2244" y="14689"/>
                  </a:lnTo>
                  <a:lnTo>
                    <a:pt x="2214" y="14651"/>
                  </a:lnTo>
                  <a:lnTo>
                    <a:pt x="2186" y="14612"/>
                  </a:lnTo>
                  <a:lnTo>
                    <a:pt x="2160" y="14571"/>
                  </a:lnTo>
                  <a:lnTo>
                    <a:pt x="2136" y="14528"/>
                  </a:lnTo>
                  <a:lnTo>
                    <a:pt x="2114" y="14485"/>
                  </a:lnTo>
                  <a:lnTo>
                    <a:pt x="2093" y="14441"/>
                  </a:lnTo>
                  <a:lnTo>
                    <a:pt x="2075" y="14396"/>
                  </a:lnTo>
                  <a:lnTo>
                    <a:pt x="2059" y="14349"/>
                  </a:lnTo>
                  <a:lnTo>
                    <a:pt x="2046" y="14302"/>
                  </a:lnTo>
                  <a:lnTo>
                    <a:pt x="2034" y="14252"/>
                  </a:lnTo>
                  <a:lnTo>
                    <a:pt x="2026" y="14203"/>
                  </a:lnTo>
                  <a:lnTo>
                    <a:pt x="2019" y="14153"/>
                  </a:lnTo>
                  <a:lnTo>
                    <a:pt x="2015" y="14102"/>
                  </a:lnTo>
                  <a:lnTo>
                    <a:pt x="2014" y="14051"/>
                  </a:lnTo>
                  <a:lnTo>
                    <a:pt x="2014" y="5520"/>
                  </a:lnTo>
                  <a:lnTo>
                    <a:pt x="12083" y="5520"/>
                  </a:lnTo>
                  <a:lnTo>
                    <a:pt x="12083" y="14051"/>
                  </a:lnTo>
                  <a:close/>
                  <a:moveTo>
                    <a:pt x="4028" y="1506"/>
                  </a:moveTo>
                  <a:lnTo>
                    <a:pt x="4029" y="1480"/>
                  </a:lnTo>
                  <a:lnTo>
                    <a:pt x="4031" y="1454"/>
                  </a:lnTo>
                  <a:lnTo>
                    <a:pt x="4034" y="1429"/>
                  </a:lnTo>
                  <a:lnTo>
                    <a:pt x="4038" y="1405"/>
                  </a:lnTo>
                  <a:lnTo>
                    <a:pt x="4044" y="1380"/>
                  </a:lnTo>
                  <a:lnTo>
                    <a:pt x="4050" y="1357"/>
                  </a:lnTo>
                  <a:lnTo>
                    <a:pt x="4058" y="1334"/>
                  </a:lnTo>
                  <a:lnTo>
                    <a:pt x="4067" y="1311"/>
                  </a:lnTo>
                  <a:lnTo>
                    <a:pt x="4077" y="1289"/>
                  </a:lnTo>
                  <a:lnTo>
                    <a:pt x="4088" y="1267"/>
                  </a:lnTo>
                  <a:lnTo>
                    <a:pt x="4100" y="1245"/>
                  </a:lnTo>
                  <a:lnTo>
                    <a:pt x="4113" y="1225"/>
                  </a:lnTo>
                  <a:lnTo>
                    <a:pt x="4127" y="1205"/>
                  </a:lnTo>
                  <a:lnTo>
                    <a:pt x="4143" y="1186"/>
                  </a:lnTo>
                  <a:lnTo>
                    <a:pt x="4159" y="1168"/>
                  </a:lnTo>
                  <a:lnTo>
                    <a:pt x="4175" y="1151"/>
                  </a:lnTo>
                  <a:lnTo>
                    <a:pt x="4193" y="1134"/>
                  </a:lnTo>
                  <a:lnTo>
                    <a:pt x="4211" y="1119"/>
                  </a:lnTo>
                  <a:lnTo>
                    <a:pt x="4230" y="1104"/>
                  </a:lnTo>
                  <a:lnTo>
                    <a:pt x="4249" y="1090"/>
                  </a:lnTo>
                  <a:lnTo>
                    <a:pt x="4270" y="1077"/>
                  </a:lnTo>
                  <a:lnTo>
                    <a:pt x="4292" y="1065"/>
                  </a:lnTo>
                  <a:lnTo>
                    <a:pt x="4313" y="1054"/>
                  </a:lnTo>
                  <a:lnTo>
                    <a:pt x="4335" y="1044"/>
                  </a:lnTo>
                  <a:lnTo>
                    <a:pt x="4358" y="1035"/>
                  </a:lnTo>
                  <a:lnTo>
                    <a:pt x="4381" y="1027"/>
                  </a:lnTo>
                  <a:lnTo>
                    <a:pt x="4405" y="1020"/>
                  </a:lnTo>
                  <a:lnTo>
                    <a:pt x="4429" y="1015"/>
                  </a:lnTo>
                  <a:lnTo>
                    <a:pt x="4455" y="1010"/>
                  </a:lnTo>
                  <a:lnTo>
                    <a:pt x="4480" y="1007"/>
                  </a:lnTo>
                  <a:lnTo>
                    <a:pt x="4505" y="1005"/>
                  </a:lnTo>
                  <a:lnTo>
                    <a:pt x="4531" y="1005"/>
                  </a:lnTo>
                  <a:lnTo>
                    <a:pt x="9566" y="1005"/>
                  </a:lnTo>
                  <a:lnTo>
                    <a:pt x="9592" y="1005"/>
                  </a:lnTo>
                  <a:lnTo>
                    <a:pt x="9617" y="1007"/>
                  </a:lnTo>
                  <a:lnTo>
                    <a:pt x="9642" y="1010"/>
                  </a:lnTo>
                  <a:lnTo>
                    <a:pt x="9668" y="1015"/>
                  </a:lnTo>
                  <a:lnTo>
                    <a:pt x="9692" y="1020"/>
                  </a:lnTo>
                  <a:lnTo>
                    <a:pt x="9716" y="1027"/>
                  </a:lnTo>
                  <a:lnTo>
                    <a:pt x="9739" y="1035"/>
                  </a:lnTo>
                  <a:lnTo>
                    <a:pt x="9762" y="1044"/>
                  </a:lnTo>
                  <a:lnTo>
                    <a:pt x="9784" y="1054"/>
                  </a:lnTo>
                  <a:lnTo>
                    <a:pt x="9806" y="1065"/>
                  </a:lnTo>
                  <a:lnTo>
                    <a:pt x="9827" y="1077"/>
                  </a:lnTo>
                  <a:lnTo>
                    <a:pt x="9848" y="1090"/>
                  </a:lnTo>
                  <a:lnTo>
                    <a:pt x="9867" y="1104"/>
                  </a:lnTo>
                  <a:lnTo>
                    <a:pt x="9886" y="1119"/>
                  </a:lnTo>
                  <a:lnTo>
                    <a:pt x="9904" y="1134"/>
                  </a:lnTo>
                  <a:lnTo>
                    <a:pt x="9922" y="1151"/>
                  </a:lnTo>
                  <a:lnTo>
                    <a:pt x="9938" y="1168"/>
                  </a:lnTo>
                  <a:lnTo>
                    <a:pt x="9954" y="1186"/>
                  </a:lnTo>
                  <a:lnTo>
                    <a:pt x="9970" y="1205"/>
                  </a:lnTo>
                  <a:lnTo>
                    <a:pt x="9984" y="1225"/>
                  </a:lnTo>
                  <a:lnTo>
                    <a:pt x="9997" y="1245"/>
                  </a:lnTo>
                  <a:lnTo>
                    <a:pt x="10009" y="1267"/>
                  </a:lnTo>
                  <a:lnTo>
                    <a:pt x="10020" y="1289"/>
                  </a:lnTo>
                  <a:lnTo>
                    <a:pt x="10030" y="1311"/>
                  </a:lnTo>
                  <a:lnTo>
                    <a:pt x="10039" y="1334"/>
                  </a:lnTo>
                  <a:lnTo>
                    <a:pt x="10047" y="1357"/>
                  </a:lnTo>
                  <a:lnTo>
                    <a:pt x="10053" y="1380"/>
                  </a:lnTo>
                  <a:lnTo>
                    <a:pt x="10059" y="1405"/>
                  </a:lnTo>
                  <a:lnTo>
                    <a:pt x="10063" y="1429"/>
                  </a:lnTo>
                  <a:lnTo>
                    <a:pt x="10066" y="1454"/>
                  </a:lnTo>
                  <a:lnTo>
                    <a:pt x="10068" y="1480"/>
                  </a:lnTo>
                  <a:lnTo>
                    <a:pt x="10069" y="1506"/>
                  </a:lnTo>
                  <a:lnTo>
                    <a:pt x="10069" y="2007"/>
                  </a:lnTo>
                  <a:lnTo>
                    <a:pt x="4028" y="2007"/>
                  </a:lnTo>
                  <a:lnTo>
                    <a:pt x="4028" y="1506"/>
                  </a:lnTo>
                  <a:close/>
                  <a:moveTo>
                    <a:pt x="14087" y="3421"/>
                  </a:moveTo>
                  <a:lnTo>
                    <a:pt x="14081" y="3347"/>
                  </a:lnTo>
                  <a:lnTo>
                    <a:pt x="14072" y="3275"/>
                  </a:lnTo>
                  <a:lnTo>
                    <a:pt x="14059" y="3204"/>
                  </a:lnTo>
                  <a:lnTo>
                    <a:pt x="14042" y="3134"/>
                  </a:lnTo>
                  <a:lnTo>
                    <a:pt x="14022" y="3065"/>
                  </a:lnTo>
                  <a:lnTo>
                    <a:pt x="13999" y="2998"/>
                  </a:lnTo>
                  <a:lnTo>
                    <a:pt x="13974" y="2932"/>
                  </a:lnTo>
                  <a:lnTo>
                    <a:pt x="13946" y="2867"/>
                  </a:lnTo>
                  <a:lnTo>
                    <a:pt x="13914" y="2805"/>
                  </a:lnTo>
                  <a:lnTo>
                    <a:pt x="13880" y="2744"/>
                  </a:lnTo>
                  <a:lnTo>
                    <a:pt x="13842" y="2685"/>
                  </a:lnTo>
                  <a:lnTo>
                    <a:pt x="13803" y="2627"/>
                  </a:lnTo>
                  <a:lnTo>
                    <a:pt x="13761" y="2572"/>
                  </a:lnTo>
                  <a:lnTo>
                    <a:pt x="13716" y="2519"/>
                  </a:lnTo>
                  <a:lnTo>
                    <a:pt x="13669" y="2468"/>
                  </a:lnTo>
                  <a:lnTo>
                    <a:pt x="13620" y="2419"/>
                  </a:lnTo>
                  <a:lnTo>
                    <a:pt x="13568" y="2373"/>
                  </a:lnTo>
                  <a:lnTo>
                    <a:pt x="13515" y="2328"/>
                  </a:lnTo>
                  <a:lnTo>
                    <a:pt x="13460" y="2286"/>
                  </a:lnTo>
                  <a:lnTo>
                    <a:pt x="13401" y="2247"/>
                  </a:lnTo>
                  <a:lnTo>
                    <a:pt x="13342" y="2211"/>
                  </a:lnTo>
                  <a:lnTo>
                    <a:pt x="13281" y="2177"/>
                  </a:lnTo>
                  <a:lnTo>
                    <a:pt x="13218" y="2146"/>
                  </a:lnTo>
                  <a:lnTo>
                    <a:pt x="13154" y="2118"/>
                  </a:lnTo>
                  <a:lnTo>
                    <a:pt x="13087" y="2093"/>
                  </a:lnTo>
                  <a:lnTo>
                    <a:pt x="13020" y="2070"/>
                  </a:lnTo>
                  <a:lnTo>
                    <a:pt x="12950" y="2051"/>
                  </a:lnTo>
                  <a:lnTo>
                    <a:pt x="12880" y="2036"/>
                  </a:lnTo>
                  <a:lnTo>
                    <a:pt x="12808" y="2023"/>
                  </a:lnTo>
                  <a:lnTo>
                    <a:pt x="12736" y="2015"/>
                  </a:lnTo>
                  <a:lnTo>
                    <a:pt x="12661" y="2009"/>
                  </a:lnTo>
                  <a:lnTo>
                    <a:pt x="12587" y="2007"/>
                  </a:lnTo>
                  <a:lnTo>
                    <a:pt x="11076" y="2007"/>
                  </a:lnTo>
                  <a:lnTo>
                    <a:pt x="11076" y="1506"/>
                  </a:lnTo>
                  <a:lnTo>
                    <a:pt x="11076" y="1505"/>
                  </a:lnTo>
                  <a:lnTo>
                    <a:pt x="11074" y="1428"/>
                  </a:lnTo>
                  <a:lnTo>
                    <a:pt x="11068" y="1352"/>
                  </a:lnTo>
                  <a:lnTo>
                    <a:pt x="11059" y="1277"/>
                  </a:lnTo>
                  <a:lnTo>
                    <a:pt x="11046" y="1202"/>
                  </a:lnTo>
                  <a:lnTo>
                    <a:pt x="11029" y="1129"/>
                  </a:lnTo>
                  <a:lnTo>
                    <a:pt x="11009" y="1058"/>
                  </a:lnTo>
                  <a:lnTo>
                    <a:pt x="10985" y="988"/>
                  </a:lnTo>
                  <a:lnTo>
                    <a:pt x="10957" y="919"/>
                  </a:lnTo>
                  <a:lnTo>
                    <a:pt x="10927" y="853"/>
                  </a:lnTo>
                  <a:lnTo>
                    <a:pt x="10894" y="788"/>
                  </a:lnTo>
                  <a:lnTo>
                    <a:pt x="10858" y="725"/>
                  </a:lnTo>
                  <a:lnTo>
                    <a:pt x="10818" y="663"/>
                  </a:lnTo>
                  <a:lnTo>
                    <a:pt x="10776" y="605"/>
                  </a:lnTo>
                  <a:lnTo>
                    <a:pt x="10732" y="548"/>
                  </a:lnTo>
                  <a:lnTo>
                    <a:pt x="10684" y="493"/>
                  </a:lnTo>
                  <a:lnTo>
                    <a:pt x="10634" y="441"/>
                  </a:lnTo>
                  <a:lnTo>
                    <a:pt x="10582" y="391"/>
                  </a:lnTo>
                  <a:lnTo>
                    <a:pt x="10526" y="344"/>
                  </a:lnTo>
                  <a:lnTo>
                    <a:pt x="10470" y="299"/>
                  </a:lnTo>
                  <a:lnTo>
                    <a:pt x="10411" y="257"/>
                  </a:lnTo>
                  <a:lnTo>
                    <a:pt x="10349" y="218"/>
                  </a:lnTo>
                  <a:lnTo>
                    <a:pt x="10286" y="182"/>
                  </a:lnTo>
                  <a:lnTo>
                    <a:pt x="10220" y="149"/>
                  </a:lnTo>
                  <a:lnTo>
                    <a:pt x="10154" y="118"/>
                  </a:lnTo>
                  <a:lnTo>
                    <a:pt x="10085" y="91"/>
                  </a:lnTo>
                  <a:lnTo>
                    <a:pt x="10015" y="67"/>
                  </a:lnTo>
                  <a:lnTo>
                    <a:pt x="9943" y="47"/>
                  </a:lnTo>
                  <a:lnTo>
                    <a:pt x="9870" y="30"/>
                  </a:lnTo>
                  <a:lnTo>
                    <a:pt x="9796" y="17"/>
                  </a:lnTo>
                  <a:lnTo>
                    <a:pt x="9720" y="8"/>
                  </a:lnTo>
                  <a:lnTo>
                    <a:pt x="9643" y="2"/>
                  </a:lnTo>
                  <a:lnTo>
                    <a:pt x="9566" y="0"/>
                  </a:lnTo>
                  <a:lnTo>
                    <a:pt x="4531" y="0"/>
                  </a:lnTo>
                  <a:lnTo>
                    <a:pt x="4454" y="2"/>
                  </a:lnTo>
                  <a:lnTo>
                    <a:pt x="4377" y="8"/>
                  </a:lnTo>
                  <a:lnTo>
                    <a:pt x="4302" y="17"/>
                  </a:lnTo>
                  <a:lnTo>
                    <a:pt x="4227" y="30"/>
                  </a:lnTo>
                  <a:lnTo>
                    <a:pt x="4154" y="47"/>
                  </a:lnTo>
                  <a:lnTo>
                    <a:pt x="4082" y="67"/>
                  </a:lnTo>
                  <a:lnTo>
                    <a:pt x="4012" y="91"/>
                  </a:lnTo>
                  <a:lnTo>
                    <a:pt x="3943" y="118"/>
                  </a:lnTo>
                  <a:lnTo>
                    <a:pt x="3877" y="149"/>
                  </a:lnTo>
                  <a:lnTo>
                    <a:pt x="3811" y="182"/>
                  </a:lnTo>
                  <a:lnTo>
                    <a:pt x="3748" y="218"/>
                  </a:lnTo>
                  <a:lnTo>
                    <a:pt x="3686" y="257"/>
                  </a:lnTo>
                  <a:lnTo>
                    <a:pt x="3628" y="299"/>
                  </a:lnTo>
                  <a:lnTo>
                    <a:pt x="3571" y="344"/>
                  </a:lnTo>
                  <a:lnTo>
                    <a:pt x="3515" y="391"/>
                  </a:lnTo>
                  <a:lnTo>
                    <a:pt x="3463" y="441"/>
                  </a:lnTo>
                  <a:lnTo>
                    <a:pt x="3413" y="493"/>
                  </a:lnTo>
                  <a:lnTo>
                    <a:pt x="3366" y="548"/>
                  </a:lnTo>
                  <a:lnTo>
                    <a:pt x="3321" y="605"/>
                  </a:lnTo>
                  <a:lnTo>
                    <a:pt x="3279" y="663"/>
                  </a:lnTo>
                  <a:lnTo>
                    <a:pt x="3239" y="725"/>
                  </a:lnTo>
                  <a:lnTo>
                    <a:pt x="3203" y="788"/>
                  </a:lnTo>
                  <a:lnTo>
                    <a:pt x="3170" y="853"/>
                  </a:lnTo>
                  <a:lnTo>
                    <a:pt x="3140" y="919"/>
                  </a:lnTo>
                  <a:lnTo>
                    <a:pt x="3112" y="988"/>
                  </a:lnTo>
                  <a:lnTo>
                    <a:pt x="3088" y="1058"/>
                  </a:lnTo>
                  <a:lnTo>
                    <a:pt x="3068" y="1129"/>
                  </a:lnTo>
                  <a:lnTo>
                    <a:pt x="3051" y="1202"/>
                  </a:lnTo>
                  <a:lnTo>
                    <a:pt x="3038" y="1277"/>
                  </a:lnTo>
                  <a:lnTo>
                    <a:pt x="3029" y="1352"/>
                  </a:lnTo>
                  <a:lnTo>
                    <a:pt x="3023" y="1428"/>
                  </a:lnTo>
                  <a:lnTo>
                    <a:pt x="3021" y="1505"/>
                  </a:lnTo>
                  <a:lnTo>
                    <a:pt x="3021" y="1506"/>
                  </a:lnTo>
                  <a:lnTo>
                    <a:pt x="3021" y="2007"/>
                  </a:lnTo>
                  <a:lnTo>
                    <a:pt x="1510" y="2007"/>
                  </a:lnTo>
                  <a:lnTo>
                    <a:pt x="1436" y="2009"/>
                  </a:lnTo>
                  <a:lnTo>
                    <a:pt x="1361" y="2015"/>
                  </a:lnTo>
                  <a:lnTo>
                    <a:pt x="1289" y="2023"/>
                  </a:lnTo>
                  <a:lnTo>
                    <a:pt x="1217" y="2036"/>
                  </a:lnTo>
                  <a:lnTo>
                    <a:pt x="1147" y="2051"/>
                  </a:lnTo>
                  <a:lnTo>
                    <a:pt x="1077" y="2070"/>
                  </a:lnTo>
                  <a:lnTo>
                    <a:pt x="1010" y="2093"/>
                  </a:lnTo>
                  <a:lnTo>
                    <a:pt x="943" y="2118"/>
                  </a:lnTo>
                  <a:lnTo>
                    <a:pt x="879" y="2146"/>
                  </a:lnTo>
                  <a:lnTo>
                    <a:pt x="817" y="2177"/>
                  </a:lnTo>
                  <a:lnTo>
                    <a:pt x="755" y="2211"/>
                  </a:lnTo>
                  <a:lnTo>
                    <a:pt x="696" y="2247"/>
                  </a:lnTo>
                  <a:lnTo>
                    <a:pt x="637" y="2286"/>
                  </a:lnTo>
                  <a:lnTo>
                    <a:pt x="582" y="2328"/>
                  </a:lnTo>
                  <a:lnTo>
                    <a:pt x="529" y="2373"/>
                  </a:lnTo>
                  <a:lnTo>
                    <a:pt x="477" y="2419"/>
                  </a:lnTo>
                  <a:lnTo>
                    <a:pt x="428" y="2468"/>
                  </a:lnTo>
                  <a:lnTo>
                    <a:pt x="381" y="2519"/>
                  </a:lnTo>
                  <a:lnTo>
                    <a:pt x="336" y="2572"/>
                  </a:lnTo>
                  <a:lnTo>
                    <a:pt x="294" y="2627"/>
                  </a:lnTo>
                  <a:lnTo>
                    <a:pt x="255" y="2685"/>
                  </a:lnTo>
                  <a:lnTo>
                    <a:pt x="217" y="2744"/>
                  </a:lnTo>
                  <a:lnTo>
                    <a:pt x="183" y="2805"/>
                  </a:lnTo>
                  <a:lnTo>
                    <a:pt x="152" y="2867"/>
                  </a:lnTo>
                  <a:lnTo>
                    <a:pt x="123" y="2932"/>
                  </a:lnTo>
                  <a:lnTo>
                    <a:pt x="98" y="2998"/>
                  </a:lnTo>
                  <a:lnTo>
                    <a:pt x="75" y="3065"/>
                  </a:lnTo>
                  <a:lnTo>
                    <a:pt x="55" y="3134"/>
                  </a:lnTo>
                  <a:lnTo>
                    <a:pt x="38" y="3204"/>
                  </a:lnTo>
                  <a:lnTo>
                    <a:pt x="25" y="3275"/>
                  </a:lnTo>
                  <a:lnTo>
                    <a:pt x="16" y="3347"/>
                  </a:lnTo>
                  <a:lnTo>
                    <a:pt x="10" y="3421"/>
                  </a:lnTo>
                  <a:lnTo>
                    <a:pt x="0" y="3421"/>
                  </a:lnTo>
                  <a:lnTo>
                    <a:pt x="0" y="4015"/>
                  </a:lnTo>
                  <a:lnTo>
                    <a:pt x="0" y="4516"/>
                  </a:lnTo>
                  <a:lnTo>
                    <a:pt x="1" y="4567"/>
                  </a:lnTo>
                  <a:lnTo>
                    <a:pt x="5" y="4619"/>
                  </a:lnTo>
                  <a:lnTo>
                    <a:pt x="12" y="4669"/>
                  </a:lnTo>
                  <a:lnTo>
                    <a:pt x="20" y="4719"/>
                  </a:lnTo>
                  <a:lnTo>
                    <a:pt x="32" y="4767"/>
                  </a:lnTo>
                  <a:lnTo>
                    <a:pt x="45" y="4814"/>
                  </a:lnTo>
                  <a:lnTo>
                    <a:pt x="61" y="4862"/>
                  </a:lnTo>
                  <a:lnTo>
                    <a:pt x="80" y="4907"/>
                  </a:lnTo>
                  <a:lnTo>
                    <a:pt x="100" y="4951"/>
                  </a:lnTo>
                  <a:lnTo>
                    <a:pt x="122" y="4995"/>
                  </a:lnTo>
                  <a:lnTo>
                    <a:pt x="146" y="5036"/>
                  </a:lnTo>
                  <a:lnTo>
                    <a:pt x="172" y="5077"/>
                  </a:lnTo>
                  <a:lnTo>
                    <a:pt x="200" y="5116"/>
                  </a:lnTo>
                  <a:lnTo>
                    <a:pt x="230" y="5155"/>
                  </a:lnTo>
                  <a:lnTo>
                    <a:pt x="262" y="5191"/>
                  </a:lnTo>
                  <a:lnTo>
                    <a:pt x="295" y="5226"/>
                  </a:lnTo>
                  <a:lnTo>
                    <a:pt x="330" y="5259"/>
                  </a:lnTo>
                  <a:lnTo>
                    <a:pt x="367" y="5291"/>
                  </a:lnTo>
                  <a:lnTo>
                    <a:pt x="405" y="5320"/>
                  </a:lnTo>
                  <a:lnTo>
                    <a:pt x="444" y="5348"/>
                  </a:lnTo>
                  <a:lnTo>
                    <a:pt x="485" y="5374"/>
                  </a:lnTo>
                  <a:lnTo>
                    <a:pt x="527" y="5398"/>
                  </a:lnTo>
                  <a:lnTo>
                    <a:pt x="571" y="5421"/>
                  </a:lnTo>
                  <a:lnTo>
                    <a:pt x="615" y="5441"/>
                  </a:lnTo>
                  <a:lnTo>
                    <a:pt x="661" y="5459"/>
                  </a:lnTo>
                  <a:lnTo>
                    <a:pt x="708" y="5475"/>
                  </a:lnTo>
                  <a:lnTo>
                    <a:pt x="755" y="5488"/>
                  </a:lnTo>
                  <a:lnTo>
                    <a:pt x="805" y="5500"/>
                  </a:lnTo>
                  <a:lnTo>
                    <a:pt x="854" y="5508"/>
                  </a:lnTo>
                  <a:lnTo>
                    <a:pt x="904" y="5515"/>
                  </a:lnTo>
                  <a:lnTo>
                    <a:pt x="956" y="5519"/>
                  </a:lnTo>
                  <a:lnTo>
                    <a:pt x="1007" y="5520"/>
                  </a:lnTo>
                  <a:lnTo>
                    <a:pt x="1007" y="14051"/>
                  </a:lnTo>
                  <a:lnTo>
                    <a:pt x="1010" y="14154"/>
                  </a:lnTo>
                  <a:lnTo>
                    <a:pt x="1017" y="14256"/>
                  </a:lnTo>
                  <a:lnTo>
                    <a:pt x="1030" y="14357"/>
                  </a:lnTo>
                  <a:lnTo>
                    <a:pt x="1048" y="14455"/>
                  </a:lnTo>
                  <a:lnTo>
                    <a:pt x="1070" y="14553"/>
                  </a:lnTo>
                  <a:lnTo>
                    <a:pt x="1098" y="14648"/>
                  </a:lnTo>
                  <a:lnTo>
                    <a:pt x="1129" y="14741"/>
                  </a:lnTo>
                  <a:lnTo>
                    <a:pt x="1165" y="14832"/>
                  </a:lnTo>
                  <a:lnTo>
                    <a:pt x="1205" y="14921"/>
                  </a:lnTo>
                  <a:lnTo>
                    <a:pt x="1250" y="15007"/>
                  </a:lnTo>
                  <a:lnTo>
                    <a:pt x="1299" y="15092"/>
                  </a:lnTo>
                  <a:lnTo>
                    <a:pt x="1351" y="15173"/>
                  </a:lnTo>
                  <a:lnTo>
                    <a:pt x="1407" y="15252"/>
                  </a:lnTo>
                  <a:lnTo>
                    <a:pt x="1467" y="15327"/>
                  </a:lnTo>
                  <a:lnTo>
                    <a:pt x="1531" y="15401"/>
                  </a:lnTo>
                  <a:lnTo>
                    <a:pt x="1597" y="15470"/>
                  </a:lnTo>
                  <a:lnTo>
                    <a:pt x="1666" y="15536"/>
                  </a:lnTo>
                  <a:lnTo>
                    <a:pt x="1740" y="15599"/>
                  </a:lnTo>
                  <a:lnTo>
                    <a:pt x="1815" y="15660"/>
                  </a:lnTo>
                  <a:lnTo>
                    <a:pt x="1895" y="15715"/>
                  </a:lnTo>
                  <a:lnTo>
                    <a:pt x="1977" y="15767"/>
                  </a:lnTo>
                  <a:lnTo>
                    <a:pt x="2061" y="15816"/>
                  </a:lnTo>
                  <a:lnTo>
                    <a:pt x="2148" y="15860"/>
                  </a:lnTo>
                  <a:lnTo>
                    <a:pt x="2237" y="15900"/>
                  </a:lnTo>
                  <a:lnTo>
                    <a:pt x="2328" y="15937"/>
                  </a:lnTo>
                  <a:lnTo>
                    <a:pt x="2422" y="15968"/>
                  </a:lnTo>
                  <a:lnTo>
                    <a:pt x="2517" y="15995"/>
                  </a:lnTo>
                  <a:lnTo>
                    <a:pt x="2615" y="16017"/>
                  </a:lnTo>
                  <a:lnTo>
                    <a:pt x="2714" y="16035"/>
                  </a:lnTo>
                  <a:lnTo>
                    <a:pt x="2815" y="16048"/>
                  </a:lnTo>
                  <a:lnTo>
                    <a:pt x="2917" y="16055"/>
                  </a:lnTo>
                  <a:lnTo>
                    <a:pt x="3021" y="16058"/>
                  </a:lnTo>
                  <a:lnTo>
                    <a:pt x="11076" y="16058"/>
                  </a:lnTo>
                  <a:lnTo>
                    <a:pt x="11180" y="16055"/>
                  </a:lnTo>
                  <a:lnTo>
                    <a:pt x="11283" y="16048"/>
                  </a:lnTo>
                  <a:lnTo>
                    <a:pt x="11383" y="16035"/>
                  </a:lnTo>
                  <a:lnTo>
                    <a:pt x="11482" y="16017"/>
                  </a:lnTo>
                  <a:lnTo>
                    <a:pt x="11580" y="15995"/>
                  </a:lnTo>
                  <a:lnTo>
                    <a:pt x="11675" y="15968"/>
                  </a:lnTo>
                  <a:lnTo>
                    <a:pt x="11769" y="15937"/>
                  </a:lnTo>
                  <a:lnTo>
                    <a:pt x="11861" y="15900"/>
                  </a:lnTo>
                  <a:lnTo>
                    <a:pt x="11949" y="15860"/>
                  </a:lnTo>
                  <a:lnTo>
                    <a:pt x="12036" y="15816"/>
                  </a:lnTo>
                  <a:lnTo>
                    <a:pt x="12120" y="15767"/>
                  </a:lnTo>
                  <a:lnTo>
                    <a:pt x="12202" y="15715"/>
                  </a:lnTo>
                  <a:lnTo>
                    <a:pt x="12282" y="15660"/>
                  </a:lnTo>
                  <a:lnTo>
                    <a:pt x="12357" y="15599"/>
                  </a:lnTo>
                  <a:lnTo>
                    <a:pt x="12431" y="15536"/>
                  </a:lnTo>
                  <a:lnTo>
                    <a:pt x="12500" y="15470"/>
                  </a:lnTo>
                  <a:lnTo>
                    <a:pt x="12566" y="15401"/>
                  </a:lnTo>
                  <a:lnTo>
                    <a:pt x="12630" y="15327"/>
                  </a:lnTo>
                  <a:lnTo>
                    <a:pt x="12690" y="15252"/>
                  </a:lnTo>
                  <a:lnTo>
                    <a:pt x="12746" y="15173"/>
                  </a:lnTo>
                  <a:lnTo>
                    <a:pt x="12799" y="15092"/>
                  </a:lnTo>
                  <a:lnTo>
                    <a:pt x="12847" y="15007"/>
                  </a:lnTo>
                  <a:lnTo>
                    <a:pt x="12892" y="14921"/>
                  </a:lnTo>
                  <a:lnTo>
                    <a:pt x="12932" y="14832"/>
                  </a:lnTo>
                  <a:lnTo>
                    <a:pt x="12968" y="14741"/>
                  </a:lnTo>
                  <a:lnTo>
                    <a:pt x="12999" y="14648"/>
                  </a:lnTo>
                  <a:lnTo>
                    <a:pt x="13027" y="14553"/>
                  </a:lnTo>
                  <a:lnTo>
                    <a:pt x="13049" y="14455"/>
                  </a:lnTo>
                  <a:lnTo>
                    <a:pt x="13067" y="14357"/>
                  </a:lnTo>
                  <a:lnTo>
                    <a:pt x="13080" y="14256"/>
                  </a:lnTo>
                  <a:lnTo>
                    <a:pt x="13087" y="14154"/>
                  </a:lnTo>
                  <a:lnTo>
                    <a:pt x="13090" y="14051"/>
                  </a:lnTo>
                  <a:lnTo>
                    <a:pt x="13090" y="5520"/>
                  </a:lnTo>
                  <a:lnTo>
                    <a:pt x="13141" y="5519"/>
                  </a:lnTo>
                  <a:lnTo>
                    <a:pt x="13193" y="5515"/>
                  </a:lnTo>
                  <a:lnTo>
                    <a:pt x="13243" y="5508"/>
                  </a:lnTo>
                  <a:lnTo>
                    <a:pt x="13293" y="5500"/>
                  </a:lnTo>
                  <a:lnTo>
                    <a:pt x="13342" y="5488"/>
                  </a:lnTo>
                  <a:lnTo>
                    <a:pt x="13389" y="5475"/>
                  </a:lnTo>
                  <a:lnTo>
                    <a:pt x="13436" y="5459"/>
                  </a:lnTo>
                  <a:lnTo>
                    <a:pt x="13482" y="5441"/>
                  </a:lnTo>
                  <a:lnTo>
                    <a:pt x="13526" y="5421"/>
                  </a:lnTo>
                  <a:lnTo>
                    <a:pt x="13570" y="5398"/>
                  </a:lnTo>
                  <a:lnTo>
                    <a:pt x="13612" y="5374"/>
                  </a:lnTo>
                  <a:lnTo>
                    <a:pt x="13653" y="5348"/>
                  </a:lnTo>
                  <a:lnTo>
                    <a:pt x="13692" y="5320"/>
                  </a:lnTo>
                  <a:lnTo>
                    <a:pt x="13730" y="5291"/>
                  </a:lnTo>
                  <a:lnTo>
                    <a:pt x="13767" y="5259"/>
                  </a:lnTo>
                  <a:lnTo>
                    <a:pt x="13802" y="5226"/>
                  </a:lnTo>
                  <a:lnTo>
                    <a:pt x="13835" y="5191"/>
                  </a:lnTo>
                  <a:lnTo>
                    <a:pt x="13867" y="5155"/>
                  </a:lnTo>
                  <a:lnTo>
                    <a:pt x="13897" y="5116"/>
                  </a:lnTo>
                  <a:lnTo>
                    <a:pt x="13925" y="5077"/>
                  </a:lnTo>
                  <a:lnTo>
                    <a:pt x="13951" y="5036"/>
                  </a:lnTo>
                  <a:lnTo>
                    <a:pt x="13975" y="4995"/>
                  </a:lnTo>
                  <a:lnTo>
                    <a:pt x="13997" y="4951"/>
                  </a:lnTo>
                  <a:lnTo>
                    <a:pt x="14017" y="4907"/>
                  </a:lnTo>
                  <a:lnTo>
                    <a:pt x="14036" y="4862"/>
                  </a:lnTo>
                  <a:lnTo>
                    <a:pt x="14052" y="4814"/>
                  </a:lnTo>
                  <a:lnTo>
                    <a:pt x="14065" y="4767"/>
                  </a:lnTo>
                  <a:lnTo>
                    <a:pt x="14077" y="4719"/>
                  </a:lnTo>
                  <a:lnTo>
                    <a:pt x="14085" y="4669"/>
                  </a:lnTo>
                  <a:lnTo>
                    <a:pt x="14092" y="4619"/>
                  </a:lnTo>
                  <a:lnTo>
                    <a:pt x="14096" y="4567"/>
                  </a:lnTo>
                  <a:lnTo>
                    <a:pt x="14097" y="4516"/>
                  </a:lnTo>
                  <a:lnTo>
                    <a:pt x="14097" y="4015"/>
                  </a:lnTo>
                  <a:lnTo>
                    <a:pt x="14097" y="3421"/>
                  </a:lnTo>
                  <a:lnTo>
                    <a:pt x="14087" y="34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4" name="ïṡľïďè">
              <a:extLst>
                <a:ext uri="{FF2B5EF4-FFF2-40B4-BE49-F238E27FC236}">
                  <a16:creationId xmlns:a16="http://schemas.microsoft.com/office/drawing/2014/main" id="{D363507B-DA39-4C7B-9E74-9FEDB180CE38}"/>
                </a:ext>
              </a:extLst>
            </p:cNvPr>
            <p:cNvSpPr/>
            <p:nvPr/>
          </p:nvSpPr>
          <p:spPr bwMode="auto">
            <a:xfrm>
              <a:off x="1390657" y="269198"/>
              <a:ext cx="76139" cy="287634"/>
            </a:xfrm>
            <a:custGeom>
              <a:avLst/>
              <a:gdLst>
                <a:gd name="T0" fmla="*/ 1510 w 2014"/>
                <a:gd name="T1" fmla="*/ 7025 h 7527"/>
                <a:gd name="T2" fmla="*/ 503 w 2014"/>
                <a:gd name="T3" fmla="*/ 7527 h 7527"/>
                <a:gd name="T4" fmla="*/ 1562 w 2014"/>
                <a:gd name="T5" fmla="*/ 7524 h 7527"/>
                <a:gd name="T6" fmla="*/ 1636 w 2014"/>
                <a:gd name="T7" fmla="*/ 7511 h 7527"/>
                <a:gd name="T8" fmla="*/ 1707 w 2014"/>
                <a:gd name="T9" fmla="*/ 7488 h 7527"/>
                <a:gd name="T10" fmla="*/ 1771 w 2014"/>
                <a:gd name="T11" fmla="*/ 7454 h 7527"/>
                <a:gd name="T12" fmla="*/ 1830 w 2014"/>
                <a:gd name="T13" fmla="*/ 7412 h 7527"/>
                <a:gd name="T14" fmla="*/ 1883 w 2014"/>
                <a:gd name="T15" fmla="*/ 7362 h 7527"/>
                <a:gd name="T16" fmla="*/ 1928 w 2014"/>
                <a:gd name="T17" fmla="*/ 7306 h 7527"/>
                <a:gd name="T18" fmla="*/ 1964 w 2014"/>
                <a:gd name="T19" fmla="*/ 7243 h 7527"/>
                <a:gd name="T20" fmla="*/ 1991 w 2014"/>
                <a:gd name="T21" fmla="*/ 7174 h 7527"/>
                <a:gd name="T22" fmla="*/ 2008 w 2014"/>
                <a:gd name="T23" fmla="*/ 7101 h 7527"/>
                <a:gd name="T24" fmla="*/ 2014 w 2014"/>
                <a:gd name="T25" fmla="*/ 7025 h 7527"/>
                <a:gd name="T26" fmla="*/ 2011 w 2014"/>
                <a:gd name="T27" fmla="*/ 450 h 7527"/>
                <a:gd name="T28" fmla="*/ 1998 w 2014"/>
                <a:gd name="T29" fmla="*/ 376 h 7527"/>
                <a:gd name="T30" fmla="*/ 1974 w 2014"/>
                <a:gd name="T31" fmla="*/ 306 h 7527"/>
                <a:gd name="T32" fmla="*/ 1941 w 2014"/>
                <a:gd name="T33" fmla="*/ 241 h 7527"/>
                <a:gd name="T34" fmla="*/ 1899 w 2014"/>
                <a:gd name="T35" fmla="*/ 182 h 7527"/>
                <a:gd name="T36" fmla="*/ 1849 w 2014"/>
                <a:gd name="T37" fmla="*/ 130 h 7527"/>
                <a:gd name="T38" fmla="*/ 1792 w 2014"/>
                <a:gd name="T39" fmla="*/ 85 h 7527"/>
                <a:gd name="T40" fmla="*/ 1729 w 2014"/>
                <a:gd name="T41" fmla="*/ 49 h 7527"/>
                <a:gd name="T42" fmla="*/ 1660 w 2014"/>
                <a:gd name="T43" fmla="*/ 22 h 7527"/>
                <a:gd name="T44" fmla="*/ 1587 w 2014"/>
                <a:gd name="T45" fmla="*/ 6 h 7527"/>
                <a:gd name="T46" fmla="*/ 1510 w 2014"/>
                <a:gd name="T47" fmla="*/ 0 h 7527"/>
                <a:gd name="T48" fmla="*/ 452 w 2014"/>
                <a:gd name="T49" fmla="*/ 3 h 7527"/>
                <a:gd name="T50" fmla="*/ 377 w 2014"/>
                <a:gd name="T51" fmla="*/ 16 h 7527"/>
                <a:gd name="T52" fmla="*/ 307 w 2014"/>
                <a:gd name="T53" fmla="*/ 39 h 7527"/>
                <a:gd name="T54" fmla="*/ 242 w 2014"/>
                <a:gd name="T55" fmla="*/ 72 h 7527"/>
                <a:gd name="T56" fmla="*/ 183 w 2014"/>
                <a:gd name="T57" fmla="*/ 114 h 7527"/>
                <a:gd name="T58" fmla="*/ 131 w 2014"/>
                <a:gd name="T59" fmla="*/ 164 h 7527"/>
                <a:gd name="T60" fmla="*/ 85 w 2014"/>
                <a:gd name="T61" fmla="*/ 220 h 7527"/>
                <a:gd name="T62" fmla="*/ 49 w 2014"/>
                <a:gd name="T63" fmla="*/ 284 h 7527"/>
                <a:gd name="T64" fmla="*/ 22 w 2014"/>
                <a:gd name="T65" fmla="*/ 352 h 7527"/>
                <a:gd name="T66" fmla="*/ 6 w 2014"/>
                <a:gd name="T67" fmla="*/ 425 h 7527"/>
                <a:gd name="T68" fmla="*/ 0 w 2014"/>
                <a:gd name="T69" fmla="*/ 501 h 7527"/>
                <a:gd name="T70" fmla="*/ 3 w 2014"/>
                <a:gd name="T71" fmla="*/ 7076 h 7527"/>
                <a:gd name="T72" fmla="*/ 16 w 2014"/>
                <a:gd name="T73" fmla="*/ 7150 h 7527"/>
                <a:gd name="T74" fmla="*/ 39 w 2014"/>
                <a:gd name="T75" fmla="*/ 7221 h 7527"/>
                <a:gd name="T76" fmla="*/ 72 w 2014"/>
                <a:gd name="T77" fmla="*/ 7285 h 7527"/>
                <a:gd name="T78" fmla="*/ 115 w 2014"/>
                <a:gd name="T79" fmla="*/ 7344 h 7527"/>
                <a:gd name="T80" fmla="*/ 165 w 2014"/>
                <a:gd name="T81" fmla="*/ 7396 h 7527"/>
                <a:gd name="T82" fmla="*/ 221 w 2014"/>
                <a:gd name="T83" fmla="*/ 7441 h 7527"/>
                <a:gd name="T84" fmla="*/ 285 w 2014"/>
                <a:gd name="T85" fmla="*/ 7478 h 7527"/>
                <a:gd name="T86" fmla="*/ 353 w 2014"/>
                <a:gd name="T87" fmla="*/ 7505 h 7527"/>
                <a:gd name="T88" fmla="*/ 427 w 2014"/>
                <a:gd name="T89" fmla="*/ 7521 h 7527"/>
                <a:gd name="T90" fmla="*/ 503 w 2014"/>
                <a:gd name="T91" fmla="*/ 7527 h 7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014" h="7527">
                  <a:moveTo>
                    <a:pt x="503" y="501"/>
                  </a:moveTo>
                  <a:lnTo>
                    <a:pt x="1510" y="501"/>
                  </a:lnTo>
                  <a:lnTo>
                    <a:pt x="1510" y="7025"/>
                  </a:lnTo>
                  <a:lnTo>
                    <a:pt x="503" y="7025"/>
                  </a:lnTo>
                  <a:lnTo>
                    <a:pt x="503" y="501"/>
                  </a:lnTo>
                  <a:close/>
                  <a:moveTo>
                    <a:pt x="503" y="7527"/>
                  </a:moveTo>
                  <a:lnTo>
                    <a:pt x="1510" y="7527"/>
                  </a:lnTo>
                  <a:lnTo>
                    <a:pt x="1536" y="7526"/>
                  </a:lnTo>
                  <a:lnTo>
                    <a:pt x="1562" y="7524"/>
                  </a:lnTo>
                  <a:lnTo>
                    <a:pt x="1587" y="7521"/>
                  </a:lnTo>
                  <a:lnTo>
                    <a:pt x="1612" y="7517"/>
                  </a:lnTo>
                  <a:lnTo>
                    <a:pt x="1636" y="7511"/>
                  </a:lnTo>
                  <a:lnTo>
                    <a:pt x="1660" y="7505"/>
                  </a:lnTo>
                  <a:lnTo>
                    <a:pt x="1683" y="7497"/>
                  </a:lnTo>
                  <a:lnTo>
                    <a:pt x="1707" y="7488"/>
                  </a:lnTo>
                  <a:lnTo>
                    <a:pt x="1729" y="7478"/>
                  </a:lnTo>
                  <a:lnTo>
                    <a:pt x="1750" y="7467"/>
                  </a:lnTo>
                  <a:lnTo>
                    <a:pt x="1771" y="7454"/>
                  </a:lnTo>
                  <a:lnTo>
                    <a:pt x="1792" y="7441"/>
                  </a:lnTo>
                  <a:lnTo>
                    <a:pt x="1811" y="7427"/>
                  </a:lnTo>
                  <a:lnTo>
                    <a:pt x="1830" y="7412"/>
                  </a:lnTo>
                  <a:lnTo>
                    <a:pt x="1849" y="7396"/>
                  </a:lnTo>
                  <a:lnTo>
                    <a:pt x="1867" y="7380"/>
                  </a:lnTo>
                  <a:lnTo>
                    <a:pt x="1883" y="7362"/>
                  </a:lnTo>
                  <a:lnTo>
                    <a:pt x="1899" y="7344"/>
                  </a:lnTo>
                  <a:lnTo>
                    <a:pt x="1914" y="7325"/>
                  </a:lnTo>
                  <a:lnTo>
                    <a:pt x="1928" y="7306"/>
                  </a:lnTo>
                  <a:lnTo>
                    <a:pt x="1941" y="7285"/>
                  </a:lnTo>
                  <a:lnTo>
                    <a:pt x="1953" y="7264"/>
                  </a:lnTo>
                  <a:lnTo>
                    <a:pt x="1964" y="7243"/>
                  </a:lnTo>
                  <a:lnTo>
                    <a:pt x="1974" y="7221"/>
                  </a:lnTo>
                  <a:lnTo>
                    <a:pt x="1983" y="7198"/>
                  </a:lnTo>
                  <a:lnTo>
                    <a:pt x="1991" y="7174"/>
                  </a:lnTo>
                  <a:lnTo>
                    <a:pt x="1998" y="7150"/>
                  </a:lnTo>
                  <a:lnTo>
                    <a:pt x="2004" y="7126"/>
                  </a:lnTo>
                  <a:lnTo>
                    <a:pt x="2008" y="7101"/>
                  </a:lnTo>
                  <a:lnTo>
                    <a:pt x="2011" y="7076"/>
                  </a:lnTo>
                  <a:lnTo>
                    <a:pt x="2013" y="7051"/>
                  </a:lnTo>
                  <a:lnTo>
                    <a:pt x="2014" y="7025"/>
                  </a:lnTo>
                  <a:lnTo>
                    <a:pt x="2014" y="501"/>
                  </a:lnTo>
                  <a:lnTo>
                    <a:pt x="2013" y="475"/>
                  </a:lnTo>
                  <a:lnTo>
                    <a:pt x="2011" y="450"/>
                  </a:lnTo>
                  <a:lnTo>
                    <a:pt x="2008" y="425"/>
                  </a:lnTo>
                  <a:lnTo>
                    <a:pt x="2004" y="400"/>
                  </a:lnTo>
                  <a:lnTo>
                    <a:pt x="1998" y="376"/>
                  </a:lnTo>
                  <a:lnTo>
                    <a:pt x="1991" y="352"/>
                  </a:lnTo>
                  <a:lnTo>
                    <a:pt x="1983" y="329"/>
                  </a:lnTo>
                  <a:lnTo>
                    <a:pt x="1974" y="306"/>
                  </a:lnTo>
                  <a:lnTo>
                    <a:pt x="1964" y="284"/>
                  </a:lnTo>
                  <a:lnTo>
                    <a:pt x="1953" y="263"/>
                  </a:lnTo>
                  <a:lnTo>
                    <a:pt x="1941" y="241"/>
                  </a:lnTo>
                  <a:lnTo>
                    <a:pt x="1928" y="220"/>
                  </a:lnTo>
                  <a:lnTo>
                    <a:pt x="1914" y="201"/>
                  </a:lnTo>
                  <a:lnTo>
                    <a:pt x="1899" y="182"/>
                  </a:lnTo>
                  <a:lnTo>
                    <a:pt x="1883" y="164"/>
                  </a:lnTo>
                  <a:lnTo>
                    <a:pt x="1867" y="146"/>
                  </a:lnTo>
                  <a:lnTo>
                    <a:pt x="1849" y="130"/>
                  </a:lnTo>
                  <a:lnTo>
                    <a:pt x="1830" y="114"/>
                  </a:lnTo>
                  <a:lnTo>
                    <a:pt x="1811" y="99"/>
                  </a:lnTo>
                  <a:lnTo>
                    <a:pt x="1792" y="85"/>
                  </a:lnTo>
                  <a:lnTo>
                    <a:pt x="1771" y="72"/>
                  </a:lnTo>
                  <a:lnTo>
                    <a:pt x="1750" y="60"/>
                  </a:lnTo>
                  <a:lnTo>
                    <a:pt x="1729" y="49"/>
                  </a:lnTo>
                  <a:lnTo>
                    <a:pt x="1707" y="39"/>
                  </a:lnTo>
                  <a:lnTo>
                    <a:pt x="1683" y="30"/>
                  </a:lnTo>
                  <a:lnTo>
                    <a:pt x="1660" y="22"/>
                  </a:lnTo>
                  <a:lnTo>
                    <a:pt x="1636" y="16"/>
                  </a:lnTo>
                  <a:lnTo>
                    <a:pt x="1612" y="10"/>
                  </a:lnTo>
                  <a:lnTo>
                    <a:pt x="1587" y="6"/>
                  </a:lnTo>
                  <a:lnTo>
                    <a:pt x="1562" y="3"/>
                  </a:lnTo>
                  <a:lnTo>
                    <a:pt x="1536" y="1"/>
                  </a:lnTo>
                  <a:lnTo>
                    <a:pt x="1510" y="0"/>
                  </a:lnTo>
                  <a:lnTo>
                    <a:pt x="503" y="0"/>
                  </a:lnTo>
                  <a:lnTo>
                    <a:pt x="477" y="1"/>
                  </a:lnTo>
                  <a:lnTo>
                    <a:pt x="452" y="3"/>
                  </a:lnTo>
                  <a:lnTo>
                    <a:pt x="427" y="6"/>
                  </a:lnTo>
                  <a:lnTo>
                    <a:pt x="402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5" y="49"/>
                  </a:lnTo>
                  <a:lnTo>
                    <a:pt x="264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4"/>
                  </a:lnTo>
                  <a:lnTo>
                    <a:pt x="165" y="130"/>
                  </a:lnTo>
                  <a:lnTo>
                    <a:pt x="147" y="146"/>
                  </a:lnTo>
                  <a:lnTo>
                    <a:pt x="131" y="164"/>
                  </a:lnTo>
                  <a:lnTo>
                    <a:pt x="115" y="182"/>
                  </a:lnTo>
                  <a:lnTo>
                    <a:pt x="99" y="201"/>
                  </a:lnTo>
                  <a:lnTo>
                    <a:pt x="85" y="220"/>
                  </a:lnTo>
                  <a:lnTo>
                    <a:pt x="72" y="241"/>
                  </a:lnTo>
                  <a:lnTo>
                    <a:pt x="60" y="263"/>
                  </a:lnTo>
                  <a:lnTo>
                    <a:pt x="49" y="284"/>
                  </a:lnTo>
                  <a:lnTo>
                    <a:pt x="39" y="306"/>
                  </a:lnTo>
                  <a:lnTo>
                    <a:pt x="30" y="329"/>
                  </a:lnTo>
                  <a:lnTo>
                    <a:pt x="22" y="352"/>
                  </a:lnTo>
                  <a:lnTo>
                    <a:pt x="16" y="376"/>
                  </a:lnTo>
                  <a:lnTo>
                    <a:pt x="10" y="400"/>
                  </a:lnTo>
                  <a:lnTo>
                    <a:pt x="6" y="425"/>
                  </a:lnTo>
                  <a:lnTo>
                    <a:pt x="3" y="450"/>
                  </a:lnTo>
                  <a:lnTo>
                    <a:pt x="1" y="475"/>
                  </a:lnTo>
                  <a:lnTo>
                    <a:pt x="0" y="501"/>
                  </a:lnTo>
                  <a:lnTo>
                    <a:pt x="0" y="7025"/>
                  </a:lnTo>
                  <a:lnTo>
                    <a:pt x="1" y="7051"/>
                  </a:lnTo>
                  <a:lnTo>
                    <a:pt x="3" y="7076"/>
                  </a:lnTo>
                  <a:lnTo>
                    <a:pt x="6" y="7101"/>
                  </a:lnTo>
                  <a:lnTo>
                    <a:pt x="10" y="7126"/>
                  </a:lnTo>
                  <a:lnTo>
                    <a:pt x="16" y="7150"/>
                  </a:lnTo>
                  <a:lnTo>
                    <a:pt x="22" y="7174"/>
                  </a:lnTo>
                  <a:lnTo>
                    <a:pt x="30" y="7198"/>
                  </a:lnTo>
                  <a:lnTo>
                    <a:pt x="39" y="7221"/>
                  </a:lnTo>
                  <a:lnTo>
                    <a:pt x="49" y="7243"/>
                  </a:lnTo>
                  <a:lnTo>
                    <a:pt x="60" y="7264"/>
                  </a:lnTo>
                  <a:lnTo>
                    <a:pt x="72" y="7285"/>
                  </a:lnTo>
                  <a:lnTo>
                    <a:pt x="85" y="7306"/>
                  </a:lnTo>
                  <a:lnTo>
                    <a:pt x="99" y="7325"/>
                  </a:lnTo>
                  <a:lnTo>
                    <a:pt x="115" y="7344"/>
                  </a:lnTo>
                  <a:lnTo>
                    <a:pt x="131" y="7362"/>
                  </a:lnTo>
                  <a:lnTo>
                    <a:pt x="147" y="7380"/>
                  </a:lnTo>
                  <a:lnTo>
                    <a:pt x="165" y="7396"/>
                  </a:lnTo>
                  <a:lnTo>
                    <a:pt x="183" y="7412"/>
                  </a:lnTo>
                  <a:lnTo>
                    <a:pt x="202" y="7427"/>
                  </a:lnTo>
                  <a:lnTo>
                    <a:pt x="221" y="7441"/>
                  </a:lnTo>
                  <a:lnTo>
                    <a:pt x="242" y="7454"/>
                  </a:lnTo>
                  <a:lnTo>
                    <a:pt x="264" y="7467"/>
                  </a:lnTo>
                  <a:lnTo>
                    <a:pt x="285" y="7478"/>
                  </a:lnTo>
                  <a:lnTo>
                    <a:pt x="307" y="7488"/>
                  </a:lnTo>
                  <a:lnTo>
                    <a:pt x="330" y="7497"/>
                  </a:lnTo>
                  <a:lnTo>
                    <a:pt x="353" y="7505"/>
                  </a:lnTo>
                  <a:lnTo>
                    <a:pt x="377" y="7511"/>
                  </a:lnTo>
                  <a:lnTo>
                    <a:pt x="402" y="7517"/>
                  </a:lnTo>
                  <a:lnTo>
                    <a:pt x="427" y="7521"/>
                  </a:lnTo>
                  <a:lnTo>
                    <a:pt x="452" y="7524"/>
                  </a:lnTo>
                  <a:lnTo>
                    <a:pt x="477" y="7526"/>
                  </a:lnTo>
                  <a:lnTo>
                    <a:pt x="503" y="75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5" name="ïśḷiḍé">
              <a:extLst>
                <a:ext uri="{FF2B5EF4-FFF2-40B4-BE49-F238E27FC236}">
                  <a16:creationId xmlns:a16="http://schemas.microsoft.com/office/drawing/2014/main" id="{D568BB84-0CDF-472D-A186-4CC46A3C688A}"/>
                </a:ext>
              </a:extLst>
            </p:cNvPr>
            <p:cNvSpPr/>
            <p:nvPr/>
          </p:nvSpPr>
          <p:spPr bwMode="auto">
            <a:xfrm>
              <a:off x="1504865" y="269198"/>
              <a:ext cx="77549" cy="287634"/>
            </a:xfrm>
            <a:custGeom>
              <a:avLst/>
              <a:gdLst>
                <a:gd name="T0" fmla="*/ 1510 w 2013"/>
                <a:gd name="T1" fmla="*/ 7025 h 7527"/>
                <a:gd name="T2" fmla="*/ 503 w 2013"/>
                <a:gd name="T3" fmla="*/ 7527 h 7527"/>
                <a:gd name="T4" fmla="*/ 1561 w 2013"/>
                <a:gd name="T5" fmla="*/ 7524 h 7527"/>
                <a:gd name="T6" fmla="*/ 1636 w 2013"/>
                <a:gd name="T7" fmla="*/ 7511 h 7527"/>
                <a:gd name="T8" fmla="*/ 1706 w 2013"/>
                <a:gd name="T9" fmla="*/ 7488 h 7527"/>
                <a:gd name="T10" fmla="*/ 1771 w 2013"/>
                <a:gd name="T11" fmla="*/ 7454 h 7527"/>
                <a:gd name="T12" fmla="*/ 1830 w 2013"/>
                <a:gd name="T13" fmla="*/ 7412 h 7527"/>
                <a:gd name="T14" fmla="*/ 1883 w 2013"/>
                <a:gd name="T15" fmla="*/ 7362 h 7527"/>
                <a:gd name="T16" fmla="*/ 1928 w 2013"/>
                <a:gd name="T17" fmla="*/ 7306 h 7527"/>
                <a:gd name="T18" fmla="*/ 1964 w 2013"/>
                <a:gd name="T19" fmla="*/ 7243 h 7527"/>
                <a:gd name="T20" fmla="*/ 1991 w 2013"/>
                <a:gd name="T21" fmla="*/ 7174 h 7527"/>
                <a:gd name="T22" fmla="*/ 2007 w 2013"/>
                <a:gd name="T23" fmla="*/ 7101 h 7527"/>
                <a:gd name="T24" fmla="*/ 2013 w 2013"/>
                <a:gd name="T25" fmla="*/ 7025 h 7527"/>
                <a:gd name="T26" fmla="*/ 2010 w 2013"/>
                <a:gd name="T27" fmla="*/ 450 h 7527"/>
                <a:gd name="T28" fmla="*/ 1997 w 2013"/>
                <a:gd name="T29" fmla="*/ 376 h 7527"/>
                <a:gd name="T30" fmla="*/ 1974 w 2013"/>
                <a:gd name="T31" fmla="*/ 306 h 7527"/>
                <a:gd name="T32" fmla="*/ 1941 w 2013"/>
                <a:gd name="T33" fmla="*/ 241 h 7527"/>
                <a:gd name="T34" fmla="*/ 1899 w 2013"/>
                <a:gd name="T35" fmla="*/ 182 h 7527"/>
                <a:gd name="T36" fmla="*/ 1848 w 2013"/>
                <a:gd name="T37" fmla="*/ 130 h 7527"/>
                <a:gd name="T38" fmla="*/ 1792 w 2013"/>
                <a:gd name="T39" fmla="*/ 85 h 7527"/>
                <a:gd name="T40" fmla="*/ 1728 w 2013"/>
                <a:gd name="T41" fmla="*/ 49 h 7527"/>
                <a:gd name="T42" fmla="*/ 1660 w 2013"/>
                <a:gd name="T43" fmla="*/ 22 h 7527"/>
                <a:gd name="T44" fmla="*/ 1586 w 2013"/>
                <a:gd name="T45" fmla="*/ 6 h 7527"/>
                <a:gd name="T46" fmla="*/ 1510 w 2013"/>
                <a:gd name="T47" fmla="*/ 0 h 7527"/>
                <a:gd name="T48" fmla="*/ 452 w 2013"/>
                <a:gd name="T49" fmla="*/ 3 h 7527"/>
                <a:gd name="T50" fmla="*/ 377 w 2013"/>
                <a:gd name="T51" fmla="*/ 16 h 7527"/>
                <a:gd name="T52" fmla="*/ 307 w 2013"/>
                <a:gd name="T53" fmla="*/ 39 h 7527"/>
                <a:gd name="T54" fmla="*/ 242 w 2013"/>
                <a:gd name="T55" fmla="*/ 72 h 7527"/>
                <a:gd name="T56" fmla="*/ 183 w 2013"/>
                <a:gd name="T57" fmla="*/ 114 h 7527"/>
                <a:gd name="T58" fmla="*/ 130 w 2013"/>
                <a:gd name="T59" fmla="*/ 164 h 7527"/>
                <a:gd name="T60" fmla="*/ 85 w 2013"/>
                <a:gd name="T61" fmla="*/ 220 h 7527"/>
                <a:gd name="T62" fmla="*/ 49 w 2013"/>
                <a:gd name="T63" fmla="*/ 284 h 7527"/>
                <a:gd name="T64" fmla="*/ 23 w 2013"/>
                <a:gd name="T65" fmla="*/ 352 h 7527"/>
                <a:gd name="T66" fmla="*/ 6 w 2013"/>
                <a:gd name="T67" fmla="*/ 425 h 7527"/>
                <a:gd name="T68" fmla="*/ 0 w 2013"/>
                <a:gd name="T69" fmla="*/ 501 h 7527"/>
                <a:gd name="T70" fmla="*/ 3 w 2013"/>
                <a:gd name="T71" fmla="*/ 7076 h 7527"/>
                <a:gd name="T72" fmla="*/ 16 w 2013"/>
                <a:gd name="T73" fmla="*/ 7150 h 7527"/>
                <a:gd name="T74" fmla="*/ 39 w 2013"/>
                <a:gd name="T75" fmla="*/ 7221 h 7527"/>
                <a:gd name="T76" fmla="*/ 72 w 2013"/>
                <a:gd name="T77" fmla="*/ 7285 h 7527"/>
                <a:gd name="T78" fmla="*/ 114 w 2013"/>
                <a:gd name="T79" fmla="*/ 7344 h 7527"/>
                <a:gd name="T80" fmla="*/ 165 w 2013"/>
                <a:gd name="T81" fmla="*/ 7396 h 7527"/>
                <a:gd name="T82" fmla="*/ 221 w 2013"/>
                <a:gd name="T83" fmla="*/ 7441 h 7527"/>
                <a:gd name="T84" fmla="*/ 285 w 2013"/>
                <a:gd name="T85" fmla="*/ 7478 h 7527"/>
                <a:gd name="T86" fmla="*/ 353 w 2013"/>
                <a:gd name="T87" fmla="*/ 7505 h 7527"/>
                <a:gd name="T88" fmla="*/ 427 w 2013"/>
                <a:gd name="T89" fmla="*/ 7521 h 7527"/>
                <a:gd name="T90" fmla="*/ 503 w 2013"/>
                <a:gd name="T91" fmla="*/ 7527 h 7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013" h="7527">
                  <a:moveTo>
                    <a:pt x="503" y="501"/>
                  </a:moveTo>
                  <a:lnTo>
                    <a:pt x="1510" y="501"/>
                  </a:lnTo>
                  <a:lnTo>
                    <a:pt x="1510" y="7025"/>
                  </a:lnTo>
                  <a:lnTo>
                    <a:pt x="503" y="7025"/>
                  </a:lnTo>
                  <a:lnTo>
                    <a:pt x="503" y="501"/>
                  </a:lnTo>
                  <a:close/>
                  <a:moveTo>
                    <a:pt x="503" y="7527"/>
                  </a:moveTo>
                  <a:lnTo>
                    <a:pt x="1510" y="7527"/>
                  </a:lnTo>
                  <a:lnTo>
                    <a:pt x="1536" y="7526"/>
                  </a:lnTo>
                  <a:lnTo>
                    <a:pt x="1561" y="7524"/>
                  </a:lnTo>
                  <a:lnTo>
                    <a:pt x="1586" y="7521"/>
                  </a:lnTo>
                  <a:lnTo>
                    <a:pt x="1612" y="7517"/>
                  </a:lnTo>
                  <a:lnTo>
                    <a:pt x="1636" y="7511"/>
                  </a:lnTo>
                  <a:lnTo>
                    <a:pt x="1660" y="7505"/>
                  </a:lnTo>
                  <a:lnTo>
                    <a:pt x="1683" y="7497"/>
                  </a:lnTo>
                  <a:lnTo>
                    <a:pt x="1706" y="7488"/>
                  </a:lnTo>
                  <a:lnTo>
                    <a:pt x="1728" y="7478"/>
                  </a:lnTo>
                  <a:lnTo>
                    <a:pt x="1750" y="7467"/>
                  </a:lnTo>
                  <a:lnTo>
                    <a:pt x="1771" y="7454"/>
                  </a:lnTo>
                  <a:lnTo>
                    <a:pt x="1792" y="7441"/>
                  </a:lnTo>
                  <a:lnTo>
                    <a:pt x="1811" y="7427"/>
                  </a:lnTo>
                  <a:lnTo>
                    <a:pt x="1830" y="7412"/>
                  </a:lnTo>
                  <a:lnTo>
                    <a:pt x="1848" y="7396"/>
                  </a:lnTo>
                  <a:lnTo>
                    <a:pt x="1866" y="7380"/>
                  </a:lnTo>
                  <a:lnTo>
                    <a:pt x="1883" y="7362"/>
                  </a:lnTo>
                  <a:lnTo>
                    <a:pt x="1899" y="7344"/>
                  </a:lnTo>
                  <a:lnTo>
                    <a:pt x="1914" y="7325"/>
                  </a:lnTo>
                  <a:lnTo>
                    <a:pt x="1928" y="7306"/>
                  </a:lnTo>
                  <a:lnTo>
                    <a:pt x="1941" y="7285"/>
                  </a:lnTo>
                  <a:lnTo>
                    <a:pt x="1953" y="7264"/>
                  </a:lnTo>
                  <a:lnTo>
                    <a:pt x="1964" y="7243"/>
                  </a:lnTo>
                  <a:lnTo>
                    <a:pt x="1974" y="7221"/>
                  </a:lnTo>
                  <a:lnTo>
                    <a:pt x="1983" y="7198"/>
                  </a:lnTo>
                  <a:lnTo>
                    <a:pt x="1991" y="7174"/>
                  </a:lnTo>
                  <a:lnTo>
                    <a:pt x="1997" y="7150"/>
                  </a:lnTo>
                  <a:lnTo>
                    <a:pt x="2003" y="7126"/>
                  </a:lnTo>
                  <a:lnTo>
                    <a:pt x="2007" y="7101"/>
                  </a:lnTo>
                  <a:lnTo>
                    <a:pt x="2010" y="7076"/>
                  </a:lnTo>
                  <a:lnTo>
                    <a:pt x="2012" y="7051"/>
                  </a:lnTo>
                  <a:lnTo>
                    <a:pt x="2013" y="7025"/>
                  </a:lnTo>
                  <a:lnTo>
                    <a:pt x="2013" y="501"/>
                  </a:lnTo>
                  <a:lnTo>
                    <a:pt x="2012" y="475"/>
                  </a:lnTo>
                  <a:lnTo>
                    <a:pt x="2010" y="450"/>
                  </a:lnTo>
                  <a:lnTo>
                    <a:pt x="2007" y="425"/>
                  </a:lnTo>
                  <a:lnTo>
                    <a:pt x="2003" y="400"/>
                  </a:lnTo>
                  <a:lnTo>
                    <a:pt x="1997" y="376"/>
                  </a:lnTo>
                  <a:lnTo>
                    <a:pt x="1991" y="352"/>
                  </a:lnTo>
                  <a:lnTo>
                    <a:pt x="1983" y="329"/>
                  </a:lnTo>
                  <a:lnTo>
                    <a:pt x="1974" y="306"/>
                  </a:lnTo>
                  <a:lnTo>
                    <a:pt x="1964" y="284"/>
                  </a:lnTo>
                  <a:lnTo>
                    <a:pt x="1953" y="263"/>
                  </a:lnTo>
                  <a:lnTo>
                    <a:pt x="1941" y="241"/>
                  </a:lnTo>
                  <a:lnTo>
                    <a:pt x="1928" y="220"/>
                  </a:lnTo>
                  <a:lnTo>
                    <a:pt x="1914" y="201"/>
                  </a:lnTo>
                  <a:lnTo>
                    <a:pt x="1899" y="182"/>
                  </a:lnTo>
                  <a:lnTo>
                    <a:pt x="1883" y="164"/>
                  </a:lnTo>
                  <a:lnTo>
                    <a:pt x="1866" y="146"/>
                  </a:lnTo>
                  <a:lnTo>
                    <a:pt x="1848" y="130"/>
                  </a:lnTo>
                  <a:lnTo>
                    <a:pt x="1830" y="114"/>
                  </a:lnTo>
                  <a:lnTo>
                    <a:pt x="1811" y="99"/>
                  </a:lnTo>
                  <a:lnTo>
                    <a:pt x="1792" y="85"/>
                  </a:lnTo>
                  <a:lnTo>
                    <a:pt x="1771" y="72"/>
                  </a:lnTo>
                  <a:lnTo>
                    <a:pt x="1750" y="60"/>
                  </a:lnTo>
                  <a:lnTo>
                    <a:pt x="1728" y="49"/>
                  </a:lnTo>
                  <a:lnTo>
                    <a:pt x="1706" y="39"/>
                  </a:lnTo>
                  <a:lnTo>
                    <a:pt x="1683" y="30"/>
                  </a:lnTo>
                  <a:lnTo>
                    <a:pt x="1660" y="22"/>
                  </a:lnTo>
                  <a:lnTo>
                    <a:pt x="1636" y="16"/>
                  </a:lnTo>
                  <a:lnTo>
                    <a:pt x="1612" y="10"/>
                  </a:lnTo>
                  <a:lnTo>
                    <a:pt x="1586" y="6"/>
                  </a:lnTo>
                  <a:lnTo>
                    <a:pt x="1561" y="3"/>
                  </a:lnTo>
                  <a:lnTo>
                    <a:pt x="1536" y="1"/>
                  </a:lnTo>
                  <a:lnTo>
                    <a:pt x="1510" y="0"/>
                  </a:lnTo>
                  <a:lnTo>
                    <a:pt x="503" y="0"/>
                  </a:lnTo>
                  <a:lnTo>
                    <a:pt x="477" y="1"/>
                  </a:lnTo>
                  <a:lnTo>
                    <a:pt x="452" y="3"/>
                  </a:lnTo>
                  <a:lnTo>
                    <a:pt x="427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5" y="49"/>
                  </a:lnTo>
                  <a:lnTo>
                    <a:pt x="263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4"/>
                  </a:lnTo>
                  <a:lnTo>
                    <a:pt x="165" y="130"/>
                  </a:lnTo>
                  <a:lnTo>
                    <a:pt x="147" y="146"/>
                  </a:lnTo>
                  <a:lnTo>
                    <a:pt x="130" y="164"/>
                  </a:lnTo>
                  <a:lnTo>
                    <a:pt x="114" y="182"/>
                  </a:lnTo>
                  <a:lnTo>
                    <a:pt x="99" y="201"/>
                  </a:lnTo>
                  <a:lnTo>
                    <a:pt x="85" y="220"/>
                  </a:lnTo>
                  <a:lnTo>
                    <a:pt x="72" y="241"/>
                  </a:lnTo>
                  <a:lnTo>
                    <a:pt x="60" y="263"/>
                  </a:lnTo>
                  <a:lnTo>
                    <a:pt x="49" y="284"/>
                  </a:lnTo>
                  <a:lnTo>
                    <a:pt x="39" y="306"/>
                  </a:lnTo>
                  <a:lnTo>
                    <a:pt x="30" y="329"/>
                  </a:lnTo>
                  <a:lnTo>
                    <a:pt x="23" y="352"/>
                  </a:lnTo>
                  <a:lnTo>
                    <a:pt x="16" y="376"/>
                  </a:lnTo>
                  <a:lnTo>
                    <a:pt x="10" y="400"/>
                  </a:lnTo>
                  <a:lnTo>
                    <a:pt x="6" y="425"/>
                  </a:lnTo>
                  <a:lnTo>
                    <a:pt x="3" y="450"/>
                  </a:lnTo>
                  <a:lnTo>
                    <a:pt x="1" y="475"/>
                  </a:lnTo>
                  <a:lnTo>
                    <a:pt x="0" y="501"/>
                  </a:lnTo>
                  <a:lnTo>
                    <a:pt x="0" y="7025"/>
                  </a:lnTo>
                  <a:lnTo>
                    <a:pt x="1" y="7051"/>
                  </a:lnTo>
                  <a:lnTo>
                    <a:pt x="3" y="7076"/>
                  </a:lnTo>
                  <a:lnTo>
                    <a:pt x="6" y="7101"/>
                  </a:lnTo>
                  <a:lnTo>
                    <a:pt x="10" y="7126"/>
                  </a:lnTo>
                  <a:lnTo>
                    <a:pt x="16" y="7150"/>
                  </a:lnTo>
                  <a:lnTo>
                    <a:pt x="23" y="7174"/>
                  </a:lnTo>
                  <a:lnTo>
                    <a:pt x="30" y="7198"/>
                  </a:lnTo>
                  <a:lnTo>
                    <a:pt x="39" y="7221"/>
                  </a:lnTo>
                  <a:lnTo>
                    <a:pt x="49" y="7243"/>
                  </a:lnTo>
                  <a:lnTo>
                    <a:pt x="60" y="7264"/>
                  </a:lnTo>
                  <a:lnTo>
                    <a:pt x="72" y="7285"/>
                  </a:lnTo>
                  <a:lnTo>
                    <a:pt x="85" y="7306"/>
                  </a:lnTo>
                  <a:lnTo>
                    <a:pt x="99" y="7325"/>
                  </a:lnTo>
                  <a:lnTo>
                    <a:pt x="114" y="7344"/>
                  </a:lnTo>
                  <a:lnTo>
                    <a:pt x="130" y="7362"/>
                  </a:lnTo>
                  <a:lnTo>
                    <a:pt x="147" y="7380"/>
                  </a:lnTo>
                  <a:lnTo>
                    <a:pt x="165" y="7396"/>
                  </a:lnTo>
                  <a:lnTo>
                    <a:pt x="183" y="7412"/>
                  </a:lnTo>
                  <a:lnTo>
                    <a:pt x="202" y="7427"/>
                  </a:lnTo>
                  <a:lnTo>
                    <a:pt x="221" y="7441"/>
                  </a:lnTo>
                  <a:lnTo>
                    <a:pt x="242" y="7454"/>
                  </a:lnTo>
                  <a:lnTo>
                    <a:pt x="263" y="7467"/>
                  </a:lnTo>
                  <a:lnTo>
                    <a:pt x="285" y="7478"/>
                  </a:lnTo>
                  <a:lnTo>
                    <a:pt x="307" y="7488"/>
                  </a:lnTo>
                  <a:lnTo>
                    <a:pt x="330" y="7497"/>
                  </a:lnTo>
                  <a:lnTo>
                    <a:pt x="353" y="7505"/>
                  </a:lnTo>
                  <a:lnTo>
                    <a:pt x="377" y="7511"/>
                  </a:lnTo>
                  <a:lnTo>
                    <a:pt x="401" y="7517"/>
                  </a:lnTo>
                  <a:lnTo>
                    <a:pt x="427" y="7521"/>
                  </a:lnTo>
                  <a:lnTo>
                    <a:pt x="452" y="7524"/>
                  </a:lnTo>
                  <a:lnTo>
                    <a:pt x="477" y="7526"/>
                  </a:lnTo>
                  <a:lnTo>
                    <a:pt x="503" y="75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6" name="íṡ1ïḑe">
              <a:extLst>
                <a:ext uri="{FF2B5EF4-FFF2-40B4-BE49-F238E27FC236}">
                  <a16:creationId xmlns:a16="http://schemas.microsoft.com/office/drawing/2014/main" id="{F5FFB133-8F53-4271-BAB1-2C1A70422157}"/>
                </a:ext>
              </a:extLst>
            </p:cNvPr>
            <p:cNvSpPr/>
            <p:nvPr/>
          </p:nvSpPr>
          <p:spPr bwMode="auto">
            <a:xfrm>
              <a:off x="1620483" y="269198"/>
              <a:ext cx="76139" cy="287634"/>
            </a:xfrm>
            <a:custGeom>
              <a:avLst/>
              <a:gdLst>
                <a:gd name="T0" fmla="*/ 1511 w 2014"/>
                <a:gd name="T1" fmla="*/ 7025 h 7527"/>
                <a:gd name="T2" fmla="*/ 504 w 2014"/>
                <a:gd name="T3" fmla="*/ 7527 h 7527"/>
                <a:gd name="T4" fmla="*/ 1562 w 2014"/>
                <a:gd name="T5" fmla="*/ 7524 h 7527"/>
                <a:gd name="T6" fmla="*/ 1637 w 2014"/>
                <a:gd name="T7" fmla="*/ 7511 h 7527"/>
                <a:gd name="T8" fmla="*/ 1707 w 2014"/>
                <a:gd name="T9" fmla="*/ 7488 h 7527"/>
                <a:gd name="T10" fmla="*/ 1772 w 2014"/>
                <a:gd name="T11" fmla="*/ 7454 h 7527"/>
                <a:gd name="T12" fmla="*/ 1831 w 2014"/>
                <a:gd name="T13" fmla="*/ 7412 h 7527"/>
                <a:gd name="T14" fmla="*/ 1883 w 2014"/>
                <a:gd name="T15" fmla="*/ 7362 h 7527"/>
                <a:gd name="T16" fmla="*/ 1929 w 2014"/>
                <a:gd name="T17" fmla="*/ 7306 h 7527"/>
                <a:gd name="T18" fmla="*/ 1965 w 2014"/>
                <a:gd name="T19" fmla="*/ 7243 h 7527"/>
                <a:gd name="T20" fmla="*/ 1992 w 2014"/>
                <a:gd name="T21" fmla="*/ 7174 h 7527"/>
                <a:gd name="T22" fmla="*/ 2008 w 2014"/>
                <a:gd name="T23" fmla="*/ 7101 h 7527"/>
                <a:gd name="T24" fmla="*/ 2014 w 2014"/>
                <a:gd name="T25" fmla="*/ 7025 h 7527"/>
                <a:gd name="T26" fmla="*/ 2011 w 2014"/>
                <a:gd name="T27" fmla="*/ 450 h 7527"/>
                <a:gd name="T28" fmla="*/ 1998 w 2014"/>
                <a:gd name="T29" fmla="*/ 376 h 7527"/>
                <a:gd name="T30" fmla="*/ 1975 w 2014"/>
                <a:gd name="T31" fmla="*/ 306 h 7527"/>
                <a:gd name="T32" fmla="*/ 1942 w 2014"/>
                <a:gd name="T33" fmla="*/ 241 h 7527"/>
                <a:gd name="T34" fmla="*/ 1899 w 2014"/>
                <a:gd name="T35" fmla="*/ 182 h 7527"/>
                <a:gd name="T36" fmla="*/ 1849 w 2014"/>
                <a:gd name="T37" fmla="*/ 130 h 7527"/>
                <a:gd name="T38" fmla="*/ 1793 w 2014"/>
                <a:gd name="T39" fmla="*/ 85 h 7527"/>
                <a:gd name="T40" fmla="*/ 1729 w 2014"/>
                <a:gd name="T41" fmla="*/ 49 h 7527"/>
                <a:gd name="T42" fmla="*/ 1661 w 2014"/>
                <a:gd name="T43" fmla="*/ 22 h 7527"/>
                <a:gd name="T44" fmla="*/ 1587 w 2014"/>
                <a:gd name="T45" fmla="*/ 6 h 7527"/>
                <a:gd name="T46" fmla="*/ 1511 w 2014"/>
                <a:gd name="T47" fmla="*/ 0 h 7527"/>
                <a:gd name="T48" fmla="*/ 452 w 2014"/>
                <a:gd name="T49" fmla="*/ 3 h 7527"/>
                <a:gd name="T50" fmla="*/ 378 w 2014"/>
                <a:gd name="T51" fmla="*/ 16 h 7527"/>
                <a:gd name="T52" fmla="*/ 307 w 2014"/>
                <a:gd name="T53" fmla="*/ 39 h 7527"/>
                <a:gd name="T54" fmla="*/ 243 w 2014"/>
                <a:gd name="T55" fmla="*/ 72 h 7527"/>
                <a:gd name="T56" fmla="*/ 184 w 2014"/>
                <a:gd name="T57" fmla="*/ 114 h 7527"/>
                <a:gd name="T58" fmla="*/ 131 w 2014"/>
                <a:gd name="T59" fmla="*/ 164 h 7527"/>
                <a:gd name="T60" fmla="*/ 86 w 2014"/>
                <a:gd name="T61" fmla="*/ 220 h 7527"/>
                <a:gd name="T62" fmla="*/ 50 w 2014"/>
                <a:gd name="T63" fmla="*/ 284 h 7527"/>
                <a:gd name="T64" fmla="*/ 23 w 2014"/>
                <a:gd name="T65" fmla="*/ 352 h 7527"/>
                <a:gd name="T66" fmla="*/ 6 w 2014"/>
                <a:gd name="T67" fmla="*/ 425 h 7527"/>
                <a:gd name="T68" fmla="*/ 0 w 2014"/>
                <a:gd name="T69" fmla="*/ 501 h 7527"/>
                <a:gd name="T70" fmla="*/ 3 w 2014"/>
                <a:gd name="T71" fmla="*/ 7076 h 7527"/>
                <a:gd name="T72" fmla="*/ 16 w 2014"/>
                <a:gd name="T73" fmla="*/ 7150 h 7527"/>
                <a:gd name="T74" fmla="*/ 40 w 2014"/>
                <a:gd name="T75" fmla="*/ 7221 h 7527"/>
                <a:gd name="T76" fmla="*/ 73 w 2014"/>
                <a:gd name="T77" fmla="*/ 7285 h 7527"/>
                <a:gd name="T78" fmla="*/ 115 w 2014"/>
                <a:gd name="T79" fmla="*/ 7344 h 7527"/>
                <a:gd name="T80" fmla="*/ 165 w 2014"/>
                <a:gd name="T81" fmla="*/ 7396 h 7527"/>
                <a:gd name="T82" fmla="*/ 222 w 2014"/>
                <a:gd name="T83" fmla="*/ 7441 h 7527"/>
                <a:gd name="T84" fmla="*/ 285 w 2014"/>
                <a:gd name="T85" fmla="*/ 7478 h 7527"/>
                <a:gd name="T86" fmla="*/ 354 w 2014"/>
                <a:gd name="T87" fmla="*/ 7505 h 7527"/>
                <a:gd name="T88" fmla="*/ 427 w 2014"/>
                <a:gd name="T89" fmla="*/ 7521 h 7527"/>
                <a:gd name="T90" fmla="*/ 504 w 2014"/>
                <a:gd name="T91" fmla="*/ 7527 h 7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014" h="7527">
                  <a:moveTo>
                    <a:pt x="504" y="501"/>
                  </a:moveTo>
                  <a:lnTo>
                    <a:pt x="1511" y="501"/>
                  </a:lnTo>
                  <a:lnTo>
                    <a:pt x="1511" y="7025"/>
                  </a:lnTo>
                  <a:lnTo>
                    <a:pt x="504" y="7025"/>
                  </a:lnTo>
                  <a:lnTo>
                    <a:pt x="504" y="501"/>
                  </a:lnTo>
                  <a:close/>
                  <a:moveTo>
                    <a:pt x="504" y="7527"/>
                  </a:moveTo>
                  <a:lnTo>
                    <a:pt x="1511" y="7527"/>
                  </a:lnTo>
                  <a:lnTo>
                    <a:pt x="1537" y="7526"/>
                  </a:lnTo>
                  <a:lnTo>
                    <a:pt x="1562" y="7524"/>
                  </a:lnTo>
                  <a:lnTo>
                    <a:pt x="1587" y="7521"/>
                  </a:lnTo>
                  <a:lnTo>
                    <a:pt x="1612" y="7517"/>
                  </a:lnTo>
                  <a:lnTo>
                    <a:pt x="1637" y="7511"/>
                  </a:lnTo>
                  <a:lnTo>
                    <a:pt x="1661" y="7505"/>
                  </a:lnTo>
                  <a:lnTo>
                    <a:pt x="1684" y="7497"/>
                  </a:lnTo>
                  <a:lnTo>
                    <a:pt x="1707" y="7488"/>
                  </a:lnTo>
                  <a:lnTo>
                    <a:pt x="1729" y="7478"/>
                  </a:lnTo>
                  <a:lnTo>
                    <a:pt x="1751" y="7467"/>
                  </a:lnTo>
                  <a:lnTo>
                    <a:pt x="1772" y="7454"/>
                  </a:lnTo>
                  <a:lnTo>
                    <a:pt x="1793" y="7441"/>
                  </a:lnTo>
                  <a:lnTo>
                    <a:pt x="1812" y="7427"/>
                  </a:lnTo>
                  <a:lnTo>
                    <a:pt x="1831" y="7412"/>
                  </a:lnTo>
                  <a:lnTo>
                    <a:pt x="1849" y="7396"/>
                  </a:lnTo>
                  <a:lnTo>
                    <a:pt x="1867" y="7380"/>
                  </a:lnTo>
                  <a:lnTo>
                    <a:pt x="1883" y="7362"/>
                  </a:lnTo>
                  <a:lnTo>
                    <a:pt x="1899" y="7344"/>
                  </a:lnTo>
                  <a:lnTo>
                    <a:pt x="1915" y="7325"/>
                  </a:lnTo>
                  <a:lnTo>
                    <a:pt x="1929" y="7306"/>
                  </a:lnTo>
                  <a:lnTo>
                    <a:pt x="1942" y="7285"/>
                  </a:lnTo>
                  <a:lnTo>
                    <a:pt x="1954" y="7264"/>
                  </a:lnTo>
                  <a:lnTo>
                    <a:pt x="1965" y="7243"/>
                  </a:lnTo>
                  <a:lnTo>
                    <a:pt x="1975" y="7221"/>
                  </a:lnTo>
                  <a:lnTo>
                    <a:pt x="1984" y="7198"/>
                  </a:lnTo>
                  <a:lnTo>
                    <a:pt x="1992" y="7174"/>
                  </a:lnTo>
                  <a:lnTo>
                    <a:pt x="1998" y="7150"/>
                  </a:lnTo>
                  <a:lnTo>
                    <a:pt x="2004" y="7126"/>
                  </a:lnTo>
                  <a:lnTo>
                    <a:pt x="2008" y="7101"/>
                  </a:lnTo>
                  <a:lnTo>
                    <a:pt x="2011" y="7076"/>
                  </a:lnTo>
                  <a:lnTo>
                    <a:pt x="2013" y="7051"/>
                  </a:lnTo>
                  <a:lnTo>
                    <a:pt x="2014" y="7025"/>
                  </a:lnTo>
                  <a:lnTo>
                    <a:pt x="2014" y="501"/>
                  </a:lnTo>
                  <a:lnTo>
                    <a:pt x="2013" y="475"/>
                  </a:lnTo>
                  <a:lnTo>
                    <a:pt x="2011" y="450"/>
                  </a:lnTo>
                  <a:lnTo>
                    <a:pt x="2008" y="425"/>
                  </a:lnTo>
                  <a:lnTo>
                    <a:pt x="2004" y="400"/>
                  </a:lnTo>
                  <a:lnTo>
                    <a:pt x="1998" y="376"/>
                  </a:lnTo>
                  <a:lnTo>
                    <a:pt x="1992" y="352"/>
                  </a:lnTo>
                  <a:lnTo>
                    <a:pt x="1984" y="329"/>
                  </a:lnTo>
                  <a:lnTo>
                    <a:pt x="1975" y="306"/>
                  </a:lnTo>
                  <a:lnTo>
                    <a:pt x="1965" y="284"/>
                  </a:lnTo>
                  <a:lnTo>
                    <a:pt x="1954" y="263"/>
                  </a:lnTo>
                  <a:lnTo>
                    <a:pt x="1942" y="241"/>
                  </a:lnTo>
                  <a:lnTo>
                    <a:pt x="1929" y="220"/>
                  </a:lnTo>
                  <a:lnTo>
                    <a:pt x="1915" y="201"/>
                  </a:lnTo>
                  <a:lnTo>
                    <a:pt x="1899" y="182"/>
                  </a:lnTo>
                  <a:lnTo>
                    <a:pt x="1883" y="164"/>
                  </a:lnTo>
                  <a:lnTo>
                    <a:pt x="1867" y="146"/>
                  </a:lnTo>
                  <a:lnTo>
                    <a:pt x="1849" y="130"/>
                  </a:lnTo>
                  <a:lnTo>
                    <a:pt x="1831" y="114"/>
                  </a:lnTo>
                  <a:lnTo>
                    <a:pt x="1812" y="99"/>
                  </a:lnTo>
                  <a:lnTo>
                    <a:pt x="1793" y="85"/>
                  </a:lnTo>
                  <a:lnTo>
                    <a:pt x="1772" y="72"/>
                  </a:lnTo>
                  <a:lnTo>
                    <a:pt x="1751" y="60"/>
                  </a:lnTo>
                  <a:lnTo>
                    <a:pt x="1729" y="49"/>
                  </a:lnTo>
                  <a:lnTo>
                    <a:pt x="1707" y="39"/>
                  </a:lnTo>
                  <a:lnTo>
                    <a:pt x="1684" y="30"/>
                  </a:lnTo>
                  <a:lnTo>
                    <a:pt x="1661" y="22"/>
                  </a:lnTo>
                  <a:lnTo>
                    <a:pt x="1637" y="16"/>
                  </a:lnTo>
                  <a:lnTo>
                    <a:pt x="1612" y="10"/>
                  </a:lnTo>
                  <a:lnTo>
                    <a:pt x="1587" y="6"/>
                  </a:lnTo>
                  <a:lnTo>
                    <a:pt x="1562" y="3"/>
                  </a:lnTo>
                  <a:lnTo>
                    <a:pt x="1537" y="1"/>
                  </a:lnTo>
                  <a:lnTo>
                    <a:pt x="1511" y="0"/>
                  </a:lnTo>
                  <a:lnTo>
                    <a:pt x="504" y="0"/>
                  </a:lnTo>
                  <a:lnTo>
                    <a:pt x="478" y="1"/>
                  </a:lnTo>
                  <a:lnTo>
                    <a:pt x="452" y="3"/>
                  </a:lnTo>
                  <a:lnTo>
                    <a:pt x="427" y="6"/>
                  </a:lnTo>
                  <a:lnTo>
                    <a:pt x="402" y="10"/>
                  </a:lnTo>
                  <a:lnTo>
                    <a:pt x="378" y="16"/>
                  </a:lnTo>
                  <a:lnTo>
                    <a:pt x="354" y="22"/>
                  </a:lnTo>
                  <a:lnTo>
                    <a:pt x="331" y="30"/>
                  </a:lnTo>
                  <a:lnTo>
                    <a:pt x="307" y="39"/>
                  </a:lnTo>
                  <a:lnTo>
                    <a:pt x="285" y="49"/>
                  </a:lnTo>
                  <a:lnTo>
                    <a:pt x="264" y="60"/>
                  </a:lnTo>
                  <a:lnTo>
                    <a:pt x="243" y="72"/>
                  </a:lnTo>
                  <a:lnTo>
                    <a:pt x="222" y="85"/>
                  </a:lnTo>
                  <a:lnTo>
                    <a:pt x="203" y="99"/>
                  </a:lnTo>
                  <a:lnTo>
                    <a:pt x="184" y="114"/>
                  </a:lnTo>
                  <a:lnTo>
                    <a:pt x="165" y="130"/>
                  </a:lnTo>
                  <a:lnTo>
                    <a:pt x="147" y="146"/>
                  </a:lnTo>
                  <a:lnTo>
                    <a:pt x="131" y="164"/>
                  </a:lnTo>
                  <a:lnTo>
                    <a:pt x="115" y="182"/>
                  </a:lnTo>
                  <a:lnTo>
                    <a:pt x="100" y="201"/>
                  </a:lnTo>
                  <a:lnTo>
                    <a:pt x="86" y="220"/>
                  </a:lnTo>
                  <a:lnTo>
                    <a:pt x="73" y="241"/>
                  </a:lnTo>
                  <a:lnTo>
                    <a:pt x="61" y="263"/>
                  </a:lnTo>
                  <a:lnTo>
                    <a:pt x="50" y="284"/>
                  </a:lnTo>
                  <a:lnTo>
                    <a:pt x="40" y="306"/>
                  </a:lnTo>
                  <a:lnTo>
                    <a:pt x="31" y="329"/>
                  </a:lnTo>
                  <a:lnTo>
                    <a:pt x="23" y="352"/>
                  </a:lnTo>
                  <a:lnTo>
                    <a:pt x="16" y="376"/>
                  </a:lnTo>
                  <a:lnTo>
                    <a:pt x="10" y="400"/>
                  </a:lnTo>
                  <a:lnTo>
                    <a:pt x="6" y="425"/>
                  </a:lnTo>
                  <a:lnTo>
                    <a:pt x="3" y="450"/>
                  </a:lnTo>
                  <a:lnTo>
                    <a:pt x="1" y="475"/>
                  </a:lnTo>
                  <a:lnTo>
                    <a:pt x="0" y="501"/>
                  </a:lnTo>
                  <a:lnTo>
                    <a:pt x="0" y="7025"/>
                  </a:lnTo>
                  <a:lnTo>
                    <a:pt x="1" y="7051"/>
                  </a:lnTo>
                  <a:lnTo>
                    <a:pt x="3" y="7076"/>
                  </a:lnTo>
                  <a:lnTo>
                    <a:pt x="6" y="7101"/>
                  </a:lnTo>
                  <a:lnTo>
                    <a:pt x="10" y="7126"/>
                  </a:lnTo>
                  <a:lnTo>
                    <a:pt x="16" y="7150"/>
                  </a:lnTo>
                  <a:lnTo>
                    <a:pt x="23" y="7174"/>
                  </a:lnTo>
                  <a:lnTo>
                    <a:pt x="31" y="7198"/>
                  </a:lnTo>
                  <a:lnTo>
                    <a:pt x="40" y="7221"/>
                  </a:lnTo>
                  <a:lnTo>
                    <a:pt x="50" y="7243"/>
                  </a:lnTo>
                  <a:lnTo>
                    <a:pt x="61" y="7264"/>
                  </a:lnTo>
                  <a:lnTo>
                    <a:pt x="73" y="7285"/>
                  </a:lnTo>
                  <a:lnTo>
                    <a:pt x="86" y="7306"/>
                  </a:lnTo>
                  <a:lnTo>
                    <a:pt x="100" y="7325"/>
                  </a:lnTo>
                  <a:lnTo>
                    <a:pt x="115" y="7344"/>
                  </a:lnTo>
                  <a:lnTo>
                    <a:pt x="131" y="7362"/>
                  </a:lnTo>
                  <a:lnTo>
                    <a:pt x="147" y="7380"/>
                  </a:lnTo>
                  <a:lnTo>
                    <a:pt x="165" y="7396"/>
                  </a:lnTo>
                  <a:lnTo>
                    <a:pt x="184" y="7412"/>
                  </a:lnTo>
                  <a:lnTo>
                    <a:pt x="203" y="7427"/>
                  </a:lnTo>
                  <a:lnTo>
                    <a:pt x="222" y="7441"/>
                  </a:lnTo>
                  <a:lnTo>
                    <a:pt x="243" y="7454"/>
                  </a:lnTo>
                  <a:lnTo>
                    <a:pt x="264" y="7467"/>
                  </a:lnTo>
                  <a:lnTo>
                    <a:pt x="285" y="7478"/>
                  </a:lnTo>
                  <a:lnTo>
                    <a:pt x="307" y="7488"/>
                  </a:lnTo>
                  <a:lnTo>
                    <a:pt x="331" y="7497"/>
                  </a:lnTo>
                  <a:lnTo>
                    <a:pt x="354" y="7505"/>
                  </a:lnTo>
                  <a:lnTo>
                    <a:pt x="378" y="7511"/>
                  </a:lnTo>
                  <a:lnTo>
                    <a:pt x="402" y="7517"/>
                  </a:lnTo>
                  <a:lnTo>
                    <a:pt x="427" y="7521"/>
                  </a:lnTo>
                  <a:lnTo>
                    <a:pt x="452" y="7524"/>
                  </a:lnTo>
                  <a:lnTo>
                    <a:pt x="478" y="7526"/>
                  </a:lnTo>
                  <a:lnTo>
                    <a:pt x="504" y="75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7" name="íṧḻïdè">
              <a:extLst>
                <a:ext uri="{FF2B5EF4-FFF2-40B4-BE49-F238E27FC236}">
                  <a16:creationId xmlns:a16="http://schemas.microsoft.com/office/drawing/2014/main" id="{B1F823D7-728A-404E-B4EE-CC6F243A3ADB}"/>
                </a:ext>
              </a:extLst>
            </p:cNvPr>
            <p:cNvSpPr/>
            <p:nvPr/>
          </p:nvSpPr>
          <p:spPr bwMode="auto">
            <a:xfrm>
              <a:off x="738227" y="505408"/>
              <a:ext cx="246409" cy="168804"/>
            </a:xfrm>
            <a:custGeom>
              <a:avLst/>
              <a:gdLst>
                <a:gd name="T0" fmla="*/ 12071 w 16095"/>
                <a:gd name="T1" fmla="*/ 4009 h 11026"/>
                <a:gd name="T2" fmla="*/ 1458 w 16095"/>
                <a:gd name="T3" fmla="*/ 10021 h 11026"/>
                <a:gd name="T4" fmla="*/ 1291 w 16095"/>
                <a:gd name="T5" fmla="*/ 9975 h 11026"/>
                <a:gd name="T6" fmla="*/ 1153 w 16095"/>
                <a:gd name="T7" fmla="*/ 9876 h 11026"/>
                <a:gd name="T8" fmla="*/ 1055 w 16095"/>
                <a:gd name="T9" fmla="*/ 9739 h 11026"/>
                <a:gd name="T10" fmla="*/ 1009 w 16095"/>
                <a:gd name="T11" fmla="*/ 9574 h 11026"/>
                <a:gd name="T12" fmla="*/ 1016 w 16095"/>
                <a:gd name="T13" fmla="*/ 1402 h 11026"/>
                <a:gd name="T14" fmla="*/ 1078 w 16095"/>
                <a:gd name="T15" fmla="*/ 1244 h 11026"/>
                <a:gd name="T16" fmla="*/ 1189 w 16095"/>
                <a:gd name="T17" fmla="*/ 1117 h 11026"/>
                <a:gd name="T18" fmla="*/ 1336 w 16095"/>
                <a:gd name="T19" fmla="*/ 1032 h 11026"/>
                <a:gd name="T20" fmla="*/ 1509 w 16095"/>
                <a:gd name="T21" fmla="*/ 1002 h 11026"/>
                <a:gd name="T22" fmla="*/ 11214 w 16095"/>
                <a:gd name="T23" fmla="*/ 1024 h 11026"/>
                <a:gd name="T24" fmla="*/ 11366 w 16095"/>
                <a:gd name="T25" fmla="*/ 1102 h 11026"/>
                <a:gd name="T26" fmla="*/ 11482 w 16095"/>
                <a:gd name="T27" fmla="*/ 1223 h 11026"/>
                <a:gd name="T28" fmla="*/ 11552 w 16095"/>
                <a:gd name="T29" fmla="*/ 1378 h 11026"/>
                <a:gd name="T30" fmla="*/ 11567 w 16095"/>
                <a:gd name="T31" fmla="*/ 9549 h 11026"/>
                <a:gd name="T32" fmla="*/ 11529 w 16095"/>
                <a:gd name="T33" fmla="*/ 9717 h 11026"/>
                <a:gd name="T34" fmla="*/ 11438 w 16095"/>
                <a:gd name="T35" fmla="*/ 9859 h 11026"/>
                <a:gd name="T36" fmla="*/ 11305 w 16095"/>
                <a:gd name="T37" fmla="*/ 9962 h 11026"/>
                <a:gd name="T38" fmla="*/ 11142 w 16095"/>
                <a:gd name="T39" fmla="*/ 10018 h 11026"/>
                <a:gd name="T40" fmla="*/ 14618 w 16095"/>
                <a:gd name="T41" fmla="*/ 501 h 11026"/>
                <a:gd name="T42" fmla="*/ 14447 w 16095"/>
                <a:gd name="T43" fmla="*/ 520 h 11026"/>
                <a:gd name="T44" fmla="*/ 14284 w 16095"/>
                <a:gd name="T45" fmla="*/ 567 h 11026"/>
                <a:gd name="T46" fmla="*/ 14131 w 16095"/>
                <a:gd name="T47" fmla="*/ 641 h 11026"/>
                <a:gd name="T48" fmla="*/ 13992 w 16095"/>
                <a:gd name="T49" fmla="*/ 740 h 11026"/>
                <a:gd name="T50" fmla="*/ 12566 w 16095"/>
                <a:gd name="T51" fmla="*/ 1349 h 11026"/>
                <a:gd name="T52" fmla="*/ 12425 w 16095"/>
                <a:gd name="T53" fmla="*/ 851 h 11026"/>
                <a:gd name="T54" fmla="*/ 12132 w 16095"/>
                <a:gd name="T55" fmla="*/ 440 h 11026"/>
                <a:gd name="T56" fmla="*/ 11719 w 16095"/>
                <a:gd name="T57" fmla="*/ 148 h 11026"/>
                <a:gd name="T58" fmla="*/ 11219 w 16095"/>
                <a:gd name="T59" fmla="*/ 8 h 11026"/>
                <a:gd name="T60" fmla="*/ 1205 w 16095"/>
                <a:gd name="T61" fmla="*/ 31 h 11026"/>
                <a:gd name="T62" fmla="*/ 727 w 16095"/>
                <a:gd name="T63" fmla="*/ 218 h 11026"/>
                <a:gd name="T64" fmla="*/ 345 w 16095"/>
                <a:gd name="T65" fmla="*/ 547 h 11026"/>
                <a:gd name="T66" fmla="*/ 92 w 16095"/>
                <a:gd name="T67" fmla="*/ 987 h 11026"/>
                <a:gd name="T68" fmla="*/ 0 w 16095"/>
                <a:gd name="T69" fmla="*/ 1504 h 11026"/>
                <a:gd name="T70" fmla="*/ 47 w 16095"/>
                <a:gd name="T71" fmla="*/ 9898 h 11026"/>
                <a:gd name="T72" fmla="*/ 258 w 16095"/>
                <a:gd name="T73" fmla="*/ 10363 h 11026"/>
                <a:gd name="T74" fmla="*/ 606 w 16095"/>
                <a:gd name="T75" fmla="*/ 10727 h 11026"/>
                <a:gd name="T76" fmla="*/ 1060 w 16095"/>
                <a:gd name="T77" fmla="*/ 10959 h 11026"/>
                <a:gd name="T78" fmla="*/ 11065 w 16095"/>
                <a:gd name="T79" fmla="*/ 11026 h 11026"/>
                <a:gd name="T80" fmla="*/ 11584 w 16095"/>
                <a:gd name="T81" fmla="*/ 10935 h 11026"/>
                <a:gd name="T82" fmla="*/ 12025 w 16095"/>
                <a:gd name="T83" fmla="*/ 10682 h 11026"/>
                <a:gd name="T84" fmla="*/ 12356 w 16095"/>
                <a:gd name="T85" fmla="*/ 10302 h 11026"/>
                <a:gd name="T86" fmla="*/ 12543 w 16095"/>
                <a:gd name="T87" fmla="*/ 9825 h 11026"/>
                <a:gd name="T88" fmla="*/ 13954 w 16095"/>
                <a:gd name="T89" fmla="*/ 10267 h 11026"/>
                <a:gd name="T90" fmla="*/ 14089 w 16095"/>
                <a:gd name="T91" fmla="*/ 10373 h 11026"/>
                <a:gd name="T92" fmla="*/ 14239 w 16095"/>
                <a:gd name="T93" fmla="*/ 10455 h 11026"/>
                <a:gd name="T94" fmla="*/ 14400 w 16095"/>
                <a:gd name="T95" fmla="*/ 10509 h 11026"/>
                <a:gd name="T96" fmla="*/ 14569 w 16095"/>
                <a:gd name="T97" fmla="*/ 10536 h 11026"/>
                <a:gd name="T98" fmla="*/ 15242 w 16095"/>
                <a:gd name="T99" fmla="*/ 10527 h 11026"/>
                <a:gd name="T100" fmla="*/ 15569 w 16095"/>
                <a:gd name="T101" fmla="*/ 10418 h 11026"/>
                <a:gd name="T102" fmla="*/ 15833 w 16095"/>
                <a:gd name="T103" fmla="*/ 10210 h 11026"/>
                <a:gd name="T104" fmla="*/ 16016 w 16095"/>
                <a:gd name="T105" fmla="*/ 9926 h 11026"/>
                <a:gd name="T106" fmla="*/ 16094 w 16095"/>
                <a:gd name="T107" fmla="*/ 9588 h 11026"/>
                <a:gd name="T108" fmla="*/ 16063 w 16095"/>
                <a:gd name="T109" fmla="*/ 1253 h 11026"/>
                <a:gd name="T110" fmla="*/ 15923 w 16095"/>
                <a:gd name="T111" fmla="*/ 943 h 11026"/>
                <a:gd name="T112" fmla="*/ 15691 w 16095"/>
                <a:gd name="T113" fmla="*/ 701 h 11026"/>
                <a:gd name="T114" fmla="*/ 15388 w 16095"/>
                <a:gd name="T115" fmla="*/ 546 h 110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095" h="11026">
                  <a:moveTo>
                    <a:pt x="15089" y="9536"/>
                  </a:moveTo>
                  <a:lnTo>
                    <a:pt x="14642" y="9536"/>
                  </a:lnTo>
                  <a:lnTo>
                    <a:pt x="14586" y="9536"/>
                  </a:lnTo>
                  <a:lnTo>
                    <a:pt x="12574" y="7532"/>
                  </a:lnTo>
                  <a:lnTo>
                    <a:pt x="12574" y="7518"/>
                  </a:lnTo>
                  <a:lnTo>
                    <a:pt x="12071" y="7017"/>
                  </a:lnTo>
                  <a:lnTo>
                    <a:pt x="12071" y="4009"/>
                  </a:lnTo>
                  <a:lnTo>
                    <a:pt x="14586" y="1504"/>
                  </a:lnTo>
                  <a:lnTo>
                    <a:pt x="14642" y="1504"/>
                  </a:lnTo>
                  <a:lnTo>
                    <a:pt x="15089" y="1504"/>
                  </a:lnTo>
                  <a:lnTo>
                    <a:pt x="15089" y="9536"/>
                  </a:lnTo>
                  <a:close/>
                  <a:moveTo>
                    <a:pt x="1509" y="10024"/>
                  </a:moveTo>
                  <a:lnTo>
                    <a:pt x="1483" y="10023"/>
                  </a:lnTo>
                  <a:lnTo>
                    <a:pt x="1458" y="10021"/>
                  </a:lnTo>
                  <a:lnTo>
                    <a:pt x="1432" y="10018"/>
                  </a:lnTo>
                  <a:lnTo>
                    <a:pt x="1407" y="10014"/>
                  </a:lnTo>
                  <a:lnTo>
                    <a:pt x="1383" y="10008"/>
                  </a:lnTo>
                  <a:lnTo>
                    <a:pt x="1359" y="10001"/>
                  </a:lnTo>
                  <a:lnTo>
                    <a:pt x="1336" y="9993"/>
                  </a:lnTo>
                  <a:lnTo>
                    <a:pt x="1313" y="9985"/>
                  </a:lnTo>
                  <a:lnTo>
                    <a:pt x="1291" y="9975"/>
                  </a:lnTo>
                  <a:lnTo>
                    <a:pt x="1268" y="9962"/>
                  </a:lnTo>
                  <a:lnTo>
                    <a:pt x="1248" y="9950"/>
                  </a:lnTo>
                  <a:lnTo>
                    <a:pt x="1227" y="9937"/>
                  </a:lnTo>
                  <a:lnTo>
                    <a:pt x="1208" y="9923"/>
                  </a:lnTo>
                  <a:lnTo>
                    <a:pt x="1189" y="9909"/>
                  </a:lnTo>
                  <a:lnTo>
                    <a:pt x="1171" y="9893"/>
                  </a:lnTo>
                  <a:lnTo>
                    <a:pt x="1153" y="9876"/>
                  </a:lnTo>
                  <a:lnTo>
                    <a:pt x="1137" y="9859"/>
                  </a:lnTo>
                  <a:lnTo>
                    <a:pt x="1121" y="9841"/>
                  </a:lnTo>
                  <a:lnTo>
                    <a:pt x="1106" y="9822"/>
                  </a:lnTo>
                  <a:lnTo>
                    <a:pt x="1091" y="9802"/>
                  </a:lnTo>
                  <a:lnTo>
                    <a:pt x="1078" y="9782"/>
                  </a:lnTo>
                  <a:lnTo>
                    <a:pt x="1066" y="9761"/>
                  </a:lnTo>
                  <a:lnTo>
                    <a:pt x="1055" y="9739"/>
                  </a:lnTo>
                  <a:lnTo>
                    <a:pt x="1045" y="9717"/>
                  </a:lnTo>
                  <a:lnTo>
                    <a:pt x="1036" y="9695"/>
                  </a:lnTo>
                  <a:lnTo>
                    <a:pt x="1028" y="9671"/>
                  </a:lnTo>
                  <a:lnTo>
                    <a:pt x="1022" y="9648"/>
                  </a:lnTo>
                  <a:lnTo>
                    <a:pt x="1016" y="9624"/>
                  </a:lnTo>
                  <a:lnTo>
                    <a:pt x="1012" y="9599"/>
                  </a:lnTo>
                  <a:lnTo>
                    <a:pt x="1009" y="9574"/>
                  </a:lnTo>
                  <a:lnTo>
                    <a:pt x="1007" y="9549"/>
                  </a:lnTo>
                  <a:lnTo>
                    <a:pt x="1006" y="9522"/>
                  </a:lnTo>
                  <a:lnTo>
                    <a:pt x="1006" y="1504"/>
                  </a:lnTo>
                  <a:lnTo>
                    <a:pt x="1007" y="1477"/>
                  </a:lnTo>
                  <a:lnTo>
                    <a:pt x="1009" y="1452"/>
                  </a:lnTo>
                  <a:lnTo>
                    <a:pt x="1012" y="1427"/>
                  </a:lnTo>
                  <a:lnTo>
                    <a:pt x="1016" y="1402"/>
                  </a:lnTo>
                  <a:lnTo>
                    <a:pt x="1022" y="1378"/>
                  </a:lnTo>
                  <a:lnTo>
                    <a:pt x="1028" y="1354"/>
                  </a:lnTo>
                  <a:lnTo>
                    <a:pt x="1036" y="1331"/>
                  </a:lnTo>
                  <a:lnTo>
                    <a:pt x="1045" y="1308"/>
                  </a:lnTo>
                  <a:lnTo>
                    <a:pt x="1055" y="1286"/>
                  </a:lnTo>
                  <a:lnTo>
                    <a:pt x="1066" y="1264"/>
                  </a:lnTo>
                  <a:lnTo>
                    <a:pt x="1078" y="1244"/>
                  </a:lnTo>
                  <a:lnTo>
                    <a:pt x="1091" y="1223"/>
                  </a:lnTo>
                  <a:lnTo>
                    <a:pt x="1106" y="1204"/>
                  </a:lnTo>
                  <a:lnTo>
                    <a:pt x="1121" y="1185"/>
                  </a:lnTo>
                  <a:lnTo>
                    <a:pt x="1137" y="1167"/>
                  </a:lnTo>
                  <a:lnTo>
                    <a:pt x="1153" y="1149"/>
                  </a:lnTo>
                  <a:lnTo>
                    <a:pt x="1171" y="1133"/>
                  </a:lnTo>
                  <a:lnTo>
                    <a:pt x="1189" y="1117"/>
                  </a:lnTo>
                  <a:lnTo>
                    <a:pt x="1208" y="1102"/>
                  </a:lnTo>
                  <a:lnTo>
                    <a:pt x="1227" y="1088"/>
                  </a:lnTo>
                  <a:lnTo>
                    <a:pt x="1248" y="1075"/>
                  </a:lnTo>
                  <a:lnTo>
                    <a:pt x="1268" y="1063"/>
                  </a:lnTo>
                  <a:lnTo>
                    <a:pt x="1291" y="1051"/>
                  </a:lnTo>
                  <a:lnTo>
                    <a:pt x="1313" y="1041"/>
                  </a:lnTo>
                  <a:lnTo>
                    <a:pt x="1336" y="1032"/>
                  </a:lnTo>
                  <a:lnTo>
                    <a:pt x="1359" y="1024"/>
                  </a:lnTo>
                  <a:lnTo>
                    <a:pt x="1383" y="1018"/>
                  </a:lnTo>
                  <a:lnTo>
                    <a:pt x="1407" y="1012"/>
                  </a:lnTo>
                  <a:lnTo>
                    <a:pt x="1432" y="1008"/>
                  </a:lnTo>
                  <a:lnTo>
                    <a:pt x="1458" y="1005"/>
                  </a:lnTo>
                  <a:lnTo>
                    <a:pt x="1483" y="1003"/>
                  </a:lnTo>
                  <a:lnTo>
                    <a:pt x="1509" y="1002"/>
                  </a:lnTo>
                  <a:lnTo>
                    <a:pt x="11065" y="1002"/>
                  </a:lnTo>
                  <a:lnTo>
                    <a:pt x="11091" y="1003"/>
                  </a:lnTo>
                  <a:lnTo>
                    <a:pt x="11117" y="1005"/>
                  </a:lnTo>
                  <a:lnTo>
                    <a:pt x="11142" y="1008"/>
                  </a:lnTo>
                  <a:lnTo>
                    <a:pt x="11167" y="1012"/>
                  </a:lnTo>
                  <a:lnTo>
                    <a:pt x="11191" y="1018"/>
                  </a:lnTo>
                  <a:lnTo>
                    <a:pt x="11214" y="1024"/>
                  </a:lnTo>
                  <a:lnTo>
                    <a:pt x="11238" y="1032"/>
                  </a:lnTo>
                  <a:lnTo>
                    <a:pt x="11260" y="1041"/>
                  </a:lnTo>
                  <a:lnTo>
                    <a:pt x="11283" y="1051"/>
                  </a:lnTo>
                  <a:lnTo>
                    <a:pt x="11305" y="1063"/>
                  </a:lnTo>
                  <a:lnTo>
                    <a:pt x="11326" y="1075"/>
                  </a:lnTo>
                  <a:lnTo>
                    <a:pt x="11346" y="1088"/>
                  </a:lnTo>
                  <a:lnTo>
                    <a:pt x="11366" y="1102"/>
                  </a:lnTo>
                  <a:lnTo>
                    <a:pt x="11385" y="1117"/>
                  </a:lnTo>
                  <a:lnTo>
                    <a:pt x="11403" y="1133"/>
                  </a:lnTo>
                  <a:lnTo>
                    <a:pt x="11420" y="1149"/>
                  </a:lnTo>
                  <a:lnTo>
                    <a:pt x="11438" y="1167"/>
                  </a:lnTo>
                  <a:lnTo>
                    <a:pt x="11454" y="1185"/>
                  </a:lnTo>
                  <a:lnTo>
                    <a:pt x="11468" y="1204"/>
                  </a:lnTo>
                  <a:lnTo>
                    <a:pt x="11482" y="1223"/>
                  </a:lnTo>
                  <a:lnTo>
                    <a:pt x="11496" y="1244"/>
                  </a:lnTo>
                  <a:lnTo>
                    <a:pt x="11508" y="1265"/>
                  </a:lnTo>
                  <a:lnTo>
                    <a:pt x="11519" y="1286"/>
                  </a:lnTo>
                  <a:lnTo>
                    <a:pt x="11529" y="1308"/>
                  </a:lnTo>
                  <a:lnTo>
                    <a:pt x="11538" y="1331"/>
                  </a:lnTo>
                  <a:lnTo>
                    <a:pt x="11545" y="1354"/>
                  </a:lnTo>
                  <a:lnTo>
                    <a:pt x="11552" y="1378"/>
                  </a:lnTo>
                  <a:lnTo>
                    <a:pt x="11558" y="1402"/>
                  </a:lnTo>
                  <a:lnTo>
                    <a:pt x="11562" y="1427"/>
                  </a:lnTo>
                  <a:lnTo>
                    <a:pt x="11565" y="1452"/>
                  </a:lnTo>
                  <a:lnTo>
                    <a:pt x="11567" y="1477"/>
                  </a:lnTo>
                  <a:lnTo>
                    <a:pt x="11568" y="1504"/>
                  </a:lnTo>
                  <a:lnTo>
                    <a:pt x="11568" y="9522"/>
                  </a:lnTo>
                  <a:lnTo>
                    <a:pt x="11567" y="9549"/>
                  </a:lnTo>
                  <a:lnTo>
                    <a:pt x="11565" y="9574"/>
                  </a:lnTo>
                  <a:lnTo>
                    <a:pt x="11562" y="9599"/>
                  </a:lnTo>
                  <a:lnTo>
                    <a:pt x="11558" y="9624"/>
                  </a:lnTo>
                  <a:lnTo>
                    <a:pt x="11552" y="9648"/>
                  </a:lnTo>
                  <a:lnTo>
                    <a:pt x="11545" y="9671"/>
                  </a:lnTo>
                  <a:lnTo>
                    <a:pt x="11538" y="9695"/>
                  </a:lnTo>
                  <a:lnTo>
                    <a:pt x="11529" y="9717"/>
                  </a:lnTo>
                  <a:lnTo>
                    <a:pt x="11519" y="9739"/>
                  </a:lnTo>
                  <a:lnTo>
                    <a:pt x="11508" y="9761"/>
                  </a:lnTo>
                  <a:lnTo>
                    <a:pt x="11496" y="9782"/>
                  </a:lnTo>
                  <a:lnTo>
                    <a:pt x="11482" y="9802"/>
                  </a:lnTo>
                  <a:lnTo>
                    <a:pt x="11468" y="9822"/>
                  </a:lnTo>
                  <a:lnTo>
                    <a:pt x="11454" y="9841"/>
                  </a:lnTo>
                  <a:lnTo>
                    <a:pt x="11438" y="9859"/>
                  </a:lnTo>
                  <a:lnTo>
                    <a:pt x="11420" y="9876"/>
                  </a:lnTo>
                  <a:lnTo>
                    <a:pt x="11403" y="9893"/>
                  </a:lnTo>
                  <a:lnTo>
                    <a:pt x="11385" y="9909"/>
                  </a:lnTo>
                  <a:lnTo>
                    <a:pt x="11366" y="9923"/>
                  </a:lnTo>
                  <a:lnTo>
                    <a:pt x="11346" y="9937"/>
                  </a:lnTo>
                  <a:lnTo>
                    <a:pt x="11326" y="9950"/>
                  </a:lnTo>
                  <a:lnTo>
                    <a:pt x="11305" y="9962"/>
                  </a:lnTo>
                  <a:lnTo>
                    <a:pt x="11283" y="9975"/>
                  </a:lnTo>
                  <a:lnTo>
                    <a:pt x="11260" y="9985"/>
                  </a:lnTo>
                  <a:lnTo>
                    <a:pt x="11238" y="9993"/>
                  </a:lnTo>
                  <a:lnTo>
                    <a:pt x="11214" y="10001"/>
                  </a:lnTo>
                  <a:lnTo>
                    <a:pt x="11191" y="10008"/>
                  </a:lnTo>
                  <a:lnTo>
                    <a:pt x="11167" y="10014"/>
                  </a:lnTo>
                  <a:lnTo>
                    <a:pt x="11142" y="10018"/>
                  </a:lnTo>
                  <a:lnTo>
                    <a:pt x="11117" y="10021"/>
                  </a:lnTo>
                  <a:lnTo>
                    <a:pt x="11091" y="10023"/>
                  </a:lnTo>
                  <a:lnTo>
                    <a:pt x="11065" y="10024"/>
                  </a:lnTo>
                  <a:lnTo>
                    <a:pt x="1509" y="10024"/>
                  </a:lnTo>
                  <a:close/>
                  <a:moveTo>
                    <a:pt x="15089" y="501"/>
                  </a:moveTo>
                  <a:lnTo>
                    <a:pt x="14642" y="501"/>
                  </a:lnTo>
                  <a:lnTo>
                    <a:pt x="14618" y="501"/>
                  </a:lnTo>
                  <a:lnTo>
                    <a:pt x="14593" y="502"/>
                  </a:lnTo>
                  <a:lnTo>
                    <a:pt x="14569" y="504"/>
                  </a:lnTo>
                  <a:lnTo>
                    <a:pt x="14545" y="506"/>
                  </a:lnTo>
                  <a:lnTo>
                    <a:pt x="14520" y="509"/>
                  </a:lnTo>
                  <a:lnTo>
                    <a:pt x="14496" y="512"/>
                  </a:lnTo>
                  <a:lnTo>
                    <a:pt x="14471" y="516"/>
                  </a:lnTo>
                  <a:lnTo>
                    <a:pt x="14447" y="520"/>
                  </a:lnTo>
                  <a:lnTo>
                    <a:pt x="14424" y="525"/>
                  </a:lnTo>
                  <a:lnTo>
                    <a:pt x="14400" y="531"/>
                  </a:lnTo>
                  <a:lnTo>
                    <a:pt x="14377" y="537"/>
                  </a:lnTo>
                  <a:lnTo>
                    <a:pt x="14353" y="543"/>
                  </a:lnTo>
                  <a:lnTo>
                    <a:pt x="14330" y="551"/>
                  </a:lnTo>
                  <a:lnTo>
                    <a:pt x="14307" y="559"/>
                  </a:lnTo>
                  <a:lnTo>
                    <a:pt x="14284" y="567"/>
                  </a:lnTo>
                  <a:lnTo>
                    <a:pt x="14261" y="576"/>
                  </a:lnTo>
                  <a:lnTo>
                    <a:pt x="14239" y="585"/>
                  </a:lnTo>
                  <a:lnTo>
                    <a:pt x="14217" y="595"/>
                  </a:lnTo>
                  <a:lnTo>
                    <a:pt x="14195" y="606"/>
                  </a:lnTo>
                  <a:lnTo>
                    <a:pt x="14174" y="617"/>
                  </a:lnTo>
                  <a:lnTo>
                    <a:pt x="14153" y="628"/>
                  </a:lnTo>
                  <a:lnTo>
                    <a:pt x="14131" y="641"/>
                  </a:lnTo>
                  <a:lnTo>
                    <a:pt x="14110" y="654"/>
                  </a:lnTo>
                  <a:lnTo>
                    <a:pt x="14089" y="667"/>
                  </a:lnTo>
                  <a:lnTo>
                    <a:pt x="14069" y="681"/>
                  </a:lnTo>
                  <a:lnTo>
                    <a:pt x="14049" y="695"/>
                  </a:lnTo>
                  <a:lnTo>
                    <a:pt x="14030" y="710"/>
                  </a:lnTo>
                  <a:lnTo>
                    <a:pt x="14011" y="725"/>
                  </a:lnTo>
                  <a:lnTo>
                    <a:pt x="13992" y="740"/>
                  </a:lnTo>
                  <a:lnTo>
                    <a:pt x="13972" y="756"/>
                  </a:lnTo>
                  <a:lnTo>
                    <a:pt x="13954" y="773"/>
                  </a:lnTo>
                  <a:lnTo>
                    <a:pt x="13936" y="790"/>
                  </a:lnTo>
                  <a:lnTo>
                    <a:pt x="12574" y="2129"/>
                  </a:lnTo>
                  <a:lnTo>
                    <a:pt x="12574" y="1504"/>
                  </a:lnTo>
                  <a:lnTo>
                    <a:pt x="12572" y="1426"/>
                  </a:lnTo>
                  <a:lnTo>
                    <a:pt x="12566" y="1349"/>
                  </a:lnTo>
                  <a:lnTo>
                    <a:pt x="12557" y="1274"/>
                  </a:lnTo>
                  <a:lnTo>
                    <a:pt x="12543" y="1200"/>
                  </a:lnTo>
                  <a:lnTo>
                    <a:pt x="12527" y="1128"/>
                  </a:lnTo>
                  <a:lnTo>
                    <a:pt x="12506" y="1056"/>
                  </a:lnTo>
                  <a:lnTo>
                    <a:pt x="12483" y="986"/>
                  </a:lnTo>
                  <a:lnTo>
                    <a:pt x="12456" y="918"/>
                  </a:lnTo>
                  <a:lnTo>
                    <a:pt x="12425" y="851"/>
                  </a:lnTo>
                  <a:lnTo>
                    <a:pt x="12392" y="787"/>
                  </a:lnTo>
                  <a:lnTo>
                    <a:pt x="12356" y="724"/>
                  </a:lnTo>
                  <a:lnTo>
                    <a:pt x="12317" y="663"/>
                  </a:lnTo>
                  <a:lnTo>
                    <a:pt x="12274" y="603"/>
                  </a:lnTo>
                  <a:lnTo>
                    <a:pt x="12229" y="547"/>
                  </a:lnTo>
                  <a:lnTo>
                    <a:pt x="12182" y="492"/>
                  </a:lnTo>
                  <a:lnTo>
                    <a:pt x="12132" y="440"/>
                  </a:lnTo>
                  <a:lnTo>
                    <a:pt x="12079" y="390"/>
                  </a:lnTo>
                  <a:lnTo>
                    <a:pt x="12025" y="343"/>
                  </a:lnTo>
                  <a:lnTo>
                    <a:pt x="11968" y="299"/>
                  </a:lnTo>
                  <a:lnTo>
                    <a:pt x="11908" y="257"/>
                  </a:lnTo>
                  <a:lnTo>
                    <a:pt x="11848" y="218"/>
                  </a:lnTo>
                  <a:lnTo>
                    <a:pt x="11785" y="181"/>
                  </a:lnTo>
                  <a:lnTo>
                    <a:pt x="11719" y="148"/>
                  </a:lnTo>
                  <a:lnTo>
                    <a:pt x="11653" y="118"/>
                  </a:lnTo>
                  <a:lnTo>
                    <a:pt x="11584" y="91"/>
                  </a:lnTo>
                  <a:lnTo>
                    <a:pt x="11514" y="67"/>
                  </a:lnTo>
                  <a:lnTo>
                    <a:pt x="11443" y="47"/>
                  </a:lnTo>
                  <a:lnTo>
                    <a:pt x="11369" y="30"/>
                  </a:lnTo>
                  <a:lnTo>
                    <a:pt x="11295" y="17"/>
                  </a:lnTo>
                  <a:lnTo>
                    <a:pt x="11219" y="8"/>
                  </a:lnTo>
                  <a:lnTo>
                    <a:pt x="11143" y="2"/>
                  </a:lnTo>
                  <a:lnTo>
                    <a:pt x="11065" y="0"/>
                  </a:lnTo>
                  <a:lnTo>
                    <a:pt x="1509" y="0"/>
                  </a:lnTo>
                  <a:lnTo>
                    <a:pt x="1431" y="2"/>
                  </a:lnTo>
                  <a:lnTo>
                    <a:pt x="1355" y="8"/>
                  </a:lnTo>
                  <a:lnTo>
                    <a:pt x="1280" y="17"/>
                  </a:lnTo>
                  <a:lnTo>
                    <a:pt x="1205" y="31"/>
                  </a:lnTo>
                  <a:lnTo>
                    <a:pt x="1133" y="47"/>
                  </a:lnTo>
                  <a:lnTo>
                    <a:pt x="1060" y="67"/>
                  </a:lnTo>
                  <a:lnTo>
                    <a:pt x="991" y="91"/>
                  </a:lnTo>
                  <a:lnTo>
                    <a:pt x="922" y="118"/>
                  </a:lnTo>
                  <a:lnTo>
                    <a:pt x="855" y="148"/>
                  </a:lnTo>
                  <a:lnTo>
                    <a:pt x="791" y="181"/>
                  </a:lnTo>
                  <a:lnTo>
                    <a:pt x="727" y="218"/>
                  </a:lnTo>
                  <a:lnTo>
                    <a:pt x="666" y="257"/>
                  </a:lnTo>
                  <a:lnTo>
                    <a:pt x="607" y="299"/>
                  </a:lnTo>
                  <a:lnTo>
                    <a:pt x="549" y="344"/>
                  </a:lnTo>
                  <a:lnTo>
                    <a:pt x="495" y="391"/>
                  </a:lnTo>
                  <a:lnTo>
                    <a:pt x="443" y="441"/>
                  </a:lnTo>
                  <a:lnTo>
                    <a:pt x="392" y="493"/>
                  </a:lnTo>
                  <a:lnTo>
                    <a:pt x="345" y="547"/>
                  </a:lnTo>
                  <a:lnTo>
                    <a:pt x="300" y="604"/>
                  </a:lnTo>
                  <a:lnTo>
                    <a:pt x="259" y="664"/>
                  </a:lnTo>
                  <a:lnTo>
                    <a:pt x="218" y="725"/>
                  </a:lnTo>
                  <a:lnTo>
                    <a:pt x="182" y="787"/>
                  </a:lnTo>
                  <a:lnTo>
                    <a:pt x="149" y="852"/>
                  </a:lnTo>
                  <a:lnTo>
                    <a:pt x="119" y="919"/>
                  </a:lnTo>
                  <a:lnTo>
                    <a:pt x="92" y="987"/>
                  </a:lnTo>
                  <a:lnTo>
                    <a:pt x="68" y="1056"/>
                  </a:lnTo>
                  <a:lnTo>
                    <a:pt x="47" y="1128"/>
                  </a:lnTo>
                  <a:lnTo>
                    <a:pt x="31" y="1201"/>
                  </a:lnTo>
                  <a:lnTo>
                    <a:pt x="17" y="1275"/>
                  </a:lnTo>
                  <a:lnTo>
                    <a:pt x="8" y="1350"/>
                  </a:lnTo>
                  <a:lnTo>
                    <a:pt x="2" y="1426"/>
                  </a:lnTo>
                  <a:lnTo>
                    <a:pt x="0" y="1504"/>
                  </a:lnTo>
                  <a:lnTo>
                    <a:pt x="0" y="4997"/>
                  </a:lnTo>
                  <a:lnTo>
                    <a:pt x="0" y="9522"/>
                  </a:lnTo>
                  <a:lnTo>
                    <a:pt x="2" y="9600"/>
                  </a:lnTo>
                  <a:lnTo>
                    <a:pt x="8" y="9676"/>
                  </a:lnTo>
                  <a:lnTo>
                    <a:pt x="17" y="9751"/>
                  </a:lnTo>
                  <a:lnTo>
                    <a:pt x="30" y="9825"/>
                  </a:lnTo>
                  <a:lnTo>
                    <a:pt x="47" y="9898"/>
                  </a:lnTo>
                  <a:lnTo>
                    <a:pt x="67" y="9970"/>
                  </a:lnTo>
                  <a:lnTo>
                    <a:pt x="92" y="10040"/>
                  </a:lnTo>
                  <a:lnTo>
                    <a:pt x="119" y="10108"/>
                  </a:lnTo>
                  <a:lnTo>
                    <a:pt x="149" y="10174"/>
                  </a:lnTo>
                  <a:lnTo>
                    <a:pt x="182" y="10239"/>
                  </a:lnTo>
                  <a:lnTo>
                    <a:pt x="218" y="10302"/>
                  </a:lnTo>
                  <a:lnTo>
                    <a:pt x="258" y="10363"/>
                  </a:lnTo>
                  <a:lnTo>
                    <a:pt x="300" y="10422"/>
                  </a:lnTo>
                  <a:lnTo>
                    <a:pt x="344" y="10479"/>
                  </a:lnTo>
                  <a:lnTo>
                    <a:pt x="391" y="10534"/>
                  </a:lnTo>
                  <a:lnTo>
                    <a:pt x="442" y="10586"/>
                  </a:lnTo>
                  <a:lnTo>
                    <a:pt x="494" y="10635"/>
                  </a:lnTo>
                  <a:lnTo>
                    <a:pt x="549" y="10682"/>
                  </a:lnTo>
                  <a:lnTo>
                    <a:pt x="606" y="10727"/>
                  </a:lnTo>
                  <a:lnTo>
                    <a:pt x="665" y="10769"/>
                  </a:lnTo>
                  <a:lnTo>
                    <a:pt x="726" y="10808"/>
                  </a:lnTo>
                  <a:lnTo>
                    <a:pt x="790" y="10845"/>
                  </a:lnTo>
                  <a:lnTo>
                    <a:pt x="854" y="10878"/>
                  </a:lnTo>
                  <a:lnTo>
                    <a:pt x="921" y="10908"/>
                  </a:lnTo>
                  <a:lnTo>
                    <a:pt x="990" y="10935"/>
                  </a:lnTo>
                  <a:lnTo>
                    <a:pt x="1060" y="10959"/>
                  </a:lnTo>
                  <a:lnTo>
                    <a:pt x="1132" y="10979"/>
                  </a:lnTo>
                  <a:lnTo>
                    <a:pt x="1204" y="10996"/>
                  </a:lnTo>
                  <a:lnTo>
                    <a:pt x="1279" y="11009"/>
                  </a:lnTo>
                  <a:lnTo>
                    <a:pt x="1354" y="11018"/>
                  </a:lnTo>
                  <a:lnTo>
                    <a:pt x="1431" y="11024"/>
                  </a:lnTo>
                  <a:lnTo>
                    <a:pt x="1509" y="11026"/>
                  </a:lnTo>
                  <a:lnTo>
                    <a:pt x="11065" y="11026"/>
                  </a:lnTo>
                  <a:lnTo>
                    <a:pt x="11143" y="11024"/>
                  </a:lnTo>
                  <a:lnTo>
                    <a:pt x="11219" y="11018"/>
                  </a:lnTo>
                  <a:lnTo>
                    <a:pt x="11295" y="11009"/>
                  </a:lnTo>
                  <a:lnTo>
                    <a:pt x="11369" y="10996"/>
                  </a:lnTo>
                  <a:lnTo>
                    <a:pt x="11443" y="10979"/>
                  </a:lnTo>
                  <a:lnTo>
                    <a:pt x="11514" y="10959"/>
                  </a:lnTo>
                  <a:lnTo>
                    <a:pt x="11584" y="10935"/>
                  </a:lnTo>
                  <a:lnTo>
                    <a:pt x="11653" y="10908"/>
                  </a:lnTo>
                  <a:lnTo>
                    <a:pt x="11719" y="10878"/>
                  </a:lnTo>
                  <a:lnTo>
                    <a:pt x="11785" y="10845"/>
                  </a:lnTo>
                  <a:lnTo>
                    <a:pt x="11848" y="10808"/>
                  </a:lnTo>
                  <a:lnTo>
                    <a:pt x="11908" y="10769"/>
                  </a:lnTo>
                  <a:lnTo>
                    <a:pt x="11968" y="10727"/>
                  </a:lnTo>
                  <a:lnTo>
                    <a:pt x="12025" y="10682"/>
                  </a:lnTo>
                  <a:lnTo>
                    <a:pt x="12079" y="10635"/>
                  </a:lnTo>
                  <a:lnTo>
                    <a:pt x="12132" y="10586"/>
                  </a:lnTo>
                  <a:lnTo>
                    <a:pt x="12182" y="10534"/>
                  </a:lnTo>
                  <a:lnTo>
                    <a:pt x="12229" y="10479"/>
                  </a:lnTo>
                  <a:lnTo>
                    <a:pt x="12274" y="10422"/>
                  </a:lnTo>
                  <a:lnTo>
                    <a:pt x="12317" y="10363"/>
                  </a:lnTo>
                  <a:lnTo>
                    <a:pt x="12356" y="10302"/>
                  </a:lnTo>
                  <a:lnTo>
                    <a:pt x="12392" y="10239"/>
                  </a:lnTo>
                  <a:lnTo>
                    <a:pt x="12425" y="10174"/>
                  </a:lnTo>
                  <a:lnTo>
                    <a:pt x="12456" y="10108"/>
                  </a:lnTo>
                  <a:lnTo>
                    <a:pt x="12483" y="10040"/>
                  </a:lnTo>
                  <a:lnTo>
                    <a:pt x="12506" y="9970"/>
                  </a:lnTo>
                  <a:lnTo>
                    <a:pt x="12527" y="9898"/>
                  </a:lnTo>
                  <a:lnTo>
                    <a:pt x="12543" y="9825"/>
                  </a:lnTo>
                  <a:lnTo>
                    <a:pt x="12557" y="9751"/>
                  </a:lnTo>
                  <a:lnTo>
                    <a:pt x="12566" y="9676"/>
                  </a:lnTo>
                  <a:lnTo>
                    <a:pt x="12572" y="9600"/>
                  </a:lnTo>
                  <a:lnTo>
                    <a:pt x="12574" y="9522"/>
                  </a:lnTo>
                  <a:lnTo>
                    <a:pt x="12574" y="8911"/>
                  </a:lnTo>
                  <a:lnTo>
                    <a:pt x="13936" y="10250"/>
                  </a:lnTo>
                  <a:lnTo>
                    <a:pt x="13954" y="10267"/>
                  </a:lnTo>
                  <a:lnTo>
                    <a:pt x="13972" y="10284"/>
                  </a:lnTo>
                  <a:lnTo>
                    <a:pt x="13992" y="10300"/>
                  </a:lnTo>
                  <a:lnTo>
                    <a:pt x="14011" y="10315"/>
                  </a:lnTo>
                  <a:lnTo>
                    <a:pt x="14030" y="10330"/>
                  </a:lnTo>
                  <a:lnTo>
                    <a:pt x="14049" y="10345"/>
                  </a:lnTo>
                  <a:lnTo>
                    <a:pt x="14069" y="10359"/>
                  </a:lnTo>
                  <a:lnTo>
                    <a:pt x="14089" y="10373"/>
                  </a:lnTo>
                  <a:lnTo>
                    <a:pt x="14110" y="10386"/>
                  </a:lnTo>
                  <a:lnTo>
                    <a:pt x="14131" y="10400"/>
                  </a:lnTo>
                  <a:lnTo>
                    <a:pt x="14153" y="10412"/>
                  </a:lnTo>
                  <a:lnTo>
                    <a:pt x="14174" y="10423"/>
                  </a:lnTo>
                  <a:lnTo>
                    <a:pt x="14195" y="10434"/>
                  </a:lnTo>
                  <a:lnTo>
                    <a:pt x="14217" y="10445"/>
                  </a:lnTo>
                  <a:lnTo>
                    <a:pt x="14239" y="10455"/>
                  </a:lnTo>
                  <a:lnTo>
                    <a:pt x="14261" y="10464"/>
                  </a:lnTo>
                  <a:lnTo>
                    <a:pt x="14284" y="10473"/>
                  </a:lnTo>
                  <a:lnTo>
                    <a:pt x="14307" y="10481"/>
                  </a:lnTo>
                  <a:lnTo>
                    <a:pt x="14330" y="10489"/>
                  </a:lnTo>
                  <a:lnTo>
                    <a:pt x="14353" y="10497"/>
                  </a:lnTo>
                  <a:lnTo>
                    <a:pt x="14377" y="10503"/>
                  </a:lnTo>
                  <a:lnTo>
                    <a:pt x="14400" y="10509"/>
                  </a:lnTo>
                  <a:lnTo>
                    <a:pt x="14424" y="10515"/>
                  </a:lnTo>
                  <a:lnTo>
                    <a:pt x="14447" y="10520"/>
                  </a:lnTo>
                  <a:lnTo>
                    <a:pt x="14471" y="10524"/>
                  </a:lnTo>
                  <a:lnTo>
                    <a:pt x="14496" y="10528"/>
                  </a:lnTo>
                  <a:lnTo>
                    <a:pt x="14520" y="10531"/>
                  </a:lnTo>
                  <a:lnTo>
                    <a:pt x="14545" y="10534"/>
                  </a:lnTo>
                  <a:lnTo>
                    <a:pt x="14569" y="10536"/>
                  </a:lnTo>
                  <a:lnTo>
                    <a:pt x="14593" y="10538"/>
                  </a:lnTo>
                  <a:lnTo>
                    <a:pt x="14618" y="10539"/>
                  </a:lnTo>
                  <a:lnTo>
                    <a:pt x="14642" y="10539"/>
                  </a:lnTo>
                  <a:lnTo>
                    <a:pt x="15089" y="10539"/>
                  </a:lnTo>
                  <a:lnTo>
                    <a:pt x="15140" y="10538"/>
                  </a:lnTo>
                  <a:lnTo>
                    <a:pt x="15192" y="10534"/>
                  </a:lnTo>
                  <a:lnTo>
                    <a:pt x="15242" y="10527"/>
                  </a:lnTo>
                  <a:lnTo>
                    <a:pt x="15291" y="10519"/>
                  </a:lnTo>
                  <a:lnTo>
                    <a:pt x="15341" y="10507"/>
                  </a:lnTo>
                  <a:lnTo>
                    <a:pt x="15388" y="10494"/>
                  </a:lnTo>
                  <a:lnTo>
                    <a:pt x="15435" y="10478"/>
                  </a:lnTo>
                  <a:lnTo>
                    <a:pt x="15480" y="10460"/>
                  </a:lnTo>
                  <a:lnTo>
                    <a:pt x="15525" y="10440"/>
                  </a:lnTo>
                  <a:lnTo>
                    <a:pt x="15569" y="10418"/>
                  </a:lnTo>
                  <a:lnTo>
                    <a:pt x="15610" y="10394"/>
                  </a:lnTo>
                  <a:lnTo>
                    <a:pt x="15651" y="10367"/>
                  </a:lnTo>
                  <a:lnTo>
                    <a:pt x="15691" y="10339"/>
                  </a:lnTo>
                  <a:lnTo>
                    <a:pt x="15729" y="10310"/>
                  </a:lnTo>
                  <a:lnTo>
                    <a:pt x="15765" y="10278"/>
                  </a:lnTo>
                  <a:lnTo>
                    <a:pt x="15800" y="10245"/>
                  </a:lnTo>
                  <a:lnTo>
                    <a:pt x="15833" y="10210"/>
                  </a:lnTo>
                  <a:lnTo>
                    <a:pt x="15866" y="10174"/>
                  </a:lnTo>
                  <a:lnTo>
                    <a:pt x="15895" y="10136"/>
                  </a:lnTo>
                  <a:lnTo>
                    <a:pt x="15923" y="10097"/>
                  </a:lnTo>
                  <a:lnTo>
                    <a:pt x="15949" y="10056"/>
                  </a:lnTo>
                  <a:lnTo>
                    <a:pt x="15973" y="10014"/>
                  </a:lnTo>
                  <a:lnTo>
                    <a:pt x="15995" y="9971"/>
                  </a:lnTo>
                  <a:lnTo>
                    <a:pt x="16016" y="9926"/>
                  </a:lnTo>
                  <a:lnTo>
                    <a:pt x="16034" y="9881"/>
                  </a:lnTo>
                  <a:lnTo>
                    <a:pt x="16050" y="9834"/>
                  </a:lnTo>
                  <a:lnTo>
                    <a:pt x="16063" y="9787"/>
                  </a:lnTo>
                  <a:lnTo>
                    <a:pt x="16075" y="9738"/>
                  </a:lnTo>
                  <a:lnTo>
                    <a:pt x="16083" y="9689"/>
                  </a:lnTo>
                  <a:lnTo>
                    <a:pt x="16090" y="9639"/>
                  </a:lnTo>
                  <a:lnTo>
                    <a:pt x="16094" y="9588"/>
                  </a:lnTo>
                  <a:lnTo>
                    <a:pt x="16095" y="9536"/>
                  </a:lnTo>
                  <a:lnTo>
                    <a:pt x="16095" y="1504"/>
                  </a:lnTo>
                  <a:lnTo>
                    <a:pt x="16094" y="1451"/>
                  </a:lnTo>
                  <a:lnTo>
                    <a:pt x="16090" y="1401"/>
                  </a:lnTo>
                  <a:lnTo>
                    <a:pt x="16083" y="1351"/>
                  </a:lnTo>
                  <a:lnTo>
                    <a:pt x="16075" y="1301"/>
                  </a:lnTo>
                  <a:lnTo>
                    <a:pt x="16063" y="1253"/>
                  </a:lnTo>
                  <a:lnTo>
                    <a:pt x="16050" y="1205"/>
                  </a:lnTo>
                  <a:lnTo>
                    <a:pt x="16034" y="1159"/>
                  </a:lnTo>
                  <a:lnTo>
                    <a:pt x="16016" y="1114"/>
                  </a:lnTo>
                  <a:lnTo>
                    <a:pt x="15995" y="1069"/>
                  </a:lnTo>
                  <a:lnTo>
                    <a:pt x="15973" y="1025"/>
                  </a:lnTo>
                  <a:lnTo>
                    <a:pt x="15949" y="983"/>
                  </a:lnTo>
                  <a:lnTo>
                    <a:pt x="15923" y="943"/>
                  </a:lnTo>
                  <a:lnTo>
                    <a:pt x="15895" y="904"/>
                  </a:lnTo>
                  <a:lnTo>
                    <a:pt x="15866" y="866"/>
                  </a:lnTo>
                  <a:lnTo>
                    <a:pt x="15833" y="830"/>
                  </a:lnTo>
                  <a:lnTo>
                    <a:pt x="15800" y="795"/>
                  </a:lnTo>
                  <a:lnTo>
                    <a:pt x="15765" y="762"/>
                  </a:lnTo>
                  <a:lnTo>
                    <a:pt x="15729" y="730"/>
                  </a:lnTo>
                  <a:lnTo>
                    <a:pt x="15691" y="701"/>
                  </a:lnTo>
                  <a:lnTo>
                    <a:pt x="15651" y="673"/>
                  </a:lnTo>
                  <a:lnTo>
                    <a:pt x="15610" y="647"/>
                  </a:lnTo>
                  <a:lnTo>
                    <a:pt x="15569" y="622"/>
                  </a:lnTo>
                  <a:lnTo>
                    <a:pt x="15525" y="600"/>
                  </a:lnTo>
                  <a:lnTo>
                    <a:pt x="15480" y="580"/>
                  </a:lnTo>
                  <a:lnTo>
                    <a:pt x="15435" y="562"/>
                  </a:lnTo>
                  <a:lnTo>
                    <a:pt x="15388" y="546"/>
                  </a:lnTo>
                  <a:lnTo>
                    <a:pt x="15341" y="532"/>
                  </a:lnTo>
                  <a:lnTo>
                    <a:pt x="15291" y="521"/>
                  </a:lnTo>
                  <a:lnTo>
                    <a:pt x="15242" y="513"/>
                  </a:lnTo>
                  <a:lnTo>
                    <a:pt x="15192" y="506"/>
                  </a:lnTo>
                  <a:lnTo>
                    <a:pt x="15140" y="502"/>
                  </a:lnTo>
                  <a:lnTo>
                    <a:pt x="15089" y="50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3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8" name="i$ḻïḋe">
              <a:extLst>
                <a:ext uri="{FF2B5EF4-FFF2-40B4-BE49-F238E27FC236}">
                  <a16:creationId xmlns:a16="http://schemas.microsoft.com/office/drawing/2014/main" id="{5486E533-BE7E-4DC4-BB15-8C3D66DE4FC7}"/>
                </a:ext>
              </a:extLst>
            </p:cNvPr>
            <p:cNvSpPr/>
            <p:nvPr/>
          </p:nvSpPr>
          <p:spPr bwMode="auto">
            <a:xfrm>
              <a:off x="3166381" y="80534"/>
              <a:ext cx="107841" cy="107841"/>
            </a:xfrm>
            <a:custGeom>
              <a:avLst/>
              <a:gdLst>
                <a:gd name="T0" fmla="*/ 4769 w 5269"/>
                <a:gd name="T1" fmla="*/ 5046 h 5270"/>
                <a:gd name="T2" fmla="*/ 4779 w 5269"/>
                <a:gd name="T3" fmla="*/ 5094 h 5270"/>
                <a:gd name="T4" fmla="*/ 4798 w 5269"/>
                <a:gd name="T5" fmla="*/ 5139 h 5270"/>
                <a:gd name="T6" fmla="*/ 4825 w 5269"/>
                <a:gd name="T7" fmla="*/ 5178 h 5270"/>
                <a:gd name="T8" fmla="*/ 4859 w 5269"/>
                <a:gd name="T9" fmla="*/ 5213 h 5270"/>
                <a:gd name="T10" fmla="*/ 4898 w 5269"/>
                <a:gd name="T11" fmla="*/ 5240 h 5270"/>
                <a:gd name="T12" fmla="*/ 4944 w 5269"/>
                <a:gd name="T13" fmla="*/ 5258 h 5270"/>
                <a:gd name="T14" fmla="*/ 4993 w 5269"/>
                <a:gd name="T15" fmla="*/ 5268 h 5270"/>
                <a:gd name="T16" fmla="*/ 5044 w 5269"/>
                <a:gd name="T17" fmla="*/ 5268 h 5270"/>
                <a:gd name="T18" fmla="*/ 5092 w 5269"/>
                <a:gd name="T19" fmla="*/ 5258 h 5270"/>
                <a:gd name="T20" fmla="*/ 5137 w 5269"/>
                <a:gd name="T21" fmla="*/ 5239 h 5270"/>
                <a:gd name="T22" fmla="*/ 5177 w 5269"/>
                <a:gd name="T23" fmla="*/ 5213 h 5270"/>
                <a:gd name="T24" fmla="*/ 5212 w 5269"/>
                <a:gd name="T25" fmla="*/ 5178 h 5270"/>
                <a:gd name="T26" fmla="*/ 5239 w 5269"/>
                <a:gd name="T27" fmla="*/ 5138 h 5270"/>
                <a:gd name="T28" fmla="*/ 5258 w 5269"/>
                <a:gd name="T29" fmla="*/ 5093 h 5270"/>
                <a:gd name="T30" fmla="*/ 5268 w 5269"/>
                <a:gd name="T31" fmla="*/ 5044 h 5270"/>
                <a:gd name="T32" fmla="*/ 5268 w 5269"/>
                <a:gd name="T33" fmla="*/ 5015 h 5270"/>
                <a:gd name="T34" fmla="*/ 5165 w 5269"/>
                <a:gd name="T35" fmla="*/ 4006 h 5270"/>
                <a:gd name="T36" fmla="*/ 4873 w 5269"/>
                <a:gd name="T37" fmla="*/ 3067 h 5270"/>
                <a:gd name="T38" fmla="*/ 4412 w 5269"/>
                <a:gd name="T39" fmla="*/ 2216 h 5270"/>
                <a:gd name="T40" fmla="*/ 3801 w 5269"/>
                <a:gd name="T41" fmla="*/ 1475 h 5270"/>
                <a:gd name="T42" fmla="*/ 3061 w 5269"/>
                <a:gd name="T43" fmla="*/ 863 h 5270"/>
                <a:gd name="T44" fmla="*/ 2211 w 5269"/>
                <a:gd name="T45" fmla="*/ 401 h 5270"/>
                <a:gd name="T46" fmla="*/ 1272 w 5269"/>
                <a:gd name="T47" fmla="*/ 108 h 5270"/>
                <a:gd name="T48" fmla="*/ 264 w 5269"/>
                <a:gd name="T49" fmla="*/ 3 h 5270"/>
                <a:gd name="T50" fmla="*/ 226 w 5269"/>
                <a:gd name="T51" fmla="*/ 1 h 5270"/>
                <a:gd name="T52" fmla="*/ 176 w 5269"/>
                <a:gd name="T53" fmla="*/ 11 h 5270"/>
                <a:gd name="T54" fmla="*/ 131 w 5269"/>
                <a:gd name="T55" fmla="*/ 30 h 5270"/>
                <a:gd name="T56" fmla="*/ 91 w 5269"/>
                <a:gd name="T57" fmla="*/ 58 h 5270"/>
                <a:gd name="T58" fmla="*/ 57 w 5269"/>
                <a:gd name="T59" fmla="*/ 92 h 5270"/>
                <a:gd name="T60" fmla="*/ 30 w 5269"/>
                <a:gd name="T61" fmla="*/ 132 h 5270"/>
                <a:gd name="T62" fmla="*/ 11 w 5269"/>
                <a:gd name="T63" fmla="*/ 177 h 5270"/>
                <a:gd name="T64" fmla="*/ 2 w 5269"/>
                <a:gd name="T65" fmla="*/ 225 h 5270"/>
                <a:gd name="T66" fmla="*/ 2 w 5269"/>
                <a:gd name="T67" fmla="*/ 276 h 5270"/>
                <a:gd name="T68" fmla="*/ 11 w 5269"/>
                <a:gd name="T69" fmla="*/ 326 h 5270"/>
                <a:gd name="T70" fmla="*/ 30 w 5269"/>
                <a:gd name="T71" fmla="*/ 371 h 5270"/>
                <a:gd name="T72" fmla="*/ 57 w 5269"/>
                <a:gd name="T73" fmla="*/ 411 h 5270"/>
                <a:gd name="T74" fmla="*/ 91 w 5269"/>
                <a:gd name="T75" fmla="*/ 444 h 5270"/>
                <a:gd name="T76" fmla="*/ 131 w 5269"/>
                <a:gd name="T77" fmla="*/ 471 h 5270"/>
                <a:gd name="T78" fmla="*/ 175 w 5269"/>
                <a:gd name="T79" fmla="*/ 490 h 5270"/>
                <a:gd name="T80" fmla="*/ 225 w 5269"/>
                <a:gd name="T81" fmla="*/ 501 h 5270"/>
                <a:gd name="T82" fmla="*/ 481 w 5269"/>
                <a:gd name="T83" fmla="*/ 510 h 5270"/>
                <a:gd name="T84" fmla="*/ 1378 w 5269"/>
                <a:gd name="T85" fmla="*/ 647 h 5270"/>
                <a:gd name="T86" fmla="*/ 2206 w 5269"/>
                <a:gd name="T87" fmla="*/ 950 h 5270"/>
                <a:gd name="T88" fmla="*/ 2950 w 5269"/>
                <a:gd name="T89" fmla="*/ 1403 h 5270"/>
                <a:gd name="T90" fmla="*/ 3592 w 5269"/>
                <a:gd name="T91" fmla="*/ 1986 h 5270"/>
                <a:gd name="T92" fmla="*/ 4112 w 5269"/>
                <a:gd name="T93" fmla="*/ 2680 h 5270"/>
                <a:gd name="T94" fmla="*/ 4492 w 5269"/>
                <a:gd name="T95" fmla="*/ 3469 h 5270"/>
                <a:gd name="T96" fmla="*/ 4714 w 5269"/>
                <a:gd name="T97" fmla="*/ 4333 h 5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269" h="5270">
                  <a:moveTo>
                    <a:pt x="4766" y="5021"/>
                  </a:moveTo>
                  <a:lnTo>
                    <a:pt x="4767" y="5021"/>
                  </a:lnTo>
                  <a:lnTo>
                    <a:pt x="4768" y="5033"/>
                  </a:lnTo>
                  <a:lnTo>
                    <a:pt x="4769" y="5046"/>
                  </a:lnTo>
                  <a:lnTo>
                    <a:pt x="4770" y="5058"/>
                  </a:lnTo>
                  <a:lnTo>
                    <a:pt x="4773" y="5071"/>
                  </a:lnTo>
                  <a:lnTo>
                    <a:pt x="4775" y="5083"/>
                  </a:lnTo>
                  <a:lnTo>
                    <a:pt x="4779" y="5094"/>
                  </a:lnTo>
                  <a:lnTo>
                    <a:pt x="4783" y="5106"/>
                  </a:lnTo>
                  <a:lnTo>
                    <a:pt x="4787" y="5117"/>
                  </a:lnTo>
                  <a:lnTo>
                    <a:pt x="4792" y="5128"/>
                  </a:lnTo>
                  <a:lnTo>
                    <a:pt x="4798" y="5139"/>
                  </a:lnTo>
                  <a:lnTo>
                    <a:pt x="4804" y="5149"/>
                  </a:lnTo>
                  <a:lnTo>
                    <a:pt x="4810" y="5159"/>
                  </a:lnTo>
                  <a:lnTo>
                    <a:pt x="4817" y="5169"/>
                  </a:lnTo>
                  <a:lnTo>
                    <a:pt x="4825" y="5178"/>
                  </a:lnTo>
                  <a:lnTo>
                    <a:pt x="4833" y="5187"/>
                  </a:lnTo>
                  <a:lnTo>
                    <a:pt x="4841" y="5196"/>
                  </a:lnTo>
                  <a:lnTo>
                    <a:pt x="4850" y="5204"/>
                  </a:lnTo>
                  <a:lnTo>
                    <a:pt x="4859" y="5213"/>
                  </a:lnTo>
                  <a:lnTo>
                    <a:pt x="4868" y="5220"/>
                  </a:lnTo>
                  <a:lnTo>
                    <a:pt x="4878" y="5227"/>
                  </a:lnTo>
                  <a:lnTo>
                    <a:pt x="4888" y="5234"/>
                  </a:lnTo>
                  <a:lnTo>
                    <a:pt x="4898" y="5240"/>
                  </a:lnTo>
                  <a:lnTo>
                    <a:pt x="4909" y="5245"/>
                  </a:lnTo>
                  <a:lnTo>
                    <a:pt x="4920" y="5250"/>
                  </a:lnTo>
                  <a:lnTo>
                    <a:pt x="4932" y="5255"/>
                  </a:lnTo>
                  <a:lnTo>
                    <a:pt x="4944" y="5258"/>
                  </a:lnTo>
                  <a:lnTo>
                    <a:pt x="4956" y="5262"/>
                  </a:lnTo>
                  <a:lnTo>
                    <a:pt x="4968" y="5265"/>
                  </a:lnTo>
                  <a:lnTo>
                    <a:pt x="4980" y="5267"/>
                  </a:lnTo>
                  <a:lnTo>
                    <a:pt x="4993" y="5268"/>
                  </a:lnTo>
                  <a:lnTo>
                    <a:pt x="5005" y="5269"/>
                  </a:lnTo>
                  <a:lnTo>
                    <a:pt x="5018" y="5270"/>
                  </a:lnTo>
                  <a:lnTo>
                    <a:pt x="5031" y="5269"/>
                  </a:lnTo>
                  <a:lnTo>
                    <a:pt x="5044" y="5268"/>
                  </a:lnTo>
                  <a:lnTo>
                    <a:pt x="5056" y="5267"/>
                  </a:lnTo>
                  <a:lnTo>
                    <a:pt x="5068" y="5264"/>
                  </a:lnTo>
                  <a:lnTo>
                    <a:pt x="5080" y="5262"/>
                  </a:lnTo>
                  <a:lnTo>
                    <a:pt x="5092" y="5258"/>
                  </a:lnTo>
                  <a:lnTo>
                    <a:pt x="5104" y="5254"/>
                  </a:lnTo>
                  <a:lnTo>
                    <a:pt x="5115" y="5250"/>
                  </a:lnTo>
                  <a:lnTo>
                    <a:pt x="5126" y="5245"/>
                  </a:lnTo>
                  <a:lnTo>
                    <a:pt x="5137" y="5239"/>
                  </a:lnTo>
                  <a:lnTo>
                    <a:pt x="5148" y="5233"/>
                  </a:lnTo>
                  <a:lnTo>
                    <a:pt x="5158" y="5227"/>
                  </a:lnTo>
                  <a:lnTo>
                    <a:pt x="5167" y="5220"/>
                  </a:lnTo>
                  <a:lnTo>
                    <a:pt x="5177" y="5213"/>
                  </a:lnTo>
                  <a:lnTo>
                    <a:pt x="5186" y="5204"/>
                  </a:lnTo>
                  <a:lnTo>
                    <a:pt x="5195" y="5195"/>
                  </a:lnTo>
                  <a:lnTo>
                    <a:pt x="5204" y="5187"/>
                  </a:lnTo>
                  <a:lnTo>
                    <a:pt x="5212" y="5178"/>
                  </a:lnTo>
                  <a:lnTo>
                    <a:pt x="5219" y="5168"/>
                  </a:lnTo>
                  <a:lnTo>
                    <a:pt x="5226" y="5158"/>
                  </a:lnTo>
                  <a:lnTo>
                    <a:pt x="5233" y="5148"/>
                  </a:lnTo>
                  <a:lnTo>
                    <a:pt x="5239" y="5138"/>
                  </a:lnTo>
                  <a:lnTo>
                    <a:pt x="5244" y="5127"/>
                  </a:lnTo>
                  <a:lnTo>
                    <a:pt x="5249" y="5116"/>
                  </a:lnTo>
                  <a:lnTo>
                    <a:pt x="5254" y="5105"/>
                  </a:lnTo>
                  <a:lnTo>
                    <a:pt x="5258" y="5093"/>
                  </a:lnTo>
                  <a:lnTo>
                    <a:pt x="5261" y="5081"/>
                  </a:lnTo>
                  <a:lnTo>
                    <a:pt x="5264" y="5069"/>
                  </a:lnTo>
                  <a:lnTo>
                    <a:pt x="5266" y="5057"/>
                  </a:lnTo>
                  <a:lnTo>
                    <a:pt x="5268" y="5044"/>
                  </a:lnTo>
                  <a:lnTo>
                    <a:pt x="5269" y="5031"/>
                  </a:lnTo>
                  <a:lnTo>
                    <a:pt x="5269" y="5019"/>
                  </a:lnTo>
                  <a:lnTo>
                    <a:pt x="5269" y="5017"/>
                  </a:lnTo>
                  <a:lnTo>
                    <a:pt x="5268" y="5015"/>
                  </a:lnTo>
                  <a:lnTo>
                    <a:pt x="5261" y="4757"/>
                  </a:lnTo>
                  <a:lnTo>
                    <a:pt x="5242" y="4503"/>
                  </a:lnTo>
                  <a:lnTo>
                    <a:pt x="5210" y="4252"/>
                  </a:lnTo>
                  <a:lnTo>
                    <a:pt x="5165" y="4006"/>
                  </a:lnTo>
                  <a:lnTo>
                    <a:pt x="5109" y="3763"/>
                  </a:lnTo>
                  <a:lnTo>
                    <a:pt x="5042" y="3526"/>
                  </a:lnTo>
                  <a:lnTo>
                    <a:pt x="4963" y="3293"/>
                  </a:lnTo>
                  <a:lnTo>
                    <a:pt x="4873" y="3067"/>
                  </a:lnTo>
                  <a:lnTo>
                    <a:pt x="4773" y="2845"/>
                  </a:lnTo>
                  <a:lnTo>
                    <a:pt x="4663" y="2629"/>
                  </a:lnTo>
                  <a:lnTo>
                    <a:pt x="4542" y="2419"/>
                  </a:lnTo>
                  <a:lnTo>
                    <a:pt x="4412" y="2216"/>
                  </a:lnTo>
                  <a:lnTo>
                    <a:pt x="4272" y="2020"/>
                  </a:lnTo>
                  <a:lnTo>
                    <a:pt x="4124" y="1830"/>
                  </a:lnTo>
                  <a:lnTo>
                    <a:pt x="3967" y="1648"/>
                  </a:lnTo>
                  <a:lnTo>
                    <a:pt x="3801" y="1475"/>
                  </a:lnTo>
                  <a:lnTo>
                    <a:pt x="3627" y="1309"/>
                  </a:lnTo>
                  <a:lnTo>
                    <a:pt x="3446" y="1152"/>
                  </a:lnTo>
                  <a:lnTo>
                    <a:pt x="3256" y="1003"/>
                  </a:lnTo>
                  <a:lnTo>
                    <a:pt x="3061" y="863"/>
                  </a:lnTo>
                  <a:lnTo>
                    <a:pt x="2858" y="733"/>
                  </a:lnTo>
                  <a:lnTo>
                    <a:pt x="2648" y="612"/>
                  </a:lnTo>
                  <a:lnTo>
                    <a:pt x="2433" y="501"/>
                  </a:lnTo>
                  <a:lnTo>
                    <a:pt x="2211" y="401"/>
                  </a:lnTo>
                  <a:lnTo>
                    <a:pt x="1984" y="311"/>
                  </a:lnTo>
                  <a:lnTo>
                    <a:pt x="1751" y="231"/>
                  </a:lnTo>
                  <a:lnTo>
                    <a:pt x="1514" y="164"/>
                  </a:lnTo>
                  <a:lnTo>
                    <a:pt x="1272" y="108"/>
                  </a:lnTo>
                  <a:lnTo>
                    <a:pt x="1025" y="63"/>
                  </a:lnTo>
                  <a:lnTo>
                    <a:pt x="776" y="30"/>
                  </a:lnTo>
                  <a:lnTo>
                    <a:pt x="521" y="10"/>
                  </a:lnTo>
                  <a:lnTo>
                    <a:pt x="264" y="3"/>
                  </a:lnTo>
                  <a:lnTo>
                    <a:pt x="258" y="1"/>
                  </a:lnTo>
                  <a:lnTo>
                    <a:pt x="251" y="0"/>
                  </a:lnTo>
                  <a:lnTo>
                    <a:pt x="238" y="0"/>
                  </a:lnTo>
                  <a:lnTo>
                    <a:pt x="226" y="1"/>
                  </a:lnTo>
                  <a:lnTo>
                    <a:pt x="212" y="3"/>
                  </a:lnTo>
                  <a:lnTo>
                    <a:pt x="200" y="5"/>
                  </a:lnTo>
                  <a:lnTo>
                    <a:pt x="188" y="8"/>
                  </a:lnTo>
                  <a:lnTo>
                    <a:pt x="176" y="11"/>
                  </a:lnTo>
                  <a:lnTo>
                    <a:pt x="164" y="15"/>
                  </a:lnTo>
                  <a:lnTo>
                    <a:pt x="153" y="20"/>
                  </a:lnTo>
                  <a:lnTo>
                    <a:pt x="142" y="25"/>
                  </a:lnTo>
                  <a:lnTo>
                    <a:pt x="131" y="30"/>
                  </a:lnTo>
                  <a:lnTo>
                    <a:pt x="121" y="37"/>
                  </a:lnTo>
                  <a:lnTo>
                    <a:pt x="110" y="44"/>
                  </a:lnTo>
                  <a:lnTo>
                    <a:pt x="101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1"/>
                  </a:lnTo>
                  <a:lnTo>
                    <a:pt x="43" y="111"/>
                  </a:lnTo>
                  <a:lnTo>
                    <a:pt x="36" y="121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89"/>
                  </a:lnTo>
                  <a:lnTo>
                    <a:pt x="5" y="301"/>
                  </a:lnTo>
                  <a:lnTo>
                    <a:pt x="8" y="314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0" y="371"/>
                  </a:lnTo>
                  <a:lnTo>
                    <a:pt x="36" y="381"/>
                  </a:lnTo>
                  <a:lnTo>
                    <a:pt x="43" y="391"/>
                  </a:lnTo>
                  <a:lnTo>
                    <a:pt x="50" y="401"/>
                  </a:lnTo>
                  <a:lnTo>
                    <a:pt x="57" y="411"/>
                  </a:lnTo>
                  <a:lnTo>
                    <a:pt x="65" y="420"/>
                  </a:lnTo>
                  <a:lnTo>
                    <a:pt x="73" y="428"/>
                  </a:lnTo>
                  <a:lnTo>
                    <a:pt x="82" y="437"/>
                  </a:lnTo>
                  <a:lnTo>
                    <a:pt x="91" y="444"/>
                  </a:lnTo>
                  <a:lnTo>
                    <a:pt x="100" y="452"/>
                  </a:lnTo>
                  <a:lnTo>
                    <a:pt x="110" y="459"/>
                  </a:lnTo>
                  <a:lnTo>
                    <a:pt x="120" y="465"/>
                  </a:lnTo>
                  <a:lnTo>
                    <a:pt x="131" y="471"/>
                  </a:lnTo>
                  <a:lnTo>
                    <a:pt x="141" y="477"/>
                  </a:lnTo>
                  <a:lnTo>
                    <a:pt x="152" y="482"/>
                  </a:lnTo>
                  <a:lnTo>
                    <a:pt x="164" y="486"/>
                  </a:lnTo>
                  <a:lnTo>
                    <a:pt x="175" y="490"/>
                  </a:lnTo>
                  <a:lnTo>
                    <a:pt x="187" y="494"/>
                  </a:lnTo>
                  <a:lnTo>
                    <a:pt x="199" y="497"/>
                  </a:lnTo>
                  <a:lnTo>
                    <a:pt x="211" y="499"/>
                  </a:lnTo>
                  <a:lnTo>
                    <a:pt x="225" y="501"/>
                  </a:lnTo>
                  <a:lnTo>
                    <a:pt x="237" y="502"/>
                  </a:lnTo>
                  <a:lnTo>
                    <a:pt x="250" y="502"/>
                  </a:lnTo>
                  <a:lnTo>
                    <a:pt x="250" y="504"/>
                  </a:lnTo>
                  <a:lnTo>
                    <a:pt x="481" y="510"/>
                  </a:lnTo>
                  <a:lnTo>
                    <a:pt x="711" y="527"/>
                  </a:lnTo>
                  <a:lnTo>
                    <a:pt x="937" y="556"/>
                  </a:lnTo>
                  <a:lnTo>
                    <a:pt x="1159" y="597"/>
                  </a:lnTo>
                  <a:lnTo>
                    <a:pt x="1378" y="647"/>
                  </a:lnTo>
                  <a:lnTo>
                    <a:pt x="1591" y="708"/>
                  </a:lnTo>
                  <a:lnTo>
                    <a:pt x="1801" y="778"/>
                  </a:lnTo>
                  <a:lnTo>
                    <a:pt x="2006" y="860"/>
                  </a:lnTo>
                  <a:lnTo>
                    <a:pt x="2206" y="950"/>
                  </a:lnTo>
                  <a:lnTo>
                    <a:pt x="2400" y="1050"/>
                  </a:lnTo>
                  <a:lnTo>
                    <a:pt x="2590" y="1159"/>
                  </a:lnTo>
                  <a:lnTo>
                    <a:pt x="2774" y="1276"/>
                  </a:lnTo>
                  <a:lnTo>
                    <a:pt x="2950" y="1403"/>
                  </a:lnTo>
                  <a:lnTo>
                    <a:pt x="3121" y="1537"/>
                  </a:lnTo>
                  <a:lnTo>
                    <a:pt x="3285" y="1679"/>
                  </a:lnTo>
                  <a:lnTo>
                    <a:pt x="3442" y="1828"/>
                  </a:lnTo>
                  <a:lnTo>
                    <a:pt x="3592" y="1986"/>
                  </a:lnTo>
                  <a:lnTo>
                    <a:pt x="3733" y="2149"/>
                  </a:lnTo>
                  <a:lnTo>
                    <a:pt x="3868" y="2320"/>
                  </a:lnTo>
                  <a:lnTo>
                    <a:pt x="3994" y="2498"/>
                  </a:lnTo>
                  <a:lnTo>
                    <a:pt x="4112" y="2680"/>
                  </a:lnTo>
                  <a:lnTo>
                    <a:pt x="4220" y="2870"/>
                  </a:lnTo>
                  <a:lnTo>
                    <a:pt x="4320" y="3064"/>
                  </a:lnTo>
                  <a:lnTo>
                    <a:pt x="4411" y="3264"/>
                  </a:lnTo>
                  <a:lnTo>
                    <a:pt x="4492" y="3469"/>
                  </a:lnTo>
                  <a:lnTo>
                    <a:pt x="4562" y="3679"/>
                  </a:lnTo>
                  <a:lnTo>
                    <a:pt x="4623" y="3893"/>
                  </a:lnTo>
                  <a:lnTo>
                    <a:pt x="4674" y="4111"/>
                  </a:lnTo>
                  <a:lnTo>
                    <a:pt x="4714" y="4333"/>
                  </a:lnTo>
                  <a:lnTo>
                    <a:pt x="4743" y="4559"/>
                  </a:lnTo>
                  <a:lnTo>
                    <a:pt x="4760" y="4788"/>
                  </a:lnTo>
                  <a:lnTo>
                    <a:pt x="4766" y="50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9" name="íṧľïḓe">
              <a:extLst>
                <a:ext uri="{FF2B5EF4-FFF2-40B4-BE49-F238E27FC236}">
                  <a16:creationId xmlns:a16="http://schemas.microsoft.com/office/drawing/2014/main" id="{4A0ACEC3-33F0-4D86-97BA-AC208C1D0A20}"/>
                </a:ext>
              </a:extLst>
            </p:cNvPr>
            <p:cNvSpPr/>
            <p:nvPr/>
          </p:nvSpPr>
          <p:spPr bwMode="auto">
            <a:xfrm>
              <a:off x="2987651" y="39811"/>
              <a:ext cx="327294" cy="327293"/>
            </a:xfrm>
            <a:custGeom>
              <a:avLst/>
              <a:gdLst>
                <a:gd name="T0" fmla="*/ 14950 w 16057"/>
                <a:gd name="T1" fmla="*/ 12851 h 16058"/>
                <a:gd name="T2" fmla="*/ 14846 w 16057"/>
                <a:gd name="T3" fmla="*/ 12953 h 16058"/>
                <a:gd name="T4" fmla="*/ 14717 w 16057"/>
                <a:gd name="T5" fmla="*/ 13020 h 16058"/>
                <a:gd name="T6" fmla="*/ 14571 w 16057"/>
                <a:gd name="T7" fmla="*/ 13047 h 16058"/>
                <a:gd name="T8" fmla="*/ 3017 w 16057"/>
                <a:gd name="T9" fmla="*/ 1430 h 16058"/>
                <a:gd name="T10" fmla="*/ 3059 w 16057"/>
                <a:gd name="T11" fmla="*/ 1290 h 16058"/>
                <a:gd name="T12" fmla="*/ 3139 w 16057"/>
                <a:gd name="T13" fmla="*/ 1169 h 16058"/>
                <a:gd name="T14" fmla="*/ 3253 w 16057"/>
                <a:gd name="T15" fmla="*/ 1076 h 16058"/>
                <a:gd name="T16" fmla="*/ 3414 w 16057"/>
                <a:gd name="T17" fmla="*/ 1014 h 16058"/>
                <a:gd name="T18" fmla="*/ 3611 w 16057"/>
                <a:gd name="T19" fmla="*/ 1014 h 16058"/>
                <a:gd name="T20" fmla="*/ 3791 w 16057"/>
                <a:gd name="T21" fmla="*/ 1088 h 16058"/>
                <a:gd name="T22" fmla="*/ 14944 w 16057"/>
                <a:gd name="T23" fmla="*/ 12233 h 16058"/>
                <a:gd name="T24" fmla="*/ 15018 w 16057"/>
                <a:gd name="T25" fmla="*/ 12360 h 16058"/>
                <a:gd name="T26" fmla="*/ 15052 w 16057"/>
                <a:gd name="T27" fmla="*/ 12502 h 16058"/>
                <a:gd name="T28" fmla="*/ 15043 w 16057"/>
                <a:gd name="T29" fmla="*/ 12647 h 16058"/>
                <a:gd name="T30" fmla="*/ 7620 w 16057"/>
                <a:gd name="T31" fmla="*/ 13048 h 16058"/>
                <a:gd name="T32" fmla="*/ 7425 w 16057"/>
                <a:gd name="T33" fmla="*/ 13092 h 16058"/>
                <a:gd name="T34" fmla="*/ 3008 w 16057"/>
                <a:gd name="T35" fmla="*/ 8452 h 16058"/>
                <a:gd name="T36" fmla="*/ 5373 w 16057"/>
                <a:gd name="T37" fmla="*/ 14908 h 16058"/>
                <a:gd name="T38" fmla="*/ 5225 w 16057"/>
                <a:gd name="T39" fmla="*/ 15010 h 16058"/>
                <a:gd name="T40" fmla="*/ 5050 w 16057"/>
                <a:gd name="T41" fmla="*/ 15053 h 16058"/>
                <a:gd name="T42" fmla="*/ 4906 w 16057"/>
                <a:gd name="T43" fmla="*/ 15041 h 16058"/>
                <a:gd name="T44" fmla="*/ 4712 w 16057"/>
                <a:gd name="T45" fmla="*/ 14951 h 16058"/>
                <a:gd name="T46" fmla="*/ 1117 w 16057"/>
                <a:gd name="T47" fmla="*/ 11358 h 16058"/>
                <a:gd name="T48" fmla="*/ 1022 w 16057"/>
                <a:gd name="T49" fmla="*/ 11175 h 16058"/>
                <a:gd name="T50" fmla="*/ 1004 w 16057"/>
                <a:gd name="T51" fmla="*/ 11025 h 16058"/>
                <a:gd name="T52" fmla="*/ 1038 w 16057"/>
                <a:gd name="T53" fmla="*/ 10858 h 16058"/>
                <a:gd name="T54" fmla="*/ 1139 w 16057"/>
                <a:gd name="T55" fmla="*/ 10697 h 16058"/>
                <a:gd name="T56" fmla="*/ 4578 w 16057"/>
                <a:gd name="T57" fmla="*/ 442 h 16058"/>
                <a:gd name="T58" fmla="*/ 4345 w 16057"/>
                <a:gd name="T59" fmla="*/ 251 h 16058"/>
                <a:gd name="T60" fmla="*/ 4084 w 16057"/>
                <a:gd name="T61" fmla="*/ 112 h 16058"/>
                <a:gd name="T62" fmla="*/ 3804 w 16057"/>
                <a:gd name="T63" fmla="*/ 28 h 16058"/>
                <a:gd name="T64" fmla="*/ 3513 w 16057"/>
                <a:gd name="T65" fmla="*/ 0 h 16058"/>
                <a:gd name="T66" fmla="*/ 3222 w 16057"/>
                <a:gd name="T67" fmla="*/ 28 h 16058"/>
                <a:gd name="T68" fmla="*/ 2938 w 16057"/>
                <a:gd name="T69" fmla="*/ 115 h 16058"/>
                <a:gd name="T70" fmla="*/ 2554 w 16057"/>
                <a:gd name="T71" fmla="*/ 344 h 16058"/>
                <a:gd name="T72" fmla="*/ 2261 w 16057"/>
                <a:gd name="T73" fmla="*/ 669 h 16058"/>
                <a:gd name="T74" fmla="*/ 2073 w 16057"/>
                <a:gd name="T75" fmla="*/ 1064 h 16058"/>
                <a:gd name="T76" fmla="*/ 2007 w 16057"/>
                <a:gd name="T77" fmla="*/ 1506 h 16058"/>
                <a:gd name="T78" fmla="*/ 173 w 16057"/>
                <a:gd name="T79" fmla="*/ 10340 h 16058"/>
                <a:gd name="T80" fmla="*/ 7 w 16057"/>
                <a:gd name="T81" fmla="*/ 10896 h 16058"/>
                <a:gd name="T82" fmla="*/ 62 w 16057"/>
                <a:gd name="T83" fmla="*/ 11468 h 16058"/>
                <a:gd name="T84" fmla="*/ 338 w 16057"/>
                <a:gd name="T85" fmla="*/ 11990 h 16058"/>
                <a:gd name="T86" fmla="*/ 4098 w 16057"/>
                <a:gd name="T87" fmla="*/ 15744 h 16058"/>
                <a:gd name="T88" fmla="*/ 4352 w 16057"/>
                <a:gd name="T89" fmla="*/ 15902 h 16058"/>
                <a:gd name="T90" fmla="*/ 4625 w 16057"/>
                <a:gd name="T91" fmla="*/ 16006 h 16058"/>
                <a:gd name="T92" fmla="*/ 4911 w 16057"/>
                <a:gd name="T93" fmla="*/ 16054 h 16058"/>
                <a:gd name="T94" fmla="*/ 5199 w 16057"/>
                <a:gd name="T95" fmla="*/ 16047 h 16058"/>
                <a:gd name="T96" fmla="*/ 5482 w 16057"/>
                <a:gd name="T97" fmla="*/ 15986 h 16058"/>
                <a:gd name="T98" fmla="*/ 5751 w 16057"/>
                <a:gd name="T99" fmla="*/ 15868 h 16058"/>
                <a:gd name="T100" fmla="*/ 5998 w 16057"/>
                <a:gd name="T101" fmla="*/ 15696 h 16058"/>
                <a:gd name="T102" fmla="*/ 14721 w 16057"/>
                <a:gd name="T103" fmla="*/ 14042 h 16058"/>
                <a:gd name="T104" fmla="*/ 15149 w 16057"/>
                <a:gd name="T105" fmla="*/ 13928 h 16058"/>
                <a:gd name="T106" fmla="*/ 15520 w 16057"/>
                <a:gd name="T107" fmla="*/ 13699 h 16058"/>
                <a:gd name="T108" fmla="*/ 15811 w 16057"/>
                <a:gd name="T109" fmla="*/ 13371 h 16058"/>
                <a:gd name="T110" fmla="*/ 15999 w 16057"/>
                <a:gd name="T111" fmla="*/ 12962 h 16058"/>
                <a:gd name="T112" fmla="*/ 16057 w 16057"/>
                <a:gd name="T113" fmla="*/ 12524 h 16058"/>
                <a:gd name="T114" fmla="*/ 15988 w 16057"/>
                <a:gd name="T115" fmla="*/ 12093 h 16058"/>
                <a:gd name="T116" fmla="*/ 15796 w 16057"/>
                <a:gd name="T117" fmla="*/ 11698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057" h="16058">
                  <a:moveTo>
                    <a:pt x="15015" y="12738"/>
                  </a:moveTo>
                  <a:lnTo>
                    <a:pt x="15007" y="12755"/>
                  </a:lnTo>
                  <a:lnTo>
                    <a:pt x="14999" y="12772"/>
                  </a:lnTo>
                  <a:lnTo>
                    <a:pt x="14991" y="12789"/>
                  </a:lnTo>
                  <a:lnTo>
                    <a:pt x="14981" y="12805"/>
                  </a:lnTo>
                  <a:lnTo>
                    <a:pt x="14972" y="12821"/>
                  </a:lnTo>
                  <a:lnTo>
                    <a:pt x="14961" y="12836"/>
                  </a:lnTo>
                  <a:lnTo>
                    <a:pt x="14950" y="12851"/>
                  </a:lnTo>
                  <a:lnTo>
                    <a:pt x="14939" y="12865"/>
                  </a:lnTo>
                  <a:lnTo>
                    <a:pt x="14927" y="12879"/>
                  </a:lnTo>
                  <a:lnTo>
                    <a:pt x="14915" y="12892"/>
                  </a:lnTo>
                  <a:lnTo>
                    <a:pt x="14902" y="12905"/>
                  </a:lnTo>
                  <a:lnTo>
                    <a:pt x="14889" y="12918"/>
                  </a:lnTo>
                  <a:lnTo>
                    <a:pt x="14875" y="12931"/>
                  </a:lnTo>
                  <a:lnTo>
                    <a:pt x="14861" y="12942"/>
                  </a:lnTo>
                  <a:lnTo>
                    <a:pt x="14846" y="12953"/>
                  </a:lnTo>
                  <a:lnTo>
                    <a:pt x="14831" y="12963"/>
                  </a:lnTo>
                  <a:lnTo>
                    <a:pt x="14816" y="12973"/>
                  </a:lnTo>
                  <a:lnTo>
                    <a:pt x="14799" y="12982"/>
                  </a:lnTo>
                  <a:lnTo>
                    <a:pt x="14783" y="12991"/>
                  </a:lnTo>
                  <a:lnTo>
                    <a:pt x="14767" y="12999"/>
                  </a:lnTo>
                  <a:lnTo>
                    <a:pt x="14751" y="13007"/>
                  </a:lnTo>
                  <a:lnTo>
                    <a:pt x="14734" y="13013"/>
                  </a:lnTo>
                  <a:lnTo>
                    <a:pt x="14717" y="13020"/>
                  </a:lnTo>
                  <a:lnTo>
                    <a:pt x="14699" y="13025"/>
                  </a:lnTo>
                  <a:lnTo>
                    <a:pt x="14681" y="13030"/>
                  </a:lnTo>
                  <a:lnTo>
                    <a:pt x="14663" y="13035"/>
                  </a:lnTo>
                  <a:lnTo>
                    <a:pt x="14645" y="13038"/>
                  </a:lnTo>
                  <a:lnTo>
                    <a:pt x="14627" y="13042"/>
                  </a:lnTo>
                  <a:lnTo>
                    <a:pt x="14609" y="13044"/>
                  </a:lnTo>
                  <a:lnTo>
                    <a:pt x="14590" y="13046"/>
                  </a:lnTo>
                  <a:lnTo>
                    <a:pt x="14571" y="13047"/>
                  </a:lnTo>
                  <a:lnTo>
                    <a:pt x="14552" y="13047"/>
                  </a:lnTo>
                  <a:lnTo>
                    <a:pt x="14403" y="13047"/>
                  </a:lnTo>
                  <a:lnTo>
                    <a:pt x="3011" y="1655"/>
                  </a:lnTo>
                  <a:lnTo>
                    <a:pt x="3011" y="1506"/>
                  </a:lnTo>
                  <a:lnTo>
                    <a:pt x="3011" y="1486"/>
                  </a:lnTo>
                  <a:lnTo>
                    <a:pt x="3012" y="1467"/>
                  </a:lnTo>
                  <a:lnTo>
                    <a:pt x="3014" y="1449"/>
                  </a:lnTo>
                  <a:lnTo>
                    <a:pt x="3017" y="1430"/>
                  </a:lnTo>
                  <a:lnTo>
                    <a:pt x="3020" y="1412"/>
                  </a:lnTo>
                  <a:lnTo>
                    <a:pt x="3023" y="1394"/>
                  </a:lnTo>
                  <a:lnTo>
                    <a:pt x="3028" y="1376"/>
                  </a:lnTo>
                  <a:lnTo>
                    <a:pt x="3033" y="1358"/>
                  </a:lnTo>
                  <a:lnTo>
                    <a:pt x="3038" y="1341"/>
                  </a:lnTo>
                  <a:lnTo>
                    <a:pt x="3045" y="1324"/>
                  </a:lnTo>
                  <a:lnTo>
                    <a:pt x="3052" y="1307"/>
                  </a:lnTo>
                  <a:lnTo>
                    <a:pt x="3059" y="1290"/>
                  </a:lnTo>
                  <a:lnTo>
                    <a:pt x="3067" y="1274"/>
                  </a:lnTo>
                  <a:lnTo>
                    <a:pt x="3076" y="1258"/>
                  </a:lnTo>
                  <a:lnTo>
                    <a:pt x="3085" y="1242"/>
                  </a:lnTo>
                  <a:lnTo>
                    <a:pt x="3095" y="1227"/>
                  </a:lnTo>
                  <a:lnTo>
                    <a:pt x="3105" y="1211"/>
                  </a:lnTo>
                  <a:lnTo>
                    <a:pt x="3116" y="1197"/>
                  </a:lnTo>
                  <a:lnTo>
                    <a:pt x="3128" y="1183"/>
                  </a:lnTo>
                  <a:lnTo>
                    <a:pt x="3139" y="1169"/>
                  </a:lnTo>
                  <a:lnTo>
                    <a:pt x="3152" y="1156"/>
                  </a:lnTo>
                  <a:lnTo>
                    <a:pt x="3165" y="1143"/>
                  </a:lnTo>
                  <a:lnTo>
                    <a:pt x="3178" y="1130"/>
                  </a:lnTo>
                  <a:lnTo>
                    <a:pt x="3193" y="1118"/>
                  </a:lnTo>
                  <a:lnTo>
                    <a:pt x="3208" y="1107"/>
                  </a:lnTo>
                  <a:lnTo>
                    <a:pt x="3222" y="1096"/>
                  </a:lnTo>
                  <a:lnTo>
                    <a:pt x="3238" y="1086"/>
                  </a:lnTo>
                  <a:lnTo>
                    <a:pt x="3253" y="1076"/>
                  </a:lnTo>
                  <a:lnTo>
                    <a:pt x="3270" y="1067"/>
                  </a:lnTo>
                  <a:lnTo>
                    <a:pt x="3286" y="1058"/>
                  </a:lnTo>
                  <a:lnTo>
                    <a:pt x="3303" y="1050"/>
                  </a:lnTo>
                  <a:lnTo>
                    <a:pt x="3320" y="1042"/>
                  </a:lnTo>
                  <a:lnTo>
                    <a:pt x="3344" y="1033"/>
                  </a:lnTo>
                  <a:lnTo>
                    <a:pt x="3367" y="1026"/>
                  </a:lnTo>
                  <a:lnTo>
                    <a:pt x="3391" y="1019"/>
                  </a:lnTo>
                  <a:lnTo>
                    <a:pt x="3414" y="1014"/>
                  </a:lnTo>
                  <a:lnTo>
                    <a:pt x="3438" y="1009"/>
                  </a:lnTo>
                  <a:lnTo>
                    <a:pt x="3464" y="1006"/>
                  </a:lnTo>
                  <a:lnTo>
                    <a:pt x="3488" y="1005"/>
                  </a:lnTo>
                  <a:lnTo>
                    <a:pt x="3513" y="1004"/>
                  </a:lnTo>
                  <a:lnTo>
                    <a:pt x="3538" y="1005"/>
                  </a:lnTo>
                  <a:lnTo>
                    <a:pt x="3562" y="1006"/>
                  </a:lnTo>
                  <a:lnTo>
                    <a:pt x="3587" y="1009"/>
                  </a:lnTo>
                  <a:lnTo>
                    <a:pt x="3611" y="1014"/>
                  </a:lnTo>
                  <a:lnTo>
                    <a:pt x="3635" y="1019"/>
                  </a:lnTo>
                  <a:lnTo>
                    <a:pt x="3658" y="1025"/>
                  </a:lnTo>
                  <a:lnTo>
                    <a:pt x="3682" y="1033"/>
                  </a:lnTo>
                  <a:lnTo>
                    <a:pt x="3704" y="1042"/>
                  </a:lnTo>
                  <a:lnTo>
                    <a:pt x="3726" y="1052"/>
                  </a:lnTo>
                  <a:lnTo>
                    <a:pt x="3749" y="1063"/>
                  </a:lnTo>
                  <a:lnTo>
                    <a:pt x="3770" y="1075"/>
                  </a:lnTo>
                  <a:lnTo>
                    <a:pt x="3791" y="1088"/>
                  </a:lnTo>
                  <a:lnTo>
                    <a:pt x="3811" y="1102"/>
                  </a:lnTo>
                  <a:lnTo>
                    <a:pt x="3830" y="1117"/>
                  </a:lnTo>
                  <a:lnTo>
                    <a:pt x="3849" y="1133"/>
                  </a:lnTo>
                  <a:lnTo>
                    <a:pt x="3867" y="1150"/>
                  </a:lnTo>
                  <a:lnTo>
                    <a:pt x="14907" y="12191"/>
                  </a:lnTo>
                  <a:lnTo>
                    <a:pt x="14920" y="12205"/>
                  </a:lnTo>
                  <a:lnTo>
                    <a:pt x="14932" y="12219"/>
                  </a:lnTo>
                  <a:lnTo>
                    <a:pt x="14944" y="12233"/>
                  </a:lnTo>
                  <a:lnTo>
                    <a:pt x="14956" y="12248"/>
                  </a:lnTo>
                  <a:lnTo>
                    <a:pt x="14966" y="12263"/>
                  </a:lnTo>
                  <a:lnTo>
                    <a:pt x="14977" y="12278"/>
                  </a:lnTo>
                  <a:lnTo>
                    <a:pt x="14986" y="12294"/>
                  </a:lnTo>
                  <a:lnTo>
                    <a:pt x="14995" y="12310"/>
                  </a:lnTo>
                  <a:lnTo>
                    <a:pt x="15003" y="12326"/>
                  </a:lnTo>
                  <a:lnTo>
                    <a:pt x="15011" y="12343"/>
                  </a:lnTo>
                  <a:lnTo>
                    <a:pt x="15018" y="12360"/>
                  </a:lnTo>
                  <a:lnTo>
                    <a:pt x="15024" y="12377"/>
                  </a:lnTo>
                  <a:lnTo>
                    <a:pt x="15030" y="12395"/>
                  </a:lnTo>
                  <a:lnTo>
                    <a:pt x="15035" y="12412"/>
                  </a:lnTo>
                  <a:lnTo>
                    <a:pt x="15040" y="12430"/>
                  </a:lnTo>
                  <a:lnTo>
                    <a:pt x="15044" y="12448"/>
                  </a:lnTo>
                  <a:lnTo>
                    <a:pt x="15047" y="12466"/>
                  </a:lnTo>
                  <a:lnTo>
                    <a:pt x="15050" y="12484"/>
                  </a:lnTo>
                  <a:lnTo>
                    <a:pt x="15052" y="12502"/>
                  </a:lnTo>
                  <a:lnTo>
                    <a:pt x="15053" y="12520"/>
                  </a:lnTo>
                  <a:lnTo>
                    <a:pt x="15053" y="12538"/>
                  </a:lnTo>
                  <a:lnTo>
                    <a:pt x="15053" y="12556"/>
                  </a:lnTo>
                  <a:lnTo>
                    <a:pt x="15053" y="12574"/>
                  </a:lnTo>
                  <a:lnTo>
                    <a:pt x="15051" y="12593"/>
                  </a:lnTo>
                  <a:lnTo>
                    <a:pt x="15049" y="12611"/>
                  </a:lnTo>
                  <a:lnTo>
                    <a:pt x="15046" y="12629"/>
                  </a:lnTo>
                  <a:lnTo>
                    <a:pt x="15043" y="12647"/>
                  </a:lnTo>
                  <a:lnTo>
                    <a:pt x="15039" y="12666"/>
                  </a:lnTo>
                  <a:lnTo>
                    <a:pt x="15034" y="12684"/>
                  </a:lnTo>
                  <a:lnTo>
                    <a:pt x="15028" y="12702"/>
                  </a:lnTo>
                  <a:lnTo>
                    <a:pt x="15022" y="12720"/>
                  </a:lnTo>
                  <a:lnTo>
                    <a:pt x="15015" y="12738"/>
                  </a:lnTo>
                  <a:close/>
                  <a:moveTo>
                    <a:pt x="7649" y="13047"/>
                  </a:moveTo>
                  <a:lnTo>
                    <a:pt x="7635" y="13047"/>
                  </a:lnTo>
                  <a:lnTo>
                    <a:pt x="7620" y="13048"/>
                  </a:lnTo>
                  <a:lnTo>
                    <a:pt x="7605" y="13050"/>
                  </a:lnTo>
                  <a:lnTo>
                    <a:pt x="7591" y="13052"/>
                  </a:lnTo>
                  <a:lnTo>
                    <a:pt x="7563" y="13057"/>
                  </a:lnTo>
                  <a:lnTo>
                    <a:pt x="7535" y="13063"/>
                  </a:lnTo>
                  <a:lnTo>
                    <a:pt x="7507" y="13070"/>
                  </a:lnTo>
                  <a:lnTo>
                    <a:pt x="7480" y="13078"/>
                  </a:lnTo>
                  <a:lnTo>
                    <a:pt x="7452" y="13085"/>
                  </a:lnTo>
                  <a:lnTo>
                    <a:pt x="7425" y="13092"/>
                  </a:lnTo>
                  <a:lnTo>
                    <a:pt x="2966" y="8633"/>
                  </a:lnTo>
                  <a:lnTo>
                    <a:pt x="2973" y="8606"/>
                  </a:lnTo>
                  <a:lnTo>
                    <a:pt x="2980" y="8578"/>
                  </a:lnTo>
                  <a:lnTo>
                    <a:pt x="2988" y="8550"/>
                  </a:lnTo>
                  <a:lnTo>
                    <a:pt x="2995" y="8522"/>
                  </a:lnTo>
                  <a:lnTo>
                    <a:pt x="3001" y="8494"/>
                  </a:lnTo>
                  <a:lnTo>
                    <a:pt x="3006" y="8466"/>
                  </a:lnTo>
                  <a:lnTo>
                    <a:pt x="3008" y="8452"/>
                  </a:lnTo>
                  <a:lnTo>
                    <a:pt x="3009" y="8438"/>
                  </a:lnTo>
                  <a:lnTo>
                    <a:pt x="3010" y="8424"/>
                  </a:lnTo>
                  <a:lnTo>
                    <a:pt x="3011" y="8410"/>
                  </a:lnTo>
                  <a:lnTo>
                    <a:pt x="3011" y="2365"/>
                  </a:lnTo>
                  <a:lnTo>
                    <a:pt x="13693" y="13047"/>
                  </a:lnTo>
                  <a:lnTo>
                    <a:pt x="7649" y="13047"/>
                  </a:lnTo>
                  <a:close/>
                  <a:moveTo>
                    <a:pt x="6939" y="13341"/>
                  </a:moveTo>
                  <a:lnTo>
                    <a:pt x="5373" y="14908"/>
                  </a:lnTo>
                  <a:lnTo>
                    <a:pt x="5361" y="14919"/>
                  </a:lnTo>
                  <a:lnTo>
                    <a:pt x="5349" y="14930"/>
                  </a:lnTo>
                  <a:lnTo>
                    <a:pt x="5336" y="14941"/>
                  </a:lnTo>
                  <a:lnTo>
                    <a:pt x="5324" y="14951"/>
                  </a:lnTo>
                  <a:lnTo>
                    <a:pt x="5299" y="14969"/>
                  </a:lnTo>
                  <a:lnTo>
                    <a:pt x="5274" y="14984"/>
                  </a:lnTo>
                  <a:lnTo>
                    <a:pt x="5250" y="14998"/>
                  </a:lnTo>
                  <a:lnTo>
                    <a:pt x="5225" y="15010"/>
                  </a:lnTo>
                  <a:lnTo>
                    <a:pt x="5201" y="15020"/>
                  </a:lnTo>
                  <a:lnTo>
                    <a:pt x="5177" y="15029"/>
                  </a:lnTo>
                  <a:lnTo>
                    <a:pt x="5154" y="15036"/>
                  </a:lnTo>
                  <a:lnTo>
                    <a:pt x="5131" y="15041"/>
                  </a:lnTo>
                  <a:lnTo>
                    <a:pt x="5109" y="15046"/>
                  </a:lnTo>
                  <a:lnTo>
                    <a:pt x="5088" y="15049"/>
                  </a:lnTo>
                  <a:lnTo>
                    <a:pt x="5069" y="15052"/>
                  </a:lnTo>
                  <a:lnTo>
                    <a:pt x="5050" y="15053"/>
                  </a:lnTo>
                  <a:lnTo>
                    <a:pt x="5034" y="15054"/>
                  </a:lnTo>
                  <a:lnTo>
                    <a:pt x="5018" y="15054"/>
                  </a:lnTo>
                  <a:lnTo>
                    <a:pt x="5003" y="15054"/>
                  </a:lnTo>
                  <a:lnTo>
                    <a:pt x="4986" y="15053"/>
                  </a:lnTo>
                  <a:lnTo>
                    <a:pt x="4968" y="15052"/>
                  </a:lnTo>
                  <a:lnTo>
                    <a:pt x="4949" y="15049"/>
                  </a:lnTo>
                  <a:lnTo>
                    <a:pt x="4928" y="15046"/>
                  </a:lnTo>
                  <a:lnTo>
                    <a:pt x="4906" y="15041"/>
                  </a:lnTo>
                  <a:lnTo>
                    <a:pt x="4884" y="15036"/>
                  </a:lnTo>
                  <a:lnTo>
                    <a:pt x="4860" y="15029"/>
                  </a:lnTo>
                  <a:lnTo>
                    <a:pt x="4836" y="15020"/>
                  </a:lnTo>
                  <a:lnTo>
                    <a:pt x="4811" y="15010"/>
                  </a:lnTo>
                  <a:lnTo>
                    <a:pt x="4787" y="14998"/>
                  </a:lnTo>
                  <a:lnTo>
                    <a:pt x="4762" y="14984"/>
                  </a:lnTo>
                  <a:lnTo>
                    <a:pt x="4737" y="14969"/>
                  </a:lnTo>
                  <a:lnTo>
                    <a:pt x="4712" y="14951"/>
                  </a:lnTo>
                  <a:lnTo>
                    <a:pt x="4700" y="14941"/>
                  </a:lnTo>
                  <a:lnTo>
                    <a:pt x="4688" y="14930"/>
                  </a:lnTo>
                  <a:lnTo>
                    <a:pt x="4676" y="14919"/>
                  </a:lnTo>
                  <a:lnTo>
                    <a:pt x="4664" y="14908"/>
                  </a:lnTo>
                  <a:lnTo>
                    <a:pt x="1151" y="11395"/>
                  </a:lnTo>
                  <a:lnTo>
                    <a:pt x="1139" y="11383"/>
                  </a:lnTo>
                  <a:lnTo>
                    <a:pt x="1128" y="11371"/>
                  </a:lnTo>
                  <a:lnTo>
                    <a:pt x="1117" y="11358"/>
                  </a:lnTo>
                  <a:lnTo>
                    <a:pt x="1108" y="11346"/>
                  </a:lnTo>
                  <a:lnTo>
                    <a:pt x="1090" y="11321"/>
                  </a:lnTo>
                  <a:lnTo>
                    <a:pt x="1074" y="11297"/>
                  </a:lnTo>
                  <a:lnTo>
                    <a:pt x="1060" y="11271"/>
                  </a:lnTo>
                  <a:lnTo>
                    <a:pt x="1048" y="11246"/>
                  </a:lnTo>
                  <a:lnTo>
                    <a:pt x="1038" y="11222"/>
                  </a:lnTo>
                  <a:lnTo>
                    <a:pt x="1029" y="11198"/>
                  </a:lnTo>
                  <a:lnTo>
                    <a:pt x="1022" y="11175"/>
                  </a:lnTo>
                  <a:lnTo>
                    <a:pt x="1017" y="11152"/>
                  </a:lnTo>
                  <a:lnTo>
                    <a:pt x="1012" y="11131"/>
                  </a:lnTo>
                  <a:lnTo>
                    <a:pt x="1009" y="11110"/>
                  </a:lnTo>
                  <a:lnTo>
                    <a:pt x="1007" y="11091"/>
                  </a:lnTo>
                  <a:lnTo>
                    <a:pt x="1005" y="11072"/>
                  </a:lnTo>
                  <a:lnTo>
                    <a:pt x="1004" y="11056"/>
                  </a:lnTo>
                  <a:lnTo>
                    <a:pt x="1004" y="11040"/>
                  </a:lnTo>
                  <a:lnTo>
                    <a:pt x="1004" y="11025"/>
                  </a:lnTo>
                  <a:lnTo>
                    <a:pt x="1005" y="11007"/>
                  </a:lnTo>
                  <a:lnTo>
                    <a:pt x="1007" y="10989"/>
                  </a:lnTo>
                  <a:lnTo>
                    <a:pt x="1009" y="10970"/>
                  </a:lnTo>
                  <a:lnTo>
                    <a:pt x="1012" y="10949"/>
                  </a:lnTo>
                  <a:lnTo>
                    <a:pt x="1017" y="10927"/>
                  </a:lnTo>
                  <a:lnTo>
                    <a:pt x="1022" y="10905"/>
                  </a:lnTo>
                  <a:lnTo>
                    <a:pt x="1029" y="10882"/>
                  </a:lnTo>
                  <a:lnTo>
                    <a:pt x="1038" y="10858"/>
                  </a:lnTo>
                  <a:lnTo>
                    <a:pt x="1048" y="10834"/>
                  </a:lnTo>
                  <a:lnTo>
                    <a:pt x="1060" y="10809"/>
                  </a:lnTo>
                  <a:lnTo>
                    <a:pt x="1074" y="10784"/>
                  </a:lnTo>
                  <a:lnTo>
                    <a:pt x="1090" y="10760"/>
                  </a:lnTo>
                  <a:lnTo>
                    <a:pt x="1108" y="10734"/>
                  </a:lnTo>
                  <a:lnTo>
                    <a:pt x="1117" y="10722"/>
                  </a:lnTo>
                  <a:lnTo>
                    <a:pt x="1128" y="10709"/>
                  </a:lnTo>
                  <a:lnTo>
                    <a:pt x="1139" y="10697"/>
                  </a:lnTo>
                  <a:lnTo>
                    <a:pt x="1151" y="10685"/>
                  </a:lnTo>
                  <a:lnTo>
                    <a:pt x="2717" y="9119"/>
                  </a:lnTo>
                  <a:lnTo>
                    <a:pt x="2722" y="9111"/>
                  </a:lnTo>
                  <a:lnTo>
                    <a:pt x="2727" y="9103"/>
                  </a:lnTo>
                  <a:lnTo>
                    <a:pt x="6954" y="13332"/>
                  </a:lnTo>
                  <a:lnTo>
                    <a:pt x="6947" y="13336"/>
                  </a:lnTo>
                  <a:lnTo>
                    <a:pt x="6939" y="13341"/>
                  </a:lnTo>
                  <a:close/>
                  <a:moveTo>
                    <a:pt x="4578" y="442"/>
                  </a:moveTo>
                  <a:lnTo>
                    <a:pt x="4550" y="415"/>
                  </a:lnTo>
                  <a:lnTo>
                    <a:pt x="4522" y="388"/>
                  </a:lnTo>
                  <a:lnTo>
                    <a:pt x="4494" y="363"/>
                  </a:lnTo>
                  <a:lnTo>
                    <a:pt x="4465" y="339"/>
                  </a:lnTo>
                  <a:lnTo>
                    <a:pt x="4436" y="316"/>
                  </a:lnTo>
                  <a:lnTo>
                    <a:pt x="4406" y="293"/>
                  </a:lnTo>
                  <a:lnTo>
                    <a:pt x="4376" y="272"/>
                  </a:lnTo>
                  <a:lnTo>
                    <a:pt x="4345" y="251"/>
                  </a:lnTo>
                  <a:lnTo>
                    <a:pt x="4314" y="231"/>
                  </a:lnTo>
                  <a:lnTo>
                    <a:pt x="4281" y="211"/>
                  </a:lnTo>
                  <a:lnTo>
                    <a:pt x="4249" y="193"/>
                  </a:lnTo>
                  <a:lnTo>
                    <a:pt x="4217" y="175"/>
                  </a:lnTo>
                  <a:lnTo>
                    <a:pt x="4184" y="158"/>
                  </a:lnTo>
                  <a:lnTo>
                    <a:pt x="4151" y="143"/>
                  </a:lnTo>
                  <a:lnTo>
                    <a:pt x="4118" y="126"/>
                  </a:lnTo>
                  <a:lnTo>
                    <a:pt x="4084" y="112"/>
                  </a:lnTo>
                  <a:lnTo>
                    <a:pt x="4050" y="99"/>
                  </a:lnTo>
                  <a:lnTo>
                    <a:pt x="4016" y="86"/>
                  </a:lnTo>
                  <a:lnTo>
                    <a:pt x="3980" y="74"/>
                  </a:lnTo>
                  <a:lnTo>
                    <a:pt x="3945" y="63"/>
                  </a:lnTo>
                  <a:lnTo>
                    <a:pt x="3910" y="53"/>
                  </a:lnTo>
                  <a:lnTo>
                    <a:pt x="3875" y="44"/>
                  </a:lnTo>
                  <a:lnTo>
                    <a:pt x="3839" y="36"/>
                  </a:lnTo>
                  <a:lnTo>
                    <a:pt x="3804" y="28"/>
                  </a:lnTo>
                  <a:lnTo>
                    <a:pt x="3768" y="22"/>
                  </a:lnTo>
                  <a:lnTo>
                    <a:pt x="3731" y="16"/>
                  </a:lnTo>
                  <a:lnTo>
                    <a:pt x="3695" y="11"/>
                  </a:lnTo>
                  <a:lnTo>
                    <a:pt x="3658" y="7"/>
                  </a:lnTo>
                  <a:lnTo>
                    <a:pt x="3622" y="4"/>
                  </a:lnTo>
                  <a:lnTo>
                    <a:pt x="3586" y="2"/>
                  </a:lnTo>
                  <a:lnTo>
                    <a:pt x="3549" y="0"/>
                  </a:lnTo>
                  <a:lnTo>
                    <a:pt x="3513" y="0"/>
                  </a:lnTo>
                  <a:lnTo>
                    <a:pt x="3476" y="0"/>
                  </a:lnTo>
                  <a:lnTo>
                    <a:pt x="3439" y="2"/>
                  </a:lnTo>
                  <a:lnTo>
                    <a:pt x="3403" y="4"/>
                  </a:lnTo>
                  <a:lnTo>
                    <a:pt x="3367" y="7"/>
                  </a:lnTo>
                  <a:lnTo>
                    <a:pt x="3330" y="11"/>
                  </a:lnTo>
                  <a:lnTo>
                    <a:pt x="3294" y="16"/>
                  </a:lnTo>
                  <a:lnTo>
                    <a:pt x="3258" y="22"/>
                  </a:lnTo>
                  <a:lnTo>
                    <a:pt x="3222" y="28"/>
                  </a:lnTo>
                  <a:lnTo>
                    <a:pt x="3186" y="36"/>
                  </a:lnTo>
                  <a:lnTo>
                    <a:pt x="3149" y="44"/>
                  </a:lnTo>
                  <a:lnTo>
                    <a:pt x="3114" y="54"/>
                  </a:lnTo>
                  <a:lnTo>
                    <a:pt x="3078" y="64"/>
                  </a:lnTo>
                  <a:lnTo>
                    <a:pt x="3043" y="75"/>
                  </a:lnTo>
                  <a:lnTo>
                    <a:pt x="3008" y="87"/>
                  </a:lnTo>
                  <a:lnTo>
                    <a:pt x="2972" y="100"/>
                  </a:lnTo>
                  <a:lnTo>
                    <a:pt x="2938" y="115"/>
                  </a:lnTo>
                  <a:lnTo>
                    <a:pt x="2885" y="138"/>
                  </a:lnTo>
                  <a:lnTo>
                    <a:pt x="2834" y="163"/>
                  </a:lnTo>
                  <a:lnTo>
                    <a:pt x="2784" y="189"/>
                  </a:lnTo>
                  <a:lnTo>
                    <a:pt x="2736" y="217"/>
                  </a:lnTo>
                  <a:lnTo>
                    <a:pt x="2689" y="246"/>
                  </a:lnTo>
                  <a:lnTo>
                    <a:pt x="2643" y="278"/>
                  </a:lnTo>
                  <a:lnTo>
                    <a:pt x="2597" y="310"/>
                  </a:lnTo>
                  <a:lnTo>
                    <a:pt x="2554" y="344"/>
                  </a:lnTo>
                  <a:lnTo>
                    <a:pt x="2513" y="380"/>
                  </a:lnTo>
                  <a:lnTo>
                    <a:pt x="2472" y="418"/>
                  </a:lnTo>
                  <a:lnTo>
                    <a:pt x="2433" y="457"/>
                  </a:lnTo>
                  <a:lnTo>
                    <a:pt x="2396" y="497"/>
                  </a:lnTo>
                  <a:lnTo>
                    <a:pt x="2360" y="538"/>
                  </a:lnTo>
                  <a:lnTo>
                    <a:pt x="2325" y="580"/>
                  </a:lnTo>
                  <a:lnTo>
                    <a:pt x="2292" y="624"/>
                  </a:lnTo>
                  <a:lnTo>
                    <a:pt x="2261" y="669"/>
                  </a:lnTo>
                  <a:lnTo>
                    <a:pt x="2232" y="715"/>
                  </a:lnTo>
                  <a:lnTo>
                    <a:pt x="2204" y="762"/>
                  </a:lnTo>
                  <a:lnTo>
                    <a:pt x="2178" y="810"/>
                  </a:lnTo>
                  <a:lnTo>
                    <a:pt x="2153" y="859"/>
                  </a:lnTo>
                  <a:lnTo>
                    <a:pt x="2131" y="909"/>
                  </a:lnTo>
                  <a:lnTo>
                    <a:pt x="2110" y="960"/>
                  </a:lnTo>
                  <a:lnTo>
                    <a:pt x="2091" y="1012"/>
                  </a:lnTo>
                  <a:lnTo>
                    <a:pt x="2073" y="1064"/>
                  </a:lnTo>
                  <a:lnTo>
                    <a:pt x="2058" y="1117"/>
                  </a:lnTo>
                  <a:lnTo>
                    <a:pt x="2044" y="1171"/>
                  </a:lnTo>
                  <a:lnTo>
                    <a:pt x="2033" y="1226"/>
                  </a:lnTo>
                  <a:lnTo>
                    <a:pt x="2024" y="1281"/>
                  </a:lnTo>
                  <a:lnTo>
                    <a:pt x="2017" y="1336"/>
                  </a:lnTo>
                  <a:lnTo>
                    <a:pt x="2011" y="1392"/>
                  </a:lnTo>
                  <a:lnTo>
                    <a:pt x="2008" y="1448"/>
                  </a:lnTo>
                  <a:lnTo>
                    <a:pt x="2007" y="1506"/>
                  </a:lnTo>
                  <a:lnTo>
                    <a:pt x="2006" y="8410"/>
                  </a:lnTo>
                  <a:lnTo>
                    <a:pt x="442" y="9976"/>
                  </a:lnTo>
                  <a:lnTo>
                    <a:pt x="387" y="10032"/>
                  </a:lnTo>
                  <a:lnTo>
                    <a:pt x="338" y="10090"/>
                  </a:lnTo>
                  <a:lnTo>
                    <a:pt x="291" y="10150"/>
                  </a:lnTo>
                  <a:lnTo>
                    <a:pt x="248" y="10212"/>
                  </a:lnTo>
                  <a:lnTo>
                    <a:pt x="209" y="10275"/>
                  </a:lnTo>
                  <a:lnTo>
                    <a:pt x="173" y="10340"/>
                  </a:lnTo>
                  <a:lnTo>
                    <a:pt x="140" y="10406"/>
                  </a:lnTo>
                  <a:lnTo>
                    <a:pt x="110" y="10473"/>
                  </a:lnTo>
                  <a:lnTo>
                    <a:pt x="84" y="10542"/>
                  </a:lnTo>
                  <a:lnTo>
                    <a:pt x="62" y="10611"/>
                  </a:lnTo>
                  <a:lnTo>
                    <a:pt x="43" y="10681"/>
                  </a:lnTo>
                  <a:lnTo>
                    <a:pt x="28" y="10753"/>
                  </a:lnTo>
                  <a:lnTo>
                    <a:pt x="16" y="10824"/>
                  </a:lnTo>
                  <a:lnTo>
                    <a:pt x="7" y="10896"/>
                  </a:lnTo>
                  <a:lnTo>
                    <a:pt x="2" y="10967"/>
                  </a:lnTo>
                  <a:lnTo>
                    <a:pt x="0" y="11040"/>
                  </a:lnTo>
                  <a:lnTo>
                    <a:pt x="2" y="11112"/>
                  </a:lnTo>
                  <a:lnTo>
                    <a:pt x="7" y="11184"/>
                  </a:lnTo>
                  <a:lnTo>
                    <a:pt x="16" y="11256"/>
                  </a:lnTo>
                  <a:lnTo>
                    <a:pt x="28" y="11328"/>
                  </a:lnTo>
                  <a:lnTo>
                    <a:pt x="43" y="11398"/>
                  </a:lnTo>
                  <a:lnTo>
                    <a:pt x="62" y="11468"/>
                  </a:lnTo>
                  <a:lnTo>
                    <a:pt x="84" y="11538"/>
                  </a:lnTo>
                  <a:lnTo>
                    <a:pt x="110" y="11607"/>
                  </a:lnTo>
                  <a:lnTo>
                    <a:pt x="140" y="11674"/>
                  </a:lnTo>
                  <a:lnTo>
                    <a:pt x="173" y="11740"/>
                  </a:lnTo>
                  <a:lnTo>
                    <a:pt x="209" y="11804"/>
                  </a:lnTo>
                  <a:lnTo>
                    <a:pt x="248" y="11869"/>
                  </a:lnTo>
                  <a:lnTo>
                    <a:pt x="291" y="11930"/>
                  </a:lnTo>
                  <a:lnTo>
                    <a:pt x="338" y="11990"/>
                  </a:lnTo>
                  <a:lnTo>
                    <a:pt x="387" y="12048"/>
                  </a:lnTo>
                  <a:lnTo>
                    <a:pt x="442" y="12104"/>
                  </a:lnTo>
                  <a:lnTo>
                    <a:pt x="3953" y="15617"/>
                  </a:lnTo>
                  <a:lnTo>
                    <a:pt x="3981" y="15644"/>
                  </a:lnTo>
                  <a:lnTo>
                    <a:pt x="4009" y="15671"/>
                  </a:lnTo>
                  <a:lnTo>
                    <a:pt x="4039" y="15696"/>
                  </a:lnTo>
                  <a:lnTo>
                    <a:pt x="4069" y="15721"/>
                  </a:lnTo>
                  <a:lnTo>
                    <a:pt x="4098" y="15744"/>
                  </a:lnTo>
                  <a:lnTo>
                    <a:pt x="4128" y="15767"/>
                  </a:lnTo>
                  <a:lnTo>
                    <a:pt x="4159" y="15789"/>
                  </a:lnTo>
                  <a:lnTo>
                    <a:pt x="4190" y="15810"/>
                  </a:lnTo>
                  <a:lnTo>
                    <a:pt x="4222" y="15830"/>
                  </a:lnTo>
                  <a:lnTo>
                    <a:pt x="4253" y="15849"/>
                  </a:lnTo>
                  <a:lnTo>
                    <a:pt x="4286" y="15868"/>
                  </a:lnTo>
                  <a:lnTo>
                    <a:pt x="4319" y="15885"/>
                  </a:lnTo>
                  <a:lnTo>
                    <a:pt x="4352" y="15902"/>
                  </a:lnTo>
                  <a:lnTo>
                    <a:pt x="4385" y="15918"/>
                  </a:lnTo>
                  <a:lnTo>
                    <a:pt x="4418" y="15934"/>
                  </a:lnTo>
                  <a:lnTo>
                    <a:pt x="4452" y="15948"/>
                  </a:lnTo>
                  <a:lnTo>
                    <a:pt x="4486" y="15961"/>
                  </a:lnTo>
                  <a:lnTo>
                    <a:pt x="4520" y="15974"/>
                  </a:lnTo>
                  <a:lnTo>
                    <a:pt x="4555" y="15986"/>
                  </a:lnTo>
                  <a:lnTo>
                    <a:pt x="4591" y="15996"/>
                  </a:lnTo>
                  <a:lnTo>
                    <a:pt x="4625" y="16006"/>
                  </a:lnTo>
                  <a:lnTo>
                    <a:pt x="4660" y="16015"/>
                  </a:lnTo>
                  <a:lnTo>
                    <a:pt x="4696" y="16023"/>
                  </a:lnTo>
                  <a:lnTo>
                    <a:pt x="4731" y="16031"/>
                  </a:lnTo>
                  <a:lnTo>
                    <a:pt x="4767" y="16037"/>
                  </a:lnTo>
                  <a:lnTo>
                    <a:pt x="4802" y="16043"/>
                  </a:lnTo>
                  <a:lnTo>
                    <a:pt x="4838" y="16047"/>
                  </a:lnTo>
                  <a:lnTo>
                    <a:pt x="4875" y="16051"/>
                  </a:lnTo>
                  <a:lnTo>
                    <a:pt x="4911" y="16054"/>
                  </a:lnTo>
                  <a:lnTo>
                    <a:pt x="4946" y="16056"/>
                  </a:lnTo>
                  <a:lnTo>
                    <a:pt x="4982" y="16058"/>
                  </a:lnTo>
                  <a:lnTo>
                    <a:pt x="5018" y="16058"/>
                  </a:lnTo>
                  <a:lnTo>
                    <a:pt x="5054" y="16058"/>
                  </a:lnTo>
                  <a:lnTo>
                    <a:pt x="5090" y="16056"/>
                  </a:lnTo>
                  <a:lnTo>
                    <a:pt x="5127" y="16054"/>
                  </a:lnTo>
                  <a:lnTo>
                    <a:pt x="5163" y="16051"/>
                  </a:lnTo>
                  <a:lnTo>
                    <a:pt x="5199" y="16047"/>
                  </a:lnTo>
                  <a:lnTo>
                    <a:pt x="5235" y="16043"/>
                  </a:lnTo>
                  <a:lnTo>
                    <a:pt x="5270" y="16037"/>
                  </a:lnTo>
                  <a:lnTo>
                    <a:pt x="5306" y="16031"/>
                  </a:lnTo>
                  <a:lnTo>
                    <a:pt x="5341" y="16023"/>
                  </a:lnTo>
                  <a:lnTo>
                    <a:pt x="5376" y="16015"/>
                  </a:lnTo>
                  <a:lnTo>
                    <a:pt x="5413" y="16006"/>
                  </a:lnTo>
                  <a:lnTo>
                    <a:pt x="5447" y="15996"/>
                  </a:lnTo>
                  <a:lnTo>
                    <a:pt x="5482" y="15986"/>
                  </a:lnTo>
                  <a:lnTo>
                    <a:pt x="5517" y="15974"/>
                  </a:lnTo>
                  <a:lnTo>
                    <a:pt x="5551" y="15961"/>
                  </a:lnTo>
                  <a:lnTo>
                    <a:pt x="5585" y="15948"/>
                  </a:lnTo>
                  <a:lnTo>
                    <a:pt x="5618" y="15934"/>
                  </a:lnTo>
                  <a:lnTo>
                    <a:pt x="5652" y="15918"/>
                  </a:lnTo>
                  <a:lnTo>
                    <a:pt x="5686" y="15902"/>
                  </a:lnTo>
                  <a:lnTo>
                    <a:pt x="5719" y="15885"/>
                  </a:lnTo>
                  <a:lnTo>
                    <a:pt x="5751" y="15868"/>
                  </a:lnTo>
                  <a:lnTo>
                    <a:pt x="5783" y="15849"/>
                  </a:lnTo>
                  <a:lnTo>
                    <a:pt x="5815" y="15830"/>
                  </a:lnTo>
                  <a:lnTo>
                    <a:pt x="5846" y="15810"/>
                  </a:lnTo>
                  <a:lnTo>
                    <a:pt x="5877" y="15789"/>
                  </a:lnTo>
                  <a:lnTo>
                    <a:pt x="5908" y="15767"/>
                  </a:lnTo>
                  <a:lnTo>
                    <a:pt x="5938" y="15744"/>
                  </a:lnTo>
                  <a:lnTo>
                    <a:pt x="5969" y="15721"/>
                  </a:lnTo>
                  <a:lnTo>
                    <a:pt x="5998" y="15696"/>
                  </a:lnTo>
                  <a:lnTo>
                    <a:pt x="6027" y="15671"/>
                  </a:lnTo>
                  <a:lnTo>
                    <a:pt x="6055" y="15644"/>
                  </a:lnTo>
                  <a:lnTo>
                    <a:pt x="6083" y="15617"/>
                  </a:lnTo>
                  <a:lnTo>
                    <a:pt x="7649" y="14051"/>
                  </a:lnTo>
                  <a:lnTo>
                    <a:pt x="14552" y="14051"/>
                  </a:lnTo>
                  <a:lnTo>
                    <a:pt x="14609" y="14050"/>
                  </a:lnTo>
                  <a:lnTo>
                    <a:pt x="14665" y="14047"/>
                  </a:lnTo>
                  <a:lnTo>
                    <a:pt x="14721" y="14042"/>
                  </a:lnTo>
                  <a:lnTo>
                    <a:pt x="14777" y="14034"/>
                  </a:lnTo>
                  <a:lnTo>
                    <a:pt x="14832" y="14025"/>
                  </a:lnTo>
                  <a:lnTo>
                    <a:pt x="14887" y="14013"/>
                  </a:lnTo>
                  <a:lnTo>
                    <a:pt x="14940" y="14000"/>
                  </a:lnTo>
                  <a:lnTo>
                    <a:pt x="14993" y="13984"/>
                  </a:lnTo>
                  <a:lnTo>
                    <a:pt x="15046" y="13967"/>
                  </a:lnTo>
                  <a:lnTo>
                    <a:pt x="15098" y="13948"/>
                  </a:lnTo>
                  <a:lnTo>
                    <a:pt x="15149" y="13928"/>
                  </a:lnTo>
                  <a:lnTo>
                    <a:pt x="15198" y="13905"/>
                  </a:lnTo>
                  <a:lnTo>
                    <a:pt x="15247" y="13881"/>
                  </a:lnTo>
                  <a:lnTo>
                    <a:pt x="15295" y="13855"/>
                  </a:lnTo>
                  <a:lnTo>
                    <a:pt x="15342" y="13827"/>
                  </a:lnTo>
                  <a:lnTo>
                    <a:pt x="15389" y="13798"/>
                  </a:lnTo>
                  <a:lnTo>
                    <a:pt x="15434" y="13767"/>
                  </a:lnTo>
                  <a:lnTo>
                    <a:pt x="15477" y="13733"/>
                  </a:lnTo>
                  <a:lnTo>
                    <a:pt x="15520" y="13699"/>
                  </a:lnTo>
                  <a:lnTo>
                    <a:pt x="15561" y="13663"/>
                  </a:lnTo>
                  <a:lnTo>
                    <a:pt x="15601" y="13626"/>
                  </a:lnTo>
                  <a:lnTo>
                    <a:pt x="15639" y="13587"/>
                  </a:lnTo>
                  <a:lnTo>
                    <a:pt x="15677" y="13546"/>
                  </a:lnTo>
                  <a:lnTo>
                    <a:pt x="15713" y="13505"/>
                  </a:lnTo>
                  <a:lnTo>
                    <a:pt x="15747" y="13461"/>
                  </a:lnTo>
                  <a:lnTo>
                    <a:pt x="15780" y="13416"/>
                  </a:lnTo>
                  <a:lnTo>
                    <a:pt x="15811" y="13371"/>
                  </a:lnTo>
                  <a:lnTo>
                    <a:pt x="15841" y="13323"/>
                  </a:lnTo>
                  <a:lnTo>
                    <a:pt x="15869" y="13275"/>
                  </a:lnTo>
                  <a:lnTo>
                    <a:pt x="15895" y="13225"/>
                  </a:lnTo>
                  <a:lnTo>
                    <a:pt x="15919" y="13174"/>
                  </a:lnTo>
                  <a:lnTo>
                    <a:pt x="15943" y="13122"/>
                  </a:lnTo>
                  <a:lnTo>
                    <a:pt x="15964" y="13069"/>
                  </a:lnTo>
                  <a:lnTo>
                    <a:pt x="15982" y="13016"/>
                  </a:lnTo>
                  <a:lnTo>
                    <a:pt x="15999" y="12962"/>
                  </a:lnTo>
                  <a:lnTo>
                    <a:pt x="16013" y="12907"/>
                  </a:lnTo>
                  <a:lnTo>
                    <a:pt x="16026" y="12853"/>
                  </a:lnTo>
                  <a:lnTo>
                    <a:pt x="16036" y="12798"/>
                  </a:lnTo>
                  <a:lnTo>
                    <a:pt x="16044" y="12744"/>
                  </a:lnTo>
                  <a:lnTo>
                    <a:pt x="16051" y="12689"/>
                  </a:lnTo>
                  <a:lnTo>
                    <a:pt x="16055" y="12633"/>
                  </a:lnTo>
                  <a:lnTo>
                    <a:pt x="16057" y="12579"/>
                  </a:lnTo>
                  <a:lnTo>
                    <a:pt x="16057" y="12524"/>
                  </a:lnTo>
                  <a:lnTo>
                    <a:pt x="16056" y="12469"/>
                  </a:lnTo>
                  <a:lnTo>
                    <a:pt x="16052" y="12415"/>
                  </a:lnTo>
                  <a:lnTo>
                    <a:pt x="16046" y="12359"/>
                  </a:lnTo>
                  <a:lnTo>
                    <a:pt x="16038" y="12306"/>
                  </a:lnTo>
                  <a:lnTo>
                    <a:pt x="16029" y="12252"/>
                  </a:lnTo>
                  <a:lnTo>
                    <a:pt x="16017" y="12199"/>
                  </a:lnTo>
                  <a:lnTo>
                    <a:pt x="16004" y="12146"/>
                  </a:lnTo>
                  <a:lnTo>
                    <a:pt x="15988" y="12093"/>
                  </a:lnTo>
                  <a:lnTo>
                    <a:pt x="15971" y="12041"/>
                  </a:lnTo>
                  <a:lnTo>
                    <a:pt x="15951" y="11990"/>
                  </a:lnTo>
                  <a:lnTo>
                    <a:pt x="15930" y="11939"/>
                  </a:lnTo>
                  <a:lnTo>
                    <a:pt x="15906" y="11889"/>
                  </a:lnTo>
                  <a:lnTo>
                    <a:pt x="15881" y="11840"/>
                  </a:lnTo>
                  <a:lnTo>
                    <a:pt x="15855" y="11791"/>
                  </a:lnTo>
                  <a:lnTo>
                    <a:pt x="15826" y="11744"/>
                  </a:lnTo>
                  <a:lnTo>
                    <a:pt x="15796" y="11698"/>
                  </a:lnTo>
                  <a:lnTo>
                    <a:pt x="15763" y="11652"/>
                  </a:lnTo>
                  <a:lnTo>
                    <a:pt x="15729" y="11608"/>
                  </a:lnTo>
                  <a:lnTo>
                    <a:pt x="15694" y="11564"/>
                  </a:lnTo>
                  <a:lnTo>
                    <a:pt x="15656" y="11522"/>
                  </a:lnTo>
                  <a:lnTo>
                    <a:pt x="15615" y="11481"/>
                  </a:lnTo>
                  <a:lnTo>
                    <a:pt x="4578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0" name="îsľíďé">
              <a:extLst>
                <a:ext uri="{FF2B5EF4-FFF2-40B4-BE49-F238E27FC236}">
                  <a16:creationId xmlns:a16="http://schemas.microsoft.com/office/drawing/2014/main" id="{E8A1FC88-6C0B-422E-9BFF-02F6041F5103}"/>
                </a:ext>
              </a:extLst>
            </p:cNvPr>
            <p:cNvSpPr/>
            <p:nvPr/>
          </p:nvSpPr>
          <p:spPr bwMode="auto">
            <a:xfrm>
              <a:off x="3161856" y="39811"/>
              <a:ext cx="153089" cy="153089"/>
            </a:xfrm>
            <a:custGeom>
              <a:avLst/>
              <a:gdLst>
                <a:gd name="T0" fmla="*/ 1116 w 7527"/>
                <a:gd name="T1" fmla="*/ 1037 h 7528"/>
                <a:gd name="T2" fmla="*/ 2289 w 7527"/>
                <a:gd name="T3" fmla="*/ 1277 h 7528"/>
                <a:gd name="T4" fmla="*/ 3369 w 7527"/>
                <a:gd name="T5" fmla="*/ 1733 h 7528"/>
                <a:gd name="T6" fmla="*/ 4329 w 7527"/>
                <a:gd name="T7" fmla="*/ 2383 h 7528"/>
                <a:gd name="T8" fmla="*/ 5145 w 7527"/>
                <a:gd name="T9" fmla="*/ 3200 h 7528"/>
                <a:gd name="T10" fmla="*/ 5795 w 7527"/>
                <a:gd name="T11" fmla="*/ 4159 h 7528"/>
                <a:gd name="T12" fmla="*/ 6251 w 7527"/>
                <a:gd name="T13" fmla="*/ 5239 h 7528"/>
                <a:gd name="T14" fmla="*/ 6491 w 7527"/>
                <a:gd name="T15" fmla="*/ 6413 h 7528"/>
                <a:gd name="T16" fmla="*/ 6524 w 7527"/>
                <a:gd name="T17" fmla="*/ 7053 h 7528"/>
                <a:gd name="T18" fmla="*/ 6539 w 7527"/>
                <a:gd name="T19" fmla="*/ 7152 h 7528"/>
                <a:gd name="T20" fmla="*/ 6574 w 7527"/>
                <a:gd name="T21" fmla="*/ 7245 h 7528"/>
                <a:gd name="T22" fmla="*/ 6624 w 7527"/>
                <a:gd name="T23" fmla="*/ 7327 h 7528"/>
                <a:gd name="T24" fmla="*/ 6689 w 7527"/>
                <a:gd name="T25" fmla="*/ 7398 h 7528"/>
                <a:gd name="T26" fmla="*/ 6765 w 7527"/>
                <a:gd name="T27" fmla="*/ 7455 h 7528"/>
                <a:gd name="T28" fmla="*/ 6854 w 7527"/>
                <a:gd name="T29" fmla="*/ 7498 h 7528"/>
                <a:gd name="T30" fmla="*/ 6949 w 7527"/>
                <a:gd name="T31" fmla="*/ 7522 h 7528"/>
                <a:gd name="T32" fmla="*/ 7051 w 7527"/>
                <a:gd name="T33" fmla="*/ 7527 h 7528"/>
                <a:gd name="T34" fmla="*/ 7151 w 7527"/>
                <a:gd name="T35" fmla="*/ 7512 h 7528"/>
                <a:gd name="T36" fmla="*/ 7243 w 7527"/>
                <a:gd name="T37" fmla="*/ 7478 h 7528"/>
                <a:gd name="T38" fmla="*/ 7325 w 7527"/>
                <a:gd name="T39" fmla="*/ 7428 h 7528"/>
                <a:gd name="T40" fmla="*/ 7397 w 7527"/>
                <a:gd name="T41" fmla="*/ 7363 h 7528"/>
                <a:gd name="T42" fmla="*/ 7455 w 7527"/>
                <a:gd name="T43" fmla="*/ 7286 h 7528"/>
                <a:gd name="T44" fmla="*/ 7497 w 7527"/>
                <a:gd name="T45" fmla="*/ 7198 h 7528"/>
                <a:gd name="T46" fmla="*/ 7521 w 7527"/>
                <a:gd name="T47" fmla="*/ 7102 h 7528"/>
                <a:gd name="T48" fmla="*/ 7526 w 7527"/>
                <a:gd name="T49" fmla="*/ 7024 h 7528"/>
                <a:gd name="T50" fmla="*/ 7445 w 7527"/>
                <a:gd name="T51" fmla="*/ 5954 h 7528"/>
                <a:gd name="T52" fmla="*/ 7099 w 7527"/>
                <a:gd name="T53" fmla="*/ 4610 h 7528"/>
                <a:gd name="T54" fmla="*/ 6509 w 7527"/>
                <a:gd name="T55" fmla="*/ 3385 h 7528"/>
                <a:gd name="T56" fmla="*/ 5703 w 7527"/>
                <a:gd name="T57" fmla="*/ 2306 h 7528"/>
                <a:gd name="T58" fmla="*/ 4709 w 7527"/>
                <a:gd name="T59" fmla="*/ 1401 h 7528"/>
                <a:gd name="T60" fmla="*/ 3554 w 7527"/>
                <a:gd name="T61" fmla="*/ 699 h 7528"/>
                <a:gd name="T62" fmla="*/ 2267 w 7527"/>
                <a:gd name="T63" fmla="*/ 227 h 7528"/>
                <a:gd name="T64" fmla="*/ 875 w 7527"/>
                <a:gd name="T65" fmla="*/ 13 h 7528"/>
                <a:gd name="T66" fmla="*/ 477 w 7527"/>
                <a:gd name="T67" fmla="*/ 1 h 7528"/>
                <a:gd name="T68" fmla="*/ 376 w 7527"/>
                <a:gd name="T69" fmla="*/ 16 h 7528"/>
                <a:gd name="T70" fmla="*/ 284 w 7527"/>
                <a:gd name="T71" fmla="*/ 49 h 7528"/>
                <a:gd name="T72" fmla="*/ 202 w 7527"/>
                <a:gd name="T73" fmla="*/ 99 h 7528"/>
                <a:gd name="T74" fmla="*/ 130 w 7527"/>
                <a:gd name="T75" fmla="*/ 165 h 7528"/>
                <a:gd name="T76" fmla="*/ 73 w 7527"/>
                <a:gd name="T77" fmla="*/ 242 h 7528"/>
                <a:gd name="T78" fmla="*/ 31 w 7527"/>
                <a:gd name="T79" fmla="*/ 329 h 7528"/>
                <a:gd name="T80" fmla="*/ 6 w 7527"/>
                <a:gd name="T81" fmla="*/ 426 h 7528"/>
                <a:gd name="T82" fmla="*/ 1 w 7527"/>
                <a:gd name="T83" fmla="*/ 528 h 7528"/>
                <a:gd name="T84" fmla="*/ 16 w 7527"/>
                <a:gd name="T85" fmla="*/ 627 h 7528"/>
                <a:gd name="T86" fmla="*/ 50 w 7527"/>
                <a:gd name="T87" fmla="*/ 720 h 7528"/>
                <a:gd name="T88" fmla="*/ 100 w 7527"/>
                <a:gd name="T89" fmla="*/ 802 h 7528"/>
                <a:gd name="T90" fmla="*/ 164 w 7527"/>
                <a:gd name="T91" fmla="*/ 873 h 7528"/>
                <a:gd name="T92" fmla="*/ 242 w 7527"/>
                <a:gd name="T93" fmla="*/ 930 h 7528"/>
                <a:gd name="T94" fmla="*/ 329 w 7527"/>
                <a:gd name="T95" fmla="*/ 974 h 7528"/>
                <a:gd name="T96" fmla="*/ 424 w 7527"/>
                <a:gd name="T97" fmla="*/ 998 h 7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527" h="7528">
                  <a:moveTo>
                    <a:pt x="501" y="1004"/>
                  </a:moveTo>
                  <a:lnTo>
                    <a:pt x="501" y="1006"/>
                  </a:lnTo>
                  <a:lnTo>
                    <a:pt x="811" y="1014"/>
                  </a:lnTo>
                  <a:lnTo>
                    <a:pt x="1116" y="1037"/>
                  </a:lnTo>
                  <a:lnTo>
                    <a:pt x="1417" y="1075"/>
                  </a:lnTo>
                  <a:lnTo>
                    <a:pt x="1713" y="1128"/>
                  </a:lnTo>
                  <a:lnTo>
                    <a:pt x="2004" y="1195"/>
                  </a:lnTo>
                  <a:lnTo>
                    <a:pt x="2289" y="1277"/>
                  </a:lnTo>
                  <a:lnTo>
                    <a:pt x="2569" y="1372"/>
                  </a:lnTo>
                  <a:lnTo>
                    <a:pt x="2843" y="1479"/>
                  </a:lnTo>
                  <a:lnTo>
                    <a:pt x="3109" y="1601"/>
                  </a:lnTo>
                  <a:lnTo>
                    <a:pt x="3369" y="1733"/>
                  </a:lnTo>
                  <a:lnTo>
                    <a:pt x="3621" y="1879"/>
                  </a:lnTo>
                  <a:lnTo>
                    <a:pt x="3866" y="2035"/>
                  </a:lnTo>
                  <a:lnTo>
                    <a:pt x="4102" y="2204"/>
                  </a:lnTo>
                  <a:lnTo>
                    <a:pt x="4329" y="2383"/>
                  </a:lnTo>
                  <a:lnTo>
                    <a:pt x="4547" y="2572"/>
                  </a:lnTo>
                  <a:lnTo>
                    <a:pt x="4757" y="2771"/>
                  </a:lnTo>
                  <a:lnTo>
                    <a:pt x="4957" y="2981"/>
                  </a:lnTo>
                  <a:lnTo>
                    <a:pt x="5145" y="3200"/>
                  </a:lnTo>
                  <a:lnTo>
                    <a:pt x="5325" y="3427"/>
                  </a:lnTo>
                  <a:lnTo>
                    <a:pt x="5493" y="3663"/>
                  </a:lnTo>
                  <a:lnTo>
                    <a:pt x="5649" y="3907"/>
                  </a:lnTo>
                  <a:lnTo>
                    <a:pt x="5795" y="4159"/>
                  </a:lnTo>
                  <a:lnTo>
                    <a:pt x="5928" y="4419"/>
                  </a:lnTo>
                  <a:lnTo>
                    <a:pt x="6049" y="4686"/>
                  </a:lnTo>
                  <a:lnTo>
                    <a:pt x="6156" y="4959"/>
                  </a:lnTo>
                  <a:lnTo>
                    <a:pt x="6251" y="5239"/>
                  </a:lnTo>
                  <a:lnTo>
                    <a:pt x="6333" y="5524"/>
                  </a:lnTo>
                  <a:lnTo>
                    <a:pt x="6400" y="5815"/>
                  </a:lnTo>
                  <a:lnTo>
                    <a:pt x="6453" y="6111"/>
                  </a:lnTo>
                  <a:lnTo>
                    <a:pt x="6491" y="6413"/>
                  </a:lnTo>
                  <a:lnTo>
                    <a:pt x="6514" y="6718"/>
                  </a:lnTo>
                  <a:lnTo>
                    <a:pt x="6522" y="7028"/>
                  </a:lnTo>
                  <a:lnTo>
                    <a:pt x="6523" y="7028"/>
                  </a:lnTo>
                  <a:lnTo>
                    <a:pt x="6524" y="7053"/>
                  </a:lnTo>
                  <a:lnTo>
                    <a:pt x="6526" y="7079"/>
                  </a:lnTo>
                  <a:lnTo>
                    <a:pt x="6529" y="7104"/>
                  </a:lnTo>
                  <a:lnTo>
                    <a:pt x="6534" y="7128"/>
                  </a:lnTo>
                  <a:lnTo>
                    <a:pt x="6539" y="7152"/>
                  </a:lnTo>
                  <a:lnTo>
                    <a:pt x="6546" y="7176"/>
                  </a:lnTo>
                  <a:lnTo>
                    <a:pt x="6554" y="7199"/>
                  </a:lnTo>
                  <a:lnTo>
                    <a:pt x="6564" y="7223"/>
                  </a:lnTo>
                  <a:lnTo>
                    <a:pt x="6574" y="7245"/>
                  </a:lnTo>
                  <a:lnTo>
                    <a:pt x="6585" y="7266"/>
                  </a:lnTo>
                  <a:lnTo>
                    <a:pt x="6597" y="7287"/>
                  </a:lnTo>
                  <a:lnTo>
                    <a:pt x="6610" y="7307"/>
                  </a:lnTo>
                  <a:lnTo>
                    <a:pt x="6624" y="7327"/>
                  </a:lnTo>
                  <a:lnTo>
                    <a:pt x="6639" y="7346"/>
                  </a:lnTo>
                  <a:lnTo>
                    <a:pt x="6655" y="7364"/>
                  </a:lnTo>
                  <a:lnTo>
                    <a:pt x="6671" y="7381"/>
                  </a:lnTo>
                  <a:lnTo>
                    <a:pt x="6689" y="7398"/>
                  </a:lnTo>
                  <a:lnTo>
                    <a:pt x="6707" y="7413"/>
                  </a:lnTo>
                  <a:lnTo>
                    <a:pt x="6725" y="7428"/>
                  </a:lnTo>
                  <a:lnTo>
                    <a:pt x="6745" y="7442"/>
                  </a:lnTo>
                  <a:lnTo>
                    <a:pt x="6765" y="7455"/>
                  </a:lnTo>
                  <a:lnTo>
                    <a:pt x="6786" y="7467"/>
                  </a:lnTo>
                  <a:lnTo>
                    <a:pt x="6808" y="7478"/>
                  </a:lnTo>
                  <a:lnTo>
                    <a:pt x="6830" y="7489"/>
                  </a:lnTo>
                  <a:lnTo>
                    <a:pt x="6854" y="7498"/>
                  </a:lnTo>
                  <a:lnTo>
                    <a:pt x="6877" y="7505"/>
                  </a:lnTo>
                  <a:lnTo>
                    <a:pt x="6900" y="7512"/>
                  </a:lnTo>
                  <a:lnTo>
                    <a:pt x="6925" y="7518"/>
                  </a:lnTo>
                  <a:lnTo>
                    <a:pt x="6949" y="7522"/>
                  </a:lnTo>
                  <a:lnTo>
                    <a:pt x="6974" y="7525"/>
                  </a:lnTo>
                  <a:lnTo>
                    <a:pt x="6999" y="7527"/>
                  </a:lnTo>
                  <a:lnTo>
                    <a:pt x="7025" y="7528"/>
                  </a:lnTo>
                  <a:lnTo>
                    <a:pt x="7051" y="7527"/>
                  </a:lnTo>
                  <a:lnTo>
                    <a:pt x="7076" y="7525"/>
                  </a:lnTo>
                  <a:lnTo>
                    <a:pt x="7101" y="7522"/>
                  </a:lnTo>
                  <a:lnTo>
                    <a:pt x="7127" y="7518"/>
                  </a:lnTo>
                  <a:lnTo>
                    <a:pt x="7151" y="7512"/>
                  </a:lnTo>
                  <a:lnTo>
                    <a:pt x="7175" y="7505"/>
                  </a:lnTo>
                  <a:lnTo>
                    <a:pt x="7198" y="7497"/>
                  </a:lnTo>
                  <a:lnTo>
                    <a:pt x="7221" y="7489"/>
                  </a:lnTo>
                  <a:lnTo>
                    <a:pt x="7243" y="7478"/>
                  </a:lnTo>
                  <a:lnTo>
                    <a:pt x="7265" y="7466"/>
                  </a:lnTo>
                  <a:lnTo>
                    <a:pt x="7286" y="7454"/>
                  </a:lnTo>
                  <a:lnTo>
                    <a:pt x="7306" y="7441"/>
                  </a:lnTo>
                  <a:lnTo>
                    <a:pt x="7325" y="7428"/>
                  </a:lnTo>
                  <a:lnTo>
                    <a:pt x="7344" y="7413"/>
                  </a:lnTo>
                  <a:lnTo>
                    <a:pt x="7362" y="7397"/>
                  </a:lnTo>
                  <a:lnTo>
                    <a:pt x="7380" y="7380"/>
                  </a:lnTo>
                  <a:lnTo>
                    <a:pt x="7397" y="7363"/>
                  </a:lnTo>
                  <a:lnTo>
                    <a:pt x="7413" y="7345"/>
                  </a:lnTo>
                  <a:lnTo>
                    <a:pt x="7428" y="7326"/>
                  </a:lnTo>
                  <a:lnTo>
                    <a:pt x="7442" y="7306"/>
                  </a:lnTo>
                  <a:lnTo>
                    <a:pt x="7455" y="7286"/>
                  </a:lnTo>
                  <a:lnTo>
                    <a:pt x="7467" y="7265"/>
                  </a:lnTo>
                  <a:lnTo>
                    <a:pt x="7478" y="7244"/>
                  </a:lnTo>
                  <a:lnTo>
                    <a:pt x="7488" y="7222"/>
                  </a:lnTo>
                  <a:lnTo>
                    <a:pt x="7497" y="7198"/>
                  </a:lnTo>
                  <a:lnTo>
                    <a:pt x="7505" y="7175"/>
                  </a:lnTo>
                  <a:lnTo>
                    <a:pt x="7511" y="7151"/>
                  </a:lnTo>
                  <a:lnTo>
                    <a:pt x="7517" y="7127"/>
                  </a:lnTo>
                  <a:lnTo>
                    <a:pt x="7521" y="7102"/>
                  </a:lnTo>
                  <a:lnTo>
                    <a:pt x="7524" y="7077"/>
                  </a:lnTo>
                  <a:lnTo>
                    <a:pt x="7526" y="7052"/>
                  </a:lnTo>
                  <a:lnTo>
                    <a:pt x="7527" y="7026"/>
                  </a:lnTo>
                  <a:lnTo>
                    <a:pt x="7526" y="7024"/>
                  </a:lnTo>
                  <a:lnTo>
                    <a:pt x="7526" y="7022"/>
                  </a:lnTo>
                  <a:lnTo>
                    <a:pt x="7517" y="6660"/>
                  </a:lnTo>
                  <a:lnTo>
                    <a:pt x="7489" y="6304"/>
                  </a:lnTo>
                  <a:lnTo>
                    <a:pt x="7445" y="5954"/>
                  </a:lnTo>
                  <a:lnTo>
                    <a:pt x="7382" y="5609"/>
                  </a:lnTo>
                  <a:lnTo>
                    <a:pt x="7304" y="5269"/>
                  </a:lnTo>
                  <a:lnTo>
                    <a:pt x="7210" y="4936"/>
                  </a:lnTo>
                  <a:lnTo>
                    <a:pt x="7099" y="4610"/>
                  </a:lnTo>
                  <a:lnTo>
                    <a:pt x="6974" y="4292"/>
                  </a:lnTo>
                  <a:lnTo>
                    <a:pt x="6833" y="3982"/>
                  </a:lnTo>
                  <a:lnTo>
                    <a:pt x="6679" y="3679"/>
                  </a:lnTo>
                  <a:lnTo>
                    <a:pt x="6509" y="3385"/>
                  </a:lnTo>
                  <a:lnTo>
                    <a:pt x="6328" y="3100"/>
                  </a:lnTo>
                  <a:lnTo>
                    <a:pt x="6132" y="2825"/>
                  </a:lnTo>
                  <a:lnTo>
                    <a:pt x="5923" y="2560"/>
                  </a:lnTo>
                  <a:lnTo>
                    <a:pt x="5703" y="2306"/>
                  </a:lnTo>
                  <a:lnTo>
                    <a:pt x="5472" y="2063"/>
                  </a:lnTo>
                  <a:lnTo>
                    <a:pt x="5228" y="1830"/>
                  </a:lnTo>
                  <a:lnTo>
                    <a:pt x="4974" y="1610"/>
                  </a:lnTo>
                  <a:lnTo>
                    <a:pt x="4709" y="1401"/>
                  </a:lnTo>
                  <a:lnTo>
                    <a:pt x="4434" y="1205"/>
                  </a:lnTo>
                  <a:lnTo>
                    <a:pt x="4150" y="1023"/>
                  </a:lnTo>
                  <a:lnTo>
                    <a:pt x="3856" y="854"/>
                  </a:lnTo>
                  <a:lnTo>
                    <a:pt x="3554" y="699"/>
                  </a:lnTo>
                  <a:lnTo>
                    <a:pt x="3244" y="558"/>
                  </a:lnTo>
                  <a:lnTo>
                    <a:pt x="2925" y="433"/>
                  </a:lnTo>
                  <a:lnTo>
                    <a:pt x="2599" y="321"/>
                  </a:lnTo>
                  <a:lnTo>
                    <a:pt x="2267" y="227"/>
                  </a:lnTo>
                  <a:lnTo>
                    <a:pt x="1928" y="148"/>
                  </a:lnTo>
                  <a:lnTo>
                    <a:pt x="1583" y="85"/>
                  </a:lnTo>
                  <a:lnTo>
                    <a:pt x="1231" y="40"/>
                  </a:lnTo>
                  <a:lnTo>
                    <a:pt x="875" y="13"/>
                  </a:lnTo>
                  <a:lnTo>
                    <a:pt x="515" y="3"/>
                  </a:lnTo>
                  <a:lnTo>
                    <a:pt x="509" y="2"/>
                  </a:lnTo>
                  <a:lnTo>
                    <a:pt x="502" y="0"/>
                  </a:lnTo>
                  <a:lnTo>
                    <a:pt x="477" y="1"/>
                  </a:lnTo>
                  <a:lnTo>
                    <a:pt x="450" y="3"/>
                  </a:lnTo>
                  <a:lnTo>
                    <a:pt x="425" y="6"/>
                  </a:lnTo>
                  <a:lnTo>
                    <a:pt x="401" y="10"/>
                  </a:lnTo>
                  <a:lnTo>
                    <a:pt x="376" y="16"/>
                  </a:lnTo>
                  <a:lnTo>
                    <a:pt x="353" y="23"/>
                  </a:lnTo>
                  <a:lnTo>
                    <a:pt x="329" y="30"/>
                  </a:lnTo>
                  <a:lnTo>
                    <a:pt x="307" y="39"/>
                  </a:lnTo>
                  <a:lnTo>
                    <a:pt x="284" y="49"/>
                  </a:lnTo>
                  <a:lnTo>
                    <a:pt x="263" y="60"/>
                  </a:lnTo>
                  <a:lnTo>
                    <a:pt x="242" y="72"/>
                  </a:lnTo>
                  <a:lnTo>
                    <a:pt x="222" y="85"/>
                  </a:lnTo>
                  <a:lnTo>
                    <a:pt x="202" y="99"/>
                  </a:lnTo>
                  <a:lnTo>
                    <a:pt x="182" y="114"/>
                  </a:lnTo>
                  <a:lnTo>
                    <a:pt x="164" y="130"/>
                  </a:lnTo>
                  <a:lnTo>
                    <a:pt x="147" y="147"/>
                  </a:lnTo>
                  <a:lnTo>
                    <a:pt x="130" y="165"/>
                  </a:lnTo>
                  <a:lnTo>
                    <a:pt x="114" y="183"/>
                  </a:lnTo>
                  <a:lnTo>
                    <a:pt x="100" y="202"/>
                  </a:lnTo>
                  <a:lnTo>
                    <a:pt x="86" y="221"/>
                  </a:lnTo>
                  <a:lnTo>
                    <a:pt x="73" y="242"/>
                  </a:lnTo>
                  <a:lnTo>
                    <a:pt x="61" y="263"/>
                  </a:lnTo>
                  <a:lnTo>
                    <a:pt x="50" y="284"/>
                  </a:lnTo>
                  <a:lnTo>
                    <a:pt x="40" y="306"/>
                  </a:lnTo>
                  <a:lnTo>
                    <a:pt x="31" y="329"/>
                  </a:lnTo>
                  <a:lnTo>
                    <a:pt x="23" y="352"/>
                  </a:lnTo>
                  <a:lnTo>
                    <a:pt x="16" y="376"/>
                  </a:lnTo>
                  <a:lnTo>
                    <a:pt x="10" y="400"/>
                  </a:lnTo>
                  <a:lnTo>
                    <a:pt x="6" y="426"/>
                  </a:lnTo>
                  <a:lnTo>
                    <a:pt x="3" y="451"/>
                  </a:lnTo>
                  <a:lnTo>
                    <a:pt x="1" y="476"/>
                  </a:lnTo>
                  <a:lnTo>
                    <a:pt x="0" y="502"/>
                  </a:lnTo>
                  <a:lnTo>
                    <a:pt x="1" y="528"/>
                  </a:lnTo>
                  <a:lnTo>
                    <a:pt x="3" y="553"/>
                  </a:lnTo>
                  <a:lnTo>
                    <a:pt x="6" y="578"/>
                  </a:lnTo>
                  <a:lnTo>
                    <a:pt x="10" y="603"/>
                  </a:lnTo>
                  <a:lnTo>
                    <a:pt x="16" y="627"/>
                  </a:lnTo>
                  <a:lnTo>
                    <a:pt x="23" y="651"/>
                  </a:lnTo>
                  <a:lnTo>
                    <a:pt x="31" y="674"/>
                  </a:lnTo>
                  <a:lnTo>
                    <a:pt x="40" y="698"/>
                  </a:lnTo>
                  <a:lnTo>
                    <a:pt x="50" y="720"/>
                  </a:lnTo>
                  <a:lnTo>
                    <a:pt x="61" y="741"/>
                  </a:lnTo>
                  <a:lnTo>
                    <a:pt x="73" y="762"/>
                  </a:lnTo>
                  <a:lnTo>
                    <a:pt x="86" y="782"/>
                  </a:lnTo>
                  <a:lnTo>
                    <a:pt x="100" y="802"/>
                  </a:lnTo>
                  <a:lnTo>
                    <a:pt x="114" y="821"/>
                  </a:lnTo>
                  <a:lnTo>
                    <a:pt x="130" y="839"/>
                  </a:lnTo>
                  <a:lnTo>
                    <a:pt x="147" y="856"/>
                  </a:lnTo>
                  <a:lnTo>
                    <a:pt x="164" y="873"/>
                  </a:lnTo>
                  <a:lnTo>
                    <a:pt x="182" y="889"/>
                  </a:lnTo>
                  <a:lnTo>
                    <a:pt x="202" y="904"/>
                  </a:lnTo>
                  <a:lnTo>
                    <a:pt x="221" y="917"/>
                  </a:lnTo>
                  <a:lnTo>
                    <a:pt x="242" y="930"/>
                  </a:lnTo>
                  <a:lnTo>
                    <a:pt x="262" y="942"/>
                  </a:lnTo>
                  <a:lnTo>
                    <a:pt x="284" y="955"/>
                  </a:lnTo>
                  <a:lnTo>
                    <a:pt x="306" y="965"/>
                  </a:lnTo>
                  <a:lnTo>
                    <a:pt x="329" y="974"/>
                  </a:lnTo>
                  <a:lnTo>
                    <a:pt x="352" y="981"/>
                  </a:lnTo>
                  <a:lnTo>
                    <a:pt x="376" y="988"/>
                  </a:lnTo>
                  <a:lnTo>
                    <a:pt x="400" y="994"/>
                  </a:lnTo>
                  <a:lnTo>
                    <a:pt x="424" y="998"/>
                  </a:lnTo>
                  <a:lnTo>
                    <a:pt x="449" y="1001"/>
                  </a:lnTo>
                  <a:lnTo>
                    <a:pt x="476" y="1003"/>
                  </a:lnTo>
                  <a:lnTo>
                    <a:pt x="501" y="10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1" name="íṧľîḓê">
              <a:extLst>
                <a:ext uri="{FF2B5EF4-FFF2-40B4-BE49-F238E27FC236}">
                  <a16:creationId xmlns:a16="http://schemas.microsoft.com/office/drawing/2014/main" id="{413E0841-3454-4B85-AE12-EEDF3930D995}"/>
                </a:ext>
              </a:extLst>
            </p:cNvPr>
            <p:cNvSpPr/>
            <p:nvPr/>
          </p:nvSpPr>
          <p:spPr bwMode="auto">
            <a:xfrm>
              <a:off x="3282560" y="1000844"/>
              <a:ext cx="415238" cy="402829"/>
            </a:xfrm>
            <a:custGeom>
              <a:avLst/>
              <a:gdLst>
                <a:gd name="T0" fmla="*/ 11715 w 16095"/>
                <a:gd name="T1" fmla="*/ 9432 h 15614"/>
                <a:gd name="T2" fmla="*/ 11598 w 16095"/>
                <a:gd name="T3" fmla="*/ 9669 h 15614"/>
                <a:gd name="T4" fmla="*/ 11540 w 16095"/>
                <a:gd name="T5" fmla="*/ 9924 h 15614"/>
                <a:gd name="T6" fmla="*/ 11544 w 16095"/>
                <a:gd name="T7" fmla="*/ 10189 h 15614"/>
                <a:gd name="T8" fmla="*/ 8441 w 16095"/>
                <a:gd name="T9" fmla="*/ 12438 h 15614"/>
                <a:gd name="T10" fmla="*/ 8156 w 16095"/>
                <a:gd name="T11" fmla="*/ 12375 h 15614"/>
                <a:gd name="T12" fmla="*/ 7866 w 16095"/>
                <a:gd name="T13" fmla="*/ 12384 h 15614"/>
                <a:gd name="T14" fmla="*/ 7586 w 16095"/>
                <a:gd name="T15" fmla="*/ 12464 h 15614"/>
                <a:gd name="T16" fmla="*/ 4558 w 16095"/>
                <a:gd name="T17" fmla="*/ 10123 h 15614"/>
                <a:gd name="T18" fmla="*/ 4547 w 16095"/>
                <a:gd name="T19" fmla="*/ 9859 h 15614"/>
                <a:gd name="T20" fmla="*/ 4473 w 16095"/>
                <a:gd name="T21" fmla="*/ 9607 h 15614"/>
                <a:gd name="T22" fmla="*/ 4342 w 16095"/>
                <a:gd name="T23" fmla="*/ 9376 h 15614"/>
                <a:gd name="T24" fmla="*/ 5386 w 16095"/>
                <a:gd name="T25" fmla="*/ 5551 h 15614"/>
                <a:gd name="T26" fmla="*/ 5658 w 16095"/>
                <a:gd name="T27" fmla="*/ 5467 h 15614"/>
                <a:gd name="T28" fmla="*/ 5899 w 16095"/>
                <a:gd name="T29" fmla="*/ 5323 h 15614"/>
                <a:gd name="T30" fmla="*/ 6097 w 16095"/>
                <a:gd name="T31" fmla="*/ 5126 h 15614"/>
                <a:gd name="T32" fmla="*/ 8048 w 16095"/>
                <a:gd name="T33" fmla="*/ 1134 h 15614"/>
                <a:gd name="T34" fmla="*/ 9998 w 16095"/>
                <a:gd name="T35" fmla="*/ 5126 h 15614"/>
                <a:gd name="T36" fmla="*/ 10196 w 16095"/>
                <a:gd name="T37" fmla="*/ 5323 h 15614"/>
                <a:gd name="T38" fmla="*/ 10437 w 16095"/>
                <a:gd name="T39" fmla="*/ 5467 h 15614"/>
                <a:gd name="T40" fmla="*/ 10708 w 16095"/>
                <a:gd name="T41" fmla="*/ 5551 h 15614"/>
                <a:gd name="T42" fmla="*/ 15973 w 16095"/>
                <a:gd name="T43" fmla="*/ 5675 h 15614"/>
                <a:gd name="T44" fmla="*/ 15794 w 16095"/>
                <a:gd name="T45" fmla="*/ 5421 h 15614"/>
                <a:gd name="T46" fmla="*/ 15554 w 16095"/>
                <a:gd name="T47" fmla="*/ 5223 h 15614"/>
                <a:gd name="T48" fmla="*/ 15266 w 16095"/>
                <a:gd name="T49" fmla="*/ 5094 h 15614"/>
                <a:gd name="T50" fmla="*/ 9061 w 16095"/>
                <a:gd name="T51" fmla="*/ 579 h 15614"/>
                <a:gd name="T52" fmla="*/ 8861 w 16095"/>
                <a:gd name="T53" fmla="*/ 324 h 15614"/>
                <a:gd name="T54" fmla="*/ 8601 w 16095"/>
                <a:gd name="T55" fmla="*/ 137 h 15614"/>
                <a:gd name="T56" fmla="*/ 8296 w 16095"/>
                <a:gd name="T57" fmla="*/ 26 h 15614"/>
                <a:gd name="T58" fmla="*/ 7963 w 16095"/>
                <a:gd name="T59" fmla="*/ 3 h 15614"/>
                <a:gd name="T60" fmla="*/ 7642 w 16095"/>
                <a:gd name="T61" fmla="*/ 72 h 15614"/>
                <a:gd name="T62" fmla="*/ 7357 w 16095"/>
                <a:gd name="T63" fmla="*/ 222 h 15614"/>
                <a:gd name="T64" fmla="*/ 7125 w 16095"/>
                <a:gd name="T65" fmla="*/ 444 h 15614"/>
                <a:gd name="T66" fmla="*/ 987 w 16095"/>
                <a:gd name="T67" fmla="*/ 5060 h 15614"/>
                <a:gd name="T68" fmla="*/ 680 w 16095"/>
                <a:gd name="T69" fmla="*/ 5150 h 15614"/>
                <a:gd name="T70" fmla="*/ 414 w 16095"/>
                <a:gd name="T71" fmla="*/ 5314 h 15614"/>
                <a:gd name="T72" fmla="*/ 203 w 16095"/>
                <a:gd name="T73" fmla="*/ 5541 h 15614"/>
                <a:gd name="T74" fmla="*/ 60 w 16095"/>
                <a:gd name="T75" fmla="*/ 5820 h 15614"/>
                <a:gd name="T76" fmla="*/ 1 w 16095"/>
                <a:gd name="T77" fmla="*/ 6128 h 15614"/>
                <a:gd name="T78" fmla="*/ 29 w 16095"/>
                <a:gd name="T79" fmla="*/ 6434 h 15614"/>
                <a:gd name="T80" fmla="*/ 141 w 16095"/>
                <a:gd name="T81" fmla="*/ 6721 h 15614"/>
                <a:gd name="T82" fmla="*/ 330 w 16095"/>
                <a:gd name="T83" fmla="*/ 6972 h 15614"/>
                <a:gd name="T84" fmla="*/ 2674 w 16095"/>
                <a:gd name="T85" fmla="*/ 14537 h 15614"/>
                <a:gd name="T86" fmla="*/ 2734 w 16095"/>
                <a:gd name="T87" fmla="*/ 14845 h 15614"/>
                <a:gd name="T88" fmla="*/ 2878 w 16095"/>
                <a:gd name="T89" fmla="*/ 15124 h 15614"/>
                <a:gd name="T90" fmla="*/ 3098 w 16095"/>
                <a:gd name="T91" fmla="*/ 15358 h 15614"/>
                <a:gd name="T92" fmla="*/ 3402 w 16095"/>
                <a:gd name="T93" fmla="*/ 15532 h 15614"/>
                <a:gd name="T94" fmla="*/ 3746 w 16095"/>
                <a:gd name="T95" fmla="*/ 15611 h 15614"/>
                <a:gd name="T96" fmla="*/ 4051 w 16095"/>
                <a:gd name="T97" fmla="*/ 15594 h 15614"/>
                <a:gd name="T98" fmla="*/ 4330 w 16095"/>
                <a:gd name="T99" fmla="*/ 15505 h 15614"/>
                <a:gd name="T100" fmla="*/ 11834 w 16095"/>
                <a:gd name="T101" fmla="*/ 15534 h 15614"/>
                <a:gd name="T102" fmla="*/ 12117 w 16095"/>
                <a:gd name="T103" fmla="*/ 15605 h 15614"/>
                <a:gd name="T104" fmla="*/ 12436 w 16095"/>
                <a:gd name="T105" fmla="*/ 15601 h 15614"/>
                <a:gd name="T106" fmla="*/ 12774 w 16095"/>
                <a:gd name="T107" fmla="*/ 15497 h 15614"/>
                <a:gd name="T108" fmla="*/ 13058 w 16095"/>
                <a:gd name="T109" fmla="*/ 15305 h 15614"/>
                <a:gd name="T110" fmla="*/ 13260 w 16095"/>
                <a:gd name="T111" fmla="*/ 15059 h 15614"/>
                <a:gd name="T112" fmla="*/ 13384 w 16095"/>
                <a:gd name="T113" fmla="*/ 14771 h 15614"/>
                <a:gd name="T114" fmla="*/ 13422 w 16095"/>
                <a:gd name="T115" fmla="*/ 14458 h 15614"/>
                <a:gd name="T116" fmla="*/ 15819 w 16095"/>
                <a:gd name="T117" fmla="*/ 6913 h 15614"/>
                <a:gd name="T118" fmla="*/ 15989 w 16095"/>
                <a:gd name="T119" fmla="*/ 6652 h 15614"/>
                <a:gd name="T120" fmla="*/ 16080 w 16095"/>
                <a:gd name="T121" fmla="*/ 6358 h 15614"/>
                <a:gd name="T122" fmla="*/ 16087 w 16095"/>
                <a:gd name="T123" fmla="*/ 6050 h 15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095" h="15614">
                  <a:moveTo>
                    <a:pt x="11864" y="9250"/>
                  </a:moveTo>
                  <a:lnTo>
                    <a:pt x="11840" y="9274"/>
                  </a:lnTo>
                  <a:lnTo>
                    <a:pt x="11817" y="9299"/>
                  </a:lnTo>
                  <a:lnTo>
                    <a:pt x="11796" y="9324"/>
                  </a:lnTo>
                  <a:lnTo>
                    <a:pt x="11773" y="9350"/>
                  </a:lnTo>
                  <a:lnTo>
                    <a:pt x="11753" y="9376"/>
                  </a:lnTo>
                  <a:lnTo>
                    <a:pt x="11734" y="9404"/>
                  </a:lnTo>
                  <a:lnTo>
                    <a:pt x="11715" y="9432"/>
                  </a:lnTo>
                  <a:lnTo>
                    <a:pt x="11698" y="9460"/>
                  </a:lnTo>
                  <a:lnTo>
                    <a:pt x="11681" y="9488"/>
                  </a:lnTo>
                  <a:lnTo>
                    <a:pt x="11665" y="9517"/>
                  </a:lnTo>
                  <a:lnTo>
                    <a:pt x="11650" y="9547"/>
                  </a:lnTo>
                  <a:lnTo>
                    <a:pt x="11636" y="9577"/>
                  </a:lnTo>
                  <a:lnTo>
                    <a:pt x="11623" y="9607"/>
                  </a:lnTo>
                  <a:lnTo>
                    <a:pt x="11610" y="9637"/>
                  </a:lnTo>
                  <a:lnTo>
                    <a:pt x="11598" y="9669"/>
                  </a:lnTo>
                  <a:lnTo>
                    <a:pt x="11587" y="9700"/>
                  </a:lnTo>
                  <a:lnTo>
                    <a:pt x="11578" y="9731"/>
                  </a:lnTo>
                  <a:lnTo>
                    <a:pt x="11569" y="9762"/>
                  </a:lnTo>
                  <a:lnTo>
                    <a:pt x="11561" y="9795"/>
                  </a:lnTo>
                  <a:lnTo>
                    <a:pt x="11554" y="9827"/>
                  </a:lnTo>
                  <a:lnTo>
                    <a:pt x="11549" y="9859"/>
                  </a:lnTo>
                  <a:lnTo>
                    <a:pt x="11544" y="9891"/>
                  </a:lnTo>
                  <a:lnTo>
                    <a:pt x="11540" y="9924"/>
                  </a:lnTo>
                  <a:lnTo>
                    <a:pt x="11537" y="9958"/>
                  </a:lnTo>
                  <a:lnTo>
                    <a:pt x="11535" y="9990"/>
                  </a:lnTo>
                  <a:lnTo>
                    <a:pt x="11534" y="10023"/>
                  </a:lnTo>
                  <a:lnTo>
                    <a:pt x="11534" y="10056"/>
                  </a:lnTo>
                  <a:lnTo>
                    <a:pt x="11535" y="10090"/>
                  </a:lnTo>
                  <a:lnTo>
                    <a:pt x="11537" y="10123"/>
                  </a:lnTo>
                  <a:lnTo>
                    <a:pt x="11540" y="10156"/>
                  </a:lnTo>
                  <a:lnTo>
                    <a:pt x="11544" y="10189"/>
                  </a:lnTo>
                  <a:lnTo>
                    <a:pt x="11549" y="10223"/>
                  </a:lnTo>
                  <a:lnTo>
                    <a:pt x="12260" y="14481"/>
                  </a:lnTo>
                  <a:lnTo>
                    <a:pt x="8610" y="12512"/>
                  </a:lnTo>
                  <a:lnTo>
                    <a:pt x="8577" y="12495"/>
                  </a:lnTo>
                  <a:lnTo>
                    <a:pt x="8543" y="12479"/>
                  </a:lnTo>
                  <a:lnTo>
                    <a:pt x="8509" y="12464"/>
                  </a:lnTo>
                  <a:lnTo>
                    <a:pt x="8475" y="12450"/>
                  </a:lnTo>
                  <a:lnTo>
                    <a:pt x="8441" y="12438"/>
                  </a:lnTo>
                  <a:lnTo>
                    <a:pt x="8406" y="12426"/>
                  </a:lnTo>
                  <a:lnTo>
                    <a:pt x="8370" y="12416"/>
                  </a:lnTo>
                  <a:lnTo>
                    <a:pt x="8335" y="12406"/>
                  </a:lnTo>
                  <a:lnTo>
                    <a:pt x="8300" y="12398"/>
                  </a:lnTo>
                  <a:lnTo>
                    <a:pt x="8264" y="12390"/>
                  </a:lnTo>
                  <a:lnTo>
                    <a:pt x="8229" y="12384"/>
                  </a:lnTo>
                  <a:lnTo>
                    <a:pt x="8192" y="12379"/>
                  </a:lnTo>
                  <a:lnTo>
                    <a:pt x="8156" y="12375"/>
                  </a:lnTo>
                  <a:lnTo>
                    <a:pt x="8120" y="12372"/>
                  </a:lnTo>
                  <a:lnTo>
                    <a:pt x="8084" y="12371"/>
                  </a:lnTo>
                  <a:lnTo>
                    <a:pt x="8048" y="12370"/>
                  </a:lnTo>
                  <a:lnTo>
                    <a:pt x="8011" y="12371"/>
                  </a:lnTo>
                  <a:lnTo>
                    <a:pt x="7975" y="12372"/>
                  </a:lnTo>
                  <a:lnTo>
                    <a:pt x="7939" y="12375"/>
                  </a:lnTo>
                  <a:lnTo>
                    <a:pt x="7903" y="12379"/>
                  </a:lnTo>
                  <a:lnTo>
                    <a:pt x="7866" y="12384"/>
                  </a:lnTo>
                  <a:lnTo>
                    <a:pt x="7831" y="12390"/>
                  </a:lnTo>
                  <a:lnTo>
                    <a:pt x="7795" y="12398"/>
                  </a:lnTo>
                  <a:lnTo>
                    <a:pt x="7760" y="12406"/>
                  </a:lnTo>
                  <a:lnTo>
                    <a:pt x="7725" y="12416"/>
                  </a:lnTo>
                  <a:lnTo>
                    <a:pt x="7689" y="12426"/>
                  </a:lnTo>
                  <a:lnTo>
                    <a:pt x="7655" y="12438"/>
                  </a:lnTo>
                  <a:lnTo>
                    <a:pt x="7620" y="12450"/>
                  </a:lnTo>
                  <a:lnTo>
                    <a:pt x="7586" y="12464"/>
                  </a:lnTo>
                  <a:lnTo>
                    <a:pt x="7553" y="12479"/>
                  </a:lnTo>
                  <a:lnTo>
                    <a:pt x="7518" y="12495"/>
                  </a:lnTo>
                  <a:lnTo>
                    <a:pt x="7485" y="12512"/>
                  </a:lnTo>
                  <a:lnTo>
                    <a:pt x="3834" y="14481"/>
                  </a:lnTo>
                  <a:lnTo>
                    <a:pt x="4546" y="10223"/>
                  </a:lnTo>
                  <a:lnTo>
                    <a:pt x="4551" y="10189"/>
                  </a:lnTo>
                  <a:lnTo>
                    <a:pt x="4555" y="10156"/>
                  </a:lnTo>
                  <a:lnTo>
                    <a:pt x="4558" y="10123"/>
                  </a:lnTo>
                  <a:lnTo>
                    <a:pt x="4560" y="10090"/>
                  </a:lnTo>
                  <a:lnTo>
                    <a:pt x="4561" y="10056"/>
                  </a:lnTo>
                  <a:lnTo>
                    <a:pt x="4561" y="10023"/>
                  </a:lnTo>
                  <a:lnTo>
                    <a:pt x="4560" y="9990"/>
                  </a:lnTo>
                  <a:lnTo>
                    <a:pt x="4558" y="9958"/>
                  </a:lnTo>
                  <a:lnTo>
                    <a:pt x="4555" y="9924"/>
                  </a:lnTo>
                  <a:lnTo>
                    <a:pt x="4551" y="9891"/>
                  </a:lnTo>
                  <a:lnTo>
                    <a:pt x="4547" y="9859"/>
                  </a:lnTo>
                  <a:lnTo>
                    <a:pt x="4541" y="9827"/>
                  </a:lnTo>
                  <a:lnTo>
                    <a:pt x="4534" y="9795"/>
                  </a:lnTo>
                  <a:lnTo>
                    <a:pt x="4526" y="9762"/>
                  </a:lnTo>
                  <a:lnTo>
                    <a:pt x="4518" y="9731"/>
                  </a:lnTo>
                  <a:lnTo>
                    <a:pt x="4508" y="9700"/>
                  </a:lnTo>
                  <a:lnTo>
                    <a:pt x="4497" y="9669"/>
                  </a:lnTo>
                  <a:lnTo>
                    <a:pt x="4485" y="9637"/>
                  </a:lnTo>
                  <a:lnTo>
                    <a:pt x="4473" y="9607"/>
                  </a:lnTo>
                  <a:lnTo>
                    <a:pt x="4459" y="9577"/>
                  </a:lnTo>
                  <a:lnTo>
                    <a:pt x="4445" y="9547"/>
                  </a:lnTo>
                  <a:lnTo>
                    <a:pt x="4430" y="9517"/>
                  </a:lnTo>
                  <a:lnTo>
                    <a:pt x="4414" y="9488"/>
                  </a:lnTo>
                  <a:lnTo>
                    <a:pt x="4398" y="9460"/>
                  </a:lnTo>
                  <a:lnTo>
                    <a:pt x="4380" y="9432"/>
                  </a:lnTo>
                  <a:lnTo>
                    <a:pt x="4361" y="9404"/>
                  </a:lnTo>
                  <a:lnTo>
                    <a:pt x="4342" y="9376"/>
                  </a:lnTo>
                  <a:lnTo>
                    <a:pt x="4322" y="9350"/>
                  </a:lnTo>
                  <a:lnTo>
                    <a:pt x="4300" y="9324"/>
                  </a:lnTo>
                  <a:lnTo>
                    <a:pt x="4278" y="9299"/>
                  </a:lnTo>
                  <a:lnTo>
                    <a:pt x="4255" y="9274"/>
                  </a:lnTo>
                  <a:lnTo>
                    <a:pt x="4231" y="9250"/>
                  </a:lnTo>
                  <a:lnTo>
                    <a:pt x="1163" y="6180"/>
                  </a:lnTo>
                  <a:lnTo>
                    <a:pt x="5351" y="5557"/>
                  </a:lnTo>
                  <a:lnTo>
                    <a:pt x="5386" y="5551"/>
                  </a:lnTo>
                  <a:lnTo>
                    <a:pt x="5422" y="5543"/>
                  </a:lnTo>
                  <a:lnTo>
                    <a:pt x="5456" y="5535"/>
                  </a:lnTo>
                  <a:lnTo>
                    <a:pt x="5491" y="5526"/>
                  </a:lnTo>
                  <a:lnTo>
                    <a:pt x="5526" y="5516"/>
                  </a:lnTo>
                  <a:lnTo>
                    <a:pt x="5560" y="5505"/>
                  </a:lnTo>
                  <a:lnTo>
                    <a:pt x="5593" y="5493"/>
                  </a:lnTo>
                  <a:lnTo>
                    <a:pt x="5626" y="5480"/>
                  </a:lnTo>
                  <a:lnTo>
                    <a:pt x="5658" y="5467"/>
                  </a:lnTo>
                  <a:lnTo>
                    <a:pt x="5691" y="5452"/>
                  </a:lnTo>
                  <a:lnTo>
                    <a:pt x="5722" y="5436"/>
                  </a:lnTo>
                  <a:lnTo>
                    <a:pt x="5753" y="5420"/>
                  </a:lnTo>
                  <a:lnTo>
                    <a:pt x="5783" y="5401"/>
                  </a:lnTo>
                  <a:lnTo>
                    <a:pt x="5813" y="5383"/>
                  </a:lnTo>
                  <a:lnTo>
                    <a:pt x="5842" y="5364"/>
                  </a:lnTo>
                  <a:lnTo>
                    <a:pt x="5871" y="5344"/>
                  </a:lnTo>
                  <a:lnTo>
                    <a:pt x="5899" y="5323"/>
                  </a:lnTo>
                  <a:lnTo>
                    <a:pt x="5926" y="5301"/>
                  </a:lnTo>
                  <a:lnTo>
                    <a:pt x="5952" y="5279"/>
                  </a:lnTo>
                  <a:lnTo>
                    <a:pt x="5978" y="5254"/>
                  </a:lnTo>
                  <a:lnTo>
                    <a:pt x="6003" y="5230"/>
                  </a:lnTo>
                  <a:lnTo>
                    <a:pt x="6028" y="5206"/>
                  </a:lnTo>
                  <a:lnTo>
                    <a:pt x="6052" y="5180"/>
                  </a:lnTo>
                  <a:lnTo>
                    <a:pt x="6075" y="5154"/>
                  </a:lnTo>
                  <a:lnTo>
                    <a:pt x="6097" y="5126"/>
                  </a:lnTo>
                  <a:lnTo>
                    <a:pt x="6118" y="5098"/>
                  </a:lnTo>
                  <a:lnTo>
                    <a:pt x="6138" y="5070"/>
                  </a:lnTo>
                  <a:lnTo>
                    <a:pt x="6158" y="5041"/>
                  </a:lnTo>
                  <a:lnTo>
                    <a:pt x="6176" y="5011"/>
                  </a:lnTo>
                  <a:lnTo>
                    <a:pt x="6195" y="4980"/>
                  </a:lnTo>
                  <a:lnTo>
                    <a:pt x="6212" y="4949"/>
                  </a:lnTo>
                  <a:lnTo>
                    <a:pt x="6227" y="4918"/>
                  </a:lnTo>
                  <a:lnTo>
                    <a:pt x="8048" y="1134"/>
                  </a:lnTo>
                  <a:lnTo>
                    <a:pt x="9868" y="4918"/>
                  </a:lnTo>
                  <a:lnTo>
                    <a:pt x="9884" y="4949"/>
                  </a:lnTo>
                  <a:lnTo>
                    <a:pt x="9900" y="4980"/>
                  </a:lnTo>
                  <a:lnTo>
                    <a:pt x="9919" y="5011"/>
                  </a:lnTo>
                  <a:lnTo>
                    <a:pt x="9938" y="5041"/>
                  </a:lnTo>
                  <a:lnTo>
                    <a:pt x="9957" y="5070"/>
                  </a:lnTo>
                  <a:lnTo>
                    <a:pt x="9977" y="5098"/>
                  </a:lnTo>
                  <a:lnTo>
                    <a:pt x="9998" y="5126"/>
                  </a:lnTo>
                  <a:lnTo>
                    <a:pt x="10020" y="5154"/>
                  </a:lnTo>
                  <a:lnTo>
                    <a:pt x="10043" y="5180"/>
                  </a:lnTo>
                  <a:lnTo>
                    <a:pt x="10067" y="5206"/>
                  </a:lnTo>
                  <a:lnTo>
                    <a:pt x="10092" y="5230"/>
                  </a:lnTo>
                  <a:lnTo>
                    <a:pt x="10117" y="5254"/>
                  </a:lnTo>
                  <a:lnTo>
                    <a:pt x="10143" y="5279"/>
                  </a:lnTo>
                  <a:lnTo>
                    <a:pt x="10169" y="5301"/>
                  </a:lnTo>
                  <a:lnTo>
                    <a:pt x="10196" y="5323"/>
                  </a:lnTo>
                  <a:lnTo>
                    <a:pt x="10224" y="5344"/>
                  </a:lnTo>
                  <a:lnTo>
                    <a:pt x="10254" y="5364"/>
                  </a:lnTo>
                  <a:lnTo>
                    <a:pt x="10282" y="5383"/>
                  </a:lnTo>
                  <a:lnTo>
                    <a:pt x="10312" y="5401"/>
                  </a:lnTo>
                  <a:lnTo>
                    <a:pt x="10342" y="5420"/>
                  </a:lnTo>
                  <a:lnTo>
                    <a:pt x="10373" y="5436"/>
                  </a:lnTo>
                  <a:lnTo>
                    <a:pt x="10404" y="5452"/>
                  </a:lnTo>
                  <a:lnTo>
                    <a:pt x="10437" y="5467"/>
                  </a:lnTo>
                  <a:lnTo>
                    <a:pt x="10469" y="5480"/>
                  </a:lnTo>
                  <a:lnTo>
                    <a:pt x="10502" y="5493"/>
                  </a:lnTo>
                  <a:lnTo>
                    <a:pt x="10535" y="5505"/>
                  </a:lnTo>
                  <a:lnTo>
                    <a:pt x="10569" y="5516"/>
                  </a:lnTo>
                  <a:lnTo>
                    <a:pt x="10604" y="5526"/>
                  </a:lnTo>
                  <a:lnTo>
                    <a:pt x="10638" y="5535"/>
                  </a:lnTo>
                  <a:lnTo>
                    <a:pt x="10673" y="5543"/>
                  </a:lnTo>
                  <a:lnTo>
                    <a:pt x="10708" y="5551"/>
                  </a:lnTo>
                  <a:lnTo>
                    <a:pt x="10744" y="5557"/>
                  </a:lnTo>
                  <a:lnTo>
                    <a:pt x="14933" y="6180"/>
                  </a:lnTo>
                  <a:lnTo>
                    <a:pt x="11864" y="9250"/>
                  </a:lnTo>
                  <a:close/>
                  <a:moveTo>
                    <a:pt x="16035" y="5820"/>
                  </a:moveTo>
                  <a:lnTo>
                    <a:pt x="16022" y="5783"/>
                  </a:lnTo>
                  <a:lnTo>
                    <a:pt x="16006" y="5746"/>
                  </a:lnTo>
                  <a:lnTo>
                    <a:pt x="15990" y="5711"/>
                  </a:lnTo>
                  <a:lnTo>
                    <a:pt x="15973" y="5675"/>
                  </a:lnTo>
                  <a:lnTo>
                    <a:pt x="15954" y="5640"/>
                  </a:lnTo>
                  <a:lnTo>
                    <a:pt x="15935" y="5607"/>
                  </a:lnTo>
                  <a:lnTo>
                    <a:pt x="15914" y="5574"/>
                  </a:lnTo>
                  <a:lnTo>
                    <a:pt x="15892" y="5541"/>
                  </a:lnTo>
                  <a:lnTo>
                    <a:pt x="15869" y="5509"/>
                  </a:lnTo>
                  <a:lnTo>
                    <a:pt x="15846" y="5479"/>
                  </a:lnTo>
                  <a:lnTo>
                    <a:pt x="15820" y="5449"/>
                  </a:lnTo>
                  <a:lnTo>
                    <a:pt x="15794" y="5421"/>
                  </a:lnTo>
                  <a:lnTo>
                    <a:pt x="15767" y="5392"/>
                  </a:lnTo>
                  <a:lnTo>
                    <a:pt x="15739" y="5365"/>
                  </a:lnTo>
                  <a:lnTo>
                    <a:pt x="15711" y="5339"/>
                  </a:lnTo>
                  <a:lnTo>
                    <a:pt x="15681" y="5314"/>
                  </a:lnTo>
                  <a:lnTo>
                    <a:pt x="15650" y="5290"/>
                  </a:lnTo>
                  <a:lnTo>
                    <a:pt x="15619" y="5266"/>
                  </a:lnTo>
                  <a:lnTo>
                    <a:pt x="15587" y="5244"/>
                  </a:lnTo>
                  <a:lnTo>
                    <a:pt x="15554" y="5223"/>
                  </a:lnTo>
                  <a:lnTo>
                    <a:pt x="15521" y="5203"/>
                  </a:lnTo>
                  <a:lnTo>
                    <a:pt x="15485" y="5184"/>
                  </a:lnTo>
                  <a:lnTo>
                    <a:pt x="15450" y="5166"/>
                  </a:lnTo>
                  <a:lnTo>
                    <a:pt x="15415" y="5150"/>
                  </a:lnTo>
                  <a:lnTo>
                    <a:pt x="15379" y="5133"/>
                  </a:lnTo>
                  <a:lnTo>
                    <a:pt x="15342" y="5119"/>
                  </a:lnTo>
                  <a:lnTo>
                    <a:pt x="15304" y="5106"/>
                  </a:lnTo>
                  <a:lnTo>
                    <a:pt x="15266" y="5094"/>
                  </a:lnTo>
                  <a:lnTo>
                    <a:pt x="15227" y="5084"/>
                  </a:lnTo>
                  <a:lnTo>
                    <a:pt x="15188" y="5075"/>
                  </a:lnTo>
                  <a:lnTo>
                    <a:pt x="15148" y="5067"/>
                  </a:lnTo>
                  <a:lnTo>
                    <a:pt x="15108" y="5060"/>
                  </a:lnTo>
                  <a:lnTo>
                    <a:pt x="10920" y="4436"/>
                  </a:lnTo>
                  <a:lnTo>
                    <a:pt x="9100" y="652"/>
                  </a:lnTo>
                  <a:lnTo>
                    <a:pt x="9081" y="615"/>
                  </a:lnTo>
                  <a:lnTo>
                    <a:pt x="9061" y="579"/>
                  </a:lnTo>
                  <a:lnTo>
                    <a:pt x="9040" y="544"/>
                  </a:lnTo>
                  <a:lnTo>
                    <a:pt x="9018" y="510"/>
                  </a:lnTo>
                  <a:lnTo>
                    <a:pt x="8995" y="476"/>
                  </a:lnTo>
                  <a:lnTo>
                    <a:pt x="8970" y="444"/>
                  </a:lnTo>
                  <a:lnTo>
                    <a:pt x="8945" y="413"/>
                  </a:lnTo>
                  <a:lnTo>
                    <a:pt x="8918" y="383"/>
                  </a:lnTo>
                  <a:lnTo>
                    <a:pt x="8890" y="353"/>
                  </a:lnTo>
                  <a:lnTo>
                    <a:pt x="8861" y="324"/>
                  </a:lnTo>
                  <a:lnTo>
                    <a:pt x="8832" y="297"/>
                  </a:lnTo>
                  <a:lnTo>
                    <a:pt x="8802" y="271"/>
                  </a:lnTo>
                  <a:lnTo>
                    <a:pt x="8770" y="246"/>
                  </a:lnTo>
                  <a:lnTo>
                    <a:pt x="8738" y="222"/>
                  </a:lnTo>
                  <a:lnTo>
                    <a:pt x="8704" y="198"/>
                  </a:lnTo>
                  <a:lnTo>
                    <a:pt x="8671" y="177"/>
                  </a:lnTo>
                  <a:lnTo>
                    <a:pt x="8636" y="156"/>
                  </a:lnTo>
                  <a:lnTo>
                    <a:pt x="8601" y="137"/>
                  </a:lnTo>
                  <a:lnTo>
                    <a:pt x="8565" y="119"/>
                  </a:lnTo>
                  <a:lnTo>
                    <a:pt x="8528" y="102"/>
                  </a:lnTo>
                  <a:lnTo>
                    <a:pt x="8491" y="86"/>
                  </a:lnTo>
                  <a:lnTo>
                    <a:pt x="8453" y="72"/>
                  </a:lnTo>
                  <a:lnTo>
                    <a:pt x="8415" y="57"/>
                  </a:lnTo>
                  <a:lnTo>
                    <a:pt x="8375" y="46"/>
                  </a:lnTo>
                  <a:lnTo>
                    <a:pt x="8335" y="35"/>
                  </a:lnTo>
                  <a:lnTo>
                    <a:pt x="8296" y="26"/>
                  </a:lnTo>
                  <a:lnTo>
                    <a:pt x="8255" y="18"/>
                  </a:lnTo>
                  <a:lnTo>
                    <a:pt x="8214" y="12"/>
                  </a:lnTo>
                  <a:lnTo>
                    <a:pt x="8173" y="7"/>
                  </a:lnTo>
                  <a:lnTo>
                    <a:pt x="8131" y="3"/>
                  </a:lnTo>
                  <a:lnTo>
                    <a:pt x="8090" y="1"/>
                  </a:lnTo>
                  <a:lnTo>
                    <a:pt x="8048" y="0"/>
                  </a:lnTo>
                  <a:lnTo>
                    <a:pt x="8005" y="1"/>
                  </a:lnTo>
                  <a:lnTo>
                    <a:pt x="7963" y="3"/>
                  </a:lnTo>
                  <a:lnTo>
                    <a:pt x="7922" y="7"/>
                  </a:lnTo>
                  <a:lnTo>
                    <a:pt x="7881" y="12"/>
                  </a:lnTo>
                  <a:lnTo>
                    <a:pt x="7840" y="18"/>
                  </a:lnTo>
                  <a:lnTo>
                    <a:pt x="7799" y="26"/>
                  </a:lnTo>
                  <a:lnTo>
                    <a:pt x="7760" y="35"/>
                  </a:lnTo>
                  <a:lnTo>
                    <a:pt x="7720" y="46"/>
                  </a:lnTo>
                  <a:lnTo>
                    <a:pt x="7681" y="57"/>
                  </a:lnTo>
                  <a:lnTo>
                    <a:pt x="7642" y="72"/>
                  </a:lnTo>
                  <a:lnTo>
                    <a:pt x="7605" y="86"/>
                  </a:lnTo>
                  <a:lnTo>
                    <a:pt x="7567" y="102"/>
                  </a:lnTo>
                  <a:lnTo>
                    <a:pt x="7530" y="119"/>
                  </a:lnTo>
                  <a:lnTo>
                    <a:pt x="7494" y="137"/>
                  </a:lnTo>
                  <a:lnTo>
                    <a:pt x="7459" y="156"/>
                  </a:lnTo>
                  <a:lnTo>
                    <a:pt x="7424" y="177"/>
                  </a:lnTo>
                  <a:lnTo>
                    <a:pt x="7391" y="198"/>
                  </a:lnTo>
                  <a:lnTo>
                    <a:pt x="7357" y="222"/>
                  </a:lnTo>
                  <a:lnTo>
                    <a:pt x="7325" y="246"/>
                  </a:lnTo>
                  <a:lnTo>
                    <a:pt x="7293" y="271"/>
                  </a:lnTo>
                  <a:lnTo>
                    <a:pt x="7263" y="297"/>
                  </a:lnTo>
                  <a:lnTo>
                    <a:pt x="7234" y="324"/>
                  </a:lnTo>
                  <a:lnTo>
                    <a:pt x="7205" y="353"/>
                  </a:lnTo>
                  <a:lnTo>
                    <a:pt x="7177" y="383"/>
                  </a:lnTo>
                  <a:lnTo>
                    <a:pt x="7150" y="413"/>
                  </a:lnTo>
                  <a:lnTo>
                    <a:pt x="7125" y="444"/>
                  </a:lnTo>
                  <a:lnTo>
                    <a:pt x="7100" y="476"/>
                  </a:lnTo>
                  <a:lnTo>
                    <a:pt x="7077" y="510"/>
                  </a:lnTo>
                  <a:lnTo>
                    <a:pt x="7055" y="544"/>
                  </a:lnTo>
                  <a:lnTo>
                    <a:pt x="7034" y="579"/>
                  </a:lnTo>
                  <a:lnTo>
                    <a:pt x="7013" y="615"/>
                  </a:lnTo>
                  <a:lnTo>
                    <a:pt x="6995" y="652"/>
                  </a:lnTo>
                  <a:lnTo>
                    <a:pt x="5175" y="4436"/>
                  </a:lnTo>
                  <a:lnTo>
                    <a:pt x="987" y="5060"/>
                  </a:lnTo>
                  <a:lnTo>
                    <a:pt x="947" y="5067"/>
                  </a:lnTo>
                  <a:lnTo>
                    <a:pt x="907" y="5075"/>
                  </a:lnTo>
                  <a:lnTo>
                    <a:pt x="868" y="5084"/>
                  </a:lnTo>
                  <a:lnTo>
                    <a:pt x="829" y="5094"/>
                  </a:lnTo>
                  <a:lnTo>
                    <a:pt x="791" y="5106"/>
                  </a:lnTo>
                  <a:lnTo>
                    <a:pt x="753" y="5119"/>
                  </a:lnTo>
                  <a:lnTo>
                    <a:pt x="716" y="5133"/>
                  </a:lnTo>
                  <a:lnTo>
                    <a:pt x="680" y="5150"/>
                  </a:lnTo>
                  <a:lnTo>
                    <a:pt x="644" y="5166"/>
                  </a:lnTo>
                  <a:lnTo>
                    <a:pt x="610" y="5184"/>
                  </a:lnTo>
                  <a:lnTo>
                    <a:pt x="574" y="5203"/>
                  </a:lnTo>
                  <a:lnTo>
                    <a:pt x="541" y="5223"/>
                  </a:lnTo>
                  <a:lnTo>
                    <a:pt x="508" y="5244"/>
                  </a:lnTo>
                  <a:lnTo>
                    <a:pt x="476" y="5266"/>
                  </a:lnTo>
                  <a:lnTo>
                    <a:pt x="445" y="5290"/>
                  </a:lnTo>
                  <a:lnTo>
                    <a:pt x="414" y="5314"/>
                  </a:lnTo>
                  <a:lnTo>
                    <a:pt x="384" y="5339"/>
                  </a:lnTo>
                  <a:lnTo>
                    <a:pt x="356" y="5365"/>
                  </a:lnTo>
                  <a:lnTo>
                    <a:pt x="328" y="5392"/>
                  </a:lnTo>
                  <a:lnTo>
                    <a:pt x="301" y="5421"/>
                  </a:lnTo>
                  <a:lnTo>
                    <a:pt x="275" y="5449"/>
                  </a:lnTo>
                  <a:lnTo>
                    <a:pt x="250" y="5479"/>
                  </a:lnTo>
                  <a:lnTo>
                    <a:pt x="226" y="5509"/>
                  </a:lnTo>
                  <a:lnTo>
                    <a:pt x="203" y="5541"/>
                  </a:lnTo>
                  <a:lnTo>
                    <a:pt x="181" y="5574"/>
                  </a:lnTo>
                  <a:lnTo>
                    <a:pt x="160" y="5607"/>
                  </a:lnTo>
                  <a:lnTo>
                    <a:pt x="141" y="5640"/>
                  </a:lnTo>
                  <a:lnTo>
                    <a:pt x="122" y="5675"/>
                  </a:lnTo>
                  <a:lnTo>
                    <a:pt x="105" y="5711"/>
                  </a:lnTo>
                  <a:lnTo>
                    <a:pt x="89" y="5746"/>
                  </a:lnTo>
                  <a:lnTo>
                    <a:pt x="73" y="5783"/>
                  </a:lnTo>
                  <a:lnTo>
                    <a:pt x="60" y="5820"/>
                  </a:lnTo>
                  <a:lnTo>
                    <a:pt x="48" y="5859"/>
                  </a:lnTo>
                  <a:lnTo>
                    <a:pt x="37" y="5897"/>
                  </a:lnTo>
                  <a:lnTo>
                    <a:pt x="27" y="5935"/>
                  </a:lnTo>
                  <a:lnTo>
                    <a:pt x="20" y="5974"/>
                  </a:lnTo>
                  <a:lnTo>
                    <a:pt x="13" y="6012"/>
                  </a:lnTo>
                  <a:lnTo>
                    <a:pt x="8" y="6050"/>
                  </a:lnTo>
                  <a:lnTo>
                    <a:pt x="4" y="6089"/>
                  </a:lnTo>
                  <a:lnTo>
                    <a:pt x="1" y="6128"/>
                  </a:lnTo>
                  <a:lnTo>
                    <a:pt x="0" y="6167"/>
                  </a:lnTo>
                  <a:lnTo>
                    <a:pt x="0" y="6205"/>
                  </a:lnTo>
                  <a:lnTo>
                    <a:pt x="2" y="6244"/>
                  </a:lnTo>
                  <a:lnTo>
                    <a:pt x="5" y="6282"/>
                  </a:lnTo>
                  <a:lnTo>
                    <a:pt x="9" y="6320"/>
                  </a:lnTo>
                  <a:lnTo>
                    <a:pt x="14" y="6358"/>
                  </a:lnTo>
                  <a:lnTo>
                    <a:pt x="21" y="6396"/>
                  </a:lnTo>
                  <a:lnTo>
                    <a:pt x="29" y="6434"/>
                  </a:lnTo>
                  <a:lnTo>
                    <a:pt x="39" y="6471"/>
                  </a:lnTo>
                  <a:lnTo>
                    <a:pt x="49" y="6508"/>
                  </a:lnTo>
                  <a:lnTo>
                    <a:pt x="61" y="6545"/>
                  </a:lnTo>
                  <a:lnTo>
                    <a:pt x="74" y="6580"/>
                  </a:lnTo>
                  <a:lnTo>
                    <a:pt x="90" y="6616"/>
                  </a:lnTo>
                  <a:lnTo>
                    <a:pt x="106" y="6652"/>
                  </a:lnTo>
                  <a:lnTo>
                    <a:pt x="123" y="6687"/>
                  </a:lnTo>
                  <a:lnTo>
                    <a:pt x="141" y="6721"/>
                  </a:lnTo>
                  <a:lnTo>
                    <a:pt x="160" y="6754"/>
                  </a:lnTo>
                  <a:lnTo>
                    <a:pt x="181" y="6788"/>
                  </a:lnTo>
                  <a:lnTo>
                    <a:pt x="203" y="6820"/>
                  </a:lnTo>
                  <a:lnTo>
                    <a:pt x="225" y="6852"/>
                  </a:lnTo>
                  <a:lnTo>
                    <a:pt x="250" y="6883"/>
                  </a:lnTo>
                  <a:lnTo>
                    <a:pt x="276" y="6913"/>
                  </a:lnTo>
                  <a:lnTo>
                    <a:pt x="303" y="6943"/>
                  </a:lnTo>
                  <a:lnTo>
                    <a:pt x="330" y="6972"/>
                  </a:lnTo>
                  <a:lnTo>
                    <a:pt x="3399" y="10040"/>
                  </a:lnTo>
                  <a:lnTo>
                    <a:pt x="2688" y="14297"/>
                  </a:lnTo>
                  <a:lnTo>
                    <a:pt x="2682" y="14337"/>
                  </a:lnTo>
                  <a:lnTo>
                    <a:pt x="2677" y="14377"/>
                  </a:lnTo>
                  <a:lnTo>
                    <a:pt x="2674" y="14417"/>
                  </a:lnTo>
                  <a:lnTo>
                    <a:pt x="2673" y="14458"/>
                  </a:lnTo>
                  <a:lnTo>
                    <a:pt x="2673" y="14497"/>
                  </a:lnTo>
                  <a:lnTo>
                    <a:pt x="2674" y="14537"/>
                  </a:lnTo>
                  <a:lnTo>
                    <a:pt x="2677" y="14576"/>
                  </a:lnTo>
                  <a:lnTo>
                    <a:pt x="2681" y="14616"/>
                  </a:lnTo>
                  <a:lnTo>
                    <a:pt x="2686" y="14655"/>
                  </a:lnTo>
                  <a:lnTo>
                    <a:pt x="2693" y="14694"/>
                  </a:lnTo>
                  <a:lnTo>
                    <a:pt x="2701" y="14733"/>
                  </a:lnTo>
                  <a:lnTo>
                    <a:pt x="2711" y="14771"/>
                  </a:lnTo>
                  <a:lnTo>
                    <a:pt x="2722" y="14808"/>
                  </a:lnTo>
                  <a:lnTo>
                    <a:pt x="2734" y="14845"/>
                  </a:lnTo>
                  <a:lnTo>
                    <a:pt x="2747" y="14883"/>
                  </a:lnTo>
                  <a:lnTo>
                    <a:pt x="2762" y="14919"/>
                  </a:lnTo>
                  <a:lnTo>
                    <a:pt x="2778" y="14954"/>
                  </a:lnTo>
                  <a:lnTo>
                    <a:pt x="2797" y="14989"/>
                  </a:lnTo>
                  <a:lnTo>
                    <a:pt x="2815" y="15025"/>
                  </a:lnTo>
                  <a:lnTo>
                    <a:pt x="2835" y="15059"/>
                  </a:lnTo>
                  <a:lnTo>
                    <a:pt x="2856" y="15092"/>
                  </a:lnTo>
                  <a:lnTo>
                    <a:pt x="2878" y="15124"/>
                  </a:lnTo>
                  <a:lnTo>
                    <a:pt x="2902" y="15157"/>
                  </a:lnTo>
                  <a:lnTo>
                    <a:pt x="2926" y="15188"/>
                  </a:lnTo>
                  <a:lnTo>
                    <a:pt x="2952" y="15218"/>
                  </a:lnTo>
                  <a:lnTo>
                    <a:pt x="2980" y="15248"/>
                  </a:lnTo>
                  <a:lnTo>
                    <a:pt x="3008" y="15277"/>
                  </a:lnTo>
                  <a:lnTo>
                    <a:pt x="3037" y="15305"/>
                  </a:lnTo>
                  <a:lnTo>
                    <a:pt x="3067" y="15332"/>
                  </a:lnTo>
                  <a:lnTo>
                    <a:pt x="3098" y="15358"/>
                  </a:lnTo>
                  <a:lnTo>
                    <a:pt x="3131" y="15383"/>
                  </a:lnTo>
                  <a:lnTo>
                    <a:pt x="3165" y="15407"/>
                  </a:lnTo>
                  <a:lnTo>
                    <a:pt x="3203" y="15432"/>
                  </a:lnTo>
                  <a:lnTo>
                    <a:pt x="3241" y="15455"/>
                  </a:lnTo>
                  <a:lnTo>
                    <a:pt x="3280" y="15477"/>
                  </a:lnTo>
                  <a:lnTo>
                    <a:pt x="3321" y="15497"/>
                  </a:lnTo>
                  <a:lnTo>
                    <a:pt x="3361" y="15515"/>
                  </a:lnTo>
                  <a:lnTo>
                    <a:pt x="3402" y="15532"/>
                  </a:lnTo>
                  <a:lnTo>
                    <a:pt x="3444" y="15549"/>
                  </a:lnTo>
                  <a:lnTo>
                    <a:pt x="3487" y="15562"/>
                  </a:lnTo>
                  <a:lnTo>
                    <a:pt x="3529" y="15574"/>
                  </a:lnTo>
                  <a:lnTo>
                    <a:pt x="3572" y="15585"/>
                  </a:lnTo>
                  <a:lnTo>
                    <a:pt x="3615" y="15594"/>
                  </a:lnTo>
                  <a:lnTo>
                    <a:pt x="3659" y="15601"/>
                  </a:lnTo>
                  <a:lnTo>
                    <a:pt x="3702" y="15607"/>
                  </a:lnTo>
                  <a:lnTo>
                    <a:pt x="3746" y="15611"/>
                  </a:lnTo>
                  <a:lnTo>
                    <a:pt x="3790" y="15613"/>
                  </a:lnTo>
                  <a:lnTo>
                    <a:pt x="3834" y="15614"/>
                  </a:lnTo>
                  <a:lnTo>
                    <a:pt x="3870" y="15613"/>
                  </a:lnTo>
                  <a:lnTo>
                    <a:pt x="3906" y="15612"/>
                  </a:lnTo>
                  <a:lnTo>
                    <a:pt x="3942" y="15609"/>
                  </a:lnTo>
                  <a:lnTo>
                    <a:pt x="3978" y="15605"/>
                  </a:lnTo>
                  <a:lnTo>
                    <a:pt x="4015" y="15600"/>
                  </a:lnTo>
                  <a:lnTo>
                    <a:pt x="4051" y="15594"/>
                  </a:lnTo>
                  <a:lnTo>
                    <a:pt x="4086" y="15587"/>
                  </a:lnTo>
                  <a:lnTo>
                    <a:pt x="4121" y="15579"/>
                  </a:lnTo>
                  <a:lnTo>
                    <a:pt x="4158" y="15570"/>
                  </a:lnTo>
                  <a:lnTo>
                    <a:pt x="4192" y="15559"/>
                  </a:lnTo>
                  <a:lnTo>
                    <a:pt x="4227" y="15548"/>
                  </a:lnTo>
                  <a:lnTo>
                    <a:pt x="4261" y="15534"/>
                  </a:lnTo>
                  <a:lnTo>
                    <a:pt x="4295" y="15520"/>
                  </a:lnTo>
                  <a:lnTo>
                    <a:pt x="4330" y="15505"/>
                  </a:lnTo>
                  <a:lnTo>
                    <a:pt x="4363" y="15490"/>
                  </a:lnTo>
                  <a:lnTo>
                    <a:pt x="4396" y="15473"/>
                  </a:lnTo>
                  <a:lnTo>
                    <a:pt x="8048" y="13505"/>
                  </a:lnTo>
                  <a:lnTo>
                    <a:pt x="11699" y="15473"/>
                  </a:lnTo>
                  <a:lnTo>
                    <a:pt x="11732" y="15490"/>
                  </a:lnTo>
                  <a:lnTo>
                    <a:pt x="11765" y="15505"/>
                  </a:lnTo>
                  <a:lnTo>
                    <a:pt x="11800" y="15520"/>
                  </a:lnTo>
                  <a:lnTo>
                    <a:pt x="11834" y="15534"/>
                  </a:lnTo>
                  <a:lnTo>
                    <a:pt x="11868" y="15548"/>
                  </a:lnTo>
                  <a:lnTo>
                    <a:pt x="11903" y="15559"/>
                  </a:lnTo>
                  <a:lnTo>
                    <a:pt x="11938" y="15570"/>
                  </a:lnTo>
                  <a:lnTo>
                    <a:pt x="11974" y="15579"/>
                  </a:lnTo>
                  <a:lnTo>
                    <a:pt x="12009" y="15587"/>
                  </a:lnTo>
                  <a:lnTo>
                    <a:pt x="12044" y="15594"/>
                  </a:lnTo>
                  <a:lnTo>
                    <a:pt x="12080" y="15600"/>
                  </a:lnTo>
                  <a:lnTo>
                    <a:pt x="12117" y="15605"/>
                  </a:lnTo>
                  <a:lnTo>
                    <a:pt x="12153" y="15609"/>
                  </a:lnTo>
                  <a:lnTo>
                    <a:pt x="12189" y="15612"/>
                  </a:lnTo>
                  <a:lnTo>
                    <a:pt x="12224" y="15613"/>
                  </a:lnTo>
                  <a:lnTo>
                    <a:pt x="12260" y="15614"/>
                  </a:lnTo>
                  <a:lnTo>
                    <a:pt x="12305" y="15613"/>
                  </a:lnTo>
                  <a:lnTo>
                    <a:pt x="12349" y="15611"/>
                  </a:lnTo>
                  <a:lnTo>
                    <a:pt x="12393" y="15607"/>
                  </a:lnTo>
                  <a:lnTo>
                    <a:pt x="12436" y="15601"/>
                  </a:lnTo>
                  <a:lnTo>
                    <a:pt x="12480" y="15594"/>
                  </a:lnTo>
                  <a:lnTo>
                    <a:pt x="12523" y="15585"/>
                  </a:lnTo>
                  <a:lnTo>
                    <a:pt x="12566" y="15574"/>
                  </a:lnTo>
                  <a:lnTo>
                    <a:pt x="12608" y="15562"/>
                  </a:lnTo>
                  <a:lnTo>
                    <a:pt x="12651" y="15549"/>
                  </a:lnTo>
                  <a:lnTo>
                    <a:pt x="12693" y="15532"/>
                  </a:lnTo>
                  <a:lnTo>
                    <a:pt x="12734" y="15515"/>
                  </a:lnTo>
                  <a:lnTo>
                    <a:pt x="12774" y="15497"/>
                  </a:lnTo>
                  <a:lnTo>
                    <a:pt x="12815" y="15477"/>
                  </a:lnTo>
                  <a:lnTo>
                    <a:pt x="12854" y="15455"/>
                  </a:lnTo>
                  <a:lnTo>
                    <a:pt x="12893" y="15432"/>
                  </a:lnTo>
                  <a:lnTo>
                    <a:pt x="12930" y="15407"/>
                  </a:lnTo>
                  <a:lnTo>
                    <a:pt x="12965" y="15383"/>
                  </a:lnTo>
                  <a:lnTo>
                    <a:pt x="12997" y="15358"/>
                  </a:lnTo>
                  <a:lnTo>
                    <a:pt x="13028" y="15332"/>
                  </a:lnTo>
                  <a:lnTo>
                    <a:pt x="13058" y="15305"/>
                  </a:lnTo>
                  <a:lnTo>
                    <a:pt x="13087" y="15277"/>
                  </a:lnTo>
                  <a:lnTo>
                    <a:pt x="13115" y="15248"/>
                  </a:lnTo>
                  <a:lnTo>
                    <a:pt x="13143" y="15218"/>
                  </a:lnTo>
                  <a:lnTo>
                    <a:pt x="13169" y="15188"/>
                  </a:lnTo>
                  <a:lnTo>
                    <a:pt x="13194" y="15157"/>
                  </a:lnTo>
                  <a:lnTo>
                    <a:pt x="13217" y="15124"/>
                  </a:lnTo>
                  <a:lnTo>
                    <a:pt x="13239" y="15092"/>
                  </a:lnTo>
                  <a:lnTo>
                    <a:pt x="13260" y="15059"/>
                  </a:lnTo>
                  <a:lnTo>
                    <a:pt x="13280" y="15025"/>
                  </a:lnTo>
                  <a:lnTo>
                    <a:pt x="13298" y="14989"/>
                  </a:lnTo>
                  <a:lnTo>
                    <a:pt x="13317" y="14954"/>
                  </a:lnTo>
                  <a:lnTo>
                    <a:pt x="13333" y="14919"/>
                  </a:lnTo>
                  <a:lnTo>
                    <a:pt x="13347" y="14883"/>
                  </a:lnTo>
                  <a:lnTo>
                    <a:pt x="13361" y="14845"/>
                  </a:lnTo>
                  <a:lnTo>
                    <a:pt x="13373" y="14808"/>
                  </a:lnTo>
                  <a:lnTo>
                    <a:pt x="13384" y="14771"/>
                  </a:lnTo>
                  <a:lnTo>
                    <a:pt x="13394" y="14733"/>
                  </a:lnTo>
                  <a:lnTo>
                    <a:pt x="13402" y="14694"/>
                  </a:lnTo>
                  <a:lnTo>
                    <a:pt x="13409" y="14655"/>
                  </a:lnTo>
                  <a:lnTo>
                    <a:pt x="13414" y="14616"/>
                  </a:lnTo>
                  <a:lnTo>
                    <a:pt x="13418" y="14576"/>
                  </a:lnTo>
                  <a:lnTo>
                    <a:pt x="13421" y="14537"/>
                  </a:lnTo>
                  <a:lnTo>
                    <a:pt x="13422" y="14497"/>
                  </a:lnTo>
                  <a:lnTo>
                    <a:pt x="13422" y="14458"/>
                  </a:lnTo>
                  <a:lnTo>
                    <a:pt x="13421" y="14417"/>
                  </a:lnTo>
                  <a:lnTo>
                    <a:pt x="13418" y="14377"/>
                  </a:lnTo>
                  <a:lnTo>
                    <a:pt x="13413" y="14337"/>
                  </a:lnTo>
                  <a:lnTo>
                    <a:pt x="13407" y="14297"/>
                  </a:lnTo>
                  <a:lnTo>
                    <a:pt x="12695" y="10040"/>
                  </a:lnTo>
                  <a:lnTo>
                    <a:pt x="15765" y="6972"/>
                  </a:lnTo>
                  <a:lnTo>
                    <a:pt x="15793" y="6943"/>
                  </a:lnTo>
                  <a:lnTo>
                    <a:pt x="15819" y="6913"/>
                  </a:lnTo>
                  <a:lnTo>
                    <a:pt x="15845" y="6883"/>
                  </a:lnTo>
                  <a:lnTo>
                    <a:pt x="15870" y="6852"/>
                  </a:lnTo>
                  <a:lnTo>
                    <a:pt x="15893" y="6820"/>
                  </a:lnTo>
                  <a:lnTo>
                    <a:pt x="15914" y="6788"/>
                  </a:lnTo>
                  <a:lnTo>
                    <a:pt x="15935" y="6754"/>
                  </a:lnTo>
                  <a:lnTo>
                    <a:pt x="15954" y="6721"/>
                  </a:lnTo>
                  <a:lnTo>
                    <a:pt x="15973" y="6687"/>
                  </a:lnTo>
                  <a:lnTo>
                    <a:pt x="15989" y="6652"/>
                  </a:lnTo>
                  <a:lnTo>
                    <a:pt x="16005" y="6616"/>
                  </a:lnTo>
                  <a:lnTo>
                    <a:pt x="16021" y="6580"/>
                  </a:lnTo>
                  <a:lnTo>
                    <a:pt x="16034" y="6545"/>
                  </a:lnTo>
                  <a:lnTo>
                    <a:pt x="16046" y="6508"/>
                  </a:lnTo>
                  <a:lnTo>
                    <a:pt x="16056" y="6471"/>
                  </a:lnTo>
                  <a:lnTo>
                    <a:pt x="16066" y="6434"/>
                  </a:lnTo>
                  <a:lnTo>
                    <a:pt x="16074" y="6396"/>
                  </a:lnTo>
                  <a:lnTo>
                    <a:pt x="16080" y="6358"/>
                  </a:lnTo>
                  <a:lnTo>
                    <a:pt x="16086" y="6320"/>
                  </a:lnTo>
                  <a:lnTo>
                    <a:pt x="16090" y="6282"/>
                  </a:lnTo>
                  <a:lnTo>
                    <a:pt x="16093" y="6244"/>
                  </a:lnTo>
                  <a:lnTo>
                    <a:pt x="16095" y="6205"/>
                  </a:lnTo>
                  <a:lnTo>
                    <a:pt x="16095" y="6167"/>
                  </a:lnTo>
                  <a:lnTo>
                    <a:pt x="16094" y="6128"/>
                  </a:lnTo>
                  <a:lnTo>
                    <a:pt x="16091" y="6089"/>
                  </a:lnTo>
                  <a:lnTo>
                    <a:pt x="16087" y="6050"/>
                  </a:lnTo>
                  <a:lnTo>
                    <a:pt x="16082" y="6012"/>
                  </a:lnTo>
                  <a:lnTo>
                    <a:pt x="16075" y="5974"/>
                  </a:lnTo>
                  <a:lnTo>
                    <a:pt x="16067" y="5935"/>
                  </a:lnTo>
                  <a:lnTo>
                    <a:pt x="16058" y="5897"/>
                  </a:lnTo>
                  <a:lnTo>
                    <a:pt x="16047" y="5859"/>
                  </a:lnTo>
                  <a:lnTo>
                    <a:pt x="16035" y="58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2" name="ïṡļîḑè">
              <a:extLst>
                <a:ext uri="{FF2B5EF4-FFF2-40B4-BE49-F238E27FC236}">
                  <a16:creationId xmlns:a16="http://schemas.microsoft.com/office/drawing/2014/main" id="{F1081713-B62C-440D-9412-8CA3F6CA6DE9}"/>
                </a:ext>
              </a:extLst>
            </p:cNvPr>
            <p:cNvSpPr/>
            <p:nvPr/>
          </p:nvSpPr>
          <p:spPr bwMode="auto">
            <a:xfrm>
              <a:off x="707230" y="93508"/>
              <a:ext cx="318352" cy="257490"/>
            </a:xfrm>
            <a:custGeom>
              <a:avLst/>
              <a:gdLst>
                <a:gd name="T0" fmla="*/ 7283 w 10058"/>
                <a:gd name="T1" fmla="*/ 7525 h 8158"/>
                <a:gd name="T2" fmla="*/ 5279 w 10058"/>
                <a:gd name="T3" fmla="*/ 7654 h 8158"/>
                <a:gd name="T4" fmla="*/ 3276 w 10058"/>
                <a:gd name="T5" fmla="*/ 7576 h 8158"/>
                <a:gd name="T6" fmla="*/ 1272 w 10058"/>
                <a:gd name="T7" fmla="*/ 7293 h 8158"/>
                <a:gd name="T8" fmla="*/ 666 w 10058"/>
                <a:gd name="T9" fmla="*/ 5859 h 8158"/>
                <a:gd name="T10" fmla="*/ 503 w 10058"/>
                <a:gd name="T11" fmla="*/ 4276 h 8158"/>
                <a:gd name="T12" fmla="*/ 600 w 10058"/>
                <a:gd name="T13" fmla="*/ 2694 h 8158"/>
                <a:gd name="T14" fmla="*/ 959 w 10058"/>
                <a:gd name="T15" fmla="*/ 1111 h 8158"/>
                <a:gd name="T16" fmla="*/ 2775 w 10058"/>
                <a:gd name="T17" fmla="*/ 632 h 8158"/>
                <a:gd name="T18" fmla="*/ 4779 w 10058"/>
                <a:gd name="T19" fmla="*/ 504 h 8158"/>
                <a:gd name="T20" fmla="*/ 6782 w 10058"/>
                <a:gd name="T21" fmla="*/ 581 h 8158"/>
                <a:gd name="T22" fmla="*/ 8786 w 10058"/>
                <a:gd name="T23" fmla="*/ 864 h 8158"/>
                <a:gd name="T24" fmla="*/ 9392 w 10058"/>
                <a:gd name="T25" fmla="*/ 2298 h 8158"/>
                <a:gd name="T26" fmla="*/ 9555 w 10058"/>
                <a:gd name="T27" fmla="*/ 3881 h 8158"/>
                <a:gd name="T28" fmla="*/ 9458 w 10058"/>
                <a:gd name="T29" fmla="*/ 5463 h 8158"/>
                <a:gd name="T30" fmla="*/ 9099 w 10058"/>
                <a:gd name="T31" fmla="*/ 7045 h 8158"/>
                <a:gd name="T32" fmla="*/ 8369 w 10058"/>
                <a:gd name="T33" fmla="*/ 278 h 8158"/>
                <a:gd name="T34" fmla="*/ 7341 w 10058"/>
                <a:gd name="T35" fmla="*/ 133 h 8158"/>
                <a:gd name="T36" fmla="*/ 6311 w 10058"/>
                <a:gd name="T37" fmla="*/ 41 h 8158"/>
                <a:gd name="T38" fmla="*/ 5285 w 10058"/>
                <a:gd name="T39" fmla="*/ 1 h 8158"/>
                <a:gd name="T40" fmla="*/ 4260 w 10058"/>
                <a:gd name="T41" fmla="*/ 14 h 8158"/>
                <a:gd name="T42" fmla="*/ 3232 w 10058"/>
                <a:gd name="T43" fmla="*/ 80 h 8158"/>
                <a:gd name="T44" fmla="*/ 2203 w 10058"/>
                <a:gd name="T45" fmla="*/ 199 h 8158"/>
                <a:gd name="T46" fmla="*/ 1177 w 10058"/>
                <a:gd name="T47" fmla="*/ 370 h 8158"/>
                <a:gd name="T48" fmla="*/ 826 w 10058"/>
                <a:gd name="T49" fmla="*/ 451 h 8158"/>
                <a:gd name="T50" fmla="*/ 713 w 10058"/>
                <a:gd name="T51" fmla="*/ 518 h 8158"/>
                <a:gd name="T52" fmla="*/ 621 w 10058"/>
                <a:gd name="T53" fmla="*/ 610 h 8158"/>
                <a:gd name="T54" fmla="*/ 555 w 10058"/>
                <a:gd name="T55" fmla="*/ 725 h 8158"/>
                <a:gd name="T56" fmla="*/ 212 w 10058"/>
                <a:gd name="T57" fmla="*/ 2000 h 8158"/>
                <a:gd name="T58" fmla="*/ 9 w 10058"/>
                <a:gd name="T59" fmla="*/ 3663 h 8158"/>
                <a:gd name="T60" fmla="*/ 76 w 10058"/>
                <a:gd name="T61" fmla="*/ 5327 h 8158"/>
                <a:gd name="T62" fmla="*/ 416 w 10058"/>
                <a:gd name="T63" fmla="*/ 6987 h 8158"/>
                <a:gd name="T64" fmla="*/ 584 w 10058"/>
                <a:gd name="T65" fmla="*/ 7492 h 8158"/>
                <a:gd name="T66" fmla="*/ 664 w 10058"/>
                <a:gd name="T67" fmla="*/ 7596 h 8158"/>
                <a:gd name="T68" fmla="*/ 766 w 10058"/>
                <a:gd name="T69" fmla="*/ 7676 h 8158"/>
                <a:gd name="T70" fmla="*/ 888 w 10058"/>
                <a:gd name="T71" fmla="*/ 7728 h 8158"/>
                <a:gd name="T72" fmla="*/ 1689 w 10058"/>
                <a:gd name="T73" fmla="*/ 7879 h 8158"/>
                <a:gd name="T74" fmla="*/ 2717 w 10058"/>
                <a:gd name="T75" fmla="*/ 8024 h 8158"/>
                <a:gd name="T76" fmla="*/ 3746 w 10058"/>
                <a:gd name="T77" fmla="*/ 8117 h 8158"/>
                <a:gd name="T78" fmla="*/ 4773 w 10058"/>
                <a:gd name="T79" fmla="*/ 8156 h 8158"/>
                <a:gd name="T80" fmla="*/ 5798 w 10058"/>
                <a:gd name="T81" fmla="*/ 8143 h 8158"/>
                <a:gd name="T82" fmla="*/ 6826 w 10058"/>
                <a:gd name="T83" fmla="*/ 8076 h 8158"/>
                <a:gd name="T84" fmla="*/ 7855 w 10058"/>
                <a:gd name="T85" fmla="*/ 7958 h 8158"/>
                <a:gd name="T86" fmla="*/ 8881 w 10058"/>
                <a:gd name="T87" fmla="*/ 7787 h 8158"/>
                <a:gd name="T88" fmla="*/ 9232 w 10058"/>
                <a:gd name="T89" fmla="*/ 7706 h 8158"/>
                <a:gd name="T90" fmla="*/ 9345 w 10058"/>
                <a:gd name="T91" fmla="*/ 7640 h 8158"/>
                <a:gd name="T92" fmla="*/ 9438 w 10058"/>
                <a:gd name="T93" fmla="*/ 7547 h 8158"/>
                <a:gd name="T94" fmla="*/ 9502 w 10058"/>
                <a:gd name="T95" fmla="*/ 7431 h 8158"/>
                <a:gd name="T96" fmla="*/ 9846 w 10058"/>
                <a:gd name="T97" fmla="*/ 6158 h 8158"/>
                <a:gd name="T98" fmla="*/ 10050 w 10058"/>
                <a:gd name="T99" fmla="*/ 4495 h 8158"/>
                <a:gd name="T100" fmla="*/ 9982 w 10058"/>
                <a:gd name="T101" fmla="*/ 2831 h 8158"/>
                <a:gd name="T102" fmla="*/ 9642 w 10058"/>
                <a:gd name="T103" fmla="*/ 1170 h 8158"/>
                <a:gd name="T104" fmla="*/ 9474 w 10058"/>
                <a:gd name="T105" fmla="*/ 665 h 8158"/>
                <a:gd name="T106" fmla="*/ 9394 w 10058"/>
                <a:gd name="T107" fmla="*/ 561 h 8158"/>
                <a:gd name="T108" fmla="*/ 9292 w 10058"/>
                <a:gd name="T109" fmla="*/ 480 h 8158"/>
                <a:gd name="T110" fmla="*/ 9170 w 10058"/>
                <a:gd name="T111" fmla="*/ 429 h 8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058" h="8158">
                  <a:moveTo>
                    <a:pt x="9036" y="7243"/>
                  </a:moveTo>
                  <a:lnTo>
                    <a:pt x="8786" y="7293"/>
                  </a:lnTo>
                  <a:lnTo>
                    <a:pt x="8535" y="7340"/>
                  </a:lnTo>
                  <a:lnTo>
                    <a:pt x="8285" y="7383"/>
                  </a:lnTo>
                  <a:lnTo>
                    <a:pt x="8034" y="7423"/>
                  </a:lnTo>
                  <a:lnTo>
                    <a:pt x="7784" y="7461"/>
                  </a:lnTo>
                  <a:lnTo>
                    <a:pt x="7533" y="7494"/>
                  </a:lnTo>
                  <a:lnTo>
                    <a:pt x="7283" y="7525"/>
                  </a:lnTo>
                  <a:lnTo>
                    <a:pt x="7032" y="7552"/>
                  </a:lnTo>
                  <a:lnTo>
                    <a:pt x="6782" y="7576"/>
                  </a:lnTo>
                  <a:lnTo>
                    <a:pt x="6531" y="7597"/>
                  </a:lnTo>
                  <a:lnTo>
                    <a:pt x="6281" y="7615"/>
                  </a:lnTo>
                  <a:lnTo>
                    <a:pt x="6030" y="7630"/>
                  </a:lnTo>
                  <a:lnTo>
                    <a:pt x="5780" y="7641"/>
                  </a:lnTo>
                  <a:lnTo>
                    <a:pt x="5530" y="7649"/>
                  </a:lnTo>
                  <a:lnTo>
                    <a:pt x="5279" y="7654"/>
                  </a:lnTo>
                  <a:lnTo>
                    <a:pt x="5029" y="7655"/>
                  </a:lnTo>
                  <a:lnTo>
                    <a:pt x="4779" y="7654"/>
                  </a:lnTo>
                  <a:lnTo>
                    <a:pt x="4529" y="7649"/>
                  </a:lnTo>
                  <a:lnTo>
                    <a:pt x="4278" y="7641"/>
                  </a:lnTo>
                  <a:lnTo>
                    <a:pt x="4028" y="7630"/>
                  </a:lnTo>
                  <a:lnTo>
                    <a:pt x="3777" y="7615"/>
                  </a:lnTo>
                  <a:lnTo>
                    <a:pt x="3527" y="7597"/>
                  </a:lnTo>
                  <a:lnTo>
                    <a:pt x="3276" y="7576"/>
                  </a:lnTo>
                  <a:lnTo>
                    <a:pt x="3026" y="7552"/>
                  </a:lnTo>
                  <a:lnTo>
                    <a:pt x="2775" y="7525"/>
                  </a:lnTo>
                  <a:lnTo>
                    <a:pt x="2525" y="7494"/>
                  </a:lnTo>
                  <a:lnTo>
                    <a:pt x="2274" y="7461"/>
                  </a:lnTo>
                  <a:lnTo>
                    <a:pt x="2024" y="7423"/>
                  </a:lnTo>
                  <a:lnTo>
                    <a:pt x="1773" y="7383"/>
                  </a:lnTo>
                  <a:lnTo>
                    <a:pt x="1523" y="7340"/>
                  </a:lnTo>
                  <a:lnTo>
                    <a:pt x="1272" y="7293"/>
                  </a:lnTo>
                  <a:lnTo>
                    <a:pt x="1022" y="7243"/>
                  </a:lnTo>
                  <a:lnTo>
                    <a:pt x="959" y="7045"/>
                  </a:lnTo>
                  <a:lnTo>
                    <a:pt x="900" y="6848"/>
                  </a:lnTo>
                  <a:lnTo>
                    <a:pt x="845" y="6650"/>
                  </a:lnTo>
                  <a:lnTo>
                    <a:pt x="795" y="6451"/>
                  </a:lnTo>
                  <a:lnTo>
                    <a:pt x="747" y="6254"/>
                  </a:lnTo>
                  <a:lnTo>
                    <a:pt x="705" y="6056"/>
                  </a:lnTo>
                  <a:lnTo>
                    <a:pt x="666" y="5859"/>
                  </a:lnTo>
                  <a:lnTo>
                    <a:pt x="632" y="5661"/>
                  </a:lnTo>
                  <a:lnTo>
                    <a:pt x="600" y="5463"/>
                  </a:lnTo>
                  <a:lnTo>
                    <a:pt x="574" y="5265"/>
                  </a:lnTo>
                  <a:lnTo>
                    <a:pt x="552" y="5067"/>
                  </a:lnTo>
                  <a:lnTo>
                    <a:pt x="534" y="4870"/>
                  </a:lnTo>
                  <a:lnTo>
                    <a:pt x="519" y="4672"/>
                  </a:lnTo>
                  <a:lnTo>
                    <a:pt x="509" y="4474"/>
                  </a:lnTo>
                  <a:lnTo>
                    <a:pt x="503" y="4276"/>
                  </a:lnTo>
                  <a:lnTo>
                    <a:pt x="501" y="4078"/>
                  </a:lnTo>
                  <a:lnTo>
                    <a:pt x="503" y="3881"/>
                  </a:lnTo>
                  <a:lnTo>
                    <a:pt x="509" y="3683"/>
                  </a:lnTo>
                  <a:lnTo>
                    <a:pt x="519" y="3486"/>
                  </a:lnTo>
                  <a:lnTo>
                    <a:pt x="534" y="3287"/>
                  </a:lnTo>
                  <a:lnTo>
                    <a:pt x="552" y="3089"/>
                  </a:lnTo>
                  <a:lnTo>
                    <a:pt x="574" y="2892"/>
                  </a:lnTo>
                  <a:lnTo>
                    <a:pt x="600" y="2694"/>
                  </a:lnTo>
                  <a:lnTo>
                    <a:pt x="632" y="2497"/>
                  </a:lnTo>
                  <a:lnTo>
                    <a:pt x="666" y="2298"/>
                  </a:lnTo>
                  <a:lnTo>
                    <a:pt x="705" y="2100"/>
                  </a:lnTo>
                  <a:lnTo>
                    <a:pt x="747" y="1903"/>
                  </a:lnTo>
                  <a:lnTo>
                    <a:pt x="795" y="1705"/>
                  </a:lnTo>
                  <a:lnTo>
                    <a:pt x="845" y="1508"/>
                  </a:lnTo>
                  <a:lnTo>
                    <a:pt x="900" y="1309"/>
                  </a:lnTo>
                  <a:lnTo>
                    <a:pt x="959" y="1111"/>
                  </a:lnTo>
                  <a:lnTo>
                    <a:pt x="1022" y="914"/>
                  </a:lnTo>
                  <a:lnTo>
                    <a:pt x="1272" y="864"/>
                  </a:lnTo>
                  <a:lnTo>
                    <a:pt x="1523" y="817"/>
                  </a:lnTo>
                  <a:lnTo>
                    <a:pt x="1773" y="774"/>
                  </a:lnTo>
                  <a:lnTo>
                    <a:pt x="2024" y="734"/>
                  </a:lnTo>
                  <a:lnTo>
                    <a:pt x="2274" y="697"/>
                  </a:lnTo>
                  <a:lnTo>
                    <a:pt x="2525" y="663"/>
                  </a:lnTo>
                  <a:lnTo>
                    <a:pt x="2775" y="632"/>
                  </a:lnTo>
                  <a:lnTo>
                    <a:pt x="3026" y="605"/>
                  </a:lnTo>
                  <a:lnTo>
                    <a:pt x="3276" y="581"/>
                  </a:lnTo>
                  <a:lnTo>
                    <a:pt x="3527" y="560"/>
                  </a:lnTo>
                  <a:lnTo>
                    <a:pt x="3777" y="543"/>
                  </a:lnTo>
                  <a:lnTo>
                    <a:pt x="4028" y="528"/>
                  </a:lnTo>
                  <a:lnTo>
                    <a:pt x="4278" y="517"/>
                  </a:lnTo>
                  <a:lnTo>
                    <a:pt x="4529" y="509"/>
                  </a:lnTo>
                  <a:lnTo>
                    <a:pt x="4779" y="504"/>
                  </a:lnTo>
                  <a:lnTo>
                    <a:pt x="5029" y="503"/>
                  </a:lnTo>
                  <a:lnTo>
                    <a:pt x="5279" y="504"/>
                  </a:lnTo>
                  <a:lnTo>
                    <a:pt x="5530" y="509"/>
                  </a:lnTo>
                  <a:lnTo>
                    <a:pt x="5780" y="517"/>
                  </a:lnTo>
                  <a:lnTo>
                    <a:pt x="6030" y="528"/>
                  </a:lnTo>
                  <a:lnTo>
                    <a:pt x="6281" y="543"/>
                  </a:lnTo>
                  <a:lnTo>
                    <a:pt x="6531" y="560"/>
                  </a:lnTo>
                  <a:lnTo>
                    <a:pt x="6782" y="581"/>
                  </a:lnTo>
                  <a:lnTo>
                    <a:pt x="7032" y="605"/>
                  </a:lnTo>
                  <a:lnTo>
                    <a:pt x="7283" y="632"/>
                  </a:lnTo>
                  <a:lnTo>
                    <a:pt x="7533" y="663"/>
                  </a:lnTo>
                  <a:lnTo>
                    <a:pt x="7784" y="697"/>
                  </a:lnTo>
                  <a:lnTo>
                    <a:pt x="8034" y="734"/>
                  </a:lnTo>
                  <a:lnTo>
                    <a:pt x="8285" y="774"/>
                  </a:lnTo>
                  <a:lnTo>
                    <a:pt x="8535" y="817"/>
                  </a:lnTo>
                  <a:lnTo>
                    <a:pt x="8786" y="864"/>
                  </a:lnTo>
                  <a:lnTo>
                    <a:pt x="9036" y="914"/>
                  </a:lnTo>
                  <a:lnTo>
                    <a:pt x="9099" y="1111"/>
                  </a:lnTo>
                  <a:lnTo>
                    <a:pt x="9158" y="1309"/>
                  </a:lnTo>
                  <a:lnTo>
                    <a:pt x="9213" y="1508"/>
                  </a:lnTo>
                  <a:lnTo>
                    <a:pt x="9264" y="1705"/>
                  </a:lnTo>
                  <a:lnTo>
                    <a:pt x="9311" y="1903"/>
                  </a:lnTo>
                  <a:lnTo>
                    <a:pt x="9353" y="2100"/>
                  </a:lnTo>
                  <a:lnTo>
                    <a:pt x="9392" y="2298"/>
                  </a:lnTo>
                  <a:lnTo>
                    <a:pt x="9427" y="2497"/>
                  </a:lnTo>
                  <a:lnTo>
                    <a:pt x="9458" y="2694"/>
                  </a:lnTo>
                  <a:lnTo>
                    <a:pt x="9484" y="2892"/>
                  </a:lnTo>
                  <a:lnTo>
                    <a:pt x="9506" y="3089"/>
                  </a:lnTo>
                  <a:lnTo>
                    <a:pt x="9524" y="3287"/>
                  </a:lnTo>
                  <a:lnTo>
                    <a:pt x="9539" y="3486"/>
                  </a:lnTo>
                  <a:lnTo>
                    <a:pt x="9549" y="3683"/>
                  </a:lnTo>
                  <a:lnTo>
                    <a:pt x="9555" y="3881"/>
                  </a:lnTo>
                  <a:lnTo>
                    <a:pt x="9557" y="4078"/>
                  </a:lnTo>
                  <a:lnTo>
                    <a:pt x="9555" y="4276"/>
                  </a:lnTo>
                  <a:lnTo>
                    <a:pt x="9549" y="4474"/>
                  </a:lnTo>
                  <a:lnTo>
                    <a:pt x="9539" y="4672"/>
                  </a:lnTo>
                  <a:lnTo>
                    <a:pt x="9524" y="4870"/>
                  </a:lnTo>
                  <a:lnTo>
                    <a:pt x="9506" y="5067"/>
                  </a:lnTo>
                  <a:lnTo>
                    <a:pt x="9484" y="5265"/>
                  </a:lnTo>
                  <a:lnTo>
                    <a:pt x="9458" y="5463"/>
                  </a:lnTo>
                  <a:lnTo>
                    <a:pt x="9427" y="5661"/>
                  </a:lnTo>
                  <a:lnTo>
                    <a:pt x="9392" y="5859"/>
                  </a:lnTo>
                  <a:lnTo>
                    <a:pt x="9353" y="6056"/>
                  </a:lnTo>
                  <a:lnTo>
                    <a:pt x="9311" y="6254"/>
                  </a:lnTo>
                  <a:lnTo>
                    <a:pt x="9264" y="6451"/>
                  </a:lnTo>
                  <a:lnTo>
                    <a:pt x="9213" y="6650"/>
                  </a:lnTo>
                  <a:lnTo>
                    <a:pt x="9158" y="6848"/>
                  </a:lnTo>
                  <a:lnTo>
                    <a:pt x="9099" y="7045"/>
                  </a:lnTo>
                  <a:lnTo>
                    <a:pt x="9036" y="7243"/>
                  </a:lnTo>
                  <a:close/>
                  <a:moveTo>
                    <a:pt x="9137" y="421"/>
                  </a:moveTo>
                  <a:lnTo>
                    <a:pt x="9009" y="395"/>
                  </a:lnTo>
                  <a:lnTo>
                    <a:pt x="8881" y="370"/>
                  </a:lnTo>
                  <a:lnTo>
                    <a:pt x="8754" y="346"/>
                  </a:lnTo>
                  <a:lnTo>
                    <a:pt x="8625" y="322"/>
                  </a:lnTo>
                  <a:lnTo>
                    <a:pt x="8497" y="299"/>
                  </a:lnTo>
                  <a:lnTo>
                    <a:pt x="8369" y="278"/>
                  </a:lnTo>
                  <a:lnTo>
                    <a:pt x="8241" y="257"/>
                  </a:lnTo>
                  <a:lnTo>
                    <a:pt x="8112" y="237"/>
                  </a:lnTo>
                  <a:lnTo>
                    <a:pt x="7984" y="218"/>
                  </a:lnTo>
                  <a:lnTo>
                    <a:pt x="7855" y="199"/>
                  </a:lnTo>
                  <a:lnTo>
                    <a:pt x="7726" y="182"/>
                  </a:lnTo>
                  <a:lnTo>
                    <a:pt x="7598" y="165"/>
                  </a:lnTo>
                  <a:lnTo>
                    <a:pt x="7469" y="148"/>
                  </a:lnTo>
                  <a:lnTo>
                    <a:pt x="7341" y="133"/>
                  </a:lnTo>
                  <a:lnTo>
                    <a:pt x="7212" y="118"/>
                  </a:lnTo>
                  <a:lnTo>
                    <a:pt x="7084" y="105"/>
                  </a:lnTo>
                  <a:lnTo>
                    <a:pt x="6955" y="92"/>
                  </a:lnTo>
                  <a:lnTo>
                    <a:pt x="6826" y="80"/>
                  </a:lnTo>
                  <a:lnTo>
                    <a:pt x="6697" y="69"/>
                  </a:lnTo>
                  <a:lnTo>
                    <a:pt x="6569" y="59"/>
                  </a:lnTo>
                  <a:lnTo>
                    <a:pt x="6440" y="49"/>
                  </a:lnTo>
                  <a:lnTo>
                    <a:pt x="6311" y="41"/>
                  </a:lnTo>
                  <a:lnTo>
                    <a:pt x="6183" y="33"/>
                  </a:lnTo>
                  <a:lnTo>
                    <a:pt x="6055" y="26"/>
                  </a:lnTo>
                  <a:lnTo>
                    <a:pt x="5926" y="20"/>
                  </a:lnTo>
                  <a:lnTo>
                    <a:pt x="5798" y="14"/>
                  </a:lnTo>
                  <a:lnTo>
                    <a:pt x="5669" y="10"/>
                  </a:lnTo>
                  <a:lnTo>
                    <a:pt x="5542" y="6"/>
                  </a:lnTo>
                  <a:lnTo>
                    <a:pt x="5413" y="3"/>
                  </a:lnTo>
                  <a:lnTo>
                    <a:pt x="5285" y="1"/>
                  </a:lnTo>
                  <a:lnTo>
                    <a:pt x="5157" y="0"/>
                  </a:lnTo>
                  <a:lnTo>
                    <a:pt x="5029" y="0"/>
                  </a:lnTo>
                  <a:lnTo>
                    <a:pt x="4901" y="0"/>
                  </a:lnTo>
                  <a:lnTo>
                    <a:pt x="4773" y="1"/>
                  </a:lnTo>
                  <a:lnTo>
                    <a:pt x="4645" y="3"/>
                  </a:lnTo>
                  <a:lnTo>
                    <a:pt x="4517" y="6"/>
                  </a:lnTo>
                  <a:lnTo>
                    <a:pt x="4389" y="10"/>
                  </a:lnTo>
                  <a:lnTo>
                    <a:pt x="4260" y="14"/>
                  </a:lnTo>
                  <a:lnTo>
                    <a:pt x="4132" y="20"/>
                  </a:lnTo>
                  <a:lnTo>
                    <a:pt x="4004" y="26"/>
                  </a:lnTo>
                  <a:lnTo>
                    <a:pt x="3875" y="33"/>
                  </a:lnTo>
                  <a:lnTo>
                    <a:pt x="3746" y="41"/>
                  </a:lnTo>
                  <a:lnTo>
                    <a:pt x="3618" y="49"/>
                  </a:lnTo>
                  <a:lnTo>
                    <a:pt x="3489" y="59"/>
                  </a:lnTo>
                  <a:lnTo>
                    <a:pt x="3361" y="69"/>
                  </a:lnTo>
                  <a:lnTo>
                    <a:pt x="3232" y="80"/>
                  </a:lnTo>
                  <a:lnTo>
                    <a:pt x="3103" y="92"/>
                  </a:lnTo>
                  <a:lnTo>
                    <a:pt x="2974" y="105"/>
                  </a:lnTo>
                  <a:lnTo>
                    <a:pt x="2846" y="118"/>
                  </a:lnTo>
                  <a:lnTo>
                    <a:pt x="2717" y="133"/>
                  </a:lnTo>
                  <a:lnTo>
                    <a:pt x="2589" y="148"/>
                  </a:lnTo>
                  <a:lnTo>
                    <a:pt x="2460" y="165"/>
                  </a:lnTo>
                  <a:lnTo>
                    <a:pt x="2332" y="182"/>
                  </a:lnTo>
                  <a:lnTo>
                    <a:pt x="2203" y="199"/>
                  </a:lnTo>
                  <a:lnTo>
                    <a:pt x="2074" y="218"/>
                  </a:lnTo>
                  <a:lnTo>
                    <a:pt x="1946" y="237"/>
                  </a:lnTo>
                  <a:lnTo>
                    <a:pt x="1818" y="257"/>
                  </a:lnTo>
                  <a:lnTo>
                    <a:pt x="1689" y="278"/>
                  </a:lnTo>
                  <a:lnTo>
                    <a:pt x="1561" y="299"/>
                  </a:lnTo>
                  <a:lnTo>
                    <a:pt x="1433" y="322"/>
                  </a:lnTo>
                  <a:lnTo>
                    <a:pt x="1305" y="346"/>
                  </a:lnTo>
                  <a:lnTo>
                    <a:pt x="1177" y="370"/>
                  </a:lnTo>
                  <a:lnTo>
                    <a:pt x="1049" y="395"/>
                  </a:lnTo>
                  <a:lnTo>
                    <a:pt x="921" y="421"/>
                  </a:lnTo>
                  <a:lnTo>
                    <a:pt x="904" y="424"/>
                  </a:lnTo>
                  <a:lnTo>
                    <a:pt x="888" y="429"/>
                  </a:lnTo>
                  <a:lnTo>
                    <a:pt x="872" y="433"/>
                  </a:lnTo>
                  <a:lnTo>
                    <a:pt x="857" y="439"/>
                  </a:lnTo>
                  <a:lnTo>
                    <a:pt x="841" y="444"/>
                  </a:lnTo>
                  <a:lnTo>
                    <a:pt x="826" y="451"/>
                  </a:lnTo>
                  <a:lnTo>
                    <a:pt x="811" y="457"/>
                  </a:lnTo>
                  <a:lnTo>
                    <a:pt x="796" y="464"/>
                  </a:lnTo>
                  <a:lnTo>
                    <a:pt x="781" y="472"/>
                  </a:lnTo>
                  <a:lnTo>
                    <a:pt x="766" y="480"/>
                  </a:lnTo>
                  <a:lnTo>
                    <a:pt x="753" y="489"/>
                  </a:lnTo>
                  <a:lnTo>
                    <a:pt x="739" y="499"/>
                  </a:lnTo>
                  <a:lnTo>
                    <a:pt x="726" y="508"/>
                  </a:lnTo>
                  <a:lnTo>
                    <a:pt x="713" y="518"/>
                  </a:lnTo>
                  <a:lnTo>
                    <a:pt x="700" y="528"/>
                  </a:lnTo>
                  <a:lnTo>
                    <a:pt x="688" y="538"/>
                  </a:lnTo>
                  <a:lnTo>
                    <a:pt x="676" y="549"/>
                  </a:lnTo>
                  <a:lnTo>
                    <a:pt x="664" y="561"/>
                  </a:lnTo>
                  <a:lnTo>
                    <a:pt x="653" y="573"/>
                  </a:lnTo>
                  <a:lnTo>
                    <a:pt x="642" y="585"/>
                  </a:lnTo>
                  <a:lnTo>
                    <a:pt x="632" y="597"/>
                  </a:lnTo>
                  <a:lnTo>
                    <a:pt x="621" y="610"/>
                  </a:lnTo>
                  <a:lnTo>
                    <a:pt x="611" y="623"/>
                  </a:lnTo>
                  <a:lnTo>
                    <a:pt x="602" y="637"/>
                  </a:lnTo>
                  <a:lnTo>
                    <a:pt x="593" y="650"/>
                  </a:lnTo>
                  <a:lnTo>
                    <a:pt x="584" y="665"/>
                  </a:lnTo>
                  <a:lnTo>
                    <a:pt x="576" y="680"/>
                  </a:lnTo>
                  <a:lnTo>
                    <a:pt x="569" y="695"/>
                  </a:lnTo>
                  <a:lnTo>
                    <a:pt x="562" y="710"/>
                  </a:lnTo>
                  <a:lnTo>
                    <a:pt x="555" y="725"/>
                  </a:lnTo>
                  <a:lnTo>
                    <a:pt x="549" y="740"/>
                  </a:lnTo>
                  <a:lnTo>
                    <a:pt x="544" y="756"/>
                  </a:lnTo>
                  <a:lnTo>
                    <a:pt x="478" y="963"/>
                  </a:lnTo>
                  <a:lnTo>
                    <a:pt x="416" y="1170"/>
                  </a:lnTo>
                  <a:lnTo>
                    <a:pt x="359" y="1377"/>
                  </a:lnTo>
                  <a:lnTo>
                    <a:pt x="306" y="1584"/>
                  </a:lnTo>
                  <a:lnTo>
                    <a:pt x="257" y="1791"/>
                  </a:lnTo>
                  <a:lnTo>
                    <a:pt x="212" y="2000"/>
                  </a:lnTo>
                  <a:lnTo>
                    <a:pt x="172" y="2207"/>
                  </a:lnTo>
                  <a:lnTo>
                    <a:pt x="136" y="2414"/>
                  </a:lnTo>
                  <a:lnTo>
                    <a:pt x="104" y="2622"/>
                  </a:lnTo>
                  <a:lnTo>
                    <a:pt x="76" y="2831"/>
                  </a:lnTo>
                  <a:lnTo>
                    <a:pt x="53" y="3038"/>
                  </a:lnTo>
                  <a:lnTo>
                    <a:pt x="34" y="3246"/>
                  </a:lnTo>
                  <a:lnTo>
                    <a:pt x="19" y="3454"/>
                  </a:lnTo>
                  <a:lnTo>
                    <a:pt x="9" y="3663"/>
                  </a:lnTo>
                  <a:lnTo>
                    <a:pt x="2" y="3870"/>
                  </a:lnTo>
                  <a:lnTo>
                    <a:pt x="0" y="4078"/>
                  </a:lnTo>
                  <a:lnTo>
                    <a:pt x="2" y="4286"/>
                  </a:lnTo>
                  <a:lnTo>
                    <a:pt x="9" y="4495"/>
                  </a:lnTo>
                  <a:lnTo>
                    <a:pt x="19" y="4703"/>
                  </a:lnTo>
                  <a:lnTo>
                    <a:pt x="34" y="4910"/>
                  </a:lnTo>
                  <a:lnTo>
                    <a:pt x="53" y="5118"/>
                  </a:lnTo>
                  <a:lnTo>
                    <a:pt x="76" y="5327"/>
                  </a:lnTo>
                  <a:lnTo>
                    <a:pt x="104" y="5534"/>
                  </a:lnTo>
                  <a:lnTo>
                    <a:pt x="136" y="5742"/>
                  </a:lnTo>
                  <a:lnTo>
                    <a:pt x="172" y="5949"/>
                  </a:lnTo>
                  <a:lnTo>
                    <a:pt x="212" y="6158"/>
                  </a:lnTo>
                  <a:lnTo>
                    <a:pt x="257" y="6365"/>
                  </a:lnTo>
                  <a:lnTo>
                    <a:pt x="306" y="6572"/>
                  </a:lnTo>
                  <a:lnTo>
                    <a:pt x="359" y="6779"/>
                  </a:lnTo>
                  <a:lnTo>
                    <a:pt x="416" y="6987"/>
                  </a:lnTo>
                  <a:lnTo>
                    <a:pt x="478" y="7193"/>
                  </a:lnTo>
                  <a:lnTo>
                    <a:pt x="544" y="7400"/>
                  </a:lnTo>
                  <a:lnTo>
                    <a:pt x="549" y="7416"/>
                  </a:lnTo>
                  <a:lnTo>
                    <a:pt x="555" y="7431"/>
                  </a:lnTo>
                  <a:lnTo>
                    <a:pt x="562" y="7448"/>
                  </a:lnTo>
                  <a:lnTo>
                    <a:pt x="569" y="7463"/>
                  </a:lnTo>
                  <a:lnTo>
                    <a:pt x="576" y="7477"/>
                  </a:lnTo>
                  <a:lnTo>
                    <a:pt x="584" y="7492"/>
                  </a:lnTo>
                  <a:lnTo>
                    <a:pt x="593" y="7506"/>
                  </a:lnTo>
                  <a:lnTo>
                    <a:pt x="602" y="7520"/>
                  </a:lnTo>
                  <a:lnTo>
                    <a:pt x="611" y="7533"/>
                  </a:lnTo>
                  <a:lnTo>
                    <a:pt x="621" y="7547"/>
                  </a:lnTo>
                  <a:lnTo>
                    <a:pt x="632" y="7559"/>
                  </a:lnTo>
                  <a:lnTo>
                    <a:pt x="642" y="7572"/>
                  </a:lnTo>
                  <a:lnTo>
                    <a:pt x="653" y="7584"/>
                  </a:lnTo>
                  <a:lnTo>
                    <a:pt x="664" y="7596"/>
                  </a:lnTo>
                  <a:lnTo>
                    <a:pt x="676" y="7607"/>
                  </a:lnTo>
                  <a:lnTo>
                    <a:pt x="688" y="7619"/>
                  </a:lnTo>
                  <a:lnTo>
                    <a:pt x="700" y="7630"/>
                  </a:lnTo>
                  <a:lnTo>
                    <a:pt x="713" y="7640"/>
                  </a:lnTo>
                  <a:lnTo>
                    <a:pt x="726" y="7650"/>
                  </a:lnTo>
                  <a:lnTo>
                    <a:pt x="739" y="7659"/>
                  </a:lnTo>
                  <a:lnTo>
                    <a:pt x="753" y="7668"/>
                  </a:lnTo>
                  <a:lnTo>
                    <a:pt x="766" y="7676"/>
                  </a:lnTo>
                  <a:lnTo>
                    <a:pt x="781" y="7684"/>
                  </a:lnTo>
                  <a:lnTo>
                    <a:pt x="796" y="7692"/>
                  </a:lnTo>
                  <a:lnTo>
                    <a:pt x="811" y="7699"/>
                  </a:lnTo>
                  <a:lnTo>
                    <a:pt x="826" y="7706"/>
                  </a:lnTo>
                  <a:lnTo>
                    <a:pt x="841" y="7712"/>
                  </a:lnTo>
                  <a:lnTo>
                    <a:pt x="857" y="7718"/>
                  </a:lnTo>
                  <a:lnTo>
                    <a:pt x="872" y="7723"/>
                  </a:lnTo>
                  <a:lnTo>
                    <a:pt x="888" y="7728"/>
                  </a:lnTo>
                  <a:lnTo>
                    <a:pt x="904" y="7732"/>
                  </a:lnTo>
                  <a:lnTo>
                    <a:pt x="921" y="7735"/>
                  </a:lnTo>
                  <a:lnTo>
                    <a:pt x="1049" y="7761"/>
                  </a:lnTo>
                  <a:lnTo>
                    <a:pt x="1177" y="7787"/>
                  </a:lnTo>
                  <a:lnTo>
                    <a:pt x="1305" y="7811"/>
                  </a:lnTo>
                  <a:lnTo>
                    <a:pt x="1433" y="7834"/>
                  </a:lnTo>
                  <a:lnTo>
                    <a:pt x="1561" y="7857"/>
                  </a:lnTo>
                  <a:lnTo>
                    <a:pt x="1689" y="7879"/>
                  </a:lnTo>
                  <a:lnTo>
                    <a:pt x="1818" y="7900"/>
                  </a:lnTo>
                  <a:lnTo>
                    <a:pt x="1946" y="7920"/>
                  </a:lnTo>
                  <a:lnTo>
                    <a:pt x="2074" y="7939"/>
                  </a:lnTo>
                  <a:lnTo>
                    <a:pt x="2203" y="7958"/>
                  </a:lnTo>
                  <a:lnTo>
                    <a:pt x="2332" y="7976"/>
                  </a:lnTo>
                  <a:lnTo>
                    <a:pt x="2460" y="7993"/>
                  </a:lnTo>
                  <a:lnTo>
                    <a:pt x="2589" y="8009"/>
                  </a:lnTo>
                  <a:lnTo>
                    <a:pt x="2717" y="8024"/>
                  </a:lnTo>
                  <a:lnTo>
                    <a:pt x="2846" y="8038"/>
                  </a:lnTo>
                  <a:lnTo>
                    <a:pt x="2974" y="8052"/>
                  </a:lnTo>
                  <a:lnTo>
                    <a:pt x="3103" y="8064"/>
                  </a:lnTo>
                  <a:lnTo>
                    <a:pt x="3232" y="8076"/>
                  </a:lnTo>
                  <a:lnTo>
                    <a:pt x="3361" y="8088"/>
                  </a:lnTo>
                  <a:lnTo>
                    <a:pt x="3489" y="8098"/>
                  </a:lnTo>
                  <a:lnTo>
                    <a:pt x="3618" y="8107"/>
                  </a:lnTo>
                  <a:lnTo>
                    <a:pt x="3746" y="8117"/>
                  </a:lnTo>
                  <a:lnTo>
                    <a:pt x="3875" y="8125"/>
                  </a:lnTo>
                  <a:lnTo>
                    <a:pt x="4004" y="8132"/>
                  </a:lnTo>
                  <a:lnTo>
                    <a:pt x="4132" y="8138"/>
                  </a:lnTo>
                  <a:lnTo>
                    <a:pt x="4260" y="8143"/>
                  </a:lnTo>
                  <a:lnTo>
                    <a:pt x="4389" y="8148"/>
                  </a:lnTo>
                  <a:lnTo>
                    <a:pt x="4517" y="8152"/>
                  </a:lnTo>
                  <a:lnTo>
                    <a:pt x="4645" y="8154"/>
                  </a:lnTo>
                  <a:lnTo>
                    <a:pt x="4773" y="8156"/>
                  </a:lnTo>
                  <a:lnTo>
                    <a:pt x="4901" y="8158"/>
                  </a:lnTo>
                  <a:lnTo>
                    <a:pt x="5029" y="8158"/>
                  </a:lnTo>
                  <a:lnTo>
                    <a:pt x="5157" y="8158"/>
                  </a:lnTo>
                  <a:lnTo>
                    <a:pt x="5285" y="8156"/>
                  </a:lnTo>
                  <a:lnTo>
                    <a:pt x="5413" y="8154"/>
                  </a:lnTo>
                  <a:lnTo>
                    <a:pt x="5542" y="8152"/>
                  </a:lnTo>
                  <a:lnTo>
                    <a:pt x="5669" y="8148"/>
                  </a:lnTo>
                  <a:lnTo>
                    <a:pt x="5798" y="8143"/>
                  </a:lnTo>
                  <a:lnTo>
                    <a:pt x="5926" y="8138"/>
                  </a:lnTo>
                  <a:lnTo>
                    <a:pt x="6055" y="8132"/>
                  </a:lnTo>
                  <a:lnTo>
                    <a:pt x="6183" y="8125"/>
                  </a:lnTo>
                  <a:lnTo>
                    <a:pt x="6311" y="8117"/>
                  </a:lnTo>
                  <a:lnTo>
                    <a:pt x="6440" y="8107"/>
                  </a:lnTo>
                  <a:lnTo>
                    <a:pt x="6569" y="8098"/>
                  </a:lnTo>
                  <a:lnTo>
                    <a:pt x="6697" y="8088"/>
                  </a:lnTo>
                  <a:lnTo>
                    <a:pt x="6826" y="8076"/>
                  </a:lnTo>
                  <a:lnTo>
                    <a:pt x="6955" y="8064"/>
                  </a:lnTo>
                  <a:lnTo>
                    <a:pt x="7084" y="8052"/>
                  </a:lnTo>
                  <a:lnTo>
                    <a:pt x="7212" y="8038"/>
                  </a:lnTo>
                  <a:lnTo>
                    <a:pt x="7341" y="8024"/>
                  </a:lnTo>
                  <a:lnTo>
                    <a:pt x="7469" y="8009"/>
                  </a:lnTo>
                  <a:lnTo>
                    <a:pt x="7598" y="7993"/>
                  </a:lnTo>
                  <a:lnTo>
                    <a:pt x="7726" y="7976"/>
                  </a:lnTo>
                  <a:lnTo>
                    <a:pt x="7855" y="7958"/>
                  </a:lnTo>
                  <a:lnTo>
                    <a:pt x="7984" y="7939"/>
                  </a:lnTo>
                  <a:lnTo>
                    <a:pt x="8112" y="7920"/>
                  </a:lnTo>
                  <a:lnTo>
                    <a:pt x="8241" y="7900"/>
                  </a:lnTo>
                  <a:lnTo>
                    <a:pt x="8369" y="7879"/>
                  </a:lnTo>
                  <a:lnTo>
                    <a:pt x="8497" y="7857"/>
                  </a:lnTo>
                  <a:lnTo>
                    <a:pt x="8625" y="7834"/>
                  </a:lnTo>
                  <a:lnTo>
                    <a:pt x="8754" y="7811"/>
                  </a:lnTo>
                  <a:lnTo>
                    <a:pt x="8881" y="7787"/>
                  </a:lnTo>
                  <a:lnTo>
                    <a:pt x="9009" y="7761"/>
                  </a:lnTo>
                  <a:lnTo>
                    <a:pt x="9137" y="7735"/>
                  </a:lnTo>
                  <a:lnTo>
                    <a:pt x="9154" y="7732"/>
                  </a:lnTo>
                  <a:lnTo>
                    <a:pt x="9170" y="7728"/>
                  </a:lnTo>
                  <a:lnTo>
                    <a:pt x="9186" y="7723"/>
                  </a:lnTo>
                  <a:lnTo>
                    <a:pt x="9201" y="7718"/>
                  </a:lnTo>
                  <a:lnTo>
                    <a:pt x="9217" y="7712"/>
                  </a:lnTo>
                  <a:lnTo>
                    <a:pt x="9232" y="7706"/>
                  </a:lnTo>
                  <a:lnTo>
                    <a:pt x="9247" y="7699"/>
                  </a:lnTo>
                  <a:lnTo>
                    <a:pt x="9263" y="7692"/>
                  </a:lnTo>
                  <a:lnTo>
                    <a:pt x="9277" y="7684"/>
                  </a:lnTo>
                  <a:lnTo>
                    <a:pt x="9292" y="7676"/>
                  </a:lnTo>
                  <a:lnTo>
                    <a:pt x="9306" y="7668"/>
                  </a:lnTo>
                  <a:lnTo>
                    <a:pt x="9319" y="7659"/>
                  </a:lnTo>
                  <a:lnTo>
                    <a:pt x="9333" y="7650"/>
                  </a:lnTo>
                  <a:lnTo>
                    <a:pt x="9345" y="7640"/>
                  </a:lnTo>
                  <a:lnTo>
                    <a:pt x="9358" y="7630"/>
                  </a:lnTo>
                  <a:lnTo>
                    <a:pt x="9370" y="7619"/>
                  </a:lnTo>
                  <a:lnTo>
                    <a:pt x="9382" y="7607"/>
                  </a:lnTo>
                  <a:lnTo>
                    <a:pt x="9394" y="7596"/>
                  </a:lnTo>
                  <a:lnTo>
                    <a:pt x="9405" y="7584"/>
                  </a:lnTo>
                  <a:lnTo>
                    <a:pt x="9416" y="7572"/>
                  </a:lnTo>
                  <a:lnTo>
                    <a:pt x="9427" y="7559"/>
                  </a:lnTo>
                  <a:lnTo>
                    <a:pt x="9438" y="7547"/>
                  </a:lnTo>
                  <a:lnTo>
                    <a:pt x="9447" y="7533"/>
                  </a:lnTo>
                  <a:lnTo>
                    <a:pt x="9456" y="7520"/>
                  </a:lnTo>
                  <a:lnTo>
                    <a:pt x="9465" y="7506"/>
                  </a:lnTo>
                  <a:lnTo>
                    <a:pt x="9474" y="7492"/>
                  </a:lnTo>
                  <a:lnTo>
                    <a:pt x="9482" y="7477"/>
                  </a:lnTo>
                  <a:lnTo>
                    <a:pt x="9489" y="7463"/>
                  </a:lnTo>
                  <a:lnTo>
                    <a:pt x="9496" y="7448"/>
                  </a:lnTo>
                  <a:lnTo>
                    <a:pt x="9502" y="7431"/>
                  </a:lnTo>
                  <a:lnTo>
                    <a:pt x="9508" y="7416"/>
                  </a:lnTo>
                  <a:lnTo>
                    <a:pt x="9514" y="7400"/>
                  </a:lnTo>
                  <a:lnTo>
                    <a:pt x="9580" y="7193"/>
                  </a:lnTo>
                  <a:lnTo>
                    <a:pt x="9642" y="6987"/>
                  </a:lnTo>
                  <a:lnTo>
                    <a:pt x="9699" y="6779"/>
                  </a:lnTo>
                  <a:lnTo>
                    <a:pt x="9752" y="6572"/>
                  </a:lnTo>
                  <a:lnTo>
                    <a:pt x="9801" y="6365"/>
                  </a:lnTo>
                  <a:lnTo>
                    <a:pt x="9846" y="6158"/>
                  </a:lnTo>
                  <a:lnTo>
                    <a:pt x="9886" y="5949"/>
                  </a:lnTo>
                  <a:lnTo>
                    <a:pt x="9922" y="5742"/>
                  </a:lnTo>
                  <a:lnTo>
                    <a:pt x="9955" y="5534"/>
                  </a:lnTo>
                  <a:lnTo>
                    <a:pt x="9982" y="5327"/>
                  </a:lnTo>
                  <a:lnTo>
                    <a:pt x="10005" y="5118"/>
                  </a:lnTo>
                  <a:lnTo>
                    <a:pt x="10024" y="4910"/>
                  </a:lnTo>
                  <a:lnTo>
                    <a:pt x="10039" y="4703"/>
                  </a:lnTo>
                  <a:lnTo>
                    <a:pt x="10050" y="4495"/>
                  </a:lnTo>
                  <a:lnTo>
                    <a:pt x="10056" y="4286"/>
                  </a:lnTo>
                  <a:lnTo>
                    <a:pt x="10058" y="4078"/>
                  </a:lnTo>
                  <a:lnTo>
                    <a:pt x="10056" y="3870"/>
                  </a:lnTo>
                  <a:lnTo>
                    <a:pt x="10050" y="3663"/>
                  </a:lnTo>
                  <a:lnTo>
                    <a:pt x="10039" y="3454"/>
                  </a:lnTo>
                  <a:lnTo>
                    <a:pt x="10024" y="3246"/>
                  </a:lnTo>
                  <a:lnTo>
                    <a:pt x="10005" y="3038"/>
                  </a:lnTo>
                  <a:lnTo>
                    <a:pt x="9982" y="2831"/>
                  </a:lnTo>
                  <a:lnTo>
                    <a:pt x="9955" y="2622"/>
                  </a:lnTo>
                  <a:lnTo>
                    <a:pt x="9922" y="2414"/>
                  </a:lnTo>
                  <a:lnTo>
                    <a:pt x="9886" y="2207"/>
                  </a:lnTo>
                  <a:lnTo>
                    <a:pt x="9846" y="2000"/>
                  </a:lnTo>
                  <a:lnTo>
                    <a:pt x="9801" y="1791"/>
                  </a:lnTo>
                  <a:lnTo>
                    <a:pt x="9752" y="1584"/>
                  </a:lnTo>
                  <a:lnTo>
                    <a:pt x="9699" y="1377"/>
                  </a:lnTo>
                  <a:lnTo>
                    <a:pt x="9642" y="1170"/>
                  </a:lnTo>
                  <a:lnTo>
                    <a:pt x="9580" y="963"/>
                  </a:lnTo>
                  <a:lnTo>
                    <a:pt x="9514" y="756"/>
                  </a:lnTo>
                  <a:lnTo>
                    <a:pt x="9508" y="740"/>
                  </a:lnTo>
                  <a:lnTo>
                    <a:pt x="9502" y="725"/>
                  </a:lnTo>
                  <a:lnTo>
                    <a:pt x="9496" y="710"/>
                  </a:lnTo>
                  <a:lnTo>
                    <a:pt x="9489" y="695"/>
                  </a:lnTo>
                  <a:lnTo>
                    <a:pt x="9482" y="680"/>
                  </a:lnTo>
                  <a:lnTo>
                    <a:pt x="9474" y="665"/>
                  </a:lnTo>
                  <a:lnTo>
                    <a:pt x="9465" y="650"/>
                  </a:lnTo>
                  <a:lnTo>
                    <a:pt x="9456" y="637"/>
                  </a:lnTo>
                  <a:lnTo>
                    <a:pt x="9447" y="623"/>
                  </a:lnTo>
                  <a:lnTo>
                    <a:pt x="9438" y="610"/>
                  </a:lnTo>
                  <a:lnTo>
                    <a:pt x="9427" y="597"/>
                  </a:lnTo>
                  <a:lnTo>
                    <a:pt x="9416" y="585"/>
                  </a:lnTo>
                  <a:lnTo>
                    <a:pt x="9405" y="573"/>
                  </a:lnTo>
                  <a:lnTo>
                    <a:pt x="9394" y="561"/>
                  </a:lnTo>
                  <a:lnTo>
                    <a:pt x="9382" y="549"/>
                  </a:lnTo>
                  <a:lnTo>
                    <a:pt x="9370" y="538"/>
                  </a:lnTo>
                  <a:lnTo>
                    <a:pt x="9358" y="528"/>
                  </a:lnTo>
                  <a:lnTo>
                    <a:pt x="9345" y="518"/>
                  </a:lnTo>
                  <a:lnTo>
                    <a:pt x="9333" y="508"/>
                  </a:lnTo>
                  <a:lnTo>
                    <a:pt x="9319" y="499"/>
                  </a:lnTo>
                  <a:lnTo>
                    <a:pt x="9306" y="489"/>
                  </a:lnTo>
                  <a:lnTo>
                    <a:pt x="9292" y="480"/>
                  </a:lnTo>
                  <a:lnTo>
                    <a:pt x="9277" y="472"/>
                  </a:lnTo>
                  <a:lnTo>
                    <a:pt x="9263" y="464"/>
                  </a:lnTo>
                  <a:lnTo>
                    <a:pt x="9247" y="457"/>
                  </a:lnTo>
                  <a:lnTo>
                    <a:pt x="9232" y="451"/>
                  </a:lnTo>
                  <a:lnTo>
                    <a:pt x="9217" y="444"/>
                  </a:lnTo>
                  <a:lnTo>
                    <a:pt x="9201" y="439"/>
                  </a:lnTo>
                  <a:lnTo>
                    <a:pt x="9186" y="433"/>
                  </a:lnTo>
                  <a:lnTo>
                    <a:pt x="9170" y="429"/>
                  </a:lnTo>
                  <a:lnTo>
                    <a:pt x="9154" y="424"/>
                  </a:lnTo>
                  <a:lnTo>
                    <a:pt x="9137" y="4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7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3" name="îSľiďé">
              <a:extLst>
                <a:ext uri="{FF2B5EF4-FFF2-40B4-BE49-F238E27FC236}">
                  <a16:creationId xmlns:a16="http://schemas.microsoft.com/office/drawing/2014/main" id="{866CBD40-6578-4B3B-9B82-FAF55ED41C70}"/>
                </a:ext>
              </a:extLst>
            </p:cNvPr>
            <p:cNvSpPr/>
            <p:nvPr/>
          </p:nvSpPr>
          <p:spPr bwMode="auto">
            <a:xfrm>
              <a:off x="644028" y="32647"/>
              <a:ext cx="509129" cy="397939"/>
            </a:xfrm>
            <a:custGeom>
              <a:avLst/>
              <a:gdLst>
                <a:gd name="T0" fmla="*/ 11699 w 16095"/>
                <a:gd name="T1" fmla="*/ 10946 h 12580"/>
                <a:gd name="T2" fmla="*/ 8453 w 16095"/>
                <a:gd name="T3" fmla="*/ 11069 h 12580"/>
                <a:gd name="T4" fmla="*/ 5208 w 16095"/>
                <a:gd name="T5" fmla="*/ 10995 h 12580"/>
                <a:gd name="T6" fmla="*/ 1962 w 16095"/>
                <a:gd name="T7" fmla="*/ 10724 h 12580"/>
                <a:gd name="T8" fmla="*/ 1178 w 16095"/>
                <a:gd name="T9" fmla="*/ 8647 h 12580"/>
                <a:gd name="T10" fmla="*/ 1006 w 16095"/>
                <a:gd name="T11" fmla="*/ 6328 h 12580"/>
                <a:gd name="T12" fmla="*/ 1110 w 16095"/>
                <a:gd name="T13" fmla="*/ 4009 h 12580"/>
                <a:gd name="T14" fmla="*/ 1489 w 16095"/>
                <a:gd name="T15" fmla="*/ 1690 h 12580"/>
                <a:gd name="T16" fmla="*/ 4396 w 16095"/>
                <a:gd name="T17" fmla="*/ 1131 h 12580"/>
                <a:gd name="T18" fmla="*/ 7642 w 16095"/>
                <a:gd name="T19" fmla="*/ 1008 h 12580"/>
                <a:gd name="T20" fmla="*/ 10887 w 16095"/>
                <a:gd name="T21" fmla="*/ 1082 h 12580"/>
                <a:gd name="T22" fmla="*/ 14133 w 16095"/>
                <a:gd name="T23" fmla="*/ 1353 h 12580"/>
                <a:gd name="T24" fmla="*/ 14916 w 16095"/>
                <a:gd name="T25" fmla="*/ 3430 h 12580"/>
                <a:gd name="T26" fmla="*/ 15089 w 16095"/>
                <a:gd name="T27" fmla="*/ 5749 h 12580"/>
                <a:gd name="T28" fmla="*/ 14985 w 16095"/>
                <a:gd name="T29" fmla="*/ 8068 h 12580"/>
                <a:gd name="T30" fmla="*/ 14606 w 16095"/>
                <a:gd name="T31" fmla="*/ 10387 h 12580"/>
                <a:gd name="T32" fmla="*/ 15438 w 16095"/>
                <a:gd name="T33" fmla="*/ 950 h 12580"/>
                <a:gd name="T34" fmla="*/ 15263 w 16095"/>
                <a:gd name="T35" fmla="*/ 702 h 12580"/>
                <a:gd name="T36" fmla="*/ 15025 w 16095"/>
                <a:gd name="T37" fmla="*/ 519 h 12580"/>
                <a:gd name="T38" fmla="*/ 14738 w 16095"/>
                <a:gd name="T39" fmla="*/ 415 h 12580"/>
                <a:gd name="T40" fmla="*/ 13423 w 16095"/>
                <a:gd name="T41" fmla="*/ 266 h 12580"/>
                <a:gd name="T42" fmla="*/ 11768 w 16095"/>
                <a:gd name="T43" fmla="*/ 128 h 12580"/>
                <a:gd name="T44" fmla="*/ 10112 w 16095"/>
                <a:gd name="T45" fmla="*/ 39 h 12580"/>
                <a:gd name="T46" fmla="*/ 8459 w 16095"/>
                <a:gd name="T47" fmla="*/ 2 h 12580"/>
                <a:gd name="T48" fmla="*/ 6810 w 16095"/>
                <a:gd name="T49" fmla="*/ 14 h 12580"/>
                <a:gd name="T50" fmla="*/ 5154 w 16095"/>
                <a:gd name="T51" fmla="*/ 77 h 12580"/>
                <a:gd name="T52" fmla="*/ 3498 w 16095"/>
                <a:gd name="T53" fmla="*/ 190 h 12580"/>
                <a:gd name="T54" fmla="*/ 1846 w 16095"/>
                <a:gd name="T55" fmla="*/ 353 h 12580"/>
                <a:gd name="T56" fmla="*/ 1208 w 16095"/>
                <a:gd name="T57" fmla="*/ 456 h 12580"/>
                <a:gd name="T58" fmla="*/ 944 w 16095"/>
                <a:gd name="T59" fmla="*/ 602 h 12580"/>
                <a:gd name="T60" fmla="*/ 734 w 16095"/>
                <a:gd name="T61" fmla="*/ 819 h 12580"/>
                <a:gd name="T62" fmla="*/ 599 w 16095"/>
                <a:gd name="T63" fmla="*/ 1093 h 12580"/>
                <a:gd name="T64" fmla="*/ 225 w 16095"/>
                <a:gd name="T65" fmla="*/ 2990 h 12580"/>
                <a:gd name="T66" fmla="*/ 9 w 16095"/>
                <a:gd name="T67" fmla="*/ 5428 h 12580"/>
                <a:gd name="T68" fmla="*/ 81 w 16095"/>
                <a:gd name="T69" fmla="*/ 7869 h 12580"/>
                <a:gd name="T70" fmla="*/ 442 w 16095"/>
                <a:gd name="T71" fmla="*/ 10303 h 12580"/>
                <a:gd name="T72" fmla="*/ 657 w 16095"/>
                <a:gd name="T73" fmla="*/ 11128 h 12580"/>
                <a:gd name="T74" fmla="*/ 831 w 16095"/>
                <a:gd name="T75" fmla="*/ 11375 h 12580"/>
                <a:gd name="T76" fmla="*/ 1070 w 16095"/>
                <a:gd name="T77" fmla="*/ 11558 h 12580"/>
                <a:gd name="T78" fmla="*/ 1357 w 16095"/>
                <a:gd name="T79" fmla="*/ 11662 h 12580"/>
                <a:gd name="T80" fmla="*/ 2627 w 16095"/>
                <a:gd name="T81" fmla="*/ 11805 h 12580"/>
                <a:gd name="T82" fmla="*/ 4221 w 16095"/>
                <a:gd name="T83" fmla="*/ 11939 h 12580"/>
                <a:gd name="T84" fmla="*/ 4540 w 16095"/>
                <a:gd name="T85" fmla="*/ 12035 h 12580"/>
                <a:gd name="T86" fmla="*/ 4544 w 16095"/>
                <a:gd name="T87" fmla="*/ 12128 h 12580"/>
                <a:gd name="T88" fmla="*/ 4950 w 16095"/>
                <a:gd name="T89" fmla="*/ 12316 h 12580"/>
                <a:gd name="T90" fmla="*/ 5807 w 16095"/>
                <a:gd name="T91" fmla="*/ 12465 h 12580"/>
                <a:gd name="T92" fmla="*/ 7000 w 16095"/>
                <a:gd name="T93" fmla="*/ 12558 h 12580"/>
                <a:gd name="T94" fmla="*/ 8408 w 16095"/>
                <a:gd name="T95" fmla="*/ 12577 h 12580"/>
                <a:gd name="T96" fmla="*/ 9726 w 16095"/>
                <a:gd name="T97" fmla="*/ 12520 h 12580"/>
                <a:gd name="T98" fmla="*/ 10766 w 16095"/>
                <a:gd name="T99" fmla="*/ 12397 h 12580"/>
                <a:gd name="T100" fmla="*/ 11411 w 16095"/>
                <a:gd name="T101" fmla="*/ 12227 h 12580"/>
                <a:gd name="T102" fmla="*/ 11568 w 16095"/>
                <a:gd name="T103" fmla="*/ 12063 h 12580"/>
                <a:gd name="T104" fmla="*/ 11514 w 16095"/>
                <a:gd name="T105" fmla="*/ 11992 h 12580"/>
                <a:gd name="T106" fmla="*/ 12672 w 16095"/>
                <a:gd name="T107" fmla="*/ 11878 h 12580"/>
                <a:gd name="T108" fmla="*/ 14263 w 16095"/>
                <a:gd name="T109" fmla="*/ 11722 h 12580"/>
                <a:gd name="T110" fmla="*/ 14886 w 16095"/>
                <a:gd name="T111" fmla="*/ 11621 h 12580"/>
                <a:gd name="T112" fmla="*/ 15150 w 16095"/>
                <a:gd name="T113" fmla="*/ 11475 h 12580"/>
                <a:gd name="T114" fmla="*/ 15360 w 16095"/>
                <a:gd name="T115" fmla="*/ 11258 h 12580"/>
                <a:gd name="T116" fmla="*/ 15496 w 16095"/>
                <a:gd name="T117" fmla="*/ 10985 h 12580"/>
                <a:gd name="T118" fmla="*/ 15870 w 16095"/>
                <a:gd name="T119" fmla="*/ 9087 h 12580"/>
                <a:gd name="T120" fmla="*/ 16086 w 16095"/>
                <a:gd name="T121" fmla="*/ 6649 h 12580"/>
                <a:gd name="T122" fmla="*/ 16014 w 16095"/>
                <a:gd name="T123" fmla="*/ 4208 h 12580"/>
                <a:gd name="T124" fmla="*/ 15652 w 16095"/>
                <a:gd name="T125" fmla="*/ 1775 h 12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95" h="12580">
                  <a:moveTo>
                    <a:pt x="14539" y="10677"/>
                  </a:moveTo>
                  <a:lnTo>
                    <a:pt x="14133" y="10724"/>
                  </a:lnTo>
                  <a:lnTo>
                    <a:pt x="13728" y="10769"/>
                  </a:lnTo>
                  <a:lnTo>
                    <a:pt x="13322" y="10810"/>
                  </a:lnTo>
                  <a:lnTo>
                    <a:pt x="12916" y="10849"/>
                  </a:lnTo>
                  <a:lnTo>
                    <a:pt x="12510" y="10884"/>
                  </a:lnTo>
                  <a:lnTo>
                    <a:pt x="12104" y="10917"/>
                  </a:lnTo>
                  <a:lnTo>
                    <a:pt x="11699" y="10946"/>
                  </a:lnTo>
                  <a:lnTo>
                    <a:pt x="11293" y="10972"/>
                  </a:lnTo>
                  <a:lnTo>
                    <a:pt x="10887" y="10995"/>
                  </a:lnTo>
                  <a:lnTo>
                    <a:pt x="10482" y="11015"/>
                  </a:lnTo>
                  <a:lnTo>
                    <a:pt x="10075" y="11032"/>
                  </a:lnTo>
                  <a:lnTo>
                    <a:pt x="9670" y="11046"/>
                  </a:lnTo>
                  <a:lnTo>
                    <a:pt x="9265" y="11057"/>
                  </a:lnTo>
                  <a:lnTo>
                    <a:pt x="8858" y="11064"/>
                  </a:lnTo>
                  <a:lnTo>
                    <a:pt x="8453" y="11069"/>
                  </a:lnTo>
                  <a:lnTo>
                    <a:pt x="8048" y="11071"/>
                  </a:lnTo>
                  <a:lnTo>
                    <a:pt x="7642" y="11069"/>
                  </a:lnTo>
                  <a:lnTo>
                    <a:pt x="7236" y="11064"/>
                  </a:lnTo>
                  <a:lnTo>
                    <a:pt x="6830" y="11057"/>
                  </a:lnTo>
                  <a:lnTo>
                    <a:pt x="6424" y="11046"/>
                  </a:lnTo>
                  <a:lnTo>
                    <a:pt x="6019" y="11032"/>
                  </a:lnTo>
                  <a:lnTo>
                    <a:pt x="5613" y="11015"/>
                  </a:lnTo>
                  <a:lnTo>
                    <a:pt x="5208" y="10995"/>
                  </a:lnTo>
                  <a:lnTo>
                    <a:pt x="4801" y="10972"/>
                  </a:lnTo>
                  <a:lnTo>
                    <a:pt x="4396" y="10946"/>
                  </a:lnTo>
                  <a:lnTo>
                    <a:pt x="3990" y="10917"/>
                  </a:lnTo>
                  <a:lnTo>
                    <a:pt x="3584" y="10884"/>
                  </a:lnTo>
                  <a:lnTo>
                    <a:pt x="3179" y="10849"/>
                  </a:lnTo>
                  <a:lnTo>
                    <a:pt x="2772" y="10810"/>
                  </a:lnTo>
                  <a:lnTo>
                    <a:pt x="2367" y="10769"/>
                  </a:lnTo>
                  <a:lnTo>
                    <a:pt x="1962" y="10724"/>
                  </a:lnTo>
                  <a:lnTo>
                    <a:pt x="1555" y="10677"/>
                  </a:lnTo>
                  <a:lnTo>
                    <a:pt x="1489" y="10387"/>
                  </a:lnTo>
                  <a:lnTo>
                    <a:pt x="1426" y="10097"/>
                  </a:lnTo>
                  <a:lnTo>
                    <a:pt x="1368" y="9807"/>
                  </a:lnTo>
                  <a:lnTo>
                    <a:pt x="1314" y="9516"/>
                  </a:lnTo>
                  <a:lnTo>
                    <a:pt x="1264" y="9227"/>
                  </a:lnTo>
                  <a:lnTo>
                    <a:pt x="1219" y="8937"/>
                  </a:lnTo>
                  <a:lnTo>
                    <a:pt x="1178" y="8647"/>
                  </a:lnTo>
                  <a:lnTo>
                    <a:pt x="1142" y="8357"/>
                  </a:lnTo>
                  <a:lnTo>
                    <a:pt x="1110" y="8068"/>
                  </a:lnTo>
                  <a:lnTo>
                    <a:pt x="1081" y="7778"/>
                  </a:lnTo>
                  <a:lnTo>
                    <a:pt x="1057" y="7488"/>
                  </a:lnTo>
                  <a:lnTo>
                    <a:pt x="1038" y="7197"/>
                  </a:lnTo>
                  <a:lnTo>
                    <a:pt x="1023" y="6908"/>
                  </a:lnTo>
                  <a:lnTo>
                    <a:pt x="1012" y="6618"/>
                  </a:lnTo>
                  <a:lnTo>
                    <a:pt x="1006" y="6328"/>
                  </a:lnTo>
                  <a:lnTo>
                    <a:pt x="1004" y="6038"/>
                  </a:lnTo>
                  <a:lnTo>
                    <a:pt x="1006" y="5749"/>
                  </a:lnTo>
                  <a:lnTo>
                    <a:pt x="1012" y="5459"/>
                  </a:lnTo>
                  <a:lnTo>
                    <a:pt x="1023" y="5169"/>
                  </a:lnTo>
                  <a:lnTo>
                    <a:pt x="1038" y="4878"/>
                  </a:lnTo>
                  <a:lnTo>
                    <a:pt x="1057" y="4589"/>
                  </a:lnTo>
                  <a:lnTo>
                    <a:pt x="1081" y="4299"/>
                  </a:lnTo>
                  <a:lnTo>
                    <a:pt x="1110" y="4009"/>
                  </a:lnTo>
                  <a:lnTo>
                    <a:pt x="1142" y="3719"/>
                  </a:lnTo>
                  <a:lnTo>
                    <a:pt x="1178" y="3430"/>
                  </a:lnTo>
                  <a:lnTo>
                    <a:pt x="1219" y="3140"/>
                  </a:lnTo>
                  <a:lnTo>
                    <a:pt x="1264" y="2850"/>
                  </a:lnTo>
                  <a:lnTo>
                    <a:pt x="1314" y="2560"/>
                  </a:lnTo>
                  <a:lnTo>
                    <a:pt x="1368" y="2270"/>
                  </a:lnTo>
                  <a:lnTo>
                    <a:pt x="1426" y="1980"/>
                  </a:lnTo>
                  <a:lnTo>
                    <a:pt x="1489" y="1690"/>
                  </a:lnTo>
                  <a:lnTo>
                    <a:pt x="1555" y="1400"/>
                  </a:lnTo>
                  <a:lnTo>
                    <a:pt x="1962" y="1353"/>
                  </a:lnTo>
                  <a:lnTo>
                    <a:pt x="2367" y="1308"/>
                  </a:lnTo>
                  <a:lnTo>
                    <a:pt x="2772" y="1267"/>
                  </a:lnTo>
                  <a:lnTo>
                    <a:pt x="3179" y="1228"/>
                  </a:lnTo>
                  <a:lnTo>
                    <a:pt x="3584" y="1192"/>
                  </a:lnTo>
                  <a:lnTo>
                    <a:pt x="3990" y="1160"/>
                  </a:lnTo>
                  <a:lnTo>
                    <a:pt x="4396" y="1131"/>
                  </a:lnTo>
                  <a:lnTo>
                    <a:pt x="4801" y="1105"/>
                  </a:lnTo>
                  <a:lnTo>
                    <a:pt x="5208" y="1082"/>
                  </a:lnTo>
                  <a:lnTo>
                    <a:pt x="5613" y="1061"/>
                  </a:lnTo>
                  <a:lnTo>
                    <a:pt x="6019" y="1045"/>
                  </a:lnTo>
                  <a:lnTo>
                    <a:pt x="6424" y="1031"/>
                  </a:lnTo>
                  <a:lnTo>
                    <a:pt x="6830" y="1020"/>
                  </a:lnTo>
                  <a:lnTo>
                    <a:pt x="7236" y="1013"/>
                  </a:lnTo>
                  <a:lnTo>
                    <a:pt x="7642" y="1008"/>
                  </a:lnTo>
                  <a:lnTo>
                    <a:pt x="8048" y="1006"/>
                  </a:lnTo>
                  <a:lnTo>
                    <a:pt x="8453" y="1008"/>
                  </a:lnTo>
                  <a:lnTo>
                    <a:pt x="8858" y="1013"/>
                  </a:lnTo>
                  <a:lnTo>
                    <a:pt x="9265" y="1020"/>
                  </a:lnTo>
                  <a:lnTo>
                    <a:pt x="9670" y="1031"/>
                  </a:lnTo>
                  <a:lnTo>
                    <a:pt x="10075" y="1045"/>
                  </a:lnTo>
                  <a:lnTo>
                    <a:pt x="10482" y="1061"/>
                  </a:lnTo>
                  <a:lnTo>
                    <a:pt x="10887" y="1082"/>
                  </a:lnTo>
                  <a:lnTo>
                    <a:pt x="11293" y="1105"/>
                  </a:lnTo>
                  <a:lnTo>
                    <a:pt x="11699" y="1131"/>
                  </a:lnTo>
                  <a:lnTo>
                    <a:pt x="12104" y="1160"/>
                  </a:lnTo>
                  <a:lnTo>
                    <a:pt x="12510" y="1192"/>
                  </a:lnTo>
                  <a:lnTo>
                    <a:pt x="12916" y="1228"/>
                  </a:lnTo>
                  <a:lnTo>
                    <a:pt x="13322" y="1267"/>
                  </a:lnTo>
                  <a:lnTo>
                    <a:pt x="13728" y="1308"/>
                  </a:lnTo>
                  <a:lnTo>
                    <a:pt x="14133" y="1353"/>
                  </a:lnTo>
                  <a:lnTo>
                    <a:pt x="14539" y="1400"/>
                  </a:lnTo>
                  <a:lnTo>
                    <a:pt x="14606" y="1690"/>
                  </a:lnTo>
                  <a:lnTo>
                    <a:pt x="14669" y="1980"/>
                  </a:lnTo>
                  <a:lnTo>
                    <a:pt x="14727" y="2270"/>
                  </a:lnTo>
                  <a:lnTo>
                    <a:pt x="14780" y="2560"/>
                  </a:lnTo>
                  <a:lnTo>
                    <a:pt x="14831" y="2850"/>
                  </a:lnTo>
                  <a:lnTo>
                    <a:pt x="14876" y="3140"/>
                  </a:lnTo>
                  <a:lnTo>
                    <a:pt x="14916" y="3430"/>
                  </a:lnTo>
                  <a:lnTo>
                    <a:pt x="14953" y="3719"/>
                  </a:lnTo>
                  <a:lnTo>
                    <a:pt x="14985" y="4009"/>
                  </a:lnTo>
                  <a:lnTo>
                    <a:pt x="15014" y="4299"/>
                  </a:lnTo>
                  <a:lnTo>
                    <a:pt x="15037" y="4589"/>
                  </a:lnTo>
                  <a:lnTo>
                    <a:pt x="15057" y="4878"/>
                  </a:lnTo>
                  <a:lnTo>
                    <a:pt x="15072" y="5169"/>
                  </a:lnTo>
                  <a:lnTo>
                    <a:pt x="15082" y="5459"/>
                  </a:lnTo>
                  <a:lnTo>
                    <a:pt x="15089" y="5749"/>
                  </a:lnTo>
                  <a:lnTo>
                    <a:pt x="15091" y="6038"/>
                  </a:lnTo>
                  <a:lnTo>
                    <a:pt x="15089" y="6328"/>
                  </a:lnTo>
                  <a:lnTo>
                    <a:pt x="15082" y="6618"/>
                  </a:lnTo>
                  <a:lnTo>
                    <a:pt x="15072" y="6908"/>
                  </a:lnTo>
                  <a:lnTo>
                    <a:pt x="15057" y="7197"/>
                  </a:lnTo>
                  <a:lnTo>
                    <a:pt x="15037" y="7488"/>
                  </a:lnTo>
                  <a:lnTo>
                    <a:pt x="15014" y="7778"/>
                  </a:lnTo>
                  <a:lnTo>
                    <a:pt x="14985" y="8068"/>
                  </a:lnTo>
                  <a:lnTo>
                    <a:pt x="14953" y="8357"/>
                  </a:lnTo>
                  <a:lnTo>
                    <a:pt x="14916" y="8647"/>
                  </a:lnTo>
                  <a:lnTo>
                    <a:pt x="14876" y="8937"/>
                  </a:lnTo>
                  <a:lnTo>
                    <a:pt x="14831" y="9227"/>
                  </a:lnTo>
                  <a:lnTo>
                    <a:pt x="14780" y="9516"/>
                  </a:lnTo>
                  <a:lnTo>
                    <a:pt x="14727" y="9807"/>
                  </a:lnTo>
                  <a:lnTo>
                    <a:pt x="14669" y="10097"/>
                  </a:lnTo>
                  <a:lnTo>
                    <a:pt x="14606" y="10387"/>
                  </a:lnTo>
                  <a:lnTo>
                    <a:pt x="14539" y="10677"/>
                  </a:lnTo>
                  <a:close/>
                  <a:moveTo>
                    <a:pt x="15518" y="1168"/>
                  </a:moveTo>
                  <a:lnTo>
                    <a:pt x="15508" y="1130"/>
                  </a:lnTo>
                  <a:lnTo>
                    <a:pt x="15496" y="1093"/>
                  </a:lnTo>
                  <a:lnTo>
                    <a:pt x="15483" y="1055"/>
                  </a:lnTo>
                  <a:lnTo>
                    <a:pt x="15470" y="1019"/>
                  </a:lnTo>
                  <a:lnTo>
                    <a:pt x="15454" y="984"/>
                  </a:lnTo>
                  <a:lnTo>
                    <a:pt x="15438" y="950"/>
                  </a:lnTo>
                  <a:lnTo>
                    <a:pt x="15420" y="916"/>
                  </a:lnTo>
                  <a:lnTo>
                    <a:pt x="15401" y="882"/>
                  </a:lnTo>
                  <a:lnTo>
                    <a:pt x="15381" y="850"/>
                  </a:lnTo>
                  <a:lnTo>
                    <a:pt x="15360" y="819"/>
                  </a:lnTo>
                  <a:lnTo>
                    <a:pt x="15338" y="789"/>
                  </a:lnTo>
                  <a:lnTo>
                    <a:pt x="15313" y="759"/>
                  </a:lnTo>
                  <a:lnTo>
                    <a:pt x="15289" y="730"/>
                  </a:lnTo>
                  <a:lnTo>
                    <a:pt x="15263" y="702"/>
                  </a:lnTo>
                  <a:lnTo>
                    <a:pt x="15237" y="676"/>
                  </a:lnTo>
                  <a:lnTo>
                    <a:pt x="15209" y="650"/>
                  </a:lnTo>
                  <a:lnTo>
                    <a:pt x="15181" y="626"/>
                  </a:lnTo>
                  <a:lnTo>
                    <a:pt x="15150" y="602"/>
                  </a:lnTo>
                  <a:lnTo>
                    <a:pt x="15120" y="580"/>
                  </a:lnTo>
                  <a:lnTo>
                    <a:pt x="15089" y="558"/>
                  </a:lnTo>
                  <a:lnTo>
                    <a:pt x="15057" y="538"/>
                  </a:lnTo>
                  <a:lnTo>
                    <a:pt x="15025" y="519"/>
                  </a:lnTo>
                  <a:lnTo>
                    <a:pt x="14990" y="502"/>
                  </a:lnTo>
                  <a:lnTo>
                    <a:pt x="14956" y="485"/>
                  </a:lnTo>
                  <a:lnTo>
                    <a:pt x="14922" y="470"/>
                  </a:lnTo>
                  <a:lnTo>
                    <a:pt x="14886" y="456"/>
                  </a:lnTo>
                  <a:lnTo>
                    <a:pt x="14850" y="444"/>
                  </a:lnTo>
                  <a:lnTo>
                    <a:pt x="14813" y="433"/>
                  </a:lnTo>
                  <a:lnTo>
                    <a:pt x="14775" y="423"/>
                  </a:lnTo>
                  <a:lnTo>
                    <a:pt x="14738" y="415"/>
                  </a:lnTo>
                  <a:lnTo>
                    <a:pt x="14699" y="407"/>
                  </a:lnTo>
                  <a:lnTo>
                    <a:pt x="14661" y="401"/>
                  </a:lnTo>
                  <a:lnTo>
                    <a:pt x="14454" y="377"/>
                  </a:lnTo>
                  <a:lnTo>
                    <a:pt x="14248" y="353"/>
                  </a:lnTo>
                  <a:lnTo>
                    <a:pt x="14043" y="330"/>
                  </a:lnTo>
                  <a:lnTo>
                    <a:pt x="13837" y="308"/>
                  </a:lnTo>
                  <a:lnTo>
                    <a:pt x="13629" y="287"/>
                  </a:lnTo>
                  <a:lnTo>
                    <a:pt x="13423" y="266"/>
                  </a:lnTo>
                  <a:lnTo>
                    <a:pt x="13217" y="245"/>
                  </a:lnTo>
                  <a:lnTo>
                    <a:pt x="13010" y="226"/>
                  </a:lnTo>
                  <a:lnTo>
                    <a:pt x="12804" y="208"/>
                  </a:lnTo>
                  <a:lnTo>
                    <a:pt x="12596" y="190"/>
                  </a:lnTo>
                  <a:lnTo>
                    <a:pt x="12389" y="174"/>
                  </a:lnTo>
                  <a:lnTo>
                    <a:pt x="12183" y="158"/>
                  </a:lnTo>
                  <a:lnTo>
                    <a:pt x="11976" y="142"/>
                  </a:lnTo>
                  <a:lnTo>
                    <a:pt x="11768" y="128"/>
                  </a:lnTo>
                  <a:lnTo>
                    <a:pt x="11561" y="114"/>
                  </a:lnTo>
                  <a:lnTo>
                    <a:pt x="11354" y="101"/>
                  </a:lnTo>
                  <a:lnTo>
                    <a:pt x="11147" y="89"/>
                  </a:lnTo>
                  <a:lnTo>
                    <a:pt x="10940" y="77"/>
                  </a:lnTo>
                  <a:lnTo>
                    <a:pt x="10732" y="66"/>
                  </a:lnTo>
                  <a:lnTo>
                    <a:pt x="10526" y="57"/>
                  </a:lnTo>
                  <a:lnTo>
                    <a:pt x="10319" y="48"/>
                  </a:lnTo>
                  <a:lnTo>
                    <a:pt x="10112" y="39"/>
                  </a:lnTo>
                  <a:lnTo>
                    <a:pt x="9904" y="32"/>
                  </a:lnTo>
                  <a:lnTo>
                    <a:pt x="9698" y="25"/>
                  </a:lnTo>
                  <a:lnTo>
                    <a:pt x="9491" y="19"/>
                  </a:lnTo>
                  <a:lnTo>
                    <a:pt x="9285" y="14"/>
                  </a:lnTo>
                  <a:lnTo>
                    <a:pt x="9078" y="10"/>
                  </a:lnTo>
                  <a:lnTo>
                    <a:pt x="8871" y="6"/>
                  </a:lnTo>
                  <a:lnTo>
                    <a:pt x="8665" y="4"/>
                  </a:lnTo>
                  <a:lnTo>
                    <a:pt x="8459" y="2"/>
                  </a:lnTo>
                  <a:lnTo>
                    <a:pt x="8254" y="0"/>
                  </a:lnTo>
                  <a:lnTo>
                    <a:pt x="8048" y="0"/>
                  </a:lnTo>
                  <a:lnTo>
                    <a:pt x="7841" y="0"/>
                  </a:lnTo>
                  <a:lnTo>
                    <a:pt x="7636" y="2"/>
                  </a:lnTo>
                  <a:lnTo>
                    <a:pt x="7430" y="4"/>
                  </a:lnTo>
                  <a:lnTo>
                    <a:pt x="7224" y="6"/>
                  </a:lnTo>
                  <a:lnTo>
                    <a:pt x="7016" y="10"/>
                  </a:lnTo>
                  <a:lnTo>
                    <a:pt x="6810" y="14"/>
                  </a:lnTo>
                  <a:lnTo>
                    <a:pt x="6604" y="19"/>
                  </a:lnTo>
                  <a:lnTo>
                    <a:pt x="6397" y="25"/>
                  </a:lnTo>
                  <a:lnTo>
                    <a:pt x="6190" y="32"/>
                  </a:lnTo>
                  <a:lnTo>
                    <a:pt x="5983" y="39"/>
                  </a:lnTo>
                  <a:lnTo>
                    <a:pt x="5776" y="48"/>
                  </a:lnTo>
                  <a:lnTo>
                    <a:pt x="5569" y="57"/>
                  </a:lnTo>
                  <a:lnTo>
                    <a:pt x="5362" y="66"/>
                  </a:lnTo>
                  <a:lnTo>
                    <a:pt x="5154" y="77"/>
                  </a:lnTo>
                  <a:lnTo>
                    <a:pt x="4948" y="89"/>
                  </a:lnTo>
                  <a:lnTo>
                    <a:pt x="4741" y="101"/>
                  </a:lnTo>
                  <a:lnTo>
                    <a:pt x="4534" y="114"/>
                  </a:lnTo>
                  <a:lnTo>
                    <a:pt x="4327" y="128"/>
                  </a:lnTo>
                  <a:lnTo>
                    <a:pt x="4119" y="142"/>
                  </a:lnTo>
                  <a:lnTo>
                    <a:pt x="3912" y="158"/>
                  </a:lnTo>
                  <a:lnTo>
                    <a:pt x="3705" y="174"/>
                  </a:lnTo>
                  <a:lnTo>
                    <a:pt x="3498" y="190"/>
                  </a:lnTo>
                  <a:lnTo>
                    <a:pt x="3291" y="208"/>
                  </a:lnTo>
                  <a:lnTo>
                    <a:pt x="3084" y="226"/>
                  </a:lnTo>
                  <a:lnTo>
                    <a:pt x="2878" y="245"/>
                  </a:lnTo>
                  <a:lnTo>
                    <a:pt x="2671" y="266"/>
                  </a:lnTo>
                  <a:lnTo>
                    <a:pt x="2465" y="287"/>
                  </a:lnTo>
                  <a:lnTo>
                    <a:pt x="2258" y="308"/>
                  </a:lnTo>
                  <a:lnTo>
                    <a:pt x="2052" y="330"/>
                  </a:lnTo>
                  <a:lnTo>
                    <a:pt x="1846" y="353"/>
                  </a:lnTo>
                  <a:lnTo>
                    <a:pt x="1640" y="377"/>
                  </a:lnTo>
                  <a:lnTo>
                    <a:pt x="1434" y="401"/>
                  </a:lnTo>
                  <a:lnTo>
                    <a:pt x="1395" y="407"/>
                  </a:lnTo>
                  <a:lnTo>
                    <a:pt x="1357" y="415"/>
                  </a:lnTo>
                  <a:lnTo>
                    <a:pt x="1319" y="423"/>
                  </a:lnTo>
                  <a:lnTo>
                    <a:pt x="1282" y="433"/>
                  </a:lnTo>
                  <a:lnTo>
                    <a:pt x="1244" y="444"/>
                  </a:lnTo>
                  <a:lnTo>
                    <a:pt x="1208" y="456"/>
                  </a:lnTo>
                  <a:lnTo>
                    <a:pt x="1173" y="470"/>
                  </a:lnTo>
                  <a:lnTo>
                    <a:pt x="1138" y="485"/>
                  </a:lnTo>
                  <a:lnTo>
                    <a:pt x="1104" y="502"/>
                  </a:lnTo>
                  <a:lnTo>
                    <a:pt x="1070" y="519"/>
                  </a:lnTo>
                  <a:lnTo>
                    <a:pt x="1037" y="538"/>
                  </a:lnTo>
                  <a:lnTo>
                    <a:pt x="1005" y="558"/>
                  </a:lnTo>
                  <a:lnTo>
                    <a:pt x="974" y="580"/>
                  </a:lnTo>
                  <a:lnTo>
                    <a:pt x="944" y="602"/>
                  </a:lnTo>
                  <a:lnTo>
                    <a:pt x="914" y="626"/>
                  </a:lnTo>
                  <a:lnTo>
                    <a:pt x="885" y="650"/>
                  </a:lnTo>
                  <a:lnTo>
                    <a:pt x="858" y="676"/>
                  </a:lnTo>
                  <a:lnTo>
                    <a:pt x="831" y="702"/>
                  </a:lnTo>
                  <a:lnTo>
                    <a:pt x="806" y="730"/>
                  </a:lnTo>
                  <a:lnTo>
                    <a:pt x="781" y="759"/>
                  </a:lnTo>
                  <a:lnTo>
                    <a:pt x="757" y="789"/>
                  </a:lnTo>
                  <a:lnTo>
                    <a:pt x="734" y="819"/>
                  </a:lnTo>
                  <a:lnTo>
                    <a:pt x="713" y="850"/>
                  </a:lnTo>
                  <a:lnTo>
                    <a:pt x="693" y="882"/>
                  </a:lnTo>
                  <a:lnTo>
                    <a:pt x="674" y="916"/>
                  </a:lnTo>
                  <a:lnTo>
                    <a:pt x="657" y="950"/>
                  </a:lnTo>
                  <a:lnTo>
                    <a:pt x="640" y="984"/>
                  </a:lnTo>
                  <a:lnTo>
                    <a:pt x="625" y="1019"/>
                  </a:lnTo>
                  <a:lnTo>
                    <a:pt x="611" y="1055"/>
                  </a:lnTo>
                  <a:lnTo>
                    <a:pt x="599" y="1093"/>
                  </a:lnTo>
                  <a:lnTo>
                    <a:pt x="586" y="1130"/>
                  </a:lnTo>
                  <a:lnTo>
                    <a:pt x="577" y="1168"/>
                  </a:lnTo>
                  <a:lnTo>
                    <a:pt x="507" y="1471"/>
                  </a:lnTo>
                  <a:lnTo>
                    <a:pt x="442" y="1775"/>
                  </a:lnTo>
                  <a:lnTo>
                    <a:pt x="381" y="2078"/>
                  </a:lnTo>
                  <a:lnTo>
                    <a:pt x="325" y="2381"/>
                  </a:lnTo>
                  <a:lnTo>
                    <a:pt x="273" y="2686"/>
                  </a:lnTo>
                  <a:lnTo>
                    <a:pt x="225" y="2990"/>
                  </a:lnTo>
                  <a:lnTo>
                    <a:pt x="183" y="3294"/>
                  </a:lnTo>
                  <a:lnTo>
                    <a:pt x="145" y="3599"/>
                  </a:lnTo>
                  <a:lnTo>
                    <a:pt x="111" y="3904"/>
                  </a:lnTo>
                  <a:lnTo>
                    <a:pt x="81" y="4208"/>
                  </a:lnTo>
                  <a:lnTo>
                    <a:pt x="56" y="4513"/>
                  </a:lnTo>
                  <a:lnTo>
                    <a:pt x="36" y="4818"/>
                  </a:lnTo>
                  <a:lnTo>
                    <a:pt x="20" y="5123"/>
                  </a:lnTo>
                  <a:lnTo>
                    <a:pt x="9" y="5428"/>
                  </a:lnTo>
                  <a:lnTo>
                    <a:pt x="2" y="5734"/>
                  </a:lnTo>
                  <a:lnTo>
                    <a:pt x="0" y="6038"/>
                  </a:lnTo>
                  <a:lnTo>
                    <a:pt x="2" y="6343"/>
                  </a:lnTo>
                  <a:lnTo>
                    <a:pt x="9" y="6649"/>
                  </a:lnTo>
                  <a:lnTo>
                    <a:pt x="20" y="6954"/>
                  </a:lnTo>
                  <a:lnTo>
                    <a:pt x="36" y="7259"/>
                  </a:lnTo>
                  <a:lnTo>
                    <a:pt x="56" y="7564"/>
                  </a:lnTo>
                  <a:lnTo>
                    <a:pt x="81" y="7869"/>
                  </a:lnTo>
                  <a:lnTo>
                    <a:pt x="111" y="8173"/>
                  </a:lnTo>
                  <a:lnTo>
                    <a:pt x="145" y="8478"/>
                  </a:lnTo>
                  <a:lnTo>
                    <a:pt x="183" y="8783"/>
                  </a:lnTo>
                  <a:lnTo>
                    <a:pt x="225" y="9087"/>
                  </a:lnTo>
                  <a:lnTo>
                    <a:pt x="273" y="9392"/>
                  </a:lnTo>
                  <a:lnTo>
                    <a:pt x="325" y="9696"/>
                  </a:lnTo>
                  <a:lnTo>
                    <a:pt x="381" y="9999"/>
                  </a:lnTo>
                  <a:lnTo>
                    <a:pt x="442" y="10303"/>
                  </a:lnTo>
                  <a:lnTo>
                    <a:pt x="507" y="10606"/>
                  </a:lnTo>
                  <a:lnTo>
                    <a:pt x="577" y="10910"/>
                  </a:lnTo>
                  <a:lnTo>
                    <a:pt x="586" y="10947"/>
                  </a:lnTo>
                  <a:lnTo>
                    <a:pt x="599" y="10985"/>
                  </a:lnTo>
                  <a:lnTo>
                    <a:pt x="611" y="11022"/>
                  </a:lnTo>
                  <a:lnTo>
                    <a:pt x="625" y="11058"/>
                  </a:lnTo>
                  <a:lnTo>
                    <a:pt x="640" y="11093"/>
                  </a:lnTo>
                  <a:lnTo>
                    <a:pt x="657" y="11128"/>
                  </a:lnTo>
                  <a:lnTo>
                    <a:pt x="674" y="11161"/>
                  </a:lnTo>
                  <a:lnTo>
                    <a:pt x="693" y="11195"/>
                  </a:lnTo>
                  <a:lnTo>
                    <a:pt x="713" y="11227"/>
                  </a:lnTo>
                  <a:lnTo>
                    <a:pt x="734" y="11258"/>
                  </a:lnTo>
                  <a:lnTo>
                    <a:pt x="757" y="11289"/>
                  </a:lnTo>
                  <a:lnTo>
                    <a:pt x="781" y="11318"/>
                  </a:lnTo>
                  <a:lnTo>
                    <a:pt x="806" y="11348"/>
                  </a:lnTo>
                  <a:lnTo>
                    <a:pt x="831" y="11375"/>
                  </a:lnTo>
                  <a:lnTo>
                    <a:pt x="858" y="11402"/>
                  </a:lnTo>
                  <a:lnTo>
                    <a:pt x="885" y="11427"/>
                  </a:lnTo>
                  <a:lnTo>
                    <a:pt x="914" y="11451"/>
                  </a:lnTo>
                  <a:lnTo>
                    <a:pt x="944" y="11475"/>
                  </a:lnTo>
                  <a:lnTo>
                    <a:pt x="974" y="11497"/>
                  </a:lnTo>
                  <a:lnTo>
                    <a:pt x="1005" y="11519"/>
                  </a:lnTo>
                  <a:lnTo>
                    <a:pt x="1037" y="11539"/>
                  </a:lnTo>
                  <a:lnTo>
                    <a:pt x="1070" y="11558"/>
                  </a:lnTo>
                  <a:lnTo>
                    <a:pt x="1104" y="11576"/>
                  </a:lnTo>
                  <a:lnTo>
                    <a:pt x="1138" y="11592"/>
                  </a:lnTo>
                  <a:lnTo>
                    <a:pt x="1173" y="11607"/>
                  </a:lnTo>
                  <a:lnTo>
                    <a:pt x="1208" y="11621"/>
                  </a:lnTo>
                  <a:lnTo>
                    <a:pt x="1244" y="11633"/>
                  </a:lnTo>
                  <a:lnTo>
                    <a:pt x="1282" y="11644"/>
                  </a:lnTo>
                  <a:lnTo>
                    <a:pt x="1319" y="11654"/>
                  </a:lnTo>
                  <a:lnTo>
                    <a:pt x="1357" y="11662"/>
                  </a:lnTo>
                  <a:lnTo>
                    <a:pt x="1395" y="11669"/>
                  </a:lnTo>
                  <a:lnTo>
                    <a:pt x="1434" y="11676"/>
                  </a:lnTo>
                  <a:lnTo>
                    <a:pt x="1633" y="11699"/>
                  </a:lnTo>
                  <a:lnTo>
                    <a:pt x="1831" y="11722"/>
                  </a:lnTo>
                  <a:lnTo>
                    <a:pt x="2030" y="11744"/>
                  </a:lnTo>
                  <a:lnTo>
                    <a:pt x="2228" y="11765"/>
                  </a:lnTo>
                  <a:lnTo>
                    <a:pt x="2427" y="11786"/>
                  </a:lnTo>
                  <a:lnTo>
                    <a:pt x="2627" y="11805"/>
                  </a:lnTo>
                  <a:lnTo>
                    <a:pt x="2826" y="11824"/>
                  </a:lnTo>
                  <a:lnTo>
                    <a:pt x="3025" y="11844"/>
                  </a:lnTo>
                  <a:lnTo>
                    <a:pt x="3224" y="11861"/>
                  </a:lnTo>
                  <a:lnTo>
                    <a:pt x="3423" y="11878"/>
                  </a:lnTo>
                  <a:lnTo>
                    <a:pt x="3622" y="11894"/>
                  </a:lnTo>
                  <a:lnTo>
                    <a:pt x="3822" y="11910"/>
                  </a:lnTo>
                  <a:lnTo>
                    <a:pt x="4021" y="11924"/>
                  </a:lnTo>
                  <a:lnTo>
                    <a:pt x="4221" y="11939"/>
                  </a:lnTo>
                  <a:lnTo>
                    <a:pt x="4420" y="11952"/>
                  </a:lnTo>
                  <a:lnTo>
                    <a:pt x="4619" y="11965"/>
                  </a:lnTo>
                  <a:lnTo>
                    <a:pt x="4599" y="11978"/>
                  </a:lnTo>
                  <a:lnTo>
                    <a:pt x="4581" y="11992"/>
                  </a:lnTo>
                  <a:lnTo>
                    <a:pt x="4565" y="12007"/>
                  </a:lnTo>
                  <a:lnTo>
                    <a:pt x="4551" y="12021"/>
                  </a:lnTo>
                  <a:lnTo>
                    <a:pt x="4546" y="12028"/>
                  </a:lnTo>
                  <a:lnTo>
                    <a:pt x="4540" y="12035"/>
                  </a:lnTo>
                  <a:lnTo>
                    <a:pt x="4536" y="12042"/>
                  </a:lnTo>
                  <a:lnTo>
                    <a:pt x="4533" y="12049"/>
                  </a:lnTo>
                  <a:lnTo>
                    <a:pt x="4530" y="12056"/>
                  </a:lnTo>
                  <a:lnTo>
                    <a:pt x="4528" y="12063"/>
                  </a:lnTo>
                  <a:lnTo>
                    <a:pt x="4526" y="12070"/>
                  </a:lnTo>
                  <a:lnTo>
                    <a:pt x="4526" y="12077"/>
                  </a:lnTo>
                  <a:lnTo>
                    <a:pt x="4531" y="12103"/>
                  </a:lnTo>
                  <a:lnTo>
                    <a:pt x="4544" y="12128"/>
                  </a:lnTo>
                  <a:lnTo>
                    <a:pt x="4566" y="12153"/>
                  </a:lnTo>
                  <a:lnTo>
                    <a:pt x="4597" y="12179"/>
                  </a:lnTo>
                  <a:lnTo>
                    <a:pt x="4636" y="12203"/>
                  </a:lnTo>
                  <a:lnTo>
                    <a:pt x="4684" y="12227"/>
                  </a:lnTo>
                  <a:lnTo>
                    <a:pt x="4739" y="12250"/>
                  </a:lnTo>
                  <a:lnTo>
                    <a:pt x="4802" y="12273"/>
                  </a:lnTo>
                  <a:lnTo>
                    <a:pt x="4873" y="12295"/>
                  </a:lnTo>
                  <a:lnTo>
                    <a:pt x="4950" y="12316"/>
                  </a:lnTo>
                  <a:lnTo>
                    <a:pt x="5036" y="12338"/>
                  </a:lnTo>
                  <a:lnTo>
                    <a:pt x="5127" y="12359"/>
                  </a:lnTo>
                  <a:lnTo>
                    <a:pt x="5225" y="12378"/>
                  </a:lnTo>
                  <a:lnTo>
                    <a:pt x="5329" y="12397"/>
                  </a:lnTo>
                  <a:lnTo>
                    <a:pt x="5440" y="12415"/>
                  </a:lnTo>
                  <a:lnTo>
                    <a:pt x="5557" y="12433"/>
                  </a:lnTo>
                  <a:lnTo>
                    <a:pt x="5680" y="12449"/>
                  </a:lnTo>
                  <a:lnTo>
                    <a:pt x="5807" y="12465"/>
                  </a:lnTo>
                  <a:lnTo>
                    <a:pt x="5940" y="12480"/>
                  </a:lnTo>
                  <a:lnTo>
                    <a:pt x="6078" y="12494"/>
                  </a:lnTo>
                  <a:lnTo>
                    <a:pt x="6221" y="12508"/>
                  </a:lnTo>
                  <a:lnTo>
                    <a:pt x="6369" y="12520"/>
                  </a:lnTo>
                  <a:lnTo>
                    <a:pt x="6520" y="12531"/>
                  </a:lnTo>
                  <a:lnTo>
                    <a:pt x="6676" y="12541"/>
                  </a:lnTo>
                  <a:lnTo>
                    <a:pt x="6836" y="12550"/>
                  </a:lnTo>
                  <a:lnTo>
                    <a:pt x="7000" y="12558"/>
                  </a:lnTo>
                  <a:lnTo>
                    <a:pt x="7167" y="12564"/>
                  </a:lnTo>
                  <a:lnTo>
                    <a:pt x="7337" y="12570"/>
                  </a:lnTo>
                  <a:lnTo>
                    <a:pt x="7511" y="12574"/>
                  </a:lnTo>
                  <a:lnTo>
                    <a:pt x="7687" y="12577"/>
                  </a:lnTo>
                  <a:lnTo>
                    <a:pt x="7866" y="12579"/>
                  </a:lnTo>
                  <a:lnTo>
                    <a:pt x="8048" y="12580"/>
                  </a:lnTo>
                  <a:lnTo>
                    <a:pt x="8229" y="12579"/>
                  </a:lnTo>
                  <a:lnTo>
                    <a:pt x="8408" y="12577"/>
                  </a:lnTo>
                  <a:lnTo>
                    <a:pt x="8584" y="12574"/>
                  </a:lnTo>
                  <a:lnTo>
                    <a:pt x="8758" y="12570"/>
                  </a:lnTo>
                  <a:lnTo>
                    <a:pt x="8928" y="12564"/>
                  </a:lnTo>
                  <a:lnTo>
                    <a:pt x="9095" y="12558"/>
                  </a:lnTo>
                  <a:lnTo>
                    <a:pt x="9259" y="12550"/>
                  </a:lnTo>
                  <a:lnTo>
                    <a:pt x="9419" y="12541"/>
                  </a:lnTo>
                  <a:lnTo>
                    <a:pt x="9575" y="12531"/>
                  </a:lnTo>
                  <a:lnTo>
                    <a:pt x="9726" y="12520"/>
                  </a:lnTo>
                  <a:lnTo>
                    <a:pt x="9874" y="12508"/>
                  </a:lnTo>
                  <a:lnTo>
                    <a:pt x="10017" y="12494"/>
                  </a:lnTo>
                  <a:lnTo>
                    <a:pt x="10155" y="12480"/>
                  </a:lnTo>
                  <a:lnTo>
                    <a:pt x="10288" y="12465"/>
                  </a:lnTo>
                  <a:lnTo>
                    <a:pt x="10415" y="12449"/>
                  </a:lnTo>
                  <a:lnTo>
                    <a:pt x="10538" y="12433"/>
                  </a:lnTo>
                  <a:lnTo>
                    <a:pt x="10655" y="12415"/>
                  </a:lnTo>
                  <a:lnTo>
                    <a:pt x="10766" y="12397"/>
                  </a:lnTo>
                  <a:lnTo>
                    <a:pt x="10870" y="12378"/>
                  </a:lnTo>
                  <a:lnTo>
                    <a:pt x="10968" y="12359"/>
                  </a:lnTo>
                  <a:lnTo>
                    <a:pt x="11059" y="12338"/>
                  </a:lnTo>
                  <a:lnTo>
                    <a:pt x="11145" y="12316"/>
                  </a:lnTo>
                  <a:lnTo>
                    <a:pt x="11222" y="12295"/>
                  </a:lnTo>
                  <a:lnTo>
                    <a:pt x="11293" y="12273"/>
                  </a:lnTo>
                  <a:lnTo>
                    <a:pt x="11356" y="12250"/>
                  </a:lnTo>
                  <a:lnTo>
                    <a:pt x="11411" y="12227"/>
                  </a:lnTo>
                  <a:lnTo>
                    <a:pt x="11459" y="12203"/>
                  </a:lnTo>
                  <a:lnTo>
                    <a:pt x="11498" y="12179"/>
                  </a:lnTo>
                  <a:lnTo>
                    <a:pt x="11529" y="12153"/>
                  </a:lnTo>
                  <a:lnTo>
                    <a:pt x="11551" y="12128"/>
                  </a:lnTo>
                  <a:lnTo>
                    <a:pt x="11565" y="12103"/>
                  </a:lnTo>
                  <a:lnTo>
                    <a:pt x="11569" y="12077"/>
                  </a:lnTo>
                  <a:lnTo>
                    <a:pt x="11569" y="12070"/>
                  </a:lnTo>
                  <a:lnTo>
                    <a:pt x="11568" y="12063"/>
                  </a:lnTo>
                  <a:lnTo>
                    <a:pt x="11565" y="12056"/>
                  </a:lnTo>
                  <a:lnTo>
                    <a:pt x="11563" y="12049"/>
                  </a:lnTo>
                  <a:lnTo>
                    <a:pt x="11559" y="12042"/>
                  </a:lnTo>
                  <a:lnTo>
                    <a:pt x="11554" y="12035"/>
                  </a:lnTo>
                  <a:lnTo>
                    <a:pt x="11549" y="12028"/>
                  </a:lnTo>
                  <a:lnTo>
                    <a:pt x="11544" y="12021"/>
                  </a:lnTo>
                  <a:lnTo>
                    <a:pt x="11530" y="12007"/>
                  </a:lnTo>
                  <a:lnTo>
                    <a:pt x="11514" y="11992"/>
                  </a:lnTo>
                  <a:lnTo>
                    <a:pt x="11496" y="11978"/>
                  </a:lnTo>
                  <a:lnTo>
                    <a:pt x="11475" y="11965"/>
                  </a:lnTo>
                  <a:lnTo>
                    <a:pt x="11674" y="11952"/>
                  </a:lnTo>
                  <a:lnTo>
                    <a:pt x="11874" y="11939"/>
                  </a:lnTo>
                  <a:lnTo>
                    <a:pt x="12073" y="11924"/>
                  </a:lnTo>
                  <a:lnTo>
                    <a:pt x="12272" y="11910"/>
                  </a:lnTo>
                  <a:lnTo>
                    <a:pt x="12473" y="11894"/>
                  </a:lnTo>
                  <a:lnTo>
                    <a:pt x="12672" y="11878"/>
                  </a:lnTo>
                  <a:lnTo>
                    <a:pt x="12871" y="11861"/>
                  </a:lnTo>
                  <a:lnTo>
                    <a:pt x="13070" y="11844"/>
                  </a:lnTo>
                  <a:lnTo>
                    <a:pt x="13269" y="11824"/>
                  </a:lnTo>
                  <a:lnTo>
                    <a:pt x="13468" y="11805"/>
                  </a:lnTo>
                  <a:lnTo>
                    <a:pt x="13668" y="11786"/>
                  </a:lnTo>
                  <a:lnTo>
                    <a:pt x="13867" y="11765"/>
                  </a:lnTo>
                  <a:lnTo>
                    <a:pt x="14065" y="11744"/>
                  </a:lnTo>
                  <a:lnTo>
                    <a:pt x="14263" y="11722"/>
                  </a:lnTo>
                  <a:lnTo>
                    <a:pt x="14462" y="11699"/>
                  </a:lnTo>
                  <a:lnTo>
                    <a:pt x="14661" y="11676"/>
                  </a:lnTo>
                  <a:lnTo>
                    <a:pt x="14699" y="11669"/>
                  </a:lnTo>
                  <a:lnTo>
                    <a:pt x="14738" y="11662"/>
                  </a:lnTo>
                  <a:lnTo>
                    <a:pt x="14775" y="11654"/>
                  </a:lnTo>
                  <a:lnTo>
                    <a:pt x="14813" y="11644"/>
                  </a:lnTo>
                  <a:lnTo>
                    <a:pt x="14850" y="11633"/>
                  </a:lnTo>
                  <a:lnTo>
                    <a:pt x="14886" y="11621"/>
                  </a:lnTo>
                  <a:lnTo>
                    <a:pt x="14922" y="11607"/>
                  </a:lnTo>
                  <a:lnTo>
                    <a:pt x="14956" y="11592"/>
                  </a:lnTo>
                  <a:lnTo>
                    <a:pt x="14990" y="11576"/>
                  </a:lnTo>
                  <a:lnTo>
                    <a:pt x="15025" y="11558"/>
                  </a:lnTo>
                  <a:lnTo>
                    <a:pt x="15057" y="11539"/>
                  </a:lnTo>
                  <a:lnTo>
                    <a:pt x="15089" y="11519"/>
                  </a:lnTo>
                  <a:lnTo>
                    <a:pt x="15120" y="11497"/>
                  </a:lnTo>
                  <a:lnTo>
                    <a:pt x="15150" y="11475"/>
                  </a:lnTo>
                  <a:lnTo>
                    <a:pt x="15181" y="11451"/>
                  </a:lnTo>
                  <a:lnTo>
                    <a:pt x="15209" y="11427"/>
                  </a:lnTo>
                  <a:lnTo>
                    <a:pt x="15237" y="11402"/>
                  </a:lnTo>
                  <a:lnTo>
                    <a:pt x="15263" y="11375"/>
                  </a:lnTo>
                  <a:lnTo>
                    <a:pt x="15289" y="11348"/>
                  </a:lnTo>
                  <a:lnTo>
                    <a:pt x="15313" y="11318"/>
                  </a:lnTo>
                  <a:lnTo>
                    <a:pt x="15338" y="11289"/>
                  </a:lnTo>
                  <a:lnTo>
                    <a:pt x="15360" y="11258"/>
                  </a:lnTo>
                  <a:lnTo>
                    <a:pt x="15381" y="11227"/>
                  </a:lnTo>
                  <a:lnTo>
                    <a:pt x="15401" y="11195"/>
                  </a:lnTo>
                  <a:lnTo>
                    <a:pt x="15420" y="11161"/>
                  </a:lnTo>
                  <a:lnTo>
                    <a:pt x="15438" y="11128"/>
                  </a:lnTo>
                  <a:lnTo>
                    <a:pt x="15454" y="11093"/>
                  </a:lnTo>
                  <a:lnTo>
                    <a:pt x="15470" y="11058"/>
                  </a:lnTo>
                  <a:lnTo>
                    <a:pt x="15483" y="11022"/>
                  </a:lnTo>
                  <a:lnTo>
                    <a:pt x="15496" y="10985"/>
                  </a:lnTo>
                  <a:lnTo>
                    <a:pt x="15508" y="10947"/>
                  </a:lnTo>
                  <a:lnTo>
                    <a:pt x="15518" y="10910"/>
                  </a:lnTo>
                  <a:lnTo>
                    <a:pt x="15587" y="10606"/>
                  </a:lnTo>
                  <a:lnTo>
                    <a:pt x="15652" y="10303"/>
                  </a:lnTo>
                  <a:lnTo>
                    <a:pt x="15714" y="9999"/>
                  </a:lnTo>
                  <a:lnTo>
                    <a:pt x="15770" y="9696"/>
                  </a:lnTo>
                  <a:lnTo>
                    <a:pt x="15822" y="9392"/>
                  </a:lnTo>
                  <a:lnTo>
                    <a:pt x="15870" y="9087"/>
                  </a:lnTo>
                  <a:lnTo>
                    <a:pt x="15912" y="8783"/>
                  </a:lnTo>
                  <a:lnTo>
                    <a:pt x="15950" y="8478"/>
                  </a:lnTo>
                  <a:lnTo>
                    <a:pt x="15984" y="8173"/>
                  </a:lnTo>
                  <a:lnTo>
                    <a:pt x="16014" y="7869"/>
                  </a:lnTo>
                  <a:lnTo>
                    <a:pt x="16039" y="7564"/>
                  </a:lnTo>
                  <a:lnTo>
                    <a:pt x="16059" y="7259"/>
                  </a:lnTo>
                  <a:lnTo>
                    <a:pt x="16075" y="6954"/>
                  </a:lnTo>
                  <a:lnTo>
                    <a:pt x="16086" y="6649"/>
                  </a:lnTo>
                  <a:lnTo>
                    <a:pt x="16093" y="6343"/>
                  </a:lnTo>
                  <a:lnTo>
                    <a:pt x="16095" y="6038"/>
                  </a:lnTo>
                  <a:lnTo>
                    <a:pt x="16093" y="5734"/>
                  </a:lnTo>
                  <a:lnTo>
                    <a:pt x="16086" y="5428"/>
                  </a:lnTo>
                  <a:lnTo>
                    <a:pt x="16075" y="5123"/>
                  </a:lnTo>
                  <a:lnTo>
                    <a:pt x="16059" y="4818"/>
                  </a:lnTo>
                  <a:lnTo>
                    <a:pt x="16039" y="4513"/>
                  </a:lnTo>
                  <a:lnTo>
                    <a:pt x="16014" y="4208"/>
                  </a:lnTo>
                  <a:lnTo>
                    <a:pt x="15984" y="3904"/>
                  </a:lnTo>
                  <a:lnTo>
                    <a:pt x="15950" y="3599"/>
                  </a:lnTo>
                  <a:lnTo>
                    <a:pt x="15912" y="3294"/>
                  </a:lnTo>
                  <a:lnTo>
                    <a:pt x="15870" y="2990"/>
                  </a:lnTo>
                  <a:lnTo>
                    <a:pt x="15822" y="2686"/>
                  </a:lnTo>
                  <a:lnTo>
                    <a:pt x="15770" y="2381"/>
                  </a:lnTo>
                  <a:lnTo>
                    <a:pt x="15714" y="2078"/>
                  </a:lnTo>
                  <a:lnTo>
                    <a:pt x="15652" y="1775"/>
                  </a:lnTo>
                  <a:lnTo>
                    <a:pt x="15587" y="1471"/>
                  </a:lnTo>
                  <a:lnTo>
                    <a:pt x="15518" y="1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4" name="íSḻïḓé">
              <a:extLst>
                <a:ext uri="{FF2B5EF4-FFF2-40B4-BE49-F238E27FC236}">
                  <a16:creationId xmlns:a16="http://schemas.microsoft.com/office/drawing/2014/main" id="{E6146C03-EE53-4A22-923F-724BFDD49681}"/>
                </a:ext>
              </a:extLst>
            </p:cNvPr>
            <p:cNvSpPr/>
            <p:nvPr/>
          </p:nvSpPr>
          <p:spPr bwMode="auto">
            <a:xfrm>
              <a:off x="1041968" y="112235"/>
              <a:ext cx="47987" cy="47987"/>
            </a:xfrm>
            <a:custGeom>
              <a:avLst/>
              <a:gdLst>
                <a:gd name="T0" fmla="*/ 806 w 1510"/>
                <a:gd name="T1" fmla="*/ 508 h 1509"/>
                <a:gd name="T2" fmla="*/ 864 w 1510"/>
                <a:gd name="T3" fmla="*/ 528 h 1509"/>
                <a:gd name="T4" fmla="*/ 915 w 1510"/>
                <a:gd name="T5" fmla="*/ 561 h 1509"/>
                <a:gd name="T6" fmla="*/ 957 w 1510"/>
                <a:gd name="T7" fmla="*/ 605 h 1509"/>
                <a:gd name="T8" fmla="*/ 987 w 1510"/>
                <a:gd name="T9" fmla="*/ 657 h 1509"/>
                <a:gd name="T10" fmla="*/ 1004 w 1510"/>
                <a:gd name="T11" fmla="*/ 717 h 1509"/>
                <a:gd name="T12" fmla="*/ 1005 w 1510"/>
                <a:gd name="T13" fmla="*/ 781 h 1509"/>
                <a:gd name="T14" fmla="*/ 991 w 1510"/>
                <a:gd name="T15" fmla="*/ 841 h 1509"/>
                <a:gd name="T16" fmla="*/ 964 w 1510"/>
                <a:gd name="T17" fmla="*/ 896 h 1509"/>
                <a:gd name="T18" fmla="*/ 924 w 1510"/>
                <a:gd name="T19" fmla="*/ 941 h 1509"/>
                <a:gd name="T20" fmla="*/ 875 w 1510"/>
                <a:gd name="T21" fmla="*/ 976 h 1509"/>
                <a:gd name="T22" fmla="*/ 818 w 1510"/>
                <a:gd name="T23" fmla="*/ 998 h 1509"/>
                <a:gd name="T24" fmla="*/ 756 w 1510"/>
                <a:gd name="T25" fmla="*/ 1006 h 1509"/>
                <a:gd name="T26" fmla="*/ 692 w 1510"/>
                <a:gd name="T27" fmla="*/ 998 h 1509"/>
                <a:gd name="T28" fmla="*/ 636 w 1510"/>
                <a:gd name="T29" fmla="*/ 976 h 1509"/>
                <a:gd name="T30" fmla="*/ 587 w 1510"/>
                <a:gd name="T31" fmla="*/ 941 h 1509"/>
                <a:gd name="T32" fmla="*/ 546 w 1510"/>
                <a:gd name="T33" fmla="*/ 896 h 1509"/>
                <a:gd name="T34" fmla="*/ 519 w 1510"/>
                <a:gd name="T35" fmla="*/ 841 h 1509"/>
                <a:gd name="T36" fmla="*/ 505 w 1510"/>
                <a:gd name="T37" fmla="*/ 781 h 1509"/>
                <a:gd name="T38" fmla="*/ 506 w 1510"/>
                <a:gd name="T39" fmla="*/ 717 h 1509"/>
                <a:gd name="T40" fmla="*/ 523 w 1510"/>
                <a:gd name="T41" fmla="*/ 657 h 1509"/>
                <a:gd name="T42" fmla="*/ 553 w 1510"/>
                <a:gd name="T43" fmla="*/ 605 h 1509"/>
                <a:gd name="T44" fmla="*/ 596 w 1510"/>
                <a:gd name="T45" fmla="*/ 561 h 1509"/>
                <a:gd name="T46" fmla="*/ 646 w 1510"/>
                <a:gd name="T47" fmla="*/ 528 h 1509"/>
                <a:gd name="T48" fmla="*/ 704 w 1510"/>
                <a:gd name="T49" fmla="*/ 508 h 1509"/>
                <a:gd name="T50" fmla="*/ 756 w 1510"/>
                <a:gd name="T51" fmla="*/ 1509 h 1509"/>
                <a:gd name="T52" fmla="*/ 944 w 1510"/>
                <a:gd name="T53" fmla="*/ 1486 h 1509"/>
                <a:gd name="T54" fmla="*/ 1115 w 1510"/>
                <a:gd name="T55" fmla="*/ 1419 h 1509"/>
                <a:gd name="T56" fmla="*/ 1263 w 1510"/>
                <a:gd name="T57" fmla="*/ 1313 h 1509"/>
                <a:gd name="T58" fmla="*/ 1381 w 1510"/>
                <a:gd name="T59" fmla="*/ 1177 h 1509"/>
                <a:gd name="T60" fmla="*/ 1464 w 1510"/>
                <a:gd name="T61" fmla="*/ 1014 h 1509"/>
                <a:gd name="T62" fmla="*/ 1506 w 1510"/>
                <a:gd name="T63" fmla="*/ 832 h 1509"/>
                <a:gd name="T64" fmla="*/ 1501 w 1510"/>
                <a:gd name="T65" fmla="*/ 640 h 1509"/>
                <a:gd name="T66" fmla="*/ 1451 w 1510"/>
                <a:gd name="T67" fmla="*/ 461 h 1509"/>
                <a:gd name="T68" fmla="*/ 1360 w 1510"/>
                <a:gd name="T69" fmla="*/ 303 h 1509"/>
                <a:gd name="T70" fmla="*/ 1236 w 1510"/>
                <a:gd name="T71" fmla="*/ 172 h 1509"/>
                <a:gd name="T72" fmla="*/ 1083 w 1510"/>
                <a:gd name="T73" fmla="*/ 75 h 1509"/>
                <a:gd name="T74" fmla="*/ 908 w 1510"/>
                <a:gd name="T75" fmla="*/ 15 h 1509"/>
                <a:gd name="T76" fmla="*/ 716 w 1510"/>
                <a:gd name="T77" fmla="*/ 1 h 1509"/>
                <a:gd name="T78" fmla="*/ 531 w 1510"/>
                <a:gd name="T79" fmla="*/ 34 h 1509"/>
                <a:gd name="T80" fmla="*/ 364 w 1510"/>
                <a:gd name="T81" fmla="*/ 110 h 1509"/>
                <a:gd name="T82" fmla="*/ 222 w 1510"/>
                <a:gd name="T83" fmla="*/ 222 h 1509"/>
                <a:gd name="T84" fmla="*/ 110 w 1510"/>
                <a:gd name="T85" fmla="*/ 363 h 1509"/>
                <a:gd name="T86" fmla="*/ 34 w 1510"/>
                <a:gd name="T87" fmla="*/ 530 h 1509"/>
                <a:gd name="T88" fmla="*/ 1 w 1510"/>
                <a:gd name="T89" fmla="*/ 717 h 1509"/>
                <a:gd name="T90" fmla="*/ 16 w 1510"/>
                <a:gd name="T91" fmla="*/ 907 h 1509"/>
                <a:gd name="T92" fmla="*/ 75 w 1510"/>
                <a:gd name="T93" fmla="*/ 1082 h 1509"/>
                <a:gd name="T94" fmla="*/ 173 w 1510"/>
                <a:gd name="T95" fmla="*/ 1235 h 1509"/>
                <a:gd name="T96" fmla="*/ 304 w 1510"/>
                <a:gd name="T97" fmla="*/ 1359 h 1509"/>
                <a:gd name="T98" fmla="*/ 462 w 1510"/>
                <a:gd name="T99" fmla="*/ 1450 h 1509"/>
                <a:gd name="T100" fmla="*/ 640 w 1510"/>
                <a:gd name="T101" fmla="*/ 1501 h 1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10" h="1509">
                  <a:moveTo>
                    <a:pt x="756" y="503"/>
                  </a:moveTo>
                  <a:lnTo>
                    <a:pt x="769" y="503"/>
                  </a:lnTo>
                  <a:lnTo>
                    <a:pt x="781" y="504"/>
                  </a:lnTo>
                  <a:lnTo>
                    <a:pt x="794" y="506"/>
                  </a:lnTo>
                  <a:lnTo>
                    <a:pt x="806" y="508"/>
                  </a:lnTo>
                  <a:lnTo>
                    <a:pt x="818" y="511"/>
                  </a:lnTo>
                  <a:lnTo>
                    <a:pt x="830" y="514"/>
                  </a:lnTo>
                  <a:lnTo>
                    <a:pt x="841" y="518"/>
                  </a:lnTo>
                  <a:lnTo>
                    <a:pt x="853" y="523"/>
                  </a:lnTo>
                  <a:lnTo>
                    <a:pt x="864" y="528"/>
                  </a:lnTo>
                  <a:lnTo>
                    <a:pt x="875" y="533"/>
                  </a:lnTo>
                  <a:lnTo>
                    <a:pt x="885" y="539"/>
                  </a:lnTo>
                  <a:lnTo>
                    <a:pt x="896" y="547"/>
                  </a:lnTo>
                  <a:lnTo>
                    <a:pt x="906" y="554"/>
                  </a:lnTo>
                  <a:lnTo>
                    <a:pt x="915" y="561"/>
                  </a:lnTo>
                  <a:lnTo>
                    <a:pt x="924" y="569"/>
                  </a:lnTo>
                  <a:lnTo>
                    <a:pt x="933" y="578"/>
                  </a:lnTo>
                  <a:lnTo>
                    <a:pt x="941" y="586"/>
                  </a:lnTo>
                  <a:lnTo>
                    <a:pt x="949" y="595"/>
                  </a:lnTo>
                  <a:lnTo>
                    <a:pt x="957" y="605"/>
                  </a:lnTo>
                  <a:lnTo>
                    <a:pt x="964" y="615"/>
                  </a:lnTo>
                  <a:lnTo>
                    <a:pt x="970" y="625"/>
                  </a:lnTo>
                  <a:lnTo>
                    <a:pt x="976" y="635"/>
                  </a:lnTo>
                  <a:lnTo>
                    <a:pt x="982" y="646"/>
                  </a:lnTo>
                  <a:lnTo>
                    <a:pt x="987" y="657"/>
                  </a:lnTo>
                  <a:lnTo>
                    <a:pt x="991" y="668"/>
                  </a:lnTo>
                  <a:lnTo>
                    <a:pt x="995" y="680"/>
                  </a:lnTo>
                  <a:lnTo>
                    <a:pt x="999" y="692"/>
                  </a:lnTo>
                  <a:lnTo>
                    <a:pt x="1001" y="704"/>
                  </a:lnTo>
                  <a:lnTo>
                    <a:pt x="1004" y="717"/>
                  </a:lnTo>
                  <a:lnTo>
                    <a:pt x="1005" y="730"/>
                  </a:lnTo>
                  <a:lnTo>
                    <a:pt x="1006" y="742"/>
                  </a:lnTo>
                  <a:lnTo>
                    <a:pt x="1007" y="755"/>
                  </a:lnTo>
                  <a:lnTo>
                    <a:pt x="1006" y="768"/>
                  </a:lnTo>
                  <a:lnTo>
                    <a:pt x="1005" y="781"/>
                  </a:lnTo>
                  <a:lnTo>
                    <a:pt x="1004" y="793"/>
                  </a:lnTo>
                  <a:lnTo>
                    <a:pt x="1001" y="805"/>
                  </a:lnTo>
                  <a:lnTo>
                    <a:pt x="999" y="818"/>
                  </a:lnTo>
                  <a:lnTo>
                    <a:pt x="995" y="829"/>
                  </a:lnTo>
                  <a:lnTo>
                    <a:pt x="991" y="841"/>
                  </a:lnTo>
                  <a:lnTo>
                    <a:pt x="987" y="852"/>
                  </a:lnTo>
                  <a:lnTo>
                    <a:pt x="982" y="863"/>
                  </a:lnTo>
                  <a:lnTo>
                    <a:pt x="976" y="874"/>
                  </a:lnTo>
                  <a:lnTo>
                    <a:pt x="970" y="886"/>
                  </a:lnTo>
                  <a:lnTo>
                    <a:pt x="964" y="896"/>
                  </a:lnTo>
                  <a:lnTo>
                    <a:pt x="957" y="906"/>
                  </a:lnTo>
                  <a:lnTo>
                    <a:pt x="949" y="915"/>
                  </a:lnTo>
                  <a:lnTo>
                    <a:pt x="941" y="924"/>
                  </a:lnTo>
                  <a:lnTo>
                    <a:pt x="933" y="933"/>
                  </a:lnTo>
                  <a:lnTo>
                    <a:pt x="924" y="941"/>
                  </a:lnTo>
                  <a:lnTo>
                    <a:pt x="915" y="949"/>
                  </a:lnTo>
                  <a:lnTo>
                    <a:pt x="906" y="956"/>
                  </a:lnTo>
                  <a:lnTo>
                    <a:pt x="896" y="963"/>
                  </a:lnTo>
                  <a:lnTo>
                    <a:pt x="885" y="970"/>
                  </a:lnTo>
                  <a:lnTo>
                    <a:pt x="875" y="976"/>
                  </a:lnTo>
                  <a:lnTo>
                    <a:pt x="864" y="981"/>
                  </a:lnTo>
                  <a:lnTo>
                    <a:pt x="853" y="987"/>
                  </a:lnTo>
                  <a:lnTo>
                    <a:pt x="841" y="991"/>
                  </a:lnTo>
                  <a:lnTo>
                    <a:pt x="830" y="995"/>
                  </a:lnTo>
                  <a:lnTo>
                    <a:pt x="818" y="998"/>
                  </a:lnTo>
                  <a:lnTo>
                    <a:pt x="806" y="1001"/>
                  </a:lnTo>
                  <a:lnTo>
                    <a:pt x="794" y="1003"/>
                  </a:lnTo>
                  <a:lnTo>
                    <a:pt x="781" y="1005"/>
                  </a:lnTo>
                  <a:lnTo>
                    <a:pt x="769" y="1006"/>
                  </a:lnTo>
                  <a:lnTo>
                    <a:pt x="756" y="1006"/>
                  </a:lnTo>
                  <a:lnTo>
                    <a:pt x="743" y="1006"/>
                  </a:lnTo>
                  <a:lnTo>
                    <a:pt x="730" y="1005"/>
                  </a:lnTo>
                  <a:lnTo>
                    <a:pt x="717" y="1003"/>
                  </a:lnTo>
                  <a:lnTo>
                    <a:pt x="704" y="1001"/>
                  </a:lnTo>
                  <a:lnTo>
                    <a:pt x="692" y="998"/>
                  </a:lnTo>
                  <a:lnTo>
                    <a:pt x="680" y="995"/>
                  </a:lnTo>
                  <a:lnTo>
                    <a:pt x="669" y="991"/>
                  </a:lnTo>
                  <a:lnTo>
                    <a:pt x="657" y="987"/>
                  </a:lnTo>
                  <a:lnTo>
                    <a:pt x="646" y="981"/>
                  </a:lnTo>
                  <a:lnTo>
                    <a:pt x="636" y="976"/>
                  </a:lnTo>
                  <a:lnTo>
                    <a:pt x="625" y="970"/>
                  </a:lnTo>
                  <a:lnTo>
                    <a:pt x="615" y="963"/>
                  </a:lnTo>
                  <a:lnTo>
                    <a:pt x="605" y="956"/>
                  </a:lnTo>
                  <a:lnTo>
                    <a:pt x="596" y="949"/>
                  </a:lnTo>
                  <a:lnTo>
                    <a:pt x="587" y="941"/>
                  </a:lnTo>
                  <a:lnTo>
                    <a:pt x="578" y="933"/>
                  </a:lnTo>
                  <a:lnTo>
                    <a:pt x="570" y="924"/>
                  </a:lnTo>
                  <a:lnTo>
                    <a:pt x="562" y="915"/>
                  </a:lnTo>
                  <a:lnTo>
                    <a:pt x="553" y="906"/>
                  </a:lnTo>
                  <a:lnTo>
                    <a:pt x="546" y="896"/>
                  </a:lnTo>
                  <a:lnTo>
                    <a:pt x="540" y="886"/>
                  </a:lnTo>
                  <a:lnTo>
                    <a:pt x="534" y="874"/>
                  </a:lnTo>
                  <a:lnTo>
                    <a:pt x="528" y="863"/>
                  </a:lnTo>
                  <a:lnTo>
                    <a:pt x="523" y="852"/>
                  </a:lnTo>
                  <a:lnTo>
                    <a:pt x="519" y="841"/>
                  </a:lnTo>
                  <a:lnTo>
                    <a:pt x="515" y="829"/>
                  </a:lnTo>
                  <a:lnTo>
                    <a:pt x="511" y="818"/>
                  </a:lnTo>
                  <a:lnTo>
                    <a:pt x="509" y="805"/>
                  </a:lnTo>
                  <a:lnTo>
                    <a:pt x="506" y="793"/>
                  </a:lnTo>
                  <a:lnTo>
                    <a:pt x="505" y="781"/>
                  </a:lnTo>
                  <a:lnTo>
                    <a:pt x="504" y="768"/>
                  </a:lnTo>
                  <a:lnTo>
                    <a:pt x="503" y="755"/>
                  </a:lnTo>
                  <a:lnTo>
                    <a:pt x="504" y="742"/>
                  </a:lnTo>
                  <a:lnTo>
                    <a:pt x="505" y="730"/>
                  </a:lnTo>
                  <a:lnTo>
                    <a:pt x="506" y="717"/>
                  </a:lnTo>
                  <a:lnTo>
                    <a:pt x="509" y="704"/>
                  </a:lnTo>
                  <a:lnTo>
                    <a:pt x="511" y="692"/>
                  </a:lnTo>
                  <a:lnTo>
                    <a:pt x="515" y="680"/>
                  </a:lnTo>
                  <a:lnTo>
                    <a:pt x="519" y="668"/>
                  </a:lnTo>
                  <a:lnTo>
                    <a:pt x="523" y="657"/>
                  </a:lnTo>
                  <a:lnTo>
                    <a:pt x="528" y="646"/>
                  </a:lnTo>
                  <a:lnTo>
                    <a:pt x="534" y="635"/>
                  </a:lnTo>
                  <a:lnTo>
                    <a:pt x="540" y="625"/>
                  </a:lnTo>
                  <a:lnTo>
                    <a:pt x="546" y="615"/>
                  </a:lnTo>
                  <a:lnTo>
                    <a:pt x="553" y="605"/>
                  </a:lnTo>
                  <a:lnTo>
                    <a:pt x="562" y="595"/>
                  </a:lnTo>
                  <a:lnTo>
                    <a:pt x="570" y="586"/>
                  </a:lnTo>
                  <a:lnTo>
                    <a:pt x="578" y="578"/>
                  </a:lnTo>
                  <a:lnTo>
                    <a:pt x="587" y="569"/>
                  </a:lnTo>
                  <a:lnTo>
                    <a:pt x="596" y="561"/>
                  </a:lnTo>
                  <a:lnTo>
                    <a:pt x="605" y="554"/>
                  </a:lnTo>
                  <a:lnTo>
                    <a:pt x="615" y="547"/>
                  </a:lnTo>
                  <a:lnTo>
                    <a:pt x="625" y="539"/>
                  </a:lnTo>
                  <a:lnTo>
                    <a:pt x="636" y="533"/>
                  </a:lnTo>
                  <a:lnTo>
                    <a:pt x="646" y="528"/>
                  </a:lnTo>
                  <a:lnTo>
                    <a:pt x="657" y="523"/>
                  </a:lnTo>
                  <a:lnTo>
                    <a:pt x="669" y="518"/>
                  </a:lnTo>
                  <a:lnTo>
                    <a:pt x="680" y="514"/>
                  </a:lnTo>
                  <a:lnTo>
                    <a:pt x="692" y="511"/>
                  </a:lnTo>
                  <a:lnTo>
                    <a:pt x="704" y="508"/>
                  </a:lnTo>
                  <a:lnTo>
                    <a:pt x="717" y="506"/>
                  </a:lnTo>
                  <a:lnTo>
                    <a:pt x="730" y="504"/>
                  </a:lnTo>
                  <a:lnTo>
                    <a:pt x="743" y="503"/>
                  </a:lnTo>
                  <a:lnTo>
                    <a:pt x="756" y="503"/>
                  </a:lnTo>
                  <a:close/>
                  <a:moveTo>
                    <a:pt x="756" y="1509"/>
                  </a:moveTo>
                  <a:lnTo>
                    <a:pt x="794" y="1508"/>
                  </a:lnTo>
                  <a:lnTo>
                    <a:pt x="832" y="1506"/>
                  </a:lnTo>
                  <a:lnTo>
                    <a:pt x="870" y="1501"/>
                  </a:lnTo>
                  <a:lnTo>
                    <a:pt x="908" y="1494"/>
                  </a:lnTo>
                  <a:lnTo>
                    <a:pt x="944" y="1486"/>
                  </a:lnTo>
                  <a:lnTo>
                    <a:pt x="980" y="1476"/>
                  </a:lnTo>
                  <a:lnTo>
                    <a:pt x="1014" y="1464"/>
                  </a:lnTo>
                  <a:lnTo>
                    <a:pt x="1049" y="1450"/>
                  </a:lnTo>
                  <a:lnTo>
                    <a:pt x="1083" y="1435"/>
                  </a:lnTo>
                  <a:lnTo>
                    <a:pt x="1115" y="1419"/>
                  </a:lnTo>
                  <a:lnTo>
                    <a:pt x="1147" y="1401"/>
                  </a:lnTo>
                  <a:lnTo>
                    <a:pt x="1177" y="1381"/>
                  </a:lnTo>
                  <a:lnTo>
                    <a:pt x="1206" y="1359"/>
                  </a:lnTo>
                  <a:lnTo>
                    <a:pt x="1236" y="1337"/>
                  </a:lnTo>
                  <a:lnTo>
                    <a:pt x="1263" y="1313"/>
                  </a:lnTo>
                  <a:lnTo>
                    <a:pt x="1289" y="1289"/>
                  </a:lnTo>
                  <a:lnTo>
                    <a:pt x="1314" y="1263"/>
                  </a:lnTo>
                  <a:lnTo>
                    <a:pt x="1337" y="1235"/>
                  </a:lnTo>
                  <a:lnTo>
                    <a:pt x="1360" y="1206"/>
                  </a:lnTo>
                  <a:lnTo>
                    <a:pt x="1381" y="1177"/>
                  </a:lnTo>
                  <a:lnTo>
                    <a:pt x="1400" y="1146"/>
                  </a:lnTo>
                  <a:lnTo>
                    <a:pt x="1419" y="1115"/>
                  </a:lnTo>
                  <a:lnTo>
                    <a:pt x="1436" y="1082"/>
                  </a:lnTo>
                  <a:lnTo>
                    <a:pt x="1451" y="1049"/>
                  </a:lnTo>
                  <a:lnTo>
                    <a:pt x="1464" y="1014"/>
                  </a:lnTo>
                  <a:lnTo>
                    <a:pt x="1476" y="979"/>
                  </a:lnTo>
                  <a:lnTo>
                    <a:pt x="1486" y="944"/>
                  </a:lnTo>
                  <a:lnTo>
                    <a:pt x="1494" y="907"/>
                  </a:lnTo>
                  <a:lnTo>
                    <a:pt x="1501" y="869"/>
                  </a:lnTo>
                  <a:lnTo>
                    <a:pt x="1506" y="832"/>
                  </a:lnTo>
                  <a:lnTo>
                    <a:pt x="1509" y="794"/>
                  </a:lnTo>
                  <a:lnTo>
                    <a:pt x="1510" y="755"/>
                  </a:lnTo>
                  <a:lnTo>
                    <a:pt x="1509" y="717"/>
                  </a:lnTo>
                  <a:lnTo>
                    <a:pt x="1506" y="678"/>
                  </a:lnTo>
                  <a:lnTo>
                    <a:pt x="1501" y="640"/>
                  </a:lnTo>
                  <a:lnTo>
                    <a:pt x="1494" y="603"/>
                  </a:lnTo>
                  <a:lnTo>
                    <a:pt x="1486" y="567"/>
                  </a:lnTo>
                  <a:lnTo>
                    <a:pt x="1476" y="530"/>
                  </a:lnTo>
                  <a:lnTo>
                    <a:pt x="1464" y="495"/>
                  </a:lnTo>
                  <a:lnTo>
                    <a:pt x="1451" y="461"/>
                  </a:lnTo>
                  <a:lnTo>
                    <a:pt x="1436" y="428"/>
                  </a:lnTo>
                  <a:lnTo>
                    <a:pt x="1419" y="396"/>
                  </a:lnTo>
                  <a:lnTo>
                    <a:pt x="1400" y="363"/>
                  </a:lnTo>
                  <a:lnTo>
                    <a:pt x="1381" y="333"/>
                  </a:lnTo>
                  <a:lnTo>
                    <a:pt x="1360" y="303"/>
                  </a:lnTo>
                  <a:lnTo>
                    <a:pt x="1337" y="275"/>
                  </a:lnTo>
                  <a:lnTo>
                    <a:pt x="1314" y="248"/>
                  </a:lnTo>
                  <a:lnTo>
                    <a:pt x="1289" y="222"/>
                  </a:lnTo>
                  <a:lnTo>
                    <a:pt x="1263" y="196"/>
                  </a:lnTo>
                  <a:lnTo>
                    <a:pt x="1236" y="172"/>
                  </a:lnTo>
                  <a:lnTo>
                    <a:pt x="1206" y="150"/>
                  </a:lnTo>
                  <a:lnTo>
                    <a:pt x="1177" y="129"/>
                  </a:lnTo>
                  <a:lnTo>
                    <a:pt x="1147" y="110"/>
                  </a:lnTo>
                  <a:lnTo>
                    <a:pt x="1115" y="92"/>
                  </a:lnTo>
                  <a:lnTo>
                    <a:pt x="1083" y="75"/>
                  </a:lnTo>
                  <a:lnTo>
                    <a:pt x="1049" y="60"/>
                  </a:lnTo>
                  <a:lnTo>
                    <a:pt x="1014" y="46"/>
                  </a:lnTo>
                  <a:lnTo>
                    <a:pt x="980" y="34"/>
                  </a:lnTo>
                  <a:lnTo>
                    <a:pt x="944" y="24"/>
                  </a:lnTo>
                  <a:lnTo>
                    <a:pt x="908" y="15"/>
                  </a:lnTo>
                  <a:lnTo>
                    <a:pt x="870" y="9"/>
                  </a:lnTo>
                  <a:lnTo>
                    <a:pt x="832" y="4"/>
                  </a:lnTo>
                  <a:lnTo>
                    <a:pt x="794" y="1"/>
                  </a:lnTo>
                  <a:lnTo>
                    <a:pt x="756" y="0"/>
                  </a:lnTo>
                  <a:lnTo>
                    <a:pt x="716" y="1"/>
                  </a:lnTo>
                  <a:lnTo>
                    <a:pt x="678" y="4"/>
                  </a:lnTo>
                  <a:lnTo>
                    <a:pt x="640" y="9"/>
                  </a:lnTo>
                  <a:lnTo>
                    <a:pt x="604" y="15"/>
                  </a:lnTo>
                  <a:lnTo>
                    <a:pt x="567" y="24"/>
                  </a:lnTo>
                  <a:lnTo>
                    <a:pt x="531" y="34"/>
                  </a:lnTo>
                  <a:lnTo>
                    <a:pt x="496" y="46"/>
                  </a:lnTo>
                  <a:lnTo>
                    <a:pt x="462" y="60"/>
                  </a:lnTo>
                  <a:lnTo>
                    <a:pt x="428" y="75"/>
                  </a:lnTo>
                  <a:lnTo>
                    <a:pt x="396" y="92"/>
                  </a:lnTo>
                  <a:lnTo>
                    <a:pt x="364" y="110"/>
                  </a:lnTo>
                  <a:lnTo>
                    <a:pt x="333" y="129"/>
                  </a:lnTo>
                  <a:lnTo>
                    <a:pt x="304" y="150"/>
                  </a:lnTo>
                  <a:lnTo>
                    <a:pt x="276" y="172"/>
                  </a:lnTo>
                  <a:lnTo>
                    <a:pt x="248" y="196"/>
                  </a:lnTo>
                  <a:lnTo>
                    <a:pt x="222" y="222"/>
                  </a:lnTo>
                  <a:lnTo>
                    <a:pt x="196" y="248"/>
                  </a:lnTo>
                  <a:lnTo>
                    <a:pt x="173" y="275"/>
                  </a:lnTo>
                  <a:lnTo>
                    <a:pt x="150" y="303"/>
                  </a:lnTo>
                  <a:lnTo>
                    <a:pt x="130" y="333"/>
                  </a:lnTo>
                  <a:lnTo>
                    <a:pt x="110" y="363"/>
                  </a:lnTo>
                  <a:lnTo>
                    <a:pt x="92" y="396"/>
                  </a:lnTo>
                  <a:lnTo>
                    <a:pt x="75" y="428"/>
                  </a:lnTo>
                  <a:lnTo>
                    <a:pt x="60" y="461"/>
                  </a:lnTo>
                  <a:lnTo>
                    <a:pt x="46" y="495"/>
                  </a:lnTo>
                  <a:lnTo>
                    <a:pt x="34" y="530"/>
                  </a:lnTo>
                  <a:lnTo>
                    <a:pt x="24" y="567"/>
                  </a:lnTo>
                  <a:lnTo>
                    <a:pt x="16" y="603"/>
                  </a:lnTo>
                  <a:lnTo>
                    <a:pt x="9" y="640"/>
                  </a:lnTo>
                  <a:lnTo>
                    <a:pt x="4" y="678"/>
                  </a:lnTo>
                  <a:lnTo>
                    <a:pt x="1" y="717"/>
                  </a:lnTo>
                  <a:lnTo>
                    <a:pt x="0" y="755"/>
                  </a:lnTo>
                  <a:lnTo>
                    <a:pt x="1" y="794"/>
                  </a:lnTo>
                  <a:lnTo>
                    <a:pt x="4" y="832"/>
                  </a:lnTo>
                  <a:lnTo>
                    <a:pt x="9" y="869"/>
                  </a:lnTo>
                  <a:lnTo>
                    <a:pt x="16" y="907"/>
                  </a:lnTo>
                  <a:lnTo>
                    <a:pt x="24" y="944"/>
                  </a:lnTo>
                  <a:lnTo>
                    <a:pt x="34" y="979"/>
                  </a:lnTo>
                  <a:lnTo>
                    <a:pt x="46" y="1014"/>
                  </a:lnTo>
                  <a:lnTo>
                    <a:pt x="60" y="1049"/>
                  </a:lnTo>
                  <a:lnTo>
                    <a:pt x="75" y="1082"/>
                  </a:lnTo>
                  <a:lnTo>
                    <a:pt x="92" y="1115"/>
                  </a:lnTo>
                  <a:lnTo>
                    <a:pt x="110" y="1146"/>
                  </a:lnTo>
                  <a:lnTo>
                    <a:pt x="130" y="1177"/>
                  </a:lnTo>
                  <a:lnTo>
                    <a:pt x="150" y="1206"/>
                  </a:lnTo>
                  <a:lnTo>
                    <a:pt x="173" y="1235"/>
                  </a:lnTo>
                  <a:lnTo>
                    <a:pt x="196" y="1263"/>
                  </a:lnTo>
                  <a:lnTo>
                    <a:pt x="222" y="1289"/>
                  </a:lnTo>
                  <a:lnTo>
                    <a:pt x="248" y="1313"/>
                  </a:lnTo>
                  <a:lnTo>
                    <a:pt x="276" y="1337"/>
                  </a:lnTo>
                  <a:lnTo>
                    <a:pt x="304" y="1359"/>
                  </a:lnTo>
                  <a:lnTo>
                    <a:pt x="333" y="1381"/>
                  </a:lnTo>
                  <a:lnTo>
                    <a:pt x="364" y="1401"/>
                  </a:lnTo>
                  <a:lnTo>
                    <a:pt x="396" y="1419"/>
                  </a:lnTo>
                  <a:lnTo>
                    <a:pt x="428" y="1435"/>
                  </a:lnTo>
                  <a:lnTo>
                    <a:pt x="462" y="1450"/>
                  </a:lnTo>
                  <a:lnTo>
                    <a:pt x="496" y="1464"/>
                  </a:lnTo>
                  <a:lnTo>
                    <a:pt x="531" y="1476"/>
                  </a:lnTo>
                  <a:lnTo>
                    <a:pt x="567" y="1486"/>
                  </a:lnTo>
                  <a:lnTo>
                    <a:pt x="604" y="1494"/>
                  </a:lnTo>
                  <a:lnTo>
                    <a:pt x="640" y="1501"/>
                  </a:lnTo>
                  <a:lnTo>
                    <a:pt x="678" y="1506"/>
                  </a:lnTo>
                  <a:lnTo>
                    <a:pt x="716" y="1508"/>
                  </a:lnTo>
                  <a:lnTo>
                    <a:pt x="756" y="15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5" name="íṩļïḋè">
              <a:extLst>
                <a:ext uri="{FF2B5EF4-FFF2-40B4-BE49-F238E27FC236}">
                  <a16:creationId xmlns:a16="http://schemas.microsoft.com/office/drawing/2014/main" id="{B9E25515-C33E-4E04-ABBC-D5730B6A1FB4}"/>
                </a:ext>
              </a:extLst>
            </p:cNvPr>
            <p:cNvSpPr/>
            <p:nvPr/>
          </p:nvSpPr>
          <p:spPr bwMode="auto">
            <a:xfrm>
              <a:off x="1025582" y="319398"/>
              <a:ext cx="64372" cy="15216"/>
            </a:xfrm>
            <a:custGeom>
              <a:avLst/>
              <a:gdLst>
                <a:gd name="T0" fmla="*/ 239 w 2013"/>
                <a:gd name="T1" fmla="*/ 0 h 503"/>
                <a:gd name="T2" fmla="*/ 201 w 2013"/>
                <a:gd name="T3" fmla="*/ 5 h 503"/>
                <a:gd name="T4" fmla="*/ 165 w 2013"/>
                <a:gd name="T5" fmla="*/ 15 h 503"/>
                <a:gd name="T6" fmla="*/ 132 w 2013"/>
                <a:gd name="T7" fmla="*/ 30 h 503"/>
                <a:gd name="T8" fmla="*/ 102 w 2013"/>
                <a:gd name="T9" fmla="*/ 50 h 503"/>
                <a:gd name="T10" fmla="*/ 74 w 2013"/>
                <a:gd name="T11" fmla="*/ 73 h 503"/>
                <a:gd name="T12" fmla="*/ 51 w 2013"/>
                <a:gd name="T13" fmla="*/ 100 h 503"/>
                <a:gd name="T14" fmla="*/ 30 w 2013"/>
                <a:gd name="T15" fmla="*/ 132 h 503"/>
                <a:gd name="T16" fmla="*/ 15 w 2013"/>
                <a:gd name="T17" fmla="*/ 165 h 503"/>
                <a:gd name="T18" fmla="*/ 5 w 2013"/>
                <a:gd name="T19" fmla="*/ 201 h 503"/>
                <a:gd name="T20" fmla="*/ 0 w 2013"/>
                <a:gd name="T21" fmla="*/ 238 h 503"/>
                <a:gd name="T22" fmla="*/ 1 w 2013"/>
                <a:gd name="T23" fmla="*/ 277 h 503"/>
                <a:gd name="T24" fmla="*/ 8 w 2013"/>
                <a:gd name="T25" fmla="*/ 315 h 503"/>
                <a:gd name="T26" fmla="*/ 20 w 2013"/>
                <a:gd name="T27" fmla="*/ 349 h 503"/>
                <a:gd name="T28" fmla="*/ 36 w 2013"/>
                <a:gd name="T29" fmla="*/ 382 h 503"/>
                <a:gd name="T30" fmla="*/ 58 w 2013"/>
                <a:gd name="T31" fmla="*/ 411 h 503"/>
                <a:gd name="T32" fmla="*/ 83 w 2013"/>
                <a:gd name="T33" fmla="*/ 437 h 503"/>
                <a:gd name="T34" fmla="*/ 111 w 2013"/>
                <a:gd name="T35" fmla="*/ 459 h 503"/>
                <a:gd name="T36" fmla="*/ 143 w 2013"/>
                <a:gd name="T37" fmla="*/ 478 h 503"/>
                <a:gd name="T38" fmla="*/ 177 w 2013"/>
                <a:gd name="T39" fmla="*/ 492 h 503"/>
                <a:gd name="T40" fmla="*/ 214 w 2013"/>
                <a:gd name="T41" fmla="*/ 500 h 503"/>
                <a:gd name="T42" fmla="*/ 252 w 2013"/>
                <a:gd name="T43" fmla="*/ 503 h 503"/>
                <a:gd name="T44" fmla="*/ 1787 w 2013"/>
                <a:gd name="T45" fmla="*/ 502 h 503"/>
                <a:gd name="T46" fmla="*/ 1824 w 2013"/>
                <a:gd name="T47" fmla="*/ 495 h 503"/>
                <a:gd name="T48" fmla="*/ 1859 w 2013"/>
                <a:gd name="T49" fmla="*/ 483 h 503"/>
                <a:gd name="T50" fmla="*/ 1891 w 2013"/>
                <a:gd name="T51" fmla="*/ 467 h 503"/>
                <a:gd name="T52" fmla="*/ 1922 w 2013"/>
                <a:gd name="T53" fmla="*/ 445 h 503"/>
                <a:gd name="T54" fmla="*/ 1948 w 2013"/>
                <a:gd name="T55" fmla="*/ 420 h 503"/>
                <a:gd name="T56" fmla="*/ 1970 w 2013"/>
                <a:gd name="T57" fmla="*/ 392 h 503"/>
                <a:gd name="T58" fmla="*/ 1988 w 2013"/>
                <a:gd name="T59" fmla="*/ 360 h 503"/>
                <a:gd name="T60" fmla="*/ 2001 w 2013"/>
                <a:gd name="T61" fmla="*/ 326 h 503"/>
                <a:gd name="T62" fmla="*/ 2010 w 2013"/>
                <a:gd name="T63" fmla="*/ 289 h 503"/>
                <a:gd name="T64" fmla="*/ 2013 w 2013"/>
                <a:gd name="T65" fmla="*/ 251 h 503"/>
                <a:gd name="T66" fmla="*/ 2010 w 2013"/>
                <a:gd name="T67" fmla="*/ 213 h 503"/>
                <a:gd name="T68" fmla="*/ 2001 w 2013"/>
                <a:gd name="T69" fmla="*/ 177 h 503"/>
                <a:gd name="T70" fmla="*/ 1988 w 2013"/>
                <a:gd name="T71" fmla="*/ 143 h 503"/>
                <a:gd name="T72" fmla="*/ 1970 w 2013"/>
                <a:gd name="T73" fmla="*/ 110 h 503"/>
                <a:gd name="T74" fmla="*/ 1948 w 2013"/>
                <a:gd name="T75" fmla="*/ 82 h 503"/>
                <a:gd name="T76" fmla="*/ 1922 w 2013"/>
                <a:gd name="T77" fmla="*/ 57 h 503"/>
                <a:gd name="T78" fmla="*/ 1891 w 2013"/>
                <a:gd name="T79" fmla="*/ 36 h 503"/>
                <a:gd name="T80" fmla="*/ 1859 w 2013"/>
                <a:gd name="T81" fmla="*/ 20 h 503"/>
                <a:gd name="T82" fmla="*/ 1824 w 2013"/>
                <a:gd name="T83" fmla="*/ 8 h 503"/>
                <a:gd name="T84" fmla="*/ 1787 w 2013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13" h="503">
                  <a:moveTo>
                    <a:pt x="1762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1" y="43"/>
                  </a:lnTo>
                  <a:lnTo>
                    <a:pt x="102" y="50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4" y="73"/>
                  </a:lnTo>
                  <a:lnTo>
                    <a:pt x="66" y="82"/>
                  </a:lnTo>
                  <a:lnTo>
                    <a:pt x="58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6" y="120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6"/>
                  </a:lnTo>
                  <a:lnTo>
                    <a:pt x="0" y="238"/>
                  </a:lnTo>
                  <a:lnTo>
                    <a:pt x="0" y="251"/>
                  </a:lnTo>
                  <a:lnTo>
                    <a:pt x="0" y="264"/>
                  </a:lnTo>
                  <a:lnTo>
                    <a:pt x="1" y="277"/>
                  </a:lnTo>
                  <a:lnTo>
                    <a:pt x="3" y="289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4" y="392"/>
                  </a:lnTo>
                  <a:lnTo>
                    <a:pt x="51" y="402"/>
                  </a:lnTo>
                  <a:lnTo>
                    <a:pt x="58" y="411"/>
                  </a:lnTo>
                  <a:lnTo>
                    <a:pt x="66" y="420"/>
                  </a:lnTo>
                  <a:lnTo>
                    <a:pt x="74" y="429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3"/>
                  </a:lnTo>
                  <a:lnTo>
                    <a:pt x="111" y="459"/>
                  </a:lnTo>
                  <a:lnTo>
                    <a:pt x="122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1762" y="503"/>
                  </a:lnTo>
                  <a:lnTo>
                    <a:pt x="1775" y="503"/>
                  </a:lnTo>
                  <a:lnTo>
                    <a:pt x="1787" y="502"/>
                  </a:lnTo>
                  <a:lnTo>
                    <a:pt x="1800" y="500"/>
                  </a:lnTo>
                  <a:lnTo>
                    <a:pt x="1812" y="498"/>
                  </a:lnTo>
                  <a:lnTo>
                    <a:pt x="1824" y="495"/>
                  </a:lnTo>
                  <a:lnTo>
                    <a:pt x="1836" y="492"/>
                  </a:lnTo>
                  <a:lnTo>
                    <a:pt x="1848" y="488"/>
                  </a:lnTo>
                  <a:lnTo>
                    <a:pt x="1859" y="483"/>
                  </a:lnTo>
                  <a:lnTo>
                    <a:pt x="1870" y="478"/>
                  </a:lnTo>
                  <a:lnTo>
                    <a:pt x="1881" y="473"/>
                  </a:lnTo>
                  <a:lnTo>
                    <a:pt x="1891" y="467"/>
                  </a:lnTo>
                  <a:lnTo>
                    <a:pt x="1902" y="459"/>
                  </a:lnTo>
                  <a:lnTo>
                    <a:pt x="1912" y="453"/>
                  </a:lnTo>
                  <a:lnTo>
                    <a:pt x="1922" y="445"/>
                  </a:lnTo>
                  <a:lnTo>
                    <a:pt x="1931" y="437"/>
                  </a:lnTo>
                  <a:lnTo>
                    <a:pt x="1939" y="429"/>
                  </a:lnTo>
                  <a:lnTo>
                    <a:pt x="1948" y="420"/>
                  </a:lnTo>
                  <a:lnTo>
                    <a:pt x="1956" y="411"/>
                  </a:lnTo>
                  <a:lnTo>
                    <a:pt x="1963" y="402"/>
                  </a:lnTo>
                  <a:lnTo>
                    <a:pt x="1970" y="392"/>
                  </a:lnTo>
                  <a:lnTo>
                    <a:pt x="1977" y="382"/>
                  </a:lnTo>
                  <a:lnTo>
                    <a:pt x="1983" y="371"/>
                  </a:lnTo>
                  <a:lnTo>
                    <a:pt x="1988" y="360"/>
                  </a:lnTo>
                  <a:lnTo>
                    <a:pt x="1993" y="349"/>
                  </a:lnTo>
                  <a:lnTo>
                    <a:pt x="1998" y="338"/>
                  </a:lnTo>
                  <a:lnTo>
                    <a:pt x="2001" y="326"/>
                  </a:lnTo>
                  <a:lnTo>
                    <a:pt x="2005" y="315"/>
                  </a:lnTo>
                  <a:lnTo>
                    <a:pt x="2008" y="303"/>
                  </a:lnTo>
                  <a:lnTo>
                    <a:pt x="2010" y="289"/>
                  </a:lnTo>
                  <a:lnTo>
                    <a:pt x="2011" y="277"/>
                  </a:lnTo>
                  <a:lnTo>
                    <a:pt x="2012" y="264"/>
                  </a:lnTo>
                  <a:lnTo>
                    <a:pt x="2013" y="251"/>
                  </a:lnTo>
                  <a:lnTo>
                    <a:pt x="2012" y="238"/>
                  </a:lnTo>
                  <a:lnTo>
                    <a:pt x="2011" y="226"/>
                  </a:lnTo>
                  <a:lnTo>
                    <a:pt x="2010" y="213"/>
                  </a:lnTo>
                  <a:lnTo>
                    <a:pt x="2008" y="201"/>
                  </a:lnTo>
                  <a:lnTo>
                    <a:pt x="2005" y="189"/>
                  </a:lnTo>
                  <a:lnTo>
                    <a:pt x="2001" y="177"/>
                  </a:lnTo>
                  <a:lnTo>
                    <a:pt x="1998" y="165"/>
                  </a:lnTo>
                  <a:lnTo>
                    <a:pt x="1993" y="154"/>
                  </a:lnTo>
                  <a:lnTo>
                    <a:pt x="1988" y="143"/>
                  </a:lnTo>
                  <a:lnTo>
                    <a:pt x="1983" y="132"/>
                  </a:lnTo>
                  <a:lnTo>
                    <a:pt x="1977" y="120"/>
                  </a:lnTo>
                  <a:lnTo>
                    <a:pt x="1970" y="110"/>
                  </a:lnTo>
                  <a:lnTo>
                    <a:pt x="1963" y="100"/>
                  </a:lnTo>
                  <a:lnTo>
                    <a:pt x="1956" y="91"/>
                  </a:lnTo>
                  <a:lnTo>
                    <a:pt x="1948" y="82"/>
                  </a:lnTo>
                  <a:lnTo>
                    <a:pt x="1939" y="73"/>
                  </a:lnTo>
                  <a:lnTo>
                    <a:pt x="1931" y="65"/>
                  </a:lnTo>
                  <a:lnTo>
                    <a:pt x="1922" y="57"/>
                  </a:lnTo>
                  <a:lnTo>
                    <a:pt x="1912" y="50"/>
                  </a:lnTo>
                  <a:lnTo>
                    <a:pt x="1902" y="43"/>
                  </a:lnTo>
                  <a:lnTo>
                    <a:pt x="1891" y="36"/>
                  </a:lnTo>
                  <a:lnTo>
                    <a:pt x="1881" y="30"/>
                  </a:lnTo>
                  <a:lnTo>
                    <a:pt x="1870" y="25"/>
                  </a:lnTo>
                  <a:lnTo>
                    <a:pt x="1859" y="20"/>
                  </a:lnTo>
                  <a:lnTo>
                    <a:pt x="1848" y="15"/>
                  </a:lnTo>
                  <a:lnTo>
                    <a:pt x="1836" y="11"/>
                  </a:lnTo>
                  <a:lnTo>
                    <a:pt x="1824" y="8"/>
                  </a:lnTo>
                  <a:lnTo>
                    <a:pt x="1812" y="5"/>
                  </a:lnTo>
                  <a:lnTo>
                    <a:pt x="1800" y="3"/>
                  </a:lnTo>
                  <a:lnTo>
                    <a:pt x="1787" y="1"/>
                  </a:lnTo>
                  <a:lnTo>
                    <a:pt x="1775" y="0"/>
                  </a:lnTo>
                  <a:lnTo>
                    <a:pt x="17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6" name="ïşḻiḑè">
              <a:extLst>
                <a:ext uri="{FF2B5EF4-FFF2-40B4-BE49-F238E27FC236}">
                  <a16:creationId xmlns:a16="http://schemas.microsoft.com/office/drawing/2014/main" id="{007B40C1-CBA4-45CD-846F-CC03762C02EE}"/>
                </a:ext>
              </a:extLst>
            </p:cNvPr>
            <p:cNvSpPr/>
            <p:nvPr/>
          </p:nvSpPr>
          <p:spPr bwMode="auto">
            <a:xfrm>
              <a:off x="1041968" y="271410"/>
              <a:ext cx="63202" cy="16386"/>
            </a:xfrm>
            <a:custGeom>
              <a:avLst/>
              <a:gdLst>
                <a:gd name="T0" fmla="*/ 240 w 2013"/>
                <a:gd name="T1" fmla="*/ 0 h 503"/>
                <a:gd name="T2" fmla="*/ 201 w 2013"/>
                <a:gd name="T3" fmla="*/ 5 h 503"/>
                <a:gd name="T4" fmla="*/ 165 w 2013"/>
                <a:gd name="T5" fmla="*/ 15 h 503"/>
                <a:gd name="T6" fmla="*/ 132 w 2013"/>
                <a:gd name="T7" fmla="*/ 30 h 503"/>
                <a:gd name="T8" fmla="*/ 102 w 2013"/>
                <a:gd name="T9" fmla="*/ 49 h 503"/>
                <a:gd name="T10" fmla="*/ 75 w 2013"/>
                <a:gd name="T11" fmla="*/ 73 h 503"/>
                <a:gd name="T12" fmla="*/ 51 w 2013"/>
                <a:gd name="T13" fmla="*/ 100 h 503"/>
                <a:gd name="T14" fmla="*/ 31 w 2013"/>
                <a:gd name="T15" fmla="*/ 130 h 503"/>
                <a:gd name="T16" fmla="*/ 16 w 2013"/>
                <a:gd name="T17" fmla="*/ 165 h 503"/>
                <a:gd name="T18" fmla="*/ 5 w 2013"/>
                <a:gd name="T19" fmla="*/ 200 h 503"/>
                <a:gd name="T20" fmla="*/ 1 w 2013"/>
                <a:gd name="T21" fmla="*/ 238 h 503"/>
                <a:gd name="T22" fmla="*/ 2 w 2013"/>
                <a:gd name="T23" fmla="*/ 276 h 503"/>
                <a:gd name="T24" fmla="*/ 8 w 2013"/>
                <a:gd name="T25" fmla="*/ 314 h 503"/>
                <a:gd name="T26" fmla="*/ 20 w 2013"/>
                <a:gd name="T27" fmla="*/ 349 h 503"/>
                <a:gd name="T28" fmla="*/ 37 w 2013"/>
                <a:gd name="T29" fmla="*/ 381 h 503"/>
                <a:gd name="T30" fmla="*/ 58 w 2013"/>
                <a:gd name="T31" fmla="*/ 411 h 503"/>
                <a:gd name="T32" fmla="*/ 83 w 2013"/>
                <a:gd name="T33" fmla="*/ 437 h 503"/>
                <a:gd name="T34" fmla="*/ 112 w 2013"/>
                <a:gd name="T35" fmla="*/ 459 h 503"/>
                <a:gd name="T36" fmla="*/ 143 w 2013"/>
                <a:gd name="T37" fmla="*/ 477 h 503"/>
                <a:gd name="T38" fmla="*/ 177 w 2013"/>
                <a:gd name="T39" fmla="*/ 491 h 503"/>
                <a:gd name="T40" fmla="*/ 213 w 2013"/>
                <a:gd name="T41" fmla="*/ 500 h 503"/>
                <a:gd name="T42" fmla="*/ 252 w 2013"/>
                <a:gd name="T43" fmla="*/ 503 h 503"/>
                <a:gd name="T44" fmla="*/ 1787 w 2013"/>
                <a:gd name="T45" fmla="*/ 501 h 503"/>
                <a:gd name="T46" fmla="*/ 1824 w 2013"/>
                <a:gd name="T47" fmla="*/ 495 h 503"/>
                <a:gd name="T48" fmla="*/ 1859 w 2013"/>
                <a:gd name="T49" fmla="*/ 483 h 503"/>
                <a:gd name="T50" fmla="*/ 1892 w 2013"/>
                <a:gd name="T51" fmla="*/ 465 h 503"/>
                <a:gd name="T52" fmla="*/ 1922 w 2013"/>
                <a:gd name="T53" fmla="*/ 445 h 503"/>
                <a:gd name="T54" fmla="*/ 1948 w 2013"/>
                <a:gd name="T55" fmla="*/ 420 h 503"/>
                <a:gd name="T56" fmla="*/ 1970 w 2013"/>
                <a:gd name="T57" fmla="*/ 391 h 503"/>
                <a:gd name="T58" fmla="*/ 1988 w 2013"/>
                <a:gd name="T59" fmla="*/ 360 h 503"/>
                <a:gd name="T60" fmla="*/ 2002 w 2013"/>
                <a:gd name="T61" fmla="*/ 326 h 503"/>
                <a:gd name="T62" fmla="*/ 2010 w 2013"/>
                <a:gd name="T63" fmla="*/ 289 h 503"/>
                <a:gd name="T64" fmla="*/ 2013 w 2013"/>
                <a:gd name="T65" fmla="*/ 251 h 503"/>
                <a:gd name="T66" fmla="*/ 2010 w 2013"/>
                <a:gd name="T67" fmla="*/ 213 h 503"/>
                <a:gd name="T68" fmla="*/ 2002 w 2013"/>
                <a:gd name="T69" fmla="*/ 176 h 503"/>
                <a:gd name="T70" fmla="*/ 1988 w 2013"/>
                <a:gd name="T71" fmla="*/ 141 h 503"/>
                <a:gd name="T72" fmla="*/ 1970 w 2013"/>
                <a:gd name="T73" fmla="*/ 110 h 503"/>
                <a:gd name="T74" fmla="*/ 1948 w 2013"/>
                <a:gd name="T75" fmla="*/ 82 h 503"/>
                <a:gd name="T76" fmla="*/ 1922 w 2013"/>
                <a:gd name="T77" fmla="*/ 57 h 503"/>
                <a:gd name="T78" fmla="*/ 1892 w 2013"/>
                <a:gd name="T79" fmla="*/ 36 h 503"/>
                <a:gd name="T80" fmla="*/ 1859 w 2013"/>
                <a:gd name="T81" fmla="*/ 19 h 503"/>
                <a:gd name="T82" fmla="*/ 1824 w 2013"/>
                <a:gd name="T83" fmla="*/ 7 h 503"/>
                <a:gd name="T84" fmla="*/ 1787 w 2013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13" h="503">
                  <a:moveTo>
                    <a:pt x="1762" y="0"/>
                  </a:move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3" y="2"/>
                  </a:lnTo>
                  <a:lnTo>
                    <a:pt x="201" y="5"/>
                  </a:lnTo>
                  <a:lnTo>
                    <a:pt x="189" y="7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8" y="91"/>
                  </a:lnTo>
                  <a:lnTo>
                    <a:pt x="51" y="100"/>
                  </a:lnTo>
                  <a:lnTo>
                    <a:pt x="43" y="110"/>
                  </a:lnTo>
                  <a:lnTo>
                    <a:pt x="37" y="120"/>
                  </a:lnTo>
                  <a:lnTo>
                    <a:pt x="31" y="130"/>
                  </a:lnTo>
                  <a:lnTo>
                    <a:pt x="25" y="141"/>
                  </a:lnTo>
                  <a:lnTo>
                    <a:pt x="20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5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89"/>
                  </a:lnTo>
                  <a:lnTo>
                    <a:pt x="5" y="301"/>
                  </a:lnTo>
                  <a:lnTo>
                    <a:pt x="8" y="314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1" y="371"/>
                  </a:lnTo>
                  <a:lnTo>
                    <a:pt x="37" y="381"/>
                  </a:lnTo>
                  <a:lnTo>
                    <a:pt x="43" y="391"/>
                  </a:lnTo>
                  <a:lnTo>
                    <a:pt x="51" y="401"/>
                  </a:lnTo>
                  <a:lnTo>
                    <a:pt x="58" y="411"/>
                  </a:lnTo>
                  <a:lnTo>
                    <a:pt x="66" y="420"/>
                  </a:lnTo>
                  <a:lnTo>
                    <a:pt x="75" y="428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2"/>
                  </a:lnTo>
                  <a:lnTo>
                    <a:pt x="112" y="459"/>
                  </a:lnTo>
                  <a:lnTo>
                    <a:pt x="122" y="465"/>
                  </a:lnTo>
                  <a:lnTo>
                    <a:pt x="132" y="471"/>
                  </a:lnTo>
                  <a:lnTo>
                    <a:pt x="143" y="477"/>
                  </a:lnTo>
                  <a:lnTo>
                    <a:pt x="154" y="483"/>
                  </a:lnTo>
                  <a:lnTo>
                    <a:pt x="165" y="487"/>
                  </a:lnTo>
                  <a:lnTo>
                    <a:pt x="177" y="491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7" y="501"/>
                  </a:lnTo>
                  <a:lnTo>
                    <a:pt x="240" y="502"/>
                  </a:lnTo>
                  <a:lnTo>
                    <a:pt x="252" y="503"/>
                  </a:lnTo>
                  <a:lnTo>
                    <a:pt x="1762" y="503"/>
                  </a:lnTo>
                  <a:lnTo>
                    <a:pt x="1775" y="502"/>
                  </a:lnTo>
                  <a:lnTo>
                    <a:pt x="1787" y="501"/>
                  </a:lnTo>
                  <a:lnTo>
                    <a:pt x="1800" y="500"/>
                  </a:lnTo>
                  <a:lnTo>
                    <a:pt x="1812" y="498"/>
                  </a:lnTo>
                  <a:lnTo>
                    <a:pt x="1824" y="495"/>
                  </a:lnTo>
                  <a:lnTo>
                    <a:pt x="1836" y="491"/>
                  </a:lnTo>
                  <a:lnTo>
                    <a:pt x="1848" y="487"/>
                  </a:lnTo>
                  <a:lnTo>
                    <a:pt x="1859" y="483"/>
                  </a:lnTo>
                  <a:lnTo>
                    <a:pt x="1870" y="477"/>
                  </a:lnTo>
                  <a:lnTo>
                    <a:pt x="1881" y="471"/>
                  </a:lnTo>
                  <a:lnTo>
                    <a:pt x="1892" y="465"/>
                  </a:lnTo>
                  <a:lnTo>
                    <a:pt x="1902" y="459"/>
                  </a:lnTo>
                  <a:lnTo>
                    <a:pt x="1912" y="452"/>
                  </a:lnTo>
                  <a:lnTo>
                    <a:pt x="1922" y="445"/>
                  </a:lnTo>
                  <a:lnTo>
                    <a:pt x="1931" y="437"/>
                  </a:lnTo>
                  <a:lnTo>
                    <a:pt x="1940" y="428"/>
                  </a:lnTo>
                  <a:lnTo>
                    <a:pt x="1948" y="420"/>
                  </a:lnTo>
                  <a:lnTo>
                    <a:pt x="1956" y="411"/>
                  </a:lnTo>
                  <a:lnTo>
                    <a:pt x="1963" y="401"/>
                  </a:lnTo>
                  <a:lnTo>
                    <a:pt x="1970" y="391"/>
                  </a:lnTo>
                  <a:lnTo>
                    <a:pt x="1977" y="381"/>
                  </a:lnTo>
                  <a:lnTo>
                    <a:pt x="1983" y="371"/>
                  </a:lnTo>
                  <a:lnTo>
                    <a:pt x="1988" y="360"/>
                  </a:lnTo>
                  <a:lnTo>
                    <a:pt x="1993" y="349"/>
                  </a:lnTo>
                  <a:lnTo>
                    <a:pt x="1998" y="338"/>
                  </a:lnTo>
                  <a:lnTo>
                    <a:pt x="2002" y="326"/>
                  </a:lnTo>
                  <a:lnTo>
                    <a:pt x="2005" y="314"/>
                  </a:lnTo>
                  <a:lnTo>
                    <a:pt x="2008" y="301"/>
                  </a:lnTo>
                  <a:lnTo>
                    <a:pt x="2010" y="289"/>
                  </a:lnTo>
                  <a:lnTo>
                    <a:pt x="2012" y="276"/>
                  </a:lnTo>
                  <a:lnTo>
                    <a:pt x="2013" y="264"/>
                  </a:lnTo>
                  <a:lnTo>
                    <a:pt x="2013" y="251"/>
                  </a:lnTo>
                  <a:lnTo>
                    <a:pt x="2013" y="238"/>
                  </a:lnTo>
                  <a:lnTo>
                    <a:pt x="2012" y="225"/>
                  </a:lnTo>
                  <a:lnTo>
                    <a:pt x="2010" y="213"/>
                  </a:lnTo>
                  <a:lnTo>
                    <a:pt x="2008" y="200"/>
                  </a:lnTo>
                  <a:lnTo>
                    <a:pt x="2005" y="188"/>
                  </a:lnTo>
                  <a:lnTo>
                    <a:pt x="2002" y="176"/>
                  </a:lnTo>
                  <a:lnTo>
                    <a:pt x="1998" y="165"/>
                  </a:lnTo>
                  <a:lnTo>
                    <a:pt x="1993" y="153"/>
                  </a:lnTo>
                  <a:lnTo>
                    <a:pt x="1988" y="141"/>
                  </a:lnTo>
                  <a:lnTo>
                    <a:pt x="1983" y="130"/>
                  </a:lnTo>
                  <a:lnTo>
                    <a:pt x="1977" y="120"/>
                  </a:lnTo>
                  <a:lnTo>
                    <a:pt x="1970" y="110"/>
                  </a:lnTo>
                  <a:lnTo>
                    <a:pt x="1963" y="100"/>
                  </a:lnTo>
                  <a:lnTo>
                    <a:pt x="1956" y="91"/>
                  </a:lnTo>
                  <a:lnTo>
                    <a:pt x="1948" y="82"/>
                  </a:lnTo>
                  <a:lnTo>
                    <a:pt x="1940" y="73"/>
                  </a:lnTo>
                  <a:lnTo>
                    <a:pt x="1931" y="65"/>
                  </a:lnTo>
                  <a:lnTo>
                    <a:pt x="1922" y="57"/>
                  </a:lnTo>
                  <a:lnTo>
                    <a:pt x="1912" y="49"/>
                  </a:lnTo>
                  <a:lnTo>
                    <a:pt x="1902" y="42"/>
                  </a:lnTo>
                  <a:lnTo>
                    <a:pt x="1892" y="36"/>
                  </a:lnTo>
                  <a:lnTo>
                    <a:pt x="1881" y="30"/>
                  </a:lnTo>
                  <a:lnTo>
                    <a:pt x="1870" y="24"/>
                  </a:lnTo>
                  <a:lnTo>
                    <a:pt x="1859" y="19"/>
                  </a:lnTo>
                  <a:lnTo>
                    <a:pt x="1848" y="15"/>
                  </a:lnTo>
                  <a:lnTo>
                    <a:pt x="1836" y="11"/>
                  </a:lnTo>
                  <a:lnTo>
                    <a:pt x="1824" y="7"/>
                  </a:lnTo>
                  <a:lnTo>
                    <a:pt x="1812" y="5"/>
                  </a:lnTo>
                  <a:lnTo>
                    <a:pt x="1800" y="2"/>
                  </a:lnTo>
                  <a:lnTo>
                    <a:pt x="1787" y="1"/>
                  </a:lnTo>
                  <a:lnTo>
                    <a:pt x="1775" y="0"/>
                  </a:lnTo>
                  <a:lnTo>
                    <a:pt x="17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7" name="iṩľiďê">
              <a:extLst>
                <a:ext uri="{FF2B5EF4-FFF2-40B4-BE49-F238E27FC236}">
                  <a16:creationId xmlns:a16="http://schemas.microsoft.com/office/drawing/2014/main" id="{222D004F-3438-4725-9BA9-CC76C38001A1}"/>
                </a:ext>
              </a:extLst>
            </p:cNvPr>
            <p:cNvSpPr/>
            <p:nvPr/>
          </p:nvSpPr>
          <p:spPr bwMode="auto">
            <a:xfrm>
              <a:off x="1041968" y="223424"/>
              <a:ext cx="63202" cy="16386"/>
            </a:xfrm>
            <a:custGeom>
              <a:avLst/>
              <a:gdLst>
                <a:gd name="T0" fmla="*/ 240 w 2013"/>
                <a:gd name="T1" fmla="*/ 0 h 504"/>
                <a:gd name="T2" fmla="*/ 201 w 2013"/>
                <a:gd name="T3" fmla="*/ 6 h 504"/>
                <a:gd name="T4" fmla="*/ 165 w 2013"/>
                <a:gd name="T5" fmla="*/ 16 h 504"/>
                <a:gd name="T6" fmla="*/ 132 w 2013"/>
                <a:gd name="T7" fmla="*/ 31 h 504"/>
                <a:gd name="T8" fmla="*/ 102 w 2013"/>
                <a:gd name="T9" fmla="*/ 51 h 504"/>
                <a:gd name="T10" fmla="*/ 75 w 2013"/>
                <a:gd name="T11" fmla="*/ 74 h 504"/>
                <a:gd name="T12" fmla="*/ 51 w 2013"/>
                <a:gd name="T13" fmla="*/ 102 h 504"/>
                <a:gd name="T14" fmla="*/ 31 w 2013"/>
                <a:gd name="T15" fmla="*/ 132 h 504"/>
                <a:gd name="T16" fmla="*/ 16 w 2013"/>
                <a:gd name="T17" fmla="*/ 165 h 504"/>
                <a:gd name="T18" fmla="*/ 5 w 2013"/>
                <a:gd name="T19" fmla="*/ 202 h 504"/>
                <a:gd name="T20" fmla="*/ 1 w 2013"/>
                <a:gd name="T21" fmla="*/ 239 h 504"/>
                <a:gd name="T22" fmla="*/ 2 w 2013"/>
                <a:gd name="T23" fmla="*/ 278 h 504"/>
                <a:gd name="T24" fmla="*/ 8 w 2013"/>
                <a:gd name="T25" fmla="*/ 315 h 504"/>
                <a:gd name="T26" fmla="*/ 20 w 2013"/>
                <a:gd name="T27" fmla="*/ 350 h 504"/>
                <a:gd name="T28" fmla="*/ 37 w 2013"/>
                <a:gd name="T29" fmla="*/ 383 h 504"/>
                <a:gd name="T30" fmla="*/ 58 w 2013"/>
                <a:gd name="T31" fmla="*/ 412 h 504"/>
                <a:gd name="T32" fmla="*/ 83 w 2013"/>
                <a:gd name="T33" fmla="*/ 438 h 504"/>
                <a:gd name="T34" fmla="*/ 112 w 2013"/>
                <a:gd name="T35" fmla="*/ 460 h 504"/>
                <a:gd name="T36" fmla="*/ 143 w 2013"/>
                <a:gd name="T37" fmla="*/ 479 h 504"/>
                <a:gd name="T38" fmla="*/ 177 w 2013"/>
                <a:gd name="T39" fmla="*/ 492 h 504"/>
                <a:gd name="T40" fmla="*/ 213 w 2013"/>
                <a:gd name="T41" fmla="*/ 501 h 504"/>
                <a:gd name="T42" fmla="*/ 252 w 2013"/>
                <a:gd name="T43" fmla="*/ 504 h 504"/>
                <a:gd name="T44" fmla="*/ 1787 w 2013"/>
                <a:gd name="T45" fmla="*/ 503 h 504"/>
                <a:gd name="T46" fmla="*/ 1824 w 2013"/>
                <a:gd name="T47" fmla="*/ 495 h 504"/>
                <a:gd name="T48" fmla="*/ 1859 w 2013"/>
                <a:gd name="T49" fmla="*/ 484 h 504"/>
                <a:gd name="T50" fmla="*/ 1892 w 2013"/>
                <a:gd name="T51" fmla="*/ 467 h 504"/>
                <a:gd name="T52" fmla="*/ 1922 w 2013"/>
                <a:gd name="T53" fmla="*/ 446 h 504"/>
                <a:gd name="T54" fmla="*/ 1948 w 2013"/>
                <a:gd name="T55" fmla="*/ 421 h 504"/>
                <a:gd name="T56" fmla="*/ 1970 w 2013"/>
                <a:gd name="T57" fmla="*/ 393 h 504"/>
                <a:gd name="T58" fmla="*/ 1988 w 2013"/>
                <a:gd name="T59" fmla="*/ 362 h 504"/>
                <a:gd name="T60" fmla="*/ 2002 w 2013"/>
                <a:gd name="T61" fmla="*/ 326 h 504"/>
                <a:gd name="T62" fmla="*/ 2010 w 2013"/>
                <a:gd name="T63" fmla="*/ 290 h 504"/>
                <a:gd name="T64" fmla="*/ 2013 w 2013"/>
                <a:gd name="T65" fmla="*/ 252 h 504"/>
                <a:gd name="T66" fmla="*/ 2010 w 2013"/>
                <a:gd name="T67" fmla="*/ 214 h 504"/>
                <a:gd name="T68" fmla="*/ 2002 w 2013"/>
                <a:gd name="T69" fmla="*/ 178 h 504"/>
                <a:gd name="T70" fmla="*/ 1988 w 2013"/>
                <a:gd name="T71" fmla="*/ 143 h 504"/>
                <a:gd name="T72" fmla="*/ 1970 w 2013"/>
                <a:gd name="T73" fmla="*/ 111 h 504"/>
                <a:gd name="T74" fmla="*/ 1948 w 2013"/>
                <a:gd name="T75" fmla="*/ 83 h 504"/>
                <a:gd name="T76" fmla="*/ 1922 w 2013"/>
                <a:gd name="T77" fmla="*/ 58 h 504"/>
                <a:gd name="T78" fmla="*/ 1892 w 2013"/>
                <a:gd name="T79" fmla="*/ 37 h 504"/>
                <a:gd name="T80" fmla="*/ 1859 w 2013"/>
                <a:gd name="T81" fmla="*/ 21 h 504"/>
                <a:gd name="T82" fmla="*/ 1824 w 2013"/>
                <a:gd name="T83" fmla="*/ 9 h 504"/>
                <a:gd name="T84" fmla="*/ 1787 w 2013"/>
                <a:gd name="T85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13" h="504">
                  <a:moveTo>
                    <a:pt x="1762" y="0"/>
                  </a:move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3" y="3"/>
                  </a:lnTo>
                  <a:lnTo>
                    <a:pt x="201" y="6"/>
                  </a:lnTo>
                  <a:lnTo>
                    <a:pt x="189" y="9"/>
                  </a:lnTo>
                  <a:lnTo>
                    <a:pt x="177" y="12"/>
                  </a:lnTo>
                  <a:lnTo>
                    <a:pt x="165" y="16"/>
                  </a:lnTo>
                  <a:lnTo>
                    <a:pt x="154" y="21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2" y="37"/>
                  </a:lnTo>
                  <a:lnTo>
                    <a:pt x="112" y="44"/>
                  </a:lnTo>
                  <a:lnTo>
                    <a:pt x="102" y="51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5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3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6" y="165"/>
                  </a:lnTo>
                  <a:lnTo>
                    <a:pt x="12" y="178"/>
                  </a:lnTo>
                  <a:lnTo>
                    <a:pt x="8" y="190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2" y="227"/>
                  </a:lnTo>
                  <a:lnTo>
                    <a:pt x="1" y="239"/>
                  </a:lnTo>
                  <a:lnTo>
                    <a:pt x="0" y="252"/>
                  </a:lnTo>
                  <a:lnTo>
                    <a:pt x="1" y="265"/>
                  </a:lnTo>
                  <a:lnTo>
                    <a:pt x="2" y="278"/>
                  </a:lnTo>
                  <a:lnTo>
                    <a:pt x="3" y="290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2" y="326"/>
                  </a:lnTo>
                  <a:lnTo>
                    <a:pt x="16" y="339"/>
                  </a:lnTo>
                  <a:lnTo>
                    <a:pt x="20" y="350"/>
                  </a:lnTo>
                  <a:lnTo>
                    <a:pt x="25" y="362"/>
                  </a:lnTo>
                  <a:lnTo>
                    <a:pt x="31" y="372"/>
                  </a:lnTo>
                  <a:lnTo>
                    <a:pt x="37" y="383"/>
                  </a:lnTo>
                  <a:lnTo>
                    <a:pt x="43" y="393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5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4"/>
                  </a:lnTo>
                  <a:lnTo>
                    <a:pt x="112" y="460"/>
                  </a:lnTo>
                  <a:lnTo>
                    <a:pt x="122" y="467"/>
                  </a:lnTo>
                  <a:lnTo>
                    <a:pt x="132" y="473"/>
                  </a:lnTo>
                  <a:lnTo>
                    <a:pt x="143" y="479"/>
                  </a:lnTo>
                  <a:lnTo>
                    <a:pt x="154" y="484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1"/>
                  </a:lnTo>
                  <a:lnTo>
                    <a:pt x="227" y="503"/>
                  </a:lnTo>
                  <a:lnTo>
                    <a:pt x="240" y="504"/>
                  </a:lnTo>
                  <a:lnTo>
                    <a:pt x="252" y="504"/>
                  </a:lnTo>
                  <a:lnTo>
                    <a:pt x="1762" y="504"/>
                  </a:lnTo>
                  <a:lnTo>
                    <a:pt x="1775" y="504"/>
                  </a:lnTo>
                  <a:lnTo>
                    <a:pt x="1787" y="503"/>
                  </a:lnTo>
                  <a:lnTo>
                    <a:pt x="1800" y="501"/>
                  </a:lnTo>
                  <a:lnTo>
                    <a:pt x="1812" y="498"/>
                  </a:lnTo>
                  <a:lnTo>
                    <a:pt x="1824" y="495"/>
                  </a:lnTo>
                  <a:lnTo>
                    <a:pt x="1836" y="492"/>
                  </a:lnTo>
                  <a:lnTo>
                    <a:pt x="1848" y="488"/>
                  </a:lnTo>
                  <a:lnTo>
                    <a:pt x="1859" y="484"/>
                  </a:lnTo>
                  <a:lnTo>
                    <a:pt x="1870" y="479"/>
                  </a:lnTo>
                  <a:lnTo>
                    <a:pt x="1881" y="473"/>
                  </a:lnTo>
                  <a:lnTo>
                    <a:pt x="1892" y="467"/>
                  </a:lnTo>
                  <a:lnTo>
                    <a:pt x="1902" y="460"/>
                  </a:lnTo>
                  <a:lnTo>
                    <a:pt x="1912" y="454"/>
                  </a:lnTo>
                  <a:lnTo>
                    <a:pt x="1922" y="446"/>
                  </a:lnTo>
                  <a:lnTo>
                    <a:pt x="1931" y="438"/>
                  </a:lnTo>
                  <a:lnTo>
                    <a:pt x="1940" y="430"/>
                  </a:lnTo>
                  <a:lnTo>
                    <a:pt x="1948" y="421"/>
                  </a:lnTo>
                  <a:lnTo>
                    <a:pt x="1956" y="412"/>
                  </a:lnTo>
                  <a:lnTo>
                    <a:pt x="1963" y="403"/>
                  </a:lnTo>
                  <a:lnTo>
                    <a:pt x="1970" y="393"/>
                  </a:lnTo>
                  <a:lnTo>
                    <a:pt x="1977" y="383"/>
                  </a:lnTo>
                  <a:lnTo>
                    <a:pt x="1983" y="372"/>
                  </a:lnTo>
                  <a:lnTo>
                    <a:pt x="1988" y="362"/>
                  </a:lnTo>
                  <a:lnTo>
                    <a:pt x="1993" y="350"/>
                  </a:lnTo>
                  <a:lnTo>
                    <a:pt x="1998" y="339"/>
                  </a:lnTo>
                  <a:lnTo>
                    <a:pt x="2002" y="326"/>
                  </a:lnTo>
                  <a:lnTo>
                    <a:pt x="2005" y="315"/>
                  </a:lnTo>
                  <a:lnTo>
                    <a:pt x="2008" y="303"/>
                  </a:lnTo>
                  <a:lnTo>
                    <a:pt x="2010" y="290"/>
                  </a:lnTo>
                  <a:lnTo>
                    <a:pt x="2012" y="278"/>
                  </a:lnTo>
                  <a:lnTo>
                    <a:pt x="2013" y="265"/>
                  </a:lnTo>
                  <a:lnTo>
                    <a:pt x="2013" y="252"/>
                  </a:lnTo>
                  <a:lnTo>
                    <a:pt x="2013" y="239"/>
                  </a:lnTo>
                  <a:lnTo>
                    <a:pt x="2012" y="227"/>
                  </a:lnTo>
                  <a:lnTo>
                    <a:pt x="2010" y="214"/>
                  </a:lnTo>
                  <a:lnTo>
                    <a:pt x="2008" y="202"/>
                  </a:lnTo>
                  <a:lnTo>
                    <a:pt x="2005" y="190"/>
                  </a:lnTo>
                  <a:lnTo>
                    <a:pt x="2002" y="178"/>
                  </a:lnTo>
                  <a:lnTo>
                    <a:pt x="1998" y="165"/>
                  </a:lnTo>
                  <a:lnTo>
                    <a:pt x="1993" y="154"/>
                  </a:lnTo>
                  <a:lnTo>
                    <a:pt x="1988" y="143"/>
                  </a:lnTo>
                  <a:lnTo>
                    <a:pt x="1983" y="132"/>
                  </a:lnTo>
                  <a:lnTo>
                    <a:pt x="1977" y="122"/>
                  </a:lnTo>
                  <a:lnTo>
                    <a:pt x="1970" y="111"/>
                  </a:lnTo>
                  <a:lnTo>
                    <a:pt x="1963" y="102"/>
                  </a:lnTo>
                  <a:lnTo>
                    <a:pt x="1956" y="92"/>
                  </a:lnTo>
                  <a:lnTo>
                    <a:pt x="1948" y="83"/>
                  </a:lnTo>
                  <a:lnTo>
                    <a:pt x="1940" y="74"/>
                  </a:lnTo>
                  <a:lnTo>
                    <a:pt x="1931" y="66"/>
                  </a:lnTo>
                  <a:lnTo>
                    <a:pt x="1922" y="58"/>
                  </a:lnTo>
                  <a:lnTo>
                    <a:pt x="1912" y="51"/>
                  </a:lnTo>
                  <a:lnTo>
                    <a:pt x="1902" y="44"/>
                  </a:lnTo>
                  <a:lnTo>
                    <a:pt x="1892" y="37"/>
                  </a:lnTo>
                  <a:lnTo>
                    <a:pt x="1881" y="31"/>
                  </a:lnTo>
                  <a:lnTo>
                    <a:pt x="1870" y="26"/>
                  </a:lnTo>
                  <a:lnTo>
                    <a:pt x="1859" y="21"/>
                  </a:lnTo>
                  <a:lnTo>
                    <a:pt x="1848" y="16"/>
                  </a:lnTo>
                  <a:lnTo>
                    <a:pt x="1836" y="12"/>
                  </a:lnTo>
                  <a:lnTo>
                    <a:pt x="1824" y="9"/>
                  </a:lnTo>
                  <a:lnTo>
                    <a:pt x="1812" y="6"/>
                  </a:lnTo>
                  <a:lnTo>
                    <a:pt x="1800" y="3"/>
                  </a:lnTo>
                  <a:lnTo>
                    <a:pt x="1787" y="1"/>
                  </a:lnTo>
                  <a:lnTo>
                    <a:pt x="1775" y="0"/>
                  </a:lnTo>
                  <a:lnTo>
                    <a:pt x="17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8" name="íṧlïḍê">
              <a:extLst>
                <a:ext uri="{FF2B5EF4-FFF2-40B4-BE49-F238E27FC236}">
                  <a16:creationId xmlns:a16="http://schemas.microsoft.com/office/drawing/2014/main" id="{15591E16-A4A7-4583-A9D5-1CADBFC6071C}"/>
                </a:ext>
              </a:extLst>
            </p:cNvPr>
            <p:cNvSpPr/>
            <p:nvPr/>
          </p:nvSpPr>
          <p:spPr bwMode="auto">
            <a:xfrm>
              <a:off x="771603" y="156710"/>
              <a:ext cx="94803" cy="66714"/>
            </a:xfrm>
            <a:custGeom>
              <a:avLst/>
              <a:gdLst>
                <a:gd name="T0" fmla="*/ 420 w 3005"/>
                <a:gd name="T1" fmla="*/ 185 h 2110"/>
                <a:gd name="T2" fmla="*/ 370 w 3005"/>
                <a:gd name="T3" fmla="*/ 200 h 2110"/>
                <a:gd name="T4" fmla="*/ 323 w 3005"/>
                <a:gd name="T5" fmla="*/ 224 h 2110"/>
                <a:gd name="T6" fmla="*/ 257 w 3005"/>
                <a:gd name="T7" fmla="*/ 273 h 2110"/>
                <a:gd name="T8" fmla="*/ 205 w 3005"/>
                <a:gd name="T9" fmla="*/ 336 h 2110"/>
                <a:gd name="T10" fmla="*/ 178 w 3005"/>
                <a:gd name="T11" fmla="*/ 383 h 2110"/>
                <a:gd name="T12" fmla="*/ 160 w 3005"/>
                <a:gd name="T13" fmla="*/ 432 h 2110"/>
                <a:gd name="T14" fmla="*/ 0 w 3005"/>
                <a:gd name="T15" fmla="*/ 1872 h 2110"/>
                <a:gd name="T16" fmla="*/ 5 w 3005"/>
                <a:gd name="T17" fmla="*/ 1922 h 2110"/>
                <a:gd name="T18" fmla="*/ 20 w 3005"/>
                <a:gd name="T19" fmla="*/ 1968 h 2110"/>
                <a:gd name="T20" fmla="*/ 43 w 3005"/>
                <a:gd name="T21" fmla="*/ 2009 h 2110"/>
                <a:gd name="T22" fmla="*/ 74 w 3005"/>
                <a:gd name="T23" fmla="*/ 2045 h 2110"/>
                <a:gd name="T24" fmla="*/ 111 w 3005"/>
                <a:gd name="T25" fmla="*/ 2074 h 2110"/>
                <a:gd name="T26" fmla="*/ 154 w 3005"/>
                <a:gd name="T27" fmla="*/ 2095 h 2110"/>
                <a:gd name="T28" fmla="*/ 201 w 3005"/>
                <a:gd name="T29" fmla="*/ 2107 h 2110"/>
                <a:gd name="T30" fmla="*/ 251 w 3005"/>
                <a:gd name="T31" fmla="*/ 2110 h 2110"/>
                <a:gd name="T32" fmla="*/ 302 w 3005"/>
                <a:gd name="T33" fmla="*/ 2102 h 2110"/>
                <a:gd name="T34" fmla="*/ 348 w 3005"/>
                <a:gd name="T35" fmla="*/ 2085 h 2110"/>
                <a:gd name="T36" fmla="*/ 390 w 3005"/>
                <a:gd name="T37" fmla="*/ 2060 h 2110"/>
                <a:gd name="T38" fmla="*/ 427 w 3005"/>
                <a:gd name="T39" fmla="*/ 2028 h 2110"/>
                <a:gd name="T40" fmla="*/ 458 w 3005"/>
                <a:gd name="T41" fmla="*/ 1989 h 2110"/>
                <a:gd name="T42" fmla="*/ 481 w 3005"/>
                <a:gd name="T43" fmla="*/ 1945 h 2110"/>
                <a:gd name="T44" fmla="*/ 495 w 3005"/>
                <a:gd name="T45" fmla="*/ 1897 h 2110"/>
                <a:gd name="T46" fmla="*/ 583 w 3005"/>
                <a:gd name="T47" fmla="*/ 906 h 2110"/>
                <a:gd name="T48" fmla="*/ 595 w 3005"/>
                <a:gd name="T49" fmla="*/ 855 h 2110"/>
                <a:gd name="T50" fmla="*/ 616 w 3005"/>
                <a:gd name="T51" fmla="*/ 807 h 2110"/>
                <a:gd name="T52" fmla="*/ 646 w 3005"/>
                <a:gd name="T53" fmla="*/ 762 h 2110"/>
                <a:gd name="T54" fmla="*/ 681 w 3005"/>
                <a:gd name="T55" fmla="*/ 722 h 2110"/>
                <a:gd name="T56" fmla="*/ 722 w 3005"/>
                <a:gd name="T57" fmla="*/ 688 h 2110"/>
                <a:gd name="T58" fmla="*/ 767 w 3005"/>
                <a:gd name="T59" fmla="*/ 661 h 2110"/>
                <a:gd name="T60" fmla="*/ 817 w 3005"/>
                <a:gd name="T61" fmla="*/ 642 h 2110"/>
                <a:gd name="T62" fmla="*/ 867 w 3005"/>
                <a:gd name="T63" fmla="*/ 632 h 2110"/>
                <a:gd name="T64" fmla="*/ 2791 w 3005"/>
                <a:gd name="T65" fmla="*/ 498 h 2110"/>
                <a:gd name="T66" fmla="*/ 2840 w 3005"/>
                <a:gd name="T67" fmla="*/ 484 h 2110"/>
                <a:gd name="T68" fmla="*/ 2884 w 3005"/>
                <a:gd name="T69" fmla="*/ 461 h 2110"/>
                <a:gd name="T70" fmla="*/ 2922 w 3005"/>
                <a:gd name="T71" fmla="*/ 430 h 2110"/>
                <a:gd name="T72" fmla="*/ 2955 w 3005"/>
                <a:gd name="T73" fmla="*/ 393 h 2110"/>
                <a:gd name="T74" fmla="*/ 2980 w 3005"/>
                <a:gd name="T75" fmla="*/ 351 h 2110"/>
                <a:gd name="T76" fmla="*/ 2998 w 3005"/>
                <a:gd name="T77" fmla="*/ 305 h 2110"/>
                <a:gd name="T78" fmla="*/ 3005 w 3005"/>
                <a:gd name="T79" fmla="*/ 254 h 2110"/>
                <a:gd name="T80" fmla="*/ 3003 w 3005"/>
                <a:gd name="T81" fmla="*/ 203 h 2110"/>
                <a:gd name="T82" fmla="*/ 2989 w 3005"/>
                <a:gd name="T83" fmla="*/ 156 h 2110"/>
                <a:gd name="T84" fmla="*/ 2968 w 3005"/>
                <a:gd name="T85" fmla="*/ 112 h 2110"/>
                <a:gd name="T86" fmla="*/ 2939 w 3005"/>
                <a:gd name="T87" fmla="*/ 74 h 2110"/>
                <a:gd name="T88" fmla="*/ 2904 w 3005"/>
                <a:gd name="T89" fmla="*/ 44 h 2110"/>
                <a:gd name="T90" fmla="*/ 2863 w 3005"/>
                <a:gd name="T91" fmla="*/ 20 h 2110"/>
                <a:gd name="T92" fmla="*/ 2816 w 3005"/>
                <a:gd name="T93" fmla="*/ 5 h 2110"/>
                <a:gd name="T94" fmla="*/ 2766 w 3005"/>
                <a:gd name="T95" fmla="*/ 0 h 2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005" h="2110">
                  <a:moveTo>
                    <a:pt x="2753" y="0"/>
                  </a:moveTo>
                  <a:lnTo>
                    <a:pt x="446" y="180"/>
                  </a:lnTo>
                  <a:lnTo>
                    <a:pt x="433" y="182"/>
                  </a:lnTo>
                  <a:lnTo>
                    <a:pt x="420" y="185"/>
                  </a:lnTo>
                  <a:lnTo>
                    <a:pt x="408" y="188"/>
                  </a:lnTo>
                  <a:lnTo>
                    <a:pt x="395" y="191"/>
                  </a:lnTo>
                  <a:lnTo>
                    <a:pt x="383" y="195"/>
                  </a:lnTo>
                  <a:lnTo>
                    <a:pt x="370" y="200"/>
                  </a:lnTo>
                  <a:lnTo>
                    <a:pt x="358" y="205"/>
                  </a:lnTo>
                  <a:lnTo>
                    <a:pt x="346" y="211"/>
                  </a:lnTo>
                  <a:lnTo>
                    <a:pt x="334" y="217"/>
                  </a:lnTo>
                  <a:lnTo>
                    <a:pt x="323" y="224"/>
                  </a:lnTo>
                  <a:lnTo>
                    <a:pt x="311" y="231"/>
                  </a:lnTo>
                  <a:lnTo>
                    <a:pt x="300" y="239"/>
                  </a:lnTo>
                  <a:lnTo>
                    <a:pt x="277" y="255"/>
                  </a:lnTo>
                  <a:lnTo>
                    <a:pt x="257" y="273"/>
                  </a:lnTo>
                  <a:lnTo>
                    <a:pt x="238" y="294"/>
                  </a:lnTo>
                  <a:lnTo>
                    <a:pt x="220" y="314"/>
                  </a:lnTo>
                  <a:lnTo>
                    <a:pt x="212" y="325"/>
                  </a:lnTo>
                  <a:lnTo>
                    <a:pt x="205" y="336"/>
                  </a:lnTo>
                  <a:lnTo>
                    <a:pt x="197" y="347"/>
                  </a:lnTo>
                  <a:lnTo>
                    <a:pt x="190" y="359"/>
                  </a:lnTo>
                  <a:lnTo>
                    <a:pt x="184" y="371"/>
                  </a:lnTo>
                  <a:lnTo>
                    <a:pt x="178" y="383"/>
                  </a:lnTo>
                  <a:lnTo>
                    <a:pt x="173" y="395"/>
                  </a:lnTo>
                  <a:lnTo>
                    <a:pt x="168" y="407"/>
                  </a:lnTo>
                  <a:lnTo>
                    <a:pt x="164" y="419"/>
                  </a:lnTo>
                  <a:lnTo>
                    <a:pt x="160" y="432"/>
                  </a:lnTo>
                  <a:lnTo>
                    <a:pt x="157" y="444"/>
                  </a:lnTo>
                  <a:lnTo>
                    <a:pt x="155" y="457"/>
                  </a:lnTo>
                  <a:lnTo>
                    <a:pt x="1" y="1859"/>
                  </a:lnTo>
                  <a:lnTo>
                    <a:pt x="0" y="1872"/>
                  </a:lnTo>
                  <a:lnTo>
                    <a:pt x="1" y="1885"/>
                  </a:lnTo>
                  <a:lnTo>
                    <a:pt x="2" y="1897"/>
                  </a:lnTo>
                  <a:lnTo>
                    <a:pt x="3" y="1910"/>
                  </a:lnTo>
                  <a:lnTo>
                    <a:pt x="5" y="1922"/>
                  </a:lnTo>
                  <a:lnTo>
                    <a:pt x="8" y="1933"/>
                  </a:lnTo>
                  <a:lnTo>
                    <a:pt x="12" y="1945"/>
                  </a:lnTo>
                  <a:lnTo>
                    <a:pt x="16" y="1957"/>
                  </a:lnTo>
                  <a:lnTo>
                    <a:pt x="20" y="1968"/>
                  </a:lnTo>
                  <a:lnTo>
                    <a:pt x="25" y="1979"/>
                  </a:lnTo>
                  <a:lnTo>
                    <a:pt x="31" y="1990"/>
                  </a:lnTo>
                  <a:lnTo>
                    <a:pt x="37" y="2000"/>
                  </a:lnTo>
                  <a:lnTo>
                    <a:pt x="43" y="2009"/>
                  </a:lnTo>
                  <a:lnTo>
                    <a:pt x="50" y="2019"/>
                  </a:lnTo>
                  <a:lnTo>
                    <a:pt x="57" y="2028"/>
                  </a:lnTo>
                  <a:lnTo>
                    <a:pt x="65" y="2037"/>
                  </a:lnTo>
                  <a:lnTo>
                    <a:pt x="74" y="2045"/>
                  </a:lnTo>
                  <a:lnTo>
                    <a:pt x="82" y="2053"/>
                  </a:lnTo>
                  <a:lnTo>
                    <a:pt x="91" y="2060"/>
                  </a:lnTo>
                  <a:lnTo>
                    <a:pt x="101" y="2067"/>
                  </a:lnTo>
                  <a:lnTo>
                    <a:pt x="111" y="2074"/>
                  </a:lnTo>
                  <a:lnTo>
                    <a:pt x="122" y="2080"/>
                  </a:lnTo>
                  <a:lnTo>
                    <a:pt x="132" y="2085"/>
                  </a:lnTo>
                  <a:lnTo>
                    <a:pt x="143" y="2090"/>
                  </a:lnTo>
                  <a:lnTo>
                    <a:pt x="154" y="2095"/>
                  </a:lnTo>
                  <a:lnTo>
                    <a:pt x="165" y="2099"/>
                  </a:lnTo>
                  <a:lnTo>
                    <a:pt x="177" y="2102"/>
                  </a:lnTo>
                  <a:lnTo>
                    <a:pt x="189" y="2105"/>
                  </a:lnTo>
                  <a:lnTo>
                    <a:pt x="201" y="2107"/>
                  </a:lnTo>
                  <a:lnTo>
                    <a:pt x="213" y="2109"/>
                  </a:lnTo>
                  <a:lnTo>
                    <a:pt x="226" y="2110"/>
                  </a:lnTo>
                  <a:lnTo>
                    <a:pt x="239" y="2110"/>
                  </a:lnTo>
                  <a:lnTo>
                    <a:pt x="251" y="2110"/>
                  </a:lnTo>
                  <a:lnTo>
                    <a:pt x="264" y="2109"/>
                  </a:lnTo>
                  <a:lnTo>
                    <a:pt x="276" y="2107"/>
                  </a:lnTo>
                  <a:lnTo>
                    <a:pt x="290" y="2105"/>
                  </a:lnTo>
                  <a:lnTo>
                    <a:pt x="302" y="2102"/>
                  </a:lnTo>
                  <a:lnTo>
                    <a:pt x="314" y="2099"/>
                  </a:lnTo>
                  <a:lnTo>
                    <a:pt x="325" y="2095"/>
                  </a:lnTo>
                  <a:lnTo>
                    <a:pt x="337" y="2090"/>
                  </a:lnTo>
                  <a:lnTo>
                    <a:pt x="348" y="2085"/>
                  </a:lnTo>
                  <a:lnTo>
                    <a:pt x="359" y="2080"/>
                  </a:lnTo>
                  <a:lnTo>
                    <a:pt x="370" y="2074"/>
                  </a:lnTo>
                  <a:lnTo>
                    <a:pt x="380" y="2067"/>
                  </a:lnTo>
                  <a:lnTo>
                    <a:pt x="390" y="2060"/>
                  </a:lnTo>
                  <a:lnTo>
                    <a:pt x="400" y="2053"/>
                  </a:lnTo>
                  <a:lnTo>
                    <a:pt x="409" y="2045"/>
                  </a:lnTo>
                  <a:lnTo>
                    <a:pt x="418" y="2037"/>
                  </a:lnTo>
                  <a:lnTo>
                    <a:pt x="427" y="2028"/>
                  </a:lnTo>
                  <a:lnTo>
                    <a:pt x="435" y="2019"/>
                  </a:lnTo>
                  <a:lnTo>
                    <a:pt x="443" y="2009"/>
                  </a:lnTo>
                  <a:lnTo>
                    <a:pt x="450" y="2000"/>
                  </a:lnTo>
                  <a:lnTo>
                    <a:pt x="458" y="1989"/>
                  </a:lnTo>
                  <a:lnTo>
                    <a:pt x="465" y="1979"/>
                  </a:lnTo>
                  <a:lnTo>
                    <a:pt x="471" y="1968"/>
                  </a:lnTo>
                  <a:lnTo>
                    <a:pt x="476" y="1957"/>
                  </a:lnTo>
                  <a:lnTo>
                    <a:pt x="481" y="1945"/>
                  </a:lnTo>
                  <a:lnTo>
                    <a:pt x="485" y="1933"/>
                  </a:lnTo>
                  <a:lnTo>
                    <a:pt x="489" y="1921"/>
                  </a:lnTo>
                  <a:lnTo>
                    <a:pt x="493" y="1909"/>
                  </a:lnTo>
                  <a:lnTo>
                    <a:pt x="495" y="1897"/>
                  </a:lnTo>
                  <a:lnTo>
                    <a:pt x="497" y="1884"/>
                  </a:lnTo>
                  <a:lnTo>
                    <a:pt x="499" y="1872"/>
                  </a:lnTo>
                  <a:lnTo>
                    <a:pt x="500" y="1859"/>
                  </a:lnTo>
                  <a:lnTo>
                    <a:pt x="583" y="906"/>
                  </a:lnTo>
                  <a:lnTo>
                    <a:pt x="585" y="893"/>
                  </a:lnTo>
                  <a:lnTo>
                    <a:pt x="588" y="880"/>
                  </a:lnTo>
                  <a:lnTo>
                    <a:pt x="591" y="868"/>
                  </a:lnTo>
                  <a:lnTo>
                    <a:pt x="595" y="855"/>
                  </a:lnTo>
                  <a:lnTo>
                    <a:pt x="600" y="843"/>
                  </a:lnTo>
                  <a:lnTo>
                    <a:pt x="605" y="831"/>
                  </a:lnTo>
                  <a:lnTo>
                    <a:pt x="610" y="819"/>
                  </a:lnTo>
                  <a:lnTo>
                    <a:pt x="616" y="807"/>
                  </a:lnTo>
                  <a:lnTo>
                    <a:pt x="622" y="796"/>
                  </a:lnTo>
                  <a:lnTo>
                    <a:pt x="630" y="784"/>
                  </a:lnTo>
                  <a:lnTo>
                    <a:pt x="638" y="773"/>
                  </a:lnTo>
                  <a:lnTo>
                    <a:pt x="646" y="762"/>
                  </a:lnTo>
                  <a:lnTo>
                    <a:pt x="654" y="751"/>
                  </a:lnTo>
                  <a:lnTo>
                    <a:pt x="663" y="741"/>
                  </a:lnTo>
                  <a:lnTo>
                    <a:pt x="672" y="731"/>
                  </a:lnTo>
                  <a:lnTo>
                    <a:pt x="681" y="722"/>
                  </a:lnTo>
                  <a:lnTo>
                    <a:pt x="691" y="713"/>
                  </a:lnTo>
                  <a:lnTo>
                    <a:pt x="701" y="704"/>
                  </a:lnTo>
                  <a:lnTo>
                    <a:pt x="711" y="696"/>
                  </a:lnTo>
                  <a:lnTo>
                    <a:pt x="722" y="688"/>
                  </a:lnTo>
                  <a:lnTo>
                    <a:pt x="733" y="680"/>
                  </a:lnTo>
                  <a:lnTo>
                    <a:pt x="744" y="673"/>
                  </a:lnTo>
                  <a:lnTo>
                    <a:pt x="756" y="667"/>
                  </a:lnTo>
                  <a:lnTo>
                    <a:pt x="767" y="661"/>
                  </a:lnTo>
                  <a:lnTo>
                    <a:pt x="779" y="655"/>
                  </a:lnTo>
                  <a:lnTo>
                    <a:pt x="791" y="650"/>
                  </a:lnTo>
                  <a:lnTo>
                    <a:pt x="804" y="646"/>
                  </a:lnTo>
                  <a:lnTo>
                    <a:pt x="817" y="642"/>
                  </a:lnTo>
                  <a:lnTo>
                    <a:pt x="829" y="638"/>
                  </a:lnTo>
                  <a:lnTo>
                    <a:pt x="842" y="635"/>
                  </a:lnTo>
                  <a:lnTo>
                    <a:pt x="855" y="633"/>
                  </a:lnTo>
                  <a:lnTo>
                    <a:pt x="867" y="632"/>
                  </a:lnTo>
                  <a:lnTo>
                    <a:pt x="2753" y="502"/>
                  </a:lnTo>
                  <a:lnTo>
                    <a:pt x="2766" y="501"/>
                  </a:lnTo>
                  <a:lnTo>
                    <a:pt x="2779" y="500"/>
                  </a:lnTo>
                  <a:lnTo>
                    <a:pt x="2791" y="498"/>
                  </a:lnTo>
                  <a:lnTo>
                    <a:pt x="2804" y="495"/>
                  </a:lnTo>
                  <a:lnTo>
                    <a:pt x="2816" y="492"/>
                  </a:lnTo>
                  <a:lnTo>
                    <a:pt x="2829" y="488"/>
                  </a:lnTo>
                  <a:lnTo>
                    <a:pt x="2840" y="484"/>
                  </a:lnTo>
                  <a:lnTo>
                    <a:pt x="2851" y="479"/>
                  </a:lnTo>
                  <a:lnTo>
                    <a:pt x="2863" y="473"/>
                  </a:lnTo>
                  <a:lnTo>
                    <a:pt x="2873" y="467"/>
                  </a:lnTo>
                  <a:lnTo>
                    <a:pt x="2884" y="461"/>
                  </a:lnTo>
                  <a:lnTo>
                    <a:pt x="2894" y="453"/>
                  </a:lnTo>
                  <a:lnTo>
                    <a:pt x="2904" y="446"/>
                  </a:lnTo>
                  <a:lnTo>
                    <a:pt x="2913" y="438"/>
                  </a:lnTo>
                  <a:lnTo>
                    <a:pt x="2922" y="430"/>
                  </a:lnTo>
                  <a:lnTo>
                    <a:pt x="2931" y="421"/>
                  </a:lnTo>
                  <a:lnTo>
                    <a:pt x="2939" y="412"/>
                  </a:lnTo>
                  <a:lnTo>
                    <a:pt x="2947" y="403"/>
                  </a:lnTo>
                  <a:lnTo>
                    <a:pt x="2955" y="393"/>
                  </a:lnTo>
                  <a:lnTo>
                    <a:pt x="2962" y="383"/>
                  </a:lnTo>
                  <a:lnTo>
                    <a:pt x="2968" y="373"/>
                  </a:lnTo>
                  <a:lnTo>
                    <a:pt x="2974" y="362"/>
                  </a:lnTo>
                  <a:lnTo>
                    <a:pt x="2980" y="351"/>
                  </a:lnTo>
                  <a:lnTo>
                    <a:pt x="2985" y="340"/>
                  </a:lnTo>
                  <a:lnTo>
                    <a:pt x="2989" y="328"/>
                  </a:lnTo>
                  <a:lnTo>
                    <a:pt x="2993" y="317"/>
                  </a:lnTo>
                  <a:lnTo>
                    <a:pt x="2998" y="305"/>
                  </a:lnTo>
                  <a:lnTo>
                    <a:pt x="3000" y="291"/>
                  </a:lnTo>
                  <a:lnTo>
                    <a:pt x="3003" y="279"/>
                  </a:lnTo>
                  <a:lnTo>
                    <a:pt x="3004" y="267"/>
                  </a:lnTo>
                  <a:lnTo>
                    <a:pt x="3005" y="254"/>
                  </a:lnTo>
                  <a:lnTo>
                    <a:pt x="3005" y="241"/>
                  </a:lnTo>
                  <a:lnTo>
                    <a:pt x="3005" y="228"/>
                  </a:lnTo>
                  <a:lnTo>
                    <a:pt x="3004" y="215"/>
                  </a:lnTo>
                  <a:lnTo>
                    <a:pt x="3003" y="203"/>
                  </a:lnTo>
                  <a:lnTo>
                    <a:pt x="3000" y="191"/>
                  </a:lnTo>
                  <a:lnTo>
                    <a:pt x="2998" y="179"/>
                  </a:lnTo>
                  <a:lnTo>
                    <a:pt x="2993" y="167"/>
                  </a:lnTo>
                  <a:lnTo>
                    <a:pt x="2989" y="156"/>
                  </a:lnTo>
                  <a:lnTo>
                    <a:pt x="2985" y="145"/>
                  </a:lnTo>
                  <a:lnTo>
                    <a:pt x="2980" y="134"/>
                  </a:lnTo>
                  <a:lnTo>
                    <a:pt x="2974" y="122"/>
                  </a:lnTo>
                  <a:lnTo>
                    <a:pt x="2968" y="112"/>
                  </a:lnTo>
                  <a:lnTo>
                    <a:pt x="2962" y="102"/>
                  </a:lnTo>
                  <a:lnTo>
                    <a:pt x="2955" y="92"/>
                  </a:lnTo>
                  <a:lnTo>
                    <a:pt x="2947" y="83"/>
                  </a:lnTo>
                  <a:lnTo>
                    <a:pt x="2939" y="74"/>
                  </a:lnTo>
                  <a:lnTo>
                    <a:pt x="2931" y="66"/>
                  </a:lnTo>
                  <a:lnTo>
                    <a:pt x="2922" y="58"/>
                  </a:lnTo>
                  <a:lnTo>
                    <a:pt x="2913" y="51"/>
                  </a:lnTo>
                  <a:lnTo>
                    <a:pt x="2904" y="44"/>
                  </a:lnTo>
                  <a:lnTo>
                    <a:pt x="2894" y="37"/>
                  </a:lnTo>
                  <a:lnTo>
                    <a:pt x="2884" y="31"/>
                  </a:lnTo>
                  <a:lnTo>
                    <a:pt x="2873" y="25"/>
                  </a:lnTo>
                  <a:lnTo>
                    <a:pt x="2863" y="20"/>
                  </a:lnTo>
                  <a:lnTo>
                    <a:pt x="2851" y="16"/>
                  </a:lnTo>
                  <a:lnTo>
                    <a:pt x="2840" y="12"/>
                  </a:lnTo>
                  <a:lnTo>
                    <a:pt x="2829" y="8"/>
                  </a:lnTo>
                  <a:lnTo>
                    <a:pt x="2816" y="5"/>
                  </a:lnTo>
                  <a:lnTo>
                    <a:pt x="2804" y="3"/>
                  </a:lnTo>
                  <a:lnTo>
                    <a:pt x="2791" y="1"/>
                  </a:lnTo>
                  <a:lnTo>
                    <a:pt x="2779" y="0"/>
                  </a:lnTo>
                  <a:lnTo>
                    <a:pt x="2766" y="0"/>
                  </a:lnTo>
                  <a:lnTo>
                    <a:pt x="275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9" name="ïŝlîďê">
              <a:extLst>
                <a:ext uri="{FF2B5EF4-FFF2-40B4-BE49-F238E27FC236}">
                  <a16:creationId xmlns:a16="http://schemas.microsoft.com/office/drawing/2014/main" id="{7E5BE295-7EF4-4AE7-9CAD-B2FAC33BE01E}"/>
                </a:ext>
              </a:extLst>
            </p:cNvPr>
            <p:cNvSpPr/>
            <p:nvPr/>
          </p:nvSpPr>
          <p:spPr bwMode="auto">
            <a:xfrm>
              <a:off x="870985" y="772660"/>
              <a:ext cx="404054" cy="361004"/>
            </a:xfrm>
            <a:custGeom>
              <a:avLst/>
              <a:gdLst>
                <a:gd name="T0" fmla="*/ 8326 w 16095"/>
                <a:gd name="T1" fmla="*/ 13008 h 14096"/>
                <a:gd name="T2" fmla="*/ 8191 w 16095"/>
                <a:gd name="T3" fmla="*/ 13069 h 14096"/>
                <a:gd name="T4" fmla="*/ 8048 w 16095"/>
                <a:gd name="T5" fmla="*/ 13090 h 14096"/>
                <a:gd name="T6" fmla="*/ 7903 w 16095"/>
                <a:gd name="T7" fmla="*/ 13069 h 14096"/>
                <a:gd name="T8" fmla="*/ 7768 w 16095"/>
                <a:gd name="T9" fmla="*/ 13008 h 14096"/>
                <a:gd name="T10" fmla="*/ 1995 w 16095"/>
                <a:gd name="T11" fmla="*/ 7293 h 14096"/>
                <a:gd name="T12" fmla="*/ 1368 w 16095"/>
                <a:gd name="T13" fmla="*/ 6355 h 14096"/>
                <a:gd name="T14" fmla="*/ 1055 w 16095"/>
                <a:gd name="T15" fmla="*/ 5309 h 14096"/>
                <a:gd name="T16" fmla="*/ 1055 w 16095"/>
                <a:gd name="T17" fmla="*/ 4226 h 14096"/>
                <a:gd name="T18" fmla="*/ 1368 w 16095"/>
                <a:gd name="T19" fmla="*/ 3179 h 14096"/>
                <a:gd name="T20" fmla="*/ 1995 w 16095"/>
                <a:gd name="T21" fmla="*/ 2241 h 14096"/>
                <a:gd name="T22" fmla="*/ 2857 w 16095"/>
                <a:gd name="T23" fmla="*/ 1536 h 14096"/>
                <a:gd name="T24" fmla="*/ 3845 w 16095"/>
                <a:gd name="T25" fmla="*/ 1126 h 14096"/>
                <a:gd name="T26" fmla="*/ 4896 w 16095"/>
                <a:gd name="T27" fmla="*/ 1005 h 14096"/>
                <a:gd name="T28" fmla="*/ 5943 w 16095"/>
                <a:gd name="T29" fmla="*/ 1178 h 14096"/>
                <a:gd name="T30" fmla="*/ 6922 w 16095"/>
                <a:gd name="T31" fmla="*/ 1644 h 14096"/>
                <a:gd name="T32" fmla="*/ 8873 w 16095"/>
                <a:gd name="T33" fmla="*/ 1866 h 14096"/>
                <a:gd name="T34" fmla="*/ 9814 w 16095"/>
                <a:gd name="T35" fmla="*/ 1301 h 14096"/>
                <a:gd name="T36" fmla="*/ 10846 w 16095"/>
                <a:gd name="T37" fmla="*/ 1030 h 14096"/>
                <a:gd name="T38" fmla="*/ 11903 w 16095"/>
                <a:gd name="T39" fmla="*/ 1053 h 14096"/>
                <a:gd name="T40" fmla="*/ 12919 w 16095"/>
                <a:gd name="T41" fmla="*/ 1367 h 14096"/>
                <a:gd name="T42" fmla="*/ 13830 w 16095"/>
                <a:gd name="T43" fmla="*/ 1971 h 14096"/>
                <a:gd name="T44" fmla="*/ 14553 w 16095"/>
                <a:gd name="T45" fmla="*/ 2850 h 14096"/>
                <a:gd name="T46" fmla="*/ 14970 w 16095"/>
                <a:gd name="T47" fmla="*/ 3868 h 14096"/>
                <a:gd name="T48" fmla="*/ 15074 w 16095"/>
                <a:gd name="T49" fmla="*/ 4948 h 14096"/>
                <a:gd name="T50" fmla="*/ 14866 w 16095"/>
                <a:gd name="T51" fmla="*/ 6015 h 14096"/>
                <a:gd name="T52" fmla="*/ 14344 w 16095"/>
                <a:gd name="T53" fmla="*/ 6997 h 14096"/>
                <a:gd name="T54" fmla="*/ 14329 w 16095"/>
                <a:gd name="T55" fmla="*/ 1071 h 14096"/>
                <a:gd name="T56" fmla="*/ 13143 w 16095"/>
                <a:gd name="T57" fmla="*/ 364 h 14096"/>
                <a:gd name="T58" fmla="*/ 11837 w 16095"/>
                <a:gd name="T59" fmla="*/ 29 h 14096"/>
                <a:gd name="T60" fmla="*/ 10497 w 16095"/>
                <a:gd name="T61" fmla="*/ 65 h 14096"/>
                <a:gd name="T62" fmla="*/ 9205 w 16095"/>
                <a:gd name="T63" fmla="*/ 471 h 14096"/>
                <a:gd name="T64" fmla="*/ 8046 w 16095"/>
                <a:gd name="T65" fmla="*/ 1245 h 14096"/>
                <a:gd name="T66" fmla="*/ 6889 w 16095"/>
                <a:gd name="T67" fmla="*/ 471 h 14096"/>
                <a:gd name="T68" fmla="*/ 5598 w 16095"/>
                <a:gd name="T69" fmla="*/ 65 h 14096"/>
                <a:gd name="T70" fmla="*/ 4258 w 16095"/>
                <a:gd name="T71" fmla="*/ 29 h 14096"/>
                <a:gd name="T72" fmla="*/ 2953 w 16095"/>
                <a:gd name="T73" fmla="*/ 364 h 14096"/>
                <a:gd name="T74" fmla="*/ 1766 w 16095"/>
                <a:gd name="T75" fmla="*/ 1071 h 14096"/>
                <a:gd name="T76" fmla="*/ 794 w 16095"/>
                <a:gd name="T77" fmla="*/ 2140 h 14096"/>
                <a:gd name="T78" fmla="*/ 198 w 16095"/>
                <a:gd name="T79" fmla="*/ 3407 h 14096"/>
                <a:gd name="T80" fmla="*/ 0 w 16095"/>
                <a:gd name="T81" fmla="*/ 4767 h 14096"/>
                <a:gd name="T82" fmla="*/ 198 w 16095"/>
                <a:gd name="T83" fmla="*/ 6127 h 14096"/>
                <a:gd name="T84" fmla="*/ 794 w 16095"/>
                <a:gd name="T85" fmla="*/ 7395 h 14096"/>
                <a:gd name="T86" fmla="*/ 1805 w 16095"/>
                <a:gd name="T87" fmla="*/ 8534 h 14096"/>
                <a:gd name="T88" fmla="*/ 4393 w 16095"/>
                <a:gd name="T89" fmla="*/ 11099 h 14096"/>
                <a:gd name="T90" fmla="*/ 6755 w 16095"/>
                <a:gd name="T91" fmla="*/ 13439 h 14096"/>
                <a:gd name="T92" fmla="*/ 7211 w 16095"/>
                <a:gd name="T93" fmla="*/ 13847 h 14096"/>
                <a:gd name="T94" fmla="*/ 7614 w 16095"/>
                <a:gd name="T95" fmla="*/ 14034 h 14096"/>
                <a:gd name="T96" fmla="*/ 8048 w 16095"/>
                <a:gd name="T97" fmla="*/ 14096 h 14096"/>
                <a:gd name="T98" fmla="*/ 8480 w 16095"/>
                <a:gd name="T99" fmla="*/ 14034 h 14096"/>
                <a:gd name="T100" fmla="*/ 8884 w 16095"/>
                <a:gd name="T101" fmla="*/ 13847 h 14096"/>
                <a:gd name="T102" fmla="*/ 9360 w 16095"/>
                <a:gd name="T103" fmla="*/ 13419 h 14096"/>
                <a:gd name="T104" fmla="*/ 11881 w 16095"/>
                <a:gd name="T105" fmla="*/ 10921 h 14096"/>
                <a:gd name="T106" fmla="*/ 14427 w 16095"/>
                <a:gd name="T107" fmla="*/ 8398 h 14096"/>
                <a:gd name="T108" fmla="*/ 15301 w 16095"/>
                <a:gd name="T109" fmla="*/ 7395 h 14096"/>
                <a:gd name="T110" fmla="*/ 15897 w 16095"/>
                <a:gd name="T111" fmla="*/ 6127 h 14096"/>
                <a:gd name="T112" fmla="*/ 16095 w 16095"/>
                <a:gd name="T113" fmla="*/ 4767 h 14096"/>
                <a:gd name="T114" fmla="*/ 15897 w 16095"/>
                <a:gd name="T115" fmla="*/ 3407 h 14096"/>
                <a:gd name="T116" fmla="*/ 15301 w 16095"/>
                <a:gd name="T117" fmla="*/ 2140 h 14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095" h="14096">
                  <a:moveTo>
                    <a:pt x="13965" y="7434"/>
                  </a:moveTo>
                  <a:lnTo>
                    <a:pt x="8406" y="12943"/>
                  </a:lnTo>
                  <a:lnTo>
                    <a:pt x="8387" y="12960"/>
                  </a:lnTo>
                  <a:lnTo>
                    <a:pt x="8367" y="12977"/>
                  </a:lnTo>
                  <a:lnTo>
                    <a:pt x="8347" y="12992"/>
                  </a:lnTo>
                  <a:lnTo>
                    <a:pt x="8326" y="13008"/>
                  </a:lnTo>
                  <a:lnTo>
                    <a:pt x="8305" y="13021"/>
                  </a:lnTo>
                  <a:lnTo>
                    <a:pt x="8283" y="13033"/>
                  </a:lnTo>
                  <a:lnTo>
                    <a:pt x="8261" y="13044"/>
                  </a:lnTo>
                  <a:lnTo>
                    <a:pt x="8239" y="13053"/>
                  </a:lnTo>
                  <a:lnTo>
                    <a:pt x="8215" y="13062"/>
                  </a:lnTo>
                  <a:lnTo>
                    <a:pt x="8191" y="13069"/>
                  </a:lnTo>
                  <a:lnTo>
                    <a:pt x="8168" y="13076"/>
                  </a:lnTo>
                  <a:lnTo>
                    <a:pt x="8144" y="13081"/>
                  </a:lnTo>
                  <a:lnTo>
                    <a:pt x="8120" y="13085"/>
                  </a:lnTo>
                  <a:lnTo>
                    <a:pt x="8096" y="13088"/>
                  </a:lnTo>
                  <a:lnTo>
                    <a:pt x="8072" y="13089"/>
                  </a:lnTo>
                  <a:lnTo>
                    <a:pt x="8048" y="13090"/>
                  </a:lnTo>
                  <a:lnTo>
                    <a:pt x="8023" y="13089"/>
                  </a:lnTo>
                  <a:lnTo>
                    <a:pt x="7998" y="13088"/>
                  </a:lnTo>
                  <a:lnTo>
                    <a:pt x="7974" y="13085"/>
                  </a:lnTo>
                  <a:lnTo>
                    <a:pt x="7950" y="13081"/>
                  </a:lnTo>
                  <a:lnTo>
                    <a:pt x="7927" y="13076"/>
                  </a:lnTo>
                  <a:lnTo>
                    <a:pt x="7903" y="13069"/>
                  </a:lnTo>
                  <a:lnTo>
                    <a:pt x="7880" y="13062"/>
                  </a:lnTo>
                  <a:lnTo>
                    <a:pt x="7856" y="13053"/>
                  </a:lnTo>
                  <a:lnTo>
                    <a:pt x="7833" y="13044"/>
                  </a:lnTo>
                  <a:lnTo>
                    <a:pt x="7811" y="13033"/>
                  </a:lnTo>
                  <a:lnTo>
                    <a:pt x="7790" y="13021"/>
                  </a:lnTo>
                  <a:lnTo>
                    <a:pt x="7768" y="13008"/>
                  </a:lnTo>
                  <a:lnTo>
                    <a:pt x="7748" y="12992"/>
                  </a:lnTo>
                  <a:lnTo>
                    <a:pt x="7728" y="12977"/>
                  </a:lnTo>
                  <a:lnTo>
                    <a:pt x="7707" y="12960"/>
                  </a:lnTo>
                  <a:lnTo>
                    <a:pt x="7689" y="12943"/>
                  </a:lnTo>
                  <a:lnTo>
                    <a:pt x="2130" y="7434"/>
                  </a:lnTo>
                  <a:lnTo>
                    <a:pt x="1995" y="7293"/>
                  </a:lnTo>
                  <a:lnTo>
                    <a:pt x="1868" y="7148"/>
                  </a:lnTo>
                  <a:lnTo>
                    <a:pt x="1751" y="6997"/>
                  </a:lnTo>
                  <a:lnTo>
                    <a:pt x="1643" y="6843"/>
                  </a:lnTo>
                  <a:lnTo>
                    <a:pt x="1542" y="6684"/>
                  </a:lnTo>
                  <a:lnTo>
                    <a:pt x="1452" y="6521"/>
                  </a:lnTo>
                  <a:lnTo>
                    <a:pt x="1368" y="6355"/>
                  </a:lnTo>
                  <a:lnTo>
                    <a:pt x="1295" y="6186"/>
                  </a:lnTo>
                  <a:lnTo>
                    <a:pt x="1229" y="6015"/>
                  </a:lnTo>
                  <a:lnTo>
                    <a:pt x="1173" y="5841"/>
                  </a:lnTo>
                  <a:lnTo>
                    <a:pt x="1125" y="5666"/>
                  </a:lnTo>
                  <a:lnTo>
                    <a:pt x="1085" y="5487"/>
                  </a:lnTo>
                  <a:lnTo>
                    <a:pt x="1055" y="5309"/>
                  </a:lnTo>
                  <a:lnTo>
                    <a:pt x="1034" y="5129"/>
                  </a:lnTo>
                  <a:lnTo>
                    <a:pt x="1021" y="4948"/>
                  </a:lnTo>
                  <a:lnTo>
                    <a:pt x="1016" y="4767"/>
                  </a:lnTo>
                  <a:lnTo>
                    <a:pt x="1021" y="4586"/>
                  </a:lnTo>
                  <a:lnTo>
                    <a:pt x="1034" y="4405"/>
                  </a:lnTo>
                  <a:lnTo>
                    <a:pt x="1055" y="4226"/>
                  </a:lnTo>
                  <a:lnTo>
                    <a:pt x="1085" y="4047"/>
                  </a:lnTo>
                  <a:lnTo>
                    <a:pt x="1125" y="3868"/>
                  </a:lnTo>
                  <a:lnTo>
                    <a:pt x="1173" y="3693"/>
                  </a:lnTo>
                  <a:lnTo>
                    <a:pt x="1229" y="3519"/>
                  </a:lnTo>
                  <a:lnTo>
                    <a:pt x="1295" y="3348"/>
                  </a:lnTo>
                  <a:lnTo>
                    <a:pt x="1368" y="3179"/>
                  </a:lnTo>
                  <a:lnTo>
                    <a:pt x="1452" y="3013"/>
                  </a:lnTo>
                  <a:lnTo>
                    <a:pt x="1542" y="2850"/>
                  </a:lnTo>
                  <a:lnTo>
                    <a:pt x="1643" y="2691"/>
                  </a:lnTo>
                  <a:lnTo>
                    <a:pt x="1751" y="2537"/>
                  </a:lnTo>
                  <a:lnTo>
                    <a:pt x="1868" y="2386"/>
                  </a:lnTo>
                  <a:lnTo>
                    <a:pt x="1995" y="2241"/>
                  </a:lnTo>
                  <a:lnTo>
                    <a:pt x="2130" y="2100"/>
                  </a:lnTo>
                  <a:lnTo>
                    <a:pt x="2265" y="1971"/>
                  </a:lnTo>
                  <a:lnTo>
                    <a:pt x="2407" y="1851"/>
                  </a:lnTo>
                  <a:lnTo>
                    <a:pt x="2553" y="1738"/>
                  </a:lnTo>
                  <a:lnTo>
                    <a:pt x="2703" y="1633"/>
                  </a:lnTo>
                  <a:lnTo>
                    <a:pt x="2857" y="1536"/>
                  </a:lnTo>
                  <a:lnTo>
                    <a:pt x="3015" y="1448"/>
                  </a:lnTo>
                  <a:lnTo>
                    <a:pt x="3176" y="1367"/>
                  </a:lnTo>
                  <a:lnTo>
                    <a:pt x="3339" y="1295"/>
                  </a:lnTo>
                  <a:lnTo>
                    <a:pt x="3506" y="1230"/>
                  </a:lnTo>
                  <a:lnTo>
                    <a:pt x="3675" y="1174"/>
                  </a:lnTo>
                  <a:lnTo>
                    <a:pt x="3845" y="1126"/>
                  </a:lnTo>
                  <a:lnTo>
                    <a:pt x="4018" y="1085"/>
                  </a:lnTo>
                  <a:lnTo>
                    <a:pt x="4192" y="1053"/>
                  </a:lnTo>
                  <a:lnTo>
                    <a:pt x="4367" y="1029"/>
                  </a:lnTo>
                  <a:lnTo>
                    <a:pt x="4543" y="1013"/>
                  </a:lnTo>
                  <a:lnTo>
                    <a:pt x="4719" y="1005"/>
                  </a:lnTo>
                  <a:lnTo>
                    <a:pt x="4896" y="1005"/>
                  </a:lnTo>
                  <a:lnTo>
                    <a:pt x="5072" y="1014"/>
                  </a:lnTo>
                  <a:lnTo>
                    <a:pt x="5249" y="1030"/>
                  </a:lnTo>
                  <a:lnTo>
                    <a:pt x="5424" y="1055"/>
                  </a:lnTo>
                  <a:lnTo>
                    <a:pt x="5599" y="1087"/>
                  </a:lnTo>
                  <a:lnTo>
                    <a:pt x="5772" y="1129"/>
                  </a:lnTo>
                  <a:lnTo>
                    <a:pt x="5943" y="1178"/>
                  </a:lnTo>
                  <a:lnTo>
                    <a:pt x="6113" y="1235"/>
                  </a:lnTo>
                  <a:lnTo>
                    <a:pt x="6281" y="1301"/>
                  </a:lnTo>
                  <a:lnTo>
                    <a:pt x="6446" y="1374"/>
                  </a:lnTo>
                  <a:lnTo>
                    <a:pt x="6608" y="1456"/>
                  </a:lnTo>
                  <a:lnTo>
                    <a:pt x="6767" y="1547"/>
                  </a:lnTo>
                  <a:lnTo>
                    <a:pt x="6922" y="1644"/>
                  </a:lnTo>
                  <a:lnTo>
                    <a:pt x="7074" y="1751"/>
                  </a:lnTo>
                  <a:lnTo>
                    <a:pt x="7222" y="1866"/>
                  </a:lnTo>
                  <a:lnTo>
                    <a:pt x="7365" y="1989"/>
                  </a:lnTo>
                  <a:lnTo>
                    <a:pt x="8046" y="2603"/>
                  </a:lnTo>
                  <a:lnTo>
                    <a:pt x="8730" y="1989"/>
                  </a:lnTo>
                  <a:lnTo>
                    <a:pt x="8873" y="1866"/>
                  </a:lnTo>
                  <a:lnTo>
                    <a:pt x="9021" y="1751"/>
                  </a:lnTo>
                  <a:lnTo>
                    <a:pt x="9173" y="1644"/>
                  </a:lnTo>
                  <a:lnTo>
                    <a:pt x="9328" y="1547"/>
                  </a:lnTo>
                  <a:lnTo>
                    <a:pt x="9487" y="1456"/>
                  </a:lnTo>
                  <a:lnTo>
                    <a:pt x="9649" y="1374"/>
                  </a:lnTo>
                  <a:lnTo>
                    <a:pt x="9814" y="1301"/>
                  </a:lnTo>
                  <a:lnTo>
                    <a:pt x="9982" y="1235"/>
                  </a:lnTo>
                  <a:lnTo>
                    <a:pt x="10152" y="1178"/>
                  </a:lnTo>
                  <a:lnTo>
                    <a:pt x="10323" y="1129"/>
                  </a:lnTo>
                  <a:lnTo>
                    <a:pt x="10496" y="1087"/>
                  </a:lnTo>
                  <a:lnTo>
                    <a:pt x="10671" y="1055"/>
                  </a:lnTo>
                  <a:lnTo>
                    <a:pt x="10846" y="1030"/>
                  </a:lnTo>
                  <a:lnTo>
                    <a:pt x="11023" y="1014"/>
                  </a:lnTo>
                  <a:lnTo>
                    <a:pt x="11199" y="1005"/>
                  </a:lnTo>
                  <a:lnTo>
                    <a:pt x="11376" y="1005"/>
                  </a:lnTo>
                  <a:lnTo>
                    <a:pt x="11552" y="1013"/>
                  </a:lnTo>
                  <a:lnTo>
                    <a:pt x="11728" y="1029"/>
                  </a:lnTo>
                  <a:lnTo>
                    <a:pt x="11903" y="1053"/>
                  </a:lnTo>
                  <a:lnTo>
                    <a:pt x="12077" y="1085"/>
                  </a:lnTo>
                  <a:lnTo>
                    <a:pt x="12250" y="1126"/>
                  </a:lnTo>
                  <a:lnTo>
                    <a:pt x="12420" y="1174"/>
                  </a:lnTo>
                  <a:lnTo>
                    <a:pt x="12589" y="1230"/>
                  </a:lnTo>
                  <a:lnTo>
                    <a:pt x="12756" y="1295"/>
                  </a:lnTo>
                  <a:lnTo>
                    <a:pt x="12919" y="1367"/>
                  </a:lnTo>
                  <a:lnTo>
                    <a:pt x="13080" y="1448"/>
                  </a:lnTo>
                  <a:lnTo>
                    <a:pt x="13238" y="1536"/>
                  </a:lnTo>
                  <a:lnTo>
                    <a:pt x="13392" y="1633"/>
                  </a:lnTo>
                  <a:lnTo>
                    <a:pt x="13542" y="1738"/>
                  </a:lnTo>
                  <a:lnTo>
                    <a:pt x="13688" y="1851"/>
                  </a:lnTo>
                  <a:lnTo>
                    <a:pt x="13830" y="1971"/>
                  </a:lnTo>
                  <a:lnTo>
                    <a:pt x="13965" y="2100"/>
                  </a:lnTo>
                  <a:lnTo>
                    <a:pt x="14100" y="2241"/>
                  </a:lnTo>
                  <a:lnTo>
                    <a:pt x="14227" y="2386"/>
                  </a:lnTo>
                  <a:lnTo>
                    <a:pt x="14344" y="2537"/>
                  </a:lnTo>
                  <a:lnTo>
                    <a:pt x="14452" y="2691"/>
                  </a:lnTo>
                  <a:lnTo>
                    <a:pt x="14553" y="2850"/>
                  </a:lnTo>
                  <a:lnTo>
                    <a:pt x="14643" y="3013"/>
                  </a:lnTo>
                  <a:lnTo>
                    <a:pt x="14727" y="3179"/>
                  </a:lnTo>
                  <a:lnTo>
                    <a:pt x="14800" y="3348"/>
                  </a:lnTo>
                  <a:lnTo>
                    <a:pt x="14866" y="3519"/>
                  </a:lnTo>
                  <a:lnTo>
                    <a:pt x="14922" y="3693"/>
                  </a:lnTo>
                  <a:lnTo>
                    <a:pt x="14970" y="3868"/>
                  </a:lnTo>
                  <a:lnTo>
                    <a:pt x="15010" y="4047"/>
                  </a:lnTo>
                  <a:lnTo>
                    <a:pt x="15040" y="4226"/>
                  </a:lnTo>
                  <a:lnTo>
                    <a:pt x="15061" y="4405"/>
                  </a:lnTo>
                  <a:lnTo>
                    <a:pt x="15074" y="4586"/>
                  </a:lnTo>
                  <a:lnTo>
                    <a:pt x="15079" y="4767"/>
                  </a:lnTo>
                  <a:lnTo>
                    <a:pt x="15074" y="4948"/>
                  </a:lnTo>
                  <a:lnTo>
                    <a:pt x="15061" y="5129"/>
                  </a:lnTo>
                  <a:lnTo>
                    <a:pt x="15040" y="5309"/>
                  </a:lnTo>
                  <a:lnTo>
                    <a:pt x="15010" y="5487"/>
                  </a:lnTo>
                  <a:lnTo>
                    <a:pt x="14970" y="5666"/>
                  </a:lnTo>
                  <a:lnTo>
                    <a:pt x="14922" y="5841"/>
                  </a:lnTo>
                  <a:lnTo>
                    <a:pt x="14866" y="6015"/>
                  </a:lnTo>
                  <a:lnTo>
                    <a:pt x="14800" y="6186"/>
                  </a:lnTo>
                  <a:lnTo>
                    <a:pt x="14727" y="6355"/>
                  </a:lnTo>
                  <a:lnTo>
                    <a:pt x="14643" y="6521"/>
                  </a:lnTo>
                  <a:lnTo>
                    <a:pt x="14553" y="6684"/>
                  </a:lnTo>
                  <a:lnTo>
                    <a:pt x="14452" y="6843"/>
                  </a:lnTo>
                  <a:lnTo>
                    <a:pt x="14344" y="6997"/>
                  </a:lnTo>
                  <a:lnTo>
                    <a:pt x="14227" y="7148"/>
                  </a:lnTo>
                  <a:lnTo>
                    <a:pt x="14100" y="7293"/>
                  </a:lnTo>
                  <a:lnTo>
                    <a:pt x="13965" y="7434"/>
                  </a:lnTo>
                  <a:close/>
                  <a:moveTo>
                    <a:pt x="14684" y="1390"/>
                  </a:moveTo>
                  <a:lnTo>
                    <a:pt x="14510" y="1225"/>
                  </a:lnTo>
                  <a:lnTo>
                    <a:pt x="14329" y="1071"/>
                  </a:lnTo>
                  <a:lnTo>
                    <a:pt x="14142" y="927"/>
                  </a:lnTo>
                  <a:lnTo>
                    <a:pt x="13951" y="794"/>
                  </a:lnTo>
                  <a:lnTo>
                    <a:pt x="13755" y="672"/>
                  </a:lnTo>
                  <a:lnTo>
                    <a:pt x="13555" y="559"/>
                  </a:lnTo>
                  <a:lnTo>
                    <a:pt x="13351" y="456"/>
                  </a:lnTo>
                  <a:lnTo>
                    <a:pt x="13143" y="364"/>
                  </a:lnTo>
                  <a:lnTo>
                    <a:pt x="12930" y="282"/>
                  </a:lnTo>
                  <a:lnTo>
                    <a:pt x="12716" y="211"/>
                  </a:lnTo>
                  <a:lnTo>
                    <a:pt x="12499" y="150"/>
                  </a:lnTo>
                  <a:lnTo>
                    <a:pt x="12280" y="100"/>
                  </a:lnTo>
                  <a:lnTo>
                    <a:pt x="12059" y="59"/>
                  </a:lnTo>
                  <a:lnTo>
                    <a:pt x="11837" y="29"/>
                  </a:lnTo>
                  <a:lnTo>
                    <a:pt x="11614" y="9"/>
                  </a:lnTo>
                  <a:lnTo>
                    <a:pt x="11390" y="0"/>
                  </a:lnTo>
                  <a:lnTo>
                    <a:pt x="11166" y="1"/>
                  </a:lnTo>
                  <a:lnTo>
                    <a:pt x="10943" y="12"/>
                  </a:lnTo>
                  <a:lnTo>
                    <a:pt x="10719" y="33"/>
                  </a:lnTo>
                  <a:lnTo>
                    <a:pt x="10497" y="65"/>
                  </a:lnTo>
                  <a:lnTo>
                    <a:pt x="10276" y="107"/>
                  </a:lnTo>
                  <a:lnTo>
                    <a:pt x="10056" y="159"/>
                  </a:lnTo>
                  <a:lnTo>
                    <a:pt x="9840" y="222"/>
                  </a:lnTo>
                  <a:lnTo>
                    <a:pt x="9625" y="295"/>
                  </a:lnTo>
                  <a:lnTo>
                    <a:pt x="9414" y="378"/>
                  </a:lnTo>
                  <a:lnTo>
                    <a:pt x="9205" y="471"/>
                  </a:lnTo>
                  <a:lnTo>
                    <a:pt x="9001" y="574"/>
                  </a:lnTo>
                  <a:lnTo>
                    <a:pt x="8800" y="688"/>
                  </a:lnTo>
                  <a:lnTo>
                    <a:pt x="8605" y="812"/>
                  </a:lnTo>
                  <a:lnTo>
                    <a:pt x="8413" y="946"/>
                  </a:lnTo>
                  <a:lnTo>
                    <a:pt x="8228" y="1090"/>
                  </a:lnTo>
                  <a:lnTo>
                    <a:pt x="8046" y="1245"/>
                  </a:lnTo>
                  <a:lnTo>
                    <a:pt x="7866" y="1090"/>
                  </a:lnTo>
                  <a:lnTo>
                    <a:pt x="7681" y="946"/>
                  </a:lnTo>
                  <a:lnTo>
                    <a:pt x="7490" y="812"/>
                  </a:lnTo>
                  <a:lnTo>
                    <a:pt x="7294" y="688"/>
                  </a:lnTo>
                  <a:lnTo>
                    <a:pt x="7094" y="574"/>
                  </a:lnTo>
                  <a:lnTo>
                    <a:pt x="6889" y="471"/>
                  </a:lnTo>
                  <a:lnTo>
                    <a:pt x="6680" y="378"/>
                  </a:lnTo>
                  <a:lnTo>
                    <a:pt x="6469" y="295"/>
                  </a:lnTo>
                  <a:lnTo>
                    <a:pt x="6255" y="222"/>
                  </a:lnTo>
                  <a:lnTo>
                    <a:pt x="6038" y="159"/>
                  </a:lnTo>
                  <a:lnTo>
                    <a:pt x="5819" y="107"/>
                  </a:lnTo>
                  <a:lnTo>
                    <a:pt x="5598" y="65"/>
                  </a:lnTo>
                  <a:lnTo>
                    <a:pt x="5376" y="33"/>
                  </a:lnTo>
                  <a:lnTo>
                    <a:pt x="5152" y="12"/>
                  </a:lnTo>
                  <a:lnTo>
                    <a:pt x="4929" y="1"/>
                  </a:lnTo>
                  <a:lnTo>
                    <a:pt x="4705" y="0"/>
                  </a:lnTo>
                  <a:lnTo>
                    <a:pt x="4481" y="9"/>
                  </a:lnTo>
                  <a:lnTo>
                    <a:pt x="4258" y="29"/>
                  </a:lnTo>
                  <a:lnTo>
                    <a:pt x="4036" y="59"/>
                  </a:lnTo>
                  <a:lnTo>
                    <a:pt x="3816" y="100"/>
                  </a:lnTo>
                  <a:lnTo>
                    <a:pt x="3596" y="150"/>
                  </a:lnTo>
                  <a:lnTo>
                    <a:pt x="3379" y="211"/>
                  </a:lnTo>
                  <a:lnTo>
                    <a:pt x="3165" y="282"/>
                  </a:lnTo>
                  <a:lnTo>
                    <a:pt x="2953" y="364"/>
                  </a:lnTo>
                  <a:lnTo>
                    <a:pt x="2744" y="456"/>
                  </a:lnTo>
                  <a:lnTo>
                    <a:pt x="2540" y="559"/>
                  </a:lnTo>
                  <a:lnTo>
                    <a:pt x="2340" y="672"/>
                  </a:lnTo>
                  <a:lnTo>
                    <a:pt x="2144" y="794"/>
                  </a:lnTo>
                  <a:lnTo>
                    <a:pt x="1953" y="927"/>
                  </a:lnTo>
                  <a:lnTo>
                    <a:pt x="1766" y="1071"/>
                  </a:lnTo>
                  <a:lnTo>
                    <a:pt x="1586" y="1225"/>
                  </a:lnTo>
                  <a:lnTo>
                    <a:pt x="1411" y="1390"/>
                  </a:lnTo>
                  <a:lnTo>
                    <a:pt x="1240" y="1569"/>
                  </a:lnTo>
                  <a:lnTo>
                    <a:pt x="1080" y="1753"/>
                  </a:lnTo>
                  <a:lnTo>
                    <a:pt x="931" y="1943"/>
                  </a:lnTo>
                  <a:lnTo>
                    <a:pt x="794" y="2140"/>
                  </a:lnTo>
                  <a:lnTo>
                    <a:pt x="667" y="2340"/>
                  </a:lnTo>
                  <a:lnTo>
                    <a:pt x="551" y="2546"/>
                  </a:lnTo>
                  <a:lnTo>
                    <a:pt x="447" y="2756"/>
                  </a:lnTo>
                  <a:lnTo>
                    <a:pt x="353" y="2970"/>
                  </a:lnTo>
                  <a:lnTo>
                    <a:pt x="271" y="3187"/>
                  </a:lnTo>
                  <a:lnTo>
                    <a:pt x="198" y="3407"/>
                  </a:lnTo>
                  <a:lnTo>
                    <a:pt x="138" y="3630"/>
                  </a:lnTo>
                  <a:lnTo>
                    <a:pt x="89" y="3855"/>
                  </a:lnTo>
                  <a:lnTo>
                    <a:pt x="49" y="4082"/>
                  </a:lnTo>
                  <a:lnTo>
                    <a:pt x="22" y="4309"/>
                  </a:lnTo>
                  <a:lnTo>
                    <a:pt x="6" y="4538"/>
                  </a:lnTo>
                  <a:lnTo>
                    <a:pt x="0" y="4767"/>
                  </a:lnTo>
                  <a:lnTo>
                    <a:pt x="6" y="4996"/>
                  </a:lnTo>
                  <a:lnTo>
                    <a:pt x="22" y="5225"/>
                  </a:lnTo>
                  <a:lnTo>
                    <a:pt x="49" y="5453"/>
                  </a:lnTo>
                  <a:lnTo>
                    <a:pt x="89" y="5680"/>
                  </a:lnTo>
                  <a:lnTo>
                    <a:pt x="138" y="5904"/>
                  </a:lnTo>
                  <a:lnTo>
                    <a:pt x="198" y="6127"/>
                  </a:lnTo>
                  <a:lnTo>
                    <a:pt x="271" y="6347"/>
                  </a:lnTo>
                  <a:lnTo>
                    <a:pt x="353" y="6565"/>
                  </a:lnTo>
                  <a:lnTo>
                    <a:pt x="447" y="6778"/>
                  </a:lnTo>
                  <a:lnTo>
                    <a:pt x="551" y="6989"/>
                  </a:lnTo>
                  <a:lnTo>
                    <a:pt x="667" y="7194"/>
                  </a:lnTo>
                  <a:lnTo>
                    <a:pt x="794" y="7395"/>
                  </a:lnTo>
                  <a:lnTo>
                    <a:pt x="931" y="7591"/>
                  </a:lnTo>
                  <a:lnTo>
                    <a:pt x="1080" y="7782"/>
                  </a:lnTo>
                  <a:lnTo>
                    <a:pt x="1240" y="7966"/>
                  </a:lnTo>
                  <a:lnTo>
                    <a:pt x="1411" y="8144"/>
                  </a:lnTo>
                  <a:lnTo>
                    <a:pt x="1562" y="8294"/>
                  </a:lnTo>
                  <a:lnTo>
                    <a:pt x="1805" y="8534"/>
                  </a:lnTo>
                  <a:lnTo>
                    <a:pt x="2125" y="8850"/>
                  </a:lnTo>
                  <a:lnTo>
                    <a:pt x="2507" y="9230"/>
                  </a:lnTo>
                  <a:lnTo>
                    <a:pt x="2939" y="9659"/>
                  </a:lnTo>
                  <a:lnTo>
                    <a:pt x="3407" y="10122"/>
                  </a:lnTo>
                  <a:lnTo>
                    <a:pt x="3896" y="10606"/>
                  </a:lnTo>
                  <a:lnTo>
                    <a:pt x="4393" y="11099"/>
                  </a:lnTo>
                  <a:lnTo>
                    <a:pt x="4884" y="11585"/>
                  </a:lnTo>
                  <a:lnTo>
                    <a:pt x="5354" y="12051"/>
                  </a:lnTo>
                  <a:lnTo>
                    <a:pt x="5790" y="12483"/>
                  </a:lnTo>
                  <a:lnTo>
                    <a:pt x="6178" y="12868"/>
                  </a:lnTo>
                  <a:lnTo>
                    <a:pt x="6504" y="13191"/>
                  </a:lnTo>
                  <a:lnTo>
                    <a:pt x="6755" y="13439"/>
                  </a:lnTo>
                  <a:lnTo>
                    <a:pt x="6915" y="13598"/>
                  </a:lnTo>
                  <a:lnTo>
                    <a:pt x="6971" y="13654"/>
                  </a:lnTo>
                  <a:lnTo>
                    <a:pt x="7028" y="13707"/>
                  </a:lnTo>
                  <a:lnTo>
                    <a:pt x="7087" y="13758"/>
                  </a:lnTo>
                  <a:lnTo>
                    <a:pt x="7148" y="13804"/>
                  </a:lnTo>
                  <a:lnTo>
                    <a:pt x="7211" y="13847"/>
                  </a:lnTo>
                  <a:lnTo>
                    <a:pt x="7274" y="13887"/>
                  </a:lnTo>
                  <a:lnTo>
                    <a:pt x="7340" y="13923"/>
                  </a:lnTo>
                  <a:lnTo>
                    <a:pt x="7407" y="13956"/>
                  </a:lnTo>
                  <a:lnTo>
                    <a:pt x="7475" y="13985"/>
                  </a:lnTo>
                  <a:lnTo>
                    <a:pt x="7545" y="14011"/>
                  </a:lnTo>
                  <a:lnTo>
                    <a:pt x="7614" y="14034"/>
                  </a:lnTo>
                  <a:lnTo>
                    <a:pt x="7685" y="14053"/>
                  </a:lnTo>
                  <a:lnTo>
                    <a:pt x="7757" y="14068"/>
                  </a:lnTo>
                  <a:lnTo>
                    <a:pt x="7829" y="14080"/>
                  </a:lnTo>
                  <a:lnTo>
                    <a:pt x="7902" y="14089"/>
                  </a:lnTo>
                  <a:lnTo>
                    <a:pt x="7974" y="14094"/>
                  </a:lnTo>
                  <a:lnTo>
                    <a:pt x="8048" y="14096"/>
                  </a:lnTo>
                  <a:lnTo>
                    <a:pt x="8120" y="14094"/>
                  </a:lnTo>
                  <a:lnTo>
                    <a:pt x="8193" y="14089"/>
                  </a:lnTo>
                  <a:lnTo>
                    <a:pt x="8266" y="14080"/>
                  </a:lnTo>
                  <a:lnTo>
                    <a:pt x="8338" y="14068"/>
                  </a:lnTo>
                  <a:lnTo>
                    <a:pt x="8410" y="14053"/>
                  </a:lnTo>
                  <a:lnTo>
                    <a:pt x="8480" y="14034"/>
                  </a:lnTo>
                  <a:lnTo>
                    <a:pt x="8550" y="14011"/>
                  </a:lnTo>
                  <a:lnTo>
                    <a:pt x="8620" y="13985"/>
                  </a:lnTo>
                  <a:lnTo>
                    <a:pt x="8688" y="13956"/>
                  </a:lnTo>
                  <a:lnTo>
                    <a:pt x="8755" y="13923"/>
                  </a:lnTo>
                  <a:lnTo>
                    <a:pt x="8820" y="13887"/>
                  </a:lnTo>
                  <a:lnTo>
                    <a:pt x="8884" y="13847"/>
                  </a:lnTo>
                  <a:lnTo>
                    <a:pt x="8947" y="13804"/>
                  </a:lnTo>
                  <a:lnTo>
                    <a:pt x="9008" y="13758"/>
                  </a:lnTo>
                  <a:lnTo>
                    <a:pt x="9067" y="13707"/>
                  </a:lnTo>
                  <a:lnTo>
                    <a:pt x="9124" y="13654"/>
                  </a:lnTo>
                  <a:lnTo>
                    <a:pt x="9185" y="13593"/>
                  </a:lnTo>
                  <a:lnTo>
                    <a:pt x="9360" y="13419"/>
                  </a:lnTo>
                  <a:lnTo>
                    <a:pt x="9632" y="13151"/>
                  </a:lnTo>
                  <a:lnTo>
                    <a:pt x="9984" y="12801"/>
                  </a:lnTo>
                  <a:lnTo>
                    <a:pt x="10400" y="12388"/>
                  </a:lnTo>
                  <a:lnTo>
                    <a:pt x="10867" y="11926"/>
                  </a:lnTo>
                  <a:lnTo>
                    <a:pt x="11365" y="11432"/>
                  </a:lnTo>
                  <a:lnTo>
                    <a:pt x="11881" y="10921"/>
                  </a:lnTo>
                  <a:lnTo>
                    <a:pt x="12397" y="10410"/>
                  </a:lnTo>
                  <a:lnTo>
                    <a:pt x="12897" y="9915"/>
                  </a:lnTo>
                  <a:lnTo>
                    <a:pt x="13367" y="9449"/>
                  </a:lnTo>
                  <a:lnTo>
                    <a:pt x="13789" y="9031"/>
                  </a:lnTo>
                  <a:lnTo>
                    <a:pt x="14148" y="8675"/>
                  </a:lnTo>
                  <a:lnTo>
                    <a:pt x="14427" y="8398"/>
                  </a:lnTo>
                  <a:lnTo>
                    <a:pt x="14611" y="8216"/>
                  </a:lnTo>
                  <a:lnTo>
                    <a:pt x="14684" y="8144"/>
                  </a:lnTo>
                  <a:lnTo>
                    <a:pt x="14855" y="7966"/>
                  </a:lnTo>
                  <a:lnTo>
                    <a:pt x="15015" y="7782"/>
                  </a:lnTo>
                  <a:lnTo>
                    <a:pt x="15164" y="7591"/>
                  </a:lnTo>
                  <a:lnTo>
                    <a:pt x="15301" y="7395"/>
                  </a:lnTo>
                  <a:lnTo>
                    <a:pt x="15428" y="7194"/>
                  </a:lnTo>
                  <a:lnTo>
                    <a:pt x="15544" y="6989"/>
                  </a:lnTo>
                  <a:lnTo>
                    <a:pt x="15648" y="6778"/>
                  </a:lnTo>
                  <a:lnTo>
                    <a:pt x="15742" y="6565"/>
                  </a:lnTo>
                  <a:lnTo>
                    <a:pt x="15824" y="6347"/>
                  </a:lnTo>
                  <a:lnTo>
                    <a:pt x="15897" y="6127"/>
                  </a:lnTo>
                  <a:lnTo>
                    <a:pt x="15957" y="5904"/>
                  </a:lnTo>
                  <a:lnTo>
                    <a:pt x="16006" y="5680"/>
                  </a:lnTo>
                  <a:lnTo>
                    <a:pt x="16046" y="5453"/>
                  </a:lnTo>
                  <a:lnTo>
                    <a:pt x="16073" y="5225"/>
                  </a:lnTo>
                  <a:lnTo>
                    <a:pt x="16089" y="4996"/>
                  </a:lnTo>
                  <a:lnTo>
                    <a:pt x="16095" y="4767"/>
                  </a:lnTo>
                  <a:lnTo>
                    <a:pt x="16089" y="4538"/>
                  </a:lnTo>
                  <a:lnTo>
                    <a:pt x="16073" y="4309"/>
                  </a:lnTo>
                  <a:lnTo>
                    <a:pt x="16046" y="4082"/>
                  </a:lnTo>
                  <a:lnTo>
                    <a:pt x="16006" y="3855"/>
                  </a:lnTo>
                  <a:lnTo>
                    <a:pt x="15957" y="3630"/>
                  </a:lnTo>
                  <a:lnTo>
                    <a:pt x="15897" y="3407"/>
                  </a:lnTo>
                  <a:lnTo>
                    <a:pt x="15824" y="3187"/>
                  </a:lnTo>
                  <a:lnTo>
                    <a:pt x="15742" y="2970"/>
                  </a:lnTo>
                  <a:lnTo>
                    <a:pt x="15648" y="2756"/>
                  </a:lnTo>
                  <a:lnTo>
                    <a:pt x="15544" y="2546"/>
                  </a:lnTo>
                  <a:lnTo>
                    <a:pt x="15428" y="2340"/>
                  </a:lnTo>
                  <a:lnTo>
                    <a:pt x="15301" y="2140"/>
                  </a:lnTo>
                  <a:lnTo>
                    <a:pt x="15164" y="1943"/>
                  </a:lnTo>
                  <a:lnTo>
                    <a:pt x="15015" y="1753"/>
                  </a:lnTo>
                  <a:lnTo>
                    <a:pt x="14855" y="1569"/>
                  </a:lnTo>
                  <a:lnTo>
                    <a:pt x="14684" y="13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40" name="îṣḻïḍè">
              <a:extLst>
                <a:ext uri="{FF2B5EF4-FFF2-40B4-BE49-F238E27FC236}">
                  <a16:creationId xmlns:a16="http://schemas.microsoft.com/office/drawing/2014/main" id="{684007A2-2997-43EB-AA78-5E9CDAE591F6}"/>
                </a:ext>
              </a:extLst>
            </p:cNvPr>
            <p:cNvSpPr/>
            <p:nvPr/>
          </p:nvSpPr>
          <p:spPr bwMode="auto">
            <a:xfrm>
              <a:off x="934148" y="837091"/>
              <a:ext cx="60376" cy="61589"/>
            </a:xfrm>
            <a:custGeom>
              <a:avLst/>
              <a:gdLst>
                <a:gd name="T0" fmla="*/ 2026 w 2389"/>
                <a:gd name="T1" fmla="*/ 3 h 2391"/>
                <a:gd name="T2" fmla="*/ 1602 w 2389"/>
                <a:gd name="T3" fmla="*/ 69 h 2391"/>
                <a:gd name="T4" fmla="*/ 1210 w 2389"/>
                <a:gd name="T5" fmla="*/ 213 h 2391"/>
                <a:gd name="T6" fmla="*/ 858 w 2389"/>
                <a:gd name="T7" fmla="*/ 426 h 2391"/>
                <a:gd name="T8" fmla="*/ 554 w 2389"/>
                <a:gd name="T9" fmla="*/ 702 h 2391"/>
                <a:gd name="T10" fmla="*/ 309 w 2389"/>
                <a:gd name="T11" fmla="*/ 1031 h 2391"/>
                <a:gd name="T12" fmla="*/ 130 w 2389"/>
                <a:gd name="T13" fmla="*/ 1405 h 2391"/>
                <a:gd name="T14" fmla="*/ 24 w 2389"/>
                <a:gd name="T15" fmla="*/ 1814 h 2391"/>
                <a:gd name="T16" fmla="*/ 0 w 2389"/>
                <a:gd name="T17" fmla="*/ 2153 h 2391"/>
                <a:gd name="T18" fmla="*/ 8 w 2389"/>
                <a:gd name="T19" fmla="*/ 2203 h 2391"/>
                <a:gd name="T20" fmla="*/ 25 w 2389"/>
                <a:gd name="T21" fmla="*/ 2249 h 2391"/>
                <a:gd name="T22" fmla="*/ 50 w 2389"/>
                <a:gd name="T23" fmla="*/ 2291 h 2391"/>
                <a:gd name="T24" fmla="*/ 82 w 2389"/>
                <a:gd name="T25" fmla="*/ 2327 h 2391"/>
                <a:gd name="T26" fmla="*/ 121 w 2389"/>
                <a:gd name="T27" fmla="*/ 2355 h 2391"/>
                <a:gd name="T28" fmla="*/ 165 w 2389"/>
                <a:gd name="T29" fmla="*/ 2376 h 2391"/>
                <a:gd name="T30" fmla="*/ 213 w 2389"/>
                <a:gd name="T31" fmla="*/ 2389 h 2391"/>
                <a:gd name="T32" fmla="*/ 264 w 2389"/>
                <a:gd name="T33" fmla="*/ 2391 h 2391"/>
                <a:gd name="T34" fmla="*/ 314 w 2389"/>
                <a:gd name="T35" fmla="*/ 2384 h 2391"/>
                <a:gd name="T36" fmla="*/ 360 w 2389"/>
                <a:gd name="T37" fmla="*/ 2367 h 2391"/>
                <a:gd name="T38" fmla="*/ 402 w 2389"/>
                <a:gd name="T39" fmla="*/ 2342 h 2391"/>
                <a:gd name="T40" fmla="*/ 437 w 2389"/>
                <a:gd name="T41" fmla="*/ 2310 h 2391"/>
                <a:gd name="T42" fmla="*/ 467 w 2389"/>
                <a:gd name="T43" fmla="*/ 2271 h 2391"/>
                <a:gd name="T44" fmla="*/ 488 w 2389"/>
                <a:gd name="T45" fmla="*/ 2226 h 2391"/>
                <a:gd name="T46" fmla="*/ 500 w 2389"/>
                <a:gd name="T47" fmla="*/ 2178 h 2391"/>
                <a:gd name="T48" fmla="*/ 503 w 2389"/>
                <a:gd name="T49" fmla="*/ 2140 h 2391"/>
                <a:gd name="T50" fmla="*/ 536 w 2389"/>
                <a:gd name="T51" fmla="*/ 1810 h 2391"/>
                <a:gd name="T52" fmla="*/ 632 w 2389"/>
                <a:gd name="T53" fmla="*/ 1503 h 2391"/>
                <a:gd name="T54" fmla="*/ 782 w 2389"/>
                <a:gd name="T55" fmla="*/ 1225 h 2391"/>
                <a:gd name="T56" fmla="*/ 982 w 2389"/>
                <a:gd name="T57" fmla="*/ 983 h 2391"/>
                <a:gd name="T58" fmla="*/ 1223 w 2389"/>
                <a:gd name="T59" fmla="*/ 783 h 2391"/>
                <a:gd name="T60" fmla="*/ 1501 w 2389"/>
                <a:gd name="T61" fmla="*/ 632 h 2391"/>
                <a:gd name="T62" fmla="*/ 1808 w 2389"/>
                <a:gd name="T63" fmla="*/ 537 h 2391"/>
                <a:gd name="T64" fmla="*/ 2137 w 2389"/>
                <a:gd name="T65" fmla="*/ 504 h 2391"/>
                <a:gd name="T66" fmla="*/ 2176 w 2389"/>
                <a:gd name="T67" fmla="*/ 501 h 2391"/>
                <a:gd name="T68" fmla="*/ 2224 w 2389"/>
                <a:gd name="T69" fmla="*/ 488 h 2391"/>
                <a:gd name="T70" fmla="*/ 2268 w 2389"/>
                <a:gd name="T71" fmla="*/ 467 h 2391"/>
                <a:gd name="T72" fmla="*/ 2306 w 2389"/>
                <a:gd name="T73" fmla="*/ 438 h 2391"/>
                <a:gd name="T74" fmla="*/ 2340 w 2389"/>
                <a:gd name="T75" fmla="*/ 403 h 2391"/>
                <a:gd name="T76" fmla="*/ 2365 w 2389"/>
                <a:gd name="T77" fmla="*/ 362 h 2391"/>
                <a:gd name="T78" fmla="*/ 2381 w 2389"/>
                <a:gd name="T79" fmla="*/ 315 h 2391"/>
                <a:gd name="T80" fmla="*/ 2389 w 2389"/>
                <a:gd name="T81" fmla="*/ 265 h 2391"/>
                <a:gd name="T82" fmla="*/ 2386 w 2389"/>
                <a:gd name="T83" fmla="*/ 214 h 2391"/>
                <a:gd name="T84" fmla="*/ 2374 w 2389"/>
                <a:gd name="T85" fmla="*/ 165 h 2391"/>
                <a:gd name="T86" fmla="*/ 2353 w 2389"/>
                <a:gd name="T87" fmla="*/ 122 h 2391"/>
                <a:gd name="T88" fmla="*/ 2324 w 2389"/>
                <a:gd name="T89" fmla="*/ 83 h 2391"/>
                <a:gd name="T90" fmla="*/ 2288 w 2389"/>
                <a:gd name="T91" fmla="*/ 50 h 2391"/>
                <a:gd name="T92" fmla="*/ 2247 w 2389"/>
                <a:gd name="T93" fmla="*/ 25 h 2391"/>
                <a:gd name="T94" fmla="*/ 2201 w 2389"/>
                <a:gd name="T95" fmla="*/ 8 h 2391"/>
                <a:gd name="T96" fmla="*/ 2151 w 2389"/>
                <a:gd name="T97" fmla="*/ 0 h 2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389" h="2391">
                  <a:moveTo>
                    <a:pt x="2137" y="0"/>
                  </a:moveTo>
                  <a:lnTo>
                    <a:pt x="2136" y="0"/>
                  </a:lnTo>
                  <a:lnTo>
                    <a:pt x="2135" y="1"/>
                  </a:lnTo>
                  <a:lnTo>
                    <a:pt x="2026" y="3"/>
                  </a:lnTo>
                  <a:lnTo>
                    <a:pt x="1917" y="12"/>
                  </a:lnTo>
                  <a:lnTo>
                    <a:pt x="1811" y="25"/>
                  </a:lnTo>
                  <a:lnTo>
                    <a:pt x="1705" y="44"/>
                  </a:lnTo>
                  <a:lnTo>
                    <a:pt x="1602" y="69"/>
                  </a:lnTo>
                  <a:lnTo>
                    <a:pt x="1501" y="97"/>
                  </a:lnTo>
                  <a:lnTo>
                    <a:pt x="1401" y="131"/>
                  </a:lnTo>
                  <a:lnTo>
                    <a:pt x="1305" y="169"/>
                  </a:lnTo>
                  <a:lnTo>
                    <a:pt x="1210" y="213"/>
                  </a:lnTo>
                  <a:lnTo>
                    <a:pt x="1117" y="259"/>
                  </a:lnTo>
                  <a:lnTo>
                    <a:pt x="1028" y="311"/>
                  </a:lnTo>
                  <a:lnTo>
                    <a:pt x="941" y="367"/>
                  </a:lnTo>
                  <a:lnTo>
                    <a:pt x="858" y="426"/>
                  </a:lnTo>
                  <a:lnTo>
                    <a:pt x="777" y="489"/>
                  </a:lnTo>
                  <a:lnTo>
                    <a:pt x="700" y="557"/>
                  </a:lnTo>
                  <a:lnTo>
                    <a:pt x="626" y="627"/>
                  </a:lnTo>
                  <a:lnTo>
                    <a:pt x="554" y="702"/>
                  </a:lnTo>
                  <a:lnTo>
                    <a:pt x="488" y="779"/>
                  </a:lnTo>
                  <a:lnTo>
                    <a:pt x="424" y="861"/>
                  </a:lnTo>
                  <a:lnTo>
                    <a:pt x="365" y="945"/>
                  </a:lnTo>
                  <a:lnTo>
                    <a:pt x="309" y="1031"/>
                  </a:lnTo>
                  <a:lnTo>
                    <a:pt x="257" y="1121"/>
                  </a:lnTo>
                  <a:lnTo>
                    <a:pt x="210" y="1213"/>
                  </a:lnTo>
                  <a:lnTo>
                    <a:pt x="168" y="1308"/>
                  </a:lnTo>
                  <a:lnTo>
                    <a:pt x="130" y="1405"/>
                  </a:lnTo>
                  <a:lnTo>
                    <a:pt x="95" y="1504"/>
                  </a:lnTo>
                  <a:lnTo>
                    <a:pt x="67" y="1606"/>
                  </a:lnTo>
                  <a:lnTo>
                    <a:pt x="43" y="1709"/>
                  </a:lnTo>
                  <a:lnTo>
                    <a:pt x="24" y="1814"/>
                  </a:lnTo>
                  <a:lnTo>
                    <a:pt x="11" y="1921"/>
                  </a:lnTo>
                  <a:lnTo>
                    <a:pt x="3" y="2030"/>
                  </a:lnTo>
                  <a:lnTo>
                    <a:pt x="0" y="2140"/>
                  </a:lnTo>
                  <a:lnTo>
                    <a:pt x="0" y="2153"/>
                  </a:lnTo>
                  <a:lnTo>
                    <a:pt x="1" y="2166"/>
                  </a:lnTo>
                  <a:lnTo>
                    <a:pt x="3" y="2178"/>
                  </a:lnTo>
                  <a:lnTo>
                    <a:pt x="5" y="2191"/>
                  </a:lnTo>
                  <a:lnTo>
                    <a:pt x="8" y="2203"/>
                  </a:lnTo>
                  <a:lnTo>
                    <a:pt x="11" y="2215"/>
                  </a:lnTo>
                  <a:lnTo>
                    <a:pt x="15" y="2226"/>
                  </a:lnTo>
                  <a:lnTo>
                    <a:pt x="20" y="2238"/>
                  </a:lnTo>
                  <a:lnTo>
                    <a:pt x="25" y="2249"/>
                  </a:lnTo>
                  <a:lnTo>
                    <a:pt x="30" y="2261"/>
                  </a:lnTo>
                  <a:lnTo>
                    <a:pt x="36" y="2271"/>
                  </a:lnTo>
                  <a:lnTo>
                    <a:pt x="43" y="2281"/>
                  </a:lnTo>
                  <a:lnTo>
                    <a:pt x="50" y="2291"/>
                  </a:lnTo>
                  <a:lnTo>
                    <a:pt x="57" y="2300"/>
                  </a:lnTo>
                  <a:lnTo>
                    <a:pt x="65" y="2310"/>
                  </a:lnTo>
                  <a:lnTo>
                    <a:pt x="73" y="2318"/>
                  </a:lnTo>
                  <a:lnTo>
                    <a:pt x="82" y="2327"/>
                  </a:lnTo>
                  <a:lnTo>
                    <a:pt x="91" y="2334"/>
                  </a:lnTo>
                  <a:lnTo>
                    <a:pt x="100" y="2342"/>
                  </a:lnTo>
                  <a:lnTo>
                    <a:pt x="110" y="2349"/>
                  </a:lnTo>
                  <a:lnTo>
                    <a:pt x="121" y="2355"/>
                  </a:lnTo>
                  <a:lnTo>
                    <a:pt x="132" y="2361"/>
                  </a:lnTo>
                  <a:lnTo>
                    <a:pt x="143" y="2367"/>
                  </a:lnTo>
                  <a:lnTo>
                    <a:pt x="154" y="2372"/>
                  </a:lnTo>
                  <a:lnTo>
                    <a:pt x="165" y="2376"/>
                  </a:lnTo>
                  <a:lnTo>
                    <a:pt x="177" y="2380"/>
                  </a:lnTo>
                  <a:lnTo>
                    <a:pt x="188" y="2384"/>
                  </a:lnTo>
                  <a:lnTo>
                    <a:pt x="201" y="2386"/>
                  </a:lnTo>
                  <a:lnTo>
                    <a:pt x="213" y="2389"/>
                  </a:lnTo>
                  <a:lnTo>
                    <a:pt x="225" y="2390"/>
                  </a:lnTo>
                  <a:lnTo>
                    <a:pt x="238" y="2391"/>
                  </a:lnTo>
                  <a:lnTo>
                    <a:pt x="251" y="2391"/>
                  </a:lnTo>
                  <a:lnTo>
                    <a:pt x="264" y="2391"/>
                  </a:lnTo>
                  <a:lnTo>
                    <a:pt x="277" y="2390"/>
                  </a:lnTo>
                  <a:lnTo>
                    <a:pt x="290" y="2389"/>
                  </a:lnTo>
                  <a:lnTo>
                    <a:pt x="302" y="2386"/>
                  </a:lnTo>
                  <a:lnTo>
                    <a:pt x="314" y="2384"/>
                  </a:lnTo>
                  <a:lnTo>
                    <a:pt x="326" y="2380"/>
                  </a:lnTo>
                  <a:lnTo>
                    <a:pt x="338" y="2376"/>
                  </a:lnTo>
                  <a:lnTo>
                    <a:pt x="349" y="2372"/>
                  </a:lnTo>
                  <a:lnTo>
                    <a:pt x="360" y="2367"/>
                  </a:lnTo>
                  <a:lnTo>
                    <a:pt x="371" y="2361"/>
                  </a:lnTo>
                  <a:lnTo>
                    <a:pt x="382" y="2355"/>
                  </a:lnTo>
                  <a:lnTo>
                    <a:pt x="392" y="2349"/>
                  </a:lnTo>
                  <a:lnTo>
                    <a:pt x="402" y="2342"/>
                  </a:lnTo>
                  <a:lnTo>
                    <a:pt x="411" y="2334"/>
                  </a:lnTo>
                  <a:lnTo>
                    <a:pt x="420" y="2327"/>
                  </a:lnTo>
                  <a:lnTo>
                    <a:pt x="429" y="2318"/>
                  </a:lnTo>
                  <a:lnTo>
                    <a:pt x="437" y="2310"/>
                  </a:lnTo>
                  <a:lnTo>
                    <a:pt x="445" y="2300"/>
                  </a:lnTo>
                  <a:lnTo>
                    <a:pt x="453" y="2291"/>
                  </a:lnTo>
                  <a:lnTo>
                    <a:pt x="460" y="2281"/>
                  </a:lnTo>
                  <a:lnTo>
                    <a:pt x="467" y="2271"/>
                  </a:lnTo>
                  <a:lnTo>
                    <a:pt x="473" y="2261"/>
                  </a:lnTo>
                  <a:lnTo>
                    <a:pt x="478" y="2249"/>
                  </a:lnTo>
                  <a:lnTo>
                    <a:pt x="483" y="2238"/>
                  </a:lnTo>
                  <a:lnTo>
                    <a:pt x="488" y="2226"/>
                  </a:lnTo>
                  <a:lnTo>
                    <a:pt x="492" y="2215"/>
                  </a:lnTo>
                  <a:lnTo>
                    <a:pt x="495" y="2203"/>
                  </a:lnTo>
                  <a:lnTo>
                    <a:pt x="498" y="2191"/>
                  </a:lnTo>
                  <a:lnTo>
                    <a:pt x="500" y="2178"/>
                  </a:lnTo>
                  <a:lnTo>
                    <a:pt x="502" y="2166"/>
                  </a:lnTo>
                  <a:lnTo>
                    <a:pt x="503" y="2153"/>
                  </a:lnTo>
                  <a:lnTo>
                    <a:pt x="503" y="2140"/>
                  </a:lnTo>
                  <a:lnTo>
                    <a:pt x="503" y="2140"/>
                  </a:lnTo>
                  <a:lnTo>
                    <a:pt x="505" y="2055"/>
                  </a:lnTo>
                  <a:lnTo>
                    <a:pt x="511" y="1973"/>
                  </a:lnTo>
                  <a:lnTo>
                    <a:pt x="522" y="1890"/>
                  </a:lnTo>
                  <a:lnTo>
                    <a:pt x="536" y="1810"/>
                  </a:lnTo>
                  <a:lnTo>
                    <a:pt x="554" y="1731"/>
                  </a:lnTo>
                  <a:lnTo>
                    <a:pt x="576" y="1653"/>
                  </a:lnTo>
                  <a:lnTo>
                    <a:pt x="602" y="1577"/>
                  </a:lnTo>
                  <a:lnTo>
                    <a:pt x="632" y="1503"/>
                  </a:lnTo>
                  <a:lnTo>
                    <a:pt x="664" y="1431"/>
                  </a:lnTo>
                  <a:lnTo>
                    <a:pt x="700" y="1360"/>
                  </a:lnTo>
                  <a:lnTo>
                    <a:pt x="739" y="1292"/>
                  </a:lnTo>
                  <a:lnTo>
                    <a:pt x="782" y="1225"/>
                  </a:lnTo>
                  <a:lnTo>
                    <a:pt x="828" y="1161"/>
                  </a:lnTo>
                  <a:lnTo>
                    <a:pt x="876" y="1100"/>
                  </a:lnTo>
                  <a:lnTo>
                    <a:pt x="927" y="1040"/>
                  </a:lnTo>
                  <a:lnTo>
                    <a:pt x="982" y="983"/>
                  </a:lnTo>
                  <a:lnTo>
                    <a:pt x="1038" y="928"/>
                  </a:lnTo>
                  <a:lnTo>
                    <a:pt x="1097" y="877"/>
                  </a:lnTo>
                  <a:lnTo>
                    <a:pt x="1160" y="829"/>
                  </a:lnTo>
                  <a:lnTo>
                    <a:pt x="1223" y="783"/>
                  </a:lnTo>
                  <a:lnTo>
                    <a:pt x="1289" y="741"/>
                  </a:lnTo>
                  <a:lnTo>
                    <a:pt x="1358" y="701"/>
                  </a:lnTo>
                  <a:lnTo>
                    <a:pt x="1428" y="666"/>
                  </a:lnTo>
                  <a:lnTo>
                    <a:pt x="1501" y="632"/>
                  </a:lnTo>
                  <a:lnTo>
                    <a:pt x="1575" y="603"/>
                  </a:lnTo>
                  <a:lnTo>
                    <a:pt x="1652" y="577"/>
                  </a:lnTo>
                  <a:lnTo>
                    <a:pt x="1729" y="555"/>
                  </a:lnTo>
                  <a:lnTo>
                    <a:pt x="1808" y="537"/>
                  </a:lnTo>
                  <a:lnTo>
                    <a:pt x="1888" y="523"/>
                  </a:lnTo>
                  <a:lnTo>
                    <a:pt x="1970" y="513"/>
                  </a:lnTo>
                  <a:lnTo>
                    <a:pt x="2053" y="506"/>
                  </a:lnTo>
                  <a:lnTo>
                    <a:pt x="2137" y="504"/>
                  </a:lnTo>
                  <a:lnTo>
                    <a:pt x="2137" y="504"/>
                  </a:lnTo>
                  <a:lnTo>
                    <a:pt x="2151" y="504"/>
                  </a:lnTo>
                  <a:lnTo>
                    <a:pt x="2164" y="503"/>
                  </a:lnTo>
                  <a:lnTo>
                    <a:pt x="2176" y="501"/>
                  </a:lnTo>
                  <a:lnTo>
                    <a:pt x="2189" y="499"/>
                  </a:lnTo>
                  <a:lnTo>
                    <a:pt x="2201" y="496"/>
                  </a:lnTo>
                  <a:lnTo>
                    <a:pt x="2213" y="492"/>
                  </a:lnTo>
                  <a:lnTo>
                    <a:pt x="2224" y="488"/>
                  </a:lnTo>
                  <a:lnTo>
                    <a:pt x="2235" y="484"/>
                  </a:lnTo>
                  <a:lnTo>
                    <a:pt x="2247" y="479"/>
                  </a:lnTo>
                  <a:lnTo>
                    <a:pt x="2257" y="473"/>
                  </a:lnTo>
                  <a:lnTo>
                    <a:pt x="2268" y="467"/>
                  </a:lnTo>
                  <a:lnTo>
                    <a:pt x="2278" y="461"/>
                  </a:lnTo>
                  <a:lnTo>
                    <a:pt x="2288" y="454"/>
                  </a:lnTo>
                  <a:lnTo>
                    <a:pt x="2297" y="446"/>
                  </a:lnTo>
                  <a:lnTo>
                    <a:pt x="2306" y="438"/>
                  </a:lnTo>
                  <a:lnTo>
                    <a:pt x="2316" y="430"/>
                  </a:lnTo>
                  <a:lnTo>
                    <a:pt x="2324" y="421"/>
                  </a:lnTo>
                  <a:lnTo>
                    <a:pt x="2332" y="412"/>
                  </a:lnTo>
                  <a:lnTo>
                    <a:pt x="2340" y="403"/>
                  </a:lnTo>
                  <a:lnTo>
                    <a:pt x="2347" y="393"/>
                  </a:lnTo>
                  <a:lnTo>
                    <a:pt x="2353" y="383"/>
                  </a:lnTo>
                  <a:lnTo>
                    <a:pt x="2359" y="372"/>
                  </a:lnTo>
                  <a:lnTo>
                    <a:pt x="2365" y="362"/>
                  </a:lnTo>
                  <a:lnTo>
                    <a:pt x="2370" y="350"/>
                  </a:lnTo>
                  <a:lnTo>
                    <a:pt x="2374" y="338"/>
                  </a:lnTo>
                  <a:lnTo>
                    <a:pt x="2378" y="326"/>
                  </a:lnTo>
                  <a:lnTo>
                    <a:pt x="2381" y="315"/>
                  </a:lnTo>
                  <a:lnTo>
                    <a:pt x="2384" y="303"/>
                  </a:lnTo>
                  <a:lnTo>
                    <a:pt x="2386" y="290"/>
                  </a:lnTo>
                  <a:lnTo>
                    <a:pt x="2388" y="278"/>
                  </a:lnTo>
                  <a:lnTo>
                    <a:pt x="2389" y="265"/>
                  </a:lnTo>
                  <a:lnTo>
                    <a:pt x="2389" y="252"/>
                  </a:lnTo>
                  <a:lnTo>
                    <a:pt x="2389" y="239"/>
                  </a:lnTo>
                  <a:lnTo>
                    <a:pt x="2388" y="227"/>
                  </a:lnTo>
                  <a:lnTo>
                    <a:pt x="2386" y="214"/>
                  </a:lnTo>
                  <a:lnTo>
                    <a:pt x="2384" y="202"/>
                  </a:lnTo>
                  <a:lnTo>
                    <a:pt x="2381" y="189"/>
                  </a:lnTo>
                  <a:lnTo>
                    <a:pt x="2378" y="177"/>
                  </a:lnTo>
                  <a:lnTo>
                    <a:pt x="2374" y="165"/>
                  </a:lnTo>
                  <a:lnTo>
                    <a:pt x="2370" y="154"/>
                  </a:lnTo>
                  <a:lnTo>
                    <a:pt x="2365" y="143"/>
                  </a:lnTo>
                  <a:lnTo>
                    <a:pt x="2359" y="132"/>
                  </a:lnTo>
                  <a:lnTo>
                    <a:pt x="2353" y="122"/>
                  </a:lnTo>
                  <a:lnTo>
                    <a:pt x="2347" y="111"/>
                  </a:lnTo>
                  <a:lnTo>
                    <a:pt x="2340" y="102"/>
                  </a:lnTo>
                  <a:lnTo>
                    <a:pt x="2332" y="92"/>
                  </a:lnTo>
                  <a:lnTo>
                    <a:pt x="2324" y="83"/>
                  </a:lnTo>
                  <a:lnTo>
                    <a:pt x="2316" y="74"/>
                  </a:lnTo>
                  <a:lnTo>
                    <a:pt x="2306" y="66"/>
                  </a:lnTo>
                  <a:lnTo>
                    <a:pt x="2297" y="58"/>
                  </a:lnTo>
                  <a:lnTo>
                    <a:pt x="2288" y="50"/>
                  </a:lnTo>
                  <a:lnTo>
                    <a:pt x="2278" y="43"/>
                  </a:lnTo>
                  <a:lnTo>
                    <a:pt x="2268" y="36"/>
                  </a:lnTo>
                  <a:lnTo>
                    <a:pt x="2257" y="30"/>
                  </a:lnTo>
                  <a:lnTo>
                    <a:pt x="2247" y="25"/>
                  </a:lnTo>
                  <a:lnTo>
                    <a:pt x="2235" y="20"/>
                  </a:lnTo>
                  <a:lnTo>
                    <a:pt x="2224" y="15"/>
                  </a:lnTo>
                  <a:lnTo>
                    <a:pt x="2213" y="11"/>
                  </a:lnTo>
                  <a:lnTo>
                    <a:pt x="2201" y="8"/>
                  </a:lnTo>
                  <a:lnTo>
                    <a:pt x="2189" y="5"/>
                  </a:lnTo>
                  <a:lnTo>
                    <a:pt x="2176" y="3"/>
                  </a:lnTo>
                  <a:lnTo>
                    <a:pt x="2164" y="1"/>
                  </a:lnTo>
                  <a:lnTo>
                    <a:pt x="2151" y="0"/>
                  </a:lnTo>
                  <a:lnTo>
                    <a:pt x="213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41" name="í$liďé">
              <a:extLst>
                <a:ext uri="{FF2B5EF4-FFF2-40B4-BE49-F238E27FC236}">
                  <a16:creationId xmlns:a16="http://schemas.microsoft.com/office/drawing/2014/main" id="{056F5DD1-5D1D-4B05-A047-641F85C2B67A}"/>
                </a:ext>
              </a:extLst>
            </p:cNvPr>
            <p:cNvSpPr/>
            <p:nvPr/>
          </p:nvSpPr>
          <p:spPr bwMode="auto">
            <a:xfrm>
              <a:off x="5152220" y="41104"/>
              <a:ext cx="265011" cy="190515"/>
            </a:xfrm>
            <a:custGeom>
              <a:avLst/>
              <a:gdLst>
                <a:gd name="T0" fmla="*/ 2486 w 16058"/>
                <a:gd name="T1" fmla="*/ 10403 h 11544"/>
                <a:gd name="T2" fmla="*/ 1591 w 16058"/>
                <a:gd name="T3" fmla="*/ 9798 h 11544"/>
                <a:gd name="T4" fmla="*/ 1075 w 16058"/>
                <a:gd name="T5" fmla="*/ 8845 h 11544"/>
                <a:gd name="T6" fmla="*/ 1034 w 16058"/>
                <a:gd name="T7" fmla="*/ 7911 h 11544"/>
                <a:gd name="T8" fmla="*/ 1269 w 16058"/>
                <a:gd name="T9" fmla="*/ 7227 h 11544"/>
                <a:gd name="T10" fmla="*/ 1712 w 16058"/>
                <a:gd name="T11" fmla="*/ 6654 h 11544"/>
                <a:gd name="T12" fmla="*/ 2311 w 16058"/>
                <a:gd name="T13" fmla="*/ 6236 h 11544"/>
                <a:gd name="T14" fmla="*/ 2677 w 16058"/>
                <a:gd name="T15" fmla="*/ 5951 h 11544"/>
                <a:gd name="T16" fmla="*/ 2739 w 16058"/>
                <a:gd name="T17" fmla="*/ 5626 h 11544"/>
                <a:gd name="T18" fmla="*/ 2564 w 16058"/>
                <a:gd name="T19" fmla="*/ 5102 h 11544"/>
                <a:gd name="T20" fmla="*/ 2509 w 16058"/>
                <a:gd name="T21" fmla="*/ 4790 h 11544"/>
                <a:gd name="T22" fmla="*/ 2634 w 16058"/>
                <a:gd name="T23" fmla="*/ 4225 h 11544"/>
                <a:gd name="T24" fmla="*/ 3014 w 16058"/>
                <a:gd name="T25" fmla="*/ 3763 h 11544"/>
                <a:gd name="T26" fmla="*/ 3573 w 16058"/>
                <a:gd name="T27" fmla="*/ 3528 h 11544"/>
                <a:gd name="T28" fmla="*/ 4022 w 16058"/>
                <a:gd name="T29" fmla="*/ 3524 h 11544"/>
                <a:gd name="T30" fmla="*/ 4410 w 16058"/>
                <a:gd name="T31" fmla="*/ 3616 h 11544"/>
                <a:gd name="T32" fmla="*/ 4822 w 16058"/>
                <a:gd name="T33" fmla="*/ 3718 h 11544"/>
                <a:gd name="T34" fmla="*/ 5077 w 16058"/>
                <a:gd name="T35" fmla="*/ 3578 h 11544"/>
                <a:gd name="T36" fmla="*/ 5304 w 16058"/>
                <a:gd name="T37" fmla="*/ 3154 h 11544"/>
                <a:gd name="T38" fmla="*/ 5986 w 16058"/>
                <a:gd name="T39" fmla="*/ 2112 h 11544"/>
                <a:gd name="T40" fmla="*/ 6970 w 16058"/>
                <a:gd name="T41" fmla="*/ 1377 h 11544"/>
                <a:gd name="T42" fmla="*/ 8153 w 16058"/>
                <a:gd name="T43" fmla="*/ 1025 h 11544"/>
                <a:gd name="T44" fmla="*/ 9661 w 16058"/>
                <a:gd name="T45" fmla="*/ 1190 h 11544"/>
                <a:gd name="T46" fmla="*/ 10994 w 16058"/>
                <a:gd name="T47" fmla="*/ 2023 h 11544"/>
                <a:gd name="T48" fmla="*/ 11831 w 16058"/>
                <a:gd name="T49" fmla="*/ 3370 h 11544"/>
                <a:gd name="T50" fmla="*/ 12046 w 16058"/>
                <a:gd name="T51" fmla="*/ 4561 h 11544"/>
                <a:gd name="T52" fmla="*/ 12173 w 16058"/>
                <a:gd name="T53" fmla="*/ 4853 h 11544"/>
                <a:gd name="T54" fmla="*/ 12517 w 16058"/>
                <a:gd name="T55" fmla="*/ 5002 h 11544"/>
                <a:gd name="T56" fmla="*/ 13610 w 16058"/>
                <a:gd name="T57" fmla="*/ 5356 h 11544"/>
                <a:gd name="T58" fmla="*/ 14494 w 16058"/>
                <a:gd name="T59" fmla="*/ 6116 h 11544"/>
                <a:gd name="T60" fmla="*/ 14988 w 16058"/>
                <a:gd name="T61" fmla="*/ 7177 h 11544"/>
                <a:gd name="T62" fmla="*/ 14968 w 16058"/>
                <a:gd name="T63" fmla="*/ 8469 h 11544"/>
                <a:gd name="T64" fmla="*/ 14337 w 16058"/>
                <a:gd name="T65" fmla="*/ 9634 h 11544"/>
                <a:gd name="T66" fmla="*/ 13243 w 16058"/>
                <a:gd name="T67" fmla="*/ 10372 h 11544"/>
                <a:gd name="T68" fmla="*/ 12944 w 16058"/>
                <a:gd name="T69" fmla="*/ 3664 h 11544"/>
                <a:gd name="T70" fmla="*/ 12111 w 16058"/>
                <a:gd name="T71" fmla="*/ 1788 h 11544"/>
                <a:gd name="T72" fmla="*/ 10564 w 16058"/>
                <a:gd name="T73" fmla="*/ 487 h 11544"/>
                <a:gd name="T74" fmla="*/ 8531 w 16058"/>
                <a:gd name="T75" fmla="*/ 0 h 11544"/>
                <a:gd name="T76" fmla="*/ 6922 w 16058"/>
                <a:gd name="T77" fmla="*/ 297 h 11544"/>
                <a:gd name="T78" fmla="*/ 5572 w 16058"/>
                <a:gd name="T79" fmla="*/ 1115 h 11544"/>
                <a:gd name="T80" fmla="*/ 4587 w 16058"/>
                <a:gd name="T81" fmla="*/ 2341 h 11544"/>
                <a:gd name="T82" fmla="*/ 4112 w 16058"/>
                <a:gd name="T83" fmla="*/ 2541 h 11544"/>
                <a:gd name="T84" fmla="*/ 3533 w 16058"/>
                <a:gd name="T85" fmla="*/ 2521 h 11544"/>
                <a:gd name="T86" fmla="*/ 2501 w 16058"/>
                <a:gd name="T87" fmla="*/ 2896 h 11544"/>
                <a:gd name="T88" fmla="*/ 1778 w 16058"/>
                <a:gd name="T89" fmla="*/ 3692 h 11544"/>
                <a:gd name="T90" fmla="*/ 1505 w 16058"/>
                <a:gd name="T91" fmla="*/ 4768 h 11544"/>
                <a:gd name="T92" fmla="*/ 1558 w 16058"/>
                <a:gd name="T93" fmla="*/ 5217 h 11544"/>
                <a:gd name="T94" fmla="*/ 1281 w 16058"/>
                <a:gd name="T95" fmla="*/ 5706 h 11544"/>
                <a:gd name="T96" fmla="*/ 564 w 16058"/>
                <a:gd name="T97" fmla="*/ 6461 h 11544"/>
                <a:gd name="T98" fmla="*/ 118 w 16058"/>
                <a:gd name="T99" fmla="*/ 7414 h 11544"/>
                <a:gd name="T100" fmla="*/ 17 w 16058"/>
                <a:gd name="T101" fmla="*/ 8615 h 11544"/>
                <a:gd name="T102" fmla="*/ 557 w 16058"/>
                <a:gd name="T103" fmla="*/ 10106 h 11544"/>
                <a:gd name="T104" fmla="*/ 1707 w 16058"/>
                <a:gd name="T105" fmla="*/ 11150 h 11544"/>
                <a:gd name="T106" fmla="*/ 3262 w 16058"/>
                <a:gd name="T107" fmla="*/ 11543 h 11544"/>
                <a:gd name="T108" fmla="*/ 13589 w 16058"/>
                <a:gd name="T109" fmla="*/ 11315 h 11544"/>
                <a:gd name="T110" fmla="*/ 15080 w 16058"/>
                <a:gd name="T111" fmla="*/ 10310 h 11544"/>
                <a:gd name="T112" fmla="*/ 15940 w 16058"/>
                <a:gd name="T113" fmla="*/ 8720 h 11544"/>
                <a:gd name="T114" fmla="*/ 15965 w 16058"/>
                <a:gd name="T115" fmla="*/ 6945 h 11544"/>
                <a:gd name="T116" fmla="*/ 15283 w 16058"/>
                <a:gd name="T117" fmla="*/ 5493 h 11544"/>
                <a:gd name="T118" fmla="*/ 14075 w 16058"/>
                <a:gd name="T119" fmla="*/ 4467 h 11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058" h="11544">
                  <a:moveTo>
                    <a:pt x="12294" y="10539"/>
                  </a:moveTo>
                  <a:lnTo>
                    <a:pt x="12294" y="10540"/>
                  </a:lnTo>
                  <a:lnTo>
                    <a:pt x="3262" y="10540"/>
                  </a:lnTo>
                  <a:lnTo>
                    <a:pt x="3145" y="10537"/>
                  </a:lnTo>
                  <a:lnTo>
                    <a:pt x="3031" y="10528"/>
                  </a:lnTo>
                  <a:lnTo>
                    <a:pt x="2919" y="10514"/>
                  </a:lnTo>
                  <a:lnTo>
                    <a:pt x="2807" y="10494"/>
                  </a:lnTo>
                  <a:lnTo>
                    <a:pt x="2698" y="10469"/>
                  </a:lnTo>
                  <a:lnTo>
                    <a:pt x="2591" y="10438"/>
                  </a:lnTo>
                  <a:lnTo>
                    <a:pt x="2486" y="10403"/>
                  </a:lnTo>
                  <a:lnTo>
                    <a:pt x="2384" y="10363"/>
                  </a:lnTo>
                  <a:lnTo>
                    <a:pt x="2284" y="10316"/>
                  </a:lnTo>
                  <a:lnTo>
                    <a:pt x="2187" y="10267"/>
                  </a:lnTo>
                  <a:lnTo>
                    <a:pt x="2092" y="10212"/>
                  </a:lnTo>
                  <a:lnTo>
                    <a:pt x="2000" y="10154"/>
                  </a:lnTo>
                  <a:lnTo>
                    <a:pt x="1912" y="10091"/>
                  </a:lnTo>
                  <a:lnTo>
                    <a:pt x="1827" y="10023"/>
                  </a:lnTo>
                  <a:lnTo>
                    <a:pt x="1744" y="9952"/>
                  </a:lnTo>
                  <a:lnTo>
                    <a:pt x="1666" y="9878"/>
                  </a:lnTo>
                  <a:lnTo>
                    <a:pt x="1591" y="9798"/>
                  </a:lnTo>
                  <a:lnTo>
                    <a:pt x="1520" y="9717"/>
                  </a:lnTo>
                  <a:lnTo>
                    <a:pt x="1453" y="9632"/>
                  </a:lnTo>
                  <a:lnTo>
                    <a:pt x="1390" y="9543"/>
                  </a:lnTo>
                  <a:lnTo>
                    <a:pt x="1331" y="9451"/>
                  </a:lnTo>
                  <a:lnTo>
                    <a:pt x="1277" y="9357"/>
                  </a:lnTo>
                  <a:lnTo>
                    <a:pt x="1226" y="9259"/>
                  </a:lnTo>
                  <a:lnTo>
                    <a:pt x="1181" y="9159"/>
                  </a:lnTo>
                  <a:lnTo>
                    <a:pt x="1141" y="9057"/>
                  </a:lnTo>
                  <a:lnTo>
                    <a:pt x="1105" y="8952"/>
                  </a:lnTo>
                  <a:lnTo>
                    <a:pt x="1075" y="8845"/>
                  </a:lnTo>
                  <a:lnTo>
                    <a:pt x="1050" y="8736"/>
                  </a:lnTo>
                  <a:lnTo>
                    <a:pt x="1030" y="8624"/>
                  </a:lnTo>
                  <a:lnTo>
                    <a:pt x="1016" y="8512"/>
                  </a:lnTo>
                  <a:lnTo>
                    <a:pt x="1007" y="8397"/>
                  </a:lnTo>
                  <a:lnTo>
                    <a:pt x="1004" y="8281"/>
                  </a:lnTo>
                  <a:lnTo>
                    <a:pt x="1005" y="8207"/>
                  </a:lnTo>
                  <a:lnTo>
                    <a:pt x="1009" y="8131"/>
                  </a:lnTo>
                  <a:lnTo>
                    <a:pt x="1015" y="8057"/>
                  </a:lnTo>
                  <a:lnTo>
                    <a:pt x="1024" y="7984"/>
                  </a:lnTo>
                  <a:lnTo>
                    <a:pt x="1034" y="7911"/>
                  </a:lnTo>
                  <a:lnTo>
                    <a:pt x="1048" y="7839"/>
                  </a:lnTo>
                  <a:lnTo>
                    <a:pt x="1063" y="7768"/>
                  </a:lnTo>
                  <a:lnTo>
                    <a:pt x="1081" y="7697"/>
                  </a:lnTo>
                  <a:lnTo>
                    <a:pt x="1101" y="7627"/>
                  </a:lnTo>
                  <a:lnTo>
                    <a:pt x="1123" y="7558"/>
                  </a:lnTo>
                  <a:lnTo>
                    <a:pt x="1148" y="7490"/>
                  </a:lnTo>
                  <a:lnTo>
                    <a:pt x="1175" y="7423"/>
                  </a:lnTo>
                  <a:lnTo>
                    <a:pt x="1203" y="7356"/>
                  </a:lnTo>
                  <a:lnTo>
                    <a:pt x="1235" y="7291"/>
                  </a:lnTo>
                  <a:lnTo>
                    <a:pt x="1269" y="7227"/>
                  </a:lnTo>
                  <a:lnTo>
                    <a:pt x="1304" y="7165"/>
                  </a:lnTo>
                  <a:lnTo>
                    <a:pt x="1341" y="7102"/>
                  </a:lnTo>
                  <a:lnTo>
                    <a:pt x="1381" y="7041"/>
                  </a:lnTo>
                  <a:lnTo>
                    <a:pt x="1422" y="6982"/>
                  </a:lnTo>
                  <a:lnTo>
                    <a:pt x="1465" y="6924"/>
                  </a:lnTo>
                  <a:lnTo>
                    <a:pt x="1511" y="6867"/>
                  </a:lnTo>
                  <a:lnTo>
                    <a:pt x="1559" y="6811"/>
                  </a:lnTo>
                  <a:lnTo>
                    <a:pt x="1608" y="6757"/>
                  </a:lnTo>
                  <a:lnTo>
                    <a:pt x="1659" y="6705"/>
                  </a:lnTo>
                  <a:lnTo>
                    <a:pt x="1712" y="6654"/>
                  </a:lnTo>
                  <a:lnTo>
                    <a:pt x="1767" y="6604"/>
                  </a:lnTo>
                  <a:lnTo>
                    <a:pt x="1825" y="6555"/>
                  </a:lnTo>
                  <a:lnTo>
                    <a:pt x="1883" y="6509"/>
                  </a:lnTo>
                  <a:lnTo>
                    <a:pt x="1943" y="6464"/>
                  </a:lnTo>
                  <a:lnTo>
                    <a:pt x="2005" y="6421"/>
                  </a:lnTo>
                  <a:lnTo>
                    <a:pt x="2069" y="6380"/>
                  </a:lnTo>
                  <a:lnTo>
                    <a:pt x="2135" y="6341"/>
                  </a:lnTo>
                  <a:lnTo>
                    <a:pt x="2198" y="6304"/>
                  </a:lnTo>
                  <a:lnTo>
                    <a:pt x="2256" y="6269"/>
                  </a:lnTo>
                  <a:lnTo>
                    <a:pt x="2311" y="6236"/>
                  </a:lnTo>
                  <a:lnTo>
                    <a:pt x="2364" y="6205"/>
                  </a:lnTo>
                  <a:lnTo>
                    <a:pt x="2412" y="6174"/>
                  </a:lnTo>
                  <a:lnTo>
                    <a:pt x="2456" y="6145"/>
                  </a:lnTo>
                  <a:lnTo>
                    <a:pt x="2498" y="6116"/>
                  </a:lnTo>
                  <a:lnTo>
                    <a:pt x="2535" y="6088"/>
                  </a:lnTo>
                  <a:lnTo>
                    <a:pt x="2570" y="6061"/>
                  </a:lnTo>
                  <a:lnTo>
                    <a:pt x="2601" y="6033"/>
                  </a:lnTo>
                  <a:lnTo>
                    <a:pt x="2629" y="6006"/>
                  </a:lnTo>
                  <a:lnTo>
                    <a:pt x="2655" y="5979"/>
                  </a:lnTo>
                  <a:lnTo>
                    <a:pt x="2677" y="5951"/>
                  </a:lnTo>
                  <a:lnTo>
                    <a:pt x="2696" y="5923"/>
                  </a:lnTo>
                  <a:lnTo>
                    <a:pt x="2712" y="5895"/>
                  </a:lnTo>
                  <a:lnTo>
                    <a:pt x="2725" y="5866"/>
                  </a:lnTo>
                  <a:lnTo>
                    <a:pt x="2735" y="5836"/>
                  </a:lnTo>
                  <a:lnTo>
                    <a:pt x="2742" y="5805"/>
                  </a:lnTo>
                  <a:lnTo>
                    <a:pt x="2747" y="5773"/>
                  </a:lnTo>
                  <a:lnTo>
                    <a:pt x="2748" y="5738"/>
                  </a:lnTo>
                  <a:lnTo>
                    <a:pt x="2748" y="5703"/>
                  </a:lnTo>
                  <a:lnTo>
                    <a:pt x="2744" y="5665"/>
                  </a:lnTo>
                  <a:lnTo>
                    <a:pt x="2739" y="5626"/>
                  </a:lnTo>
                  <a:lnTo>
                    <a:pt x="2730" y="5585"/>
                  </a:lnTo>
                  <a:lnTo>
                    <a:pt x="2720" y="5542"/>
                  </a:lnTo>
                  <a:lnTo>
                    <a:pt x="2707" y="5495"/>
                  </a:lnTo>
                  <a:lnTo>
                    <a:pt x="2691" y="5446"/>
                  </a:lnTo>
                  <a:lnTo>
                    <a:pt x="2674" y="5395"/>
                  </a:lnTo>
                  <a:lnTo>
                    <a:pt x="2654" y="5340"/>
                  </a:lnTo>
                  <a:lnTo>
                    <a:pt x="2632" y="5282"/>
                  </a:lnTo>
                  <a:lnTo>
                    <a:pt x="2607" y="5220"/>
                  </a:lnTo>
                  <a:lnTo>
                    <a:pt x="2581" y="5156"/>
                  </a:lnTo>
                  <a:lnTo>
                    <a:pt x="2564" y="5102"/>
                  </a:lnTo>
                  <a:lnTo>
                    <a:pt x="2549" y="5050"/>
                  </a:lnTo>
                  <a:lnTo>
                    <a:pt x="2537" y="5000"/>
                  </a:lnTo>
                  <a:lnTo>
                    <a:pt x="2527" y="4950"/>
                  </a:lnTo>
                  <a:lnTo>
                    <a:pt x="2523" y="4926"/>
                  </a:lnTo>
                  <a:lnTo>
                    <a:pt x="2519" y="4903"/>
                  </a:lnTo>
                  <a:lnTo>
                    <a:pt x="2516" y="4880"/>
                  </a:lnTo>
                  <a:lnTo>
                    <a:pt x="2514" y="4857"/>
                  </a:lnTo>
                  <a:lnTo>
                    <a:pt x="2512" y="4834"/>
                  </a:lnTo>
                  <a:lnTo>
                    <a:pt x="2510" y="4812"/>
                  </a:lnTo>
                  <a:lnTo>
                    <a:pt x="2509" y="4790"/>
                  </a:lnTo>
                  <a:lnTo>
                    <a:pt x="2509" y="4768"/>
                  </a:lnTo>
                  <a:lnTo>
                    <a:pt x="2511" y="4704"/>
                  </a:lnTo>
                  <a:lnTo>
                    <a:pt x="2516" y="4640"/>
                  </a:lnTo>
                  <a:lnTo>
                    <a:pt x="2524" y="4577"/>
                  </a:lnTo>
                  <a:lnTo>
                    <a:pt x="2535" y="4516"/>
                  </a:lnTo>
                  <a:lnTo>
                    <a:pt x="2549" y="4455"/>
                  </a:lnTo>
                  <a:lnTo>
                    <a:pt x="2565" y="4395"/>
                  </a:lnTo>
                  <a:lnTo>
                    <a:pt x="2585" y="4337"/>
                  </a:lnTo>
                  <a:lnTo>
                    <a:pt x="2608" y="4280"/>
                  </a:lnTo>
                  <a:lnTo>
                    <a:pt x="2634" y="4225"/>
                  </a:lnTo>
                  <a:lnTo>
                    <a:pt x="2661" y="4171"/>
                  </a:lnTo>
                  <a:lnTo>
                    <a:pt x="2691" y="4118"/>
                  </a:lnTo>
                  <a:lnTo>
                    <a:pt x="2724" y="4067"/>
                  </a:lnTo>
                  <a:lnTo>
                    <a:pt x="2759" y="4018"/>
                  </a:lnTo>
                  <a:lnTo>
                    <a:pt x="2796" y="3971"/>
                  </a:lnTo>
                  <a:lnTo>
                    <a:pt x="2835" y="3925"/>
                  </a:lnTo>
                  <a:lnTo>
                    <a:pt x="2877" y="3881"/>
                  </a:lnTo>
                  <a:lnTo>
                    <a:pt x="2921" y="3839"/>
                  </a:lnTo>
                  <a:lnTo>
                    <a:pt x="2966" y="3800"/>
                  </a:lnTo>
                  <a:lnTo>
                    <a:pt x="3014" y="3763"/>
                  </a:lnTo>
                  <a:lnTo>
                    <a:pt x="3063" y="3728"/>
                  </a:lnTo>
                  <a:lnTo>
                    <a:pt x="3113" y="3696"/>
                  </a:lnTo>
                  <a:lnTo>
                    <a:pt x="3166" y="3665"/>
                  </a:lnTo>
                  <a:lnTo>
                    <a:pt x="3221" y="3638"/>
                  </a:lnTo>
                  <a:lnTo>
                    <a:pt x="3276" y="3612"/>
                  </a:lnTo>
                  <a:lnTo>
                    <a:pt x="3333" y="3589"/>
                  </a:lnTo>
                  <a:lnTo>
                    <a:pt x="3391" y="3570"/>
                  </a:lnTo>
                  <a:lnTo>
                    <a:pt x="3450" y="3553"/>
                  </a:lnTo>
                  <a:lnTo>
                    <a:pt x="3512" y="3539"/>
                  </a:lnTo>
                  <a:lnTo>
                    <a:pt x="3573" y="3528"/>
                  </a:lnTo>
                  <a:lnTo>
                    <a:pt x="3636" y="3520"/>
                  </a:lnTo>
                  <a:lnTo>
                    <a:pt x="3699" y="3515"/>
                  </a:lnTo>
                  <a:lnTo>
                    <a:pt x="3764" y="3513"/>
                  </a:lnTo>
                  <a:lnTo>
                    <a:pt x="3779" y="3513"/>
                  </a:lnTo>
                  <a:lnTo>
                    <a:pt x="3821" y="3512"/>
                  </a:lnTo>
                  <a:lnTo>
                    <a:pt x="3851" y="3512"/>
                  </a:lnTo>
                  <a:lnTo>
                    <a:pt x="3886" y="3513"/>
                  </a:lnTo>
                  <a:lnTo>
                    <a:pt x="3927" y="3515"/>
                  </a:lnTo>
                  <a:lnTo>
                    <a:pt x="3972" y="3519"/>
                  </a:lnTo>
                  <a:lnTo>
                    <a:pt x="4022" y="3524"/>
                  </a:lnTo>
                  <a:lnTo>
                    <a:pt x="4074" y="3531"/>
                  </a:lnTo>
                  <a:lnTo>
                    <a:pt x="4130" y="3540"/>
                  </a:lnTo>
                  <a:lnTo>
                    <a:pt x="4189" y="3552"/>
                  </a:lnTo>
                  <a:lnTo>
                    <a:pt x="4219" y="3559"/>
                  </a:lnTo>
                  <a:lnTo>
                    <a:pt x="4250" y="3566"/>
                  </a:lnTo>
                  <a:lnTo>
                    <a:pt x="4281" y="3575"/>
                  </a:lnTo>
                  <a:lnTo>
                    <a:pt x="4314" y="3584"/>
                  </a:lnTo>
                  <a:lnTo>
                    <a:pt x="4345" y="3594"/>
                  </a:lnTo>
                  <a:lnTo>
                    <a:pt x="4378" y="3604"/>
                  </a:lnTo>
                  <a:lnTo>
                    <a:pt x="4410" y="3616"/>
                  </a:lnTo>
                  <a:lnTo>
                    <a:pt x="4443" y="3629"/>
                  </a:lnTo>
                  <a:lnTo>
                    <a:pt x="4495" y="3649"/>
                  </a:lnTo>
                  <a:lnTo>
                    <a:pt x="4544" y="3667"/>
                  </a:lnTo>
                  <a:lnTo>
                    <a:pt x="4592" y="3682"/>
                  </a:lnTo>
                  <a:lnTo>
                    <a:pt x="4636" y="3694"/>
                  </a:lnTo>
                  <a:lnTo>
                    <a:pt x="4678" y="3704"/>
                  </a:lnTo>
                  <a:lnTo>
                    <a:pt x="4717" y="3711"/>
                  </a:lnTo>
                  <a:lnTo>
                    <a:pt x="4754" y="3716"/>
                  </a:lnTo>
                  <a:lnTo>
                    <a:pt x="4789" y="3718"/>
                  </a:lnTo>
                  <a:lnTo>
                    <a:pt x="4822" y="3718"/>
                  </a:lnTo>
                  <a:lnTo>
                    <a:pt x="4855" y="3715"/>
                  </a:lnTo>
                  <a:lnTo>
                    <a:pt x="4884" y="3710"/>
                  </a:lnTo>
                  <a:lnTo>
                    <a:pt x="4912" y="3702"/>
                  </a:lnTo>
                  <a:lnTo>
                    <a:pt x="4939" y="3692"/>
                  </a:lnTo>
                  <a:lnTo>
                    <a:pt x="4964" y="3679"/>
                  </a:lnTo>
                  <a:lnTo>
                    <a:pt x="4989" y="3664"/>
                  </a:lnTo>
                  <a:lnTo>
                    <a:pt x="5012" y="3646"/>
                  </a:lnTo>
                  <a:lnTo>
                    <a:pt x="5034" y="3626"/>
                  </a:lnTo>
                  <a:lnTo>
                    <a:pt x="5056" y="3603"/>
                  </a:lnTo>
                  <a:lnTo>
                    <a:pt x="5077" y="3578"/>
                  </a:lnTo>
                  <a:lnTo>
                    <a:pt x="5097" y="3551"/>
                  </a:lnTo>
                  <a:lnTo>
                    <a:pt x="5117" y="3522"/>
                  </a:lnTo>
                  <a:lnTo>
                    <a:pt x="5138" y="3490"/>
                  </a:lnTo>
                  <a:lnTo>
                    <a:pt x="5158" y="3456"/>
                  </a:lnTo>
                  <a:lnTo>
                    <a:pt x="5177" y="3420"/>
                  </a:lnTo>
                  <a:lnTo>
                    <a:pt x="5197" y="3382"/>
                  </a:lnTo>
                  <a:lnTo>
                    <a:pt x="5218" y="3340"/>
                  </a:lnTo>
                  <a:lnTo>
                    <a:pt x="5238" y="3297"/>
                  </a:lnTo>
                  <a:lnTo>
                    <a:pt x="5260" y="3251"/>
                  </a:lnTo>
                  <a:lnTo>
                    <a:pt x="5304" y="3154"/>
                  </a:lnTo>
                  <a:lnTo>
                    <a:pt x="5353" y="3047"/>
                  </a:lnTo>
                  <a:lnTo>
                    <a:pt x="5409" y="2932"/>
                  </a:lnTo>
                  <a:lnTo>
                    <a:pt x="5469" y="2820"/>
                  </a:lnTo>
                  <a:lnTo>
                    <a:pt x="5532" y="2710"/>
                  </a:lnTo>
                  <a:lnTo>
                    <a:pt x="5599" y="2603"/>
                  </a:lnTo>
                  <a:lnTo>
                    <a:pt x="5669" y="2499"/>
                  </a:lnTo>
                  <a:lnTo>
                    <a:pt x="5744" y="2398"/>
                  </a:lnTo>
                  <a:lnTo>
                    <a:pt x="5821" y="2300"/>
                  </a:lnTo>
                  <a:lnTo>
                    <a:pt x="5902" y="2204"/>
                  </a:lnTo>
                  <a:lnTo>
                    <a:pt x="5986" y="2112"/>
                  </a:lnTo>
                  <a:lnTo>
                    <a:pt x="6072" y="2024"/>
                  </a:lnTo>
                  <a:lnTo>
                    <a:pt x="6161" y="1938"/>
                  </a:lnTo>
                  <a:lnTo>
                    <a:pt x="6255" y="1856"/>
                  </a:lnTo>
                  <a:lnTo>
                    <a:pt x="6349" y="1777"/>
                  </a:lnTo>
                  <a:lnTo>
                    <a:pt x="6447" y="1701"/>
                  </a:lnTo>
                  <a:lnTo>
                    <a:pt x="6547" y="1629"/>
                  </a:lnTo>
                  <a:lnTo>
                    <a:pt x="6650" y="1560"/>
                  </a:lnTo>
                  <a:lnTo>
                    <a:pt x="6754" y="1496"/>
                  </a:lnTo>
                  <a:lnTo>
                    <a:pt x="6862" y="1434"/>
                  </a:lnTo>
                  <a:lnTo>
                    <a:pt x="6970" y="1377"/>
                  </a:lnTo>
                  <a:lnTo>
                    <a:pt x="7082" y="1323"/>
                  </a:lnTo>
                  <a:lnTo>
                    <a:pt x="7195" y="1274"/>
                  </a:lnTo>
                  <a:lnTo>
                    <a:pt x="7309" y="1228"/>
                  </a:lnTo>
                  <a:lnTo>
                    <a:pt x="7426" y="1186"/>
                  </a:lnTo>
                  <a:lnTo>
                    <a:pt x="7543" y="1148"/>
                  </a:lnTo>
                  <a:lnTo>
                    <a:pt x="7663" y="1115"/>
                  </a:lnTo>
                  <a:lnTo>
                    <a:pt x="7784" y="1086"/>
                  </a:lnTo>
                  <a:lnTo>
                    <a:pt x="7906" y="1061"/>
                  </a:lnTo>
                  <a:lnTo>
                    <a:pt x="8029" y="1041"/>
                  </a:lnTo>
                  <a:lnTo>
                    <a:pt x="8153" y="1025"/>
                  </a:lnTo>
                  <a:lnTo>
                    <a:pt x="8278" y="1013"/>
                  </a:lnTo>
                  <a:lnTo>
                    <a:pt x="8404" y="1007"/>
                  </a:lnTo>
                  <a:lnTo>
                    <a:pt x="8531" y="1004"/>
                  </a:lnTo>
                  <a:lnTo>
                    <a:pt x="8699" y="1008"/>
                  </a:lnTo>
                  <a:lnTo>
                    <a:pt x="8866" y="1020"/>
                  </a:lnTo>
                  <a:lnTo>
                    <a:pt x="9030" y="1039"/>
                  </a:lnTo>
                  <a:lnTo>
                    <a:pt x="9192" y="1066"/>
                  </a:lnTo>
                  <a:lnTo>
                    <a:pt x="9351" y="1100"/>
                  </a:lnTo>
                  <a:lnTo>
                    <a:pt x="9507" y="1142"/>
                  </a:lnTo>
                  <a:lnTo>
                    <a:pt x="9661" y="1190"/>
                  </a:lnTo>
                  <a:lnTo>
                    <a:pt x="9811" y="1246"/>
                  </a:lnTo>
                  <a:lnTo>
                    <a:pt x="9959" y="1308"/>
                  </a:lnTo>
                  <a:lnTo>
                    <a:pt x="10102" y="1376"/>
                  </a:lnTo>
                  <a:lnTo>
                    <a:pt x="10242" y="1451"/>
                  </a:lnTo>
                  <a:lnTo>
                    <a:pt x="10378" y="1532"/>
                  </a:lnTo>
                  <a:lnTo>
                    <a:pt x="10510" y="1619"/>
                  </a:lnTo>
                  <a:lnTo>
                    <a:pt x="10638" y="1711"/>
                  </a:lnTo>
                  <a:lnTo>
                    <a:pt x="10761" y="1810"/>
                  </a:lnTo>
                  <a:lnTo>
                    <a:pt x="10880" y="1914"/>
                  </a:lnTo>
                  <a:lnTo>
                    <a:pt x="10994" y="2023"/>
                  </a:lnTo>
                  <a:lnTo>
                    <a:pt x="11103" y="2137"/>
                  </a:lnTo>
                  <a:lnTo>
                    <a:pt x="11207" y="2256"/>
                  </a:lnTo>
                  <a:lnTo>
                    <a:pt x="11306" y="2381"/>
                  </a:lnTo>
                  <a:lnTo>
                    <a:pt x="11398" y="2509"/>
                  </a:lnTo>
                  <a:lnTo>
                    <a:pt x="11486" y="2643"/>
                  </a:lnTo>
                  <a:lnTo>
                    <a:pt x="11568" y="2780"/>
                  </a:lnTo>
                  <a:lnTo>
                    <a:pt x="11643" y="2922"/>
                  </a:lnTo>
                  <a:lnTo>
                    <a:pt x="11712" y="3067"/>
                  </a:lnTo>
                  <a:lnTo>
                    <a:pt x="11775" y="3217"/>
                  </a:lnTo>
                  <a:lnTo>
                    <a:pt x="11831" y="3370"/>
                  </a:lnTo>
                  <a:lnTo>
                    <a:pt x="11880" y="3526"/>
                  </a:lnTo>
                  <a:lnTo>
                    <a:pt x="11922" y="3686"/>
                  </a:lnTo>
                  <a:lnTo>
                    <a:pt x="11957" y="3848"/>
                  </a:lnTo>
                  <a:lnTo>
                    <a:pt x="11985" y="4014"/>
                  </a:lnTo>
                  <a:lnTo>
                    <a:pt x="12005" y="4183"/>
                  </a:lnTo>
                  <a:lnTo>
                    <a:pt x="12016" y="4309"/>
                  </a:lnTo>
                  <a:lnTo>
                    <a:pt x="12027" y="4420"/>
                  </a:lnTo>
                  <a:lnTo>
                    <a:pt x="12032" y="4471"/>
                  </a:lnTo>
                  <a:lnTo>
                    <a:pt x="12038" y="4517"/>
                  </a:lnTo>
                  <a:lnTo>
                    <a:pt x="12046" y="4561"/>
                  </a:lnTo>
                  <a:lnTo>
                    <a:pt x="12053" y="4601"/>
                  </a:lnTo>
                  <a:lnTo>
                    <a:pt x="12061" y="4638"/>
                  </a:lnTo>
                  <a:lnTo>
                    <a:pt x="12070" y="4673"/>
                  </a:lnTo>
                  <a:lnTo>
                    <a:pt x="12081" y="4706"/>
                  </a:lnTo>
                  <a:lnTo>
                    <a:pt x="12092" y="4736"/>
                  </a:lnTo>
                  <a:lnTo>
                    <a:pt x="12105" y="4763"/>
                  </a:lnTo>
                  <a:lnTo>
                    <a:pt x="12119" y="4788"/>
                  </a:lnTo>
                  <a:lnTo>
                    <a:pt x="12135" y="4812"/>
                  </a:lnTo>
                  <a:lnTo>
                    <a:pt x="12153" y="4833"/>
                  </a:lnTo>
                  <a:lnTo>
                    <a:pt x="12173" y="4853"/>
                  </a:lnTo>
                  <a:lnTo>
                    <a:pt x="12195" y="4872"/>
                  </a:lnTo>
                  <a:lnTo>
                    <a:pt x="12220" y="4889"/>
                  </a:lnTo>
                  <a:lnTo>
                    <a:pt x="12247" y="4905"/>
                  </a:lnTo>
                  <a:lnTo>
                    <a:pt x="12276" y="4920"/>
                  </a:lnTo>
                  <a:lnTo>
                    <a:pt x="12308" y="4935"/>
                  </a:lnTo>
                  <a:lnTo>
                    <a:pt x="12344" y="4949"/>
                  </a:lnTo>
                  <a:lnTo>
                    <a:pt x="12383" y="4962"/>
                  </a:lnTo>
                  <a:lnTo>
                    <a:pt x="12424" y="4976"/>
                  </a:lnTo>
                  <a:lnTo>
                    <a:pt x="12468" y="4989"/>
                  </a:lnTo>
                  <a:lnTo>
                    <a:pt x="12517" y="5002"/>
                  </a:lnTo>
                  <a:lnTo>
                    <a:pt x="12568" y="5015"/>
                  </a:lnTo>
                  <a:lnTo>
                    <a:pt x="12684" y="5043"/>
                  </a:lnTo>
                  <a:lnTo>
                    <a:pt x="12816" y="5073"/>
                  </a:lnTo>
                  <a:lnTo>
                    <a:pt x="12937" y="5099"/>
                  </a:lnTo>
                  <a:lnTo>
                    <a:pt x="13055" y="5129"/>
                  </a:lnTo>
                  <a:lnTo>
                    <a:pt x="13171" y="5165"/>
                  </a:lnTo>
                  <a:lnTo>
                    <a:pt x="13285" y="5206"/>
                  </a:lnTo>
                  <a:lnTo>
                    <a:pt x="13395" y="5252"/>
                  </a:lnTo>
                  <a:lnTo>
                    <a:pt x="13505" y="5302"/>
                  </a:lnTo>
                  <a:lnTo>
                    <a:pt x="13610" y="5356"/>
                  </a:lnTo>
                  <a:lnTo>
                    <a:pt x="13714" y="5415"/>
                  </a:lnTo>
                  <a:lnTo>
                    <a:pt x="13813" y="5477"/>
                  </a:lnTo>
                  <a:lnTo>
                    <a:pt x="13910" y="5545"/>
                  </a:lnTo>
                  <a:lnTo>
                    <a:pt x="14004" y="5615"/>
                  </a:lnTo>
                  <a:lnTo>
                    <a:pt x="14095" y="5690"/>
                  </a:lnTo>
                  <a:lnTo>
                    <a:pt x="14181" y="5768"/>
                  </a:lnTo>
                  <a:lnTo>
                    <a:pt x="14266" y="5850"/>
                  </a:lnTo>
                  <a:lnTo>
                    <a:pt x="14346" y="5935"/>
                  </a:lnTo>
                  <a:lnTo>
                    <a:pt x="14422" y="6024"/>
                  </a:lnTo>
                  <a:lnTo>
                    <a:pt x="14494" y="6116"/>
                  </a:lnTo>
                  <a:lnTo>
                    <a:pt x="14564" y="6210"/>
                  </a:lnTo>
                  <a:lnTo>
                    <a:pt x="14628" y="6307"/>
                  </a:lnTo>
                  <a:lnTo>
                    <a:pt x="14689" y="6408"/>
                  </a:lnTo>
                  <a:lnTo>
                    <a:pt x="14745" y="6511"/>
                  </a:lnTo>
                  <a:lnTo>
                    <a:pt x="14796" y="6617"/>
                  </a:lnTo>
                  <a:lnTo>
                    <a:pt x="14845" y="6724"/>
                  </a:lnTo>
                  <a:lnTo>
                    <a:pt x="14888" y="6834"/>
                  </a:lnTo>
                  <a:lnTo>
                    <a:pt x="14926" y="6947"/>
                  </a:lnTo>
                  <a:lnTo>
                    <a:pt x="14959" y="7060"/>
                  </a:lnTo>
                  <a:lnTo>
                    <a:pt x="14988" y="7177"/>
                  </a:lnTo>
                  <a:lnTo>
                    <a:pt x="15012" y="7294"/>
                  </a:lnTo>
                  <a:lnTo>
                    <a:pt x="15030" y="7414"/>
                  </a:lnTo>
                  <a:lnTo>
                    <a:pt x="15044" y="7534"/>
                  </a:lnTo>
                  <a:lnTo>
                    <a:pt x="15052" y="7656"/>
                  </a:lnTo>
                  <a:lnTo>
                    <a:pt x="15055" y="7779"/>
                  </a:lnTo>
                  <a:lnTo>
                    <a:pt x="15051" y="7922"/>
                  </a:lnTo>
                  <a:lnTo>
                    <a:pt x="15040" y="8061"/>
                  </a:lnTo>
                  <a:lnTo>
                    <a:pt x="15023" y="8199"/>
                  </a:lnTo>
                  <a:lnTo>
                    <a:pt x="14999" y="8335"/>
                  </a:lnTo>
                  <a:lnTo>
                    <a:pt x="14968" y="8469"/>
                  </a:lnTo>
                  <a:lnTo>
                    <a:pt x="14931" y="8599"/>
                  </a:lnTo>
                  <a:lnTo>
                    <a:pt x="14887" y="8728"/>
                  </a:lnTo>
                  <a:lnTo>
                    <a:pt x="14838" y="8853"/>
                  </a:lnTo>
                  <a:lnTo>
                    <a:pt x="14782" y="8975"/>
                  </a:lnTo>
                  <a:lnTo>
                    <a:pt x="14721" y="9094"/>
                  </a:lnTo>
                  <a:lnTo>
                    <a:pt x="14655" y="9209"/>
                  </a:lnTo>
                  <a:lnTo>
                    <a:pt x="14583" y="9322"/>
                  </a:lnTo>
                  <a:lnTo>
                    <a:pt x="14505" y="9430"/>
                  </a:lnTo>
                  <a:lnTo>
                    <a:pt x="14424" y="9535"/>
                  </a:lnTo>
                  <a:lnTo>
                    <a:pt x="14337" y="9634"/>
                  </a:lnTo>
                  <a:lnTo>
                    <a:pt x="14245" y="9730"/>
                  </a:lnTo>
                  <a:lnTo>
                    <a:pt x="14150" y="9822"/>
                  </a:lnTo>
                  <a:lnTo>
                    <a:pt x="14050" y="9909"/>
                  </a:lnTo>
                  <a:lnTo>
                    <a:pt x="13945" y="9990"/>
                  </a:lnTo>
                  <a:lnTo>
                    <a:pt x="13837" y="10068"/>
                  </a:lnTo>
                  <a:lnTo>
                    <a:pt x="13725" y="10140"/>
                  </a:lnTo>
                  <a:lnTo>
                    <a:pt x="13609" y="10206"/>
                  </a:lnTo>
                  <a:lnTo>
                    <a:pt x="13491" y="10267"/>
                  </a:lnTo>
                  <a:lnTo>
                    <a:pt x="13368" y="10322"/>
                  </a:lnTo>
                  <a:lnTo>
                    <a:pt x="13243" y="10372"/>
                  </a:lnTo>
                  <a:lnTo>
                    <a:pt x="13114" y="10416"/>
                  </a:lnTo>
                  <a:lnTo>
                    <a:pt x="12984" y="10453"/>
                  </a:lnTo>
                  <a:lnTo>
                    <a:pt x="12850" y="10484"/>
                  </a:lnTo>
                  <a:lnTo>
                    <a:pt x="12715" y="10508"/>
                  </a:lnTo>
                  <a:lnTo>
                    <a:pt x="12576" y="10525"/>
                  </a:lnTo>
                  <a:lnTo>
                    <a:pt x="12437" y="10536"/>
                  </a:lnTo>
                  <a:lnTo>
                    <a:pt x="12294" y="10539"/>
                  </a:lnTo>
                  <a:close/>
                  <a:moveTo>
                    <a:pt x="13004" y="4087"/>
                  </a:moveTo>
                  <a:lnTo>
                    <a:pt x="12979" y="3874"/>
                  </a:lnTo>
                  <a:lnTo>
                    <a:pt x="12944" y="3664"/>
                  </a:lnTo>
                  <a:lnTo>
                    <a:pt x="12899" y="3457"/>
                  </a:lnTo>
                  <a:lnTo>
                    <a:pt x="12845" y="3254"/>
                  </a:lnTo>
                  <a:lnTo>
                    <a:pt x="12782" y="3054"/>
                  </a:lnTo>
                  <a:lnTo>
                    <a:pt x="12711" y="2860"/>
                  </a:lnTo>
                  <a:lnTo>
                    <a:pt x="12631" y="2669"/>
                  </a:lnTo>
                  <a:lnTo>
                    <a:pt x="12542" y="2482"/>
                  </a:lnTo>
                  <a:lnTo>
                    <a:pt x="12446" y="2301"/>
                  </a:lnTo>
                  <a:lnTo>
                    <a:pt x="12343" y="2124"/>
                  </a:lnTo>
                  <a:lnTo>
                    <a:pt x="12230" y="1953"/>
                  </a:lnTo>
                  <a:lnTo>
                    <a:pt x="12111" y="1788"/>
                  </a:lnTo>
                  <a:lnTo>
                    <a:pt x="11985" y="1628"/>
                  </a:lnTo>
                  <a:lnTo>
                    <a:pt x="11852" y="1473"/>
                  </a:lnTo>
                  <a:lnTo>
                    <a:pt x="11711" y="1326"/>
                  </a:lnTo>
                  <a:lnTo>
                    <a:pt x="11566" y="1184"/>
                  </a:lnTo>
                  <a:lnTo>
                    <a:pt x="11413" y="1050"/>
                  </a:lnTo>
                  <a:lnTo>
                    <a:pt x="11254" y="922"/>
                  </a:lnTo>
                  <a:lnTo>
                    <a:pt x="11090" y="802"/>
                  </a:lnTo>
                  <a:lnTo>
                    <a:pt x="10919" y="690"/>
                  </a:lnTo>
                  <a:lnTo>
                    <a:pt x="10745" y="584"/>
                  </a:lnTo>
                  <a:lnTo>
                    <a:pt x="10564" y="487"/>
                  </a:lnTo>
                  <a:lnTo>
                    <a:pt x="10378" y="397"/>
                  </a:lnTo>
                  <a:lnTo>
                    <a:pt x="10189" y="316"/>
                  </a:lnTo>
                  <a:lnTo>
                    <a:pt x="9995" y="244"/>
                  </a:lnTo>
                  <a:lnTo>
                    <a:pt x="9796" y="181"/>
                  </a:lnTo>
                  <a:lnTo>
                    <a:pt x="9594" y="126"/>
                  </a:lnTo>
                  <a:lnTo>
                    <a:pt x="9388" y="81"/>
                  </a:lnTo>
                  <a:lnTo>
                    <a:pt x="9178" y="46"/>
                  </a:lnTo>
                  <a:lnTo>
                    <a:pt x="8965" y="21"/>
                  </a:lnTo>
                  <a:lnTo>
                    <a:pt x="8750" y="5"/>
                  </a:lnTo>
                  <a:lnTo>
                    <a:pt x="8531" y="0"/>
                  </a:lnTo>
                  <a:lnTo>
                    <a:pt x="8361" y="3"/>
                  </a:lnTo>
                  <a:lnTo>
                    <a:pt x="8194" y="12"/>
                  </a:lnTo>
                  <a:lnTo>
                    <a:pt x="8027" y="28"/>
                  </a:lnTo>
                  <a:lnTo>
                    <a:pt x="7863" y="49"/>
                  </a:lnTo>
                  <a:lnTo>
                    <a:pt x="7701" y="76"/>
                  </a:lnTo>
                  <a:lnTo>
                    <a:pt x="7540" y="109"/>
                  </a:lnTo>
                  <a:lnTo>
                    <a:pt x="7383" y="149"/>
                  </a:lnTo>
                  <a:lnTo>
                    <a:pt x="7227" y="193"/>
                  </a:lnTo>
                  <a:lnTo>
                    <a:pt x="7074" y="242"/>
                  </a:lnTo>
                  <a:lnTo>
                    <a:pt x="6922" y="297"/>
                  </a:lnTo>
                  <a:lnTo>
                    <a:pt x="6773" y="357"/>
                  </a:lnTo>
                  <a:lnTo>
                    <a:pt x="6628" y="423"/>
                  </a:lnTo>
                  <a:lnTo>
                    <a:pt x="6485" y="493"/>
                  </a:lnTo>
                  <a:lnTo>
                    <a:pt x="6345" y="568"/>
                  </a:lnTo>
                  <a:lnTo>
                    <a:pt x="6208" y="648"/>
                  </a:lnTo>
                  <a:lnTo>
                    <a:pt x="6075" y="733"/>
                  </a:lnTo>
                  <a:lnTo>
                    <a:pt x="5943" y="821"/>
                  </a:lnTo>
                  <a:lnTo>
                    <a:pt x="5817" y="915"/>
                  </a:lnTo>
                  <a:lnTo>
                    <a:pt x="5693" y="1013"/>
                  </a:lnTo>
                  <a:lnTo>
                    <a:pt x="5572" y="1115"/>
                  </a:lnTo>
                  <a:lnTo>
                    <a:pt x="5456" y="1221"/>
                  </a:lnTo>
                  <a:lnTo>
                    <a:pt x="5342" y="1331"/>
                  </a:lnTo>
                  <a:lnTo>
                    <a:pt x="5234" y="1444"/>
                  </a:lnTo>
                  <a:lnTo>
                    <a:pt x="5129" y="1562"/>
                  </a:lnTo>
                  <a:lnTo>
                    <a:pt x="5027" y="1683"/>
                  </a:lnTo>
                  <a:lnTo>
                    <a:pt x="4931" y="1809"/>
                  </a:lnTo>
                  <a:lnTo>
                    <a:pt x="4837" y="1936"/>
                  </a:lnTo>
                  <a:lnTo>
                    <a:pt x="4750" y="2068"/>
                  </a:lnTo>
                  <a:lnTo>
                    <a:pt x="4666" y="2203"/>
                  </a:lnTo>
                  <a:lnTo>
                    <a:pt x="4587" y="2341"/>
                  </a:lnTo>
                  <a:lnTo>
                    <a:pt x="4512" y="2481"/>
                  </a:lnTo>
                  <a:lnTo>
                    <a:pt x="4443" y="2625"/>
                  </a:lnTo>
                  <a:lnTo>
                    <a:pt x="4402" y="2613"/>
                  </a:lnTo>
                  <a:lnTo>
                    <a:pt x="4362" y="2601"/>
                  </a:lnTo>
                  <a:lnTo>
                    <a:pt x="4321" y="2589"/>
                  </a:lnTo>
                  <a:lnTo>
                    <a:pt x="4279" y="2579"/>
                  </a:lnTo>
                  <a:lnTo>
                    <a:pt x="4237" y="2568"/>
                  </a:lnTo>
                  <a:lnTo>
                    <a:pt x="4196" y="2559"/>
                  </a:lnTo>
                  <a:lnTo>
                    <a:pt x="4154" y="2549"/>
                  </a:lnTo>
                  <a:lnTo>
                    <a:pt x="4112" y="2541"/>
                  </a:lnTo>
                  <a:lnTo>
                    <a:pt x="4070" y="2534"/>
                  </a:lnTo>
                  <a:lnTo>
                    <a:pt x="4027" y="2528"/>
                  </a:lnTo>
                  <a:lnTo>
                    <a:pt x="3983" y="2522"/>
                  </a:lnTo>
                  <a:lnTo>
                    <a:pt x="3940" y="2518"/>
                  </a:lnTo>
                  <a:lnTo>
                    <a:pt x="3896" y="2514"/>
                  </a:lnTo>
                  <a:lnTo>
                    <a:pt x="3853" y="2511"/>
                  </a:lnTo>
                  <a:lnTo>
                    <a:pt x="3809" y="2510"/>
                  </a:lnTo>
                  <a:lnTo>
                    <a:pt x="3764" y="2509"/>
                  </a:lnTo>
                  <a:lnTo>
                    <a:pt x="3647" y="2512"/>
                  </a:lnTo>
                  <a:lnTo>
                    <a:pt x="3533" y="2521"/>
                  </a:lnTo>
                  <a:lnTo>
                    <a:pt x="3420" y="2535"/>
                  </a:lnTo>
                  <a:lnTo>
                    <a:pt x="3309" y="2556"/>
                  </a:lnTo>
                  <a:lnTo>
                    <a:pt x="3200" y="2581"/>
                  </a:lnTo>
                  <a:lnTo>
                    <a:pt x="3092" y="2611"/>
                  </a:lnTo>
                  <a:lnTo>
                    <a:pt x="2988" y="2647"/>
                  </a:lnTo>
                  <a:lnTo>
                    <a:pt x="2884" y="2687"/>
                  </a:lnTo>
                  <a:lnTo>
                    <a:pt x="2785" y="2732"/>
                  </a:lnTo>
                  <a:lnTo>
                    <a:pt x="2688" y="2782"/>
                  </a:lnTo>
                  <a:lnTo>
                    <a:pt x="2593" y="2837"/>
                  </a:lnTo>
                  <a:lnTo>
                    <a:pt x="2501" y="2896"/>
                  </a:lnTo>
                  <a:lnTo>
                    <a:pt x="2413" y="2958"/>
                  </a:lnTo>
                  <a:lnTo>
                    <a:pt x="2327" y="3025"/>
                  </a:lnTo>
                  <a:lnTo>
                    <a:pt x="2245" y="3097"/>
                  </a:lnTo>
                  <a:lnTo>
                    <a:pt x="2167" y="3172"/>
                  </a:lnTo>
                  <a:lnTo>
                    <a:pt x="2093" y="3250"/>
                  </a:lnTo>
                  <a:lnTo>
                    <a:pt x="2021" y="3331"/>
                  </a:lnTo>
                  <a:lnTo>
                    <a:pt x="1954" y="3417"/>
                  </a:lnTo>
                  <a:lnTo>
                    <a:pt x="1891" y="3506"/>
                  </a:lnTo>
                  <a:lnTo>
                    <a:pt x="1833" y="3597"/>
                  </a:lnTo>
                  <a:lnTo>
                    <a:pt x="1778" y="3692"/>
                  </a:lnTo>
                  <a:lnTo>
                    <a:pt x="1728" y="3789"/>
                  </a:lnTo>
                  <a:lnTo>
                    <a:pt x="1683" y="3889"/>
                  </a:lnTo>
                  <a:lnTo>
                    <a:pt x="1643" y="3992"/>
                  </a:lnTo>
                  <a:lnTo>
                    <a:pt x="1607" y="4097"/>
                  </a:lnTo>
                  <a:lnTo>
                    <a:pt x="1577" y="4204"/>
                  </a:lnTo>
                  <a:lnTo>
                    <a:pt x="1552" y="4313"/>
                  </a:lnTo>
                  <a:lnTo>
                    <a:pt x="1532" y="4424"/>
                  </a:lnTo>
                  <a:lnTo>
                    <a:pt x="1517" y="4537"/>
                  </a:lnTo>
                  <a:lnTo>
                    <a:pt x="1508" y="4652"/>
                  </a:lnTo>
                  <a:lnTo>
                    <a:pt x="1505" y="4768"/>
                  </a:lnTo>
                  <a:lnTo>
                    <a:pt x="1506" y="4815"/>
                  </a:lnTo>
                  <a:lnTo>
                    <a:pt x="1507" y="4860"/>
                  </a:lnTo>
                  <a:lnTo>
                    <a:pt x="1510" y="4906"/>
                  </a:lnTo>
                  <a:lnTo>
                    <a:pt x="1514" y="4951"/>
                  </a:lnTo>
                  <a:lnTo>
                    <a:pt x="1519" y="4997"/>
                  </a:lnTo>
                  <a:lnTo>
                    <a:pt x="1526" y="5042"/>
                  </a:lnTo>
                  <a:lnTo>
                    <a:pt x="1532" y="5086"/>
                  </a:lnTo>
                  <a:lnTo>
                    <a:pt x="1540" y="5130"/>
                  </a:lnTo>
                  <a:lnTo>
                    <a:pt x="1548" y="5174"/>
                  </a:lnTo>
                  <a:lnTo>
                    <a:pt x="1558" y="5217"/>
                  </a:lnTo>
                  <a:lnTo>
                    <a:pt x="1568" y="5261"/>
                  </a:lnTo>
                  <a:lnTo>
                    <a:pt x="1579" y="5304"/>
                  </a:lnTo>
                  <a:lnTo>
                    <a:pt x="1590" y="5347"/>
                  </a:lnTo>
                  <a:lnTo>
                    <a:pt x="1603" y="5389"/>
                  </a:lnTo>
                  <a:lnTo>
                    <a:pt x="1616" y="5431"/>
                  </a:lnTo>
                  <a:lnTo>
                    <a:pt x="1629" y="5473"/>
                  </a:lnTo>
                  <a:lnTo>
                    <a:pt x="1539" y="5528"/>
                  </a:lnTo>
                  <a:lnTo>
                    <a:pt x="1451" y="5585"/>
                  </a:lnTo>
                  <a:lnTo>
                    <a:pt x="1365" y="5644"/>
                  </a:lnTo>
                  <a:lnTo>
                    <a:pt x="1281" y="5706"/>
                  </a:lnTo>
                  <a:lnTo>
                    <a:pt x="1198" y="5771"/>
                  </a:lnTo>
                  <a:lnTo>
                    <a:pt x="1118" y="5839"/>
                  </a:lnTo>
                  <a:lnTo>
                    <a:pt x="1041" y="5909"/>
                  </a:lnTo>
                  <a:lnTo>
                    <a:pt x="965" y="5981"/>
                  </a:lnTo>
                  <a:lnTo>
                    <a:pt x="892" y="6056"/>
                  </a:lnTo>
                  <a:lnTo>
                    <a:pt x="821" y="6133"/>
                  </a:lnTo>
                  <a:lnTo>
                    <a:pt x="753" y="6211"/>
                  </a:lnTo>
                  <a:lnTo>
                    <a:pt x="687" y="6292"/>
                  </a:lnTo>
                  <a:lnTo>
                    <a:pt x="624" y="6376"/>
                  </a:lnTo>
                  <a:lnTo>
                    <a:pt x="564" y="6461"/>
                  </a:lnTo>
                  <a:lnTo>
                    <a:pt x="506" y="6548"/>
                  </a:lnTo>
                  <a:lnTo>
                    <a:pt x="451" y="6638"/>
                  </a:lnTo>
                  <a:lnTo>
                    <a:pt x="398" y="6729"/>
                  </a:lnTo>
                  <a:lnTo>
                    <a:pt x="349" y="6821"/>
                  </a:lnTo>
                  <a:lnTo>
                    <a:pt x="303" y="6917"/>
                  </a:lnTo>
                  <a:lnTo>
                    <a:pt x="260" y="7013"/>
                  </a:lnTo>
                  <a:lnTo>
                    <a:pt x="220" y="7110"/>
                  </a:lnTo>
                  <a:lnTo>
                    <a:pt x="183" y="7210"/>
                  </a:lnTo>
                  <a:lnTo>
                    <a:pt x="149" y="7311"/>
                  </a:lnTo>
                  <a:lnTo>
                    <a:pt x="118" y="7414"/>
                  </a:lnTo>
                  <a:lnTo>
                    <a:pt x="91" y="7518"/>
                  </a:lnTo>
                  <a:lnTo>
                    <a:pt x="67" y="7623"/>
                  </a:lnTo>
                  <a:lnTo>
                    <a:pt x="47" y="7730"/>
                  </a:lnTo>
                  <a:lnTo>
                    <a:pt x="30" y="7838"/>
                  </a:lnTo>
                  <a:lnTo>
                    <a:pt x="17" y="7948"/>
                  </a:lnTo>
                  <a:lnTo>
                    <a:pt x="8" y="8057"/>
                  </a:lnTo>
                  <a:lnTo>
                    <a:pt x="2" y="8168"/>
                  </a:lnTo>
                  <a:lnTo>
                    <a:pt x="0" y="8281"/>
                  </a:lnTo>
                  <a:lnTo>
                    <a:pt x="4" y="8449"/>
                  </a:lnTo>
                  <a:lnTo>
                    <a:pt x="17" y="8615"/>
                  </a:lnTo>
                  <a:lnTo>
                    <a:pt x="37" y="8778"/>
                  </a:lnTo>
                  <a:lnTo>
                    <a:pt x="66" y="8938"/>
                  </a:lnTo>
                  <a:lnTo>
                    <a:pt x="102" y="9097"/>
                  </a:lnTo>
                  <a:lnTo>
                    <a:pt x="147" y="9251"/>
                  </a:lnTo>
                  <a:lnTo>
                    <a:pt x="198" y="9403"/>
                  </a:lnTo>
                  <a:lnTo>
                    <a:pt x="256" y="9551"/>
                  </a:lnTo>
                  <a:lnTo>
                    <a:pt x="322" y="9695"/>
                  </a:lnTo>
                  <a:lnTo>
                    <a:pt x="393" y="9837"/>
                  </a:lnTo>
                  <a:lnTo>
                    <a:pt x="473" y="9973"/>
                  </a:lnTo>
                  <a:lnTo>
                    <a:pt x="557" y="10106"/>
                  </a:lnTo>
                  <a:lnTo>
                    <a:pt x="648" y="10233"/>
                  </a:lnTo>
                  <a:lnTo>
                    <a:pt x="745" y="10357"/>
                  </a:lnTo>
                  <a:lnTo>
                    <a:pt x="847" y="10475"/>
                  </a:lnTo>
                  <a:lnTo>
                    <a:pt x="955" y="10588"/>
                  </a:lnTo>
                  <a:lnTo>
                    <a:pt x="1069" y="10696"/>
                  </a:lnTo>
                  <a:lnTo>
                    <a:pt x="1187" y="10798"/>
                  </a:lnTo>
                  <a:lnTo>
                    <a:pt x="1310" y="10896"/>
                  </a:lnTo>
                  <a:lnTo>
                    <a:pt x="1438" y="10986"/>
                  </a:lnTo>
                  <a:lnTo>
                    <a:pt x="1571" y="11071"/>
                  </a:lnTo>
                  <a:lnTo>
                    <a:pt x="1707" y="11150"/>
                  </a:lnTo>
                  <a:lnTo>
                    <a:pt x="1848" y="11222"/>
                  </a:lnTo>
                  <a:lnTo>
                    <a:pt x="1992" y="11287"/>
                  </a:lnTo>
                  <a:lnTo>
                    <a:pt x="2141" y="11345"/>
                  </a:lnTo>
                  <a:lnTo>
                    <a:pt x="2292" y="11396"/>
                  </a:lnTo>
                  <a:lnTo>
                    <a:pt x="2447" y="11441"/>
                  </a:lnTo>
                  <a:lnTo>
                    <a:pt x="2604" y="11478"/>
                  </a:lnTo>
                  <a:lnTo>
                    <a:pt x="2765" y="11506"/>
                  </a:lnTo>
                  <a:lnTo>
                    <a:pt x="2929" y="11527"/>
                  </a:lnTo>
                  <a:lnTo>
                    <a:pt x="3094" y="11539"/>
                  </a:lnTo>
                  <a:lnTo>
                    <a:pt x="3262" y="11543"/>
                  </a:lnTo>
                  <a:lnTo>
                    <a:pt x="3262" y="11544"/>
                  </a:lnTo>
                  <a:lnTo>
                    <a:pt x="12294" y="11544"/>
                  </a:lnTo>
                  <a:lnTo>
                    <a:pt x="12294" y="11543"/>
                  </a:lnTo>
                  <a:lnTo>
                    <a:pt x="12488" y="11539"/>
                  </a:lnTo>
                  <a:lnTo>
                    <a:pt x="12680" y="11524"/>
                  </a:lnTo>
                  <a:lnTo>
                    <a:pt x="12867" y="11500"/>
                  </a:lnTo>
                  <a:lnTo>
                    <a:pt x="13053" y="11467"/>
                  </a:lnTo>
                  <a:lnTo>
                    <a:pt x="13236" y="11425"/>
                  </a:lnTo>
                  <a:lnTo>
                    <a:pt x="13414" y="11374"/>
                  </a:lnTo>
                  <a:lnTo>
                    <a:pt x="13589" y="11315"/>
                  </a:lnTo>
                  <a:lnTo>
                    <a:pt x="13760" y="11248"/>
                  </a:lnTo>
                  <a:lnTo>
                    <a:pt x="13926" y="11173"/>
                  </a:lnTo>
                  <a:lnTo>
                    <a:pt x="14089" y="11089"/>
                  </a:lnTo>
                  <a:lnTo>
                    <a:pt x="14246" y="10999"/>
                  </a:lnTo>
                  <a:lnTo>
                    <a:pt x="14399" y="10901"/>
                  </a:lnTo>
                  <a:lnTo>
                    <a:pt x="14547" y="10796"/>
                  </a:lnTo>
                  <a:lnTo>
                    <a:pt x="14689" y="10684"/>
                  </a:lnTo>
                  <a:lnTo>
                    <a:pt x="14826" y="10565"/>
                  </a:lnTo>
                  <a:lnTo>
                    <a:pt x="14956" y="10441"/>
                  </a:lnTo>
                  <a:lnTo>
                    <a:pt x="15080" y="10310"/>
                  </a:lnTo>
                  <a:lnTo>
                    <a:pt x="15199" y="10174"/>
                  </a:lnTo>
                  <a:lnTo>
                    <a:pt x="15310" y="10031"/>
                  </a:lnTo>
                  <a:lnTo>
                    <a:pt x="15416" y="9884"/>
                  </a:lnTo>
                  <a:lnTo>
                    <a:pt x="15513" y="9731"/>
                  </a:lnTo>
                  <a:lnTo>
                    <a:pt x="15604" y="9574"/>
                  </a:lnTo>
                  <a:lnTo>
                    <a:pt x="15687" y="9411"/>
                  </a:lnTo>
                  <a:lnTo>
                    <a:pt x="15762" y="9244"/>
                  </a:lnTo>
                  <a:lnTo>
                    <a:pt x="15830" y="9074"/>
                  </a:lnTo>
                  <a:lnTo>
                    <a:pt x="15888" y="8899"/>
                  </a:lnTo>
                  <a:lnTo>
                    <a:pt x="15940" y="8720"/>
                  </a:lnTo>
                  <a:lnTo>
                    <a:pt x="15982" y="8538"/>
                  </a:lnTo>
                  <a:lnTo>
                    <a:pt x="16015" y="8352"/>
                  </a:lnTo>
                  <a:lnTo>
                    <a:pt x="16039" y="8164"/>
                  </a:lnTo>
                  <a:lnTo>
                    <a:pt x="16053" y="7973"/>
                  </a:lnTo>
                  <a:lnTo>
                    <a:pt x="16058" y="7779"/>
                  </a:lnTo>
                  <a:lnTo>
                    <a:pt x="16054" y="7608"/>
                  </a:lnTo>
                  <a:lnTo>
                    <a:pt x="16043" y="7439"/>
                  </a:lnTo>
                  <a:lnTo>
                    <a:pt x="16024" y="7272"/>
                  </a:lnTo>
                  <a:lnTo>
                    <a:pt x="15998" y="7107"/>
                  </a:lnTo>
                  <a:lnTo>
                    <a:pt x="15965" y="6945"/>
                  </a:lnTo>
                  <a:lnTo>
                    <a:pt x="15926" y="6785"/>
                  </a:lnTo>
                  <a:lnTo>
                    <a:pt x="15878" y="6629"/>
                  </a:lnTo>
                  <a:lnTo>
                    <a:pt x="15825" y="6475"/>
                  </a:lnTo>
                  <a:lnTo>
                    <a:pt x="15766" y="6324"/>
                  </a:lnTo>
                  <a:lnTo>
                    <a:pt x="15700" y="6176"/>
                  </a:lnTo>
                  <a:lnTo>
                    <a:pt x="15628" y="6032"/>
                  </a:lnTo>
                  <a:lnTo>
                    <a:pt x="15550" y="5892"/>
                  </a:lnTo>
                  <a:lnTo>
                    <a:pt x="15467" y="5755"/>
                  </a:lnTo>
                  <a:lnTo>
                    <a:pt x="15378" y="5623"/>
                  </a:lnTo>
                  <a:lnTo>
                    <a:pt x="15283" y="5493"/>
                  </a:lnTo>
                  <a:lnTo>
                    <a:pt x="15183" y="5369"/>
                  </a:lnTo>
                  <a:lnTo>
                    <a:pt x="15078" y="5250"/>
                  </a:lnTo>
                  <a:lnTo>
                    <a:pt x="14968" y="5134"/>
                  </a:lnTo>
                  <a:lnTo>
                    <a:pt x="14854" y="5023"/>
                  </a:lnTo>
                  <a:lnTo>
                    <a:pt x="14734" y="4917"/>
                  </a:lnTo>
                  <a:lnTo>
                    <a:pt x="14611" y="4817"/>
                  </a:lnTo>
                  <a:lnTo>
                    <a:pt x="14483" y="4721"/>
                  </a:lnTo>
                  <a:lnTo>
                    <a:pt x="14351" y="4630"/>
                  </a:lnTo>
                  <a:lnTo>
                    <a:pt x="14215" y="4546"/>
                  </a:lnTo>
                  <a:lnTo>
                    <a:pt x="14075" y="4467"/>
                  </a:lnTo>
                  <a:lnTo>
                    <a:pt x="13931" y="4394"/>
                  </a:lnTo>
                  <a:lnTo>
                    <a:pt x="13785" y="4327"/>
                  </a:lnTo>
                  <a:lnTo>
                    <a:pt x="13634" y="4266"/>
                  </a:lnTo>
                  <a:lnTo>
                    <a:pt x="13482" y="4212"/>
                  </a:lnTo>
                  <a:lnTo>
                    <a:pt x="13325" y="4164"/>
                  </a:lnTo>
                  <a:lnTo>
                    <a:pt x="13166" y="4121"/>
                  </a:lnTo>
                  <a:lnTo>
                    <a:pt x="13004" y="408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42" name="îṡļiďè">
              <a:extLst>
                <a:ext uri="{FF2B5EF4-FFF2-40B4-BE49-F238E27FC236}">
                  <a16:creationId xmlns:a16="http://schemas.microsoft.com/office/drawing/2014/main" id="{A0797A3B-0F0B-4F92-953A-F4AFB8921475}"/>
                </a:ext>
              </a:extLst>
            </p:cNvPr>
            <p:cNvSpPr/>
            <p:nvPr/>
          </p:nvSpPr>
          <p:spPr bwMode="auto">
            <a:xfrm>
              <a:off x="1884528" y="39811"/>
              <a:ext cx="251320" cy="188780"/>
            </a:xfrm>
            <a:custGeom>
              <a:avLst/>
              <a:gdLst>
                <a:gd name="T0" fmla="*/ 3355 w 16058"/>
                <a:gd name="T1" fmla="*/ 1202 h 12062"/>
                <a:gd name="T2" fmla="*/ 12900 w 16058"/>
                <a:gd name="T3" fmla="*/ 3520 h 12062"/>
                <a:gd name="T4" fmla="*/ 6375 w 16058"/>
                <a:gd name="T5" fmla="*/ 9292 h 12062"/>
                <a:gd name="T6" fmla="*/ 7499 w 16058"/>
                <a:gd name="T7" fmla="*/ 10191 h 12062"/>
                <a:gd name="T8" fmla="*/ 3867 w 16058"/>
                <a:gd name="T9" fmla="*/ 3520 h 12062"/>
                <a:gd name="T10" fmla="*/ 4867 w 16058"/>
                <a:gd name="T11" fmla="*/ 1808 h 12062"/>
                <a:gd name="T12" fmla="*/ 10392 w 16058"/>
                <a:gd name="T13" fmla="*/ 1006 h 12062"/>
                <a:gd name="T14" fmla="*/ 11161 w 16058"/>
                <a:gd name="T15" fmla="*/ 2489 h 12062"/>
                <a:gd name="T16" fmla="*/ 8559 w 16058"/>
                <a:gd name="T17" fmla="*/ 10191 h 12062"/>
                <a:gd name="T18" fmla="*/ 9279 w 16058"/>
                <a:gd name="T19" fmla="*/ 4022 h 12062"/>
                <a:gd name="T20" fmla="*/ 6524 w 16058"/>
                <a:gd name="T21" fmla="*/ 3192 h 12062"/>
                <a:gd name="T22" fmla="*/ 8421 w 16058"/>
                <a:gd name="T23" fmla="*/ 2263 h 12062"/>
                <a:gd name="T24" fmla="*/ 15764 w 16058"/>
                <a:gd name="T25" fmla="*/ 2849 h 12062"/>
                <a:gd name="T26" fmla="*/ 13141 w 16058"/>
                <a:gd name="T27" fmla="*/ 228 h 12062"/>
                <a:gd name="T28" fmla="*/ 13041 w 16058"/>
                <a:gd name="T29" fmla="*/ 156 h 12062"/>
                <a:gd name="T30" fmla="*/ 12934 w 16058"/>
                <a:gd name="T31" fmla="*/ 97 h 12062"/>
                <a:gd name="T32" fmla="*/ 12820 w 16058"/>
                <a:gd name="T33" fmla="*/ 51 h 12062"/>
                <a:gd name="T34" fmla="*/ 12702 w 16058"/>
                <a:gd name="T35" fmla="*/ 19 h 12062"/>
                <a:gd name="T36" fmla="*/ 12579 w 16058"/>
                <a:gd name="T37" fmla="*/ 3 h 12062"/>
                <a:gd name="T38" fmla="*/ 3529 w 16058"/>
                <a:gd name="T39" fmla="*/ 0 h 12062"/>
                <a:gd name="T40" fmla="*/ 3405 w 16058"/>
                <a:gd name="T41" fmla="*/ 11 h 12062"/>
                <a:gd name="T42" fmla="*/ 3285 w 16058"/>
                <a:gd name="T43" fmla="*/ 36 h 12062"/>
                <a:gd name="T44" fmla="*/ 3169 w 16058"/>
                <a:gd name="T45" fmla="*/ 76 h 12062"/>
                <a:gd name="T46" fmla="*/ 3059 w 16058"/>
                <a:gd name="T47" fmla="*/ 131 h 12062"/>
                <a:gd name="T48" fmla="*/ 2957 w 16058"/>
                <a:gd name="T49" fmla="*/ 197 h 12062"/>
                <a:gd name="T50" fmla="*/ 2861 w 16058"/>
                <a:gd name="T51" fmla="*/ 278 h 12062"/>
                <a:gd name="T52" fmla="*/ 242 w 16058"/>
                <a:gd name="T53" fmla="*/ 2906 h 12062"/>
                <a:gd name="T54" fmla="*/ 166 w 16058"/>
                <a:gd name="T55" fmla="*/ 3008 h 12062"/>
                <a:gd name="T56" fmla="*/ 103 w 16058"/>
                <a:gd name="T57" fmla="*/ 3116 h 12062"/>
                <a:gd name="T58" fmla="*/ 56 w 16058"/>
                <a:gd name="T59" fmla="*/ 3231 h 12062"/>
                <a:gd name="T60" fmla="*/ 23 w 16058"/>
                <a:gd name="T61" fmla="*/ 3349 h 12062"/>
                <a:gd name="T62" fmla="*/ 5 w 16058"/>
                <a:gd name="T63" fmla="*/ 3469 h 12062"/>
                <a:gd name="T64" fmla="*/ 1 w 16058"/>
                <a:gd name="T65" fmla="*/ 3611 h 12062"/>
                <a:gd name="T66" fmla="*/ 37 w 16058"/>
                <a:gd name="T67" fmla="*/ 3830 h 12062"/>
                <a:gd name="T68" fmla="*/ 90 w 16058"/>
                <a:gd name="T69" fmla="*/ 3978 h 12062"/>
                <a:gd name="T70" fmla="*/ 144 w 16058"/>
                <a:gd name="T71" fmla="*/ 4079 h 12062"/>
                <a:gd name="T72" fmla="*/ 209 w 16058"/>
                <a:gd name="T73" fmla="*/ 4174 h 12062"/>
                <a:gd name="T74" fmla="*/ 7297 w 16058"/>
                <a:gd name="T75" fmla="*/ 11744 h 12062"/>
                <a:gd name="T76" fmla="*/ 7395 w 16058"/>
                <a:gd name="T77" fmla="*/ 11836 h 12062"/>
                <a:gd name="T78" fmla="*/ 7502 w 16058"/>
                <a:gd name="T79" fmla="*/ 11912 h 12062"/>
                <a:gd name="T80" fmla="*/ 7618 w 16058"/>
                <a:gd name="T81" fmla="*/ 11974 h 12062"/>
                <a:gd name="T82" fmla="*/ 7741 w 16058"/>
                <a:gd name="T83" fmla="*/ 12020 h 12062"/>
                <a:gd name="T84" fmla="*/ 7869 w 16058"/>
                <a:gd name="T85" fmla="*/ 12049 h 12062"/>
                <a:gd name="T86" fmla="*/ 8002 w 16058"/>
                <a:gd name="T87" fmla="*/ 12062 h 12062"/>
                <a:gd name="T88" fmla="*/ 8135 w 16058"/>
                <a:gd name="T89" fmla="*/ 12056 h 12062"/>
                <a:gd name="T90" fmla="*/ 8266 w 16058"/>
                <a:gd name="T91" fmla="*/ 12034 h 12062"/>
                <a:gd name="T92" fmla="*/ 8392 w 16058"/>
                <a:gd name="T93" fmla="*/ 11994 h 12062"/>
                <a:gd name="T94" fmla="*/ 8511 w 16058"/>
                <a:gd name="T95" fmla="*/ 11938 h 12062"/>
                <a:gd name="T96" fmla="*/ 8622 w 16058"/>
                <a:gd name="T97" fmla="*/ 11868 h 12062"/>
                <a:gd name="T98" fmla="*/ 8724 w 16058"/>
                <a:gd name="T99" fmla="*/ 11782 h 12062"/>
                <a:gd name="T100" fmla="*/ 15821 w 16058"/>
                <a:gd name="T101" fmla="*/ 4210 h 12062"/>
                <a:gd name="T102" fmla="*/ 15892 w 16058"/>
                <a:gd name="T103" fmla="*/ 4115 h 12062"/>
                <a:gd name="T104" fmla="*/ 15951 w 16058"/>
                <a:gd name="T105" fmla="*/ 4014 h 12062"/>
                <a:gd name="T106" fmla="*/ 15997 w 16058"/>
                <a:gd name="T107" fmla="*/ 3908 h 12062"/>
                <a:gd name="T108" fmla="*/ 16030 w 16058"/>
                <a:gd name="T109" fmla="*/ 3799 h 12062"/>
                <a:gd name="T110" fmla="*/ 16050 w 16058"/>
                <a:gd name="T111" fmla="*/ 3686 h 12062"/>
                <a:gd name="T112" fmla="*/ 16058 w 16058"/>
                <a:gd name="T113" fmla="*/ 3574 h 12062"/>
                <a:gd name="T114" fmla="*/ 16053 w 16058"/>
                <a:gd name="T115" fmla="*/ 3456 h 12062"/>
                <a:gd name="T116" fmla="*/ 16034 w 16058"/>
                <a:gd name="T117" fmla="*/ 3338 h 12062"/>
                <a:gd name="T118" fmla="*/ 16000 w 16058"/>
                <a:gd name="T119" fmla="*/ 3222 h 12062"/>
                <a:gd name="T120" fmla="*/ 15953 w 16058"/>
                <a:gd name="T121" fmla="*/ 3111 h 12062"/>
                <a:gd name="T122" fmla="*/ 15891 w 16058"/>
                <a:gd name="T123" fmla="*/ 3005 h 12062"/>
                <a:gd name="T124" fmla="*/ 15816 w 16058"/>
                <a:gd name="T125" fmla="*/ 2905 h 12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58" h="12062">
                  <a:moveTo>
                    <a:pt x="3355" y="1202"/>
                  </a:moveTo>
                  <a:lnTo>
                    <a:pt x="4509" y="2165"/>
                  </a:lnTo>
                  <a:lnTo>
                    <a:pt x="3157" y="3520"/>
                  </a:lnTo>
                  <a:lnTo>
                    <a:pt x="1007" y="3520"/>
                  </a:lnTo>
                  <a:lnTo>
                    <a:pt x="3355" y="1202"/>
                  </a:lnTo>
                  <a:close/>
                  <a:moveTo>
                    <a:pt x="12900" y="3520"/>
                  </a:moveTo>
                  <a:lnTo>
                    <a:pt x="11549" y="2165"/>
                  </a:lnTo>
                  <a:lnTo>
                    <a:pt x="12702" y="1203"/>
                  </a:lnTo>
                  <a:lnTo>
                    <a:pt x="15013" y="3520"/>
                  </a:lnTo>
                  <a:lnTo>
                    <a:pt x="12900" y="3520"/>
                  </a:lnTo>
                  <a:close/>
                  <a:moveTo>
                    <a:pt x="12837" y="4022"/>
                  </a:moveTo>
                  <a:lnTo>
                    <a:pt x="14621" y="4022"/>
                  </a:lnTo>
                  <a:lnTo>
                    <a:pt x="9682" y="9292"/>
                  </a:lnTo>
                  <a:lnTo>
                    <a:pt x="12837" y="4022"/>
                  </a:lnTo>
                  <a:close/>
                  <a:moveTo>
                    <a:pt x="6375" y="9292"/>
                  </a:moveTo>
                  <a:lnTo>
                    <a:pt x="1438" y="4022"/>
                  </a:lnTo>
                  <a:lnTo>
                    <a:pt x="3221" y="4022"/>
                  </a:lnTo>
                  <a:lnTo>
                    <a:pt x="6375" y="9292"/>
                  </a:lnTo>
                  <a:close/>
                  <a:moveTo>
                    <a:pt x="6268" y="4022"/>
                  </a:moveTo>
                  <a:lnTo>
                    <a:pt x="7499" y="10191"/>
                  </a:lnTo>
                  <a:lnTo>
                    <a:pt x="3806" y="4022"/>
                  </a:lnTo>
                  <a:lnTo>
                    <a:pt x="6268" y="4022"/>
                  </a:lnTo>
                  <a:close/>
                  <a:moveTo>
                    <a:pt x="4897" y="2489"/>
                  </a:moveTo>
                  <a:lnTo>
                    <a:pt x="6132" y="3520"/>
                  </a:lnTo>
                  <a:lnTo>
                    <a:pt x="3867" y="3520"/>
                  </a:lnTo>
                  <a:lnTo>
                    <a:pt x="4897" y="2489"/>
                  </a:lnTo>
                  <a:close/>
                  <a:moveTo>
                    <a:pt x="4867" y="1808"/>
                  </a:moveTo>
                  <a:lnTo>
                    <a:pt x="3905" y="1006"/>
                  </a:lnTo>
                  <a:lnTo>
                    <a:pt x="5666" y="1006"/>
                  </a:lnTo>
                  <a:lnTo>
                    <a:pt x="4867" y="1808"/>
                  </a:lnTo>
                  <a:close/>
                  <a:moveTo>
                    <a:pt x="8029" y="1936"/>
                  </a:moveTo>
                  <a:lnTo>
                    <a:pt x="6915" y="1006"/>
                  </a:lnTo>
                  <a:lnTo>
                    <a:pt x="9143" y="1006"/>
                  </a:lnTo>
                  <a:lnTo>
                    <a:pt x="8029" y="1936"/>
                  </a:lnTo>
                  <a:close/>
                  <a:moveTo>
                    <a:pt x="10392" y="1006"/>
                  </a:moveTo>
                  <a:lnTo>
                    <a:pt x="12154" y="1006"/>
                  </a:lnTo>
                  <a:lnTo>
                    <a:pt x="11192" y="1808"/>
                  </a:lnTo>
                  <a:lnTo>
                    <a:pt x="10392" y="1006"/>
                  </a:lnTo>
                  <a:close/>
                  <a:moveTo>
                    <a:pt x="9926" y="3520"/>
                  </a:moveTo>
                  <a:lnTo>
                    <a:pt x="11161" y="2489"/>
                  </a:lnTo>
                  <a:lnTo>
                    <a:pt x="12190" y="3520"/>
                  </a:lnTo>
                  <a:lnTo>
                    <a:pt x="9926" y="3520"/>
                  </a:lnTo>
                  <a:close/>
                  <a:moveTo>
                    <a:pt x="9790" y="4022"/>
                  </a:moveTo>
                  <a:lnTo>
                    <a:pt x="12252" y="4022"/>
                  </a:lnTo>
                  <a:lnTo>
                    <a:pt x="8559" y="10191"/>
                  </a:lnTo>
                  <a:lnTo>
                    <a:pt x="9790" y="4022"/>
                  </a:lnTo>
                  <a:close/>
                  <a:moveTo>
                    <a:pt x="9279" y="4022"/>
                  </a:moveTo>
                  <a:lnTo>
                    <a:pt x="8029" y="10283"/>
                  </a:lnTo>
                  <a:lnTo>
                    <a:pt x="6779" y="4022"/>
                  </a:lnTo>
                  <a:lnTo>
                    <a:pt x="9279" y="4022"/>
                  </a:lnTo>
                  <a:close/>
                  <a:moveTo>
                    <a:pt x="6524" y="3192"/>
                  </a:moveTo>
                  <a:lnTo>
                    <a:pt x="5253" y="2132"/>
                  </a:lnTo>
                  <a:lnTo>
                    <a:pt x="6266" y="1117"/>
                  </a:lnTo>
                  <a:lnTo>
                    <a:pt x="7637" y="2263"/>
                  </a:lnTo>
                  <a:lnTo>
                    <a:pt x="6524" y="3192"/>
                  </a:lnTo>
                  <a:close/>
                  <a:moveTo>
                    <a:pt x="8421" y="2263"/>
                  </a:moveTo>
                  <a:lnTo>
                    <a:pt x="9792" y="1117"/>
                  </a:lnTo>
                  <a:lnTo>
                    <a:pt x="10806" y="2132"/>
                  </a:lnTo>
                  <a:lnTo>
                    <a:pt x="9534" y="3192"/>
                  </a:lnTo>
                  <a:lnTo>
                    <a:pt x="8421" y="2263"/>
                  </a:lnTo>
                  <a:close/>
                  <a:moveTo>
                    <a:pt x="9143" y="3520"/>
                  </a:moveTo>
                  <a:lnTo>
                    <a:pt x="6915" y="3520"/>
                  </a:lnTo>
                  <a:lnTo>
                    <a:pt x="8029" y="2589"/>
                  </a:lnTo>
                  <a:lnTo>
                    <a:pt x="9143" y="3520"/>
                  </a:lnTo>
                  <a:close/>
                  <a:moveTo>
                    <a:pt x="15764" y="2849"/>
                  </a:moveTo>
                  <a:lnTo>
                    <a:pt x="13215" y="295"/>
                  </a:lnTo>
                  <a:lnTo>
                    <a:pt x="13197" y="278"/>
                  </a:lnTo>
                  <a:lnTo>
                    <a:pt x="13179" y="260"/>
                  </a:lnTo>
                  <a:lnTo>
                    <a:pt x="13160" y="243"/>
                  </a:lnTo>
                  <a:lnTo>
                    <a:pt x="13141" y="228"/>
                  </a:lnTo>
                  <a:lnTo>
                    <a:pt x="13121" y="212"/>
                  </a:lnTo>
                  <a:lnTo>
                    <a:pt x="13102" y="197"/>
                  </a:lnTo>
                  <a:lnTo>
                    <a:pt x="13082" y="183"/>
                  </a:lnTo>
                  <a:lnTo>
                    <a:pt x="13062" y="169"/>
                  </a:lnTo>
                  <a:lnTo>
                    <a:pt x="13041" y="156"/>
                  </a:lnTo>
                  <a:lnTo>
                    <a:pt x="13020" y="143"/>
                  </a:lnTo>
                  <a:lnTo>
                    <a:pt x="12999" y="131"/>
                  </a:lnTo>
                  <a:lnTo>
                    <a:pt x="12978" y="119"/>
                  </a:lnTo>
                  <a:lnTo>
                    <a:pt x="12956" y="108"/>
                  </a:lnTo>
                  <a:lnTo>
                    <a:pt x="12934" y="97"/>
                  </a:lnTo>
                  <a:lnTo>
                    <a:pt x="12912" y="86"/>
                  </a:lnTo>
                  <a:lnTo>
                    <a:pt x="12890" y="76"/>
                  </a:lnTo>
                  <a:lnTo>
                    <a:pt x="12866" y="67"/>
                  </a:lnTo>
                  <a:lnTo>
                    <a:pt x="12843" y="59"/>
                  </a:lnTo>
                  <a:lnTo>
                    <a:pt x="12820" y="51"/>
                  </a:lnTo>
                  <a:lnTo>
                    <a:pt x="12797" y="43"/>
                  </a:lnTo>
                  <a:lnTo>
                    <a:pt x="12773" y="36"/>
                  </a:lnTo>
                  <a:lnTo>
                    <a:pt x="12750" y="30"/>
                  </a:lnTo>
                  <a:lnTo>
                    <a:pt x="12726" y="25"/>
                  </a:lnTo>
                  <a:lnTo>
                    <a:pt x="12702" y="19"/>
                  </a:lnTo>
                  <a:lnTo>
                    <a:pt x="12678" y="15"/>
                  </a:lnTo>
                  <a:lnTo>
                    <a:pt x="12654" y="11"/>
                  </a:lnTo>
                  <a:lnTo>
                    <a:pt x="12629" y="8"/>
                  </a:lnTo>
                  <a:lnTo>
                    <a:pt x="12605" y="5"/>
                  </a:lnTo>
                  <a:lnTo>
                    <a:pt x="12579" y="3"/>
                  </a:lnTo>
                  <a:lnTo>
                    <a:pt x="12555" y="1"/>
                  </a:lnTo>
                  <a:lnTo>
                    <a:pt x="12530" y="0"/>
                  </a:lnTo>
                  <a:lnTo>
                    <a:pt x="12505" y="0"/>
                  </a:lnTo>
                  <a:lnTo>
                    <a:pt x="3554" y="0"/>
                  </a:lnTo>
                  <a:lnTo>
                    <a:pt x="3529" y="0"/>
                  </a:lnTo>
                  <a:lnTo>
                    <a:pt x="3504" y="1"/>
                  </a:lnTo>
                  <a:lnTo>
                    <a:pt x="3480" y="3"/>
                  </a:lnTo>
                  <a:lnTo>
                    <a:pt x="3454" y="5"/>
                  </a:lnTo>
                  <a:lnTo>
                    <a:pt x="3430" y="8"/>
                  </a:lnTo>
                  <a:lnTo>
                    <a:pt x="3405" y="11"/>
                  </a:lnTo>
                  <a:lnTo>
                    <a:pt x="3381" y="15"/>
                  </a:lnTo>
                  <a:lnTo>
                    <a:pt x="3357" y="19"/>
                  </a:lnTo>
                  <a:lnTo>
                    <a:pt x="3333" y="25"/>
                  </a:lnTo>
                  <a:lnTo>
                    <a:pt x="3309" y="30"/>
                  </a:lnTo>
                  <a:lnTo>
                    <a:pt x="3285" y="36"/>
                  </a:lnTo>
                  <a:lnTo>
                    <a:pt x="3262" y="43"/>
                  </a:lnTo>
                  <a:lnTo>
                    <a:pt x="3239" y="51"/>
                  </a:lnTo>
                  <a:lnTo>
                    <a:pt x="3216" y="59"/>
                  </a:lnTo>
                  <a:lnTo>
                    <a:pt x="3193" y="67"/>
                  </a:lnTo>
                  <a:lnTo>
                    <a:pt x="3169" y="76"/>
                  </a:lnTo>
                  <a:lnTo>
                    <a:pt x="3147" y="86"/>
                  </a:lnTo>
                  <a:lnTo>
                    <a:pt x="3124" y="97"/>
                  </a:lnTo>
                  <a:lnTo>
                    <a:pt x="3103" y="108"/>
                  </a:lnTo>
                  <a:lnTo>
                    <a:pt x="3081" y="119"/>
                  </a:lnTo>
                  <a:lnTo>
                    <a:pt x="3059" y="131"/>
                  </a:lnTo>
                  <a:lnTo>
                    <a:pt x="3038" y="143"/>
                  </a:lnTo>
                  <a:lnTo>
                    <a:pt x="3017" y="156"/>
                  </a:lnTo>
                  <a:lnTo>
                    <a:pt x="2997" y="169"/>
                  </a:lnTo>
                  <a:lnTo>
                    <a:pt x="2977" y="183"/>
                  </a:lnTo>
                  <a:lnTo>
                    <a:pt x="2957" y="197"/>
                  </a:lnTo>
                  <a:lnTo>
                    <a:pt x="2937" y="212"/>
                  </a:lnTo>
                  <a:lnTo>
                    <a:pt x="2918" y="228"/>
                  </a:lnTo>
                  <a:lnTo>
                    <a:pt x="2898" y="243"/>
                  </a:lnTo>
                  <a:lnTo>
                    <a:pt x="2880" y="260"/>
                  </a:lnTo>
                  <a:lnTo>
                    <a:pt x="2861" y="278"/>
                  </a:lnTo>
                  <a:lnTo>
                    <a:pt x="2844" y="295"/>
                  </a:lnTo>
                  <a:lnTo>
                    <a:pt x="295" y="2849"/>
                  </a:lnTo>
                  <a:lnTo>
                    <a:pt x="277" y="2868"/>
                  </a:lnTo>
                  <a:lnTo>
                    <a:pt x="259" y="2887"/>
                  </a:lnTo>
                  <a:lnTo>
                    <a:pt x="242" y="2906"/>
                  </a:lnTo>
                  <a:lnTo>
                    <a:pt x="226" y="2926"/>
                  </a:lnTo>
                  <a:lnTo>
                    <a:pt x="210" y="2946"/>
                  </a:lnTo>
                  <a:lnTo>
                    <a:pt x="195" y="2966"/>
                  </a:lnTo>
                  <a:lnTo>
                    <a:pt x="180" y="2987"/>
                  </a:lnTo>
                  <a:lnTo>
                    <a:pt x="166" y="3008"/>
                  </a:lnTo>
                  <a:lnTo>
                    <a:pt x="152" y="3029"/>
                  </a:lnTo>
                  <a:lnTo>
                    <a:pt x="140" y="3051"/>
                  </a:lnTo>
                  <a:lnTo>
                    <a:pt x="126" y="3072"/>
                  </a:lnTo>
                  <a:lnTo>
                    <a:pt x="114" y="3094"/>
                  </a:lnTo>
                  <a:lnTo>
                    <a:pt x="103" y="3116"/>
                  </a:lnTo>
                  <a:lnTo>
                    <a:pt x="93" y="3139"/>
                  </a:lnTo>
                  <a:lnTo>
                    <a:pt x="83" y="3162"/>
                  </a:lnTo>
                  <a:lnTo>
                    <a:pt x="73" y="3185"/>
                  </a:lnTo>
                  <a:lnTo>
                    <a:pt x="64" y="3208"/>
                  </a:lnTo>
                  <a:lnTo>
                    <a:pt x="56" y="3231"/>
                  </a:lnTo>
                  <a:lnTo>
                    <a:pt x="48" y="3254"/>
                  </a:lnTo>
                  <a:lnTo>
                    <a:pt x="41" y="3277"/>
                  </a:lnTo>
                  <a:lnTo>
                    <a:pt x="34" y="3301"/>
                  </a:lnTo>
                  <a:lnTo>
                    <a:pt x="28" y="3324"/>
                  </a:lnTo>
                  <a:lnTo>
                    <a:pt x="23" y="3349"/>
                  </a:lnTo>
                  <a:lnTo>
                    <a:pt x="18" y="3373"/>
                  </a:lnTo>
                  <a:lnTo>
                    <a:pt x="14" y="3397"/>
                  </a:lnTo>
                  <a:lnTo>
                    <a:pt x="10" y="3421"/>
                  </a:lnTo>
                  <a:lnTo>
                    <a:pt x="7" y="3445"/>
                  </a:lnTo>
                  <a:lnTo>
                    <a:pt x="5" y="3469"/>
                  </a:lnTo>
                  <a:lnTo>
                    <a:pt x="3" y="3493"/>
                  </a:lnTo>
                  <a:lnTo>
                    <a:pt x="1" y="3518"/>
                  </a:lnTo>
                  <a:lnTo>
                    <a:pt x="0" y="3543"/>
                  </a:lnTo>
                  <a:lnTo>
                    <a:pt x="0" y="3567"/>
                  </a:lnTo>
                  <a:lnTo>
                    <a:pt x="1" y="3611"/>
                  </a:lnTo>
                  <a:lnTo>
                    <a:pt x="5" y="3655"/>
                  </a:lnTo>
                  <a:lnTo>
                    <a:pt x="10" y="3700"/>
                  </a:lnTo>
                  <a:lnTo>
                    <a:pt x="17" y="3743"/>
                  </a:lnTo>
                  <a:lnTo>
                    <a:pt x="26" y="3787"/>
                  </a:lnTo>
                  <a:lnTo>
                    <a:pt x="37" y="3830"/>
                  </a:lnTo>
                  <a:lnTo>
                    <a:pt x="49" y="3874"/>
                  </a:lnTo>
                  <a:lnTo>
                    <a:pt x="64" y="3916"/>
                  </a:lnTo>
                  <a:lnTo>
                    <a:pt x="72" y="3936"/>
                  </a:lnTo>
                  <a:lnTo>
                    <a:pt x="81" y="3957"/>
                  </a:lnTo>
                  <a:lnTo>
                    <a:pt x="90" y="3978"/>
                  </a:lnTo>
                  <a:lnTo>
                    <a:pt x="100" y="3998"/>
                  </a:lnTo>
                  <a:lnTo>
                    <a:pt x="110" y="4018"/>
                  </a:lnTo>
                  <a:lnTo>
                    <a:pt x="120" y="4039"/>
                  </a:lnTo>
                  <a:lnTo>
                    <a:pt x="132" y="4059"/>
                  </a:lnTo>
                  <a:lnTo>
                    <a:pt x="144" y="4079"/>
                  </a:lnTo>
                  <a:lnTo>
                    <a:pt x="156" y="4099"/>
                  </a:lnTo>
                  <a:lnTo>
                    <a:pt x="169" y="4118"/>
                  </a:lnTo>
                  <a:lnTo>
                    <a:pt x="182" y="4137"/>
                  </a:lnTo>
                  <a:lnTo>
                    <a:pt x="195" y="4156"/>
                  </a:lnTo>
                  <a:lnTo>
                    <a:pt x="209" y="4174"/>
                  </a:lnTo>
                  <a:lnTo>
                    <a:pt x="224" y="4193"/>
                  </a:lnTo>
                  <a:lnTo>
                    <a:pt x="239" y="4211"/>
                  </a:lnTo>
                  <a:lnTo>
                    <a:pt x="254" y="4228"/>
                  </a:lnTo>
                  <a:lnTo>
                    <a:pt x="7278" y="11724"/>
                  </a:lnTo>
                  <a:lnTo>
                    <a:pt x="7297" y="11744"/>
                  </a:lnTo>
                  <a:lnTo>
                    <a:pt x="7315" y="11763"/>
                  </a:lnTo>
                  <a:lnTo>
                    <a:pt x="7334" y="11782"/>
                  </a:lnTo>
                  <a:lnTo>
                    <a:pt x="7354" y="11801"/>
                  </a:lnTo>
                  <a:lnTo>
                    <a:pt x="7374" y="11819"/>
                  </a:lnTo>
                  <a:lnTo>
                    <a:pt x="7395" y="11836"/>
                  </a:lnTo>
                  <a:lnTo>
                    <a:pt x="7415" y="11852"/>
                  </a:lnTo>
                  <a:lnTo>
                    <a:pt x="7436" y="11868"/>
                  </a:lnTo>
                  <a:lnTo>
                    <a:pt x="7458" y="11883"/>
                  </a:lnTo>
                  <a:lnTo>
                    <a:pt x="7480" y="11898"/>
                  </a:lnTo>
                  <a:lnTo>
                    <a:pt x="7502" y="11912"/>
                  </a:lnTo>
                  <a:lnTo>
                    <a:pt x="7524" y="11925"/>
                  </a:lnTo>
                  <a:lnTo>
                    <a:pt x="7547" y="11938"/>
                  </a:lnTo>
                  <a:lnTo>
                    <a:pt x="7570" y="11950"/>
                  </a:lnTo>
                  <a:lnTo>
                    <a:pt x="7594" y="11962"/>
                  </a:lnTo>
                  <a:lnTo>
                    <a:pt x="7618" y="11974"/>
                  </a:lnTo>
                  <a:lnTo>
                    <a:pt x="7642" y="11985"/>
                  </a:lnTo>
                  <a:lnTo>
                    <a:pt x="7667" y="11994"/>
                  </a:lnTo>
                  <a:lnTo>
                    <a:pt x="7691" y="12004"/>
                  </a:lnTo>
                  <a:lnTo>
                    <a:pt x="7716" y="12012"/>
                  </a:lnTo>
                  <a:lnTo>
                    <a:pt x="7741" y="12020"/>
                  </a:lnTo>
                  <a:lnTo>
                    <a:pt x="7766" y="12027"/>
                  </a:lnTo>
                  <a:lnTo>
                    <a:pt x="7792" y="12034"/>
                  </a:lnTo>
                  <a:lnTo>
                    <a:pt x="7817" y="12040"/>
                  </a:lnTo>
                  <a:lnTo>
                    <a:pt x="7843" y="12045"/>
                  </a:lnTo>
                  <a:lnTo>
                    <a:pt x="7869" y="12049"/>
                  </a:lnTo>
                  <a:lnTo>
                    <a:pt x="7896" y="12053"/>
                  </a:lnTo>
                  <a:lnTo>
                    <a:pt x="7923" y="12056"/>
                  </a:lnTo>
                  <a:lnTo>
                    <a:pt x="7949" y="12059"/>
                  </a:lnTo>
                  <a:lnTo>
                    <a:pt x="7976" y="12061"/>
                  </a:lnTo>
                  <a:lnTo>
                    <a:pt x="8002" y="12062"/>
                  </a:lnTo>
                  <a:lnTo>
                    <a:pt x="8029" y="12062"/>
                  </a:lnTo>
                  <a:lnTo>
                    <a:pt x="8056" y="12062"/>
                  </a:lnTo>
                  <a:lnTo>
                    <a:pt x="8082" y="12061"/>
                  </a:lnTo>
                  <a:lnTo>
                    <a:pt x="8109" y="12059"/>
                  </a:lnTo>
                  <a:lnTo>
                    <a:pt x="8135" y="12056"/>
                  </a:lnTo>
                  <a:lnTo>
                    <a:pt x="8162" y="12053"/>
                  </a:lnTo>
                  <a:lnTo>
                    <a:pt x="8189" y="12049"/>
                  </a:lnTo>
                  <a:lnTo>
                    <a:pt x="8215" y="12045"/>
                  </a:lnTo>
                  <a:lnTo>
                    <a:pt x="8241" y="12040"/>
                  </a:lnTo>
                  <a:lnTo>
                    <a:pt x="8266" y="12034"/>
                  </a:lnTo>
                  <a:lnTo>
                    <a:pt x="8292" y="12027"/>
                  </a:lnTo>
                  <a:lnTo>
                    <a:pt x="8317" y="12020"/>
                  </a:lnTo>
                  <a:lnTo>
                    <a:pt x="8342" y="12012"/>
                  </a:lnTo>
                  <a:lnTo>
                    <a:pt x="8367" y="12004"/>
                  </a:lnTo>
                  <a:lnTo>
                    <a:pt x="8392" y="11994"/>
                  </a:lnTo>
                  <a:lnTo>
                    <a:pt x="8416" y="11985"/>
                  </a:lnTo>
                  <a:lnTo>
                    <a:pt x="8440" y="11974"/>
                  </a:lnTo>
                  <a:lnTo>
                    <a:pt x="8465" y="11962"/>
                  </a:lnTo>
                  <a:lnTo>
                    <a:pt x="8488" y="11950"/>
                  </a:lnTo>
                  <a:lnTo>
                    <a:pt x="8511" y="11938"/>
                  </a:lnTo>
                  <a:lnTo>
                    <a:pt x="8534" y="11925"/>
                  </a:lnTo>
                  <a:lnTo>
                    <a:pt x="8557" y="11912"/>
                  </a:lnTo>
                  <a:lnTo>
                    <a:pt x="8579" y="11898"/>
                  </a:lnTo>
                  <a:lnTo>
                    <a:pt x="8601" y="11883"/>
                  </a:lnTo>
                  <a:lnTo>
                    <a:pt x="8622" y="11868"/>
                  </a:lnTo>
                  <a:lnTo>
                    <a:pt x="8643" y="11852"/>
                  </a:lnTo>
                  <a:lnTo>
                    <a:pt x="8664" y="11836"/>
                  </a:lnTo>
                  <a:lnTo>
                    <a:pt x="8684" y="11819"/>
                  </a:lnTo>
                  <a:lnTo>
                    <a:pt x="8704" y="11801"/>
                  </a:lnTo>
                  <a:lnTo>
                    <a:pt x="8724" y="11782"/>
                  </a:lnTo>
                  <a:lnTo>
                    <a:pt x="8743" y="11763"/>
                  </a:lnTo>
                  <a:lnTo>
                    <a:pt x="8762" y="11744"/>
                  </a:lnTo>
                  <a:lnTo>
                    <a:pt x="8780" y="11724"/>
                  </a:lnTo>
                  <a:lnTo>
                    <a:pt x="15805" y="4228"/>
                  </a:lnTo>
                  <a:lnTo>
                    <a:pt x="15821" y="4210"/>
                  </a:lnTo>
                  <a:lnTo>
                    <a:pt x="15836" y="4192"/>
                  </a:lnTo>
                  <a:lnTo>
                    <a:pt x="15851" y="4173"/>
                  </a:lnTo>
                  <a:lnTo>
                    <a:pt x="15865" y="4154"/>
                  </a:lnTo>
                  <a:lnTo>
                    <a:pt x="15878" y="4135"/>
                  </a:lnTo>
                  <a:lnTo>
                    <a:pt x="15892" y="4115"/>
                  </a:lnTo>
                  <a:lnTo>
                    <a:pt x="15904" y="4096"/>
                  </a:lnTo>
                  <a:lnTo>
                    <a:pt x="15917" y="4076"/>
                  </a:lnTo>
                  <a:lnTo>
                    <a:pt x="15929" y="4056"/>
                  </a:lnTo>
                  <a:lnTo>
                    <a:pt x="15940" y="4034"/>
                  </a:lnTo>
                  <a:lnTo>
                    <a:pt x="15951" y="4014"/>
                  </a:lnTo>
                  <a:lnTo>
                    <a:pt x="15961" y="3993"/>
                  </a:lnTo>
                  <a:lnTo>
                    <a:pt x="15971" y="3972"/>
                  </a:lnTo>
                  <a:lnTo>
                    <a:pt x="15980" y="3951"/>
                  </a:lnTo>
                  <a:lnTo>
                    <a:pt x="15989" y="3930"/>
                  </a:lnTo>
                  <a:lnTo>
                    <a:pt x="15997" y="3908"/>
                  </a:lnTo>
                  <a:lnTo>
                    <a:pt x="16004" y="3887"/>
                  </a:lnTo>
                  <a:lnTo>
                    <a:pt x="16011" y="3864"/>
                  </a:lnTo>
                  <a:lnTo>
                    <a:pt x="16018" y="3842"/>
                  </a:lnTo>
                  <a:lnTo>
                    <a:pt x="16024" y="3820"/>
                  </a:lnTo>
                  <a:lnTo>
                    <a:pt x="16030" y="3799"/>
                  </a:lnTo>
                  <a:lnTo>
                    <a:pt x="16035" y="3776"/>
                  </a:lnTo>
                  <a:lnTo>
                    <a:pt x="16039" y="3754"/>
                  </a:lnTo>
                  <a:lnTo>
                    <a:pt x="16044" y="3732"/>
                  </a:lnTo>
                  <a:lnTo>
                    <a:pt x="16047" y="3710"/>
                  </a:lnTo>
                  <a:lnTo>
                    <a:pt x="16050" y="3686"/>
                  </a:lnTo>
                  <a:lnTo>
                    <a:pt x="16053" y="3664"/>
                  </a:lnTo>
                  <a:lnTo>
                    <a:pt x="16055" y="3642"/>
                  </a:lnTo>
                  <a:lnTo>
                    <a:pt x="16056" y="3619"/>
                  </a:lnTo>
                  <a:lnTo>
                    <a:pt x="16057" y="3597"/>
                  </a:lnTo>
                  <a:lnTo>
                    <a:pt x="16058" y="3574"/>
                  </a:lnTo>
                  <a:lnTo>
                    <a:pt x="16058" y="3552"/>
                  </a:lnTo>
                  <a:lnTo>
                    <a:pt x="16057" y="3528"/>
                  </a:lnTo>
                  <a:lnTo>
                    <a:pt x="16056" y="3503"/>
                  </a:lnTo>
                  <a:lnTo>
                    <a:pt x="16055" y="3479"/>
                  </a:lnTo>
                  <a:lnTo>
                    <a:pt x="16053" y="3456"/>
                  </a:lnTo>
                  <a:lnTo>
                    <a:pt x="16050" y="3432"/>
                  </a:lnTo>
                  <a:lnTo>
                    <a:pt x="16047" y="3408"/>
                  </a:lnTo>
                  <a:lnTo>
                    <a:pt x="16043" y="3385"/>
                  </a:lnTo>
                  <a:lnTo>
                    <a:pt x="16039" y="3362"/>
                  </a:lnTo>
                  <a:lnTo>
                    <a:pt x="16034" y="3338"/>
                  </a:lnTo>
                  <a:lnTo>
                    <a:pt x="16028" y="3314"/>
                  </a:lnTo>
                  <a:lnTo>
                    <a:pt x="16022" y="3291"/>
                  </a:lnTo>
                  <a:lnTo>
                    <a:pt x="16015" y="3268"/>
                  </a:lnTo>
                  <a:lnTo>
                    <a:pt x="16008" y="3245"/>
                  </a:lnTo>
                  <a:lnTo>
                    <a:pt x="16000" y="3222"/>
                  </a:lnTo>
                  <a:lnTo>
                    <a:pt x="15992" y="3200"/>
                  </a:lnTo>
                  <a:lnTo>
                    <a:pt x="15983" y="3178"/>
                  </a:lnTo>
                  <a:lnTo>
                    <a:pt x="15974" y="3155"/>
                  </a:lnTo>
                  <a:lnTo>
                    <a:pt x="15964" y="3132"/>
                  </a:lnTo>
                  <a:lnTo>
                    <a:pt x="15953" y="3111"/>
                  </a:lnTo>
                  <a:lnTo>
                    <a:pt x="15942" y="3089"/>
                  </a:lnTo>
                  <a:lnTo>
                    <a:pt x="15930" y="3068"/>
                  </a:lnTo>
                  <a:lnTo>
                    <a:pt x="15917" y="3047"/>
                  </a:lnTo>
                  <a:lnTo>
                    <a:pt x="15904" y="3026"/>
                  </a:lnTo>
                  <a:lnTo>
                    <a:pt x="15891" y="3005"/>
                  </a:lnTo>
                  <a:lnTo>
                    <a:pt x="15877" y="2985"/>
                  </a:lnTo>
                  <a:lnTo>
                    <a:pt x="15863" y="2964"/>
                  </a:lnTo>
                  <a:lnTo>
                    <a:pt x="15848" y="2944"/>
                  </a:lnTo>
                  <a:lnTo>
                    <a:pt x="15832" y="2924"/>
                  </a:lnTo>
                  <a:lnTo>
                    <a:pt x="15816" y="2905"/>
                  </a:lnTo>
                  <a:lnTo>
                    <a:pt x="15799" y="2886"/>
                  </a:lnTo>
                  <a:lnTo>
                    <a:pt x="15782" y="2868"/>
                  </a:lnTo>
                  <a:lnTo>
                    <a:pt x="15764" y="284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43" name="íśliḋê">
              <a:extLst>
                <a:ext uri="{FF2B5EF4-FFF2-40B4-BE49-F238E27FC236}">
                  <a16:creationId xmlns:a16="http://schemas.microsoft.com/office/drawing/2014/main" id="{6F480E80-C2CF-463F-BE28-3482DF5A1592}"/>
                </a:ext>
              </a:extLst>
            </p:cNvPr>
            <p:cNvSpPr/>
            <p:nvPr/>
          </p:nvSpPr>
          <p:spPr bwMode="auto">
            <a:xfrm>
              <a:off x="1692438" y="703594"/>
              <a:ext cx="516942" cy="387410"/>
            </a:xfrm>
            <a:custGeom>
              <a:avLst/>
              <a:gdLst>
                <a:gd name="T0" fmla="*/ 12346 w 16095"/>
                <a:gd name="T1" fmla="*/ 10690 h 12062"/>
                <a:gd name="T2" fmla="*/ 12211 w 16095"/>
                <a:gd name="T3" fmla="*/ 10826 h 12062"/>
                <a:gd name="T4" fmla="*/ 12056 w 16095"/>
                <a:gd name="T5" fmla="*/ 10931 h 12062"/>
                <a:gd name="T6" fmla="*/ 11883 w 16095"/>
                <a:gd name="T7" fmla="*/ 11007 h 12062"/>
                <a:gd name="T8" fmla="*/ 11697 w 16095"/>
                <a:gd name="T9" fmla="*/ 11049 h 12062"/>
                <a:gd name="T10" fmla="*/ 1961 w 16095"/>
                <a:gd name="T11" fmla="*/ 11056 h 12062"/>
                <a:gd name="T12" fmla="*/ 1666 w 16095"/>
                <a:gd name="T13" fmla="*/ 10996 h 12062"/>
                <a:gd name="T14" fmla="*/ 1410 w 16095"/>
                <a:gd name="T15" fmla="*/ 10857 h 12062"/>
                <a:gd name="T16" fmla="*/ 1206 w 16095"/>
                <a:gd name="T17" fmla="*/ 10653 h 12062"/>
                <a:gd name="T18" fmla="*/ 1067 w 16095"/>
                <a:gd name="T19" fmla="*/ 10396 h 12062"/>
                <a:gd name="T20" fmla="*/ 1007 w 16095"/>
                <a:gd name="T21" fmla="*/ 10103 h 12062"/>
                <a:gd name="T22" fmla="*/ 1026 w 16095"/>
                <a:gd name="T23" fmla="*/ 1808 h 12062"/>
                <a:gd name="T24" fmla="*/ 1128 w 16095"/>
                <a:gd name="T25" fmla="*/ 1532 h 12062"/>
                <a:gd name="T26" fmla="*/ 1301 w 16095"/>
                <a:gd name="T27" fmla="*/ 1300 h 12062"/>
                <a:gd name="T28" fmla="*/ 1533 w 16095"/>
                <a:gd name="T29" fmla="*/ 1127 h 12062"/>
                <a:gd name="T30" fmla="*/ 1810 w 16095"/>
                <a:gd name="T31" fmla="*/ 1025 h 12062"/>
                <a:gd name="T32" fmla="*/ 11600 w 16095"/>
                <a:gd name="T33" fmla="*/ 1006 h 12062"/>
                <a:gd name="T34" fmla="*/ 11792 w 16095"/>
                <a:gd name="T35" fmla="*/ 1030 h 12062"/>
                <a:gd name="T36" fmla="*/ 11972 w 16095"/>
                <a:gd name="T37" fmla="*/ 1089 h 12062"/>
                <a:gd name="T38" fmla="*/ 12137 w 16095"/>
                <a:gd name="T39" fmla="*/ 1180 h 12062"/>
                <a:gd name="T40" fmla="*/ 12281 w 16095"/>
                <a:gd name="T41" fmla="*/ 1302 h 12062"/>
                <a:gd name="T42" fmla="*/ 12403 w 16095"/>
                <a:gd name="T43" fmla="*/ 1450 h 12062"/>
                <a:gd name="T44" fmla="*/ 15003 w 16095"/>
                <a:gd name="T45" fmla="*/ 5624 h 12062"/>
                <a:gd name="T46" fmla="*/ 15066 w 16095"/>
                <a:gd name="T47" fmla="*/ 5824 h 12062"/>
                <a:gd name="T48" fmla="*/ 15088 w 16095"/>
                <a:gd name="T49" fmla="*/ 6031 h 12062"/>
                <a:gd name="T50" fmla="*/ 15066 w 16095"/>
                <a:gd name="T51" fmla="*/ 6238 h 12062"/>
                <a:gd name="T52" fmla="*/ 15003 w 16095"/>
                <a:gd name="T53" fmla="*/ 6438 h 12062"/>
                <a:gd name="T54" fmla="*/ 13274 w 16095"/>
                <a:gd name="T55" fmla="*/ 945 h 12062"/>
                <a:gd name="T56" fmla="*/ 13040 w 16095"/>
                <a:gd name="T57" fmla="*/ 639 h 12062"/>
                <a:gd name="T58" fmla="*/ 12755 w 16095"/>
                <a:gd name="T59" fmla="*/ 388 h 12062"/>
                <a:gd name="T60" fmla="*/ 12431 w 16095"/>
                <a:gd name="T61" fmla="*/ 195 h 12062"/>
                <a:gd name="T62" fmla="*/ 12076 w 16095"/>
                <a:gd name="T63" fmla="*/ 65 h 12062"/>
                <a:gd name="T64" fmla="*/ 11698 w 16095"/>
                <a:gd name="T65" fmla="*/ 4 h 12062"/>
                <a:gd name="T66" fmla="*/ 1705 w 16095"/>
                <a:gd name="T67" fmla="*/ 23 h 12062"/>
                <a:gd name="T68" fmla="*/ 1140 w 16095"/>
                <a:gd name="T69" fmla="*/ 198 h 12062"/>
                <a:gd name="T70" fmla="*/ 659 w 16095"/>
                <a:gd name="T71" fmla="*/ 523 h 12062"/>
                <a:gd name="T72" fmla="*/ 292 w 16095"/>
                <a:gd name="T73" fmla="*/ 968 h 12062"/>
                <a:gd name="T74" fmla="*/ 63 w 16095"/>
                <a:gd name="T75" fmla="*/ 1508 h 12062"/>
                <a:gd name="T76" fmla="*/ 0 w 16095"/>
                <a:gd name="T77" fmla="*/ 10052 h 12062"/>
                <a:gd name="T78" fmla="*/ 91 w 16095"/>
                <a:gd name="T79" fmla="*/ 10650 h 12062"/>
                <a:gd name="T80" fmla="*/ 344 w 16095"/>
                <a:gd name="T81" fmla="*/ 11175 h 12062"/>
                <a:gd name="T82" fmla="*/ 732 w 16095"/>
                <a:gd name="T83" fmla="*/ 11603 h 12062"/>
                <a:gd name="T84" fmla="*/ 1228 w 16095"/>
                <a:gd name="T85" fmla="*/ 11904 h 12062"/>
                <a:gd name="T86" fmla="*/ 1806 w 16095"/>
                <a:gd name="T87" fmla="*/ 12052 h 12062"/>
                <a:gd name="T88" fmla="*/ 11761 w 16095"/>
                <a:gd name="T89" fmla="*/ 12053 h 12062"/>
                <a:gd name="T90" fmla="*/ 12137 w 16095"/>
                <a:gd name="T91" fmla="*/ 11981 h 12062"/>
                <a:gd name="T92" fmla="*/ 12488 w 16095"/>
                <a:gd name="T93" fmla="*/ 11840 h 12062"/>
                <a:gd name="T94" fmla="*/ 12807 w 16095"/>
                <a:gd name="T95" fmla="*/ 11637 h 12062"/>
                <a:gd name="T96" fmla="*/ 13082 w 16095"/>
                <a:gd name="T97" fmla="*/ 11375 h 12062"/>
                <a:gd name="T98" fmla="*/ 15788 w 16095"/>
                <a:gd name="T99" fmla="*/ 7097 h 12062"/>
                <a:gd name="T100" fmla="*/ 15975 w 16095"/>
                <a:gd name="T101" fmla="*/ 6715 h 12062"/>
                <a:gd name="T102" fmla="*/ 16076 w 16095"/>
                <a:gd name="T103" fmla="*/ 6308 h 12062"/>
                <a:gd name="T104" fmla="*/ 16090 w 16095"/>
                <a:gd name="T105" fmla="*/ 5892 h 12062"/>
                <a:gd name="T106" fmla="*/ 16019 w 16095"/>
                <a:gd name="T107" fmla="*/ 5482 h 12062"/>
                <a:gd name="T108" fmla="*/ 15861 w 16095"/>
                <a:gd name="T109" fmla="*/ 5090 h 12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095" h="12062">
                  <a:moveTo>
                    <a:pt x="14936" y="6564"/>
                  </a:moveTo>
                  <a:lnTo>
                    <a:pt x="12420" y="10585"/>
                  </a:lnTo>
                  <a:lnTo>
                    <a:pt x="12403" y="10613"/>
                  </a:lnTo>
                  <a:lnTo>
                    <a:pt x="12385" y="10639"/>
                  </a:lnTo>
                  <a:lnTo>
                    <a:pt x="12365" y="10665"/>
                  </a:lnTo>
                  <a:lnTo>
                    <a:pt x="12346" y="10690"/>
                  </a:lnTo>
                  <a:lnTo>
                    <a:pt x="12325" y="10714"/>
                  </a:lnTo>
                  <a:lnTo>
                    <a:pt x="12304" y="10738"/>
                  </a:lnTo>
                  <a:lnTo>
                    <a:pt x="12281" y="10761"/>
                  </a:lnTo>
                  <a:lnTo>
                    <a:pt x="12258" y="10783"/>
                  </a:lnTo>
                  <a:lnTo>
                    <a:pt x="12235" y="10805"/>
                  </a:lnTo>
                  <a:lnTo>
                    <a:pt x="12211" y="10826"/>
                  </a:lnTo>
                  <a:lnTo>
                    <a:pt x="12187" y="10845"/>
                  </a:lnTo>
                  <a:lnTo>
                    <a:pt x="12162" y="10864"/>
                  </a:lnTo>
                  <a:lnTo>
                    <a:pt x="12137" y="10882"/>
                  </a:lnTo>
                  <a:lnTo>
                    <a:pt x="12110" y="10900"/>
                  </a:lnTo>
                  <a:lnTo>
                    <a:pt x="12083" y="10916"/>
                  </a:lnTo>
                  <a:lnTo>
                    <a:pt x="12056" y="10931"/>
                  </a:lnTo>
                  <a:lnTo>
                    <a:pt x="12028" y="10946"/>
                  </a:lnTo>
                  <a:lnTo>
                    <a:pt x="12001" y="10960"/>
                  </a:lnTo>
                  <a:lnTo>
                    <a:pt x="11972" y="10973"/>
                  </a:lnTo>
                  <a:lnTo>
                    <a:pt x="11942" y="10985"/>
                  </a:lnTo>
                  <a:lnTo>
                    <a:pt x="11913" y="10997"/>
                  </a:lnTo>
                  <a:lnTo>
                    <a:pt x="11883" y="11007"/>
                  </a:lnTo>
                  <a:lnTo>
                    <a:pt x="11853" y="11017"/>
                  </a:lnTo>
                  <a:lnTo>
                    <a:pt x="11823" y="11025"/>
                  </a:lnTo>
                  <a:lnTo>
                    <a:pt x="11792" y="11032"/>
                  </a:lnTo>
                  <a:lnTo>
                    <a:pt x="11760" y="11039"/>
                  </a:lnTo>
                  <a:lnTo>
                    <a:pt x="11729" y="11044"/>
                  </a:lnTo>
                  <a:lnTo>
                    <a:pt x="11697" y="11049"/>
                  </a:lnTo>
                  <a:lnTo>
                    <a:pt x="11666" y="11052"/>
                  </a:lnTo>
                  <a:lnTo>
                    <a:pt x="11634" y="11055"/>
                  </a:lnTo>
                  <a:lnTo>
                    <a:pt x="11600" y="11056"/>
                  </a:lnTo>
                  <a:lnTo>
                    <a:pt x="11568" y="11057"/>
                  </a:lnTo>
                  <a:lnTo>
                    <a:pt x="2012" y="11057"/>
                  </a:lnTo>
                  <a:lnTo>
                    <a:pt x="1961" y="11056"/>
                  </a:lnTo>
                  <a:lnTo>
                    <a:pt x="1909" y="11052"/>
                  </a:lnTo>
                  <a:lnTo>
                    <a:pt x="1859" y="11045"/>
                  </a:lnTo>
                  <a:lnTo>
                    <a:pt x="1810" y="11037"/>
                  </a:lnTo>
                  <a:lnTo>
                    <a:pt x="1760" y="11025"/>
                  </a:lnTo>
                  <a:lnTo>
                    <a:pt x="1713" y="11012"/>
                  </a:lnTo>
                  <a:lnTo>
                    <a:pt x="1666" y="10996"/>
                  </a:lnTo>
                  <a:lnTo>
                    <a:pt x="1621" y="10977"/>
                  </a:lnTo>
                  <a:lnTo>
                    <a:pt x="1576" y="10957"/>
                  </a:lnTo>
                  <a:lnTo>
                    <a:pt x="1533" y="10935"/>
                  </a:lnTo>
                  <a:lnTo>
                    <a:pt x="1491" y="10911"/>
                  </a:lnTo>
                  <a:lnTo>
                    <a:pt x="1450" y="10885"/>
                  </a:lnTo>
                  <a:lnTo>
                    <a:pt x="1410" y="10857"/>
                  </a:lnTo>
                  <a:lnTo>
                    <a:pt x="1372" y="10827"/>
                  </a:lnTo>
                  <a:lnTo>
                    <a:pt x="1336" y="10795"/>
                  </a:lnTo>
                  <a:lnTo>
                    <a:pt x="1301" y="10762"/>
                  </a:lnTo>
                  <a:lnTo>
                    <a:pt x="1267" y="10727"/>
                  </a:lnTo>
                  <a:lnTo>
                    <a:pt x="1236" y="10691"/>
                  </a:lnTo>
                  <a:lnTo>
                    <a:pt x="1206" y="10653"/>
                  </a:lnTo>
                  <a:lnTo>
                    <a:pt x="1178" y="10614"/>
                  </a:lnTo>
                  <a:lnTo>
                    <a:pt x="1152" y="10572"/>
                  </a:lnTo>
                  <a:lnTo>
                    <a:pt x="1128" y="10530"/>
                  </a:lnTo>
                  <a:lnTo>
                    <a:pt x="1106" y="10487"/>
                  </a:lnTo>
                  <a:lnTo>
                    <a:pt x="1085" y="10443"/>
                  </a:lnTo>
                  <a:lnTo>
                    <a:pt x="1067" y="10396"/>
                  </a:lnTo>
                  <a:lnTo>
                    <a:pt x="1051" y="10350"/>
                  </a:lnTo>
                  <a:lnTo>
                    <a:pt x="1038" y="10303"/>
                  </a:lnTo>
                  <a:lnTo>
                    <a:pt x="1026" y="10254"/>
                  </a:lnTo>
                  <a:lnTo>
                    <a:pt x="1018" y="10204"/>
                  </a:lnTo>
                  <a:lnTo>
                    <a:pt x="1011" y="10154"/>
                  </a:lnTo>
                  <a:lnTo>
                    <a:pt x="1007" y="10103"/>
                  </a:lnTo>
                  <a:lnTo>
                    <a:pt x="1006" y="10052"/>
                  </a:lnTo>
                  <a:lnTo>
                    <a:pt x="1006" y="2010"/>
                  </a:lnTo>
                  <a:lnTo>
                    <a:pt x="1007" y="1959"/>
                  </a:lnTo>
                  <a:lnTo>
                    <a:pt x="1011" y="1908"/>
                  </a:lnTo>
                  <a:lnTo>
                    <a:pt x="1018" y="1858"/>
                  </a:lnTo>
                  <a:lnTo>
                    <a:pt x="1026" y="1808"/>
                  </a:lnTo>
                  <a:lnTo>
                    <a:pt x="1038" y="1760"/>
                  </a:lnTo>
                  <a:lnTo>
                    <a:pt x="1051" y="1712"/>
                  </a:lnTo>
                  <a:lnTo>
                    <a:pt x="1067" y="1666"/>
                  </a:lnTo>
                  <a:lnTo>
                    <a:pt x="1085" y="1619"/>
                  </a:lnTo>
                  <a:lnTo>
                    <a:pt x="1106" y="1575"/>
                  </a:lnTo>
                  <a:lnTo>
                    <a:pt x="1128" y="1532"/>
                  </a:lnTo>
                  <a:lnTo>
                    <a:pt x="1152" y="1490"/>
                  </a:lnTo>
                  <a:lnTo>
                    <a:pt x="1178" y="1449"/>
                  </a:lnTo>
                  <a:lnTo>
                    <a:pt x="1206" y="1409"/>
                  </a:lnTo>
                  <a:lnTo>
                    <a:pt x="1236" y="1372"/>
                  </a:lnTo>
                  <a:lnTo>
                    <a:pt x="1267" y="1335"/>
                  </a:lnTo>
                  <a:lnTo>
                    <a:pt x="1301" y="1300"/>
                  </a:lnTo>
                  <a:lnTo>
                    <a:pt x="1336" y="1267"/>
                  </a:lnTo>
                  <a:lnTo>
                    <a:pt x="1372" y="1235"/>
                  </a:lnTo>
                  <a:lnTo>
                    <a:pt x="1410" y="1205"/>
                  </a:lnTo>
                  <a:lnTo>
                    <a:pt x="1450" y="1177"/>
                  </a:lnTo>
                  <a:lnTo>
                    <a:pt x="1491" y="1151"/>
                  </a:lnTo>
                  <a:lnTo>
                    <a:pt x="1533" y="1127"/>
                  </a:lnTo>
                  <a:lnTo>
                    <a:pt x="1576" y="1105"/>
                  </a:lnTo>
                  <a:lnTo>
                    <a:pt x="1621" y="1085"/>
                  </a:lnTo>
                  <a:lnTo>
                    <a:pt x="1666" y="1066"/>
                  </a:lnTo>
                  <a:lnTo>
                    <a:pt x="1713" y="1050"/>
                  </a:lnTo>
                  <a:lnTo>
                    <a:pt x="1760" y="1037"/>
                  </a:lnTo>
                  <a:lnTo>
                    <a:pt x="1810" y="1025"/>
                  </a:lnTo>
                  <a:lnTo>
                    <a:pt x="1859" y="1017"/>
                  </a:lnTo>
                  <a:lnTo>
                    <a:pt x="1909" y="1010"/>
                  </a:lnTo>
                  <a:lnTo>
                    <a:pt x="1961" y="1006"/>
                  </a:lnTo>
                  <a:lnTo>
                    <a:pt x="2012" y="1005"/>
                  </a:lnTo>
                  <a:lnTo>
                    <a:pt x="11568" y="1005"/>
                  </a:lnTo>
                  <a:lnTo>
                    <a:pt x="11600" y="1006"/>
                  </a:lnTo>
                  <a:lnTo>
                    <a:pt x="11634" y="1007"/>
                  </a:lnTo>
                  <a:lnTo>
                    <a:pt x="11666" y="1010"/>
                  </a:lnTo>
                  <a:lnTo>
                    <a:pt x="11697" y="1013"/>
                  </a:lnTo>
                  <a:lnTo>
                    <a:pt x="11729" y="1018"/>
                  </a:lnTo>
                  <a:lnTo>
                    <a:pt x="11760" y="1023"/>
                  </a:lnTo>
                  <a:lnTo>
                    <a:pt x="11792" y="1030"/>
                  </a:lnTo>
                  <a:lnTo>
                    <a:pt x="11823" y="1037"/>
                  </a:lnTo>
                  <a:lnTo>
                    <a:pt x="11853" y="1046"/>
                  </a:lnTo>
                  <a:lnTo>
                    <a:pt x="11883" y="1055"/>
                  </a:lnTo>
                  <a:lnTo>
                    <a:pt x="11913" y="1065"/>
                  </a:lnTo>
                  <a:lnTo>
                    <a:pt x="11942" y="1077"/>
                  </a:lnTo>
                  <a:lnTo>
                    <a:pt x="11972" y="1089"/>
                  </a:lnTo>
                  <a:lnTo>
                    <a:pt x="12001" y="1102"/>
                  </a:lnTo>
                  <a:lnTo>
                    <a:pt x="12028" y="1116"/>
                  </a:lnTo>
                  <a:lnTo>
                    <a:pt x="12056" y="1131"/>
                  </a:lnTo>
                  <a:lnTo>
                    <a:pt x="12083" y="1146"/>
                  </a:lnTo>
                  <a:lnTo>
                    <a:pt x="12110" y="1163"/>
                  </a:lnTo>
                  <a:lnTo>
                    <a:pt x="12137" y="1180"/>
                  </a:lnTo>
                  <a:lnTo>
                    <a:pt x="12162" y="1198"/>
                  </a:lnTo>
                  <a:lnTo>
                    <a:pt x="12187" y="1217"/>
                  </a:lnTo>
                  <a:lnTo>
                    <a:pt x="12211" y="1237"/>
                  </a:lnTo>
                  <a:lnTo>
                    <a:pt x="12235" y="1257"/>
                  </a:lnTo>
                  <a:lnTo>
                    <a:pt x="12258" y="1280"/>
                  </a:lnTo>
                  <a:lnTo>
                    <a:pt x="12281" y="1302"/>
                  </a:lnTo>
                  <a:lnTo>
                    <a:pt x="12304" y="1324"/>
                  </a:lnTo>
                  <a:lnTo>
                    <a:pt x="12325" y="1348"/>
                  </a:lnTo>
                  <a:lnTo>
                    <a:pt x="12346" y="1372"/>
                  </a:lnTo>
                  <a:lnTo>
                    <a:pt x="12365" y="1398"/>
                  </a:lnTo>
                  <a:lnTo>
                    <a:pt x="12385" y="1423"/>
                  </a:lnTo>
                  <a:lnTo>
                    <a:pt x="12403" y="1450"/>
                  </a:lnTo>
                  <a:lnTo>
                    <a:pt x="12420" y="1478"/>
                  </a:lnTo>
                  <a:lnTo>
                    <a:pt x="14935" y="5498"/>
                  </a:lnTo>
                  <a:lnTo>
                    <a:pt x="14954" y="5528"/>
                  </a:lnTo>
                  <a:lnTo>
                    <a:pt x="14971" y="5560"/>
                  </a:lnTo>
                  <a:lnTo>
                    <a:pt x="14987" y="5592"/>
                  </a:lnTo>
                  <a:lnTo>
                    <a:pt x="15003" y="5624"/>
                  </a:lnTo>
                  <a:lnTo>
                    <a:pt x="15016" y="5656"/>
                  </a:lnTo>
                  <a:lnTo>
                    <a:pt x="15029" y="5689"/>
                  </a:lnTo>
                  <a:lnTo>
                    <a:pt x="15040" y="5722"/>
                  </a:lnTo>
                  <a:lnTo>
                    <a:pt x="15050" y="5756"/>
                  </a:lnTo>
                  <a:lnTo>
                    <a:pt x="15059" y="5790"/>
                  </a:lnTo>
                  <a:lnTo>
                    <a:pt x="15066" y="5824"/>
                  </a:lnTo>
                  <a:lnTo>
                    <a:pt x="15073" y="5858"/>
                  </a:lnTo>
                  <a:lnTo>
                    <a:pt x="15078" y="5892"/>
                  </a:lnTo>
                  <a:lnTo>
                    <a:pt x="15082" y="5926"/>
                  </a:lnTo>
                  <a:lnTo>
                    <a:pt x="15085" y="5962"/>
                  </a:lnTo>
                  <a:lnTo>
                    <a:pt x="15087" y="5996"/>
                  </a:lnTo>
                  <a:lnTo>
                    <a:pt x="15088" y="6031"/>
                  </a:lnTo>
                  <a:lnTo>
                    <a:pt x="15087" y="6066"/>
                  </a:lnTo>
                  <a:lnTo>
                    <a:pt x="15085" y="6100"/>
                  </a:lnTo>
                  <a:lnTo>
                    <a:pt x="15082" y="6136"/>
                  </a:lnTo>
                  <a:lnTo>
                    <a:pt x="15078" y="6170"/>
                  </a:lnTo>
                  <a:lnTo>
                    <a:pt x="15073" y="6204"/>
                  </a:lnTo>
                  <a:lnTo>
                    <a:pt x="15066" y="6238"/>
                  </a:lnTo>
                  <a:lnTo>
                    <a:pt x="15059" y="6272"/>
                  </a:lnTo>
                  <a:lnTo>
                    <a:pt x="15050" y="6306"/>
                  </a:lnTo>
                  <a:lnTo>
                    <a:pt x="15040" y="6340"/>
                  </a:lnTo>
                  <a:lnTo>
                    <a:pt x="15029" y="6373"/>
                  </a:lnTo>
                  <a:lnTo>
                    <a:pt x="15016" y="6406"/>
                  </a:lnTo>
                  <a:lnTo>
                    <a:pt x="15003" y="6438"/>
                  </a:lnTo>
                  <a:lnTo>
                    <a:pt x="14987" y="6470"/>
                  </a:lnTo>
                  <a:lnTo>
                    <a:pt x="14971" y="6502"/>
                  </a:lnTo>
                  <a:lnTo>
                    <a:pt x="14954" y="6534"/>
                  </a:lnTo>
                  <a:lnTo>
                    <a:pt x="14936" y="6564"/>
                  </a:lnTo>
                  <a:close/>
                  <a:moveTo>
                    <a:pt x="15788" y="4966"/>
                  </a:moveTo>
                  <a:lnTo>
                    <a:pt x="13274" y="945"/>
                  </a:lnTo>
                  <a:lnTo>
                    <a:pt x="13239" y="891"/>
                  </a:lnTo>
                  <a:lnTo>
                    <a:pt x="13202" y="837"/>
                  </a:lnTo>
                  <a:lnTo>
                    <a:pt x="13164" y="786"/>
                  </a:lnTo>
                  <a:lnTo>
                    <a:pt x="13123" y="736"/>
                  </a:lnTo>
                  <a:lnTo>
                    <a:pt x="13082" y="687"/>
                  </a:lnTo>
                  <a:lnTo>
                    <a:pt x="13040" y="639"/>
                  </a:lnTo>
                  <a:lnTo>
                    <a:pt x="12996" y="594"/>
                  </a:lnTo>
                  <a:lnTo>
                    <a:pt x="12950" y="550"/>
                  </a:lnTo>
                  <a:lnTo>
                    <a:pt x="12903" y="507"/>
                  </a:lnTo>
                  <a:lnTo>
                    <a:pt x="12855" y="465"/>
                  </a:lnTo>
                  <a:lnTo>
                    <a:pt x="12807" y="426"/>
                  </a:lnTo>
                  <a:lnTo>
                    <a:pt x="12755" y="388"/>
                  </a:lnTo>
                  <a:lnTo>
                    <a:pt x="12704" y="352"/>
                  </a:lnTo>
                  <a:lnTo>
                    <a:pt x="12652" y="317"/>
                  </a:lnTo>
                  <a:lnTo>
                    <a:pt x="12598" y="283"/>
                  </a:lnTo>
                  <a:lnTo>
                    <a:pt x="12543" y="252"/>
                  </a:lnTo>
                  <a:lnTo>
                    <a:pt x="12488" y="222"/>
                  </a:lnTo>
                  <a:lnTo>
                    <a:pt x="12431" y="195"/>
                  </a:lnTo>
                  <a:lnTo>
                    <a:pt x="12374" y="169"/>
                  </a:lnTo>
                  <a:lnTo>
                    <a:pt x="12316" y="144"/>
                  </a:lnTo>
                  <a:lnTo>
                    <a:pt x="12257" y="122"/>
                  </a:lnTo>
                  <a:lnTo>
                    <a:pt x="12197" y="101"/>
                  </a:lnTo>
                  <a:lnTo>
                    <a:pt x="12137" y="82"/>
                  </a:lnTo>
                  <a:lnTo>
                    <a:pt x="12076" y="65"/>
                  </a:lnTo>
                  <a:lnTo>
                    <a:pt x="12014" y="50"/>
                  </a:lnTo>
                  <a:lnTo>
                    <a:pt x="11952" y="37"/>
                  </a:lnTo>
                  <a:lnTo>
                    <a:pt x="11889" y="26"/>
                  </a:lnTo>
                  <a:lnTo>
                    <a:pt x="11826" y="16"/>
                  </a:lnTo>
                  <a:lnTo>
                    <a:pt x="11761" y="9"/>
                  </a:lnTo>
                  <a:lnTo>
                    <a:pt x="11698" y="4"/>
                  </a:lnTo>
                  <a:lnTo>
                    <a:pt x="11633" y="1"/>
                  </a:lnTo>
                  <a:lnTo>
                    <a:pt x="11568" y="0"/>
                  </a:lnTo>
                  <a:lnTo>
                    <a:pt x="2012" y="0"/>
                  </a:lnTo>
                  <a:lnTo>
                    <a:pt x="1908" y="3"/>
                  </a:lnTo>
                  <a:lnTo>
                    <a:pt x="1806" y="10"/>
                  </a:lnTo>
                  <a:lnTo>
                    <a:pt x="1705" y="23"/>
                  </a:lnTo>
                  <a:lnTo>
                    <a:pt x="1606" y="41"/>
                  </a:lnTo>
                  <a:lnTo>
                    <a:pt x="1509" y="63"/>
                  </a:lnTo>
                  <a:lnTo>
                    <a:pt x="1413" y="90"/>
                  </a:lnTo>
                  <a:lnTo>
                    <a:pt x="1320" y="122"/>
                  </a:lnTo>
                  <a:lnTo>
                    <a:pt x="1228" y="158"/>
                  </a:lnTo>
                  <a:lnTo>
                    <a:pt x="1140" y="198"/>
                  </a:lnTo>
                  <a:lnTo>
                    <a:pt x="1053" y="242"/>
                  </a:lnTo>
                  <a:lnTo>
                    <a:pt x="969" y="291"/>
                  </a:lnTo>
                  <a:lnTo>
                    <a:pt x="887" y="344"/>
                  </a:lnTo>
                  <a:lnTo>
                    <a:pt x="808" y="399"/>
                  </a:lnTo>
                  <a:lnTo>
                    <a:pt x="732" y="459"/>
                  </a:lnTo>
                  <a:lnTo>
                    <a:pt x="659" y="523"/>
                  </a:lnTo>
                  <a:lnTo>
                    <a:pt x="589" y="589"/>
                  </a:lnTo>
                  <a:lnTo>
                    <a:pt x="523" y="658"/>
                  </a:lnTo>
                  <a:lnTo>
                    <a:pt x="460" y="732"/>
                  </a:lnTo>
                  <a:lnTo>
                    <a:pt x="399" y="807"/>
                  </a:lnTo>
                  <a:lnTo>
                    <a:pt x="344" y="887"/>
                  </a:lnTo>
                  <a:lnTo>
                    <a:pt x="292" y="968"/>
                  </a:lnTo>
                  <a:lnTo>
                    <a:pt x="242" y="1052"/>
                  </a:lnTo>
                  <a:lnTo>
                    <a:pt x="198" y="1139"/>
                  </a:lnTo>
                  <a:lnTo>
                    <a:pt x="158" y="1228"/>
                  </a:lnTo>
                  <a:lnTo>
                    <a:pt x="122" y="1319"/>
                  </a:lnTo>
                  <a:lnTo>
                    <a:pt x="91" y="1412"/>
                  </a:lnTo>
                  <a:lnTo>
                    <a:pt x="63" y="1508"/>
                  </a:lnTo>
                  <a:lnTo>
                    <a:pt x="41" y="1605"/>
                  </a:lnTo>
                  <a:lnTo>
                    <a:pt x="23" y="1704"/>
                  </a:lnTo>
                  <a:lnTo>
                    <a:pt x="10" y="1805"/>
                  </a:lnTo>
                  <a:lnTo>
                    <a:pt x="3" y="1907"/>
                  </a:lnTo>
                  <a:lnTo>
                    <a:pt x="0" y="2010"/>
                  </a:lnTo>
                  <a:lnTo>
                    <a:pt x="0" y="10052"/>
                  </a:lnTo>
                  <a:lnTo>
                    <a:pt x="3" y="10155"/>
                  </a:lnTo>
                  <a:lnTo>
                    <a:pt x="10" y="10257"/>
                  </a:lnTo>
                  <a:lnTo>
                    <a:pt x="23" y="10358"/>
                  </a:lnTo>
                  <a:lnTo>
                    <a:pt x="41" y="10457"/>
                  </a:lnTo>
                  <a:lnTo>
                    <a:pt x="63" y="10554"/>
                  </a:lnTo>
                  <a:lnTo>
                    <a:pt x="91" y="10650"/>
                  </a:lnTo>
                  <a:lnTo>
                    <a:pt x="122" y="10743"/>
                  </a:lnTo>
                  <a:lnTo>
                    <a:pt x="158" y="10834"/>
                  </a:lnTo>
                  <a:lnTo>
                    <a:pt x="198" y="10923"/>
                  </a:lnTo>
                  <a:lnTo>
                    <a:pt x="242" y="11010"/>
                  </a:lnTo>
                  <a:lnTo>
                    <a:pt x="292" y="11094"/>
                  </a:lnTo>
                  <a:lnTo>
                    <a:pt x="344" y="11175"/>
                  </a:lnTo>
                  <a:lnTo>
                    <a:pt x="399" y="11255"/>
                  </a:lnTo>
                  <a:lnTo>
                    <a:pt x="460" y="11330"/>
                  </a:lnTo>
                  <a:lnTo>
                    <a:pt x="523" y="11404"/>
                  </a:lnTo>
                  <a:lnTo>
                    <a:pt x="589" y="11473"/>
                  </a:lnTo>
                  <a:lnTo>
                    <a:pt x="659" y="11539"/>
                  </a:lnTo>
                  <a:lnTo>
                    <a:pt x="732" y="11603"/>
                  </a:lnTo>
                  <a:lnTo>
                    <a:pt x="808" y="11663"/>
                  </a:lnTo>
                  <a:lnTo>
                    <a:pt x="887" y="11718"/>
                  </a:lnTo>
                  <a:lnTo>
                    <a:pt x="969" y="11771"/>
                  </a:lnTo>
                  <a:lnTo>
                    <a:pt x="1053" y="11820"/>
                  </a:lnTo>
                  <a:lnTo>
                    <a:pt x="1140" y="11864"/>
                  </a:lnTo>
                  <a:lnTo>
                    <a:pt x="1228" y="11904"/>
                  </a:lnTo>
                  <a:lnTo>
                    <a:pt x="1320" y="11940"/>
                  </a:lnTo>
                  <a:lnTo>
                    <a:pt x="1413" y="11972"/>
                  </a:lnTo>
                  <a:lnTo>
                    <a:pt x="1509" y="11999"/>
                  </a:lnTo>
                  <a:lnTo>
                    <a:pt x="1606" y="12021"/>
                  </a:lnTo>
                  <a:lnTo>
                    <a:pt x="1705" y="12039"/>
                  </a:lnTo>
                  <a:lnTo>
                    <a:pt x="1806" y="12052"/>
                  </a:lnTo>
                  <a:lnTo>
                    <a:pt x="1908" y="12059"/>
                  </a:lnTo>
                  <a:lnTo>
                    <a:pt x="2012" y="12062"/>
                  </a:lnTo>
                  <a:lnTo>
                    <a:pt x="11568" y="12062"/>
                  </a:lnTo>
                  <a:lnTo>
                    <a:pt x="11633" y="12061"/>
                  </a:lnTo>
                  <a:lnTo>
                    <a:pt x="11698" y="12058"/>
                  </a:lnTo>
                  <a:lnTo>
                    <a:pt x="11761" y="12053"/>
                  </a:lnTo>
                  <a:lnTo>
                    <a:pt x="11826" y="12046"/>
                  </a:lnTo>
                  <a:lnTo>
                    <a:pt x="11889" y="12036"/>
                  </a:lnTo>
                  <a:lnTo>
                    <a:pt x="11952" y="12025"/>
                  </a:lnTo>
                  <a:lnTo>
                    <a:pt x="12014" y="12012"/>
                  </a:lnTo>
                  <a:lnTo>
                    <a:pt x="12076" y="11997"/>
                  </a:lnTo>
                  <a:lnTo>
                    <a:pt x="12137" y="11981"/>
                  </a:lnTo>
                  <a:lnTo>
                    <a:pt x="12197" y="11961"/>
                  </a:lnTo>
                  <a:lnTo>
                    <a:pt x="12257" y="11940"/>
                  </a:lnTo>
                  <a:lnTo>
                    <a:pt x="12316" y="11918"/>
                  </a:lnTo>
                  <a:lnTo>
                    <a:pt x="12374" y="11893"/>
                  </a:lnTo>
                  <a:lnTo>
                    <a:pt x="12431" y="11868"/>
                  </a:lnTo>
                  <a:lnTo>
                    <a:pt x="12488" y="11840"/>
                  </a:lnTo>
                  <a:lnTo>
                    <a:pt x="12543" y="11810"/>
                  </a:lnTo>
                  <a:lnTo>
                    <a:pt x="12598" y="11779"/>
                  </a:lnTo>
                  <a:lnTo>
                    <a:pt x="12652" y="11745"/>
                  </a:lnTo>
                  <a:lnTo>
                    <a:pt x="12704" y="11711"/>
                  </a:lnTo>
                  <a:lnTo>
                    <a:pt x="12755" y="11674"/>
                  </a:lnTo>
                  <a:lnTo>
                    <a:pt x="12807" y="11637"/>
                  </a:lnTo>
                  <a:lnTo>
                    <a:pt x="12855" y="11597"/>
                  </a:lnTo>
                  <a:lnTo>
                    <a:pt x="12903" y="11555"/>
                  </a:lnTo>
                  <a:lnTo>
                    <a:pt x="12950" y="11513"/>
                  </a:lnTo>
                  <a:lnTo>
                    <a:pt x="12996" y="11469"/>
                  </a:lnTo>
                  <a:lnTo>
                    <a:pt x="13040" y="11423"/>
                  </a:lnTo>
                  <a:lnTo>
                    <a:pt x="13082" y="11375"/>
                  </a:lnTo>
                  <a:lnTo>
                    <a:pt x="13123" y="11327"/>
                  </a:lnTo>
                  <a:lnTo>
                    <a:pt x="13164" y="11277"/>
                  </a:lnTo>
                  <a:lnTo>
                    <a:pt x="13202" y="11225"/>
                  </a:lnTo>
                  <a:lnTo>
                    <a:pt x="13239" y="11172"/>
                  </a:lnTo>
                  <a:lnTo>
                    <a:pt x="13274" y="11117"/>
                  </a:lnTo>
                  <a:lnTo>
                    <a:pt x="15788" y="7097"/>
                  </a:lnTo>
                  <a:lnTo>
                    <a:pt x="15825" y="7035"/>
                  </a:lnTo>
                  <a:lnTo>
                    <a:pt x="15861" y="6973"/>
                  </a:lnTo>
                  <a:lnTo>
                    <a:pt x="15893" y="6910"/>
                  </a:lnTo>
                  <a:lnTo>
                    <a:pt x="15923" y="6845"/>
                  </a:lnTo>
                  <a:lnTo>
                    <a:pt x="15950" y="6780"/>
                  </a:lnTo>
                  <a:lnTo>
                    <a:pt x="15975" y="6715"/>
                  </a:lnTo>
                  <a:lnTo>
                    <a:pt x="15998" y="6647"/>
                  </a:lnTo>
                  <a:lnTo>
                    <a:pt x="16019" y="6581"/>
                  </a:lnTo>
                  <a:lnTo>
                    <a:pt x="16037" y="6513"/>
                  </a:lnTo>
                  <a:lnTo>
                    <a:pt x="16052" y="6445"/>
                  </a:lnTo>
                  <a:lnTo>
                    <a:pt x="16065" y="6377"/>
                  </a:lnTo>
                  <a:lnTo>
                    <a:pt x="16076" y="6308"/>
                  </a:lnTo>
                  <a:lnTo>
                    <a:pt x="16084" y="6239"/>
                  </a:lnTo>
                  <a:lnTo>
                    <a:pt x="16090" y="6170"/>
                  </a:lnTo>
                  <a:lnTo>
                    <a:pt x="16094" y="6100"/>
                  </a:lnTo>
                  <a:lnTo>
                    <a:pt x="16095" y="6031"/>
                  </a:lnTo>
                  <a:lnTo>
                    <a:pt x="16094" y="5962"/>
                  </a:lnTo>
                  <a:lnTo>
                    <a:pt x="16090" y="5892"/>
                  </a:lnTo>
                  <a:lnTo>
                    <a:pt x="16084" y="5824"/>
                  </a:lnTo>
                  <a:lnTo>
                    <a:pt x="16076" y="5755"/>
                  </a:lnTo>
                  <a:lnTo>
                    <a:pt x="16065" y="5686"/>
                  </a:lnTo>
                  <a:lnTo>
                    <a:pt x="16052" y="5618"/>
                  </a:lnTo>
                  <a:lnTo>
                    <a:pt x="16037" y="5550"/>
                  </a:lnTo>
                  <a:lnTo>
                    <a:pt x="16019" y="5482"/>
                  </a:lnTo>
                  <a:lnTo>
                    <a:pt x="15998" y="5415"/>
                  </a:lnTo>
                  <a:lnTo>
                    <a:pt x="15975" y="5348"/>
                  </a:lnTo>
                  <a:lnTo>
                    <a:pt x="15950" y="5282"/>
                  </a:lnTo>
                  <a:lnTo>
                    <a:pt x="15923" y="5218"/>
                  </a:lnTo>
                  <a:lnTo>
                    <a:pt x="15893" y="5153"/>
                  </a:lnTo>
                  <a:lnTo>
                    <a:pt x="15861" y="5090"/>
                  </a:lnTo>
                  <a:lnTo>
                    <a:pt x="15825" y="5027"/>
                  </a:lnTo>
                  <a:lnTo>
                    <a:pt x="15788" y="49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44" name="íś1ïďé">
              <a:extLst>
                <a:ext uri="{FF2B5EF4-FFF2-40B4-BE49-F238E27FC236}">
                  <a16:creationId xmlns:a16="http://schemas.microsoft.com/office/drawing/2014/main" id="{1EEEF6C2-2CCB-4C51-A3BC-73F10E181E11}"/>
                </a:ext>
              </a:extLst>
            </p:cNvPr>
            <p:cNvSpPr/>
            <p:nvPr/>
          </p:nvSpPr>
          <p:spPr bwMode="auto">
            <a:xfrm>
              <a:off x="2015676" y="848576"/>
              <a:ext cx="96258" cy="97447"/>
            </a:xfrm>
            <a:custGeom>
              <a:avLst/>
              <a:gdLst>
                <a:gd name="T0" fmla="*/ 1306 w 3018"/>
                <a:gd name="T1" fmla="*/ 2493 h 3016"/>
                <a:gd name="T2" fmla="*/ 1073 w 3018"/>
                <a:gd name="T3" fmla="*/ 2415 h 3016"/>
                <a:gd name="T4" fmla="*/ 870 w 3018"/>
                <a:gd name="T5" fmla="*/ 2284 h 3016"/>
                <a:gd name="T6" fmla="*/ 704 w 3018"/>
                <a:gd name="T7" fmla="*/ 2109 h 3016"/>
                <a:gd name="T8" fmla="*/ 582 w 3018"/>
                <a:gd name="T9" fmla="*/ 1899 h 3016"/>
                <a:gd name="T10" fmla="*/ 514 w 3018"/>
                <a:gd name="T11" fmla="*/ 1661 h 3016"/>
                <a:gd name="T12" fmla="*/ 508 w 3018"/>
                <a:gd name="T13" fmla="*/ 1405 h 3016"/>
                <a:gd name="T14" fmla="*/ 565 w 3018"/>
                <a:gd name="T15" fmla="*/ 1162 h 3016"/>
                <a:gd name="T16" fmla="*/ 675 w 3018"/>
                <a:gd name="T17" fmla="*/ 946 h 3016"/>
                <a:gd name="T18" fmla="*/ 833 w 3018"/>
                <a:gd name="T19" fmla="*/ 764 h 3016"/>
                <a:gd name="T20" fmla="*/ 1029 w 3018"/>
                <a:gd name="T21" fmla="*/ 624 h 3016"/>
                <a:gd name="T22" fmla="*/ 1258 w 3018"/>
                <a:gd name="T23" fmla="*/ 535 h 3016"/>
                <a:gd name="T24" fmla="*/ 1509 w 3018"/>
                <a:gd name="T25" fmla="*/ 503 h 3016"/>
                <a:gd name="T26" fmla="*/ 1761 w 3018"/>
                <a:gd name="T27" fmla="*/ 535 h 3016"/>
                <a:gd name="T28" fmla="*/ 1988 w 3018"/>
                <a:gd name="T29" fmla="*/ 624 h 3016"/>
                <a:gd name="T30" fmla="*/ 2185 w 3018"/>
                <a:gd name="T31" fmla="*/ 764 h 3016"/>
                <a:gd name="T32" fmla="*/ 2343 w 3018"/>
                <a:gd name="T33" fmla="*/ 946 h 3016"/>
                <a:gd name="T34" fmla="*/ 2454 w 3018"/>
                <a:gd name="T35" fmla="*/ 1162 h 3016"/>
                <a:gd name="T36" fmla="*/ 2510 w 3018"/>
                <a:gd name="T37" fmla="*/ 1405 h 3016"/>
                <a:gd name="T38" fmla="*/ 2503 w 3018"/>
                <a:gd name="T39" fmla="*/ 1661 h 3016"/>
                <a:gd name="T40" fmla="*/ 2436 w 3018"/>
                <a:gd name="T41" fmla="*/ 1899 h 3016"/>
                <a:gd name="T42" fmla="*/ 2315 w 3018"/>
                <a:gd name="T43" fmla="*/ 2109 h 3016"/>
                <a:gd name="T44" fmla="*/ 2149 w 3018"/>
                <a:gd name="T45" fmla="*/ 2284 h 3016"/>
                <a:gd name="T46" fmla="*/ 1945 w 3018"/>
                <a:gd name="T47" fmla="*/ 2415 h 3016"/>
                <a:gd name="T48" fmla="*/ 1711 w 3018"/>
                <a:gd name="T49" fmla="*/ 2493 h 3016"/>
                <a:gd name="T50" fmla="*/ 1509 w 3018"/>
                <a:gd name="T51" fmla="*/ 0 h 3016"/>
                <a:gd name="T52" fmla="*/ 1132 w 3018"/>
                <a:gd name="T53" fmla="*/ 47 h 3016"/>
                <a:gd name="T54" fmla="*/ 790 w 3018"/>
                <a:gd name="T55" fmla="*/ 182 h 3016"/>
                <a:gd name="T56" fmla="*/ 494 w 3018"/>
                <a:gd name="T57" fmla="*/ 392 h 3016"/>
                <a:gd name="T58" fmla="*/ 258 w 3018"/>
                <a:gd name="T59" fmla="*/ 666 h 3016"/>
                <a:gd name="T60" fmla="*/ 92 w 3018"/>
                <a:gd name="T61" fmla="*/ 989 h 3016"/>
                <a:gd name="T62" fmla="*/ 7 w 3018"/>
                <a:gd name="T63" fmla="*/ 1354 h 3016"/>
                <a:gd name="T64" fmla="*/ 17 w 3018"/>
                <a:gd name="T65" fmla="*/ 1738 h 3016"/>
                <a:gd name="T66" fmla="*/ 119 w 3018"/>
                <a:gd name="T67" fmla="*/ 2095 h 3016"/>
                <a:gd name="T68" fmla="*/ 300 w 3018"/>
                <a:gd name="T69" fmla="*/ 2411 h 3016"/>
                <a:gd name="T70" fmla="*/ 550 w 3018"/>
                <a:gd name="T71" fmla="*/ 2672 h 3016"/>
                <a:gd name="T72" fmla="*/ 854 w 3018"/>
                <a:gd name="T73" fmla="*/ 2867 h 3016"/>
                <a:gd name="T74" fmla="*/ 1204 w 3018"/>
                <a:gd name="T75" fmla="*/ 2986 h 3016"/>
                <a:gd name="T76" fmla="*/ 1587 w 3018"/>
                <a:gd name="T77" fmla="*/ 3014 h 3016"/>
                <a:gd name="T78" fmla="*/ 1958 w 3018"/>
                <a:gd name="T79" fmla="*/ 2948 h 3016"/>
                <a:gd name="T80" fmla="*/ 2292 w 3018"/>
                <a:gd name="T81" fmla="*/ 2798 h 3016"/>
                <a:gd name="T82" fmla="*/ 2577 w 3018"/>
                <a:gd name="T83" fmla="*/ 2574 h 3016"/>
                <a:gd name="T84" fmla="*/ 2800 w 3018"/>
                <a:gd name="T85" fmla="*/ 2290 h 3016"/>
                <a:gd name="T86" fmla="*/ 2950 w 3018"/>
                <a:gd name="T87" fmla="*/ 1956 h 3016"/>
                <a:gd name="T88" fmla="*/ 3016 w 3018"/>
                <a:gd name="T89" fmla="*/ 1585 h 3016"/>
                <a:gd name="T90" fmla="*/ 2987 w 3018"/>
                <a:gd name="T91" fmla="*/ 1204 h 3016"/>
                <a:gd name="T92" fmla="*/ 2869 w 3018"/>
                <a:gd name="T93" fmla="*/ 855 h 3016"/>
                <a:gd name="T94" fmla="*/ 2673 w 3018"/>
                <a:gd name="T95" fmla="*/ 549 h 3016"/>
                <a:gd name="T96" fmla="*/ 2412 w 3018"/>
                <a:gd name="T97" fmla="*/ 300 h 3016"/>
                <a:gd name="T98" fmla="*/ 2097 w 3018"/>
                <a:gd name="T99" fmla="*/ 119 h 3016"/>
                <a:gd name="T100" fmla="*/ 1739 w 3018"/>
                <a:gd name="T101" fmla="*/ 18 h 3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018" h="3016">
                  <a:moveTo>
                    <a:pt x="1509" y="2513"/>
                  </a:moveTo>
                  <a:lnTo>
                    <a:pt x="1457" y="2512"/>
                  </a:lnTo>
                  <a:lnTo>
                    <a:pt x="1407" y="2508"/>
                  </a:lnTo>
                  <a:lnTo>
                    <a:pt x="1356" y="2502"/>
                  </a:lnTo>
                  <a:lnTo>
                    <a:pt x="1306" y="2493"/>
                  </a:lnTo>
                  <a:lnTo>
                    <a:pt x="1258" y="2482"/>
                  </a:lnTo>
                  <a:lnTo>
                    <a:pt x="1211" y="2468"/>
                  </a:lnTo>
                  <a:lnTo>
                    <a:pt x="1163" y="2452"/>
                  </a:lnTo>
                  <a:lnTo>
                    <a:pt x="1118" y="2435"/>
                  </a:lnTo>
                  <a:lnTo>
                    <a:pt x="1073" y="2415"/>
                  </a:lnTo>
                  <a:lnTo>
                    <a:pt x="1029" y="2392"/>
                  </a:lnTo>
                  <a:lnTo>
                    <a:pt x="987" y="2367"/>
                  </a:lnTo>
                  <a:lnTo>
                    <a:pt x="947" y="2341"/>
                  </a:lnTo>
                  <a:lnTo>
                    <a:pt x="908" y="2313"/>
                  </a:lnTo>
                  <a:lnTo>
                    <a:pt x="870" y="2284"/>
                  </a:lnTo>
                  <a:lnTo>
                    <a:pt x="833" y="2252"/>
                  </a:lnTo>
                  <a:lnTo>
                    <a:pt x="798" y="2219"/>
                  </a:lnTo>
                  <a:lnTo>
                    <a:pt x="765" y="2183"/>
                  </a:lnTo>
                  <a:lnTo>
                    <a:pt x="733" y="2147"/>
                  </a:lnTo>
                  <a:lnTo>
                    <a:pt x="704" y="2109"/>
                  </a:lnTo>
                  <a:lnTo>
                    <a:pt x="675" y="2070"/>
                  </a:lnTo>
                  <a:lnTo>
                    <a:pt x="649" y="2030"/>
                  </a:lnTo>
                  <a:lnTo>
                    <a:pt x="625" y="1987"/>
                  </a:lnTo>
                  <a:lnTo>
                    <a:pt x="603" y="1944"/>
                  </a:lnTo>
                  <a:lnTo>
                    <a:pt x="582" y="1899"/>
                  </a:lnTo>
                  <a:lnTo>
                    <a:pt x="565" y="1854"/>
                  </a:lnTo>
                  <a:lnTo>
                    <a:pt x="549" y="1808"/>
                  </a:lnTo>
                  <a:lnTo>
                    <a:pt x="535" y="1759"/>
                  </a:lnTo>
                  <a:lnTo>
                    <a:pt x="523" y="1711"/>
                  </a:lnTo>
                  <a:lnTo>
                    <a:pt x="514" y="1661"/>
                  </a:lnTo>
                  <a:lnTo>
                    <a:pt x="508" y="1611"/>
                  </a:lnTo>
                  <a:lnTo>
                    <a:pt x="504" y="1560"/>
                  </a:lnTo>
                  <a:lnTo>
                    <a:pt x="503" y="1508"/>
                  </a:lnTo>
                  <a:lnTo>
                    <a:pt x="504" y="1457"/>
                  </a:lnTo>
                  <a:lnTo>
                    <a:pt x="508" y="1405"/>
                  </a:lnTo>
                  <a:lnTo>
                    <a:pt x="514" y="1355"/>
                  </a:lnTo>
                  <a:lnTo>
                    <a:pt x="523" y="1306"/>
                  </a:lnTo>
                  <a:lnTo>
                    <a:pt x="535" y="1257"/>
                  </a:lnTo>
                  <a:lnTo>
                    <a:pt x="549" y="1209"/>
                  </a:lnTo>
                  <a:lnTo>
                    <a:pt x="565" y="1162"/>
                  </a:lnTo>
                  <a:lnTo>
                    <a:pt x="582" y="1117"/>
                  </a:lnTo>
                  <a:lnTo>
                    <a:pt x="603" y="1073"/>
                  </a:lnTo>
                  <a:lnTo>
                    <a:pt x="625" y="1030"/>
                  </a:lnTo>
                  <a:lnTo>
                    <a:pt x="649" y="987"/>
                  </a:lnTo>
                  <a:lnTo>
                    <a:pt x="675" y="946"/>
                  </a:lnTo>
                  <a:lnTo>
                    <a:pt x="704" y="907"/>
                  </a:lnTo>
                  <a:lnTo>
                    <a:pt x="733" y="869"/>
                  </a:lnTo>
                  <a:lnTo>
                    <a:pt x="765" y="833"/>
                  </a:lnTo>
                  <a:lnTo>
                    <a:pt x="798" y="797"/>
                  </a:lnTo>
                  <a:lnTo>
                    <a:pt x="833" y="764"/>
                  </a:lnTo>
                  <a:lnTo>
                    <a:pt x="870" y="733"/>
                  </a:lnTo>
                  <a:lnTo>
                    <a:pt x="908" y="703"/>
                  </a:lnTo>
                  <a:lnTo>
                    <a:pt x="947" y="675"/>
                  </a:lnTo>
                  <a:lnTo>
                    <a:pt x="987" y="649"/>
                  </a:lnTo>
                  <a:lnTo>
                    <a:pt x="1029" y="624"/>
                  </a:lnTo>
                  <a:lnTo>
                    <a:pt x="1073" y="602"/>
                  </a:lnTo>
                  <a:lnTo>
                    <a:pt x="1118" y="582"/>
                  </a:lnTo>
                  <a:lnTo>
                    <a:pt x="1163" y="564"/>
                  </a:lnTo>
                  <a:lnTo>
                    <a:pt x="1211" y="548"/>
                  </a:lnTo>
                  <a:lnTo>
                    <a:pt x="1258" y="535"/>
                  </a:lnTo>
                  <a:lnTo>
                    <a:pt x="1306" y="524"/>
                  </a:lnTo>
                  <a:lnTo>
                    <a:pt x="1356" y="515"/>
                  </a:lnTo>
                  <a:lnTo>
                    <a:pt x="1407" y="508"/>
                  </a:lnTo>
                  <a:lnTo>
                    <a:pt x="1457" y="505"/>
                  </a:lnTo>
                  <a:lnTo>
                    <a:pt x="1509" y="503"/>
                  </a:lnTo>
                  <a:lnTo>
                    <a:pt x="1561" y="505"/>
                  </a:lnTo>
                  <a:lnTo>
                    <a:pt x="1612" y="508"/>
                  </a:lnTo>
                  <a:lnTo>
                    <a:pt x="1662" y="515"/>
                  </a:lnTo>
                  <a:lnTo>
                    <a:pt x="1711" y="524"/>
                  </a:lnTo>
                  <a:lnTo>
                    <a:pt x="1761" y="535"/>
                  </a:lnTo>
                  <a:lnTo>
                    <a:pt x="1808" y="548"/>
                  </a:lnTo>
                  <a:lnTo>
                    <a:pt x="1855" y="564"/>
                  </a:lnTo>
                  <a:lnTo>
                    <a:pt x="1901" y="582"/>
                  </a:lnTo>
                  <a:lnTo>
                    <a:pt x="1945" y="602"/>
                  </a:lnTo>
                  <a:lnTo>
                    <a:pt x="1988" y="624"/>
                  </a:lnTo>
                  <a:lnTo>
                    <a:pt x="2030" y="649"/>
                  </a:lnTo>
                  <a:lnTo>
                    <a:pt x="2072" y="675"/>
                  </a:lnTo>
                  <a:lnTo>
                    <a:pt x="2111" y="703"/>
                  </a:lnTo>
                  <a:lnTo>
                    <a:pt x="2149" y="733"/>
                  </a:lnTo>
                  <a:lnTo>
                    <a:pt x="2185" y="764"/>
                  </a:lnTo>
                  <a:lnTo>
                    <a:pt x="2220" y="797"/>
                  </a:lnTo>
                  <a:lnTo>
                    <a:pt x="2254" y="833"/>
                  </a:lnTo>
                  <a:lnTo>
                    <a:pt x="2285" y="869"/>
                  </a:lnTo>
                  <a:lnTo>
                    <a:pt x="2315" y="907"/>
                  </a:lnTo>
                  <a:lnTo>
                    <a:pt x="2343" y="946"/>
                  </a:lnTo>
                  <a:lnTo>
                    <a:pt x="2369" y="987"/>
                  </a:lnTo>
                  <a:lnTo>
                    <a:pt x="2394" y="1030"/>
                  </a:lnTo>
                  <a:lnTo>
                    <a:pt x="2416" y="1073"/>
                  </a:lnTo>
                  <a:lnTo>
                    <a:pt x="2436" y="1117"/>
                  </a:lnTo>
                  <a:lnTo>
                    <a:pt x="2454" y="1162"/>
                  </a:lnTo>
                  <a:lnTo>
                    <a:pt x="2470" y="1209"/>
                  </a:lnTo>
                  <a:lnTo>
                    <a:pt x="2483" y="1257"/>
                  </a:lnTo>
                  <a:lnTo>
                    <a:pt x="2494" y="1306"/>
                  </a:lnTo>
                  <a:lnTo>
                    <a:pt x="2503" y="1355"/>
                  </a:lnTo>
                  <a:lnTo>
                    <a:pt x="2510" y="1405"/>
                  </a:lnTo>
                  <a:lnTo>
                    <a:pt x="2513" y="1457"/>
                  </a:lnTo>
                  <a:lnTo>
                    <a:pt x="2515" y="1508"/>
                  </a:lnTo>
                  <a:lnTo>
                    <a:pt x="2513" y="1560"/>
                  </a:lnTo>
                  <a:lnTo>
                    <a:pt x="2510" y="1611"/>
                  </a:lnTo>
                  <a:lnTo>
                    <a:pt x="2503" y="1661"/>
                  </a:lnTo>
                  <a:lnTo>
                    <a:pt x="2494" y="1711"/>
                  </a:lnTo>
                  <a:lnTo>
                    <a:pt x="2483" y="1759"/>
                  </a:lnTo>
                  <a:lnTo>
                    <a:pt x="2470" y="1808"/>
                  </a:lnTo>
                  <a:lnTo>
                    <a:pt x="2454" y="1854"/>
                  </a:lnTo>
                  <a:lnTo>
                    <a:pt x="2436" y="1899"/>
                  </a:lnTo>
                  <a:lnTo>
                    <a:pt x="2416" y="1944"/>
                  </a:lnTo>
                  <a:lnTo>
                    <a:pt x="2394" y="1987"/>
                  </a:lnTo>
                  <a:lnTo>
                    <a:pt x="2369" y="2030"/>
                  </a:lnTo>
                  <a:lnTo>
                    <a:pt x="2343" y="2070"/>
                  </a:lnTo>
                  <a:lnTo>
                    <a:pt x="2315" y="2109"/>
                  </a:lnTo>
                  <a:lnTo>
                    <a:pt x="2285" y="2147"/>
                  </a:lnTo>
                  <a:lnTo>
                    <a:pt x="2254" y="2183"/>
                  </a:lnTo>
                  <a:lnTo>
                    <a:pt x="2220" y="2219"/>
                  </a:lnTo>
                  <a:lnTo>
                    <a:pt x="2185" y="2252"/>
                  </a:lnTo>
                  <a:lnTo>
                    <a:pt x="2149" y="2284"/>
                  </a:lnTo>
                  <a:lnTo>
                    <a:pt x="2111" y="2313"/>
                  </a:lnTo>
                  <a:lnTo>
                    <a:pt x="2072" y="2341"/>
                  </a:lnTo>
                  <a:lnTo>
                    <a:pt x="2030" y="2367"/>
                  </a:lnTo>
                  <a:lnTo>
                    <a:pt x="1988" y="2392"/>
                  </a:lnTo>
                  <a:lnTo>
                    <a:pt x="1945" y="2415"/>
                  </a:lnTo>
                  <a:lnTo>
                    <a:pt x="1901" y="2435"/>
                  </a:lnTo>
                  <a:lnTo>
                    <a:pt x="1855" y="2452"/>
                  </a:lnTo>
                  <a:lnTo>
                    <a:pt x="1808" y="2468"/>
                  </a:lnTo>
                  <a:lnTo>
                    <a:pt x="1761" y="2482"/>
                  </a:lnTo>
                  <a:lnTo>
                    <a:pt x="1711" y="2493"/>
                  </a:lnTo>
                  <a:lnTo>
                    <a:pt x="1662" y="2502"/>
                  </a:lnTo>
                  <a:lnTo>
                    <a:pt x="1612" y="2508"/>
                  </a:lnTo>
                  <a:lnTo>
                    <a:pt x="1561" y="2512"/>
                  </a:lnTo>
                  <a:lnTo>
                    <a:pt x="1509" y="2513"/>
                  </a:lnTo>
                  <a:close/>
                  <a:moveTo>
                    <a:pt x="1509" y="0"/>
                  </a:moveTo>
                  <a:lnTo>
                    <a:pt x="1432" y="2"/>
                  </a:lnTo>
                  <a:lnTo>
                    <a:pt x="1354" y="8"/>
                  </a:lnTo>
                  <a:lnTo>
                    <a:pt x="1279" y="18"/>
                  </a:lnTo>
                  <a:lnTo>
                    <a:pt x="1204" y="31"/>
                  </a:lnTo>
                  <a:lnTo>
                    <a:pt x="1132" y="47"/>
                  </a:lnTo>
                  <a:lnTo>
                    <a:pt x="1061" y="69"/>
                  </a:lnTo>
                  <a:lnTo>
                    <a:pt x="990" y="92"/>
                  </a:lnTo>
                  <a:lnTo>
                    <a:pt x="922" y="119"/>
                  </a:lnTo>
                  <a:lnTo>
                    <a:pt x="854" y="149"/>
                  </a:lnTo>
                  <a:lnTo>
                    <a:pt x="790" y="182"/>
                  </a:lnTo>
                  <a:lnTo>
                    <a:pt x="727" y="218"/>
                  </a:lnTo>
                  <a:lnTo>
                    <a:pt x="665" y="258"/>
                  </a:lnTo>
                  <a:lnTo>
                    <a:pt x="606" y="300"/>
                  </a:lnTo>
                  <a:lnTo>
                    <a:pt x="550" y="345"/>
                  </a:lnTo>
                  <a:lnTo>
                    <a:pt x="494" y="392"/>
                  </a:lnTo>
                  <a:lnTo>
                    <a:pt x="442" y="443"/>
                  </a:lnTo>
                  <a:lnTo>
                    <a:pt x="392" y="495"/>
                  </a:lnTo>
                  <a:lnTo>
                    <a:pt x="344" y="549"/>
                  </a:lnTo>
                  <a:lnTo>
                    <a:pt x="300" y="606"/>
                  </a:lnTo>
                  <a:lnTo>
                    <a:pt x="258" y="666"/>
                  </a:lnTo>
                  <a:lnTo>
                    <a:pt x="219" y="726"/>
                  </a:lnTo>
                  <a:lnTo>
                    <a:pt x="182" y="789"/>
                  </a:lnTo>
                  <a:lnTo>
                    <a:pt x="149" y="855"/>
                  </a:lnTo>
                  <a:lnTo>
                    <a:pt x="119" y="921"/>
                  </a:lnTo>
                  <a:lnTo>
                    <a:pt x="92" y="989"/>
                  </a:lnTo>
                  <a:lnTo>
                    <a:pt x="68" y="1060"/>
                  </a:lnTo>
                  <a:lnTo>
                    <a:pt x="48" y="1131"/>
                  </a:lnTo>
                  <a:lnTo>
                    <a:pt x="31" y="1204"/>
                  </a:lnTo>
                  <a:lnTo>
                    <a:pt x="17" y="1279"/>
                  </a:lnTo>
                  <a:lnTo>
                    <a:pt x="7" y="1354"/>
                  </a:lnTo>
                  <a:lnTo>
                    <a:pt x="2" y="1431"/>
                  </a:lnTo>
                  <a:lnTo>
                    <a:pt x="0" y="1508"/>
                  </a:lnTo>
                  <a:lnTo>
                    <a:pt x="2" y="1585"/>
                  </a:lnTo>
                  <a:lnTo>
                    <a:pt x="7" y="1663"/>
                  </a:lnTo>
                  <a:lnTo>
                    <a:pt x="17" y="1738"/>
                  </a:lnTo>
                  <a:lnTo>
                    <a:pt x="31" y="1813"/>
                  </a:lnTo>
                  <a:lnTo>
                    <a:pt x="48" y="1885"/>
                  </a:lnTo>
                  <a:lnTo>
                    <a:pt x="68" y="1956"/>
                  </a:lnTo>
                  <a:lnTo>
                    <a:pt x="92" y="2027"/>
                  </a:lnTo>
                  <a:lnTo>
                    <a:pt x="119" y="2095"/>
                  </a:lnTo>
                  <a:lnTo>
                    <a:pt x="149" y="2162"/>
                  </a:lnTo>
                  <a:lnTo>
                    <a:pt x="182" y="2227"/>
                  </a:lnTo>
                  <a:lnTo>
                    <a:pt x="219" y="2290"/>
                  </a:lnTo>
                  <a:lnTo>
                    <a:pt x="258" y="2351"/>
                  </a:lnTo>
                  <a:lnTo>
                    <a:pt x="300" y="2411"/>
                  </a:lnTo>
                  <a:lnTo>
                    <a:pt x="344" y="2467"/>
                  </a:lnTo>
                  <a:lnTo>
                    <a:pt x="392" y="2522"/>
                  </a:lnTo>
                  <a:lnTo>
                    <a:pt x="442" y="2574"/>
                  </a:lnTo>
                  <a:lnTo>
                    <a:pt x="494" y="2624"/>
                  </a:lnTo>
                  <a:lnTo>
                    <a:pt x="550" y="2672"/>
                  </a:lnTo>
                  <a:lnTo>
                    <a:pt x="606" y="2716"/>
                  </a:lnTo>
                  <a:lnTo>
                    <a:pt x="665" y="2758"/>
                  </a:lnTo>
                  <a:lnTo>
                    <a:pt x="727" y="2798"/>
                  </a:lnTo>
                  <a:lnTo>
                    <a:pt x="790" y="2834"/>
                  </a:lnTo>
                  <a:lnTo>
                    <a:pt x="854" y="2867"/>
                  </a:lnTo>
                  <a:lnTo>
                    <a:pt x="922" y="2897"/>
                  </a:lnTo>
                  <a:lnTo>
                    <a:pt x="990" y="2924"/>
                  </a:lnTo>
                  <a:lnTo>
                    <a:pt x="1061" y="2948"/>
                  </a:lnTo>
                  <a:lnTo>
                    <a:pt x="1132" y="2969"/>
                  </a:lnTo>
                  <a:lnTo>
                    <a:pt x="1204" y="2986"/>
                  </a:lnTo>
                  <a:lnTo>
                    <a:pt x="1279" y="2999"/>
                  </a:lnTo>
                  <a:lnTo>
                    <a:pt x="1354" y="3008"/>
                  </a:lnTo>
                  <a:lnTo>
                    <a:pt x="1432" y="3014"/>
                  </a:lnTo>
                  <a:lnTo>
                    <a:pt x="1509" y="3016"/>
                  </a:lnTo>
                  <a:lnTo>
                    <a:pt x="1587" y="3014"/>
                  </a:lnTo>
                  <a:lnTo>
                    <a:pt x="1663" y="3008"/>
                  </a:lnTo>
                  <a:lnTo>
                    <a:pt x="1739" y="2999"/>
                  </a:lnTo>
                  <a:lnTo>
                    <a:pt x="1813" y="2986"/>
                  </a:lnTo>
                  <a:lnTo>
                    <a:pt x="1887" y="2969"/>
                  </a:lnTo>
                  <a:lnTo>
                    <a:pt x="1958" y="2948"/>
                  </a:lnTo>
                  <a:lnTo>
                    <a:pt x="2028" y="2924"/>
                  </a:lnTo>
                  <a:lnTo>
                    <a:pt x="2097" y="2897"/>
                  </a:lnTo>
                  <a:lnTo>
                    <a:pt x="2163" y="2867"/>
                  </a:lnTo>
                  <a:lnTo>
                    <a:pt x="2229" y="2834"/>
                  </a:lnTo>
                  <a:lnTo>
                    <a:pt x="2292" y="2798"/>
                  </a:lnTo>
                  <a:lnTo>
                    <a:pt x="2353" y="2758"/>
                  </a:lnTo>
                  <a:lnTo>
                    <a:pt x="2412" y="2716"/>
                  </a:lnTo>
                  <a:lnTo>
                    <a:pt x="2469" y="2672"/>
                  </a:lnTo>
                  <a:lnTo>
                    <a:pt x="2523" y="2624"/>
                  </a:lnTo>
                  <a:lnTo>
                    <a:pt x="2577" y="2574"/>
                  </a:lnTo>
                  <a:lnTo>
                    <a:pt x="2626" y="2522"/>
                  </a:lnTo>
                  <a:lnTo>
                    <a:pt x="2673" y="2467"/>
                  </a:lnTo>
                  <a:lnTo>
                    <a:pt x="2718" y="2411"/>
                  </a:lnTo>
                  <a:lnTo>
                    <a:pt x="2761" y="2351"/>
                  </a:lnTo>
                  <a:lnTo>
                    <a:pt x="2800" y="2290"/>
                  </a:lnTo>
                  <a:lnTo>
                    <a:pt x="2836" y="2227"/>
                  </a:lnTo>
                  <a:lnTo>
                    <a:pt x="2869" y="2162"/>
                  </a:lnTo>
                  <a:lnTo>
                    <a:pt x="2899" y="2095"/>
                  </a:lnTo>
                  <a:lnTo>
                    <a:pt x="2927" y="2027"/>
                  </a:lnTo>
                  <a:lnTo>
                    <a:pt x="2950" y="1956"/>
                  </a:lnTo>
                  <a:lnTo>
                    <a:pt x="2971" y="1885"/>
                  </a:lnTo>
                  <a:lnTo>
                    <a:pt x="2987" y="1813"/>
                  </a:lnTo>
                  <a:lnTo>
                    <a:pt x="3001" y="1738"/>
                  </a:lnTo>
                  <a:lnTo>
                    <a:pt x="3010" y="1663"/>
                  </a:lnTo>
                  <a:lnTo>
                    <a:pt x="3016" y="1585"/>
                  </a:lnTo>
                  <a:lnTo>
                    <a:pt x="3018" y="1508"/>
                  </a:lnTo>
                  <a:lnTo>
                    <a:pt x="3016" y="1431"/>
                  </a:lnTo>
                  <a:lnTo>
                    <a:pt x="3010" y="1354"/>
                  </a:lnTo>
                  <a:lnTo>
                    <a:pt x="3001" y="1279"/>
                  </a:lnTo>
                  <a:lnTo>
                    <a:pt x="2987" y="1204"/>
                  </a:lnTo>
                  <a:lnTo>
                    <a:pt x="2971" y="1131"/>
                  </a:lnTo>
                  <a:lnTo>
                    <a:pt x="2950" y="1060"/>
                  </a:lnTo>
                  <a:lnTo>
                    <a:pt x="2927" y="989"/>
                  </a:lnTo>
                  <a:lnTo>
                    <a:pt x="2899" y="921"/>
                  </a:lnTo>
                  <a:lnTo>
                    <a:pt x="2869" y="855"/>
                  </a:lnTo>
                  <a:lnTo>
                    <a:pt x="2836" y="789"/>
                  </a:lnTo>
                  <a:lnTo>
                    <a:pt x="2800" y="726"/>
                  </a:lnTo>
                  <a:lnTo>
                    <a:pt x="2761" y="666"/>
                  </a:lnTo>
                  <a:lnTo>
                    <a:pt x="2718" y="606"/>
                  </a:lnTo>
                  <a:lnTo>
                    <a:pt x="2673" y="549"/>
                  </a:lnTo>
                  <a:lnTo>
                    <a:pt x="2626" y="495"/>
                  </a:lnTo>
                  <a:lnTo>
                    <a:pt x="2577" y="443"/>
                  </a:lnTo>
                  <a:lnTo>
                    <a:pt x="2523" y="392"/>
                  </a:lnTo>
                  <a:lnTo>
                    <a:pt x="2469" y="345"/>
                  </a:lnTo>
                  <a:lnTo>
                    <a:pt x="2412" y="300"/>
                  </a:lnTo>
                  <a:lnTo>
                    <a:pt x="2353" y="258"/>
                  </a:lnTo>
                  <a:lnTo>
                    <a:pt x="2292" y="218"/>
                  </a:lnTo>
                  <a:lnTo>
                    <a:pt x="2229" y="182"/>
                  </a:lnTo>
                  <a:lnTo>
                    <a:pt x="2163" y="149"/>
                  </a:lnTo>
                  <a:lnTo>
                    <a:pt x="2097" y="119"/>
                  </a:lnTo>
                  <a:lnTo>
                    <a:pt x="2028" y="92"/>
                  </a:lnTo>
                  <a:lnTo>
                    <a:pt x="1958" y="69"/>
                  </a:lnTo>
                  <a:lnTo>
                    <a:pt x="1887" y="47"/>
                  </a:lnTo>
                  <a:lnTo>
                    <a:pt x="1813" y="31"/>
                  </a:lnTo>
                  <a:lnTo>
                    <a:pt x="1739" y="18"/>
                  </a:lnTo>
                  <a:lnTo>
                    <a:pt x="1663" y="8"/>
                  </a:lnTo>
                  <a:lnTo>
                    <a:pt x="1587" y="2"/>
                  </a:lnTo>
                  <a:lnTo>
                    <a:pt x="150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45" name="íS1iḑê">
              <a:extLst>
                <a:ext uri="{FF2B5EF4-FFF2-40B4-BE49-F238E27FC236}">
                  <a16:creationId xmlns:a16="http://schemas.microsoft.com/office/drawing/2014/main" id="{69D9EBFF-A444-4862-A52D-19AC933F5AC5}"/>
                </a:ext>
              </a:extLst>
            </p:cNvPr>
            <p:cNvSpPr/>
            <p:nvPr/>
          </p:nvSpPr>
          <p:spPr bwMode="auto">
            <a:xfrm>
              <a:off x="2443223" y="163016"/>
              <a:ext cx="305965" cy="307374"/>
            </a:xfrm>
            <a:custGeom>
              <a:avLst/>
              <a:gdLst>
                <a:gd name="T0" fmla="*/ 5872 w 8047"/>
                <a:gd name="T1" fmla="*/ 6409 h 8046"/>
                <a:gd name="T2" fmla="*/ 5238 w 8047"/>
                <a:gd name="T3" fmla="*/ 6786 h 8046"/>
                <a:gd name="T4" fmla="*/ 4543 w 8047"/>
                <a:gd name="T5" fmla="*/ 6995 h 8046"/>
                <a:gd name="T6" fmla="*/ 3820 w 8047"/>
                <a:gd name="T7" fmla="*/ 7033 h 8046"/>
                <a:gd name="T8" fmla="*/ 3106 w 8047"/>
                <a:gd name="T9" fmla="*/ 6898 h 8046"/>
                <a:gd name="T10" fmla="*/ 2431 w 8047"/>
                <a:gd name="T11" fmla="*/ 6587 h 8046"/>
                <a:gd name="T12" fmla="*/ 1836 w 8047"/>
                <a:gd name="T13" fmla="*/ 6102 h 8046"/>
                <a:gd name="T14" fmla="*/ 1391 w 8047"/>
                <a:gd name="T15" fmla="*/ 5499 h 8046"/>
                <a:gd name="T16" fmla="*/ 1113 w 8047"/>
                <a:gd name="T17" fmla="*/ 4824 h 8046"/>
                <a:gd name="T18" fmla="*/ 1007 w 8047"/>
                <a:gd name="T19" fmla="*/ 4110 h 8046"/>
                <a:gd name="T20" fmla="*/ 1073 w 8047"/>
                <a:gd name="T21" fmla="*/ 3388 h 8046"/>
                <a:gd name="T22" fmla="*/ 1314 w 8047"/>
                <a:gd name="T23" fmla="*/ 2694 h 8046"/>
                <a:gd name="T24" fmla="*/ 1733 w 8047"/>
                <a:gd name="T25" fmla="*/ 2059 h 8046"/>
                <a:gd name="T26" fmla="*/ 2295 w 8047"/>
                <a:gd name="T27" fmla="*/ 1548 h 8046"/>
                <a:gd name="T28" fmla="*/ 2945 w 8047"/>
                <a:gd name="T29" fmla="*/ 1204 h 8046"/>
                <a:gd name="T30" fmla="*/ 3647 w 8047"/>
                <a:gd name="T31" fmla="*/ 1029 h 8046"/>
                <a:gd name="T32" fmla="*/ 4371 w 8047"/>
                <a:gd name="T33" fmla="*/ 1025 h 8046"/>
                <a:gd name="T34" fmla="*/ 5081 w 8047"/>
                <a:gd name="T35" fmla="*/ 1196 h 8046"/>
                <a:gd name="T36" fmla="*/ 5743 w 8047"/>
                <a:gd name="T37" fmla="*/ 1543 h 8046"/>
                <a:gd name="T38" fmla="*/ 6314 w 8047"/>
                <a:gd name="T39" fmla="*/ 2057 h 8046"/>
                <a:gd name="T40" fmla="*/ 6724 w 8047"/>
                <a:gd name="T41" fmla="*/ 2677 h 8046"/>
                <a:gd name="T42" fmla="*/ 6968 w 8047"/>
                <a:gd name="T43" fmla="*/ 3362 h 8046"/>
                <a:gd name="T44" fmla="*/ 7040 w 8047"/>
                <a:gd name="T45" fmla="*/ 4081 h 8046"/>
                <a:gd name="T46" fmla="*/ 6940 w 8047"/>
                <a:gd name="T47" fmla="*/ 4799 h 8046"/>
                <a:gd name="T48" fmla="*/ 6663 w 8047"/>
                <a:gd name="T49" fmla="*/ 5485 h 8046"/>
                <a:gd name="T50" fmla="*/ 4024 w 8047"/>
                <a:gd name="T51" fmla="*/ 0 h 8046"/>
                <a:gd name="T52" fmla="*/ 3018 w 8047"/>
                <a:gd name="T53" fmla="*/ 125 h 8046"/>
                <a:gd name="T54" fmla="*/ 2105 w 8047"/>
                <a:gd name="T55" fmla="*/ 485 h 8046"/>
                <a:gd name="T56" fmla="*/ 1318 w 8047"/>
                <a:gd name="T57" fmla="*/ 1044 h 8046"/>
                <a:gd name="T58" fmla="*/ 687 w 8047"/>
                <a:gd name="T59" fmla="*/ 1773 h 8046"/>
                <a:gd name="T60" fmla="*/ 243 w 8047"/>
                <a:gd name="T61" fmla="*/ 2639 h 8046"/>
                <a:gd name="T62" fmla="*/ 20 w 8047"/>
                <a:gd name="T63" fmla="*/ 3611 h 8046"/>
                <a:gd name="T64" fmla="*/ 46 w 8047"/>
                <a:gd name="T65" fmla="*/ 4636 h 8046"/>
                <a:gd name="T66" fmla="*/ 316 w 8047"/>
                <a:gd name="T67" fmla="*/ 5590 h 8046"/>
                <a:gd name="T68" fmla="*/ 798 w 8047"/>
                <a:gd name="T69" fmla="*/ 6431 h 8046"/>
                <a:gd name="T70" fmla="*/ 1463 w 8047"/>
                <a:gd name="T71" fmla="*/ 7128 h 8046"/>
                <a:gd name="T72" fmla="*/ 2278 w 8047"/>
                <a:gd name="T73" fmla="*/ 7650 h 8046"/>
                <a:gd name="T74" fmla="*/ 3212 w 8047"/>
                <a:gd name="T75" fmla="*/ 7965 h 8046"/>
                <a:gd name="T76" fmla="*/ 4231 w 8047"/>
                <a:gd name="T77" fmla="*/ 8041 h 8046"/>
                <a:gd name="T78" fmla="*/ 5220 w 8047"/>
                <a:gd name="T79" fmla="*/ 7866 h 8046"/>
                <a:gd name="T80" fmla="*/ 6110 w 8047"/>
                <a:gd name="T81" fmla="*/ 7464 h 8046"/>
                <a:gd name="T82" fmla="*/ 6868 w 8047"/>
                <a:gd name="T83" fmla="*/ 6868 h 8046"/>
                <a:gd name="T84" fmla="*/ 7465 w 8047"/>
                <a:gd name="T85" fmla="*/ 6110 h 8046"/>
                <a:gd name="T86" fmla="*/ 7866 w 8047"/>
                <a:gd name="T87" fmla="*/ 5220 h 8046"/>
                <a:gd name="T88" fmla="*/ 8042 w 8047"/>
                <a:gd name="T89" fmla="*/ 4230 h 8046"/>
                <a:gd name="T90" fmla="*/ 7966 w 8047"/>
                <a:gd name="T91" fmla="*/ 3212 h 8046"/>
                <a:gd name="T92" fmla="*/ 7650 w 8047"/>
                <a:gd name="T93" fmla="*/ 2278 h 8046"/>
                <a:gd name="T94" fmla="*/ 7128 w 8047"/>
                <a:gd name="T95" fmla="*/ 1463 h 8046"/>
                <a:gd name="T96" fmla="*/ 6431 w 8047"/>
                <a:gd name="T97" fmla="*/ 798 h 8046"/>
                <a:gd name="T98" fmla="*/ 5590 w 8047"/>
                <a:gd name="T99" fmla="*/ 316 h 8046"/>
                <a:gd name="T100" fmla="*/ 4636 w 8047"/>
                <a:gd name="T101" fmla="*/ 46 h 80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047" h="8046">
                  <a:moveTo>
                    <a:pt x="6314" y="5986"/>
                  </a:moveTo>
                  <a:lnTo>
                    <a:pt x="6210" y="6102"/>
                  </a:lnTo>
                  <a:lnTo>
                    <a:pt x="6102" y="6210"/>
                  </a:lnTo>
                  <a:lnTo>
                    <a:pt x="5989" y="6313"/>
                  </a:lnTo>
                  <a:lnTo>
                    <a:pt x="5872" y="6409"/>
                  </a:lnTo>
                  <a:lnTo>
                    <a:pt x="5752" y="6497"/>
                  </a:lnTo>
                  <a:lnTo>
                    <a:pt x="5627" y="6580"/>
                  </a:lnTo>
                  <a:lnTo>
                    <a:pt x="5500" y="6655"/>
                  </a:lnTo>
                  <a:lnTo>
                    <a:pt x="5370" y="6724"/>
                  </a:lnTo>
                  <a:lnTo>
                    <a:pt x="5238" y="6786"/>
                  </a:lnTo>
                  <a:lnTo>
                    <a:pt x="5102" y="6842"/>
                  </a:lnTo>
                  <a:lnTo>
                    <a:pt x="4964" y="6890"/>
                  </a:lnTo>
                  <a:lnTo>
                    <a:pt x="4825" y="6933"/>
                  </a:lnTo>
                  <a:lnTo>
                    <a:pt x="4684" y="6967"/>
                  </a:lnTo>
                  <a:lnTo>
                    <a:pt x="4543" y="6995"/>
                  </a:lnTo>
                  <a:lnTo>
                    <a:pt x="4399" y="7017"/>
                  </a:lnTo>
                  <a:lnTo>
                    <a:pt x="4255" y="7031"/>
                  </a:lnTo>
                  <a:lnTo>
                    <a:pt x="4110" y="7039"/>
                  </a:lnTo>
                  <a:lnTo>
                    <a:pt x="3965" y="7039"/>
                  </a:lnTo>
                  <a:lnTo>
                    <a:pt x="3820" y="7033"/>
                  </a:lnTo>
                  <a:lnTo>
                    <a:pt x="3676" y="7020"/>
                  </a:lnTo>
                  <a:lnTo>
                    <a:pt x="3533" y="7000"/>
                  </a:lnTo>
                  <a:lnTo>
                    <a:pt x="3389" y="6973"/>
                  </a:lnTo>
                  <a:lnTo>
                    <a:pt x="3247" y="6940"/>
                  </a:lnTo>
                  <a:lnTo>
                    <a:pt x="3106" y="6898"/>
                  </a:lnTo>
                  <a:lnTo>
                    <a:pt x="2966" y="6850"/>
                  </a:lnTo>
                  <a:lnTo>
                    <a:pt x="2829" y="6795"/>
                  </a:lnTo>
                  <a:lnTo>
                    <a:pt x="2695" y="6732"/>
                  </a:lnTo>
                  <a:lnTo>
                    <a:pt x="2562" y="6663"/>
                  </a:lnTo>
                  <a:lnTo>
                    <a:pt x="2431" y="6587"/>
                  </a:lnTo>
                  <a:lnTo>
                    <a:pt x="2304" y="6503"/>
                  </a:lnTo>
                  <a:lnTo>
                    <a:pt x="2181" y="6412"/>
                  </a:lnTo>
                  <a:lnTo>
                    <a:pt x="2060" y="6314"/>
                  </a:lnTo>
                  <a:lnTo>
                    <a:pt x="1944" y="6209"/>
                  </a:lnTo>
                  <a:lnTo>
                    <a:pt x="1836" y="6102"/>
                  </a:lnTo>
                  <a:lnTo>
                    <a:pt x="1733" y="5988"/>
                  </a:lnTo>
                  <a:lnTo>
                    <a:pt x="1637" y="5871"/>
                  </a:lnTo>
                  <a:lnTo>
                    <a:pt x="1549" y="5751"/>
                  </a:lnTo>
                  <a:lnTo>
                    <a:pt x="1466" y="5627"/>
                  </a:lnTo>
                  <a:lnTo>
                    <a:pt x="1391" y="5499"/>
                  </a:lnTo>
                  <a:lnTo>
                    <a:pt x="1322" y="5369"/>
                  </a:lnTo>
                  <a:lnTo>
                    <a:pt x="1260" y="5237"/>
                  </a:lnTo>
                  <a:lnTo>
                    <a:pt x="1204" y="5101"/>
                  </a:lnTo>
                  <a:lnTo>
                    <a:pt x="1156" y="4964"/>
                  </a:lnTo>
                  <a:lnTo>
                    <a:pt x="1113" y="4824"/>
                  </a:lnTo>
                  <a:lnTo>
                    <a:pt x="1079" y="4683"/>
                  </a:lnTo>
                  <a:lnTo>
                    <a:pt x="1050" y="4542"/>
                  </a:lnTo>
                  <a:lnTo>
                    <a:pt x="1029" y="4399"/>
                  </a:lnTo>
                  <a:lnTo>
                    <a:pt x="1015" y="4254"/>
                  </a:lnTo>
                  <a:lnTo>
                    <a:pt x="1007" y="4110"/>
                  </a:lnTo>
                  <a:lnTo>
                    <a:pt x="1006" y="3965"/>
                  </a:lnTo>
                  <a:lnTo>
                    <a:pt x="1013" y="3820"/>
                  </a:lnTo>
                  <a:lnTo>
                    <a:pt x="1026" y="3675"/>
                  </a:lnTo>
                  <a:lnTo>
                    <a:pt x="1046" y="3532"/>
                  </a:lnTo>
                  <a:lnTo>
                    <a:pt x="1073" y="3388"/>
                  </a:lnTo>
                  <a:lnTo>
                    <a:pt x="1107" y="3246"/>
                  </a:lnTo>
                  <a:lnTo>
                    <a:pt x="1149" y="3105"/>
                  </a:lnTo>
                  <a:lnTo>
                    <a:pt x="1197" y="2966"/>
                  </a:lnTo>
                  <a:lnTo>
                    <a:pt x="1251" y="2828"/>
                  </a:lnTo>
                  <a:lnTo>
                    <a:pt x="1314" y="2694"/>
                  </a:lnTo>
                  <a:lnTo>
                    <a:pt x="1384" y="2561"/>
                  </a:lnTo>
                  <a:lnTo>
                    <a:pt x="1460" y="2430"/>
                  </a:lnTo>
                  <a:lnTo>
                    <a:pt x="1544" y="2303"/>
                  </a:lnTo>
                  <a:lnTo>
                    <a:pt x="1634" y="2180"/>
                  </a:lnTo>
                  <a:lnTo>
                    <a:pt x="1733" y="2059"/>
                  </a:lnTo>
                  <a:lnTo>
                    <a:pt x="1837" y="1943"/>
                  </a:lnTo>
                  <a:lnTo>
                    <a:pt x="1945" y="1835"/>
                  </a:lnTo>
                  <a:lnTo>
                    <a:pt x="2058" y="1732"/>
                  </a:lnTo>
                  <a:lnTo>
                    <a:pt x="2175" y="1637"/>
                  </a:lnTo>
                  <a:lnTo>
                    <a:pt x="2295" y="1548"/>
                  </a:lnTo>
                  <a:lnTo>
                    <a:pt x="2419" y="1465"/>
                  </a:lnTo>
                  <a:lnTo>
                    <a:pt x="2547" y="1390"/>
                  </a:lnTo>
                  <a:lnTo>
                    <a:pt x="2677" y="1322"/>
                  </a:lnTo>
                  <a:lnTo>
                    <a:pt x="2809" y="1259"/>
                  </a:lnTo>
                  <a:lnTo>
                    <a:pt x="2945" y="1204"/>
                  </a:lnTo>
                  <a:lnTo>
                    <a:pt x="3082" y="1156"/>
                  </a:lnTo>
                  <a:lnTo>
                    <a:pt x="3222" y="1113"/>
                  </a:lnTo>
                  <a:lnTo>
                    <a:pt x="3363" y="1078"/>
                  </a:lnTo>
                  <a:lnTo>
                    <a:pt x="3504" y="1050"/>
                  </a:lnTo>
                  <a:lnTo>
                    <a:pt x="3647" y="1029"/>
                  </a:lnTo>
                  <a:lnTo>
                    <a:pt x="3792" y="1014"/>
                  </a:lnTo>
                  <a:lnTo>
                    <a:pt x="3936" y="1007"/>
                  </a:lnTo>
                  <a:lnTo>
                    <a:pt x="4081" y="1006"/>
                  </a:lnTo>
                  <a:lnTo>
                    <a:pt x="4226" y="1012"/>
                  </a:lnTo>
                  <a:lnTo>
                    <a:pt x="4371" y="1025"/>
                  </a:lnTo>
                  <a:lnTo>
                    <a:pt x="4514" y="1045"/>
                  </a:lnTo>
                  <a:lnTo>
                    <a:pt x="4658" y="1072"/>
                  </a:lnTo>
                  <a:lnTo>
                    <a:pt x="4800" y="1106"/>
                  </a:lnTo>
                  <a:lnTo>
                    <a:pt x="4941" y="1148"/>
                  </a:lnTo>
                  <a:lnTo>
                    <a:pt x="5081" y="1196"/>
                  </a:lnTo>
                  <a:lnTo>
                    <a:pt x="5218" y="1251"/>
                  </a:lnTo>
                  <a:lnTo>
                    <a:pt x="5353" y="1313"/>
                  </a:lnTo>
                  <a:lnTo>
                    <a:pt x="5486" y="1383"/>
                  </a:lnTo>
                  <a:lnTo>
                    <a:pt x="5616" y="1459"/>
                  </a:lnTo>
                  <a:lnTo>
                    <a:pt x="5743" y="1543"/>
                  </a:lnTo>
                  <a:lnTo>
                    <a:pt x="5866" y="1633"/>
                  </a:lnTo>
                  <a:lnTo>
                    <a:pt x="5987" y="1732"/>
                  </a:lnTo>
                  <a:lnTo>
                    <a:pt x="6103" y="1836"/>
                  </a:lnTo>
                  <a:lnTo>
                    <a:pt x="6211" y="1944"/>
                  </a:lnTo>
                  <a:lnTo>
                    <a:pt x="6314" y="2057"/>
                  </a:lnTo>
                  <a:lnTo>
                    <a:pt x="6409" y="2174"/>
                  </a:lnTo>
                  <a:lnTo>
                    <a:pt x="6498" y="2294"/>
                  </a:lnTo>
                  <a:lnTo>
                    <a:pt x="6581" y="2419"/>
                  </a:lnTo>
                  <a:lnTo>
                    <a:pt x="6656" y="2546"/>
                  </a:lnTo>
                  <a:lnTo>
                    <a:pt x="6724" y="2677"/>
                  </a:lnTo>
                  <a:lnTo>
                    <a:pt x="6787" y="2809"/>
                  </a:lnTo>
                  <a:lnTo>
                    <a:pt x="6842" y="2944"/>
                  </a:lnTo>
                  <a:lnTo>
                    <a:pt x="6890" y="3082"/>
                  </a:lnTo>
                  <a:lnTo>
                    <a:pt x="6933" y="3221"/>
                  </a:lnTo>
                  <a:lnTo>
                    <a:pt x="6968" y="3362"/>
                  </a:lnTo>
                  <a:lnTo>
                    <a:pt x="6996" y="3503"/>
                  </a:lnTo>
                  <a:lnTo>
                    <a:pt x="7017" y="3647"/>
                  </a:lnTo>
                  <a:lnTo>
                    <a:pt x="7032" y="3791"/>
                  </a:lnTo>
                  <a:lnTo>
                    <a:pt x="7039" y="3936"/>
                  </a:lnTo>
                  <a:lnTo>
                    <a:pt x="7040" y="4081"/>
                  </a:lnTo>
                  <a:lnTo>
                    <a:pt x="7034" y="4226"/>
                  </a:lnTo>
                  <a:lnTo>
                    <a:pt x="7021" y="4369"/>
                  </a:lnTo>
                  <a:lnTo>
                    <a:pt x="7001" y="4514"/>
                  </a:lnTo>
                  <a:lnTo>
                    <a:pt x="6974" y="4657"/>
                  </a:lnTo>
                  <a:lnTo>
                    <a:pt x="6940" y="4799"/>
                  </a:lnTo>
                  <a:lnTo>
                    <a:pt x="6898" y="4940"/>
                  </a:lnTo>
                  <a:lnTo>
                    <a:pt x="6850" y="5080"/>
                  </a:lnTo>
                  <a:lnTo>
                    <a:pt x="6795" y="5216"/>
                  </a:lnTo>
                  <a:lnTo>
                    <a:pt x="6732" y="5352"/>
                  </a:lnTo>
                  <a:lnTo>
                    <a:pt x="6663" y="5485"/>
                  </a:lnTo>
                  <a:lnTo>
                    <a:pt x="6587" y="5615"/>
                  </a:lnTo>
                  <a:lnTo>
                    <a:pt x="6503" y="5742"/>
                  </a:lnTo>
                  <a:lnTo>
                    <a:pt x="6413" y="5866"/>
                  </a:lnTo>
                  <a:lnTo>
                    <a:pt x="6314" y="5986"/>
                  </a:lnTo>
                  <a:close/>
                  <a:moveTo>
                    <a:pt x="4024" y="0"/>
                  </a:moveTo>
                  <a:lnTo>
                    <a:pt x="3816" y="5"/>
                  </a:lnTo>
                  <a:lnTo>
                    <a:pt x="3612" y="20"/>
                  </a:lnTo>
                  <a:lnTo>
                    <a:pt x="3410" y="46"/>
                  </a:lnTo>
                  <a:lnTo>
                    <a:pt x="3212" y="81"/>
                  </a:lnTo>
                  <a:lnTo>
                    <a:pt x="3018" y="125"/>
                  </a:lnTo>
                  <a:lnTo>
                    <a:pt x="2826" y="180"/>
                  </a:lnTo>
                  <a:lnTo>
                    <a:pt x="2639" y="243"/>
                  </a:lnTo>
                  <a:lnTo>
                    <a:pt x="2456" y="316"/>
                  </a:lnTo>
                  <a:lnTo>
                    <a:pt x="2278" y="396"/>
                  </a:lnTo>
                  <a:lnTo>
                    <a:pt x="2105" y="485"/>
                  </a:lnTo>
                  <a:lnTo>
                    <a:pt x="1936" y="582"/>
                  </a:lnTo>
                  <a:lnTo>
                    <a:pt x="1773" y="687"/>
                  </a:lnTo>
                  <a:lnTo>
                    <a:pt x="1615" y="798"/>
                  </a:lnTo>
                  <a:lnTo>
                    <a:pt x="1463" y="918"/>
                  </a:lnTo>
                  <a:lnTo>
                    <a:pt x="1318" y="1044"/>
                  </a:lnTo>
                  <a:lnTo>
                    <a:pt x="1178" y="1178"/>
                  </a:lnTo>
                  <a:lnTo>
                    <a:pt x="1045" y="1318"/>
                  </a:lnTo>
                  <a:lnTo>
                    <a:pt x="918" y="1463"/>
                  </a:lnTo>
                  <a:lnTo>
                    <a:pt x="798" y="1615"/>
                  </a:lnTo>
                  <a:lnTo>
                    <a:pt x="687" y="1773"/>
                  </a:lnTo>
                  <a:lnTo>
                    <a:pt x="582" y="1936"/>
                  </a:lnTo>
                  <a:lnTo>
                    <a:pt x="485" y="2105"/>
                  </a:lnTo>
                  <a:lnTo>
                    <a:pt x="396" y="2278"/>
                  </a:lnTo>
                  <a:lnTo>
                    <a:pt x="316" y="2456"/>
                  </a:lnTo>
                  <a:lnTo>
                    <a:pt x="243" y="2639"/>
                  </a:lnTo>
                  <a:lnTo>
                    <a:pt x="181" y="2826"/>
                  </a:lnTo>
                  <a:lnTo>
                    <a:pt x="126" y="3018"/>
                  </a:lnTo>
                  <a:lnTo>
                    <a:pt x="81" y="3212"/>
                  </a:lnTo>
                  <a:lnTo>
                    <a:pt x="46" y="3410"/>
                  </a:lnTo>
                  <a:lnTo>
                    <a:pt x="20" y="3611"/>
                  </a:lnTo>
                  <a:lnTo>
                    <a:pt x="5" y="3816"/>
                  </a:lnTo>
                  <a:lnTo>
                    <a:pt x="0" y="4022"/>
                  </a:lnTo>
                  <a:lnTo>
                    <a:pt x="5" y="4230"/>
                  </a:lnTo>
                  <a:lnTo>
                    <a:pt x="20" y="4434"/>
                  </a:lnTo>
                  <a:lnTo>
                    <a:pt x="46" y="4636"/>
                  </a:lnTo>
                  <a:lnTo>
                    <a:pt x="81" y="4834"/>
                  </a:lnTo>
                  <a:lnTo>
                    <a:pt x="126" y="5028"/>
                  </a:lnTo>
                  <a:lnTo>
                    <a:pt x="181" y="5220"/>
                  </a:lnTo>
                  <a:lnTo>
                    <a:pt x="243" y="5407"/>
                  </a:lnTo>
                  <a:lnTo>
                    <a:pt x="316" y="5590"/>
                  </a:lnTo>
                  <a:lnTo>
                    <a:pt x="396" y="5768"/>
                  </a:lnTo>
                  <a:lnTo>
                    <a:pt x="485" y="5941"/>
                  </a:lnTo>
                  <a:lnTo>
                    <a:pt x="582" y="6110"/>
                  </a:lnTo>
                  <a:lnTo>
                    <a:pt x="687" y="6273"/>
                  </a:lnTo>
                  <a:lnTo>
                    <a:pt x="798" y="6431"/>
                  </a:lnTo>
                  <a:lnTo>
                    <a:pt x="918" y="6583"/>
                  </a:lnTo>
                  <a:lnTo>
                    <a:pt x="1045" y="6728"/>
                  </a:lnTo>
                  <a:lnTo>
                    <a:pt x="1178" y="6868"/>
                  </a:lnTo>
                  <a:lnTo>
                    <a:pt x="1318" y="7001"/>
                  </a:lnTo>
                  <a:lnTo>
                    <a:pt x="1463" y="7128"/>
                  </a:lnTo>
                  <a:lnTo>
                    <a:pt x="1615" y="7247"/>
                  </a:lnTo>
                  <a:lnTo>
                    <a:pt x="1773" y="7359"/>
                  </a:lnTo>
                  <a:lnTo>
                    <a:pt x="1936" y="7464"/>
                  </a:lnTo>
                  <a:lnTo>
                    <a:pt x="2105" y="7561"/>
                  </a:lnTo>
                  <a:lnTo>
                    <a:pt x="2278" y="7650"/>
                  </a:lnTo>
                  <a:lnTo>
                    <a:pt x="2456" y="7730"/>
                  </a:lnTo>
                  <a:lnTo>
                    <a:pt x="2639" y="7803"/>
                  </a:lnTo>
                  <a:lnTo>
                    <a:pt x="2826" y="7866"/>
                  </a:lnTo>
                  <a:lnTo>
                    <a:pt x="3018" y="7919"/>
                  </a:lnTo>
                  <a:lnTo>
                    <a:pt x="3212" y="7965"/>
                  </a:lnTo>
                  <a:lnTo>
                    <a:pt x="3410" y="8000"/>
                  </a:lnTo>
                  <a:lnTo>
                    <a:pt x="3612" y="8026"/>
                  </a:lnTo>
                  <a:lnTo>
                    <a:pt x="3816" y="8041"/>
                  </a:lnTo>
                  <a:lnTo>
                    <a:pt x="4024" y="8046"/>
                  </a:lnTo>
                  <a:lnTo>
                    <a:pt x="4231" y="8041"/>
                  </a:lnTo>
                  <a:lnTo>
                    <a:pt x="4435" y="8026"/>
                  </a:lnTo>
                  <a:lnTo>
                    <a:pt x="4636" y="8000"/>
                  </a:lnTo>
                  <a:lnTo>
                    <a:pt x="4834" y="7965"/>
                  </a:lnTo>
                  <a:lnTo>
                    <a:pt x="5028" y="7919"/>
                  </a:lnTo>
                  <a:lnTo>
                    <a:pt x="5220" y="7866"/>
                  </a:lnTo>
                  <a:lnTo>
                    <a:pt x="5407" y="7803"/>
                  </a:lnTo>
                  <a:lnTo>
                    <a:pt x="5590" y="7730"/>
                  </a:lnTo>
                  <a:lnTo>
                    <a:pt x="5768" y="7650"/>
                  </a:lnTo>
                  <a:lnTo>
                    <a:pt x="5941" y="7561"/>
                  </a:lnTo>
                  <a:lnTo>
                    <a:pt x="6110" y="7464"/>
                  </a:lnTo>
                  <a:lnTo>
                    <a:pt x="6273" y="7359"/>
                  </a:lnTo>
                  <a:lnTo>
                    <a:pt x="6431" y="7247"/>
                  </a:lnTo>
                  <a:lnTo>
                    <a:pt x="6583" y="7128"/>
                  </a:lnTo>
                  <a:lnTo>
                    <a:pt x="6728" y="7001"/>
                  </a:lnTo>
                  <a:lnTo>
                    <a:pt x="6868" y="6868"/>
                  </a:lnTo>
                  <a:lnTo>
                    <a:pt x="7002" y="6728"/>
                  </a:lnTo>
                  <a:lnTo>
                    <a:pt x="7128" y="6583"/>
                  </a:lnTo>
                  <a:lnTo>
                    <a:pt x="7248" y="6431"/>
                  </a:lnTo>
                  <a:lnTo>
                    <a:pt x="7360" y="6273"/>
                  </a:lnTo>
                  <a:lnTo>
                    <a:pt x="7465" y="6110"/>
                  </a:lnTo>
                  <a:lnTo>
                    <a:pt x="7561" y="5941"/>
                  </a:lnTo>
                  <a:lnTo>
                    <a:pt x="7650" y="5768"/>
                  </a:lnTo>
                  <a:lnTo>
                    <a:pt x="7730" y="5590"/>
                  </a:lnTo>
                  <a:lnTo>
                    <a:pt x="7803" y="5407"/>
                  </a:lnTo>
                  <a:lnTo>
                    <a:pt x="7866" y="5220"/>
                  </a:lnTo>
                  <a:lnTo>
                    <a:pt x="7921" y="5028"/>
                  </a:lnTo>
                  <a:lnTo>
                    <a:pt x="7966" y="4834"/>
                  </a:lnTo>
                  <a:lnTo>
                    <a:pt x="8001" y="4636"/>
                  </a:lnTo>
                  <a:lnTo>
                    <a:pt x="8026" y="4434"/>
                  </a:lnTo>
                  <a:lnTo>
                    <a:pt x="8042" y="4230"/>
                  </a:lnTo>
                  <a:lnTo>
                    <a:pt x="8047" y="4022"/>
                  </a:lnTo>
                  <a:lnTo>
                    <a:pt x="8042" y="3816"/>
                  </a:lnTo>
                  <a:lnTo>
                    <a:pt x="8026" y="3611"/>
                  </a:lnTo>
                  <a:lnTo>
                    <a:pt x="8001" y="3410"/>
                  </a:lnTo>
                  <a:lnTo>
                    <a:pt x="7966" y="3212"/>
                  </a:lnTo>
                  <a:lnTo>
                    <a:pt x="7921" y="3018"/>
                  </a:lnTo>
                  <a:lnTo>
                    <a:pt x="7866" y="2826"/>
                  </a:lnTo>
                  <a:lnTo>
                    <a:pt x="7803" y="2639"/>
                  </a:lnTo>
                  <a:lnTo>
                    <a:pt x="7730" y="2456"/>
                  </a:lnTo>
                  <a:lnTo>
                    <a:pt x="7650" y="2278"/>
                  </a:lnTo>
                  <a:lnTo>
                    <a:pt x="7561" y="2105"/>
                  </a:lnTo>
                  <a:lnTo>
                    <a:pt x="7465" y="1936"/>
                  </a:lnTo>
                  <a:lnTo>
                    <a:pt x="7360" y="1773"/>
                  </a:lnTo>
                  <a:lnTo>
                    <a:pt x="7248" y="1615"/>
                  </a:lnTo>
                  <a:lnTo>
                    <a:pt x="7128" y="1463"/>
                  </a:lnTo>
                  <a:lnTo>
                    <a:pt x="7002" y="1318"/>
                  </a:lnTo>
                  <a:lnTo>
                    <a:pt x="6868" y="1178"/>
                  </a:lnTo>
                  <a:lnTo>
                    <a:pt x="6728" y="1044"/>
                  </a:lnTo>
                  <a:lnTo>
                    <a:pt x="6583" y="918"/>
                  </a:lnTo>
                  <a:lnTo>
                    <a:pt x="6431" y="798"/>
                  </a:lnTo>
                  <a:lnTo>
                    <a:pt x="6273" y="687"/>
                  </a:lnTo>
                  <a:lnTo>
                    <a:pt x="6110" y="582"/>
                  </a:lnTo>
                  <a:lnTo>
                    <a:pt x="5941" y="485"/>
                  </a:lnTo>
                  <a:lnTo>
                    <a:pt x="5768" y="396"/>
                  </a:lnTo>
                  <a:lnTo>
                    <a:pt x="5590" y="316"/>
                  </a:lnTo>
                  <a:lnTo>
                    <a:pt x="5407" y="243"/>
                  </a:lnTo>
                  <a:lnTo>
                    <a:pt x="5220" y="180"/>
                  </a:lnTo>
                  <a:lnTo>
                    <a:pt x="5028" y="125"/>
                  </a:lnTo>
                  <a:lnTo>
                    <a:pt x="4834" y="81"/>
                  </a:lnTo>
                  <a:lnTo>
                    <a:pt x="4636" y="46"/>
                  </a:lnTo>
                  <a:lnTo>
                    <a:pt x="4435" y="20"/>
                  </a:lnTo>
                  <a:lnTo>
                    <a:pt x="4231" y="5"/>
                  </a:lnTo>
                  <a:lnTo>
                    <a:pt x="402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46" name="í$1iďé">
              <a:extLst>
                <a:ext uri="{FF2B5EF4-FFF2-40B4-BE49-F238E27FC236}">
                  <a16:creationId xmlns:a16="http://schemas.microsoft.com/office/drawing/2014/main" id="{70D6BF58-FEA5-40D5-B24A-8A8BCDC71DAA}"/>
                </a:ext>
              </a:extLst>
            </p:cNvPr>
            <p:cNvSpPr/>
            <p:nvPr/>
          </p:nvSpPr>
          <p:spPr bwMode="auto">
            <a:xfrm>
              <a:off x="2519361" y="240564"/>
              <a:ext cx="86009" cy="86009"/>
            </a:xfrm>
            <a:custGeom>
              <a:avLst/>
              <a:gdLst>
                <a:gd name="T0" fmla="*/ 1705 w 2263"/>
                <a:gd name="T1" fmla="*/ 23 h 2263"/>
                <a:gd name="T2" fmla="*/ 1319 w 2263"/>
                <a:gd name="T3" fmla="*/ 122 h 2263"/>
                <a:gd name="T4" fmla="*/ 968 w 2263"/>
                <a:gd name="T5" fmla="*/ 291 h 2263"/>
                <a:gd name="T6" fmla="*/ 659 w 2263"/>
                <a:gd name="T7" fmla="*/ 523 h 2263"/>
                <a:gd name="T8" fmla="*/ 399 w 2263"/>
                <a:gd name="T9" fmla="*/ 808 h 2263"/>
                <a:gd name="T10" fmla="*/ 198 w 2263"/>
                <a:gd name="T11" fmla="*/ 1139 h 2263"/>
                <a:gd name="T12" fmla="*/ 63 w 2263"/>
                <a:gd name="T13" fmla="*/ 1508 h 2263"/>
                <a:gd name="T14" fmla="*/ 3 w 2263"/>
                <a:gd name="T15" fmla="*/ 1908 h 2263"/>
                <a:gd name="T16" fmla="*/ 1 w 2263"/>
                <a:gd name="T17" fmla="*/ 2038 h 2263"/>
                <a:gd name="T18" fmla="*/ 11 w 2263"/>
                <a:gd name="T19" fmla="*/ 2087 h 2263"/>
                <a:gd name="T20" fmla="*/ 30 w 2263"/>
                <a:gd name="T21" fmla="*/ 2131 h 2263"/>
                <a:gd name="T22" fmla="*/ 57 w 2263"/>
                <a:gd name="T23" fmla="*/ 2171 h 2263"/>
                <a:gd name="T24" fmla="*/ 91 w 2263"/>
                <a:gd name="T25" fmla="*/ 2206 h 2263"/>
                <a:gd name="T26" fmla="*/ 131 w 2263"/>
                <a:gd name="T27" fmla="*/ 2233 h 2263"/>
                <a:gd name="T28" fmla="*/ 177 w 2263"/>
                <a:gd name="T29" fmla="*/ 2252 h 2263"/>
                <a:gd name="T30" fmla="*/ 225 w 2263"/>
                <a:gd name="T31" fmla="*/ 2262 h 2263"/>
                <a:gd name="T32" fmla="*/ 276 w 2263"/>
                <a:gd name="T33" fmla="*/ 2262 h 2263"/>
                <a:gd name="T34" fmla="*/ 326 w 2263"/>
                <a:gd name="T35" fmla="*/ 2252 h 2263"/>
                <a:gd name="T36" fmla="*/ 371 w 2263"/>
                <a:gd name="T37" fmla="*/ 2233 h 2263"/>
                <a:gd name="T38" fmla="*/ 411 w 2263"/>
                <a:gd name="T39" fmla="*/ 2206 h 2263"/>
                <a:gd name="T40" fmla="*/ 445 w 2263"/>
                <a:gd name="T41" fmla="*/ 2171 h 2263"/>
                <a:gd name="T42" fmla="*/ 472 w 2263"/>
                <a:gd name="T43" fmla="*/ 2131 h 2263"/>
                <a:gd name="T44" fmla="*/ 492 w 2263"/>
                <a:gd name="T45" fmla="*/ 2087 h 2263"/>
                <a:gd name="T46" fmla="*/ 502 w 2263"/>
                <a:gd name="T47" fmla="*/ 2038 h 2263"/>
                <a:gd name="T48" fmla="*/ 505 w 2263"/>
                <a:gd name="T49" fmla="*/ 1934 h 2263"/>
                <a:gd name="T50" fmla="*/ 550 w 2263"/>
                <a:gd name="T51" fmla="*/ 1634 h 2263"/>
                <a:gd name="T52" fmla="*/ 651 w 2263"/>
                <a:gd name="T53" fmla="*/ 1358 h 2263"/>
                <a:gd name="T54" fmla="*/ 802 w 2263"/>
                <a:gd name="T55" fmla="*/ 1109 h 2263"/>
                <a:gd name="T56" fmla="*/ 997 w 2263"/>
                <a:gd name="T57" fmla="*/ 895 h 2263"/>
                <a:gd name="T58" fmla="*/ 1229 w 2263"/>
                <a:gd name="T59" fmla="*/ 721 h 2263"/>
                <a:gd name="T60" fmla="*/ 1492 w 2263"/>
                <a:gd name="T61" fmla="*/ 594 h 2263"/>
                <a:gd name="T62" fmla="*/ 1781 w 2263"/>
                <a:gd name="T63" fmla="*/ 521 h 2263"/>
                <a:gd name="T64" fmla="*/ 2025 w 2263"/>
                <a:gd name="T65" fmla="*/ 503 h 2263"/>
                <a:gd name="T66" fmla="*/ 2074 w 2263"/>
                <a:gd name="T67" fmla="*/ 496 h 2263"/>
                <a:gd name="T68" fmla="*/ 2120 w 2263"/>
                <a:gd name="T69" fmla="*/ 478 h 2263"/>
                <a:gd name="T70" fmla="*/ 2161 w 2263"/>
                <a:gd name="T71" fmla="*/ 453 h 2263"/>
                <a:gd name="T72" fmla="*/ 2198 w 2263"/>
                <a:gd name="T73" fmla="*/ 420 h 2263"/>
                <a:gd name="T74" fmla="*/ 2227 w 2263"/>
                <a:gd name="T75" fmla="*/ 382 h 2263"/>
                <a:gd name="T76" fmla="*/ 2248 w 2263"/>
                <a:gd name="T77" fmla="*/ 338 h 2263"/>
                <a:gd name="T78" fmla="*/ 2260 w 2263"/>
                <a:gd name="T79" fmla="*/ 289 h 2263"/>
                <a:gd name="T80" fmla="*/ 2263 w 2263"/>
                <a:gd name="T81" fmla="*/ 239 h 2263"/>
                <a:gd name="T82" fmla="*/ 2255 w 2263"/>
                <a:gd name="T83" fmla="*/ 189 h 2263"/>
                <a:gd name="T84" fmla="*/ 2238 w 2263"/>
                <a:gd name="T85" fmla="*/ 142 h 2263"/>
                <a:gd name="T86" fmla="*/ 2213 w 2263"/>
                <a:gd name="T87" fmla="*/ 101 h 2263"/>
                <a:gd name="T88" fmla="*/ 2180 w 2263"/>
                <a:gd name="T89" fmla="*/ 65 h 2263"/>
                <a:gd name="T90" fmla="*/ 2141 w 2263"/>
                <a:gd name="T91" fmla="*/ 36 h 2263"/>
                <a:gd name="T92" fmla="*/ 2098 w 2263"/>
                <a:gd name="T93" fmla="*/ 15 h 2263"/>
                <a:gd name="T94" fmla="*/ 2050 w 2263"/>
                <a:gd name="T95" fmla="*/ 3 h 2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263" h="2263">
                  <a:moveTo>
                    <a:pt x="2012" y="0"/>
                  </a:moveTo>
                  <a:lnTo>
                    <a:pt x="1908" y="3"/>
                  </a:lnTo>
                  <a:lnTo>
                    <a:pt x="1806" y="11"/>
                  </a:lnTo>
                  <a:lnTo>
                    <a:pt x="1705" y="23"/>
                  </a:lnTo>
                  <a:lnTo>
                    <a:pt x="1606" y="41"/>
                  </a:lnTo>
                  <a:lnTo>
                    <a:pt x="1509" y="63"/>
                  </a:lnTo>
                  <a:lnTo>
                    <a:pt x="1413" y="90"/>
                  </a:lnTo>
                  <a:lnTo>
                    <a:pt x="1319" y="122"/>
                  </a:lnTo>
                  <a:lnTo>
                    <a:pt x="1229" y="158"/>
                  </a:lnTo>
                  <a:lnTo>
                    <a:pt x="1139" y="198"/>
                  </a:lnTo>
                  <a:lnTo>
                    <a:pt x="1053" y="243"/>
                  </a:lnTo>
                  <a:lnTo>
                    <a:pt x="968" y="291"/>
                  </a:lnTo>
                  <a:lnTo>
                    <a:pt x="887" y="344"/>
                  </a:lnTo>
                  <a:lnTo>
                    <a:pt x="807" y="400"/>
                  </a:lnTo>
                  <a:lnTo>
                    <a:pt x="732" y="459"/>
                  </a:lnTo>
                  <a:lnTo>
                    <a:pt x="659" y="523"/>
                  </a:lnTo>
                  <a:lnTo>
                    <a:pt x="589" y="589"/>
                  </a:lnTo>
                  <a:lnTo>
                    <a:pt x="523" y="658"/>
                  </a:lnTo>
                  <a:lnTo>
                    <a:pt x="459" y="732"/>
                  </a:lnTo>
                  <a:lnTo>
                    <a:pt x="399" y="808"/>
                  </a:lnTo>
                  <a:lnTo>
                    <a:pt x="344" y="887"/>
                  </a:lnTo>
                  <a:lnTo>
                    <a:pt x="290" y="968"/>
                  </a:lnTo>
                  <a:lnTo>
                    <a:pt x="242" y="1053"/>
                  </a:lnTo>
                  <a:lnTo>
                    <a:pt x="198" y="1139"/>
                  </a:lnTo>
                  <a:lnTo>
                    <a:pt x="158" y="1229"/>
                  </a:lnTo>
                  <a:lnTo>
                    <a:pt x="121" y="1319"/>
                  </a:lnTo>
                  <a:lnTo>
                    <a:pt x="90" y="1413"/>
                  </a:lnTo>
                  <a:lnTo>
                    <a:pt x="63" y="1508"/>
                  </a:lnTo>
                  <a:lnTo>
                    <a:pt x="41" y="1606"/>
                  </a:lnTo>
                  <a:lnTo>
                    <a:pt x="23" y="1705"/>
                  </a:lnTo>
                  <a:lnTo>
                    <a:pt x="10" y="1805"/>
                  </a:lnTo>
                  <a:lnTo>
                    <a:pt x="3" y="1908"/>
                  </a:lnTo>
                  <a:lnTo>
                    <a:pt x="0" y="2011"/>
                  </a:lnTo>
                  <a:lnTo>
                    <a:pt x="0" y="2011"/>
                  </a:lnTo>
                  <a:lnTo>
                    <a:pt x="0" y="2025"/>
                  </a:lnTo>
                  <a:lnTo>
                    <a:pt x="1" y="2038"/>
                  </a:lnTo>
                  <a:lnTo>
                    <a:pt x="3" y="2050"/>
                  </a:lnTo>
                  <a:lnTo>
                    <a:pt x="5" y="2063"/>
                  </a:lnTo>
                  <a:lnTo>
                    <a:pt x="8" y="2075"/>
                  </a:lnTo>
                  <a:lnTo>
                    <a:pt x="11" y="2087"/>
                  </a:lnTo>
                  <a:lnTo>
                    <a:pt x="15" y="2098"/>
                  </a:lnTo>
                  <a:lnTo>
                    <a:pt x="20" y="2110"/>
                  </a:lnTo>
                  <a:lnTo>
                    <a:pt x="25" y="2121"/>
                  </a:lnTo>
                  <a:lnTo>
                    <a:pt x="30" y="2131"/>
                  </a:lnTo>
                  <a:lnTo>
                    <a:pt x="36" y="2142"/>
                  </a:lnTo>
                  <a:lnTo>
                    <a:pt x="43" y="2152"/>
                  </a:lnTo>
                  <a:lnTo>
                    <a:pt x="49" y="2162"/>
                  </a:lnTo>
                  <a:lnTo>
                    <a:pt x="57" y="2171"/>
                  </a:lnTo>
                  <a:lnTo>
                    <a:pt x="65" y="2180"/>
                  </a:lnTo>
                  <a:lnTo>
                    <a:pt x="73" y="2189"/>
                  </a:lnTo>
                  <a:lnTo>
                    <a:pt x="82" y="2198"/>
                  </a:lnTo>
                  <a:lnTo>
                    <a:pt x="91" y="2206"/>
                  </a:lnTo>
                  <a:lnTo>
                    <a:pt x="100" y="2214"/>
                  </a:lnTo>
                  <a:lnTo>
                    <a:pt x="110" y="2221"/>
                  </a:lnTo>
                  <a:lnTo>
                    <a:pt x="120" y="2227"/>
                  </a:lnTo>
                  <a:lnTo>
                    <a:pt x="131" y="2233"/>
                  </a:lnTo>
                  <a:lnTo>
                    <a:pt x="141" y="2239"/>
                  </a:lnTo>
                  <a:lnTo>
                    <a:pt x="153" y="2244"/>
                  </a:lnTo>
                  <a:lnTo>
                    <a:pt x="165" y="2248"/>
                  </a:lnTo>
                  <a:lnTo>
                    <a:pt x="177" y="2252"/>
                  </a:lnTo>
                  <a:lnTo>
                    <a:pt x="188" y="2255"/>
                  </a:lnTo>
                  <a:lnTo>
                    <a:pt x="201" y="2258"/>
                  </a:lnTo>
                  <a:lnTo>
                    <a:pt x="213" y="2260"/>
                  </a:lnTo>
                  <a:lnTo>
                    <a:pt x="225" y="2262"/>
                  </a:lnTo>
                  <a:lnTo>
                    <a:pt x="238" y="2263"/>
                  </a:lnTo>
                  <a:lnTo>
                    <a:pt x="251" y="2263"/>
                  </a:lnTo>
                  <a:lnTo>
                    <a:pt x="264" y="2263"/>
                  </a:lnTo>
                  <a:lnTo>
                    <a:pt x="276" y="2262"/>
                  </a:lnTo>
                  <a:lnTo>
                    <a:pt x="289" y="2260"/>
                  </a:lnTo>
                  <a:lnTo>
                    <a:pt x="301" y="2258"/>
                  </a:lnTo>
                  <a:lnTo>
                    <a:pt x="313" y="2255"/>
                  </a:lnTo>
                  <a:lnTo>
                    <a:pt x="326" y="2252"/>
                  </a:lnTo>
                  <a:lnTo>
                    <a:pt x="338" y="2248"/>
                  </a:lnTo>
                  <a:lnTo>
                    <a:pt x="349" y="2244"/>
                  </a:lnTo>
                  <a:lnTo>
                    <a:pt x="360" y="2239"/>
                  </a:lnTo>
                  <a:lnTo>
                    <a:pt x="371" y="2233"/>
                  </a:lnTo>
                  <a:lnTo>
                    <a:pt x="381" y="2227"/>
                  </a:lnTo>
                  <a:lnTo>
                    <a:pt x="391" y="2221"/>
                  </a:lnTo>
                  <a:lnTo>
                    <a:pt x="401" y="2214"/>
                  </a:lnTo>
                  <a:lnTo>
                    <a:pt x="411" y="2206"/>
                  </a:lnTo>
                  <a:lnTo>
                    <a:pt x="420" y="2198"/>
                  </a:lnTo>
                  <a:lnTo>
                    <a:pt x="429" y="2189"/>
                  </a:lnTo>
                  <a:lnTo>
                    <a:pt x="437" y="2180"/>
                  </a:lnTo>
                  <a:lnTo>
                    <a:pt x="445" y="2171"/>
                  </a:lnTo>
                  <a:lnTo>
                    <a:pt x="452" y="2162"/>
                  </a:lnTo>
                  <a:lnTo>
                    <a:pt x="459" y="2152"/>
                  </a:lnTo>
                  <a:lnTo>
                    <a:pt x="466" y="2142"/>
                  </a:lnTo>
                  <a:lnTo>
                    <a:pt x="472" y="2131"/>
                  </a:lnTo>
                  <a:lnTo>
                    <a:pt x="477" y="2121"/>
                  </a:lnTo>
                  <a:lnTo>
                    <a:pt x="482" y="2110"/>
                  </a:lnTo>
                  <a:lnTo>
                    <a:pt x="488" y="2098"/>
                  </a:lnTo>
                  <a:lnTo>
                    <a:pt x="492" y="2087"/>
                  </a:lnTo>
                  <a:lnTo>
                    <a:pt x="495" y="2075"/>
                  </a:lnTo>
                  <a:lnTo>
                    <a:pt x="498" y="2063"/>
                  </a:lnTo>
                  <a:lnTo>
                    <a:pt x="500" y="2050"/>
                  </a:lnTo>
                  <a:lnTo>
                    <a:pt x="502" y="2038"/>
                  </a:lnTo>
                  <a:lnTo>
                    <a:pt x="503" y="2025"/>
                  </a:lnTo>
                  <a:lnTo>
                    <a:pt x="503" y="2011"/>
                  </a:lnTo>
                  <a:lnTo>
                    <a:pt x="503" y="2011"/>
                  </a:lnTo>
                  <a:lnTo>
                    <a:pt x="505" y="1934"/>
                  </a:lnTo>
                  <a:lnTo>
                    <a:pt x="511" y="1858"/>
                  </a:lnTo>
                  <a:lnTo>
                    <a:pt x="520" y="1782"/>
                  </a:lnTo>
                  <a:lnTo>
                    <a:pt x="533" y="1708"/>
                  </a:lnTo>
                  <a:lnTo>
                    <a:pt x="550" y="1634"/>
                  </a:lnTo>
                  <a:lnTo>
                    <a:pt x="570" y="1563"/>
                  </a:lnTo>
                  <a:lnTo>
                    <a:pt x="594" y="1492"/>
                  </a:lnTo>
                  <a:lnTo>
                    <a:pt x="621" y="1424"/>
                  </a:lnTo>
                  <a:lnTo>
                    <a:pt x="651" y="1358"/>
                  </a:lnTo>
                  <a:lnTo>
                    <a:pt x="685" y="1292"/>
                  </a:lnTo>
                  <a:lnTo>
                    <a:pt x="721" y="1229"/>
                  </a:lnTo>
                  <a:lnTo>
                    <a:pt x="760" y="1167"/>
                  </a:lnTo>
                  <a:lnTo>
                    <a:pt x="802" y="1109"/>
                  </a:lnTo>
                  <a:lnTo>
                    <a:pt x="847" y="1052"/>
                  </a:lnTo>
                  <a:lnTo>
                    <a:pt x="894" y="997"/>
                  </a:lnTo>
                  <a:lnTo>
                    <a:pt x="944" y="945"/>
                  </a:lnTo>
                  <a:lnTo>
                    <a:pt x="997" y="895"/>
                  </a:lnTo>
                  <a:lnTo>
                    <a:pt x="1052" y="848"/>
                  </a:lnTo>
                  <a:lnTo>
                    <a:pt x="1108" y="802"/>
                  </a:lnTo>
                  <a:lnTo>
                    <a:pt x="1168" y="761"/>
                  </a:lnTo>
                  <a:lnTo>
                    <a:pt x="1229" y="721"/>
                  </a:lnTo>
                  <a:lnTo>
                    <a:pt x="1292" y="685"/>
                  </a:lnTo>
                  <a:lnTo>
                    <a:pt x="1357" y="651"/>
                  </a:lnTo>
                  <a:lnTo>
                    <a:pt x="1424" y="621"/>
                  </a:lnTo>
                  <a:lnTo>
                    <a:pt x="1492" y="594"/>
                  </a:lnTo>
                  <a:lnTo>
                    <a:pt x="1563" y="571"/>
                  </a:lnTo>
                  <a:lnTo>
                    <a:pt x="1634" y="551"/>
                  </a:lnTo>
                  <a:lnTo>
                    <a:pt x="1707" y="534"/>
                  </a:lnTo>
                  <a:lnTo>
                    <a:pt x="1781" y="521"/>
                  </a:lnTo>
                  <a:lnTo>
                    <a:pt x="1857" y="511"/>
                  </a:lnTo>
                  <a:lnTo>
                    <a:pt x="1934" y="505"/>
                  </a:lnTo>
                  <a:lnTo>
                    <a:pt x="2012" y="503"/>
                  </a:lnTo>
                  <a:lnTo>
                    <a:pt x="2025" y="503"/>
                  </a:lnTo>
                  <a:lnTo>
                    <a:pt x="2037" y="502"/>
                  </a:lnTo>
                  <a:lnTo>
                    <a:pt x="2050" y="500"/>
                  </a:lnTo>
                  <a:lnTo>
                    <a:pt x="2062" y="498"/>
                  </a:lnTo>
                  <a:lnTo>
                    <a:pt x="2074" y="496"/>
                  </a:lnTo>
                  <a:lnTo>
                    <a:pt x="2086" y="491"/>
                  </a:lnTo>
                  <a:lnTo>
                    <a:pt x="2098" y="487"/>
                  </a:lnTo>
                  <a:lnTo>
                    <a:pt x="2109" y="483"/>
                  </a:lnTo>
                  <a:lnTo>
                    <a:pt x="2120" y="478"/>
                  </a:lnTo>
                  <a:lnTo>
                    <a:pt x="2131" y="472"/>
                  </a:lnTo>
                  <a:lnTo>
                    <a:pt x="2141" y="466"/>
                  </a:lnTo>
                  <a:lnTo>
                    <a:pt x="2151" y="460"/>
                  </a:lnTo>
                  <a:lnTo>
                    <a:pt x="2161" y="453"/>
                  </a:lnTo>
                  <a:lnTo>
                    <a:pt x="2171" y="445"/>
                  </a:lnTo>
                  <a:lnTo>
                    <a:pt x="2180" y="437"/>
                  </a:lnTo>
                  <a:lnTo>
                    <a:pt x="2190" y="429"/>
                  </a:lnTo>
                  <a:lnTo>
                    <a:pt x="2198" y="420"/>
                  </a:lnTo>
                  <a:lnTo>
                    <a:pt x="2206" y="411"/>
                  </a:lnTo>
                  <a:lnTo>
                    <a:pt x="2213" y="402"/>
                  </a:lnTo>
                  <a:lnTo>
                    <a:pt x="2220" y="392"/>
                  </a:lnTo>
                  <a:lnTo>
                    <a:pt x="2227" y="382"/>
                  </a:lnTo>
                  <a:lnTo>
                    <a:pt x="2233" y="371"/>
                  </a:lnTo>
                  <a:lnTo>
                    <a:pt x="2238" y="361"/>
                  </a:lnTo>
                  <a:lnTo>
                    <a:pt x="2243" y="350"/>
                  </a:lnTo>
                  <a:lnTo>
                    <a:pt x="2248" y="338"/>
                  </a:lnTo>
                  <a:lnTo>
                    <a:pt x="2252" y="327"/>
                  </a:lnTo>
                  <a:lnTo>
                    <a:pt x="2255" y="314"/>
                  </a:lnTo>
                  <a:lnTo>
                    <a:pt x="2258" y="302"/>
                  </a:lnTo>
                  <a:lnTo>
                    <a:pt x="2260" y="289"/>
                  </a:lnTo>
                  <a:lnTo>
                    <a:pt x="2262" y="277"/>
                  </a:lnTo>
                  <a:lnTo>
                    <a:pt x="2263" y="264"/>
                  </a:lnTo>
                  <a:lnTo>
                    <a:pt x="2263" y="251"/>
                  </a:lnTo>
                  <a:lnTo>
                    <a:pt x="2263" y="239"/>
                  </a:lnTo>
                  <a:lnTo>
                    <a:pt x="2262" y="226"/>
                  </a:lnTo>
                  <a:lnTo>
                    <a:pt x="2260" y="213"/>
                  </a:lnTo>
                  <a:lnTo>
                    <a:pt x="2258" y="201"/>
                  </a:lnTo>
                  <a:lnTo>
                    <a:pt x="2255" y="189"/>
                  </a:lnTo>
                  <a:lnTo>
                    <a:pt x="2252" y="177"/>
                  </a:lnTo>
                  <a:lnTo>
                    <a:pt x="2248" y="165"/>
                  </a:lnTo>
                  <a:lnTo>
                    <a:pt x="2243" y="154"/>
                  </a:lnTo>
                  <a:lnTo>
                    <a:pt x="2238" y="142"/>
                  </a:lnTo>
                  <a:lnTo>
                    <a:pt x="2233" y="131"/>
                  </a:lnTo>
                  <a:lnTo>
                    <a:pt x="2227" y="121"/>
                  </a:lnTo>
                  <a:lnTo>
                    <a:pt x="2220" y="111"/>
                  </a:lnTo>
                  <a:lnTo>
                    <a:pt x="2213" y="101"/>
                  </a:lnTo>
                  <a:lnTo>
                    <a:pt x="2206" y="91"/>
                  </a:lnTo>
                  <a:lnTo>
                    <a:pt x="2198" y="82"/>
                  </a:lnTo>
                  <a:lnTo>
                    <a:pt x="2190" y="74"/>
                  </a:lnTo>
                  <a:lnTo>
                    <a:pt x="2180" y="65"/>
                  </a:lnTo>
                  <a:lnTo>
                    <a:pt x="2171" y="57"/>
                  </a:lnTo>
                  <a:lnTo>
                    <a:pt x="2161" y="50"/>
                  </a:lnTo>
                  <a:lnTo>
                    <a:pt x="2151" y="43"/>
                  </a:lnTo>
                  <a:lnTo>
                    <a:pt x="2141" y="36"/>
                  </a:lnTo>
                  <a:lnTo>
                    <a:pt x="2131" y="30"/>
                  </a:lnTo>
                  <a:lnTo>
                    <a:pt x="2120" y="25"/>
                  </a:lnTo>
                  <a:lnTo>
                    <a:pt x="2109" y="20"/>
                  </a:lnTo>
                  <a:lnTo>
                    <a:pt x="2098" y="15"/>
                  </a:lnTo>
                  <a:lnTo>
                    <a:pt x="2086" y="12"/>
                  </a:lnTo>
                  <a:lnTo>
                    <a:pt x="2074" y="8"/>
                  </a:lnTo>
                  <a:lnTo>
                    <a:pt x="2062" y="5"/>
                  </a:lnTo>
                  <a:lnTo>
                    <a:pt x="2050" y="3"/>
                  </a:lnTo>
                  <a:lnTo>
                    <a:pt x="2037" y="2"/>
                  </a:lnTo>
                  <a:lnTo>
                    <a:pt x="2025" y="1"/>
                  </a:lnTo>
                  <a:lnTo>
                    <a:pt x="20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47" name="îṩḻîḍe">
              <a:extLst>
                <a:ext uri="{FF2B5EF4-FFF2-40B4-BE49-F238E27FC236}">
                  <a16:creationId xmlns:a16="http://schemas.microsoft.com/office/drawing/2014/main" id="{7B7A2B46-FD28-49A4-8ADE-5A15767EB61C}"/>
                </a:ext>
              </a:extLst>
            </p:cNvPr>
            <p:cNvSpPr/>
            <p:nvPr/>
          </p:nvSpPr>
          <p:spPr bwMode="auto">
            <a:xfrm>
              <a:off x="2289535" y="29068"/>
              <a:ext cx="613339" cy="517461"/>
            </a:xfrm>
            <a:custGeom>
              <a:avLst/>
              <a:gdLst>
                <a:gd name="T0" fmla="*/ 15067 w 16095"/>
                <a:gd name="T1" fmla="*/ 12220 h 13579"/>
                <a:gd name="T2" fmla="*/ 14989 w 16095"/>
                <a:gd name="T3" fmla="*/ 12371 h 13579"/>
                <a:gd name="T4" fmla="*/ 14868 w 16095"/>
                <a:gd name="T5" fmla="*/ 12488 h 13579"/>
                <a:gd name="T6" fmla="*/ 14712 w 16095"/>
                <a:gd name="T7" fmla="*/ 12557 h 13579"/>
                <a:gd name="T8" fmla="*/ 1483 w 16095"/>
                <a:gd name="T9" fmla="*/ 12572 h 13579"/>
                <a:gd name="T10" fmla="*/ 1313 w 16095"/>
                <a:gd name="T11" fmla="*/ 12534 h 13579"/>
                <a:gd name="T12" fmla="*/ 1171 w 16095"/>
                <a:gd name="T13" fmla="*/ 12442 h 13579"/>
                <a:gd name="T14" fmla="*/ 1066 w 16095"/>
                <a:gd name="T15" fmla="*/ 12311 h 13579"/>
                <a:gd name="T16" fmla="*/ 1012 w 16095"/>
                <a:gd name="T17" fmla="*/ 12147 h 13579"/>
                <a:gd name="T18" fmla="*/ 1011 w 16095"/>
                <a:gd name="T19" fmla="*/ 4458 h 13579"/>
                <a:gd name="T20" fmla="*/ 1054 w 16095"/>
                <a:gd name="T21" fmla="*/ 4310 h 13579"/>
                <a:gd name="T22" fmla="*/ 1140 w 16095"/>
                <a:gd name="T23" fmla="*/ 4186 h 13579"/>
                <a:gd name="T24" fmla="*/ 1258 w 16095"/>
                <a:gd name="T25" fmla="*/ 4090 h 13579"/>
                <a:gd name="T26" fmla="*/ 1404 w 16095"/>
                <a:gd name="T27" fmla="*/ 4035 h 13579"/>
                <a:gd name="T28" fmla="*/ 5099 w 16095"/>
                <a:gd name="T29" fmla="*/ 1253 h 13579"/>
                <a:gd name="T30" fmla="*/ 5179 w 16095"/>
                <a:gd name="T31" fmla="*/ 1151 h 13579"/>
                <a:gd name="T32" fmla="*/ 5281 w 16095"/>
                <a:gd name="T33" fmla="*/ 1073 h 13579"/>
                <a:gd name="T34" fmla="*/ 5401 w 16095"/>
                <a:gd name="T35" fmla="*/ 1023 h 13579"/>
                <a:gd name="T36" fmla="*/ 5533 w 16095"/>
                <a:gd name="T37" fmla="*/ 1006 h 13579"/>
                <a:gd name="T38" fmla="*/ 10675 w 16095"/>
                <a:gd name="T39" fmla="*/ 1019 h 13579"/>
                <a:gd name="T40" fmla="*/ 10797 w 16095"/>
                <a:gd name="T41" fmla="*/ 1064 h 13579"/>
                <a:gd name="T42" fmla="*/ 10901 w 16095"/>
                <a:gd name="T43" fmla="*/ 1138 h 13579"/>
                <a:gd name="T44" fmla="*/ 10986 w 16095"/>
                <a:gd name="T45" fmla="*/ 1237 h 13579"/>
                <a:gd name="T46" fmla="*/ 14669 w 16095"/>
                <a:gd name="T47" fmla="*/ 4031 h 13579"/>
                <a:gd name="T48" fmla="*/ 14817 w 16095"/>
                <a:gd name="T49" fmla="*/ 4080 h 13579"/>
                <a:gd name="T50" fmla="*/ 14940 w 16095"/>
                <a:gd name="T51" fmla="*/ 4170 h 13579"/>
                <a:gd name="T52" fmla="*/ 15031 w 16095"/>
                <a:gd name="T53" fmla="*/ 4291 h 13579"/>
                <a:gd name="T54" fmla="*/ 15081 w 16095"/>
                <a:gd name="T55" fmla="*/ 4436 h 13579"/>
                <a:gd name="T56" fmla="*/ 12654 w 16095"/>
                <a:gd name="T57" fmla="*/ 2675 h 13579"/>
                <a:gd name="T58" fmla="*/ 11802 w 16095"/>
                <a:gd name="T59" fmla="*/ 647 h 13579"/>
                <a:gd name="T60" fmla="*/ 11540 w 16095"/>
                <a:gd name="T61" fmla="*/ 358 h 13579"/>
                <a:gd name="T62" fmla="*/ 11217 w 16095"/>
                <a:gd name="T63" fmla="*/ 148 h 13579"/>
                <a:gd name="T64" fmla="*/ 10847 w 16095"/>
                <a:gd name="T65" fmla="*/ 26 h 13579"/>
                <a:gd name="T66" fmla="*/ 5474 w 16095"/>
                <a:gd name="T67" fmla="*/ 1 h 13579"/>
                <a:gd name="T68" fmla="*/ 5085 w 16095"/>
                <a:gd name="T69" fmla="*/ 67 h 13579"/>
                <a:gd name="T70" fmla="*/ 4733 w 16095"/>
                <a:gd name="T71" fmla="*/ 227 h 13579"/>
                <a:gd name="T72" fmla="*/ 4434 w 16095"/>
                <a:gd name="T73" fmla="*/ 473 h 13579"/>
                <a:gd name="T74" fmla="*/ 4204 w 16095"/>
                <a:gd name="T75" fmla="*/ 792 h 13579"/>
                <a:gd name="T76" fmla="*/ 1127 w 16095"/>
                <a:gd name="T77" fmla="*/ 3067 h 13579"/>
                <a:gd name="T78" fmla="*/ 700 w 16095"/>
                <a:gd name="T79" fmla="*/ 3251 h 13579"/>
                <a:gd name="T80" fmla="*/ 357 w 16095"/>
                <a:gd name="T81" fmla="*/ 3550 h 13579"/>
                <a:gd name="T82" fmla="*/ 119 w 16095"/>
                <a:gd name="T83" fmla="*/ 3937 h 13579"/>
                <a:gd name="T84" fmla="*/ 6 w 16095"/>
                <a:gd name="T85" fmla="*/ 4389 h 13579"/>
                <a:gd name="T86" fmla="*/ 31 w 16095"/>
                <a:gd name="T87" fmla="*/ 12374 h 13579"/>
                <a:gd name="T88" fmla="*/ 218 w 16095"/>
                <a:gd name="T89" fmla="*/ 12852 h 13579"/>
                <a:gd name="T90" fmla="*/ 549 w 16095"/>
                <a:gd name="T91" fmla="*/ 13234 h 13579"/>
                <a:gd name="T92" fmla="*/ 991 w 16095"/>
                <a:gd name="T93" fmla="*/ 13487 h 13579"/>
                <a:gd name="T94" fmla="*/ 1509 w 16095"/>
                <a:gd name="T95" fmla="*/ 13579 h 13579"/>
                <a:gd name="T96" fmla="*/ 15034 w 16095"/>
                <a:gd name="T97" fmla="*/ 13511 h 13579"/>
                <a:gd name="T98" fmla="*/ 15488 w 16095"/>
                <a:gd name="T99" fmla="*/ 13279 h 13579"/>
                <a:gd name="T100" fmla="*/ 15836 w 16095"/>
                <a:gd name="T101" fmla="*/ 12913 h 13579"/>
                <a:gd name="T102" fmla="*/ 16048 w 16095"/>
                <a:gd name="T103" fmla="*/ 12446 h 13579"/>
                <a:gd name="T104" fmla="*/ 16093 w 16095"/>
                <a:gd name="T105" fmla="*/ 4457 h 13579"/>
                <a:gd name="T106" fmla="*/ 16000 w 16095"/>
                <a:gd name="T107" fmla="*/ 3999 h 13579"/>
                <a:gd name="T108" fmla="*/ 15779 w 16095"/>
                <a:gd name="T109" fmla="*/ 3600 h 13579"/>
                <a:gd name="T110" fmla="*/ 15450 w 16095"/>
                <a:gd name="T111" fmla="*/ 3287 h 13579"/>
                <a:gd name="T112" fmla="*/ 15034 w 16095"/>
                <a:gd name="T113" fmla="*/ 3085 h 135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3579">
                  <a:moveTo>
                    <a:pt x="15089" y="12070"/>
                  </a:moveTo>
                  <a:lnTo>
                    <a:pt x="15088" y="12096"/>
                  </a:lnTo>
                  <a:lnTo>
                    <a:pt x="15086" y="12121"/>
                  </a:lnTo>
                  <a:lnTo>
                    <a:pt x="15083" y="12147"/>
                  </a:lnTo>
                  <a:lnTo>
                    <a:pt x="15079" y="12172"/>
                  </a:lnTo>
                  <a:lnTo>
                    <a:pt x="15073" y="12196"/>
                  </a:lnTo>
                  <a:lnTo>
                    <a:pt x="15067" y="12220"/>
                  </a:lnTo>
                  <a:lnTo>
                    <a:pt x="15059" y="12243"/>
                  </a:lnTo>
                  <a:lnTo>
                    <a:pt x="15050" y="12266"/>
                  </a:lnTo>
                  <a:lnTo>
                    <a:pt x="15040" y="12288"/>
                  </a:lnTo>
                  <a:lnTo>
                    <a:pt x="15029" y="12311"/>
                  </a:lnTo>
                  <a:lnTo>
                    <a:pt x="15017" y="12331"/>
                  </a:lnTo>
                  <a:lnTo>
                    <a:pt x="15004" y="12352"/>
                  </a:lnTo>
                  <a:lnTo>
                    <a:pt x="14989" y="12371"/>
                  </a:lnTo>
                  <a:lnTo>
                    <a:pt x="14974" y="12390"/>
                  </a:lnTo>
                  <a:lnTo>
                    <a:pt x="14958" y="12408"/>
                  </a:lnTo>
                  <a:lnTo>
                    <a:pt x="14942" y="12426"/>
                  </a:lnTo>
                  <a:lnTo>
                    <a:pt x="14924" y="12442"/>
                  </a:lnTo>
                  <a:lnTo>
                    <a:pt x="14906" y="12458"/>
                  </a:lnTo>
                  <a:lnTo>
                    <a:pt x="14887" y="12473"/>
                  </a:lnTo>
                  <a:lnTo>
                    <a:pt x="14868" y="12488"/>
                  </a:lnTo>
                  <a:lnTo>
                    <a:pt x="14847" y="12501"/>
                  </a:lnTo>
                  <a:lnTo>
                    <a:pt x="14826" y="12513"/>
                  </a:lnTo>
                  <a:lnTo>
                    <a:pt x="14804" y="12524"/>
                  </a:lnTo>
                  <a:lnTo>
                    <a:pt x="14782" y="12534"/>
                  </a:lnTo>
                  <a:lnTo>
                    <a:pt x="14759" y="12543"/>
                  </a:lnTo>
                  <a:lnTo>
                    <a:pt x="14736" y="12551"/>
                  </a:lnTo>
                  <a:lnTo>
                    <a:pt x="14712" y="12557"/>
                  </a:lnTo>
                  <a:lnTo>
                    <a:pt x="14688" y="12563"/>
                  </a:lnTo>
                  <a:lnTo>
                    <a:pt x="14663" y="12567"/>
                  </a:lnTo>
                  <a:lnTo>
                    <a:pt x="14637" y="12570"/>
                  </a:lnTo>
                  <a:lnTo>
                    <a:pt x="14612" y="12572"/>
                  </a:lnTo>
                  <a:lnTo>
                    <a:pt x="14586" y="12573"/>
                  </a:lnTo>
                  <a:lnTo>
                    <a:pt x="1509" y="12573"/>
                  </a:lnTo>
                  <a:lnTo>
                    <a:pt x="1483" y="12572"/>
                  </a:lnTo>
                  <a:lnTo>
                    <a:pt x="1458" y="12570"/>
                  </a:lnTo>
                  <a:lnTo>
                    <a:pt x="1432" y="12567"/>
                  </a:lnTo>
                  <a:lnTo>
                    <a:pt x="1407" y="12563"/>
                  </a:lnTo>
                  <a:lnTo>
                    <a:pt x="1383" y="12557"/>
                  </a:lnTo>
                  <a:lnTo>
                    <a:pt x="1359" y="12551"/>
                  </a:lnTo>
                  <a:lnTo>
                    <a:pt x="1336" y="12543"/>
                  </a:lnTo>
                  <a:lnTo>
                    <a:pt x="1313" y="12534"/>
                  </a:lnTo>
                  <a:lnTo>
                    <a:pt x="1291" y="12524"/>
                  </a:lnTo>
                  <a:lnTo>
                    <a:pt x="1268" y="12513"/>
                  </a:lnTo>
                  <a:lnTo>
                    <a:pt x="1248" y="12501"/>
                  </a:lnTo>
                  <a:lnTo>
                    <a:pt x="1227" y="12488"/>
                  </a:lnTo>
                  <a:lnTo>
                    <a:pt x="1208" y="12473"/>
                  </a:lnTo>
                  <a:lnTo>
                    <a:pt x="1189" y="12458"/>
                  </a:lnTo>
                  <a:lnTo>
                    <a:pt x="1171" y="12442"/>
                  </a:lnTo>
                  <a:lnTo>
                    <a:pt x="1153" y="12426"/>
                  </a:lnTo>
                  <a:lnTo>
                    <a:pt x="1137" y="12408"/>
                  </a:lnTo>
                  <a:lnTo>
                    <a:pt x="1121" y="12390"/>
                  </a:lnTo>
                  <a:lnTo>
                    <a:pt x="1106" y="12371"/>
                  </a:lnTo>
                  <a:lnTo>
                    <a:pt x="1091" y="12352"/>
                  </a:lnTo>
                  <a:lnTo>
                    <a:pt x="1078" y="12331"/>
                  </a:lnTo>
                  <a:lnTo>
                    <a:pt x="1066" y="12311"/>
                  </a:lnTo>
                  <a:lnTo>
                    <a:pt x="1055" y="12288"/>
                  </a:lnTo>
                  <a:lnTo>
                    <a:pt x="1045" y="12266"/>
                  </a:lnTo>
                  <a:lnTo>
                    <a:pt x="1036" y="12243"/>
                  </a:lnTo>
                  <a:lnTo>
                    <a:pt x="1028" y="12220"/>
                  </a:lnTo>
                  <a:lnTo>
                    <a:pt x="1022" y="12196"/>
                  </a:lnTo>
                  <a:lnTo>
                    <a:pt x="1016" y="12172"/>
                  </a:lnTo>
                  <a:lnTo>
                    <a:pt x="1012" y="12147"/>
                  </a:lnTo>
                  <a:lnTo>
                    <a:pt x="1009" y="12121"/>
                  </a:lnTo>
                  <a:lnTo>
                    <a:pt x="1007" y="12096"/>
                  </a:lnTo>
                  <a:lnTo>
                    <a:pt x="1006" y="12070"/>
                  </a:lnTo>
                  <a:lnTo>
                    <a:pt x="1006" y="4527"/>
                  </a:lnTo>
                  <a:lnTo>
                    <a:pt x="1006" y="4504"/>
                  </a:lnTo>
                  <a:lnTo>
                    <a:pt x="1008" y="4480"/>
                  </a:lnTo>
                  <a:lnTo>
                    <a:pt x="1011" y="4458"/>
                  </a:lnTo>
                  <a:lnTo>
                    <a:pt x="1014" y="4436"/>
                  </a:lnTo>
                  <a:lnTo>
                    <a:pt x="1018" y="4414"/>
                  </a:lnTo>
                  <a:lnTo>
                    <a:pt x="1024" y="4393"/>
                  </a:lnTo>
                  <a:lnTo>
                    <a:pt x="1030" y="4372"/>
                  </a:lnTo>
                  <a:lnTo>
                    <a:pt x="1037" y="4351"/>
                  </a:lnTo>
                  <a:lnTo>
                    <a:pt x="1045" y="4331"/>
                  </a:lnTo>
                  <a:lnTo>
                    <a:pt x="1054" y="4310"/>
                  </a:lnTo>
                  <a:lnTo>
                    <a:pt x="1064" y="4291"/>
                  </a:lnTo>
                  <a:lnTo>
                    <a:pt x="1075" y="4272"/>
                  </a:lnTo>
                  <a:lnTo>
                    <a:pt x="1086" y="4254"/>
                  </a:lnTo>
                  <a:lnTo>
                    <a:pt x="1098" y="4236"/>
                  </a:lnTo>
                  <a:lnTo>
                    <a:pt x="1112" y="4218"/>
                  </a:lnTo>
                  <a:lnTo>
                    <a:pt x="1126" y="4202"/>
                  </a:lnTo>
                  <a:lnTo>
                    <a:pt x="1140" y="4186"/>
                  </a:lnTo>
                  <a:lnTo>
                    <a:pt x="1155" y="4170"/>
                  </a:lnTo>
                  <a:lnTo>
                    <a:pt x="1171" y="4154"/>
                  </a:lnTo>
                  <a:lnTo>
                    <a:pt x="1187" y="4140"/>
                  </a:lnTo>
                  <a:lnTo>
                    <a:pt x="1204" y="4126"/>
                  </a:lnTo>
                  <a:lnTo>
                    <a:pt x="1221" y="4114"/>
                  </a:lnTo>
                  <a:lnTo>
                    <a:pt x="1239" y="4102"/>
                  </a:lnTo>
                  <a:lnTo>
                    <a:pt x="1258" y="4090"/>
                  </a:lnTo>
                  <a:lnTo>
                    <a:pt x="1278" y="4080"/>
                  </a:lnTo>
                  <a:lnTo>
                    <a:pt x="1298" y="4070"/>
                  </a:lnTo>
                  <a:lnTo>
                    <a:pt x="1318" y="4061"/>
                  </a:lnTo>
                  <a:lnTo>
                    <a:pt x="1339" y="4054"/>
                  </a:lnTo>
                  <a:lnTo>
                    <a:pt x="1360" y="4046"/>
                  </a:lnTo>
                  <a:lnTo>
                    <a:pt x="1382" y="4040"/>
                  </a:lnTo>
                  <a:lnTo>
                    <a:pt x="1404" y="4035"/>
                  </a:lnTo>
                  <a:lnTo>
                    <a:pt x="1426" y="4031"/>
                  </a:lnTo>
                  <a:lnTo>
                    <a:pt x="4164" y="3574"/>
                  </a:lnTo>
                  <a:lnTo>
                    <a:pt x="5065" y="1322"/>
                  </a:lnTo>
                  <a:lnTo>
                    <a:pt x="5073" y="1305"/>
                  </a:lnTo>
                  <a:lnTo>
                    <a:pt x="5081" y="1288"/>
                  </a:lnTo>
                  <a:lnTo>
                    <a:pt x="5089" y="1270"/>
                  </a:lnTo>
                  <a:lnTo>
                    <a:pt x="5099" y="1253"/>
                  </a:lnTo>
                  <a:lnTo>
                    <a:pt x="5108" y="1237"/>
                  </a:lnTo>
                  <a:lnTo>
                    <a:pt x="5119" y="1222"/>
                  </a:lnTo>
                  <a:lnTo>
                    <a:pt x="5130" y="1207"/>
                  </a:lnTo>
                  <a:lnTo>
                    <a:pt x="5141" y="1192"/>
                  </a:lnTo>
                  <a:lnTo>
                    <a:pt x="5153" y="1178"/>
                  </a:lnTo>
                  <a:lnTo>
                    <a:pt x="5165" y="1164"/>
                  </a:lnTo>
                  <a:lnTo>
                    <a:pt x="5179" y="1151"/>
                  </a:lnTo>
                  <a:lnTo>
                    <a:pt x="5193" y="1138"/>
                  </a:lnTo>
                  <a:lnTo>
                    <a:pt x="5206" y="1126"/>
                  </a:lnTo>
                  <a:lnTo>
                    <a:pt x="5221" y="1115"/>
                  </a:lnTo>
                  <a:lnTo>
                    <a:pt x="5235" y="1102"/>
                  </a:lnTo>
                  <a:lnTo>
                    <a:pt x="5250" y="1092"/>
                  </a:lnTo>
                  <a:lnTo>
                    <a:pt x="5266" y="1082"/>
                  </a:lnTo>
                  <a:lnTo>
                    <a:pt x="5281" y="1073"/>
                  </a:lnTo>
                  <a:lnTo>
                    <a:pt x="5298" y="1064"/>
                  </a:lnTo>
                  <a:lnTo>
                    <a:pt x="5314" y="1055"/>
                  </a:lnTo>
                  <a:lnTo>
                    <a:pt x="5331" y="1048"/>
                  </a:lnTo>
                  <a:lnTo>
                    <a:pt x="5349" y="1041"/>
                  </a:lnTo>
                  <a:lnTo>
                    <a:pt x="5366" y="1034"/>
                  </a:lnTo>
                  <a:lnTo>
                    <a:pt x="5384" y="1028"/>
                  </a:lnTo>
                  <a:lnTo>
                    <a:pt x="5401" y="1023"/>
                  </a:lnTo>
                  <a:lnTo>
                    <a:pt x="5419" y="1019"/>
                  </a:lnTo>
                  <a:lnTo>
                    <a:pt x="5438" y="1015"/>
                  </a:lnTo>
                  <a:lnTo>
                    <a:pt x="5456" y="1012"/>
                  </a:lnTo>
                  <a:lnTo>
                    <a:pt x="5475" y="1009"/>
                  </a:lnTo>
                  <a:lnTo>
                    <a:pt x="5494" y="1007"/>
                  </a:lnTo>
                  <a:lnTo>
                    <a:pt x="5514" y="1006"/>
                  </a:lnTo>
                  <a:lnTo>
                    <a:pt x="5533" y="1006"/>
                  </a:lnTo>
                  <a:lnTo>
                    <a:pt x="10562" y="1006"/>
                  </a:lnTo>
                  <a:lnTo>
                    <a:pt x="10581" y="1006"/>
                  </a:lnTo>
                  <a:lnTo>
                    <a:pt x="10601" y="1007"/>
                  </a:lnTo>
                  <a:lnTo>
                    <a:pt x="10620" y="1009"/>
                  </a:lnTo>
                  <a:lnTo>
                    <a:pt x="10638" y="1012"/>
                  </a:lnTo>
                  <a:lnTo>
                    <a:pt x="10657" y="1015"/>
                  </a:lnTo>
                  <a:lnTo>
                    <a:pt x="10675" y="1019"/>
                  </a:lnTo>
                  <a:lnTo>
                    <a:pt x="10693" y="1023"/>
                  </a:lnTo>
                  <a:lnTo>
                    <a:pt x="10711" y="1028"/>
                  </a:lnTo>
                  <a:lnTo>
                    <a:pt x="10728" y="1034"/>
                  </a:lnTo>
                  <a:lnTo>
                    <a:pt x="10746" y="1041"/>
                  </a:lnTo>
                  <a:lnTo>
                    <a:pt x="10764" y="1048"/>
                  </a:lnTo>
                  <a:lnTo>
                    <a:pt x="10780" y="1055"/>
                  </a:lnTo>
                  <a:lnTo>
                    <a:pt x="10797" y="1064"/>
                  </a:lnTo>
                  <a:lnTo>
                    <a:pt x="10813" y="1073"/>
                  </a:lnTo>
                  <a:lnTo>
                    <a:pt x="10828" y="1082"/>
                  </a:lnTo>
                  <a:lnTo>
                    <a:pt x="10844" y="1092"/>
                  </a:lnTo>
                  <a:lnTo>
                    <a:pt x="10859" y="1102"/>
                  </a:lnTo>
                  <a:lnTo>
                    <a:pt x="10873" y="1115"/>
                  </a:lnTo>
                  <a:lnTo>
                    <a:pt x="10888" y="1126"/>
                  </a:lnTo>
                  <a:lnTo>
                    <a:pt x="10901" y="1138"/>
                  </a:lnTo>
                  <a:lnTo>
                    <a:pt x="10915" y="1151"/>
                  </a:lnTo>
                  <a:lnTo>
                    <a:pt x="10929" y="1164"/>
                  </a:lnTo>
                  <a:lnTo>
                    <a:pt x="10941" y="1178"/>
                  </a:lnTo>
                  <a:lnTo>
                    <a:pt x="10953" y="1192"/>
                  </a:lnTo>
                  <a:lnTo>
                    <a:pt x="10964" y="1207"/>
                  </a:lnTo>
                  <a:lnTo>
                    <a:pt x="10975" y="1222"/>
                  </a:lnTo>
                  <a:lnTo>
                    <a:pt x="10986" y="1237"/>
                  </a:lnTo>
                  <a:lnTo>
                    <a:pt x="10995" y="1253"/>
                  </a:lnTo>
                  <a:lnTo>
                    <a:pt x="11005" y="1270"/>
                  </a:lnTo>
                  <a:lnTo>
                    <a:pt x="11013" y="1288"/>
                  </a:lnTo>
                  <a:lnTo>
                    <a:pt x="11021" y="1305"/>
                  </a:lnTo>
                  <a:lnTo>
                    <a:pt x="11029" y="1322"/>
                  </a:lnTo>
                  <a:lnTo>
                    <a:pt x="11929" y="3574"/>
                  </a:lnTo>
                  <a:lnTo>
                    <a:pt x="14669" y="4031"/>
                  </a:lnTo>
                  <a:lnTo>
                    <a:pt x="14691" y="4035"/>
                  </a:lnTo>
                  <a:lnTo>
                    <a:pt x="14713" y="4040"/>
                  </a:lnTo>
                  <a:lnTo>
                    <a:pt x="14735" y="4046"/>
                  </a:lnTo>
                  <a:lnTo>
                    <a:pt x="14756" y="4054"/>
                  </a:lnTo>
                  <a:lnTo>
                    <a:pt x="14777" y="4061"/>
                  </a:lnTo>
                  <a:lnTo>
                    <a:pt x="14797" y="4070"/>
                  </a:lnTo>
                  <a:lnTo>
                    <a:pt x="14817" y="4080"/>
                  </a:lnTo>
                  <a:lnTo>
                    <a:pt x="14837" y="4090"/>
                  </a:lnTo>
                  <a:lnTo>
                    <a:pt x="14856" y="4102"/>
                  </a:lnTo>
                  <a:lnTo>
                    <a:pt x="14874" y="4114"/>
                  </a:lnTo>
                  <a:lnTo>
                    <a:pt x="14891" y="4126"/>
                  </a:lnTo>
                  <a:lnTo>
                    <a:pt x="14908" y="4140"/>
                  </a:lnTo>
                  <a:lnTo>
                    <a:pt x="14924" y="4154"/>
                  </a:lnTo>
                  <a:lnTo>
                    <a:pt x="14940" y="4170"/>
                  </a:lnTo>
                  <a:lnTo>
                    <a:pt x="14955" y="4186"/>
                  </a:lnTo>
                  <a:lnTo>
                    <a:pt x="14969" y="4202"/>
                  </a:lnTo>
                  <a:lnTo>
                    <a:pt x="14983" y="4218"/>
                  </a:lnTo>
                  <a:lnTo>
                    <a:pt x="14997" y="4236"/>
                  </a:lnTo>
                  <a:lnTo>
                    <a:pt x="15009" y="4254"/>
                  </a:lnTo>
                  <a:lnTo>
                    <a:pt x="15020" y="4272"/>
                  </a:lnTo>
                  <a:lnTo>
                    <a:pt x="15031" y="4291"/>
                  </a:lnTo>
                  <a:lnTo>
                    <a:pt x="15041" y="4310"/>
                  </a:lnTo>
                  <a:lnTo>
                    <a:pt x="15050" y="4331"/>
                  </a:lnTo>
                  <a:lnTo>
                    <a:pt x="15058" y="4351"/>
                  </a:lnTo>
                  <a:lnTo>
                    <a:pt x="15065" y="4372"/>
                  </a:lnTo>
                  <a:lnTo>
                    <a:pt x="15071" y="4393"/>
                  </a:lnTo>
                  <a:lnTo>
                    <a:pt x="15076" y="4414"/>
                  </a:lnTo>
                  <a:lnTo>
                    <a:pt x="15081" y="4436"/>
                  </a:lnTo>
                  <a:lnTo>
                    <a:pt x="15084" y="4458"/>
                  </a:lnTo>
                  <a:lnTo>
                    <a:pt x="15087" y="4480"/>
                  </a:lnTo>
                  <a:lnTo>
                    <a:pt x="15088" y="4504"/>
                  </a:lnTo>
                  <a:lnTo>
                    <a:pt x="15089" y="4527"/>
                  </a:lnTo>
                  <a:lnTo>
                    <a:pt x="15089" y="12070"/>
                  </a:lnTo>
                  <a:close/>
                  <a:moveTo>
                    <a:pt x="14834" y="3038"/>
                  </a:moveTo>
                  <a:lnTo>
                    <a:pt x="12654" y="2675"/>
                  </a:lnTo>
                  <a:lnTo>
                    <a:pt x="11963" y="948"/>
                  </a:lnTo>
                  <a:lnTo>
                    <a:pt x="11940" y="894"/>
                  </a:lnTo>
                  <a:lnTo>
                    <a:pt x="11916" y="842"/>
                  </a:lnTo>
                  <a:lnTo>
                    <a:pt x="11890" y="792"/>
                  </a:lnTo>
                  <a:lnTo>
                    <a:pt x="11862" y="741"/>
                  </a:lnTo>
                  <a:lnTo>
                    <a:pt x="11833" y="693"/>
                  </a:lnTo>
                  <a:lnTo>
                    <a:pt x="11802" y="647"/>
                  </a:lnTo>
                  <a:lnTo>
                    <a:pt x="11768" y="601"/>
                  </a:lnTo>
                  <a:lnTo>
                    <a:pt x="11734" y="556"/>
                  </a:lnTo>
                  <a:lnTo>
                    <a:pt x="11698" y="514"/>
                  </a:lnTo>
                  <a:lnTo>
                    <a:pt x="11661" y="473"/>
                  </a:lnTo>
                  <a:lnTo>
                    <a:pt x="11622" y="433"/>
                  </a:lnTo>
                  <a:lnTo>
                    <a:pt x="11581" y="394"/>
                  </a:lnTo>
                  <a:lnTo>
                    <a:pt x="11540" y="358"/>
                  </a:lnTo>
                  <a:lnTo>
                    <a:pt x="11498" y="323"/>
                  </a:lnTo>
                  <a:lnTo>
                    <a:pt x="11454" y="290"/>
                  </a:lnTo>
                  <a:lnTo>
                    <a:pt x="11408" y="258"/>
                  </a:lnTo>
                  <a:lnTo>
                    <a:pt x="11362" y="227"/>
                  </a:lnTo>
                  <a:lnTo>
                    <a:pt x="11315" y="199"/>
                  </a:lnTo>
                  <a:lnTo>
                    <a:pt x="11267" y="173"/>
                  </a:lnTo>
                  <a:lnTo>
                    <a:pt x="11217" y="148"/>
                  </a:lnTo>
                  <a:lnTo>
                    <a:pt x="11167" y="125"/>
                  </a:lnTo>
                  <a:lnTo>
                    <a:pt x="11116" y="104"/>
                  </a:lnTo>
                  <a:lnTo>
                    <a:pt x="11063" y="84"/>
                  </a:lnTo>
                  <a:lnTo>
                    <a:pt x="11010" y="67"/>
                  </a:lnTo>
                  <a:lnTo>
                    <a:pt x="10957" y="51"/>
                  </a:lnTo>
                  <a:lnTo>
                    <a:pt x="10902" y="38"/>
                  </a:lnTo>
                  <a:lnTo>
                    <a:pt x="10847" y="26"/>
                  </a:lnTo>
                  <a:lnTo>
                    <a:pt x="10791" y="17"/>
                  </a:lnTo>
                  <a:lnTo>
                    <a:pt x="10734" y="10"/>
                  </a:lnTo>
                  <a:lnTo>
                    <a:pt x="10678" y="4"/>
                  </a:lnTo>
                  <a:lnTo>
                    <a:pt x="10621" y="1"/>
                  </a:lnTo>
                  <a:lnTo>
                    <a:pt x="10562" y="0"/>
                  </a:lnTo>
                  <a:lnTo>
                    <a:pt x="5533" y="0"/>
                  </a:lnTo>
                  <a:lnTo>
                    <a:pt x="5474" y="1"/>
                  </a:lnTo>
                  <a:lnTo>
                    <a:pt x="5417" y="4"/>
                  </a:lnTo>
                  <a:lnTo>
                    <a:pt x="5361" y="10"/>
                  </a:lnTo>
                  <a:lnTo>
                    <a:pt x="5304" y="17"/>
                  </a:lnTo>
                  <a:lnTo>
                    <a:pt x="5248" y="26"/>
                  </a:lnTo>
                  <a:lnTo>
                    <a:pt x="5193" y="38"/>
                  </a:lnTo>
                  <a:lnTo>
                    <a:pt x="5138" y="51"/>
                  </a:lnTo>
                  <a:lnTo>
                    <a:pt x="5085" y="67"/>
                  </a:lnTo>
                  <a:lnTo>
                    <a:pt x="5032" y="84"/>
                  </a:lnTo>
                  <a:lnTo>
                    <a:pt x="4979" y="104"/>
                  </a:lnTo>
                  <a:lnTo>
                    <a:pt x="4928" y="125"/>
                  </a:lnTo>
                  <a:lnTo>
                    <a:pt x="4878" y="148"/>
                  </a:lnTo>
                  <a:lnTo>
                    <a:pt x="4829" y="173"/>
                  </a:lnTo>
                  <a:lnTo>
                    <a:pt x="4780" y="199"/>
                  </a:lnTo>
                  <a:lnTo>
                    <a:pt x="4733" y="227"/>
                  </a:lnTo>
                  <a:lnTo>
                    <a:pt x="4687" y="258"/>
                  </a:lnTo>
                  <a:lnTo>
                    <a:pt x="4641" y="290"/>
                  </a:lnTo>
                  <a:lnTo>
                    <a:pt x="4597" y="323"/>
                  </a:lnTo>
                  <a:lnTo>
                    <a:pt x="4555" y="358"/>
                  </a:lnTo>
                  <a:lnTo>
                    <a:pt x="4513" y="395"/>
                  </a:lnTo>
                  <a:lnTo>
                    <a:pt x="4472" y="434"/>
                  </a:lnTo>
                  <a:lnTo>
                    <a:pt x="4434" y="473"/>
                  </a:lnTo>
                  <a:lnTo>
                    <a:pt x="4397" y="514"/>
                  </a:lnTo>
                  <a:lnTo>
                    <a:pt x="4361" y="557"/>
                  </a:lnTo>
                  <a:lnTo>
                    <a:pt x="4327" y="602"/>
                  </a:lnTo>
                  <a:lnTo>
                    <a:pt x="4293" y="647"/>
                  </a:lnTo>
                  <a:lnTo>
                    <a:pt x="4262" y="694"/>
                  </a:lnTo>
                  <a:lnTo>
                    <a:pt x="4232" y="742"/>
                  </a:lnTo>
                  <a:lnTo>
                    <a:pt x="4204" y="792"/>
                  </a:lnTo>
                  <a:lnTo>
                    <a:pt x="4178" y="843"/>
                  </a:lnTo>
                  <a:lnTo>
                    <a:pt x="4154" y="895"/>
                  </a:lnTo>
                  <a:lnTo>
                    <a:pt x="4130" y="949"/>
                  </a:lnTo>
                  <a:lnTo>
                    <a:pt x="3441" y="2675"/>
                  </a:lnTo>
                  <a:lnTo>
                    <a:pt x="1261" y="3038"/>
                  </a:lnTo>
                  <a:lnTo>
                    <a:pt x="1193" y="3051"/>
                  </a:lnTo>
                  <a:lnTo>
                    <a:pt x="1127" y="3067"/>
                  </a:lnTo>
                  <a:lnTo>
                    <a:pt x="1061" y="3085"/>
                  </a:lnTo>
                  <a:lnTo>
                    <a:pt x="998" y="3106"/>
                  </a:lnTo>
                  <a:lnTo>
                    <a:pt x="935" y="3130"/>
                  </a:lnTo>
                  <a:lnTo>
                    <a:pt x="873" y="3158"/>
                  </a:lnTo>
                  <a:lnTo>
                    <a:pt x="814" y="3186"/>
                  </a:lnTo>
                  <a:lnTo>
                    <a:pt x="756" y="3218"/>
                  </a:lnTo>
                  <a:lnTo>
                    <a:pt x="700" y="3251"/>
                  </a:lnTo>
                  <a:lnTo>
                    <a:pt x="645" y="3287"/>
                  </a:lnTo>
                  <a:lnTo>
                    <a:pt x="592" y="3327"/>
                  </a:lnTo>
                  <a:lnTo>
                    <a:pt x="541" y="3367"/>
                  </a:lnTo>
                  <a:lnTo>
                    <a:pt x="492" y="3410"/>
                  </a:lnTo>
                  <a:lnTo>
                    <a:pt x="445" y="3454"/>
                  </a:lnTo>
                  <a:lnTo>
                    <a:pt x="399" y="3502"/>
                  </a:lnTo>
                  <a:lnTo>
                    <a:pt x="357" y="3550"/>
                  </a:lnTo>
                  <a:lnTo>
                    <a:pt x="316" y="3600"/>
                  </a:lnTo>
                  <a:lnTo>
                    <a:pt x="277" y="3653"/>
                  </a:lnTo>
                  <a:lnTo>
                    <a:pt x="240" y="3707"/>
                  </a:lnTo>
                  <a:lnTo>
                    <a:pt x="206" y="3762"/>
                  </a:lnTo>
                  <a:lnTo>
                    <a:pt x="175" y="3818"/>
                  </a:lnTo>
                  <a:lnTo>
                    <a:pt x="145" y="3877"/>
                  </a:lnTo>
                  <a:lnTo>
                    <a:pt x="119" y="3937"/>
                  </a:lnTo>
                  <a:lnTo>
                    <a:pt x="95" y="3999"/>
                  </a:lnTo>
                  <a:lnTo>
                    <a:pt x="72" y="4061"/>
                  </a:lnTo>
                  <a:lnTo>
                    <a:pt x="53" y="4124"/>
                  </a:lnTo>
                  <a:lnTo>
                    <a:pt x="37" y="4189"/>
                  </a:lnTo>
                  <a:lnTo>
                    <a:pt x="24" y="4255"/>
                  </a:lnTo>
                  <a:lnTo>
                    <a:pt x="14" y="4321"/>
                  </a:lnTo>
                  <a:lnTo>
                    <a:pt x="6" y="4389"/>
                  </a:lnTo>
                  <a:lnTo>
                    <a:pt x="2" y="4457"/>
                  </a:lnTo>
                  <a:lnTo>
                    <a:pt x="0" y="4527"/>
                  </a:lnTo>
                  <a:lnTo>
                    <a:pt x="0" y="12070"/>
                  </a:lnTo>
                  <a:lnTo>
                    <a:pt x="2" y="12148"/>
                  </a:lnTo>
                  <a:lnTo>
                    <a:pt x="8" y="12224"/>
                  </a:lnTo>
                  <a:lnTo>
                    <a:pt x="17" y="12299"/>
                  </a:lnTo>
                  <a:lnTo>
                    <a:pt x="31" y="12374"/>
                  </a:lnTo>
                  <a:lnTo>
                    <a:pt x="47" y="12446"/>
                  </a:lnTo>
                  <a:lnTo>
                    <a:pt x="68" y="12519"/>
                  </a:lnTo>
                  <a:lnTo>
                    <a:pt x="92" y="12588"/>
                  </a:lnTo>
                  <a:lnTo>
                    <a:pt x="119" y="12657"/>
                  </a:lnTo>
                  <a:lnTo>
                    <a:pt x="149" y="12724"/>
                  </a:lnTo>
                  <a:lnTo>
                    <a:pt x="182" y="12788"/>
                  </a:lnTo>
                  <a:lnTo>
                    <a:pt x="218" y="12852"/>
                  </a:lnTo>
                  <a:lnTo>
                    <a:pt x="259" y="12913"/>
                  </a:lnTo>
                  <a:lnTo>
                    <a:pt x="300" y="12972"/>
                  </a:lnTo>
                  <a:lnTo>
                    <a:pt x="345" y="13030"/>
                  </a:lnTo>
                  <a:lnTo>
                    <a:pt x="392" y="13084"/>
                  </a:lnTo>
                  <a:lnTo>
                    <a:pt x="443" y="13136"/>
                  </a:lnTo>
                  <a:lnTo>
                    <a:pt x="495" y="13187"/>
                  </a:lnTo>
                  <a:lnTo>
                    <a:pt x="549" y="13234"/>
                  </a:lnTo>
                  <a:lnTo>
                    <a:pt x="607" y="13279"/>
                  </a:lnTo>
                  <a:lnTo>
                    <a:pt x="666" y="13320"/>
                  </a:lnTo>
                  <a:lnTo>
                    <a:pt x="727" y="13361"/>
                  </a:lnTo>
                  <a:lnTo>
                    <a:pt x="791" y="13397"/>
                  </a:lnTo>
                  <a:lnTo>
                    <a:pt x="855" y="13430"/>
                  </a:lnTo>
                  <a:lnTo>
                    <a:pt x="922" y="13460"/>
                  </a:lnTo>
                  <a:lnTo>
                    <a:pt x="991" y="13487"/>
                  </a:lnTo>
                  <a:lnTo>
                    <a:pt x="1060" y="13511"/>
                  </a:lnTo>
                  <a:lnTo>
                    <a:pt x="1133" y="13532"/>
                  </a:lnTo>
                  <a:lnTo>
                    <a:pt x="1205" y="13548"/>
                  </a:lnTo>
                  <a:lnTo>
                    <a:pt x="1280" y="13562"/>
                  </a:lnTo>
                  <a:lnTo>
                    <a:pt x="1355" y="13571"/>
                  </a:lnTo>
                  <a:lnTo>
                    <a:pt x="1431" y="13577"/>
                  </a:lnTo>
                  <a:lnTo>
                    <a:pt x="1509" y="13579"/>
                  </a:lnTo>
                  <a:lnTo>
                    <a:pt x="14586" y="13579"/>
                  </a:lnTo>
                  <a:lnTo>
                    <a:pt x="14664" y="13577"/>
                  </a:lnTo>
                  <a:lnTo>
                    <a:pt x="14740" y="13571"/>
                  </a:lnTo>
                  <a:lnTo>
                    <a:pt x="14815" y="13562"/>
                  </a:lnTo>
                  <a:lnTo>
                    <a:pt x="14890" y="13548"/>
                  </a:lnTo>
                  <a:lnTo>
                    <a:pt x="14962" y="13532"/>
                  </a:lnTo>
                  <a:lnTo>
                    <a:pt x="15034" y="13511"/>
                  </a:lnTo>
                  <a:lnTo>
                    <a:pt x="15104" y="13487"/>
                  </a:lnTo>
                  <a:lnTo>
                    <a:pt x="15173" y="13460"/>
                  </a:lnTo>
                  <a:lnTo>
                    <a:pt x="15240" y="13430"/>
                  </a:lnTo>
                  <a:lnTo>
                    <a:pt x="15304" y="13397"/>
                  </a:lnTo>
                  <a:lnTo>
                    <a:pt x="15368" y="13361"/>
                  </a:lnTo>
                  <a:lnTo>
                    <a:pt x="15429" y="13320"/>
                  </a:lnTo>
                  <a:lnTo>
                    <a:pt x="15488" y="13279"/>
                  </a:lnTo>
                  <a:lnTo>
                    <a:pt x="15546" y="13234"/>
                  </a:lnTo>
                  <a:lnTo>
                    <a:pt x="15600" y="13187"/>
                  </a:lnTo>
                  <a:lnTo>
                    <a:pt x="15652" y="13136"/>
                  </a:lnTo>
                  <a:lnTo>
                    <a:pt x="15703" y="13084"/>
                  </a:lnTo>
                  <a:lnTo>
                    <a:pt x="15750" y="13030"/>
                  </a:lnTo>
                  <a:lnTo>
                    <a:pt x="15795" y="12972"/>
                  </a:lnTo>
                  <a:lnTo>
                    <a:pt x="15836" y="12913"/>
                  </a:lnTo>
                  <a:lnTo>
                    <a:pt x="15877" y="12852"/>
                  </a:lnTo>
                  <a:lnTo>
                    <a:pt x="15913" y="12788"/>
                  </a:lnTo>
                  <a:lnTo>
                    <a:pt x="15946" y="12724"/>
                  </a:lnTo>
                  <a:lnTo>
                    <a:pt x="15976" y="12657"/>
                  </a:lnTo>
                  <a:lnTo>
                    <a:pt x="16003" y="12588"/>
                  </a:lnTo>
                  <a:lnTo>
                    <a:pt x="16027" y="12519"/>
                  </a:lnTo>
                  <a:lnTo>
                    <a:pt x="16048" y="12446"/>
                  </a:lnTo>
                  <a:lnTo>
                    <a:pt x="16064" y="12374"/>
                  </a:lnTo>
                  <a:lnTo>
                    <a:pt x="16078" y="12299"/>
                  </a:lnTo>
                  <a:lnTo>
                    <a:pt x="16087" y="12224"/>
                  </a:lnTo>
                  <a:lnTo>
                    <a:pt x="16093" y="12148"/>
                  </a:lnTo>
                  <a:lnTo>
                    <a:pt x="16095" y="12070"/>
                  </a:lnTo>
                  <a:lnTo>
                    <a:pt x="16095" y="4527"/>
                  </a:lnTo>
                  <a:lnTo>
                    <a:pt x="16093" y="4457"/>
                  </a:lnTo>
                  <a:lnTo>
                    <a:pt x="16089" y="4389"/>
                  </a:lnTo>
                  <a:lnTo>
                    <a:pt x="16081" y="4321"/>
                  </a:lnTo>
                  <a:lnTo>
                    <a:pt x="16071" y="4255"/>
                  </a:lnTo>
                  <a:lnTo>
                    <a:pt x="16058" y="4189"/>
                  </a:lnTo>
                  <a:lnTo>
                    <a:pt x="16042" y="4124"/>
                  </a:lnTo>
                  <a:lnTo>
                    <a:pt x="16023" y="4061"/>
                  </a:lnTo>
                  <a:lnTo>
                    <a:pt x="16000" y="3999"/>
                  </a:lnTo>
                  <a:lnTo>
                    <a:pt x="15976" y="3937"/>
                  </a:lnTo>
                  <a:lnTo>
                    <a:pt x="15949" y="3877"/>
                  </a:lnTo>
                  <a:lnTo>
                    <a:pt x="15920" y="3818"/>
                  </a:lnTo>
                  <a:lnTo>
                    <a:pt x="15889" y="3762"/>
                  </a:lnTo>
                  <a:lnTo>
                    <a:pt x="15855" y="3707"/>
                  </a:lnTo>
                  <a:lnTo>
                    <a:pt x="15818" y="3653"/>
                  </a:lnTo>
                  <a:lnTo>
                    <a:pt x="15779" y="3600"/>
                  </a:lnTo>
                  <a:lnTo>
                    <a:pt x="15738" y="3550"/>
                  </a:lnTo>
                  <a:lnTo>
                    <a:pt x="15696" y="3502"/>
                  </a:lnTo>
                  <a:lnTo>
                    <a:pt x="15650" y="3454"/>
                  </a:lnTo>
                  <a:lnTo>
                    <a:pt x="15603" y="3410"/>
                  </a:lnTo>
                  <a:lnTo>
                    <a:pt x="15554" y="3367"/>
                  </a:lnTo>
                  <a:lnTo>
                    <a:pt x="15503" y="3327"/>
                  </a:lnTo>
                  <a:lnTo>
                    <a:pt x="15450" y="3287"/>
                  </a:lnTo>
                  <a:lnTo>
                    <a:pt x="15395" y="3251"/>
                  </a:lnTo>
                  <a:lnTo>
                    <a:pt x="15339" y="3218"/>
                  </a:lnTo>
                  <a:lnTo>
                    <a:pt x="15281" y="3186"/>
                  </a:lnTo>
                  <a:lnTo>
                    <a:pt x="15221" y="3158"/>
                  </a:lnTo>
                  <a:lnTo>
                    <a:pt x="15160" y="3130"/>
                  </a:lnTo>
                  <a:lnTo>
                    <a:pt x="15097" y="3106"/>
                  </a:lnTo>
                  <a:lnTo>
                    <a:pt x="15034" y="3085"/>
                  </a:lnTo>
                  <a:lnTo>
                    <a:pt x="14968" y="3067"/>
                  </a:lnTo>
                  <a:lnTo>
                    <a:pt x="14901" y="3051"/>
                  </a:lnTo>
                  <a:lnTo>
                    <a:pt x="14834" y="30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48" name="iṧḷîḍé">
              <a:extLst>
                <a:ext uri="{FF2B5EF4-FFF2-40B4-BE49-F238E27FC236}">
                  <a16:creationId xmlns:a16="http://schemas.microsoft.com/office/drawing/2014/main" id="{0ED45A8D-044E-40E2-8B16-C829C0308C55}"/>
                </a:ext>
              </a:extLst>
            </p:cNvPr>
            <p:cNvSpPr/>
            <p:nvPr/>
          </p:nvSpPr>
          <p:spPr bwMode="auto">
            <a:xfrm>
              <a:off x="1115242" y="1091004"/>
              <a:ext cx="271169" cy="270546"/>
            </a:xfrm>
            <a:custGeom>
              <a:avLst/>
              <a:gdLst>
                <a:gd name="T0" fmla="*/ 13014 w 16095"/>
                <a:gd name="T1" fmla="*/ 9314 h 16058"/>
                <a:gd name="T2" fmla="*/ 12601 w 16095"/>
                <a:gd name="T3" fmla="*/ 10148 h 16058"/>
                <a:gd name="T4" fmla="*/ 12483 w 16095"/>
                <a:gd name="T5" fmla="*/ 10816 h 16058"/>
                <a:gd name="T6" fmla="*/ 11103 w 16095"/>
                <a:gd name="T7" fmla="*/ 12535 h 16058"/>
                <a:gd name="T8" fmla="*/ 10453 w 16095"/>
                <a:gd name="T9" fmla="*/ 12465 h 16058"/>
                <a:gd name="T10" fmla="*/ 9575 w 16095"/>
                <a:gd name="T11" fmla="*/ 12816 h 16058"/>
                <a:gd name="T12" fmla="*/ 9126 w 16095"/>
                <a:gd name="T13" fmla="*/ 13268 h 16058"/>
                <a:gd name="T14" fmla="*/ 6955 w 16095"/>
                <a:gd name="T15" fmla="*/ 13239 h 16058"/>
                <a:gd name="T16" fmla="*/ 6491 w 16095"/>
                <a:gd name="T17" fmla="*/ 12802 h 16058"/>
                <a:gd name="T18" fmla="*/ 5615 w 16095"/>
                <a:gd name="T19" fmla="*/ 12459 h 16058"/>
                <a:gd name="T20" fmla="*/ 4959 w 16095"/>
                <a:gd name="T21" fmla="*/ 12551 h 16058"/>
                <a:gd name="T22" fmla="*/ 3617 w 16095"/>
                <a:gd name="T23" fmla="*/ 10784 h 16058"/>
                <a:gd name="T24" fmla="*/ 3464 w 16095"/>
                <a:gd name="T25" fmla="*/ 10082 h 16058"/>
                <a:gd name="T26" fmla="*/ 3059 w 16095"/>
                <a:gd name="T27" fmla="*/ 9291 h 16058"/>
                <a:gd name="T28" fmla="*/ 1006 w 16095"/>
                <a:gd name="T29" fmla="*/ 7347 h 16058"/>
                <a:gd name="T30" fmla="*/ 3081 w 16095"/>
                <a:gd name="T31" fmla="*/ 6745 h 16058"/>
                <a:gd name="T32" fmla="*/ 3495 w 16095"/>
                <a:gd name="T33" fmla="*/ 5911 h 16058"/>
                <a:gd name="T34" fmla="*/ 3613 w 16095"/>
                <a:gd name="T35" fmla="*/ 5243 h 16058"/>
                <a:gd name="T36" fmla="*/ 4992 w 16095"/>
                <a:gd name="T37" fmla="*/ 3523 h 16058"/>
                <a:gd name="T38" fmla="*/ 5643 w 16095"/>
                <a:gd name="T39" fmla="*/ 3593 h 16058"/>
                <a:gd name="T40" fmla="*/ 6520 w 16095"/>
                <a:gd name="T41" fmla="*/ 3242 h 16058"/>
                <a:gd name="T42" fmla="*/ 6970 w 16095"/>
                <a:gd name="T43" fmla="*/ 2790 h 16058"/>
                <a:gd name="T44" fmla="*/ 9140 w 16095"/>
                <a:gd name="T45" fmla="*/ 2819 h 16058"/>
                <a:gd name="T46" fmla="*/ 9604 w 16095"/>
                <a:gd name="T47" fmla="*/ 3256 h 16058"/>
                <a:gd name="T48" fmla="*/ 10480 w 16095"/>
                <a:gd name="T49" fmla="*/ 3599 h 16058"/>
                <a:gd name="T50" fmla="*/ 11137 w 16095"/>
                <a:gd name="T51" fmla="*/ 3507 h 16058"/>
                <a:gd name="T52" fmla="*/ 12478 w 16095"/>
                <a:gd name="T53" fmla="*/ 5274 h 16058"/>
                <a:gd name="T54" fmla="*/ 12631 w 16095"/>
                <a:gd name="T55" fmla="*/ 5976 h 16058"/>
                <a:gd name="T56" fmla="*/ 13036 w 16095"/>
                <a:gd name="T57" fmla="*/ 6767 h 16058"/>
                <a:gd name="T58" fmla="*/ 15089 w 16095"/>
                <a:gd name="T59" fmla="*/ 8712 h 16058"/>
                <a:gd name="T60" fmla="*/ 14489 w 16095"/>
                <a:gd name="T61" fmla="*/ 3783 h 16058"/>
                <a:gd name="T62" fmla="*/ 14336 w 16095"/>
                <a:gd name="T63" fmla="*/ 2970 h 16058"/>
                <a:gd name="T64" fmla="*/ 12945 w 16095"/>
                <a:gd name="T65" fmla="*/ 1659 h 16058"/>
                <a:gd name="T66" fmla="*/ 12433 w 16095"/>
                <a:gd name="T67" fmla="*/ 1581 h 16058"/>
                <a:gd name="T68" fmla="*/ 10192 w 16095"/>
                <a:gd name="T69" fmla="*/ 2406 h 16058"/>
                <a:gd name="T70" fmla="*/ 9336 w 16095"/>
                <a:gd name="T71" fmla="*/ 202 h 16058"/>
                <a:gd name="T72" fmla="*/ 7187 w 16095"/>
                <a:gd name="T73" fmla="*/ 15 h 16058"/>
                <a:gd name="T74" fmla="*/ 6503 w 16095"/>
                <a:gd name="T75" fmla="*/ 483 h 16058"/>
                <a:gd name="T76" fmla="*/ 4046 w 16095"/>
                <a:gd name="T77" fmla="*/ 1704 h 16058"/>
                <a:gd name="T78" fmla="*/ 3407 w 16095"/>
                <a:gd name="T79" fmla="*/ 1586 h 16058"/>
                <a:gd name="T80" fmla="*/ 2956 w 16095"/>
                <a:gd name="T81" fmla="*/ 1771 h 16058"/>
                <a:gd name="T82" fmla="*/ 1604 w 16095"/>
                <a:gd name="T83" fmla="*/ 3320 h 16058"/>
                <a:gd name="T84" fmla="*/ 2620 w 16095"/>
                <a:gd name="T85" fmla="*/ 5408 h 16058"/>
                <a:gd name="T86" fmla="*/ 379 w 16095"/>
                <a:gd name="T87" fmla="*/ 6562 h 16058"/>
                <a:gd name="T88" fmla="*/ 1 w 16095"/>
                <a:gd name="T89" fmla="*/ 7302 h 16058"/>
                <a:gd name="T90" fmla="*/ 285 w 16095"/>
                <a:gd name="T91" fmla="*/ 9412 h 16058"/>
                <a:gd name="T92" fmla="*/ 2511 w 16095"/>
                <a:gd name="T93" fmla="*/ 10413 h 16058"/>
                <a:gd name="T94" fmla="*/ 1583 w 16095"/>
                <a:gd name="T95" fmla="*/ 12613 h 16058"/>
                <a:gd name="T96" fmla="*/ 2897 w 16095"/>
                <a:gd name="T97" fmla="*/ 14241 h 16058"/>
                <a:gd name="T98" fmla="*/ 3336 w 16095"/>
                <a:gd name="T99" fmla="*/ 14459 h 16058"/>
                <a:gd name="T100" fmla="*/ 3944 w 16095"/>
                <a:gd name="T101" fmla="*/ 14404 h 16058"/>
                <a:gd name="T102" fmla="*/ 6444 w 16095"/>
                <a:gd name="T103" fmla="*/ 15461 h 16058"/>
                <a:gd name="T104" fmla="*/ 7061 w 16095"/>
                <a:gd name="T105" fmla="*/ 16012 h 16058"/>
                <a:gd name="T106" fmla="*/ 9229 w 16095"/>
                <a:gd name="T107" fmla="*/ 15927 h 16058"/>
                <a:gd name="T108" fmla="*/ 9718 w 16095"/>
                <a:gd name="T109" fmla="*/ 15251 h 16058"/>
                <a:gd name="T110" fmla="*/ 12326 w 16095"/>
                <a:gd name="T111" fmla="*/ 14460 h 16058"/>
                <a:gd name="T112" fmla="*/ 12877 w 16095"/>
                <a:gd name="T113" fmla="*/ 14426 h 16058"/>
                <a:gd name="T114" fmla="*/ 14253 w 16095"/>
                <a:gd name="T115" fmla="*/ 13191 h 16058"/>
                <a:gd name="T116" fmla="*/ 14511 w 16095"/>
                <a:gd name="T117" fmla="*/ 12402 h 16058"/>
                <a:gd name="T118" fmla="*/ 13745 w 16095"/>
                <a:gd name="T119" fmla="*/ 10004 h 16058"/>
                <a:gd name="T120" fmla="*/ 15941 w 16095"/>
                <a:gd name="T121" fmla="*/ 9245 h 16058"/>
                <a:gd name="T122" fmla="*/ 16061 w 16095"/>
                <a:gd name="T123" fmla="*/ 7086 h 16058"/>
                <a:gd name="T124" fmla="*/ 15536 w 16095"/>
                <a:gd name="T125" fmla="*/ 6448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95" h="16058">
                  <a:moveTo>
                    <a:pt x="13547" y="9020"/>
                  </a:moveTo>
                  <a:lnTo>
                    <a:pt x="13515" y="9027"/>
                  </a:lnTo>
                  <a:lnTo>
                    <a:pt x="13483" y="9035"/>
                  </a:lnTo>
                  <a:lnTo>
                    <a:pt x="13450" y="9044"/>
                  </a:lnTo>
                  <a:lnTo>
                    <a:pt x="13419" y="9054"/>
                  </a:lnTo>
                  <a:lnTo>
                    <a:pt x="13388" y="9065"/>
                  </a:lnTo>
                  <a:lnTo>
                    <a:pt x="13358" y="9077"/>
                  </a:lnTo>
                  <a:lnTo>
                    <a:pt x="13328" y="9090"/>
                  </a:lnTo>
                  <a:lnTo>
                    <a:pt x="13298" y="9104"/>
                  </a:lnTo>
                  <a:lnTo>
                    <a:pt x="13269" y="9120"/>
                  </a:lnTo>
                  <a:lnTo>
                    <a:pt x="13241" y="9135"/>
                  </a:lnTo>
                  <a:lnTo>
                    <a:pt x="13213" y="9152"/>
                  </a:lnTo>
                  <a:lnTo>
                    <a:pt x="13186" y="9169"/>
                  </a:lnTo>
                  <a:lnTo>
                    <a:pt x="13160" y="9187"/>
                  </a:lnTo>
                  <a:lnTo>
                    <a:pt x="13134" y="9207"/>
                  </a:lnTo>
                  <a:lnTo>
                    <a:pt x="13108" y="9226"/>
                  </a:lnTo>
                  <a:lnTo>
                    <a:pt x="13083" y="9247"/>
                  </a:lnTo>
                  <a:lnTo>
                    <a:pt x="13059" y="9269"/>
                  </a:lnTo>
                  <a:lnTo>
                    <a:pt x="13036" y="9291"/>
                  </a:lnTo>
                  <a:lnTo>
                    <a:pt x="13014" y="9314"/>
                  </a:lnTo>
                  <a:lnTo>
                    <a:pt x="12992" y="9338"/>
                  </a:lnTo>
                  <a:lnTo>
                    <a:pt x="12971" y="9362"/>
                  </a:lnTo>
                  <a:lnTo>
                    <a:pt x="12950" y="9387"/>
                  </a:lnTo>
                  <a:lnTo>
                    <a:pt x="12931" y="9414"/>
                  </a:lnTo>
                  <a:lnTo>
                    <a:pt x="12912" y="9440"/>
                  </a:lnTo>
                  <a:lnTo>
                    <a:pt x="12894" y="9467"/>
                  </a:lnTo>
                  <a:lnTo>
                    <a:pt x="12877" y="9495"/>
                  </a:lnTo>
                  <a:lnTo>
                    <a:pt x="12861" y="9523"/>
                  </a:lnTo>
                  <a:lnTo>
                    <a:pt x="12846" y="9552"/>
                  </a:lnTo>
                  <a:lnTo>
                    <a:pt x="12832" y="9582"/>
                  </a:lnTo>
                  <a:lnTo>
                    <a:pt x="12819" y="9612"/>
                  </a:lnTo>
                  <a:lnTo>
                    <a:pt x="12807" y="9642"/>
                  </a:lnTo>
                  <a:lnTo>
                    <a:pt x="12795" y="9674"/>
                  </a:lnTo>
                  <a:lnTo>
                    <a:pt x="12769" y="9743"/>
                  </a:lnTo>
                  <a:lnTo>
                    <a:pt x="12744" y="9812"/>
                  </a:lnTo>
                  <a:lnTo>
                    <a:pt x="12717" y="9880"/>
                  </a:lnTo>
                  <a:lnTo>
                    <a:pt x="12690" y="9948"/>
                  </a:lnTo>
                  <a:lnTo>
                    <a:pt x="12661" y="10015"/>
                  </a:lnTo>
                  <a:lnTo>
                    <a:pt x="12632" y="10082"/>
                  </a:lnTo>
                  <a:lnTo>
                    <a:pt x="12601" y="10148"/>
                  </a:lnTo>
                  <a:lnTo>
                    <a:pt x="12570" y="10214"/>
                  </a:lnTo>
                  <a:lnTo>
                    <a:pt x="12556" y="10244"/>
                  </a:lnTo>
                  <a:lnTo>
                    <a:pt x="12543" y="10274"/>
                  </a:lnTo>
                  <a:lnTo>
                    <a:pt x="12531" y="10305"/>
                  </a:lnTo>
                  <a:lnTo>
                    <a:pt x="12520" y="10336"/>
                  </a:lnTo>
                  <a:lnTo>
                    <a:pt x="12510" y="10367"/>
                  </a:lnTo>
                  <a:lnTo>
                    <a:pt x="12501" y="10399"/>
                  </a:lnTo>
                  <a:lnTo>
                    <a:pt x="12494" y="10430"/>
                  </a:lnTo>
                  <a:lnTo>
                    <a:pt x="12487" y="10462"/>
                  </a:lnTo>
                  <a:lnTo>
                    <a:pt x="12481" y="10495"/>
                  </a:lnTo>
                  <a:lnTo>
                    <a:pt x="12477" y="10527"/>
                  </a:lnTo>
                  <a:lnTo>
                    <a:pt x="12473" y="10559"/>
                  </a:lnTo>
                  <a:lnTo>
                    <a:pt x="12471" y="10591"/>
                  </a:lnTo>
                  <a:lnTo>
                    <a:pt x="12469" y="10623"/>
                  </a:lnTo>
                  <a:lnTo>
                    <a:pt x="12469" y="10655"/>
                  </a:lnTo>
                  <a:lnTo>
                    <a:pt x="12470" y="10687"/>
                  </a:lnTo>
                  <a:lnTo>
                    <a:pt x="12471" y="10719"/>
                  </a:lnTo>
                  <a:lnTo>
                    <a:pt x="12474" y="10752"/>
                  </a:lnTo>
                  <a:lnTo>
                    <a:pt x="12478" y="10784"/>
                  </a:lnTo>
                  <a:lnTo>
                    <a:pt x="12483" y="10816"/>
                  </a:lnTo>
                  <a:lnTo>
                    <a:pt x="12488" y="10848"/>
                  </a:lnTo>
                  <a:lnTo>
                    <a:pt x="12495" y="10879"/>
                  </a:lnTo>
                  <a:lnTo>
                    <a:pt x="12503" y="10911"/>
                  </a:lnTo>
                  <a:lnTo>
                    <a:pt x="12512" y="10942"/>
                  </a:lnTo>
                  <a:lnTo>
                    <a:pt x="12522" y="10972"/>
                  </a:lnTo>
                  <a:lnTo>
                    <a:pt x="12532" y="11003"/>
                  </a:lnTo>
                  <a:lnTo>
                    <a:pt x="12544" y="11034"/>
                  </a:lnTo>
                  <a:lnTo>
                    <a:pt x="12557" y="11064"/>
                  </a:lnTo>
                  <a:lnTo>
                    <a:pt x="12571" y="11093"/>
                  </a:lnTo>
                  <a:lnTo>
                    <a:pt x="12586" y="11123"/>
                  </a:lnTo>
                  <a:lnTo>
                    <a:pt x="12602" y="11151"/>
                  </a:lnTo>
                  <a:lnTo>
                    <a:pt x="12619" y="11180"/>
                  </a:lnTo>
                  <a:lnTo>
                    <a:pt x="12638" y="11207"/>
                  </a:lnTo>
                  <a:lnTo>
                    <a:pt x="13511" y="12514"/>
                  </a:lnTo>
                  <a:lnTo>
                    <a:pt x="12543" y="13480"/>
                  </a:lnTo>
                  <a:lnTo>
                    <a:pt x="11233" y="12608"/>
                  </a:lnTo>
                  <a:lnTo>
                    <a:pt x="11202" y="12588"/>
                  </a:lnTo>
                  <a:lnTo>
                    <a:pt x="11169" y="12569"/>
                  </a:lnTo>
                  <a:lnTo>
                    <a:pt x="11137" y="12551"/>
                  </a:lnTo>
                  <a:lnTo>
                    <a:pt x="11103" y="12535"/>
                  </a:lnTo>
                  <a:lnTo>
                    <a:pt x="11069" y="12520"/>
                  </a:lnTo>
                  <a:lnTo>
                    <a:pt x="11035" y="12506"/>
                  </a:lnTo>
                  <a:lnTo>
                    <a:pt x="11000" y="12494"/>
                  </a:lnTo>
                  <a:lnTo>
                    <a:pt x="10965" y="12483"/>
                  </a:lnTo>
                  <a:lnTo>
                    <a:pt x="10930" y="12473"/>
                  </a:lnTo>
                  <a:lnTo>
                    <a:pt x="10894" y="12464"/>
                  </a:lnTo>
                  <a:lnTo>
                    <a:pt x="10858" y="12457"/>
                  </a:lnTo>
                  <a:lnTo>
                    <a:pt x="10822" y="12451"/>
                  </a:lnTo>
                  <a:lnTo>
                    <a:pt x="10786" y="12446"/>
                  </a:lnTo>
                  <a:lnTo>
                    <a:pt x="10748" y="12443"/>
                  </a:lnTo>
                  <a:lnTo>
                    <a:pt x="10712" y="12441"/>
                  </a:lnTo>
                  <a:lnTo>
                    <a:pt x="10676" y="12440"/>
                  </a:lnTo>
                  <a:lnTo>
                    <a:pt x="10648" y="12441"/>
                  </a:lnTo>
                  <a:lnTo>
                    <a:pt x="10620" y="12442"/>
                  </a:lnTo>
                  <a:lnTo>
                    <a:pt x="10592" y="12444"/>
                  </a:lnTo>
                  <a:lnTo>
                    <a:pt x="10563" y="12446"/>
                  </a:lnTo>
                  <a:lnTo>
                    <a:pt x="10536" y="12450"/>
                  </a:lnTo>
                  <a:lnTo>
                    <a:pt x="10508" y="12454"/>
                  </a:lnTo>
                  <a:lnTo>
                    <a:pt x="10480" y="12459"/>
                  </a:lnTo>
                  <a:lnTo>
                    <a:pt x="10453" y="12465"/>
                  </a:lnTo>
                  <a:lnTo>
                    <a:pt x="10425" y="12472"/>
                  </a:lnTo>
                  <a:lnTo>
                    <a:pt x="10397" y="12479"/>
                  </a:lnTo>
                  <a:lnTo>
                    <a:pt x="10370" y="12488"/>
                  </a:lnTo>
                  <a:lnTo>
                    <a:pt x="10343" y="12497"/>
                  </a:lnTo>
                  <a:lnTo>
                    <a:pt x="10317" y="12506"/>
                  </a:lnTo>
                  <a:lnTo>
                    <a:pt x="10290" y="12517"/>
                  </a:lnTo>
                  <a:lnTo>
                    <a:pt x="10264" y="12528"/>
                  </a:lnTo>
                  <a:lnTo>
                    <a:pt x="10237" y="12540"/>
                  </a:lnTo>
                  <a:lnTo>
                    <a:pt x="10172" y="12571"/>
                  </a:lnTo>
                  <a:lnTo>
                    <a:pt x="10106" y="12602"/>
                  </a:lnTo>
                  <a:lnTo>
                    <a:pt x="10038" y="12631"/>
                  </a:lnTo>
                  <a:lnTo>
                    <a:pt x="9971" y="12661"/>
                  </a:lnTo>
                  <a:lnTo>
                    <a:pt x="9903" y="12688"/>
                  </a:lnTo>
                  <a:lnTo>
                    <a:pt x="9835" y="12715"/>
                  </a:lnTo>
                  <a:lnTo>
                    <a:pt x="9766" y="12740"/>
                  </a:lnTo>
                  <a:lnTo>
                    <a:pt x="9696" y="12765"/>
                  </a:lnTo>
                  <a:lnTo>
                    <a:pt x="9665" y="12777"/>
                  </a:lnTo>
                  <a:lnTo>
                    <a:pt x="9635" y="12789"/>
                  </a:lnTo>
                  <a:lnTo>
                    <a:pt x="9605" y="12802"/>
                  </a:lnTo>
                  <a:lnTo>
                    <a:pt x="9575" y="12816"/>
                  </a:lnTo>
                  <a:lnTo>
                    <a:pt x="9545" y="12832"/>
                  </a:lnTo>
                  <a:lnTo>
                    <a:pt x="9517" y="12848"/>
                  </a:lnTo>
                  <a:lnTo>
                    <a:pt x="9489" y="12864"/>
                  </a:lnTo>
                  <a:lnTo>
                    <a:pt x="9462" y="12882"/>
                  </a:lnTo>
                  <a:lnTo>
                    <a:pt x="9436" y="12901"/>
                  </a:lnTo>
                  <a:lnTo>
                    <a:pt x="9410" y="12920"/>
                  </a:lnTo>
                  <a:lnTo>
                    <a:pt x="9384" y="12941"/>
                  </a:lnTo>
                  <a:lnTo>
                    <a:pt x="9360" y="12962"/>
                  </a:lnTo>
                  <a:lnTo>
                    <a:pt x="9336" y="12984"/>
                  </a:lnTo>
                  <a:lnTo>
                    <a:pt x="9313" y="13007"/>
                  </a:lnTo>
                  <a:lnTo>
                    <a:pt x="9291" y="13030"/>
                  </a:lnTo>
                  <a:lnTo>
                    <a:pt x="9269" y="13054"/>
                  </a:lnTo>
                  <a:lnTo>
                    <a:pt x="9249" y="13078"/>
                  </a:lnTo>
                  <a:lnTo>
                    <a:pt x="9228" y="13103"/>
                  </a:lnTo>
                  <a:lnTo>
                    <a:pt x="9209" y="13129"/>
                  </a:lnTo>
                  <a:lnTo>
                    <a:pt x="9190" y="13156"/>
                  </a:lnTo>
                  <a:lnTo>
                    <a:pt x="9173" y="13183"/>
                  </a:lnTo>
                  <a:lnTo>
                    <a:pt x="9156" y="13211"/>
                  </a:lnTo>
                  <a:lnTo>
                    <a:pt x="9141" y="13239"/>
                  </a:lnTo>
                  <a:lnTo>
                    <a:pt x="9126" y="13268"/>
                  </a:lnTo>
                  <a:lnTo>
                    <a:pt x="9112" y="13297"/>
                  </a:lnTo>
                  <a:lnTo>
                    <a:pt x="9099" y="13327"/>
                  </a:lnTo>
                  <a:lnTo>
                    <a:pt x="9087" y="13357"/>
                  </a:lnTo>
                  <a:lnTo>
                    <a:pt x="9076" y="13388"/>
                  </a:lnTo>
                  <a:lnTo>
                    <a:pt x="9066" y="13419"/>
                  </a:lnTo>
                  <a:lnTo>
                    <a:pt x="9056" y="13451"/>
                  </a:lnTo>
                  <a:lnTo>
                    <a:pt x="9048" y="13484"/>
                  </a:lnTo>
                  <a:lnTo>
                    <a:pt x="9041" y="13516"/>
                  </a:lnTo>
                  <a:lnTo>
                    <a:pt x="8732" y="15054"/>
                  </a:lnTo>
                  <a:lnTo>
                    <a:pt x="7363" y="15054"/>
                  </a:lnTo>
                  <a:lnTo>
                    <a:pt x="7055" y="13516"/>
                  </a:lnTo>
                  <a:lnTo>
                    <a:pt x="7048" y="13484"/>
                  </a:lnTo>
                  <a:lnTo>
                    <a:pt x="7040" y="13451"/>
                  </a:lnTo>
                  <a:lnTo>
                    <a:pt x="7030" y="13419"/>
                  </a:lnTo>
                  <a:lnTo>
                    <a:pt x="7020" y="13388"/>
                  </a:lnTo>
                  <a:lnTo>
                    <a:pt x="7009" y="13357"/>
                  </a:lnTo>
                  <a:lnTo>
                    <a:pt x="6997" y="13327"/>
                  </a:lnTo>
                  <a:lnTo>
                    <a:pt x="6984" y="13297"/>
                  </a:lnTo>
                  <a:lnTo>
                    <a:pt x="6970" y="13268"/>
                  </a:lnTo>
                  <a:lnTo>
                    <a:pt x="6955" y="13239"/>
                  </a:lnTo>
                  <a:lnTo>
                    <a:pt x="6940" y="13211"/>
                  </a:lnTo>
                  <a:lnTo>
                    <a:pt x="6923" y="13183"/>
                  </a:lnTo>
                  <a:lnTo>
                    <a:pt x="6906" y="13156"/>
                  </a:lnTo>
                  <a:lnTo>
                    <a:pt x="6887" y="13129"/>
                  </a:lnTo>
                  <a:lnTo>
                    <a:pt x="6868" y="13103"/>
                  </a:lnTo>
                  <a:lnTo>
                    <a:pt x="6847" y="13078"/>
                  </a:lnTo>
                  <a:lnTo>
                    <a:pt x="6827" y="13054"/>
                  </a:lnTo>
                  <a:lnTo>
                    <a:pt x="6805" y="13030"/>
                  </a:lnTo>
                  <a:lnTo>
                    <a:pt x="6783" y="13007"/>
                  </a:lnTo>
                  <a:lnTo>
                    <a:pt x="6760" y="12984"/>
                  </a:lnTo>
                  <a:lnTo>
                    <a:pt x="6736" y="12962"/>
                  </a:lnTo>
                  <a:lnTo>
                    <a:pt x="6712" y="12941"/>
                  </a:lnTo>
                  <a:lnTo>
                    <a:pt x="6686" y="12920"/>
                  </a:lnTo>
                  <a:lnTo>
                    <a:pt x="6660" y="12901"/>
                  </a:lnTo>
                  <a:lnTo>
                    <a:pt x="6634" y="12882"/>
                  </a:lnTo>
                  <a:lnTo>
                    <a:pt x="6607" y="12864"/>
                  </a:lnTo>
                  <a:lnTo>
                    <a:pt x="6579" y="12848"/>
                  </a:lnTo>
                  <a:lnTo>
                    <a:pt x="6551" y="12832"/>
                  </a:lnTo>
                  <a:lnTo>
                    <a:pt x="6521" y="12816"/>
                  </a:lnTo>
                  <a:lnTo>
                    <a:pt x="6491" y="12802"/>
                  </a:lnTo>
                  <a:lnTo>
                    <a:pt x="6461" y="12789"/>
                  </a:lnTo>
                  <a:lnTo>
                    <a:pt x="6431" y="12777"/>
                  </a:lnTo>
                  <a:lnTo>
                    <a:pt x="6400" y="12765"/>
                  </a:lnTo>
                  <a:lnTo>
                    <a:pt x="6330" y="12740"/>
                  </a:lnTo>
                  <a:lnTo>
                    <a:pt x="6261" y="12715"/>
                  </a:lnTo>
                  <a:lnTo>
                    <a:pt x="6193" y="12688"/>
                  </a:lnTo>
                  <a:lnTo>
                    <a:pt x="6125" y="12661"/>
                  </a:lnTo>
                  <a:lnTo>
                    <a:pt x="6058" y="12632"/>
                  </a:lnTo>
                  <a:lnTo>
                    <a:pt x="5990" y="12602"/>
                  </a:lnTo>
                  <a:lnTo>
                    <a:pt x="5924" y="12572"/>
                  </a:lnTo>
                  <a:lnTo>
                    <a:pt x="5859" y="12541"/>
                  </a:lnTo>
                  <a:lnTo>
                    <a:pt x="5832" y="12529"/>
                  </a:lnTo>
                  <a:lnTo>
                    <a:pt x="5806" y="12517"/>
                  </a:lnTo>
                  <a:lnTo>
                    <a:pt x="5779" y="12507"/>
                  </a:lnTo>
                  <a:lnTo>
                    <a:pt x="5752" y="12497"/>
                  </a:lnTo>
                  <a:lnTo>
                    <a:pt x="5725" y="12488"/>
                  </a:lnTo>
                  <a:lnTo>
                    <a:pt x="5698" y="12479"/>
                  </a:lnTo>
                  <a:lnTo>
                    <a:pt x="5670" y="12472"/>
                  </a:lnTo>
                  <a:lnTo>
                    <a:pt x="5643" y="12465"/>
                  </a:lnTo>
                  <a:lnTo>
                    <a:pt x="5615" y="12459"/>
                  </a:lnTo>
                  <a:lnTo>
                    <a:pt x="5588" y="12454"/>
                  </a:lnTo>
                  <a:lnTo>
                    <a:pt x="5560" y="12450"/>
                  </a:lnTo>
                  <a:lnTo>
                    <a:pt x="5533" y="12446"/>
                  </a:lnTo>
                  <a:lnTo>
                    <a:pt x="5504" y="12444"/>
                  </a:lnTo>
                  <a:lnTo>
                    <a:pt x="5476" y="12442"/>
                  </a:lnTo>
                  <a:lnTo>
                    <a:pt x="5448" y="12441"/>
                  </a:lnTo>
                  <a:lnTo>
                    <a:pt x="5420" y="12440"/>
                  </a:lnTo>
                  <a:lnTo>
                    <a:pt x="5384" y="12441"/>
                  </a:lnTo>
                  <a:lnTo>
                    <a:pt x="5347" y="12443"/>
                  </a:lnTo>
                  <a:lnTo>
                    <a:pt x="5310" y="12446"/>
                  </a:lnTo>
                  <a:lnTo>
                    <a:pt x="5274" y="12451"/>
                  </a:lnTo>
                  <a:lnTo>
                    <a:pt x="5238" y="12457"/>
                  </a:lnTo>
                  <a:lnTo>
                    <a:pt x="5202" y="12464"/>
                  </a:lnTo>
                  <a:lnTo>
                    <a:pt x="5166" y="12473"/>
                  </a:lnTo>
                  <a:lnTo>
                    <a:pt x="5130" y="12483"/>
                  </a:lnTo>
                  <a:lnTo>
                    <a:pt x="5096" y="12494"/>
                  </a:lnTo>
                  <a:lnTo>
                    <a:pt x="5061" y="12506"/>
                  </a:lnTo>
                  <a:lnTo>
                    <a:pt x="5027" y="12520"/>
                  </a:lnTo>
                  <a:lnTo>
                    <a:pt x="4992" y="12535"/>
                  </a:lnTo>
                  <a:lnTo>
                    <a:pt x="4959" y="12551"/>
                  </a:lnTo>
                  <a:lnTo>
                    <a:pt x="4926" y="12569"/>
                  </a:lnTo>
                  <a:lnTo>
                    <a:pt x="4894" y="12588"/>
                  </a:lnTo>
                  <a:lnTo>
                    <a:pt x="4862" y="12608"/>
                  </a:lnTo>
                  <a:lnTo>
                    <a:pt x="3552" y="13480"/>
                  </a:lnTo>
                  <a:lnTo>
                    <a:pt x="2584" y="12514"/>
                  </a:lnTo>
                  <a:lnTo>
                    <a:pt x="3457" y="11207"/>
                  </a:lnTo>
                  <a:lnTo>
                    <a:pt x="3476" y="11180"/>
                  </a:lnTo>
                  <a:lnTo>
                    <a:pt x="3493" y="11151"/>
                  </a:lnTo>
                  <a:lnTo>
                    <a:pt x="3509" y="11123"/>
                  </a:lnTo>
                  <a:lnTo>
                    <a:pt x="3524" y="11093"/>
                  </a:lnTo>
                  <a:lnTo>
                    <a:pt x="3537" y="11064"/>
                  </a:lnTo>
                  <a:lnTo>
                    <a:pt x="3550" y="11034"/>
                  </a:lnTo>
                  <a:lnTo>
                    <a:pt x="3562" y="11003"/>
                  </a:lnTo>
                  <a:lnTo>
                    <a:pt x="3573" y="10972"/>
                  </a:lnTo>
                  <a:lnTo>
                    <a:pt x="3583" y="10942"/>
                  </a:lnTo>
                  <a:lnTo>
                    <a:pt x="3592" y="10911"/>
                  </a:lnTo>
                  <a:lnTo>
                    <a:pt x="3600" y="10879"/>
                  </a:lnTo>
                  <a:lnTo>
                    <a:pt x="3606" y="10848"/>
                  </a:lnTo>
                  <a:lnTo>
                    <a:pt x="3612" y="10816"/>
                  </a:lnTo>
                  <a:lnTo>
                    <a:pt x="3617" y="10784"/>
                  </a:lnTo>
                  <a:lnTo>
                    <a:pt x="3621" y="10753"/>
                  </a:lnTo>
                  <a:lnTo>
                    <a:pt x="3624" y="10720"/>
                  </a:lnTo>
                  <a:lnTo>
                    <a:pt x="3625" y="10688"/>
                  </a:lnTo>
                  <a:lnTo>
                    <a:pt x="3626" y="10655"/>
                  </a:lnTo>
                  <a:lnTo>
                    <a:pt x="3626" y="10623"/>
                  </a:lnTo>
                  <a:lnTo>
                    <a:pt x="3624" y="10591"/>
                  </a:lnTo>
                  <a:lnTo>
                    <a:pt x="3622" y="10559"/>
                  </a:lnTo>
                  <a:lnTo>
                    <a:pt x="3618" y="10527"/>
                  </a:lnTo>
                  <a:lnTo>
                    <a:pt x="3614" y="10495"/>
                  </a:lnTo>
                  <a:lnTo>
                    <a:pt x="3608" y="10462"/>
                  </a:lnTo>
                  <a:lnTo>
                    <a:pt x="3602" y="10431"/>
                  </a:lnTo>
                  <a:lnTo>
                    <a:pt x="3594" y="10399"/>
                  </a:lnTo>
                  <a:lnTo>
                    <a:pt x="3585" y="10368"/>
                  </a:lnTo>
                  <a:lnTo>
                    <a:pt x="3576" y="10337"/>
                  </a:lnTo>
                  <a:lnTo>
                    <a:pt x="3565" y="10306"/>
                  </a:lnTo>
                  <a:lnTo>
                    <a:pt x="3553" y="10275"/>
                  </a:lnTo>
                  <a:lnTo>
                    <a:pt x="3540" y="10245"/>
                  </a:lnTo>
                  <a:lnTo>
                    <a:pt x="3526" y="10215"/>
                  </a:lnTo>
                  <a:lnTo>
                    <a:pt x="3495" y="10148"/>
                  </a:lnTo>
                  <a:lnTo>
                    <a:pt x="3464" y="10082"/>
                  </a:lnTo>
                  <a:lnTo>
                    <a:pt x="3435" y="10016"/>
                  </a:lnTo>
                  <a:lnTo>
                    <a:pt x="3406" y="9949"/>
                  </a:lnTo>
                  <a:lnTo>
                    <a:pt x="3378" y="9881"/>
                  </a:lnTo>
                  <a:lnTo>
                    <a:pt x="3352" y="9813"/>
                  </a:lnTo>
                  <a:lnTo>
                    <a:pt x="3326" y="9744"/>
                  </a:lnTo>
                  <a:lnTo>
                    <a:pt x="3300" y="9675"/>
                  </a:lnTo>
                  <a:lnTo>
                    <a:pt x="3289" y="9643"/>
                  </a:lnTo>
                  <a:lnTo>
                    <a:pt x="3277" y="9612"/>
                  </a:lnTo>
                  <a:lnTo>
                    <a:pt x="3263" y="9582"/>
                  </a:lnTo>
                  <a:lnTo>
                    <a:pt x="3249" y="9553"/>
                  </a:lnTo>
                  <a:lnTo>
                    <a:pt x="3234" y="9524"/>
                  </a:lnTo>
                  <a:lnTo>
                    <a:pt x="3218" y="9496"/>
                  </a:lnTo>
                  <a:lnTo>
                    <a:pt x="3201" y="9468"/>
                  </a:lnTo>
                  <a:lnTo>
                    <a:pt x="3183" y="9441"/>
                  </a:lnTo>
                  <a:lnTo>
                    <a:pt x="3165" y="9414"/>
                  </a:lnTo>
                  <a:lnTo>
                    <a:pt x="3145" y="9388"/>
                  </a:lnTo>
                  <a:lnTo>
                    <a:pt x="3124" y="9362"/>
                  </a:lnTo>
                  <a:lnTo>
                    <a:pt x="3103" y="9338"/>
                  </a:lnTo>
                  <a:lnTo>
                    <a:pt x="3081" y="9314"/>
                  </a:lnTo>
                  <a:lnTo>
                    <a:pt x="3059" y="9291"/>
                  </a:lnTo>
                  <a:lnTo>
                    <a:pt x="3036" y="9269"/>
                  </a:lnTo>
                  <a:lnTo>
                    <a:pt x="3012" y="9248"/>
                  </a:lnTo>
                  <a:lnTo>
                    <a:pt x="2987" y="9227"/>
                  </a:lnTo>
                  <a:lnTo>
                    <a:pt x="2961" y="9207"/>
                  </a:lnTo>
                  <a:lnTo>
                    <a:pt x="2935" y="9188"/>
                  </a:lnTo>
                  <a:lnTo>
                    <a:pt x="2909" y="9170"/>
                  </a:lnTo>
                  <a:lnTo>
                    <a:pt x="2882" y="9152"/>
                  </a:lnTo>
                  <a:lnTo>
                    <a:pt x="2854" y="9136"/>
                  </a:lnTo>
                  <a:lnTo>
                    <a:pt x="2826" y="9120"/>
                  </a:lnTo>
                  <a:lnTo>
                    <a:pt x="2797" y="9104"/>
                  </a:lnTo>
                  <a:lnTo>
                    <a:pt x="2767" y="9090"/>
                  </a:lnTo>
                  <a:lnTo>
                    <a:pt x="2737" y="9077"/>
                  </a:lnTo>
                  <a:lnTo>
                    <a:pt x="2707" y="9065"/>
                  </a:lnTo>
                  <a:lnTo>
                    <a:pt x="2676" y="9054"/>
                  </a:lnTo>
                  <a:lnTo>
                    <a:pt x="2645" y="9044"/>
                  </a:lnTo>
                  <a:lnTo>
                    <a:pt x="2613" y="9035"/>
                  </a:lnTo>
                  <a:lnTo>
                    <a:pt x="2581" y="9027"/>
                  </a:lnTo>
                  <a:lnTo>
                    <a:pt x="2548" y="9020"/>
                  </a:lnTo>
                  <a:lnTo>
                    <a:pt x="1006" y="8712"/>
                  </a:lnTo>
                  <a:lnTo>
                    <a:pt x="1006" y="7347"/>
                  </a:lnTo>
                  <a:lnTo>
                    <a:pt x="2548" y="7039"/>
                  </a:lnTo>
                  <a:lnTo>
                    <a:pt x="2581" y="7032"/>
                  </a:lnTo>
                  <a:lnTo>
                    <a:pt x="2613" y="7024"/>
                  </a:lnTo>
                  <a:lnTo>
                    <a:pt x="2645" y="7015"/>
                  </a:lnTo>
                  <a:lnTo>
                    <a:pt x="2676" y="7005"/>
                  </a:lnTo>
                  <a:lnTo>
                    <a:pt x="2707" y="6994"/>
                  </a:lnTo>
                  <a:lnTo>
                    <a:pt x="2737" y="6982"/>
                  </a:lnTo>
                  <a:lnTo>
                    <a:pt x="2767" y="6969"/>
                  </a:lnTo>
                  <a:lnTo>
                    <a:pt x="2797" y="6955"/>
                  </a:lnTo>
                  <a:lnTo>
                    <a:pt x="2826" y="6939"/>
                  </a:lnTo>
                  <a:lnTo>
                    <a:pt x="2854" y="6923"/>
                  </a:lnTo>
                  <a:lnTo>
                    <a:pt x="2882" y="6907"/>
                  </a:lnTo>
                  <a:lnTo>
                    <a:pt x="2909" y="6889"/>
                  </a:lnTo>
                  <a:lnTo>
                    <a:pt x="2935" y="6871"/>
                  </a:lnTo>
                  <a:lnTo>
                    <a:pt x="2961" y="6852"/>
                  </a:lnTo>
                  <a:lnTo>
                    <a:pt x="2987" y="6832"/>
                  </a:lnTo>
                  <a:lnTo>
                    <a:pt x="3012" y="6812"/>
                  </a:lnTo>
                  <a:lnTo>
                    <a:pt x="3036" y="6790"/>
                  </a:lnTo>
                  <a:lnTo>
                    <a:pt x="3059" y="6768"/>
                  </a:lnTo>
                  <a:lnTo>
                    <a:pt x="3081" y="6745"/>
                  </a:lnTo>
                  <a:lnTo>
                    <a:pt x="3103" y="6721"/>
                  </a:lnTo>
                  <a:lnTo>
                    <a:pt x="3124" y="6697"/>
                  </a:lnTo>
                  <a:lnTo>
                    <a:pt x="3145" y="6672"/>
                  </a:lnTo>
                  <a:lnTo>
                    <a:pt x="3165" y="6645"/>
                  </a:lnTo>
                  <a:lnTo>
                    <a:pt x="3183" y="6618"/>
                  </a:lnTo>
                  <a:lnTo>
                    <a:pt x="3201" y="6591"/>
                  </a:lnTo>
                  <a:lnTo>
                    <a:pt x="3218" y="6564"/>
                  </a:lnTo>
                  <a:lnTo>
                    <a:pt x="3234" y="6535"/>
                  </a:lnTo>
                  <a:lnTo>
                    <a:pt x="3249" y="6506"/>
                  </a:lnTo>
                  <a:lnTo>
                    <a:pt x="3263" y="6477"/>
                  </a:lnTo>
                  <a:lnTo>
                    <a:pt x="3277" y="6447"/>
                  </a:lnTo>
                  <a:lnTo>
                    <a:pt x="3289" y="6416"/>
                  </a:lnTo>
                  <a:lnTo>
                    <a:pt x="3300" y="6384"/>
                  </a:lnTo>
                  <a:lnTo>
                    <a:pt x="3326" y="6315"/>
                  </a:lnTo>
                  <a:lnTo>
                    <a:pt x="3351" y="6247"/>
                  </a:lnTo>
                  <a:lnTo>
                    <a:pt x="3378" y="6179"/>
                  </a:lnTo>
                  <a:lnTo>
                    <a:pt x="3406" y="6110"/>
                  </a:lnTo>
                  <a:lnTo>
                    <a:pt x="3434" y="6043"/>
                  </a:lnTo>
                  <a:lnTo>
                    <a:pt x="3463" y="5977"/>
                  </a:lnTo>
                  <a:lnTo>
                    <a:pt x="3495" y="5911"/>
                  </a:lnTo>
                  <a:lnTo>
                    <a:pt x="3526" y="5845"/>
                  </a:lnTo>
                  <a:lnTo>
                    <a:pt x="3540" y="5815"/>
                  </a:lnTo>
                  <a:lnTo>
                    <a:pt x="3553" y="5784"/>
                  </a:lnTo>
                  <a:lnTo>
                    <a:pt x="3565" y="5754"/>
                  </a:lnTo>
                  <a:lnTo>
                    <a:pt x="3575" y="5723"/>
                  </a:lnTo>
                  <a:lnTo>
                    <a:pt x="3585" y="5692"/>
                  </a:lnTo>
                  <a:lnTo>
                    <a:pt x="3594" y="5660"/>
                  </a:lnTo>
                  <a:lnTo>
                    <a:pt x="3602" y="5629"/>
                  </a:lnTo>
                  <a:lnTo>
                    <a:pt x="3608" y="5597"/>
                  </a:lnTo>
                  <a:lnTo>
                    <a:pt x="3614" y="5564"/>
                  </a:lnTo>
                  <a:lnTo>
                    <a:pt x="3618" y="5532"/>
                  </a:lnTo>
                  <a:lnTo>
                    <a:pt x="3622" y="5500"/>
                  </a:lnTo>
                  <a:lnTo>
                    <a:pt x="3624" y="5468"/>
                  </a:lnTo>
                  <a:lnTo>
                    <a:pt x="3626" y="5436"/>
                  </a:lnTo>
                  <a:lnTo>
                    <a:pt x="3626" y="5403"/>
                  </a:lnTo>
                  <a:lnTo>
                    <a:pt x="3625" y="5371"/>
                  </a:lnTo>
                  <a:lnTo>
                    <a:pt x="3624" y="5339"/>
                  </a:lnTo>
                  <a:lnTo>
                    <a:pt x="3621" y="5306"/>
                  </a:lnTo>
                  <a:lnTo>
                    <a:pt x="3617" y="5274"/>
                  </a:lnTo>
                  <a:lnTo>
                    <a:pt x="3613" y="5243"/>
                  </a:lnTo>
                  <a:lnTo>
                    <a:pt x="3607" y="5211"/>
                  </a:lnTo>
                  <a:lnTo>
                    <a:pt x="3600" y="5179"/>
                  </a:lnTo>
                  <a:lnTo>
                    <a:pt x="3592" y="5148"/>
                  </a:lnTo>
                  <a:lnTo>
                    <a:pt x="3583" y="5117"/>
                  </a:lnTo>
                  <a:lnTo>
                    <a:pt x="3573" y="5086"/>
                  </a:lnTo>
                  <a:lnTo>
                    <a:pt x="3562" y="5056"/>
                  </a:lnTo>
                  <a:lnTo>
                    <a:pt x="3551" y="5024"/>
                  </a:lnTo>
                  <a:lnTo>
                    <a:pt x="3538" y="4995"/>
                  </a:lnTo>
                  <a:lnTo>
                    <a:pt x="3524" y="4965"/>
                  </a:lnTo>
                  <a:lnTo>
                    <a:pt x="3509" y="4936"/>
                  </a:lnTo>
                  <a:lnTo>
                    <a:pt x="3493" y="4907"/>
                  </a:lnTo>
                  <a:lnTo>
                    <a:pt x="3476" y="4879"/>
                  </a:lnTo>
                  <a:lnTo>
                    <a:pt x="3457" y="4851"/>
                  </a:lnTo>
                  <a:lnTo>
                    <a:pt x="2584" y="3544"/>
                  </a:lnTo>
                  <a:lnTo>
                    <a:pt x="3552" y="2578"/>
                  </a:lnTo>
                  <a:lnTo>
                    <a:pt x="4862" y="3450"/>
                  </a:lnTo>
                  <a:lnTo>
                    <a:pt x="4894" y="3470"/>
                  </a:lnTo>
                  <a:lnTo>
                    <a:pt x="4926" y="3489"/>
                  </a:lnTo>
                  <a:lnTo>
                    <a:pt x="4959" y="3507"/>
                  </a:lnTo>
                  <a:lnTo>
                    <a:pt x="4992" y="3523"/>
                  </a:lnTo>
                  <a:lnTo>
                    <a:pt x="5027" y="3538"/>
                  </a:lnTo>
                  <a:lnTo>
                    <a:pt x="5061" y="3552"/>
                  </a:lnTo>
                  <a:lnTo>
                    <a:pt x="5096" y="3564"/>
                  </a:lnTo>
                  <a:lnTo>
                    <a:pt x="5130" y="3576"/>
                  </a:lnTo>
                  <a:lnTo>
                    <a:pt x="5166" y="3586"/>
                  </a:lnTo>
                  <a:lnTo>
                    <a:pt x="5202" y="3594"/>
                  </a:lnTo>
                  <a:lnTo>
                    <a:pt x="5238" y="3601"/>
                  </a:lnTo>
                  <a:lnTo>
                    <a:pt x="5274" y="3607"/>
                  </a:lnTo>
                  <a:lnTo>
                    <a:pt x="5310" y="3612"/>
                  </a:lnTo>
                  <a:lnTo>
                    <a:pt x="5347" y="3615"/>
                  </a:lnTo>
                  <a:lnTo>
                    <a:pt x="5384" y="3617"/>
                  </a:lnTo>
                  <a:lnTo>
                    <a:pt x="5420" y="3618"/>
                  </a:lnTo>
                  <a:lnTo>
                    <a:pt x="5448" y="3617"/>
                  </a:lnTo>
                  <a:lnTo>
                    <a:pt x="5476" y="3616"/>
                  </a:lnTo>
                  <a:lnTo>
                    <a:pt x="5504" y="3614"/>
                  </a:lnTo>
                  <a:lnTo>
                    <a:pt x="5532" y="3612"/>
                  </a:lnTo>
                  <a:lnTo>
                    <a:pt x="5560" y="3608"/>
                  </a:lnTo>
                  <a:lnTo>
                    <a:pt x="5588" y="3604"/>
                  </a:lnTo>
                  <a:lnTo>
                    <a:pt x="5615" y="3599"/>
                  </a:lnTo>
                  <a:lnTo>
                    <a:pt x="5643" y="3593"/>
                  </a:lnTo>
                  <a:lnTo>
                    <a:pt x="5670" y="3586"/>
                  </a:lnTo>
                  <a:lnTo>
                    <a:pt x="5698" y="3579"/>
                  </a:lnTo>
                  <a:lnTo>
                    <a:pt x="5725" y="3571"/>
                  </a:lnTo>
                  <a:lnTo>
                    <a:pt x="5752" y="3562"/>
                  </a:lnTo>
                  <a:lnTo>
                    <a:pt x="5779" y="3552"/>
                  </a:lnTo>
                  <a:lnTo>
                    <a:pt x="5805" y="3542"/>
                  </a:lnTo>
                  <a:lnTo>
                    <a:pt x="5832" y="3531"/>
                  </a:lnTo>
                  <a:lnTo>
                    <a:pt x="5859" y="3518"/>
                  </a:lnTo>
                  <a:lnTo>
                    <a:pt x="5924" y="3487"/>
                  </a:lnTo>
                  <a:lnTo>
                    <a:pt x="5990" y="3457"/>
                  </a:lnTo>
                  <a:lnTo>
                    <a:pt x="6057" y="3428"/>
                  </a:lnTo>
                  <a:lnTo>
                    <a:pt x="6124" y="3398"/>
                  </a:lnTo>
                  <a:lnTo>
                    <a:pt x="6192" y="3370"/>
                  </a:lnTo>
                  <a:lnTo>
                    <a:pt x="6260" y="3344"/>
                  </a:lnTo>
                  <a:lnTo>
                    <a:pt x="6329" y="3318"/>
                  </a:lnTo>
                  <a:lnTo>
                    <a:pt x="6399" y="3293"/>
                  </a:lnTo>
                  <a:lnTo>
                    <a:pt x="6430" y="3282"/>
                  </a:lnTo>
                  <a:lnTo>
                    <a:pt x="6461" y="3270"/>
                  </a:lnTo>
                  <a:lnTo>
                    <a:pt x="6491" y="3256"/>
                  </a:lnTo>
                  <a:lnTo>
                    <a:pt x="6520" y="3242"/>
                  </a:lnTo>
                  <a:lnTo>
                    <a:pt x="6550" y="3227"/>
                  </a:lnTo>
                  <a:lnTo>
                    <a:pt x="6578" y="3211"/>
                  </a:lnTo>
                  <a:lnTo>
                    <a:pt x="6606" y="3194"/>
                  </a:lnTo>
                  <a:lnTo>
                    <a:pt x="6633" y="3176"/>
                  </a:lnTo>
                  <a:lnTo>
                    <a:pt x="6660" y="3158"/>
                  </a:lnTo>
                  <a:lnTo>
                    <a:pt x="6686" y="3138"/>
                  </a:lnTo>
                  <a:lnTo>
                    <a:pt x="6712" y="3117"/>
                  </a:lnTo>
                  <a:lnTo>
                    <a:pt x="6736" y="3096"/>
                  </a:lnTo>
                  <a:lnTo>
                    <a:pt x="6760" y="3074"/>
                  </a:lnTo>
                  <a:lnTo>
                    <a:pt x="6783" y="3052"/>
                  </a:lnTo>
                  <a:lnTo>
                    <a:pt x="6805" y="3029"/>
                  </a:lnTo>
                  <a:lnTo>
                    <a:pt x="6827" y="3005"/>
                  </a:lnTo>
                  <a:lnTo>
                    <a:pt x="6847" y="2980"/>
                  </a:lnTo>
                  <a:lnTo>
                    <a:pt x="6868" y="2955"/>
                  </a:lnTo>
                  <a:lnTo>
                    <a:pt x="6887" y="2929"/>
                  </a:lnTo>
                  <a:lnTo>
                    <a:pt x="6906" y="2903"/>
                  </a:lnTo>
                  <a:lnTo>
                    <a:pt x="6923" y="2876"/>
                  </a:lnTo>
                  <a:lnTo>
                    <a:pt x="6940" y="2847"/>
                  </a:lnTo>
                  <a:lnTo>
                    <a:pt x="6955" y="2819"/>
                  </a:lnTo>
                  <a:lnTo>
                    <a:pt x="6970" y="2790"/>
                  </a:lnTo>
                  <a:lnTo>
                    <a:pt x="6984" y="2761"/>
                  </a:lnTo>
                  <a:lnTo>
                    <a:pt x="6997" y="2731"/>
                  </a:lnTo>
                  <a:lnTo>
                    <a:pt x="7009" y="2701"/>
                  </a:lnTo>
                  <a:lnTo>
                    <a:pt x="7020" y="2670"/>
                  </a:lnTo>
                  <a:lnTo>
                    <a:pt x="7030" y="2639"/>
                  </a:lnTo>
                  <a:lnTo>
                    <a:pt x="7040" y="2608"/>
                  </a:lnTo>
                  <a:lnTo>
                    <a:pt x="7048" y="2575"/>
                  </a:lnTo>
                  <a:lnTo>
                    <a:pt x="7055" y="2542"/>
                  </a:lnTo>
                  <a:lnTo>
                    <a:pt x="7363" y="1004"/>
                  </a:lnTo>
                  <a:lnTo>
                    <a:pt x="8732" y="1004"/>
                  </a:lnTo>
                  <a:lnTo>
                    <a:pt x="9040" y="2542"/>
                  </a:lnTo>
                  <a:lnTo>
                    <a:pt x="9047" y="2575"/>
                  </a:lnTo>
                  <a:lnTo>
                    <a:pt x="9055" y="2608"/>
                  </a:lnTo>
                  <a:lnTo>
                    <a:pt x="9065" y="2639"/>
                  </a:lnTo>
                  <a:lnTo>
                    <a:pt x="9075" y="2670"/>
                  </a:lnTo>
                  <a:lnTo>
                    <a:pt x="9086" y="2701"/>
                  </a:lnTo>
                  <a:lnTo>
                    <a:pt x="9098" y="2731"/>
                  </a:lnTo>
                  <a:lnTo>
                    <a:pt x="9111" y="2761"/>
                  </a:lnTo>
                  <a:lnTo>
                    <a:pt x="9125" y="2790"/>
                  </a:lnTo>
                  <a:lnTo>
                    <a:pt x="9140" y="2819"/>
                  </a:lnTo>
                  <a:lnTo>
                    <a:pt x="9155" y="2847"/>
                  </a:lnTo>
                  <a:lnTo>
                    <a:pt x="9172" y="2876"/>
                  </a:lnTo>
                  <a:lnTo>
                    <a:pt x="9189" y="2903"/>
                  </a:lnTo>
                  <a:lnTo>
                    <a:pt x="9208" y="2929"/>
                  </a:lnTo>
                  <a:lnTo>
                    <a:pt x="9227" y="2955"/>
                  </a:lnTo>
                  <a:lnTo>
                    <a:pt x="9248" y="2980"/>
                  </a:lnTo>
                  <a:lnTo>
                    <a:pt x="9268" y="3005"/>
                  </a:lnTo>
                  <a:lnTo>
                    <a:pt x="9290" y="3029"/>
                  </a:lnTo>
                  <a:lnTo>
                    <a:pt x="9312" y="3052"/>
                  </a:lnTo>
                  <a:lnTo>
                    <a:pt x="9335" y="3074"/>
                  </a:lnTo>
                  <a:lnTo>
                    <a:pt x="9359" y="3096"/>
                  </a:lnTo>
                  <a:lnTo>
                    <a:pt x="9383" y="3117"/>
                  </a:lnTo>
                  <a:lnTo>
                    <a:pt x="9409" y="3138"/>
                  </a:lnTo>
                  <a:lnTo>
                    <a:pt x="9435" y="3158"/>
                  </a:lnTo>
                  <a:lnTo>
                    <a:pt x="9462" y="3176"/>
                  </a:lnTo>
                  <a:lnTo>
                    <a:pt x="9489" y="3194"/>
                  </a:lnTo>
                  <a:lnTo>
                    <a:pt x="9517" y="3211"/>
                  </a:lnTo>
                  <a:lnTo>
                    <a:pt x="9545" y="3227"/>
                  </a:lnTo>
                  <a:lnTo>
                    <a:pt x="9575" y="3242"/>
                  </a:lnTo>
                  <a:lnTo>
                    <a:pt x="9604" y="3256"/>
                  </a:lnTo>
                  <a:lnTo>
                    <a:pt x="9634" y="3270"/>
                  </a:lnTo>
                  <a:lnTo>
                    <a:pt x="9665" y="3282"/>
                  </a:lnTo>
                  <a:lnTo>
                    <a:pt x="9696" y="3293"/>
                  </a:lnTo>
                  <a:lnTo>
                    <a:pt x="9766" y="3318"/>
                  </a:lnTo>
                  <a:lnTo>
                    <a:pt x="9834" y="3344"/>
                  </a:lnTo>
                  <a:lnTo>
                    <a:pt x="9902" y="3370"/>
                  </a:lnTo>
                  <a:lnTo>
                    <a:pt x="9971" y="3398"/>
                  </a:lnTo>
                  <a:lnTo>
                    <a:pt x="10037" y="3427"/>
                  </a:lnTo>
                  <a:lnTo>
                    <a:pt x="10105" y="3456"/>
                  </a:lnTo>
                  <a:lnTo>
                    <a:pt x="10171" y="3487"/>
                  </a:lnTo>
                  <a:lnTo>
                    <a:pt x="10236" y="3518"/>
                  </a:lnTo>
                  <a:lnTo>
                    <a:pt x="10263" y="3530"/>
                  </a:lnTo>
                  <a:lnTo>
                    <a:pt x="10290" y="3541"/>
                  </a:lnTo>
                  <a:lnTo>
                    <a:pt x="10316" y="3552"/>
                  </a:lnTo>
                  <a:lnTo>
                    <a:pt x="10343" y="3562"/>
                  </a:lnTo>
                  <a:lnTo>
                    <a:pt x="10370" y="3571"/>
                  </a:lnTo>
                  <a:lnTo>
                    <a:pt x="10397" y="3579"/>
                  </a:lnTo>
                  <a:lnTo>
                    <a:pt x="10425" y="3586"/>
                  </a:lnTo>
                  <a:lnTo>
                    <a:pt x="10452" y="3593"/>
                  </a:lnTo>
                  <a:lnTo>
                    <a:pt x="10480" y="3599"/>
                  </a:lnTo>
                  <a:lnTo>
                    <a:pt x="10507" y="3604"/>
                  </a:lnTo>
                  <a:lnTo>
                    <a:pt x="10535" y="3608"/>
                  </a:lnTo>
                  <a:lnTo>
                    <a:pt x="10563" y="3612"/>
                  </a:lnTo>
                  <a:lnTo>
                    <a:pt x="10592" y="3614"/>
                  </a:lnTo>
                  <a:lnTo>
                    <a:pt x="10620" y="3616"/>
                  </a:lnTo>
                  <a:lnTo>
                    <a:pt x="10648" y="3617"/>
                  </a:lnTo>
                  <a:lnTo>
                    <a:pt x="10676" y="3618"/>
                  </a:lnTo>
                  <a:lnTo>
                    <a:pt x="10712" y="3617"/>
                  </a:lnTo>
                  <a:lnTo>
                    <a:pt x="10748" y="3615"/>
                  </a:lnTo>
                  <a:lnTo>
                    <a:pt x="10786" y="3612"/>
                  </a:lnTo>
                  <a:lnTo>
                    <a:pt x="10822" y="3607"/>
                  </a:lnTo>
                  <a:lnTo>
                    <a:pt x="10858" y="3601"/>
                  </a:lnTo>
                  <a:lnTo>
                    <a:pt x="10894" y="3594"/>
                  </a:lnTo>
                  <a:lnTo>
                    <a:pt x="10930" y="3586"/>
                  </a:lnTo>
                  <a:lnTo>
                    <a:pt x="10965" y="3576"/>
                  </a:lnTo>
                  <a:lnTo>
                    <a:pt x="11000" y="3564"/>
                  </a:lnTo>
                  <a:lnTo>
                    <a:pt x="11035" y="3552"/>
                  </a:lnTo>
                  <a:lnTo>
                    <a:pt x="11069" y="3538"/>
                  </a:lnTo>
                  <a:lnTo>
                    <a:pt x="11103" y="3523"/>
                  </a:lnTo>
                  <a:lnTo>
                    <a:pt x="11137" y="3507"/>
                  </a:lnTo>
                  <a:lnTo>
                    <a:pt x="11169" y="3489"/>
                  </a:lnTo>
                  <a:lnTo>
                    <a:pt x="11202" y="3470"/>
                  </a:lnTo>
                  <a:lnTo>
                    <a:pt x="11233" y="3450"/>
                  </a:lnTo>
                  <a:lnTo>
                    <a:pt x="12543" y="2578"/>
                  </a:lnTo>
                  <a:lnTo>
                    <a:pt x="13511" y="3544"/>
                  </a:lnTo>
                  <a:lnTo>
                    <a:pt x="12638" y="4851"/>
                  </a:lnTo>
                  <a:lnTo>
                    <a:pt x="12619" y="4879"/>
                  </a:lnTo>
                  <a:lnTo>
                    <a:pt x="12602" y="4907"/>
                  </a:lnTo>
                  <a:lnTo>
                    <a:pt x="12586" y="4936"/>
                  </a:lnTo>
                  <a:lnTo>
                    <a:pt x="12571" y="4965"/>
                  </a:lnTo>
                  <a:lnTo>
                    <a:pt x="12557" y="4995"/>
                  </a:lnTo>
                  <a:lnTo>
                    <a:pt x="12544" y="5024"/>
                  </a:lnTo>
                  <a:lnTo>
                    <a:pt x="12533" y="5056"/>
                  </a:lnTo>
                  <a:lnTo>
                    <a:pt x="12522" y="5086"/>
                  </a:lnTo>
                  <a:lnTo>
                    <a:pt x="12512" y="5117"/>
                  </a:lnTo>
                  <a:lnTo>
                    <a:pt x="12503" y="5148"/>
                  </a:lnTo>
                  <a:lnTo>
                    <a:pt x="12495" y="5179"/>
                  </a:lnTo>
                  <a:lnTo>
                    <a:pt x="12489" y="5211"/>
                  </a:lnTo>
                  <a:lnTo>
                    <a:pt x="12483" y="5242"/>
                  </a:lnTo>
                  <a:lnTo>
                    <a:pt x="12478" y="5274"/>
                  </a:lnTo>
                  <a:lnTo>
                    <a:pt x="12474" y="5306"/>
                  </a:lnTo>
                  <a:lnTo>
                    <a:pt x="12472" y="5339"/>
                  </a:lnTo>
                  <a:lnTo>
                    <a:pt x="12470" y="5371"/>
                  </a:lnTo>
                  <a:lnTo>
                    <a:pt x="12469" y="5403"/>
                  </a:lnTo>
                  <a:lnTo>
                    <a:pt x="12470" y="5435"/>
                  </a:lnTo>
                  <a:lnTo>
                    <a:pt x="12471" y="5467"/>
                  </a:lnTo>
                  <a:lnTo>
                    <a:pt x="12473" y="5500"/>
                  </a:lnTo>
                  <a:lnTo>
                    <a:pt x="12477" y="5532"/>
                  </a:lnTo>
                  <a:lnTo>
                    <a:pt x="12481" y="5563"/>
                  </a:lnTo>
                  <a:lnTo>
                    <a:pt x="12487" y="5596"/>
                  </a:lnTo>
                  <a:lnTo>
                    <a:pt x="12494" y="5628"/>
                  </a:lnTo>
                  <a:lnTo>
                    <a:pt x="12501" y="5660"/>
                  </a:lnTo>
                  <a:lnTo>
                    <a:pt x="12510" y="5691"/>
                  </a:lnTo>
                  <a:lnTo>
                    <a:pt x="12519" y="5722"/>
                  </a:lnTo>
                  <a:lnTo>
                    <a:pt x="12530" y="5753"/>
                  </a:lnTo>
                  <a:lnTo>
                    <a:pt x="12542" y="5784"/>
                  </a:lnTo>
                  <a:lnTo>
                    <a:pt x="12555" y="5814"/>
                  </a:lnTo>
                  <a:lnTo>
                    <a:pt x="12569" y="5844"/>
                  </a:lnTo>
                  <a:lnTo>
                    <a:pt x="12600" y="5910"/>
                  </a:lnTo>
                  <a:lnTo>
                    <a:pt x="12631" y="5976"/>
                  </a:lnTo>
                  <a:lnTo>
                    <a:pt x="12661" y="6043"/>
                  </a:lnTo>
                  <a:lnTo>
                    <a:pt x="12689" y="6110"/>
                  </a:lnTo>
                  <a:lnTo>
                    <a:pt x="12717" y="6178"/>
                  </a:lnTo>
                  <a:lnTo>
                    <a:pt x="12744" y="6246"/>
                  </a:lnTo>
                  <a:lnTo>
                    <a:pt x="12769" y="6315"/>
                  </a:lnTo>
                  <a:lnTo>
                    <a:pt x="12795" y="6384"/>
                  </a:lnTo>
                  <a:lnTo>
                    <a:pt x="12807" y="6416"/>
                  </a:lnTo>
                  <a:lnTo>
                    <a:pt x="12819" y="6446"/>
                  </a:lnTo>
                  <a:lnTo>
                    <a:pt x="12832" y="6476"/>
                  </a:lnTo>
                  <a:lnTo>
                    <a:pt x="12846" y="6506"/>
                  </a:lnTo>
                  <a:lnTo>
                    <a:pt x="12861" y="6535"/>
                  </a:lnTo>
                  <a:lnTo>
                    <a:pt x="12877" y="6563"/>
                  </a:lnTo>
                  <a:lnTo>
                    <a:pt x="12894" y="6591"/>
                  </a:lnTo>
                  <a:lnTo>
                    <a:pt x="12912" y="6618"/>
                  </a:lnTo>
                  <a:lnTo>
                    <a:pt x="12931" y="6644"/>
                  </a:lnTo>
                  <a:lnTo>
                    <a:pt x="12950" y="6671"/>
                  </a:lnTo>
                  <a:lnTo>
                    <a:pt x="12971" y="6696"/>
                  </a:lnTo>
                  <a:lnTo>
                    <a:pt x="12992" y="6721"/>
                  </a:lnTo>
                  <a:lnTo>
                    <a:pt x="13014" y="6744"/>
                  </a:lnTo>
                  <a:lnTo>
                    <a:pt x="13036" y="6767"/>
                  </a:lnTo>
                  <a:lnTo>
                    <a:pt x="13059" y="6790"/>
                  </a:lnTo>
                  <a:lnTo>
                    <a:pt x="13083" y="6811"/>
                  </a:lnTo>
                  <a:lnTo>
                    <a:pt x="13108" y="6832"/>
                  </a:lnTo>
                  <a:lnTo>
                    <a:pt x="13134" y="6852"/>
                  </a:lnTo>
                  <a:lnTo>
                    <a:pt x="13160" y="6871"/>
                  </a:lnTo>
                  <a:lnTo>
                    <a:pt x="13186" y="6889"/>
                  </a:lnTo>
                  <a:lnTo>
                    <a:pt x="13213" y="6907"/>
                  </a:lnTo>
                  <a:lnTo>
                    <a:pt x="13241" y="6923"/>
                  </a:lnTo>
                  <a:lnTo>
                    <a:pt x="13269" y="6939"/>
                  </a:lnTo>
                  <a:lnTo>
                    <a:pt x="13298" y="6955"/>
                  </a:lnTo>
                  <a:lnTo>
                    <a:pt x="13328" y="6968"/>
                  </a:lnTo>
                  <a:lnTo>
                    <a:pt x="13358" y="6981"/>
                  </a:lnTo>
                  <a:lnTo>
                    <a:pt x="13388" y="6993"/>
                  </a:lnTo>
                  <a:lnTo>
                    <a:pt x="13419" y="7004"/>
                  </a:lnTo>
                  <a:lnTo>
                    <a:pt x="13450" y="7014"/>
                  </a:lnTo>
                  <a:lnTo>
                    <a:pt x="13483" y="7024"/>
                  </a:lnTo>
                  <a:lnTo>
                    <a:pt x="13515" y="7032"/>
                  </a:lnTo>
                  <a:lnTo>
                    <a:pt x="13547" y="7039"/>
                  </a:lnTo>
                  <a:lnTo>
                    <a:pt x="15088" y="7347"/>
                  </a:lnTo>
                  <a:lnTo>
                    <a:pt x="15089" y="8712"/>
                  </a:lnTo>
                  <a:lnTo>
                    <a:pt x="13547" y="9020"/>
                  </a:lnTo>
                  <a:close/>
                  <a:moveTo>
                    <a:pt x="15286" y="6362"/>
                  </a:moveTo>
                  <a:lnTo>
                    <a:pt x="13745" y="6054"/>
                  </a:lnTo>
                  <a:lnTo>
                    <a:pt x="13715" y="5971"/>
                  </a:lnTo>
                  <a:lnTo>
                    <a:pt x="13684" y="5889"/>
                  </a:lnTo>
                  <a:lnTo>
                    <a:pt x="13652" y="5807"/>
                  </a:lnTo>
                  <a:lnTo>
                    <a:pt x="13618" y="5726"/>
                  </a:lnTo>
                  <a:lnTo>
                    <a:pt x="13584" y="5646"/>
                  </a:lnTo>
                  <a:lnTo>
                    <a:pt x="13548" y="5565"/>
                  </a:lnTo>
                  <a:lnTo>
                    <a:pt x="13512" y="5486"/>
                  </a:lnTo>
                  <a:lnTo>
                    <a:pt x="13475" y="5408"/>
                  </a:lnTo>
                  <a:lnTo>
                    <a:pt x="14348" y="4101"/>
                  </a:lnTo>
                  <a:lnTo>
                    <a:pt x="14372" y="4063"/>
                  </a:lnTo>
                  <a:lnTo>
                    <a:pt x="14394" y="4025"/>
                  </a:lnTo>
                  <a:lnTo>
                    <a:pt x="14414" y="3986"/>
                  </a:lnTo>
                  <a:lnTo>
                    <a:pt x="14433" y="3947"/>
                  </a:lnTo>
                  <a:lnTo>
                    <a:pt x="14449" y="3906"/>
                  </a:lnTo>
                  <a:lnTo>
                    <a:pt x="14464" y="3865"/>
                  </a:lnTo>
                  <a:lnTo>
                    <a:pt x="14476" y="3824"/>
                  </a:lnTo>
                  <a:lnTo>
                    <a:pt x="14489" y="3783"/>
                  </a:lnTo>
                  <a:lnTo>
                    <a:pt x="14498" y="3741"/>
                  </a:lnTo>
                  <a:lnTo>
                    <a:pt x="14505" y="3699"/>
                  </a:lnTo>
                  <a:lnTo>
                    <a:pt x="14511" y="3656"/>
                  </a:lnTo>
                  <a:lnTo>
                    <a:pt x="14515" y="3614"/>
                  </a:lnTo>
                  <a:lnTo>
                    <a:pt x="14517" y="3572"/>
                  </a:lnTo>
                  <a:lnTo>
                    <a:pt x="14517" y="3530"/>
                  </a:lnTo>
                  <a:lnTo>
                    <a:pt x="14515" y="3488"/>
                  </a:lnTo>
                  <a:lnTo>
                    <a:pt x="14512" y="3446"/>
                  </a:lnTo>
                  <a:lnTo>
                    <a:pt x="14507" y="3404"/>
                  </a:lnTo>
                  <a:lnTo>
                    <a:pt x="14500" y="3361"/>
                  </a:lnTo>
                  <a:lnTo>
                    <a:pt x="14492" y="3320"/>
                  </a:lnTo>
                  <a:lnTo>
                    <a:pt x="14480" y="3279"/>
                  </a:lnTo>
                  <a:lnTo>
                    <a:pt x="14468" y="3239"/>
                  </a:lnTo>
                  <a:lnTo>
                    <a:pt x="14455" y="3198"/>
                  </a:lnTo>
                  <a:lnTo>
                    <a:pt x="14439" y="3159"/>
                  </a:lnTo>
                  <a:lnTo>
                    <a:pt x="14422" y="3119"/>
                  </a:lnTo>
                  <a:lnTo>
                    <a:pt x="14403" y="3081"/>
                  </a:lnTo>
                  <a:lnTo>
                    <a:pt x="14382" y="3043"/>
                  </a:lnTo>
                  <a:lnTo>
                    <a:pt x="14360" y="3006"/>
                  </a:lnTo>
                  <a:lnTo>
                    <a:pt x="14336" y="2970"/>
                  </a:lnTo>
                  <a:lnTo>
                    <a:pt x="14309" y="2935"/>
                  </a:lnTo>
                  <a:lnTo>
                    <a:pt x="14282" y="2901"/>
                  </a:lnTo>
                  <a:lnTo>
                    <a:pt x="14253" y="2868"/>
                  </a:lnTo>
                  <a:lnTo>
                    <a:pt x="14222" y="2834"/>
                  </a:lnTo>
                  <a:lnTo>
                    <a:pt x="13254" y="1869"/>
                  </a:lnTo>
                  <a:lnTo>
                    <a:pt x="13236" y="1852"/>
                  </a:lnTo>
                  <a:lnTo>
                    <a:pt x="13217" y="1834"/>
                  </a:lnTo>
                  <a:lnTo>
                    <a:pt x="13198" y="1817"/>
                  </a:lnTo>
                  <a:lnTo>
                    <a:pt x="13179" y="1801"/>
                  </a:lnTo>
                  <a:lnTo>
                    <a:pt x="13159" y="1786"/>
                  </a:lnTo>
                  <a:lnTo>
                    <a:pt x="13139" y="1771"/>
                  </a:lnTo>
                  <a:lnTo>
                    <a:pt x="13118" y="1755"/>
                  </a:lnTo>
                  <a:lnTo>
                    <a:pt x="13097" y="1741"/>
                  </a:lnTo>
                  <a:lnTo>
                    <a:pt x="13076" y="1728"/>
                  </a:lnTo>
                  <a:lnTo>
                    <a:pt x="13055" y="1715"/>
                  </a:lnTo>
                  <a:lnTo>
                    <a:pt x="13034" y="1702"/>
                  </a:lnTo>
                  <a:lnTo>
                    <a:pt x="13012" y="1691"/>
                  </a:lnTo>
                  <a:lnTo>
                    <a:pt x="12990" y="1680"/>
                  </a:lnTo>
                  <a:lnTo>
                    <a:pt x="12968" y="1669"/>
                  </a:lnTo>
                  <a:lnTo>
                    <a:pt x="12945" y="1659"/>
                  </a:lnTo>
                  <a:lnTo>
                    <a:pt x="12923" y="1649"/>
                  </a:lnTo>
                  <a:lnTo>
                    <a:pt x="12900" y="1640"/>
                  </a:lnTo>
                  <a:lnTo>
                    <a:pt x="12877" y="1632"/>
                  </a:lnTo>
                  <a:lnTo>
                    <a:pt x="12854" y="1624"/>
                  </a:lnTo>
                  <a:lnTo>
                    <a:pt x="12831" y="1617"/>
                  </a:lnTo>
                  <a:lnTo>
                    <a:pt x="12808" y="1610"/>
                  </a:lnTo>
                  <a:lnTo>
                    <a:pt x="12783" y="1604"/>
                  </a:lnTo>
                  <a:lnTo>
                    <a:pt x="12759" y="1599"/>
                  </a:lnTo>
                  <a:lnTo>
                    <a:pt x="12736" y="1594"/>
                  </a:lnTo>
                  <a:lnTo>
                    <a:pt x="12712" y="1590"/>
                  </a:lnTo>
                  <a:lnTo>
                    <a:pt x="12688" y="1586"/>
                  </a:lnTo>
                  <a:lnTo>
                    <a:pt x="12664" y="1583"/>
                  </a:lnTo>
                  <a:lnTo>
                    <a:pt x="12640" y="1580"/>
                  </a:lnTo>
                  <a:lnTo>
                    <a:pt x="12615" y="1578"/>
                  </a:lnTo>
                  <a:lnTo>
                    <a:pt x="12591" y="1577"/>
                  </a:lnTo>
                  <a:lnTo>
                    <a:pt x="12566" y="1576"/>
                  </a:lnTo>
                  <a:lnTo>
                    <a:pt x="12542" y="1575"/>
                  </a:lnTo>
                  <a:lnTo>
                    <a:pt x="12506" y="1576"/>
                  </a:lnTo>
                  <a:lnTo>
                    <a:pt x="12470" y="1578"/>
                  </a:lnTo>
                  <a:lnTo>
                    <a:pt x="12433" y="1581"/>
                  </a:lnTo>
                  <a:lnTo>
                    <a:pt x="12398" y="1586"/>
                  </a:lnTo>
                  <a:lnTo>
                    <a:pt x="12362" y="1592"/>
                  </a:lnTo>
                  <a:lnTo>
                    <a:pt x="12326" y="1599"/>
                  </a:lnTo>
                  <a:lnTo>
                    <a:pt x="12291" y="1607"/>
                  </a:lnTo>
                  <a:lnTo>
                    <a:pt x="12255" y="1617"/>
                  </a:lnTo>
                  <a:lnTo>
                    <a:pt x="12220" y="1628"/>
                  </a:lnTo>
                  <a:lnTo>
                    <a:pt x="12185" y="1641"/>
                  </a:lnTo>
                  <a:lnTo>
                    <a:pt x="12151" y="1654"/>
                  </a:lnTo>
                  <a:lnTo>
                    <a:pt x="12117" y="1670"/>
                  </a:lnTo>
                  <a:lnTo>
                    <a:pt x="12083" y="1686"/>
                  </a:lnTo>
                  <a:lnTo>
                    <a:pt x="12050" y="1704"/>
                  </a:lnTo>
                  <a:lnTo>
                    <a:pt x="12018" y="1723"/>
                  </a:lnTo>
                  <a:lnTo>
                    <a:pt x="11986" y="1743"/>
                  </a:lnTo>
                  <a:lnTo>
                    <a:pt x="10676" y="2615"/>
                  </a:lnTo>
                  <a:lnTo>
                    <a:pt x="10597" y="2577"/>
                  </a:lnTo>
                  <a:lnTo>
                    <a:pt x="10517" y="2540"/>
                  </a:lnTo>
                  <a:lnTo>
                    <a:pt x="10437" y="2505"/>
                  </a:lnTo>
                  <a:lnTo>
                    <a:pt x="10356" y="2471"/>
                  </a:lnTo>
                  <a:lnTo>
                    <a:pt x="10275" y="2438"/>
                  </a:lnTo>
                  <a:lnTo>
                    <a:pt x="10192" y="2406"/>
                  </a:lnTo>
                  <a:lnTo>
                    <a:pt x="10110" y="2375"/>
                  </a:lnTo>
                  <a:lnTo>
                    <a:pt x="10026" y="2346"/>
                  </a:lnTo>
                  <a:lnTo>
                    <a:pt x="9718" y="808"/>
                  </a:lnTo>
                  <a:lnTo>
                    <a:pt x="9708" y="764"/>
                  </a:lnTo>
                  <a:lnTo>
                    <a:pt x="9697" y="721"/>
                  </a:lnTo>
                  <a:lnTo>
                    <a:pt x="9683" y="679"/>
                  </a:lnTo>
                  <a:lnTo>
                    <a:pt x="9668" y="638"/>
                  </a:lnTo>
                  <a:lnTo>
                    <a:pt x="9652" y="598"/>
                  </a:lnTo>
                  <a:lnTo>
                    <a:pt x="9633" y="559"/>
                  </a:lnTo>
                  <a:lnTo>
                    <a:pt x="9614" y="520"/>
                  </a:lnTo>
                  <a:lnTo>
                    <a:pt x="9592" y="483"/>
                  </a:lnTo>
                  <a:lnTo>
                    <a:pt x="9568" y="447"/>
                  </a:lnTo>
                  <a:lnTo>
                    <a:pt x="9544" y="413"/>
                  </a:lnTo>
                  <a:lnTo>
                    <a:pt x="9518" y="378"/>
                  </a:lnTo>
                  <a:lnTo>
                    <a:pt x="9491" y="345"/>
                  </a:lnTo>
                  <a:lnTo>
                    <a:pt x="9463" y="314"/>
                  </a:lnTo>
                  <a:lnTo>
                    <a:pt x="9433" y="284"/>
                  </a:lnTo>
                  <a:lnTo>
                    <a:pt x="9401" y="255"/>
                  </a:lnTo>
                  <a:lnTo>
                    <a:pt x="9369" y="228"/>
                  </a:lnTo>
                  <a:lnTo>
                    <a:pt x="9336" y="202"/>
                  </a:lnTo>
                  <a:lnTo>
                    <a:pt x="9302" y="177"/>
                  </a:lnTo>
                  <a:lnTo>
                    <a:pt x="9267" y="154"/>
                  </a:lnTo>
                  <a:lnTo>
                    <a:pt x="9229" y="131"/>
                  </a:lnTo>
                  <a:lnTo>
                    <a:pt x="9192" y="111"/>
                  </a:lnTo>
                  <a:lnTo>
                    <a:pt x="9154" y="92"/>
                  </a:lnTo>
                  <a:lnTo>
                    <a:pt x="9115" y="75"/>
                  </a:lnTo>
                  <a:lnTo>
                    <a:pt x="9075" y="60"/>
                  </a:lnTo>
                  <a:lnTo>
                    <a:pt x="9034" y="46"/>
                  </a:lnTo>
                  <a:lnTo>
                    <a:pt x="8993" y="34"/>
                  </a:lnTo>
                  <a:lnTo>
                    <a:pt x="8951" y="24"/>
                  </a:lnTo>
                  <a:lnTo>
                    <a:pt x="8908" y="15"/>
                  </a:lnTo>
                  <a:lnTo>
                    <a:pt x="8864" y="9"/>
                  </a:lnTo>
                  <a:lnTo>
                    <a:pt x="8821" y="4"/>
                  </a:lnTo>
                  <a:lnTo>
                    <a:pt x="8777" y="1"/>
                  </a:lnTo>
                  <a:lnTo>
                    <a:pt x="8732" y="0"/>
                  </a:lnTo>
                  <a:lnTo>
                    <a:pt x="7363" y="0"/>
                  </a:lnTo>
                  <a:lnTo>
                    <a:pt x="7318" y="1"/>
                  </a:lnTo>
                  <a:lnTo>
                    <a:pt x="7274" y="4"/>
                  </a:lnTo>
                  <a:lnTo>
                    <a:pt x="7231" y="9"/>
                  </a:lnTo>
                  <a:lnTo>
                    <a:pt x="7187" y="15"/>
                  </a:lnTo>
                  <a:lnTo>
                    <a:pt x="7144" y="24"/>
                  </a:lnTo>
                  <a:lnTo>
                    <a:pt x="7102" y="34"/>
                  </a:lnTo>
                  <a:lnTo>
                    <a:pt x="7061" y="46"/>
                  </a:lnTo>
                  <a:lnTo>
                    <a:pt x="7020" y="60"/>
                  </a:lnTo>
                  <a:lnTo>
                    <a:pt x="6980" y="75"/>
                  </a:lnTo>
                  <a:lnTo>
                    <a:pt x="6941" y="92"/>
                  </a:lnTo>
                  <a:lnTo>
                    <a:pt x="6903" y="111"/>
                  </a:lnTo>
                  <a:lnTo>
                    <a:pt x="6866" y="131"/>
                  </a:lnTo>
                  <a:lnTo>
                    <a:pt x="6829" y="154"/>
                  </a:lnTo>
                  <a:lnTo>
                    <a:pt x="6793" y="177"/>
                  </a:lnTo>
                  <a:lnTo>
                    <a:pt x="6759" y="202"/>
                  </a:lnTo>
                  <a:lnTo>
                    <a:pt x="6726" y="228"/>
                  </a:lnTo>
                  <a:lnTo>
                    <a:pt x="6694" y="255"/>
                  </a:lnTo>
                  <a:lnTo>
                    <a:pt x="6662" y="284"/>
                  </a:lnTo>
                  <a:lnTo>
                    <a:pt x="6633" y="314"/>
                  </a:lnTo>
                  <a:lnTo>
                    <a:pt x="6604" y="345"/>
                  </a:lnTo>
                  <a:lnTo>
                    <a:pt x="6577" y="378"/>
                  </a:lnTo>
                  <a:lnTo>
                    <a:pt x="6551" y="413"/>
                  </a:lnTo>
                  <a:lnTo>
                    <a:pt x="6527" y="447"/>
                  </a:lnTo>
                  <a:lnTo>
                    <a:pt x="6503" y="483"/>
                  </a:lnTo>
                  <a:lnTo>
                    <a:pt x="6482" y="520"/>
                  </a:lnTo>
                  <a:lnTo>
                    <a:pt x="6462" y="559"/>
                  </a:lnTo>
                  <a:lnTo>
                    <a:pt x="6444" y="598"/>
                  </a:lnTo>
                  <a:lnTo>
                    <a:pt x="6427" y="638"/>
                  </a:lnTo>
                  <a:lnTo>
                    <a:pt x="6412" y="679"/>
                  </a:lnTo>
                  <a:lnTo>
                    <a:pt x="6398" y="721"/>
                  </a:lnTo>
                  <a:lnTo>
                    <a:pt x="6387" y="764"/>
                  </a:lnTo>
                  <a:lnTo>
                    <a:pt x="6377" y="808"/>
                  </a:lnTo>
                  <a:lnTo>
                    <a:pt x="6069" y="2346"/>
                  </a:lnTo>
                  <a:lnTo>
                    <a:pt x="5985" y="2375"/>
                  </a:lnTo>
                  <a:lnTo>
                    <a:pt x="5903" y="2406"/>
                  </a:lnTo>
                  <a:lnTo>
                    <a:pt x="5820" y="2438"/>
                  </a:lnTo>
                  <a:lnTo>
                    <a:pt x="5739" y="2471"/>
                  </a:lnTo>
                  <a:lnTo>
                    <a:pt x="5658" y="2505"/>
                  </a:lnTo>
                  <a:lnTo>
                    <a:pt x="5578" y="2540"/>
                  </a:lnTo>
                  <a:lnTo>
                    <a:pt x="5499" y="2577"/>
                  </a:lnTo>
                  <a:lnTo>
                    <a:pt x="5420" y="2615"/>
                  </a:lnTo>
                  <a:lnTo>
                    <a:pt x="4110" y="1743"/>
                  </a:lnTo>
                  <a:lnTo>
                    <a:pt x="4078" y="1723"/>
                  </a:lnTo>
                  <a:lnTo>
                    <a:pt x="4046" y="1704"/>
                  </a:lnTo>
                  <a:lnTo>
                    <a:pt x="4012" y="1686"/>
                  </a:lnTo>
                  <a:lnTo>
                    <a:pt x="3978" y="1670"/>
                  </a:lnTo>
                  <a:lnTo>
                    <a:pt x="3944" y="1654"/>
                  </a:lnTo>
                  <a:lnTo>
                    <a:pt x="3910" y="1641"/>
                  </a:lnTo>
                  <a:lnTo>
                    <a:pt x="3875" y="1628"/>
                  </a:lnTo>
                  <a:lnTo>
                    <a:pt x="3840" y="1617"/>
                  </a:lnTo>
                  <a:lnTo>
                    <a:pt x="3804" y="1607"/>
                  </a:lnTo>
                  <a:lnTo>
                    <a:pt x="3769" y="1599"/>
                  </a:lnTo>
                  <a:lnTo>
                    <a:pt x="3733" y="1592"/>
                  </a:lnTo>
                  <a:lnTo>
                    <a:pt x="3698" y="1586"/>
                  </a:lnTo>
                  <a:lnTo>
                    <a:pt x="3662" y="1581"/>
                  </a:lnTo>
                  <a:lnTo>
                    <a:pt x="3625" y="1578"/>
                  </a:lnTo>
                  <a:lnTo>
                    <a:pt x="3589" y="1576"/>
                  </a:lnTo>
                  <a:lnTo>
                    <a:pt x="3553" y="1575"/>
                  </a:lnTo>
                  <a:lnTo>
                    <a:pt x="3529" y="1576"/>
                  </a:lnTo>
                  <a:lnTo>
                    <a:pt x="3504" y="1577"/>
                  </a:lnTo>
                  <a:lnTo>
                    <a:pt x="3480" y="1578"/>
                  </a:lnTo>
                  <a:lnTo>
                    <a:pt x="3455" y="1580"/>
                  </a:lnTo>
                  <a:lnTo>
                    <a:pt x="3431" y="1583"/>
                  </a:lnTo>
                  <a:lnTo>
                    <a:pt x="3407" y="1586"/>
                  </a:lnTo>
                  <a:lnTo>
                    <a:pt x="3383" y="1590"/>
                  </a:lnTo>
                  <a:lnTo>
                    <a:pt x="3359" y="1594"/>
                  </a:lnTo>
                  <a:lnTo>
                    <a:pt x="3336" y="1599"/>
                  </a:lnTo>
                  <a:lnTo>
                    <a:pt x="3312" y="1604"/>
                  </a:lnTo>
                  <a:lnTo>
                    <a:pt x="3288" y="1610"/>
                  </a:lnTo>
                  <a:lnTo>
                    <a:pt x="3264" y="1617"/>
                  </a:lnTo>
                  <a:lnTo>
                    <a:pt x="3241" y="1624"/>
                  </a:lnTo>
                  <a:lnTo>
                    <a:pt x="3218" y="1632"/>
                  </a:lnTo>
                  <a:lnTo>
                    <a:pt x="3195" y="1640"/>
                  </a:lnTo>
                  <a:lnTo>
                    <a:pt x="3173" y="1649"/>
                  </a:lnTo>
                  <a:lnTo>
                    <a:pt x="3150" y="1659"/>
                  </a:lnTo>
                  <a:lnTo>
                    <a:pt x="3127" y="1669"/>
                  </a:lnTo>
                  <a:lnTo>
                    <a:pt x="3105" y="1680"/>
                  </a:lnTo>
                  <a:lnTo>
                    <a:pt x="3083" y="1691"/>
                  </a:lnTo>
                  <a:lnTo>
                    <a:pt x="3061" y="1702"/>
                  </a:lnTo>
                  <a:lnTo>
                    <a:pt x="3040" y="1715"/>
                  </a:lnTo>
                  <a:lnTo>
                    <a:pt x="3019" y="1728"/>
                  </a:lnTo>
                  <a:lnTo>
                    <a:pt x="2998" y="1741"/>
                  </a:lnTo>
                  <a:lnTo>
                    <a:pt x="2978" y="1755"/>
                  </a:lnTo>
                  <a:lnTo>
                    <a:pt x="2956" y="1771"/>
                  </a:lnTo>
                  <a:lnTo>
                    <a:pt x="2936" y="1786"/>
                  </a:lnTo>
                  <a:lnTo>
                    <a:pt x="2917" y="1801"/>
                  </a:lnTo>
                  <a:lnTo>
                    <a:pt x="2897" y="1817"/>
                  </a:lnTo>
                  <a:lnTo>
                    <a:pt x="2878" y="1834"/>
                  </a:lnTo>
                  <a:lnTo>
                    <a:pt x="2860" y="1852"/>
                  </a:lnTo>
                  <a:lnTo>
                    <a:pt x="2841" y="1869"/>
                  </a:lnTo>
                  <a:lnTo>
                    <a:pt x="1873" y="2834"/>
                  </a:lnTo>
                  <a:lnTo>
                    <a:pt x="1843" y="2868"/>
                  </a:lnTo>
                  <a:lnTo>
                    <a:pt x="1814" y="2901"/>
                  </a:lnTo>
                  <a:lnTo>
                    <a:pt x="1786" y="2935"/>
                  </a:lnTo>
                  <a:lnTo>
                    <a:pt x="1759" y="2970"/>
                  </a:lnTo>
                  <a:lnTo>
                    <a:pt x="1735" y="3006"/>
                  </a:lnTo>
                  <a:lnTo>
                    <a:pt x="1713" y="3043"/>
                  </a:lnTo>
                  <a:lnTo>
                    <a:pt x="1692" y="3081"/>
                  </a:lnTo>
                  <a:lnTo>
                    <a:pt x="1673" y="3119"/>
                  </a:lnTo>
                  <a:lnTo>
                    <a:pt x="1656" y="3159"/>
                  </a:lnTo>
                  <a:lnTo>
                    <a:pt x="1641" y="3198"/>
                  </a:lnTo>
                  <a:lnTo>
                    <a:pt x="1627" y="3239"/>
                  </a:lnTo>
                  <a:lnTo>
                    <a:pt x="1615" y="3279"/>
                  </a:lnTo>
                  <a:lnTo>
                    <a:pt x="1604" y="3320"/>
                  </a:lnTo>
                  <a:lnTo>
                    <a:pt x="1595" y="3361"/>
                  </a:lnTo>
                  <a:lnTo>
                    <a:pt x="1588" y="3404"/>
                  </a:lnTo>
                  <a:lnTo>
                    <a:pt x="1583" y="3446"/>
                  </a:lnTo>
                  <a:lnTo>
                    <a:pt x="1580" y="3488"/>
                  </a:lnTo>
                  <a:lnTo>
                    <a:pt x="1579" y="3530"/>
                  </a:lnTo>
                  <a:lnTo>
                    <a:pt x="1579" y="3572"/>
                  </a:lnTo>
                  <a:lnTo>
                    <a:pt x="1581" y="3614"/>
                  </a:lnTo>
                  <a:lnTo>
                    <a:pt x="1585" y="3656"/>
                  </a:lnTo>
                  <a:lnTo>
                    <a:pt x="1590" y="3699"/>
                  </a:lnTo>
                  <a:lnTo>
                    <a:pt x="1598" y="3741"/>
                  </a:lnTo>
                  <a:lnTo>
                    <a:pt x="1607" y="3783"/>
                  </a:lnTo>
                  <a:lnTo>
                    <a:pt x="1619" y="3824"/>
                  </a:lnTo>
                  <a:lnTo>
                    <a:pt x="1632" y="3865"/>
                  </a:lnTo>
                  <a:lnTo>
                    <a:pt x="1646" y="3906"/>
                  </a:lnTo>
                  <a:lnTo>
                    <a:pt x="1663" y="3947"/>
                  </a:lnTo>
                  <a:lnTo>
                    <a:pt x="1681" y="3986"/>
                  </a:lnTo>
                  <a:lnTo>
                    <a:pt x="1702" y="4025"/>
                  </a:lnTo>
                  <a:lnTo>
                    <a:pt x="1724" y="4063"/>
                  </a:lnTo>
                  <a:lnTo>
                    <a:pt x="1747" y="4101"/>
                  </a:lnTo>
                  <a:lnTo>
                    <a:pt x="2620" y="5408"/>
                  </a:lnTo>
                  <a:lnTo>
                    <a:pt x="2583" y="5486"/>
                  </a:lnTo>
                  <a:lnTo>
                    <a:pt x="2546" y="5565"/>
                  </a:lnTo>
                  <a:lnTo>
                    <a:pt x="2511" y="5646"/>
                  </a:lnTo>
                  <a:lnTo>
                    <a:pt x="2477" y="5726"/>
                  </a:lnTo>
                  <a:lnTo>
                    <a:pt x="2443" y="5807"/>
                  </a:lnTo>
                  <a:lnTo>
                    <a:pt x="2411" y="5890"/>
                  </a:lnTo>
                  <a:lnTo>
                    <a:pt x="2380" y="5972"/>
                  </a:lnTo>
                  <a:lnTo>
                    <a:pt x="2351" y="6055"/>
                  </a:lnTo>
                  <a:lnTo>
                    <a:pt x="809" y="6362"/>
                  </a:lnTo>
                  <a:lnTo>
                    <a:pt x="766" y="6372"/>
                  </a:lnTo>
                  <a:lnTo>
                    <a:pt x="722" y="6383"/>
                  </a:lnTo>
                  <a:lnTo>
                    <a:pt x="681" y="6398"/>
                  </a:lnTo>
                  <a:lnTo>
                    <a:pt x="640" y="6413"/>
                  </a:lnTo>
                  <a:lnTo>
                    <a:pt x="600" y="6429"/>
                  </a:lnTo>
                  <a:lnTo>
                    <a:pt x="559" y="6448"/>
                  </a:lnTo>
                  <a:lnTo>
                    <a:pt x="521" y="6467"/>
                  </a:lnTo>
                  <a:lnTo>
                    <a:pt x="484" y="6489"/>
                  </a:lnTo>
                  <a:lnTo>
                    <a:pt x="448" y="6512"/>
                  </a:lnTo>
                  <a:lnTo>
                    <a:pt x="412" y="6536"/>
                  </a:lnTo>
                  <a:lnTo>
                    <a:pt x="379" y="6562"/>
                  </a:lnTo>
                  <a:lnTo>
                    <a:pt x="346" y="6589"/>
                  </a:lnTo>
                  <a:lnTo>
                    <a:pt x="315" y="6617"/>
                  </a:lnTo>
                  <a:lnTo>
                    <a:pt x="285" y="6647"/>
                  </a:lnTo>
                  <a:lnTo>
                    <a:pt x="256" y="6679"/>
                  </a:lnTo>
                  <a:lnTo>
                    <a:pt x="228" y="6711"/>
                  </a:lnTo>
                  <a:lnTo>
                    <a:pt x="202" y="6744"/>
                  </a:lnTo>
                  <a:lnTo>
                    <a:pt x="177" y="6778"/>
                  </a:lnTo>
                  <a:lnTo>
                    <a:pt x="154" y="6813"/>
                  </a:lnTo>
                  <a:lnTo>
                    <a:pt x="132" y="6850"/>
                  </a:lnTo>
                  <a:lnTo>
                    <a:pt x="112" y="6887"/>
                  </a:lnTo>
                  <a:lnTo>
                    <a:pt x="93" y="6925"/>
                  </a:lnTo>
                  <a:lnTo>
                    <a:pt x="75" y="6965"/>
                  </a:lnTo>
                  <a:lnTo>
                    <a:pt x="60" y="7005"/>
                  </a:lnTo>
                  <a:lnTo>
                    <a:pt x="46" y="7045"/>
                  </a:lnTo>
                  <a:lnTo>
                    <a:pt x="34" y="7086"/>
                  </a:lnTo>
                  <a:lnTo>
                    <a:pt x="24" y="7128"/>
                  </a:lnTo>
                  <a:lnTo>
                    <a:pt x="15" y="7171"/>
                  </a:lnTo>
                  <a:lnTo>
                    <a:pt x="9" y="7215"/>
                  </a:lnTo>
                  <a:lnTo>
                    <a:pt x="4" y="7258"/>
                  </a:lnTo>
                  <a:lnTo>
                    <a:pt x="1" y="7302"/>
                  </a:lnTo>
                  <a:lnTo>
                    <a:pt x="0" y="7347"/>
                  </a:lnTo>
                  <a:lnTo>
                    <a:pt x="0" y="8712"/>
                  </a:lnTo>
                  <a:lnTo>
                    <a:pt x="1" y="8757"/>
                  </a:lnTo>
                  <a:lnTo>
                    <a:pt x="4" y="8801"/>
                  </a:lnTo>
                  <a:lnTo>
                    <a:pt x="9" y="8844"/>
                  </a:lnTo>
                  <a:lnTo>
                    <a:pt x="15" y="8888"/>
                  </a:lnTo>
                  <a:lnTo>
                    <a:pt x="24" y="8931"/>
                  </a:lnTo>
                  <a:lnTo>
                    <a:pt x="34" y="8972"/>
                  </a:lnTo>
                  <a:lnTo>
                    <a:pt x="46" y="9014"/>
                  </a:lnTo>
                  <a:lnTo>
                    <a:pt x="60" y="9054"/>
                  </a:lnTo>
                  <a:lnTo>
                    <a:pt x="75" y="9094"/>
                  </a:lnTo>
                  <a:lnTo>
                    <a:pt x="93" y="9134"/>
                  </a:lnTo>
                  <a:lnTo>
                    <a:pt x="112" y="9172"/>
                  </a:lnTo>
                  <a:lnTo>
                    <a:pt x="132" y="9209"/>
                  </a:lnTo>
                  <a:lnTo>
                    <a:pt x="154" y="9245"/>
                  </a:lnTo>
                  <a:lnTo>
                    <a:pt x="177" y="9280"/>
                  </a:lnTo>
                  <a:lnTo>
                    <a:pt x="202" y="9315"/>
                  </a:lnTo>
                  <a:lnTo>
                    <a:pt x="228" y="9348"/>
                  </a:lnTo>
                  <a:lnTo>
                    <a:pt x="256" y="9380"/>
                  </a:lnTo>
                  <a:lnTo>
                    <a:pt x="285" y="9412"/>
                  </a:lnTo>
                  <a:lnTo>
                    <a:pt x="315" y="9441"/>
                  </a:lnTo>
                  <a:lnTo>
                    <a:pt x="346" y="9470"/>
                  </a:lnTo>
                  <a:lnTo>
                    <a:pt x="379" y="9497"/>
                  </a:lnTo>
                  <a:lnTo>
                    <a:pt x="412" y="9523"/>
                  </a:lnTo>
                  <a:lnTo>
                    <a:pt x="448" y="9547"/>
                  </a:lnTo>
                  <a:lnTo>
                    <a:pt x="484" y="9570"/>
                  </a:lnTo>
                  <a:lnTo>
                    <a:pt x="521" y="9591"/>
                  </a:lnTo>
                  <a:lnTo>
                    <a:pt x="559" y="9611"/>
                  </a:lnTo>
                  <a:lnTo>
                    <a:pt x="600" y="9629"/>
                  </a:lnTo>
                  <a:lnTo>
                    <a:pt x="640" y="9646"/>
                  </a:lnTo>
                  <a:lnTo>
                    <a:pt x="681" y="9661"/>
                  </a:lnTo>
                  <a:lnTo>
                    <a:pt x="722" y="9675"/>
                  </a:lnTo>
                  <a:lnTo>
                    <a:pt x="766" y="9687"/>
                  </a:lnTo>
                  <a:lnTo>
                    <a:pt x="809" y="9697"/>
                  </a:lnTo>
                  <a:lnTo>
                    <a:pt x="2351" y="10004"/>
                  </a:lnTo>
                  <a:lnTo>
                    <a:pt x="2380" y="10087"/>
                  </a:lnTo>
                  <a:lnTo>
                    <a:pt x="2411" y="10169"/>
                  </a:lnTo>
                  <a:lnTo>
                    <a:pt x="2443" y="10252"/>
                  </a:lnTo>
                  <a:lnTo>
                    <a:pt x="2477" y="10333"/>
                  </a:lnTo>
                  <a:lnTo>
                    <a:pt x="2511" y="10413"/>
                  </a:lnTo>
                  <a:lnTo>
                    <a:pt x="2546" y="10494"/>
                  </a:lnTo>
                  <a:lnTo>
                    <a:pt x="2583" y="10573"/>
                  </a:lnTo>
                  <a:lnTo>
                    <a:pt x="2620" y="10651"/>
                  </a:lnTo>
                  <a:lnTo>
                    <a:pt x="1747" y="11957"/>
                  </a:lnTo>
                  <a:lnTo>
                    <a:pt x="1724" y="11995"/>
                  </a:lnTo>
                  <a:lnTo>
                    <a:pt x="1702" y="12033"/>
                  </a:lnTo>
                  <a:lnTo>
                    <a:pt x="1681" y="12072"/>
                  </a:lnTo>
                  <a:lnTo>
                    <a:pt x="1663" y="12111"/>
                  </a:lnTo>
                  <a:lnTo>
                    <a:pt x="1646" y="12153"/>
                  </a:lnTo>
                  <a:lnTo>
                    <a:pt x="1632" y="12193"/>
                  </a:lnTo>
                  <a:lnTo>
                    <a:pt x="1619" y="12234"/>
                  </a:lnTo>
                  <a:lnTo>
                    <a:pt x="1607" y="12275"/>
                  </a:lnTo>
                  <a:lnTo>
                    <a:pt x="1598" y="12317"/>
                  </a:lnTo>
                  <a:lnTo>
                    <a:pt x="1590" y="12359"/>
                  </a:lnTo>
                  <a:lnTo>
                    <a:pt x="1585" y="12402"/>
                  </a:lnTo>
                  <a:lnTo>
                    <a:pt x="1581" y="12444"/>
                  </a:lnTo>
                  <a:lnTo>
                    <a:pt x="1579" y="12486"/>
                  </a:lnTo>
                  <a:lnTo>
                    <a:pt x="1579" y="12528"/>
                  </a:lnTo>
                  <a:lnTo>
                    <a:pt x="1580" y="12571"/>
                  </a:lnTo>
                  <a:lnTo>
                    <a:pt x="1583" y="12613"/>
                  </a:lnTo>
                  <a:lnTo>
                    <a:pt x="1588" y="12654"/>
                  </a:lnTo>
                  <a:lnTo>
                    <a:pt x="1595" y="12697"/>
                  </a:lnTo>
                  <a:lnTo>
                    <a:pt x="1604" y="12738"/>
                  </a:lnTo>
                  <a:lnTo>
                    <a:pt x="1615" y="12779"/>
                  </a:lnTo>
                  <a:lnTo>
                    <a:pt x="1627" y="12820"/>
                  </a:lnTo>
                  <a:lnTo>
                    <a:pt x="1641" y="12860"/>
                  </a:lnTo>
                  <a:lnTo>
                    <a:pt x="1656" y="12900"/>
                  </a:lnTo>
                  <a:lnTo>
                    <a:pt x="1673" y="12940"/>
                  </a:lnTo>
                  <a:lnTo>
                    <a:pt x="1692" y="12978"/>
                  </a:lnTo>
                  <a:lnTo>
                    <a:pt x="1713" y="13016"/>
                  </a:lnTo>
                  <a:lnTo>
                    <a:pt x="1735" y="13052"/>
                  </a:lnTo>
                  <a:lnTo>
                    <a:pt x="1759" y="13088"/>
                  </a:lnTo>
                  <a:lnTo>
                    <a:pt x="1786" y="13124"/>
                  </a:lnTo>
                  <a:lnTo>
                    <a:pt x="1814" y="13158"/>
                  </a:lnTo>
                  <a:lnTo>
                    <a:pt x="1843" y="13191"/>
                  </a:lnTo>
                  <a:lnTo>
                    <a:pt x="1873" y="13224"/>
                  </a:lnTo>
                  <a:lnTo>
                    <a:pt x="2841" y="14189"/>
                  </a:lnTo>
                  <a:lnTo>
                    <a:pt x="2860" y="14207"/>
                  </a:lnTo>
                  <a:lnTo>
                    <a:pt x="2878" y="14224"/>
                  </a:lnTo>
                  <a:lnTo>
                    <a:pt x="2897" y="14241"/>
                  </a:lnTo>
                  <a:lnTo>
                    <a:pt x="2917" y="14257"/>
                  </a:lnTo>
                  <a:lnTo>
                    <a:pt x="2936" y="14273"/>
                  </a:lnTo>
                  <a:lnTo>
                    <a:pt x="2956" y="14288"/>
                  </a:lnTo>
                  <a:lnTo>
                    <a:pt x="2978" y="14303"/>
                  </a:lnTo>
                  <a:lnTo>
                    <a:pt x="2998" y="14317"/>
                  </a:lnTo>
                  <a:lnTo>
                    <a:pt x="3019" y="14331"/>
                  </a:lnTo>
                  <a:lnTo>
                    <a:pt x="3040" y="14344"/>
                  </a:lnTo>
                  <a:lnTo>
                    <a:pt x="3061" y="14356"/>
                  </a:lnTo>
                  <a:lnTo>
                    <a:pt x="3083" y="14368"/>
                  </a:lnTo>
                  <a:lnTo>
                    <a:pt x="3105" y="14379"/>
                  </a:lnTo>
                  <a:lnTo>
                    <a:pt x="3127" y="14389"/>
                  </a:lnTo>
                  <a:lnTo>
                    <a:pt x="3150" y="14399"/>
                  </a:lnTo>
                  <a:lnTo>
                    <a:pt x="3173" y="14409"/>
                  </a:lnTo>
                  <a:lnTo>
                    <a:pt x="3195" y="14418"/>
                  </a:lnTo>
                  <a:lnTo>
                    <a:pt x="3218" y="14426"/>
                  </a:lnTo>
                  <a:lnTo>
                    <a:pt x="3241" y="14434"/>
                  </a:lnTo>
                  <a:lnTo>
                    <a:pt x="3264" y="14441"/>
                  </a:lnTo>
                  <a:lnTo>
                    <a:pt x="3288" y="14448"/>
                  </a:lnTo>
                  <a:lnTo>
                    <a:pt x="3312" y="14454"/>
                  </a:lnTo>
                  <a:lnTo>
                    <a:pt x="3336" y="14459"/>
                  </a:lnTo>
                  <a:lnTo>
                    <a:pt x="3359" y="14464"/>
                  </a:lnTo>
                  <a:lnTo>
                    <a:pt x="3383" y="14469"/>
                  </a:lnTo>
                  <a:lnTo>
                    <a:pt x="3407" y="14473"/>
                  </a:lnTo>
                  <a:lnTo>
                    <a:pt x="3431" y="14476"/>
                  </a:lnTo>
                  <a:lnTo>
                    <a:pt x="3455" y="14478"/>
                  </a:lnTo>
                  <a:lnTo>
                    <a:pt x="3480" y="14480"/>
                  </a:lnTo>
                  <a:lnTo>
                    <a:pt x="3504" y="14482"/>
                  </a:lnTo>
                  <a:lnTo>
                    <a:pt x="3529" y="14483"/>
                  </a:lnTo>
                  <a:lnTo>
                    <a:pt x="3553" y="14483"/>
                  </a:lnTo>
                  <a:lnTo>
                    <a:pt x="3589" y="14482"/>
                  </a:lnTo>
                  <a:lnTo>
                    <a:pt x="3625" y="14480"/>
                  </a:lnTo>
                  <a:lnTo>
                    <a:pt x="3662" y="14477"/>
                  </a:lnTo>
                  <a:lnTo>
                    <a:pt x="3698" y="14473"/>
                  </a:lnTo>
                  <a:lnTo>
                    <a:pt x="3733" y="14467"/>
                  </a:lnTo>
                  <a:lnTo>
                    <a:pt x="3769" y="14460"/>
                  </a:lnTo>
                  <a:lnTo>
                    <a:pt x="3804" y="14451"/>
                  </a:lnTo>
                  <a:lnTo>
                    <a:pt x="3840" y="14441"/>
                  </a:lnTo>
                  <a:lnTo>
                    <a:pt x="3875" y="14430"/>
                  </a:lnTo>
                  <a:lnTo>
                    <a:pt x="3910" y="14418"/>
                  </a:lnTo>
                  <a:lnTo>
                    <a:pt x="3944" y="14404"/>
                  </a:lnTo>
                  <a:lnTo>
                    <a:pt x="3978" y="14389"/>
                  </a:lnTo>
                  <a:lnTo>
                    <a:pt x="4013" y="14372"/>
                  </a:lnTo>
                  <a:lnTo>
                    <a:pt x="4046" y="14355"/>
                  </a:lnTo>
                  <a:lnTo>
                    <a:pt x="4078" y="14336"/>
                  </a:lnTo>
                  <a:lnTo>
                    <a:pt x="4110" y="14315"/>
                  </a:lnTo>
                  <a:lnTo>
                    <a:pt x="5420" y="13443"/>
                  </a:lnTo>
                  <a:lnTo>
                    <a:pt x="5499" y="13482"/>
                  </a:lnTo>
                  <a:lnTo>
                    <a:pt x="5578" y="13518"/>
                  </a:lnTo>
                  <a:lnTo>
                    <a:pt x="5658" y="13553"/>
                  </a:lnTo>
                  <a:lnTo>
                    <a:pt x="5739" y="13587"/>
                  </a:lnTo>
                  <a:lnTo>
                    <a:pt x="5820" y="13620"/>
                  </a:lnTo>
                  <a:lnTo>
                    <a:pt x="5903" y="13652"/>
                  </a:lnTo>
                  <a:lnTo>
                    <a:pt x="5985" y="13683"/>
                  </a:lnTo>
                  <a:lnTo>
                    <a:pt x="6069" y="13713"/>
                  </a:lnTo>
                  <a:lnTo>
                    <a:pt x="6377" y="15251"/>
                  </a:lnTo>
                  <a:lnTo>
                    <a:pt x="6387" y="15295"/>
                  </a:lnTo>
                  <a:lnTo>
                    <a:pt x="6398" y="15337"/>
                  </a:lnTo>
                  <a:lnTo>
                    <a:pt x="6412" y="15380"/>
                  </a:lnTo>
                  <a:lnTo>
                    <a:pt x="6427" y="15421"/>
                  </a:lnTo>
                  <a:lnTo>
                    <a:pt x="6444" y="15461"/>
                  </a:lnTo>
                  <a:lnTo>
                    <a:pt x="6462" y="15500"/>
                  </a:lnTo>
                  <a:lnTo>
                    <a:pt x="6482" y="15538"/>
                  </a:lnTo>
                  <a:lnTo>
                    <a:pt x="6503" y="15575"/>
                  </a:lnTo>
                  <a:lnTo>
                    <a:pt x="6527" y="15611"/>
                  </a:lnTo>
                  <a:lnTo>
                    <a:pt x="6551" y="15646"/>
                  </a:lnTo>
                  <a:lnTo>
                    <a:pt x="6577" y="15681"/>
                  </a:lnTo>
                  <a:lnTo>
                    <a:pt x="6604" y="15713"/>
                  </a:lnTo>
                  <a:lnTo>
                    <a:pt x="6633" y="15744"/>
                  </a:lnTo>
                  <a:lnTo>
                    <a:pt x="6662" y="15774"/>
                  </a:lnTo>
                  <a:lnTo>
                    <a:pt x="6694" y="15803"/>
                  </a:lnTo>
                  <a:lnTo>
                    <a:pt x="6726" y="15831"/>
                  </a:lnTo>
                  <a:lnTo>
                    <a:pt x="6759" y="15857"/>
                  </a:lnTo>
                  <a:lnTo>
                    <a:pt x="6793" y="15881"/>
                  </a:lnTo>
                  <a:lnTo>
                    <a:pt x="6829" y="15904"/>
                  </a:lnTo>
                  <a:lnTo>
                    <a:pt x="6866" y="15927"/>
                  </a:lnTo>
                  <a:lnTo>
                    <a:pt x="6903" y="15947"/>
                  </a:lnTo>
                  <a:lnTo>
                    <a:pt x="6941" y="15966"/>
                  </a:lnTo>
                  <a:lnTo>
                    <a:pt x="6980" y="15983"/>
                  </a:lnTo>
                  <a:lnTo>
                    <a:pt x="7020" y="15998"/>
                  </a:lnTo>
                  <a:lnTo>
                    <a:pt x="7061" y="16012"/>
                  </a:lnTo>
                  <a:lnTo>
                    <a:pt x="7102" y="16024"/>
                  </a:lnTo>
                  <a:lnTo>
                    <a:pt x="7144" y="16034"/>
                  </a:lnTo>
                  <a:lnTo>
                    <a:pt x="7187" y="16043"/>
                  </a:lnTo>
                  <a:lnTo>
                    <a:pt x="7231" y="16049"/>
                  </a:lnTo>
                  <a:lnTo>
                    <a:pt x="7274" y="16054"/>
                  </a:lnTo>
                  <a:lnTo>
                    <a:pt x="7318" y="16057"/>
                  </a:lnTo>
                  <a:lnTo>
                    <a:pt x="7363" y="16058"/>
                  </a:lnTo>
                  <a:lnTo>
                    <a:pt x="8732" y="16058"/>
                  </a:lnTo>
                  <a:lnTo>
                    <a:pt x="8777" y="16057"/>
                  </a:lnTo>
                  <a:lnTo>
                    <a:pt x="8821" y="16054"/>
                  </a:lnTo>
                  <a:lnTo>
                    <a:pt x="8864" y="16049"/>
                  </a:lnTo>
                  <a:lnTo>
                    <a:pt x="8908" y="16043"/>
                  </a:lnTo>
                  <a:lnTo>
                    <a:pt x="8951" y="16034"/>
                  </a:lnTo>
                  <a:lnTo>
                    <a:pt x="8993" y="16024"/>
                  </a:lnTo>
                  <a:lnTo>
                    <a:pt x="9034" y="16012"/>
                  </a:lnTo>
                  <a:lnTo>
                    <a:pt x="9075" y="15998"/>
                  </a:lnTo>
                  <a:lnTo>
                    <a:pt x="9115" y="15983"/>
                  </a:lnTo>
                  <a:lnTo>
                    <a:pt x="9154" y="15966"/>
                  </a:lnTo>
                  <a:lnTo>
                    <a:pt x="9192" y="15947"/>
                  </a:lnTo>
                  <a:lnTo>
                    <a:pt x="9229" y="15927"/>
                  </a:lnTo>
                  <a:lnTo>
                    <a:pt x="9267" y="15904"/>
                  </a:lnTo>
                  <a:lnTo>
                    <a:pt x="9302" y="15881"/>
                  </a:lnTo>
                  <a:lnTo>
                    <a:pt x="9336" y="15857"/>
                  </a:lnTo>
                  <a:lnTo>
                    <a:pt x="9369" y="15831"/>
                  </a:lnTo>
                  <a:lnTo>
                    <a:pt x="9401" y="15803"/>
                  </a:lnTo>
                  <a:lnTo>
                    <a:pt x="9433" y="15774"/>
                  </a:lnTo>
                  <a:lnTo>
                    <a:pt x="9463" y="15744"/>
                  </a:lnTo>
                  <a:lnTo>
                    <a:pt x="9491" y="15713"/>
                  </a:lnTo>
                  <a:lnTo>
                    <a:pt x="9518" y="15681"/>
                  </a:lnTo>
                  <a:lnTo>
                    <a:pt x="9544" y="15646"/>
                  </a:lnTo>
                  <a:lnTo>
                    <a:pt x="9568" y="15611"/>
                  </a:lnTo>
                  <a:lnTo>
                    <a:pt x="9592" y="15575"/>
                  </a:lnTo>
                  <a:lnTo>
                    <a:pt x="9614" y="15538"/>
                  </a:lnTo>
                  <a:lnTo>
                    <a:pt x="9633" y="15500"/>
                  </a:lnTo>
                  <a:lnTo>
                    <a:pt x="9652" y="15461"/>
                  </a:lnTo>
                  <a:lnTo>
                    <a:pt x="9668" y="15421"/>
                  </a:lnTo>
                  <a:lnTo>
                    <a:pt x="9683" y="15380"/>
                  </a:lnTo>
                  <a:lnTo>
                    <a:pt x="9697" y="15337"/>
                  </a:lnTo>
                  <a:lnTo>
                    <a:pt x="9708" y="15295"/>
                  </a:lnTo>
                  <a:lnTo>
                    <a:pt x="9718" y="15251"/>
                  </a:lnTo>
                  <a:lnTo>
                    <a:pt x="10027" y="13713"/>
                  </a:lnTo>
                  <a:lnTo>
                    <a:pt x="10111" y="13683"/>
                  </a:lnTo>
                  <a:lnTo>
                    <a:pt x="10193" y="13652"/>
                  </a:lnTo>
                  <a:lnTo>
                    <a:pt x="10276" y="13620"/>
                  </a:lnTo>
                  <a:lnTo>
                    <a:pt x="10357" y="13587"/>
                  </a:lnTo>
                  <a:lnTo>
                    <a:pt x="10438" y="13553"/>
                  </a:lnTo>
                  <a:lnTo>
                    <a:pt x="10517" y="13518"/>
                  </a:lnTo>
                  <a:lnTo>
                    <a:pt x="10597" y="13481"/>
                  </a:lnTo>
                  <a:lnTo>
                    <a:pt x="10676" y="13443"/>
                  </a:lnTo>
                  <a:lnTo>
                    <a:pt x="11986" y="14315"/>
                  </a:lnTo>
                  <a:lnTo>
                    <a:pt x="12018" y="14336"/>
                  </a:lnTo>
                  <a:lnTo>
                    <a:pt x="12050" y="14355"/>
                  </a:lnTo>
                  <a:lnTo>
                    <a:pt x="12083" y="14372"/>
                  </a:lnTo>
                  <a:lnTo>
                    <a:pt x="12117" y="14389"/>
                  </a:lnTo>
                  <a:lnTo>
                    <a:pt x="12151" y="14404"/>
                  </a:lnTo>
                  <a:lnTo>
                    <a:pt x="12185" y="14418"/>
                  </a:lnTo>
                  <a:lnTo>
                    <a:pt x="12220" y="14430"/>
                  </a:lnTo>
                  <a:lnTo>
                    <a:pt x="12255" y="14441"/>
                  </a:lnTo>
                  <a:lnTo>
                    <a:pt x="12291" y="14451"/>
                  </a:lnTo>
                  <a:lnTo>
                    <a:pt x="12326" y="14460"/>
                  </a:lnTo>
                  <a:lnTo>
                    <a:pt x="12362" y="14467"/>
                  </a:lnTo>
                  <a:lnTo>
                    <a:pt x="12398" y="14473"/>
                  </a:lnTo>
                  <a:lnTo>
                    <a:pt x="12433" y="14477"/>
                  </a:lnTo>
                  <a:lnTo>
                    <a:pt x="12470" y="14480"/>
                  </a:lnTo>
                  <a:lnTo>
                    <a:pt x="12506" y="14482"/>
                  </a:lnTo>
                  <a:lnTo>
                    <a:pt x="12542" y="14483"/>
                  </a:lnTo>
                  <a:lnTo>
                    <a:pt x="12566" y="14483"/>
                  </a:lnTo>
                  <a:lnTo>
                    <a:pt x="12591" y="14482"/>
                  </a:lnTo>
                  <a:lnTo>
                    <a:pt x="12615" y="14480"/>
                  </a:lnTo>
                  <a:lnTo>
                    <a:pt x="12640" y="14478"/>
                  </a:lnTo>
                  <a:lnTo>
                    <a:pt x="12664" y="14476"/>
                  </a:lnTo>
                  <a:lnTo>
                    <a:pt x="12688" y="14473"/>
                  </a:lnTo>
                  <a:lnTo>
                    <a:pt x="12712" y="14469"/>
                  </a:lnTo>
                  <a:lnTo>
                    <a:pt x="12736" y="14464"/>
                  </a:lnTo>
                  <a:lnTo>
                    <a:pt x="12759" y="14459"/>
                  </a:lnTo>
                  <a:lnTo>
                    <a:pt x="12783" y="14454"/>
                  </a:lnTo>
                  <a:lnTo>
                    <a:pt x="12808" y="14448"/>
                  </a:lnTo>
                  <a:lnTo>
                    <a:pt x="12831" y="14441"/>
                  </a:lnTo>
                  <a:lnTo>
                    <a:pt x="12854" y="14434"/>
                  </a:lnTo>
                  <a:lnTo>
                    <a:pt x="12877" y="14426"/>
                  </a:lnTo>
                  <a:lnTo>
                    <a:pt x="12900" y="14418"/>
                  </a:lnTo>
                  <a:lnTo>
                    <a:pt x="12923" y="14409"/>
                  </a:lnTo>
                  <a:lnTo>
                    <a:pt x="12945" y="14399"/>
                  </a:lnTo>
                  <a:lnTo>
                    <a:pt x="12968" y="14389"/>
                  </a:lnTo>
                  <a:lnTo>
                    <a:pt x="12990" y="14379"/>
                  </a:lnTo>
                  <a:lnTo>
                    <a:pt x="13012" y="14368"/>
                  </a:lnTo>
                  <a:lnTo>
                    <a:pt x="13034" y="14356"/>
                  </a:lnTo>
                  <a:lnTo>
                    <a:pt x="13055" y="14344"/>
                  </a:lnTo>
                  <a:lnTo>
                    <a:pt x="13076" y="14331"/>
                  </a:lnTo>
                  <a:lnTo>
                    <a:pt x="13097" y="14317"/>
                  </a:lnTo>
                  <a:lnTo>
                    <a:pt x="13118" y="14303"/>
                  </a:lnTo>
                  <a:lnTo>
                    <a:pt x="13139" y="14288"/>
                  </a:lnTo>
                  <a:lnTo>
                    <a:pt x="13159" y="14273"/>
                  </a:lnTo>
                  <a:lnTo>
                    <a:pt x="13179" y="14257"/>
                  </a:lnTo>
                  <a:lnTo>
                    <a:pt x="13198" y="14241"/>
                  </a:lnTo>
                  <a:lnTo>
                    <a:pt x="13217" y="14224"/>
                  </a:lnTo>
                  <a:lnTo>
                    <a:pt x="13236" y="14207"/>
                  </a:lnTo>
                  <a:lnTo>
                    <a:pt x="13254" y="14189"/>
                  </a:lnTo>
                  <a:lnTo>
                    <a:pt x="14222" y="13224"/>
                  </a:lnTo>
                  <a:lnTo>
                    <a:pt x="14253" y="13191"/>
                  </a:lnTo>
                  <a:lnTo>
                    <a:pt x="14282" y="13158"/>
                  </a:lnTo>
                  <a:lnTo>
                    <a:pt x="14309" y="13124"/>
                  </a:lnTo>
                  <a:lnTo>
                    <a:pt x="14336" y="13088"/>
                  </a:lnTo>
                  <a:lnTo>
                    <a:pt x="14360" y="13052"/>
                  </a:lnTo>
                  <a:lnTo>
                    <a:pt x="14382" y="13016"/>
                  </a:lnTo>
                  <a:lnTo>
                    <a:pt x="14403" y="12978"/>
                  </a:lnTo>
                  <a:lnTo>
                    <a:pt x="14422" y="12940"/>
                  </a:lnTo>
                  <a:lnTo>
                    <a:pt x="14439" y="12900"/>
                  </a:lnTo>
                  <a:lnTo>
                    <a:pt x="14455" y="12860"/>
                  </a:lnTo>
                  <a:lnTo>
                    <a:pt x="14468" y="12820"/>
                  </a:lnTo>
                  <a:lnTo>
                    <a:pt x="14480" y="12779"/>
                  </a:lnTo>
                  <a:lnTo>
                    <a:pt x="14492" y="12738"/>
                  </a:lnTo>
                  <a:lnTo>
                    <a:pt x="14500" y="12697"/>
                  </a:lnTo>
                  <a:lnTo>
                    <a:pt x="14507" y="12654"/>
                  </a:lnTo>
                  <a:lnTo>
                    <a:pt x="14512" y="12613"/>
                  </a:lnTo>
                  <a:lnTo>
                    <a:pt x="14515" y="12571"/>
                  </a:lnTo>
                  <a:lnTo>
                    <a:pt x="14517" y="12528"/>
                  </a:lnTo>
                  <a:lnTo>
                    <a:pt x="14517" y="12486"/>
                  </a:lnTo>
                  <a:lnTo>
                    <a:pt x="14515" y="12444"/>
                  </a:lnTo>
                  <a:lnTo>
                    <a:pt x="14511" y="12402"/>
                  </a:lnTo>
                  <a:lnTo>
                    <a:pt x="14505" y="12359"/>
                  </a:lnTo>
                  <a:lnTo>
                    <a:pt x="14498" y="12317"/>
                  </a:lnTo>
                  <a:lnTo>
                    <a:pt x="14489" y="12275"/>
                  </a:lnTo>
                  <a:lnTo>
                    <a:pt x="14476" y="12234"/>
                  </a:lnTo>
                  <a:lnTo>
                    <a:pt x="14464" y="12193"/>
                  </a:lnTo>
                  <a:lnTo>
                    <a:pt x="14449" y="12153"/>
                  </a:lnTo>
                  <a:lnTo>
                    <a:pt x="14433" y="12111"/>
                  </a:lnTo>
                  <a:lnTo>
                    <a:pt x="14414" y="12072"/>
                  </a:lnTo>
                  <a:lnTo>
                    <a:pt x="14394" y="12033"/>
                  </a:lnTo>
                  <a:lnTo>
                    <a:pt x="14372" y="11995"/>
                  </a:lnTo>
                  <a:lnTo>
                    <a:pt x="14348" y="11957"/>
                  </a:lnTo>
                  <a:lnTo>
                    <a:pt x="13475" y="10651"/>
                  </a:lnTo>
                  <a:lnTo>
                    <a:pt x="13512" y="10572"/>
                  </a:lnTo>
                  <a:lnTo>
                    <a:pt x="13549" y="10493"/>
                  </a:lnTo>
                  <a:lnTo>
                    <a:pt x="13584" y="10413"/>
                  </a:lnTo>
                  <a:lnTo>
                    <a:pt x="13618" y="10332"/>
                  </a:lnTo>
                  <a:lnTo>
                    <a:pt x="13652" y="10251"/>
                  </a:lnTo>
                  <a:lnTo>
                    <a:pt x="13684" y="10169"/>
                  </a:lnTo>
                  <a:lnTo>
                    <a:pt x="13715" y="10087"/>
                  </a:lnTo>
                  <a:lnTo>
                    <a:pt x="13745" y="10004"/>
                  </a:lnTo>
                  <a:lnTo>
                    <a:pt x="15286" y="9697"/>
                  </a:lnTo>
                  <a:lnTo>
                    <a:pt x="15329" y="9687"/>
                  </a:lnTo>
                  <a:lnTo>
                    <a:pt x="15373" y="9675"/>
                  </a:lnTo>
                  <a:lnTo>
                    <a:pt x="15414" y="9661"/>
                  </a:lnTo>
                  <a:lnTo>
                    <a:pt x="15455" y="9646"/>
                  </a:lnTo>
                  <a:lnTo>
                    <a:pt x="15495" y="9629"/>
                  </a:lnTo>
                  <a:lnTo>
                    <a:pt x="15536" y="9611"/>
                  </a:lnTo>
                  <a:lnTo>
                    <a:pt x="15574" y="9591"/>
                  </a:lnTo>
                  <a:lnTo>
                    <a:pt x="15611" y="9570"/>
                  </a:lnTo>
                  <a:lnTo>
                    <a:pt x="15647" y="9547"/>
                  </a:lnTo>
                  <a:lnTo>
                    <a:pt x="15683" y="9523"/>
                  </a:lnTo>
                  <a:lnTo>
                    <a:pt x="15716" y="9497"/>
                  </a:lnTo>
                  <a:lnTo>
                    <a:pt x="15749" y="9470"/>
                  </a:lnTo>
                  <a:lnTo>
                    <a:pt x="15780" y="9441"/>
                  </a:lnTo>
                  <a:lnTo>
                    <a:pt x="15810" y="9412"/>
                  </a:lnTo>
                  <a:lnTo>
                    <a:pt x="15839" y="9380"/>
                  </a:lnTo>
                  <a:lnTo>
                    <a:pt x="15867" y="9348"/>
                  </a:lnTo>
                  <a:lnTo>
                    <a:pt x="15893" y="9315"/>
                  </a:lnTo>
                  <a:lnTo>
                    <a:pt x="15918" y="9280"/>
                  </a:lnTo>
                  <a:lnTo>
                    <a:pt x="15941" y="9245"/>
                  </a:lnTo>
                  <a:lnTo>
                    <a:pt x="15963" y="9209"/>
                  </a:lnTo>
                  <a:lnTo>
                    <a:pt x="15983" y="9172"/>
                  </a:lnTo>
                  <a:lnTo>
                    <a:pt x="16002" y="9134"/>
                  </a:lnTo>
                  <a:lnTo>
                    <a:pt x="16020" y="9094"/>
                  </a:lnTo>
                  <a:lnTo>
                    <a:pt x="16035" y="9054"/>
                  </a:lnTo>
                  <a:lnTo>
                    <a:pt x="16049" y="9014"/>
                  </a:lnTo>
                  <a:lnTo>
                    <a:pt x="16061" y="8972"/>
                  </a:lnTo>
                  <a:lnTo>
                    <a:pt x="16071" y="8931"/>
                  </a:lnTo>
                  <a:lnTo>
                    <a:pt x="16080" y="8888"/>
                  </a:lnTo>
                  <a:lnTo>
                    <a:pt x="16086" y="8844"/>
                  </a:lnTo>
                  <a:lnTo>
                    <a:pt x="16091" y="8801"/>
                  </a:lnTo>
                  <a:lnTo>
                    <a:pt x="16094" y="8757"/>
                  </a:lnTo>
                  <a:lnTo>
                    <a:pt x="16095" y="8712"/>
                  </a:lnTo>
                  <a:lnTo>
                    <a:pt x="16095" y="7347"/>
                  </a:lnTo>
                  <a:lnTo>
                    <a:pt x="16094" y="7302"/>
                  </a:lnTo>
                  <a:lnTo>
                    <a:pt x="16091" y="7258"/>
                  </a:lnTo>
                  <a:lnTo>
                    <a:pt x="16086" y="7215"/>
                  </a:lnTo>
                  <a:lnTo>
                    <a:pt x="16080" y="7171"/>
                  </a:lnTo>
                  <a:lnTo>
                    <a:pt x="16071" y="7128"/>
                  </a:lnTo>
                  <a:lnTo>
                    <a:pt x="16061" y="7086"/>
                  </a:lnTo>
                  <a:lnTo>
                    <a:pt x="16049" y="7045"/>
                  </a:lnTo>
                  <a:lnTo>
                    <a:pt x="16035" y="7005"/>
                  </a:lnTo>
                  <a:lnTo>
                    <a:pt x="16020" y="6965"/>
                  </a:lnTo>
                  <a:lnTo>
                    <a:pt x="16002" y="6925"/>
                  </a:lnTo>
                  <a:lnTo>
                    <a:pt x="15983" y="6887"/>
                  </a:lnTo>
                  <a:lnTo>
                    <a:pt x="15963" y="6850"/>
                  </a:lnTo>
                  <a:lnTo>
                    <a:pt x="15941" y="6813"/>
                  </a:lnTo>
                  <a:lnTo>
                    <a:pt x="15918" y="6778"/>
                  </a:lnTo>
                  <a:lnTo>
                    <a:pt x="15893" y="6744"/>
                  </a:lnTo>
                  <a:lnTo>
                    <a:pt x="15867" y="6711"/>
                  </a:lnTo>
                  <a:lnTo>
                    <a:pt x="15839" y="6679"/>
                  </a:lnTo>
                  <a:lnTo>
                    <a:pt x="15810" y="6647"/>
                  </a:lnTo>
                  <a:lnTo>
                    <a:pt x="15780" y="6617"/>
                  </a:lnTo>
                  <a:lnTo>
                    <a:pt x="15749" y="6589"/>
                  </a:lnTo>
                  <a:lnTo>
                    <a:pt x="15716" y="6562"/>
                  </a:lnTo>
                  <a:lnTo>
                    <a:pt x="15683" y="6536"/>
                  </a:lnTo>
                  <a:lnTo>
                    <a:pt x="15647" y="6512"/>
                  </a:lnTo>
                  <a:lnTo>
                    <a:pt x="15611" y="6489"/>
                  </a:lnTo>
                  <a:lnTo>
                    <a:pt x="15574" y="6467"/>
                  </a:lnTo>
                  <a:lnTo>
                    <a:pt x="15536" y="6448"/>
                  </a:lnTo>
                  <a:lnTo>
                    <a:pt x="15495" y="6429"/>
                  </a:lnTo>
                  <a:lnTo>
                    <a:pt x="15455" y="6413"/>
                  </a:lnTo>
                  <a:lnTo>
                    <a:pt x="15414" y="6398"/>
                  </a:lnTo>
                  <a:lnTo>
                    <a:pt x="15373" y="6383"/>
                  </a:lnTo>
                  <a:lnTo>
                    <a:pt x="15329" y="6372"/>
                  </a:lnTo>
                  <a:lnTo>
                    <a:pt x="15286" y="63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77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49" name="îṥľïḍe">
              <a:extLst>
                <a:ext uri="{FF2B5EF4-FFF2-40B4-BE49-F238E27FC236}">
                  <a16:creationId xmlns:a16="http://schemas.microsoft.com/office/drawing/2014/main" id="{DE9A7D57-F54C-44A1-BD61-952F544DABB4}"/>
                </a:ext>
              </a:extLst>
            </p:cNvPr>
            <p:cNvSpPr/>
            <p:nvPr/>
          </p:nvSpPr>
          <p:spPr bwMode="auto">
            <a:xfrm>
              <a:off x="1191294" y="1167056"/>
              <a:ext cx="119065" cy="118442"/>
            </a:xfrm>
            <a:custGeom>
              <a:avLst/>
              <a:gdLst>
                <a:gd name="T0" fmla="*/ 2899 w 7040"/>
                <a:gd name="T1" fmla="*/ 6524 h 7025"/>
                <a:gd name="T2" fmla="*/ 2185 w 7040"/>
                <a:gd name="T3" fmla="*/ 6283 h 7025"/>
                <a:gd name="T4" fmla="*/ 1560 w 7040"/>
                <a:gd name="T5" fmla="*/ 5884 h 7025"/>
                <a:gd name="T6" fmla="*/ 1051 w 7040"/>
                <a:gd name="T7" fmla="*/ 5351 h 7025"/>
                <a:gd name="T8" fmla="*/ 682 w 7040"/>
                <a:gd name="T9" fmla="*/ 4709 h 7025"/>
                <a:gd name="T10" fmla="*/ 475 w 7040"/>
                <a:gd name="T11" fmla="*/ 3980 h 7025"/>
                <a:gd name="T12" fmla="*/ 455 w 7040"/>
                <a:gd name="T13" fmla="*/ 3198 h 7025"/>
                <a:gd name="T14" fmla="*/ 626 w 7040"/>
                <a:gd name="T15" fmla="*/ 2456 h 7025"/>
                <a:gd name="T16" fmla="*/ 965 w 7040"/>
                <a:gd name="T17" fmla="*/ 1794 h 7025"/>
                <a:gd name="T18" fmla="*/ 1448 w 7040"/>
                <a:gd name="T19" fmla="*/ 1237 h 7025"/>
                <a:gd name="T20" fmla="*/ 2052 w 7040"/>
                <a:gd name="T21" fmla="*/ 810 h 7025"/>
                <a:gd name="T22" fmla="*/ 2750 w 7040"/>
                <a:gd name="T23" fmla="*/ 536 h 7025"/>
                <a:gd name="T24" fmla="*/ 3520 w 7040"/>
                <a:gd name="T25" fmla="*/ 439 h 7025"/>
                <a:gd name="T26" fmla="*/ 4289 w 7040"/>
                <a:gd name="T27" fmla="*/ 536 h 7025"/>
                <a:gd name="T28" fmla="*/ 4988 w 7040"/>
                <a:gd name="T29" fmla="*/ 810 h 7025"/>
                <a:gd name="T30" fmla="*/ 5591 w 7040"/>
                <a:gd name="T31" fmla="*/ 1237 h 7025"/>
                <a:gd name="T32" fmla="*/ 6075 w 7040"/>
                <a:gd name="T33" fmla="*/ 1794 h 7025"/>
                <a:gd name="T34" fmla="*/ 6414 w 7040"/>
                <a:gd name="T35" fmla="*/ 2456 h 7025"/>
                <a:gd name="T36" fmla="*/ 6585 w 7040"/>
                <a:gd name="T37" fmla="*/ 3198 h 7025"/>
                <a:gd name="T38" fmla="*/ 6565 w 7040"/>
                <a:gd name="T39" fmla="*/ 3980 h 7025"/>
                <a:gd name="T40" fmla="*/ 6358 w 7040"/>
                <a:gd name="T41" fmla="*/ 4709 h 7025"/>
                <a:gd name="T42" fmla="*/ 5988 w 7040"/>
                <a:gd name="T43" fmla="*/ 5351 h 7025"/>
                <a:gd name="T44" fmla="*/ 5479 w 7040"/>
                <a:gd name="T45" fmla="*/ 5884 h 7025"/>
                <a:gd name="T46" fmla="*/ 4855 w 7040"/>
                <a:gd name="T47" fmla="*/ 6283 h 7025"/>
                <a:gd name="T48" fmla="*/ 4140 w 7040"/>
                <a:gd name="T49" fmla="*/ 6524 h 7025"/>
                <a:gd name="T50" fmla="*/ 3520 w 7040"/>
                <a:gd name="T51" fmla="*/ 0 h 7025"/>
                <a:gd name="T52" fmla="*/ 2640 w 7040"/>
                <a:gd name="T53" fmla="*/ 110 h 7025"/>
                <a:gd name="T54" fmla="*/ 1842 w 7040"/>
                <a:gd name="T55" fmla="*/ 424 h 7025"/>
                <a:gd name="T56" fmla="*/ 1153 w 7040"/>
                <a:gd name="T57" fmla="*/ 912 h 7025"/>
                <a:gd name="T58" fmla="*/ 600 w 7040"/>
                <a:gd name="T59" fmla="*/ 1548 h 7025"/>
                <a:gd name="T60" fmla="*/ 213 w 7040"/>
                <a:gd name="T61" fmla="*/ 2305 h 7025"/>
                <a:gd name="T62" fmla="*/ 18 w 7040"/>
                <a:gd name="T63" fmla="*/ 3153 h 7025"/>
                <a:gd name="T64" fmla="*/ 40 w 7040"/>
                <a:gd name="T65" fmla="*/ 4047 h 7025"/>
                <a:gd name="T66" fmla="*/ 276 w 7040"/>
                <a:gd name="T67" fmla="*/ 4880 h 7025"/>
                <a:gd name="T68" fmla="*/ 699 w 7040"/>
                <a:gd name="T69" fmla="*/ 5614 h 7025"/>
                <a:gd name="T70" fmla="*/ 1280 w 7040"/>
                <a:gd name="T71" fmla="*/ 6222 h 7025"/>
                <a:gd name="T72" fmla="*/ 1993 w 7040"/>
                <a:gd name="T73" fmla="*/ 6678 h 7025"/>
                <a:gd name="T74" fmla="*/ 2810 w 7040"/>
                <a:gd name="T75" fmla="*/ 6953 h 7025"/>
                <a:gd name="T76" fmla="*/ 3702 w 7040"/>
                <a:gd name="T77" fmla="*/ 7020 h 7025"/>
                <a:gd name="T78" fmla="*/ 4567 w 7040"/>
                <a:gd name="T79" fmla="*/ 6867 h 7025"/>
                <a:gd name="T80" fmla="*/ 5345 w 7040"/>
                <a:gd name="T81" fmla="*/ 6517 h 7025"/>
                <a:gd name="T82" fmla="*/ 6009 w 7040"/>
                <a:gd name="T83" fmla="*/ 5996 h 7025"/>
                <a:gd name="T84" fmla="*/ 6531 w 7040"/>
                <a:gd name="T85" fmla="*/ 5333 h 7025"/>
                <a:gd name="T86" fmla="*/ 6882 w 7040"/>
                <a:gd name="T87" fmla="*/ 4556 h 7025"/>
                <a:gd name="T88" fmla="*/ 7036 w 7040"/>
                <a:gd name="T89" fmla="*/ 3693 h 7025"/>
                <a:gd name="T90" fmla="*/ 6969 w 7040"/>
                <a:gd name="T91" fmla="*/ 2805 h 7025"/>
                <a:gd name="T92" fmla="*/ 6693 w 7040"/>
                <a:gd name="T93" fmla="*/ 1990 h 7025"/>
                <a:gd name="T94" fmla="*/ 6237 w 7040"/>
                <a:gd name="T95" fmla="*/ 1278 h 7025"/>
                <a:gd name="T96" fmla="*/ 5626 w 7040"/>
                <a:gd name="T97" fmla="*/ 697 h 7025"/>
                <a:gd name="T98" fmla="*/ 4891 w 7040"/>
                <a:gd name="T99" fmla="*/ 276 h 7025"/>
                <a:gd name="T100" fmla="*/ 4056 w 7040"/>
                <a:gd name="T101" fmla="*/ 40 h 70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040" h="7025">
                  <a:moveTo>
                    <a:pt x="3520" y="6586"/>
                  </a:moveTo>
                  <a:lnTo>
                    <a:pt x="3362" y="6582"/>
                  </a:lnTo>
                  <a:lnTo>
                    <a:pt x="3205" y="6570"/>
                  </a:lnTo>
                  <a:lnTo>
                    <a:pt x="3051" y="6551"/>
                  </a:lnTo>
                  <a:lnTo>
                    <a:pt x="2899" y="6524"/>
                  </a:lnTo>
                  <a:lnTo>
                    <a:pt x="2750" y="6489"/>
                  </a:lnTo>
                  <a:lnTo>
                    <a:pt x="2604" y="6447"/>
                  </a:lnTo>
                  <a:lnTo>
                    <a:pt x="2460" y="6399"/>
                  </a:lnTo>
                  <a:lnTo>
                    <a:pt x="2320" y="6344"/>
                  </a:lnTo>
                  <a:lnTo>
                    <a:pt x="2185" y="6283"/>
                  </a:lnTo>
                  <a:lnTo>
                    <a:pt x="2052" y="6214"/>
                  </a:lnTo>
                  <a:lnTo>
                    <a:pt x="1922" y="6141"/>
                  </a:lnTo>
                  <a:lnTo>
                    <a:pt x="1797" y="6061"/>
                  </a:lnTo>
                  <a:lnTo>
                    <a:pt x="1677" y="5976"/>
                  </a:lnTo>
                  <a:lnTo>
                    <a:pt x="1560" y="5884"/>
                  </a:lnTo>
                  <a:lnTo>
                    <a:pt x="1448" y="5788"/>
                  </a:lnTo>
                  <a:lnTo>
                    <a:pt x="1342" y="5685"/>
                  </a:lnTo>
                  <a:lnTo>
                    <a:pt x="1240" y="5579"/>
                  </a:lnTo>
                  <a:lnTo>
                    <a:pt x="1142" y="5468"/>
                  </a:lnTo>
                  <a:lnTo>
                    <a:pt x="1051" y="5351"/>
                  </a:lnTo>
                  <a:lnTo>
                    <a:pt x="965" y="5231"/>
                  </a:lnTo>
                  <a:lnTo>
                    <a:pt x="885" y="5106"/>
                  </a:lnTo>
                  <a:lnTo>
                    <a:pt x="812" y="4977"/>
                  </a:lnTo>
                  <a:lnTo>
                    <a:pt x="743" y="4844"/>
                  </a:lnTo>
                  <a:lnTo>
                    <a:pt x="682" y="4709"/>
                  </a:lnTo>
                  <a:lnTo>
                    <a:pt x="626" y="4569"/>
                  </a:lnTo>
                  <a:lnTo>
                    <a:pt x="578" y="4426"/>
                  </a:lnTo>
                  <a:lnTo>
                    <a:pt x="536" y="4280"/>
                  </a:lnTo>
                  <a:lnTo>
                    <a:pt x="502" y="4132"/>
                  </a:lnTo>
                  <a:lnTo>
                    <a:pt x="475" y="3980"/>
                  </a:lnTo>
                  <a:lnTo>
                    <a:pt x="455" y="3827"/>
                  </a:lnTo>
                  <a:lnTo>
                    <a:pt x="443" y="3670"/>
                  </a:lnTo>
                  <a:lnTo>
                    <a:pt x="439" y="3513"/>
                  </a:lnTo>
                  <a:lnTo>
                    <a:pt x="443" y="3354"/>
                  </a:lnTo>
                  <a:lnTo>
                    <a:pt x="455" y="3198"/>
                  </a:lnTo>
                  <a:lnTo>
                    <a:pt x="475" y="3044"/>
                  </a:lnTo>
                  <a:lnTo>
                    <a:pt x="502" y="2893"/>
                  </a:lnTo>
                  <a:lnTo>
                    <a:pt x="536" y="2745"/>
                  </a:lnTo>
                  <a:lnTo>
                    <a:pt x="578" y="2598"/>
                  </a:lnTo>
                  <a:lnTo>
                    <a:pt x="626" y="2456"/>
                  </a:lnTo>
                  <a:lnTo>
                    <a:pt x="682" y="2316"/>
                  </a:lnTo>
                  <a:lnTo>
                    <a:pt x="743" y="2180"/>
                  </a:lnTo>
                  <a:lnTo>
                    <a:pt x="812" y="2047"/>
                  </a:lnTo>
                  <a:lnTo>
                    <a:pt x="885" y="1919"/>
                  </a:lnTo>
                  <a:lnTo>
                    <a:pt x="965" y="1794"/>
                  </a:lnTo>
                  <a:lnTo>
                    <a:pt x="1051" y="1674"/>
                  </a:lnTo>
                  <a:lnTo>
                    <a:pt x="1142" y="1557"/>
                  </a:lnTo>
                  <a:lnTo>
                    <a:pt x="1240" y="1446"/>
                  </a:lnTo>
                  <a:lnTo>
                    <a:pt x="1342" y="1340"/>
                  </a:lnTo>
                  <a:lnTo>
                    <a:pt x="1448" y="1237"/>
                  </a:lnTo>
                  <a:lnTo>
                    <a:pt x="1560" y="1141"/>
                  </a:lnTo>
                  <a:lnTo>
                    <a:pt x="1677" y="1049"/>
                  </a:lnTo>
                  <a:lnTo>
                    <a:pt x="1797" y="964"/>
                  </a:lnTo>
                  <a:lnTo>
                    <a:pt x="1922" y="884"/>
                  </a:lnTo>
                  <a:lnTo>
                    <a:pt x="2052" y="810"/>
                  </a:lnTo>
                  <a:lnTo>
                    <a:pt x="2185" y="742"/>
                  </a:lnTo>
                  <a:lnTo>
                    <a:pt x="2320" y="680"/>
                  </a:lnTo>
                  <a:lnTo>
                    <a:pt x="2460" y="625"/>
                  </a:lnTo>
                  <a:lnTo>
                    <a:pt x="2604" y="577"/>
                  </a:lnTo>
                  <a:lnTo>
                    <a:pt x="2750" y="536"/>
                  </a:lnTo>
                  <a:lnTo>
                    <a:pt x="2899" y="501"/>
                  </a:lnTo>
                  <a:lnTo>
                    <a:pt x="3051" y="474"/>
                  </a:lnTo>
                  <a:lnTo>
                    <a:pt x="3205" y="454"/>
                  </a:lnTo>
                  <a:lnTo>
                    <a:pt x="3362" y="443"/>
                  </a:lnTo>
                  <a:lnTo>
                    <a:pt x="3520" y="439"/>
                  </a:lnTo>
                  <a:lnTo>
                    <a:pt x="3678" y="443"/>
                  </a:lnTo>
                  <a:lnTo>
                    <a:pt x="3834" y="454"/>
                  </a:lnTo>
                  <a:lnTo>
                    <a:pt x="3989" y="474"/>
                  </a:lnTo>
                  <a:lnTo>
                    <a:pt x="4140" y="501"/>
                  </a:lnTo>
                  <a:lnTo>
                    <a:pt x="4289" y="536"/>
                  </a:lnTo>
                  <a:lnTo>
                    <a:pt x="4436" y="577"/>
                  </a:lnTo>
                  <a:lnTo>
                    <a:pt x="4579" y="625"/>
                  </a:lnTo>
                  <a:lnTo>
                    <a:pt x="4719" y="680"/>
                  </a:lnTo>
                  <a:lnTo>
                    <a:pt x="4855" y="742"/>
                  </a:lnTo>
                  <a:lnTo>
                    <a:pt x="4988" y="810"/>
                  </a:lnTo>
                  <a:lnTo>
                    <a:pt x="5117" y="884"/>
                  </a:lnTo>
                  <a:lnTo>
                    <a:pt x="5242" y="964"/>
                  </a:lnTo>
                  <a:lnTo>
                    <a:pt x="5362" y="1049"/>
                  </a:lnTo>
                  <a:lnTo>
                    <a:pt x="5479" y="1141"/>
                  </a:lnTo>
                  <a:lnTo>
                    <a:pt x="5591" y="1237"/>
                  </a:lnTo>
                  <a:lnTo>
                    <a:pt x="5698" y="1340"/>
                  </a:lnTo>
                  <a:lnTo>
                    <a:pt x="5800" y="1446"/>
                  </a:lnTo>
                  <a:lnTo>
                    <a:pt x="5897" y="1557"/>
                  </a:lnTo>
                  <a:lnTo>
                    <a:pt x="5988" y="1674"/>
                  </a:lnTo>
                  <a:lnTo>
                    <a:pt x="6075" y="1794"/>
                  </a:lnTo>
                  <a:lnTo>
                    <a:pt x="6154" y="1919"/>
                  </a:lnTo>
                  <a:lnTo>
                    <a:pt x="6228" y="2047"/>
                  </a:lnTo>
                  <a:lnTo>
                    <a:pt x="6297" y="2180"/>
                  </a:lnTo>
                  <a:lnTo>
                    <a:pt x="6358" y="2316"/>
                  </a:lnTo>
                  <a:lnTo>
                    <a:pt x="6414" y="2456"/>
                  </a:lnTo>
                  <a:lnTo>
                    <a:pt x="6462" y="2598"/>
                  </a:lnTo>
                  <a:lnTo>
                    <a:pt x="6503" y="2745"/>
                  </a:lnTo>
                  <a:lnTo>
                    <a:pt x="6538" y="2893"/>
                  </a:lnTo>
                  <a:lnTo>
                    <a:pt x="6565" y="3044"/>
                  </a:lnTo>
                  <a:lnTo>
                    <a:pt x="6585" y="3198"/>
                  </a:lnTo>
                  <a:lnTo>
                    <a:pt x="6597" y="3354"/>
                  </a:lnTo>
                  <a:lnTo>
                    <a:pt x="6601" y="3513"/>
                  </a:lnTo>
                  <a:lnTo>
                    <a:pt x="6597" y="3670"/>
                  </a:lnTo>
                  <a:lnTo>
                    <a:pt x="6585" y="3827"/>
                  </a:lnTo>
                  <a:lnTo>
                    <a:pt x="6565" y="3980"/>
                  </a:lnTo>
                  <a:lnTo>
                    <a:pt x="6538" y="4132"/>
                  </a:lnTo>
                  <a:lnTo>
                    <a:pt x="6503" y="4280"/>
                  </a:lnTo>
                  <a:lnTo>
                    <a:pt x="6462" y="4426"/>
                  </a:lnTo>
                  <a:lnTo>
                    <a:pt x="6414" y="4569"/>
                  </a:lnTo>
                  <a:lnTo>
                    <a:pt x="6358" y="4709"/>
                  </a:lnTo>
                  <a:lnTo>
                    <a:pt x="6297" y="4844"/>
                  </a:lnTo>
                  <a:lnTo>
                    <a:pt x="6228" y="4977"/>
                  </a:lnTo>
                  <a:lnTo>
                    <a:pt x="6154" y="5106"/>
                  </a:lnTo>
                  <a:lnTo>
                    <a:pt x="6075" y="5231"/>
                  </a:lnTo>
                  <a:lnTo>
                    <a:pt x="5988" y="5351"/>
                  </a:lnTo>
                  <a:lnTo>
                    <a:pt x="5897" y="5468"/>
                  </a:lnTo>
                  <a:lnTo>
                    <a:pt x="5800" y="5579"/>
                  </a:lnTo>
                  <a:lnTo>
                    <a:pt x="5698" y="5685"/>
                  </a:lnTo>
                  <a:lnTo>
                    <a:pt x="5591" y="5788"/>
                  </a:lnTo>
                  <a:lnTo>
                    <a:pt x="5479" y="5884"/>
                  </a:lnTo>
                  <a:lnTo>
                    <a:pt x="5362" y="5976"/>
                  </a:lnTo>
                  <a:lnTo>
                    <a:pt x="5242" y="6061"/>
                  </a:lnTo>
                  <a:lnTo>
                    <a:pt x="5117" y="6141"/>
                  </a:lnTo>
                  <a:lnTo>
                    <a:pt x="4988" y="6214"/>
                  </a:lnTo>
                  <a:lnTo>
                    <a:pt x="4855" y="6283"/>
                  </a:lnTo>
                  <a:lnTo>
                    <a:pt x="4719" y="6344"/>
                  </a:lnTo>
                  <a:lnTo>
                    <a:pt x="4579" y="6399"/>
                  </a:lnTo>
                  <a:lnTo>
                    <a:pt x="4436" y="6447"/>
                  </a:lnTo>
                  <a:lnTo>
                    <a:pt x="4289" y="6489"/>
                  </a:lnTo>
                  <a:lnTo>
                    <a:pt x="4140" y="6524"/>
                  </a:lnTo>
                  <a:lnTo>
                    <a:pt x="3989" y="6551"/>
                  </a:lnTo>
                  <a:lnTo>
                    <a:pt x="3834" y="6570"/>
                  </a:lnTo>
                  <a:lnTo>
                    <a:pt x="3678" y="6582"/>
                  </a:lnTo>
                  <a:lnTo>
                    <a:pt x="3520" y="6586"/>
                  </a:lnTo>
                  <a:close/>
                  <a:moveTo>
                    <a:pt x="3520" y="0"/>
                  </a:moveTo>
                  <a:lnTo>
                    <a:pt x="3338" y="5"/>
                  </a:lnTo>
                  <a:lnTo>
                    <a:pt x="3160" y="18"/>
                  </a:lnTo>
                  <a:lnTo>
                    <a:pt x="2984" y="40"/>
                  </a:lnTo>
                  <a:lnTo>
                    <a:pt x="2810" y="71"/>
                  </a:lnTo>
                  <a:lnTo>
                    <a:pt x="2640" y="110"/>
                  </a:lnTo>
                  <a:lnTo>
                    <a:pt x="2473" y="157"/>
                  </a:lnTo>
                  <a:lnTo>
                    <a:pt x="2309" y="213"/>
                  </a:lnTo>
                  <a:lnTo>
                    <a:pt x="2149" y="276"/>
                  </a:lnTo>
                  <a:lnTo>
                    <a:pt x="1993" y="346"/>
                  </a:lnTo>
                  <a:lnTo>
                    <a:pt x="1842" y="424"/>
                  </a:lnTo>
                  <a:lnTo>
                    <a:pt x="1695" y="508"/>
                  </a:lnTo>
                  <a:lnTo>
                    <a:pt x="1552" y="600"/>
                  </a:lnTo>
                  <a:lnTo>
                    <a:pt x="1414" y="697"/>
                  </a:lnTo>
                  <a:lnTo>
                    <a:pt x="1280" y="802"/>
                  </a:lnTo>
                  <a:lnTo>
                    <a:pt x="1153" y="912"/>
                  </a:lnTo>
                  <a:lnTo>
                    <a:pt x="1031" y="1028"/>
                  </a:lnTo>
                  <a:lnTo>
                    <a:pt x="914" y="1151"/>
                  </a:lnTo>
                  <a:lnTo>
                    <a:pt x="803" y="1278"/>
                  </a:lnTo>
                  <a:lnTo>
                    <a:pt x="699" y="1411"/>
                  </a:lnTo>
                  <a:lnTo>
                    <a:pt x="600" y="1548"/>
                  </a:lnTo>
                  <a:lnTo>
                    <a:pt x="509" y="1691"/>
                  </a:lnTo>
                  <a:lnTo>
                    <a:pt x="424" y="1838"/>
                  </a:lnTo>
                  <a:lnTo>
                    <a:pt x="347" y="1990"/>
                  </a:lnTo>
                  <a:lnTo>
                    <a:pt x="276" y="2145"/>
                  </a:lnTo>
                  <a:lnTo>
                    <a:pt x="213" y="2305"/>
                  </a:lnTo>
                  <a:lnTo>
                    <a:pt x="158" y="2468"/>
                  </a:lnTo>
                  <a:lnTo>
                    <a:pt x="110" y="2634"/>
                  </a:lnTo>
                  <a:lnTo>
                    <a:pt x="71" y="2805"/>
                  </a:lnTo>
                  <a:lnTo>
                    <a:pt x="40" y="2978"/>
                  </a:lnTo>
                  <a:lnTo>
                    <a:pt x="18" y="3153"/>
                  </a:lnTo>
                  <a:lnTo>
                    <a:pt x="4" y="3332"/>
                  </a:lnTo>
                  <a:lnTo>
                    <a:pt x="0" y="3513"/>
                  </a:lnTo>
                  <a:lnTo>
                    <a:pt x="4" y="3693"/>
                  </a:lnTo>
                  <a:lnTo>
                    <a:pt x="18" y="3872"/>
                  </a:lnTo>
                  <a:lnTo>
                    <a:pt x="40" y="4047"/>
                  </a:lnTo>
                  <a:lnTo>
                    <a:pt x="71" y="4220"/>
                  </a:lnTo>
                  <a:lnTo>
                    <a:pt x="110" y="4390"/>
                  </a:lnTo>
                  <a:lnTo>
                    <a:pt x="158" y="4556"/>
                  </a:lnTo>
                  <a:lnTo>
                    <a:pt x="213" y="4720"/>
                  </a:lnTo>
                  <a:lnTo>
                    <a:pt x="276" y="4880"/>
                  </a:lnTo>
                  <a:lnTo>
                    <a:pt x="347" y="5035"/>
                  </a:lnTo>
                  <a:lnTo>
                    <a:pt x="424" y="5187"/>
                  </a:lnTo>
                  <a:lnTo>
                    <a:pt x="509" y="5333"/>
                  </a:lnTo>
                  <a:lnTo>
                    <a:pt x="600" y="5476"/>
                  </a:lnTo>
                  <a:lnTo>
                    <a:pt x="699" y="5614"/>
                  </a:lnTo>
                  <a:lnTo>
                    <a:pt x="803" y="5747"/>
                  </a:lnTo>
                  <a:lnTo>
                    <a:pt x="914" y="5874"/>
                  </a:lnTo>
                  <a:lnTo>
                    <a:pt x="1031" y="5996"/>
                  </a:lnTo>
                  <a:lnTo>
                    <a:pt x="1153" y="6112"/>
                  </a:lnTo>
                  <a:lnTo>
                    <a:pt x="1280" y="6222"/>
                  </a:lnTo>
                  <a:lnTo>
                    <a:pt x="1414" y="6327"/>
                  </a:lnTo>
                  <a:lnTo>
                    <a:pt x="1552" y="6425"/>
                  </a:lnTo>
                  <a:lnTo>
                    <a:pt x="1695" y="6517"/>
                  </a:lnTo>
                  <a:lnTo>
                    <a:pt x="1842" y="6601"/>
                  </a:lnTo>
                  <a:lnTo>
                    <a:pt x="1993" y="6678"/>
                  </a:lnTo>
                  <a:lnTo>
                    <a:pt x="2149" y="6748"/>
                  </a:lnTo>
                  <a:lnTo>
                    <a:pt x="2309" y="6812"/>
                  </a:lnTo>
                  <a:lnTo>
                    <a:pt x="2473" y="6867"/>
                  </a:lnTo>
                  <a:lnTo>
                    <a:pt x="2640" y="6914"/>
                  </a:lnTo>
                  <a:lnTo>
                    <a:pt x="2810" y="6953"/>
                  </a:lnTo>
                  <a:lnTo>
                    <a:pt x="2984" y="6984"/>
                  </a:lnTo>
                  <a:lnTo>
                    <a:pt x="3160" y="7006"/>
                  </a:lnTo>
                  <a:lnTo>
                    <a:pt x="3338" y="7020"/>
                  </a:lnTo>
                  <a:lnTo>
                    <a:pt x="3520" y="7025"/>
                  </a:lnTo>
                  <a:lnTo>
                    <a:pt x="3702" y="7020"/>
                  </a:lnTo>
                  <a:lnTo>
                    <a:pt x="3880" y="7006"/>
                  </a:lnTo>
                  <a:lnTo>
                    <a:pt x="4056" y="6984"/>
                  </a:lnTo>
                  <a:lnTo>
                    <a:pt x="4230" y="6953"/>
                  </a:lnTo>
                  <a:lnTo>
                    <a:pt x="4400" y="6914"/>
                  </a:lnTo>
                  <a:lnTo>
                    <a:pt x="4567" y="6867"/>
                  </a:lnTo>
                  <a:lnTo>
                    <a:pt x="4731" y="6812"/>
                  </a:lnTo>
                  <a:lnTo>
                    <a:pt x="4891" y="6748"/>
                  </a:lnTo>
                  <a:lnTo>
                    <a:pt x="5047" y="6678"/>
                  </a:lnTo>
                  <a:lnTo>
                    <a:pt x="5197" y="6601"/>
                  </a:lnTo>
                  <a:lnTo>
                    <a:pt x="5345" y="6517"/>
                  </a:lnTo>
                  <a:lnTo>
                    <a:pt x="5488" y="6425"/>
                  </a:lnTo>
                  <a:lnTo>
                    <a:pt x="5626" y="6327"/>
                  </a:lnTo>
                  <a:lnTo>
                    <a:pt x="5759" y="6222"/>
                  </a:lnTo>
                  <a:lnTo>
                    <a:pt x="5886" y="6112"/>
                  </a:lnTo>
                  <a:lnTo>
                    <a:pt x="6009" y="5996"/>
                  </a:lnTo>
                  <a:lnTo>
                    <a:pt x="6126" y="5874"/>
                  </a:lnTo>
                  <a:lnTo>
                    <a:pt x="6237" y="5747"/>
                  </a:lnTo>
                  <a:lnTo>
                    <a:pt x="6341" y="5614"/>
                  </a:lnTo>
                  <a:lnTo>
                    <a:pt x="6439" y="5476"/>
                  </a:lnTo>
                  <a:lnTo>
                    <a:pt x="6531" y="5333"/>
                  </a:lnTo>
                  <a:lnTo>
                    <a:pt x="6616" y="5187"/>
                  </a:lnTo>
                  <a:lnTo>
                    <a:pt x="6693" y="5035"/>
                  </a:lnTo>
                  <a:lnTo>
                    <a:pt x="6764" y="4880"/>
                  </a:lnTo>
                  <a:lnTo>
                    <a:pt x="6827" y="4720"/>
                  </a:lnTo>
                  <a:lnTo>
                    <a:pt x="6882" y="4556"/>
                  </a:lnTo>
                  <a:lnTo>
                    <a:pt x="6930" y="4390"/>
                  </a:lnTo>
                  <a:lnTo>
                    <a:pt x="6969" y="4220"/>
                  </a:lnTo>
                  <a:lnTo>
                    <a:pt x="7000" y="4047"/>
                  </a:lnTo>
                  <a:lnTo>
                    <a:pt x="7022" y="3872"/>
                  </a:lnTo>
                  <a:lnTo>
                    <a:pt x="7036" y="3693"/>
                  </a:lnTo>
                  <a:lnTo>
                    <a:pt x="7040" y="3513"/>
                  </a:lnTo>
                  <a:lnTo>
                    <a:pt x="7036" y="3332"/>
                  </a:lnTo>
                  <a:lnTo>
                    <a:pt x="7022" y="3153"/>
                  </a:lnTo>
                  <a:lnTo>
                    <a:pt x="7000" y="2978"/>
                  </a:lnTo>
                  <a:lnTo>
                    <a:pt x="6969" y="2805"/>
                  </a:lnTo>
                  <a:lnTo>
                    <a:pt x="6930" y="2634"/>
                  </a:lnTo>
                  <a:lnTo>
                    <a:pt x="6882" y="2468"/>
                  </a:lnTo>
                  <a:lnTo>
                    <a:pt x="6827" y="2305"/>
                  </a:lnTo>
                  <a:lnTo>
                    <a:pt x="6764" y="2145"/>
                  </a:lnTo>
                  <a:lnTo>
                    <a:pt x="6693" y="1990"/>
                  </a:lnTo>
                  <a:lnTo>
                    <a:pt x="6616" y="1838"/>
                  </a:lnTo>
                  <a:lnTo>
                    <a:pt x="6531" y="1691"/>
                  </a:lnTo>
                  <a:lnTo>
                    <a:pt x="6439" y="1548"/>
                  </a:lnTo>
                  <a:lnTo>
                    <a:pt x="6341" y="1411"/>
                  </a:lnTo>
                  <a:lnTo>
                    <a:pt x="6237" y="1278"/>
                  </a:lnTo>
                  <a:lnTo>
                    <a:pt x="6126" y="1151"/>
                  </a:lnTo>
                  <a:lnTo>
                    <a:pt x="6009" y="1028"/>
                  </a:lnTo>
                  <a:lnTo>
                    <a:pt x="5886" y="912"/>
                  </a:lnTo>
                  <a:lnTo>
                    <a:pt x="5759" y="802"/>
                  </a:lnTo>
                  <a:lnTo>
                    <a:pt x="5626" y="697"/>
                  </a:lnTo>
                  <a:lnTo>
                    <a:pt x="5488" y="600"/>
                  </a:lnTo>
                  <a:lnTo>
                    <a:pt x="5345" y="508"/>
                  </a:lnTo>
                  <a:lnTo>
                    <a:pt x="5197" y="424"/>
                  </a:lnTo>
                  <a:lnTo>
                    <a:pt x="5047" y="346"/>
                  </a:lnTo>
                  <a:lnTo>
                    <a:pt x="4891" y="276"/>
                  </a:lnTo>
                  <a:lnTo>
                    <a:pt x="4731" y="213"/>
                  </a:lnTo>
                  <a:lnTo>
                    <a:pt x="4567" y="157"/>
                  </a:lnTo>
                  <a:lnTo>
                    <a:pt x="4400" y="110"/>
                  </a:lnTo>
                  <a:lnTo>
                    <a:pt x="4230" y="71"/>
                  </a:lnTo>
                  <a:lnTo>
                    <a:pt x="4056" y="40"/>
                  </a:lnTo>
                  <a:lnTo>
                    <a:pt x="3880" y="18"/>
                  </a:lnTo>
                  <a:lnTo>
                    <a:pt x="3702" y="5"/>
                  </a:lnTo>
                  <a:lnTo>
                    <a:pt x="35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50" name="iṩlîḓê">
              <a:extLst>
                <a:ext uri="{FF2B5EF4-FFF2-40B4-BE49-F238E27FC236}">
                  <a16:creationId xmlns:a16="http://schemas.microsoft.com/office/drawing/2014/main" id="{A23CA2C1-3B1D-48E7-A5E8-45B8210EEB74}"/>
                </a:ext>
              </a:extLst>
            </p:cNvPr>
            <p:cNvSpPr/>
            <p:nvPr/>
          </p:nvSpPr>
          <p:spPr bwMode="auto">
            <a:xfrm>
              <a:off x="1216853" y="1192615"/>
              <a:ext cx="67948" cy="67325"/>
            </a:xfrm>
            <a:custGeom>
              <a:avLst/>
              <a:gdLst>
                <a:gd name="T0" fmla="*/ 1708 w 4023"/>
                <a:gd name="T1" fmla="*/ 3482 h 4015"/>
                <a:gd name="T2" fmla="*/ 1358 w 4023"/>
                <a:gd name="T3" fmla="*/ 3364 h 4015"/>
                <a:gd name="T4" fmla="*/ 1052 w 4023"/>
                <a:gd name="T5" fmla="*/ 3169 h 4015"/>
                <a:gd name="T6" fmla="*/ 803 w 4023"/>
                <a:gd name="T7" fmla="*/ 2908 h 4015"/>
                <a:gd name="T8" fmla="*/ 621 w 4023"/>
                <a:gd name="T9" fmla="*/ 2593 h 4015"/>
                <a:gd name="T10" fmla="*/ 521 w 4023"/>
                <a:gd name="T11" fmla="*/ 2236 h 4015"/>
                <a:gd name="T12" fmla="*/ 511 w 4023"/>
                <a:gd name="T13" fmla="*/ 1853 h 4015"/>
                <a:gd name="T14" fmla="*/ 595 w 4023"/>
                <a:gd name="T15" fmla="*/ 1490 h 4015"/>
                <a:gd name="T16" fmla="*/ 761 w 4023"/>
                <a:gd name="T17" fmla="*/ 1165 h 4015"/>
                <a:gd name="T18" fmla="*/ 998 w 4023"/>
                <a:gd name="T19" fmla="*/ 893 h 4015"/>
                <a:gd name="T20" fmla="*/ 1293 w 4023"/>
                <a:gd name="T21" fmla="*/ 684 h 4015"/>
                <a:gd name="T22" fmla="*/ 1635 w 4023"/>
                <a:gd name="T23" fmla="*/ 549 h 4015"/>
                <a:gd name="T24" fmla="*/ 2012 w 4023"/>
                <a:gd name="T25" fmla="*/ 502 h 4015"/>
                <a:gd name="T26" fmla="*/ 2389 w 4023"/>
                <a:gd name="T27" fmla="*/ 549 h 4015"/>
                <a:gd name="T28" fmla="*/ 2731 w 4023"/>
                <a:gd name="T29" fmla="*/ 684 h 4015"/>
                <a:gd name="T30" fmla="*/ 3026 w 4023"/>
                <a:gd name="T31" fmla="*/ 893 h 4015"/>
                <a:gd name="T32" fmla="*/ 3263 w 4023"/>
                <a:gd name="T33" fmla="*/ 1165 h 4015"/>
                <a:gd name="T34" fmla="*/ 3429 w 4023"/>
                <a:gd name="T35" fmla="*/ 1490 h 4015"/>
                <a:gd name="T36" fmla="*/ 3513 w 4023"/>
                <a:gd name="T37" fmla="*/ 1853 h 4015"/>
                <a:gd name="T38" fmla="*/ 3503 w 4023"/>
                <a:gd name="T39" fmla="*/ 2236 h 4015"/>
                <a:gd name="T40" fmla="*/ 3402 w 4023"/>
                <a:gd name="T41" fmla="*/ 2593 h 4015"/>
                <a:gd name="T42" fmla="*/ 3221 w 4023"/>
                <a:gd name="T43" fmla="*/ 2908 h 4015"/>
                <a:gd name="T44" fmla="*/ 2971 w 4023"/>
                <a:gd name="T45" fmla="*/ 3169 h 4015"/>
                <a:gd name="T46" fmla="*/ 2665 w 4023"/>
                <a:gd name="T47" fmla="*/ 3364 h 4015"/>
                <a:gd name="T48" fmla="*/ 2316 w 4023"/>
                <a:gd name="T49" fmla="*/ 3482 h 4015"/>
                <a:gd name="T50" fmla="*/ 2012 w 4023"/>
                <a:gd name="T51" fmla="*/ 0 h 4015"/>
                <a:gd name="T52" fmla="*/ 1509 w 4023"/>
                <a:gd name="T53" fmla="*/ 63 h 4015"/>
                <a:gd name="T54" fmla="*/ 1053 w 4023"/>
                <a:gd name="T55" fmla="*/ 242 h 4015"/>
                <a:gd name="T56" fmla="*/ 659 w 4023"/>
                <a:gd name="T57" fmla="*/ 521 h 4015"/>
                <a:gd name="T58" fmla="*/ 344 w 4023"/>
                <a:gd name="T59" fmla="*/ 884 h 4015"/>
                <a:gd name="T60" fmla="*/ 122 w 4023"/>
                <a:gd name="T61" fmla="*/ 1317 h 4015"/>
                <a:gd name="T62" fmla="*/ 11 w 4023"/>
                <a:gd name="T63" fmla="*/ 1802 h 4015"/>
                <a:gd name="T64" fmla="*/ 23 w 4023"/>
                <a:gd name="T65" fmla="*/ 2313 h 4015"/>
                <a:gd name="T66" fmla="*/ 159 w 4023"/>
                <a:gd name="T67" fmla="*/ 2788 h 4015"/>
                <a:gd name="T68" fmla="*/ 399 w 4023"/>
                <a:gd name="T69" fmla="*/ 3209 h 4015"/>
                <a:gd name="T70" fmla="*/ 732 w 4023"/>
                <a:gd name="T71" fmla="*/ 3556 h 4015"/>
                <a:gd name="T72" fmla="*/ 1139 w 4023"/>
                <a:gd name="T73" fmla="*/ 3817 h 4015"/>
                <a:gd name="T74" fmla="*/ 1606 w 4023"/>
                <a:gd name="T75" fmla="*/ 3974 h 4015"/>
                <a:gd name="T76" fmla="*/ 2115 w 4023"/>
                <a:gd name="T77" fmla="*/ 4012 h 4015"/>
                <a:gd name="T78" fmla="*/ 2610 w 4023"/>
                <a:gd name="T79" fmla="*/ 3925 h 4015"/>
                <a:gd name="T80" fmla="*/ 3055 w 4023"/>
                <a:gd name="T81" fmla="*/ 3724 h 4015"/>
                <a:gd name="T82" fmla="*/ 3435 w 4023"/>
                <a:gd name="T83" fmla="*/ 3427 h 4015"/>
                <a:gd name="T84" fmla="*/ 3733 w 4023"/>
                <a:gd name="T85" fmla="*/ 3048 h 4015"/>
                <a:gd name="T86" fmla="*/ 3933 w 4023"/>
                <a:gd name="T87" fmla="*/ 2605 h 4015"/>
                <a:gd name="T88" fmla="*/ 4021 w 4023"/>
                <a:gd name="T89" fmla="*/ 2111 h 4015"/>
                <a:gd name="T90" fmla="*/ 3983 w 4023"/>
                <a:gd name="T91" fmla="*/ 1603 h 4015"/>
                <a:gd name="T92" fmla="*/ 3825 w 4023"/>
                <a:gd name="T93" fmla="*/ 1137 h 4015"/>
                <a:gd name="T94" fmla="*/ 3565 w 4023"/>
                <a:gd name="T95" fmla="*/ 731 h 4015"/>
                <a:gd name="T96" fmla="*/ 3216 w 4023"/>
                <a:gd name="T97" fmla="*/ 399 h 4015"/>
                <a:gd name="T98" fmla="*/ 2795 w 4023"/>
                <a:gd name="T99" fmla="*/ 158 h 4015"/>
                <a:gd name="T100" fmla="*/ 2318 w 4023"/>
                <a:gd name="T101" fmla="*/ 23 h 40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023" h="4015">
                  <a:moveTo>
                    <a:pt x="2012" y="3513"/>
                  </a:moveTo>
                  <a:lnTo>
                    <a:pt x="1934" y="3511"/>
                  </a:lnTo>
                  <a:lnTo>
                    <a:pt x="1858" y="3505"/>
                  </a:lnTo>
                  <a:lnTo>
                    <a:pt x="1782" y="3495"/>
                  </a:lnTo>
                  <a:lnTo>
                    <a:pt x="1708" y="3482"/>
                  </a:lnTo>
                  <a:lnTo>
                    <a:pt x="1635" y="3465"/>
                  </a:lnTo>
                  <a:lnTo>
                    <a:pt x="1564" y="3445"/>
                  </a:lnTo>
                  <a:lnTo>
                    <a:pt x="1493" y="3422"/>
                  </a:lnTo>
                  <a:lnTo>
                    <a:pt x="1425" y="3395"/>
                  </a:lnTo>
                  <a:lnTo>
                    <a:pt x="1358" y="3364"/>
                  </a:lnTo>
                  <a:lnTo>
                    <a:pt x="1293" y="3331"/>
                  </a:lnTo>
                  <a:lnTo>
                    <a:pt x="1230" y="3294"/>
                  </a:lnTo>
                  <a:lnTo>
                    <a:pt x="1169" y="3255"/>
                  </a:lnTo>
                  <a:lnTo>
                    <a:pt x="1109" y="3213"/>
                  </a:lnTo>
                  <a:lnTo>
                    <a:pt x="1052" y="3169"/>
                  </a:lnTo>
                  <a:lnTo>
                    <a:pt x="998" y="3122"/>
                  </a:lnTo>
                  <a:lnTo>
                    <a:pt x="945" y="3071"/>
                  </a:lnTo>
                  <a:lnTo>
                    <a:pt x="895" y="3019"/>
                  </a:lnTo>
                  <a:lnTo>
                    <a:pt x="848" y="2965"/>
                  </a:lnTo>
                  <a:lnTo>
                    <a:pt x="803" y="2908"/>
                  </a:lnTo>
                  <a:lnTo>
                    <a:pt x="761" y="2849"/>
                  </a:lnTo>
                  <a:lnTo>
                    <a:pt x="722" y="2787"/>
                  </a:lnTo>
                  <a:lnTo>
                    <a:pt x="686" y="2725"/>
                  </a:lnTo>
                  <a:lnTo>
                    <a:pt x="651" y="2660"/>
                  </a:lnTo>
                  <a:lnTo>
                    <a:pt x="621" y="2593"/>
                  </a:lnTo>
                  <a:lnTo>
                    <a:pt x="595" y="2524"/>
                  </a:lnTo>
                  <a:lnTo>
                    <a:pt x="571" y="2455"/>
                  </a:lnTo>
                  <a:lnTo>
                    <a:pt x="551" y="2383"/>
                  </a:lnTo>
                  <a:lnTo>
                    <a:pt x="534" y="2311"/>
                  </a:lnTo>
                  <a:lnTo>
                    <a:pt x="521" y="2236"/>
                  </a:lnTo>
                  <a:lnTo>
                    <a:pt x="511" y="2161"/>
                  </a:lnTo>
                  <a:lnTo>
                    <a:pt x="505" y="2085"/>
                  </a:lnTo>
                  <a:lnTo>
                    <a:pt x="504" y="2008"/>
                  </a:lnTo>
                  <a:lnTo>
                    <a:pt x="505" y="1930"/>
                  </a:lnTo>
                  <a:lnTo>
                    <a:pt x="511" y="1853"/>
                  </a:lnTo>
                  <a:lnTo>
                    <a:pt x="521" y="1778"/>
                  </a:lnTo>
                  <a:lnTo>
                    <a:pt x="534" y="1704"/>
                  </a:lnTo>
                  <a:lnTo>
                    <a:pt x="551" y="1631"/>
                  </a:lnTo>
                  <a:lnTo>
                    <a:pt x="571" y="1560"/>
                  </a:lnTo>
                  <a:lnTo>
                    <a:pt x="595" y="1490"/>
                  </a:lnTo>
                  <a:lnTo>
                    <a:pt x="621" y="1421"/>
                  </a:lnTo>
                  <a:lnTo>
                    <a:pt x="651" y="1355"/>
                  </a:lnTo>
                  <a:lnTo>
                    <a:pt x="686" y="1290"/>
                  </a:lnTo>
                  <a:lnTo>
                    <a:pt x="722" y="1227"/>
                  </a:lnTo>
                  <a:lnTo>
                    <a:pt x="761" y="1165"/>
                  </a:lnTo>
                  <a:lnTo>
                    <a:pt x="803" y="1107"/>
                  </a:lnTo>
                  <a:lnTo>
                    <a:pt x="848" y="1050"/>
                  </a:lnTo>
                  <a:lnTo>
                    <a:pt x="895" y="995"/>
                  </a:lnTo>
                  <a:lnTo>
                    <a:pt x="945" y="943"/>
                  </a:lnTo>
                  <a:lnTo>
                    <a:pt x="998" y="893"/>
                  </a:lnTo>
                  <a:lnTo>
                    <a:pt x="1052" y="845"/>
                  </a:lnTo>
                  <a:lnTo>
                    <a:pt x="1109" y="801"/>
                  </a:lnTo>
                  <a:lnTo>
                    <a:pt x="1169" y="759"/>
                  </a:lnTo>
                  <a:lnTo>
                    <a:pt x="1230" y="720"/>
                  </a:lnTo>
                  <a:lnTo>
                    <a:pt x="1293" y="684"/>
                  </a:lnTo>
                  <a:lnTo>
                    <a:pt x="1358" y="651"/>
                  </a:lnTo>
                  <a:lnTo>
                    <a:pt x="1425" y="620"/>
                  </a:lnTo>
                  <a:lnTo>
                    <a:pt x="1493" y="593"/>
                  </a:lnTo>
                  <a:lnTo>
                    <a:pt x="1564" y="569"/>
                  </a:lnTo>
                  <a:lnTo>
                    <a:pt x="1635" y="549"/>
                  </a:lnTo>
                  <a:lnTo>
                    <a:pt x="1708" y="532"/>
                  </a:lnTo>
                  <a:lnTo>
                    <a:pt x="1782" y="519"/>
                  </a:lnTo>
                  <a:lnTo>
                    <a:pt x="1858" y="510"/>
                  </a:lnTo>
                  <a:lnTo>
                    <a:pt x="1934" y="504"/>
                  </a:lnTo>
                  <a:lnTo>
                    <a:pt x="2012" y="502"/>
                  </a:lnTo>
                  <a:lnTo>
                    <a:pt x="2090" y="504"/>
                  </a:lnTo>
                  <a:lnTo>
                    <a:pt x="2166" y="510"/>
                  </a:lnTo>
                  <a:lnTo>
                    <a:pt x="2242" y="519"/>
                  </a:lnTo>
                  <a:lnTo>
                    <a:pt x="2316" y="532"/>
                  </a:lnTo>
                  <a:lnTo>
                    <a:pt x="2389" y="549"/>
                  </a:lnTo>
                  <a:lnTo>
                    <a:pt x="2460" y="569"/>
                  </a:lnTo>
                  <a:lnTo>
                    <a:pt x="2531" y="593"/>
                  </a:lnTo>
                  <a:lnTo>
                    <a:pt x="2599" y="620"/>
                  </a:lnTo>
                  <a:lnTo>
                    <a:pt x="2665" y="651"/>
                  </a:lnTo>
                  <a:lnTo>
                    <a:pt x="2731" y="684"/>
                  </a:lnTo>
                  <a:lnTo>
                    <a:pt x="2794" y="720"/>
                  </a:lnTo>
                  <a:lnTo>
                    <a:pt x="2855" y="759"/>
                  </a:lnTo>
                  <a:lnTo>
                    <a:pt x="2915" y="801"/>
                  </a:lnTo>
                  <a:lnTo>
                    <a:pt x="2971" y="845"/>
                  </a:lnTo>
                  <a:lnTo>
                    <a:pt x="3026" y="893"/>
                  </a:lnTo>
                  <a:lnTo>
                    <a:pt x="3079" y="943"/>
                  </a:lnTo>
                  <a:lnTo>
                    <a:pt x="3129" y="995"/>
                  </a:lnTo>
                  <a:lnTo>
                    <a:pt x="3176" y="1050"/>
                  </a:lnTo>
                  <a:lnTo>
                    <a:pt x="3221" y="1107"/>
                  </a:lnTo>
                  <a:lnTo>
                    <a:pt x="3263" y="1165"/>
                  </a:lnTo>
                  <a:lnTo>
                    <a:pt x="3302" y="1227"/>
                  </a:lnTo>
                  <a:lnTo>
                    <a:pt x="3338" y="1290"/>
                  </a:lnTo>
                  <a:lnTo>
                    <a:pt x="3372" y="1355"/>
                  </a:lnTo>
                  <a:lnTo>
                    <a:pt x="3402" y="1421"/>
                  </a:lnTo>
                  <a:lnTo>
                    <a:pt x="3429" y="1490"/>
                  </a:lnTo>
                  <a:lnTo>
                    <a:pt x="3453" y="1560"/>
                  </a:lnTo>
                  <a:lnTo>
                    <a:pt x="3473" y="1631"/>
                  </a:lnTo>
                  <a:lnTo>
                    <a:pt x="3490" y="1704"/>
                  </a:lnTo>
                  <a:lnTo>
                    <a:pt x="3503" y="1778"/>
                  </a:lnTo>
                  <a:lnTo>
                    <a:pt x="3513" y="1853"/>
                  </a:lnTo>
                  <a:lnTo>
                    <a:pt x="3518" y="1930"/>
                  </a:lnTo>
                  <a:lnTo>
                    <a:pt x="3520" y="2008"/>
                  </a:lnTo>
                  <a:lnTo>
                    <a:pt x="3518" y="2085"/>
                  </a:lnTo>
                  <a:lnTo>
                    <a:pt x="3513" y="2161"/>
                  </a:lnTo>
                  <a:lnTo>
                    <a:pt x="3503" y="2236"/>
                  </a:lnTo>
                  <a:lnTo>
                    <a:pt x="3490" y="2311"/>
                  </a:lnTo>
                  <a:lnTo>
                    <a:pt x="3473" y="2383"/>
                  </a:lnTo>
                  <a:lnTo>
                    <a:pt x="3453" y="2455"/>
                  </a:lnTo>
                  <a:lnTo>
                    <a:pt x="3429" y="2524"/>
                  </a:lnTo>
                  <a:lnTo>
                    <a:pt x="3402" y="2593"/>
                  </a:lnTo>
                  <a:lnTo>
                    <a:pt x="3372" y="2660"/>
                  </a:lnTo>
                  <a:lnTo>
                    <a:pt x="3338" y="2725"/>
                  </a:lnTo>
                  <a:lnTo>
                    <a:pt x="3302" y="2787"/>
                  </a:lnTo>
                  <a:lnTo>
                    <a:pt x="3263" y="2849"/>
                  </a:lnTo>
                  <a:lnTo>
                    <a:pt x="3221" y="2908"/>
                  </a:lnTo>
                  <a:lnTo>
                    <a:pt x="3176" y="2965"/>
                  </a:lnTo>
                  <a:lnTo>
                    <a:pt x="3129" y="3019"/>
                  </a:lnTo>
                  <a:lnTo>
                    <a:pt x="3079" y="3071"/>
                  </a:lnTo>
                  <a:lnTo>
                    <a:pt x="3026" y="3122"/>
                  </a:lnTo>
                  <a:lnTo>
                    <a:pt x="2971" y="3169"/>
                  </a:lnTo>
                  <a:lnTo>
                    <a:pt x="2915" y="3213"/>
                  </a:lnTo>
                  <a:lnTo>
                    <a:pt x="2855" y="3255"/>
                  </a:lnTo>
                  <a:lnTo>
                    <a:pt x="2794" y="3294"/>
                  </a:lnTo>
                  <a:lnTo>
                    <a:pt x="2731" y="3331"/>
                  </a:lnTo>
                  <a:lnTo>
                    <a:pt x="2665" y="3364"/>
                  </a:lnTo>
                  <a:lnTo>
                    <a:pt x="2599" y="3395"/>
                  </a:lnTo>
                  <a:lnTo>
                    <a:pt x="2531" y="3422"/>
                  </a:lnTo>
                  <a:lnTo>
                    <a:pt x="2460" y="3445"/>
                  </a:lnTo>
                  <a:lnTo>
                    <a:pt x="2389" y="3465"/>
                  </a:lnTo>
                  <a:lnTo>
                    <a:pt x="2316" y="3482"/>
                  </a:lnTo>
                  <a:lnTo>
                    <a:pt x="2242" y="3495"/>
                  </a:lnTo>
                  <a:lnTo>
                    <a:pt x="2166" y="3505"/>
                  </a:lnTo>
                  <a:lnTo>
                    <a:pt x="2090" y="3511"/>
                  </a:lnTo>
                  <a:lnTo>
                    <a:pt x="2012" y="3513"/>
                  </a:lnTo>
                  <a:close/>
                  <a:moveTo>
                    <a:pt x="2012" y="0"/>
                  </a:moveTo>
                  <a:lnTo>
                    <a:pt x="1908" y="3"/>
                  </a:lnTo>
                  <a:lnTo>
                    <a:pt x="1806" y="10"/>
                  </a:lnTo>
                  <a:lnTo>
                    <a:pt x="1706" y="23"/>
                  </a:lnTo>
                  <a:lnTo>
                    <a:pt x="1606" y="41"/>
                  </a:lnTo>
                  <a:lnTo>
                    <a:pt x="1509" y="63"/>
                  </a:lnTo>
                  <a:lnTo>
                    <a:pt x="1413" y="90"/>
                  </a:lnTo>
                  <a:lnTo>
                    <a:pt x="1319" y="122"/>
                  </a:lnTo>
                  <a:lnTo>
                    <a:pt x="1229" y="158"/>
                  </a:lnTo>
                  <a:lnTo>
                    <a:pt x="1139" y="198"/>
                  </a:lnTo>
                  <a:lnTo>
                    <a:pt x="1053" y="242"/>
                  </a:lnTo>
                  <a:lnTo>
                    <a:pt x="968" y="290"/>
                  </a:lnTo>
                  <a:lnTo>
                    <a:pt x="887" y="342"/>
                  </a:lnTo>
                  <a:lnTo>
                    <a:pt x="807" y="399"/>
                  </a:lnTo>
                  <a:lnTo>
                    <a:pt x="732" y="458"/>
                  </a:lnTo>
                  <a:lnTo>
                    <a:pt x="659" y="521"/>
                  </a:lnTo>
                  <a:lnTo>
                    <a:pt x="589" y="587"/>
                  </a:lnTo>
                  <a:lnTo>
                    <a:pt x="523" y="658"/>
                  </a:lnTo>
                  <a:lnTo>
                    <a:pt x="459" y="731"/>
                  </a:lnTo>
                  <a:lnTo>
                    <a:pt x="399" y="806"/>
                  </a:lnTo>
                  <a:lnTo>
                    <a:pt x="344" y="884"/>
                  </a:lnTo>
                  <a:lnTo>
                    <a:pt x="291" y="967"/>
                  </a:lnTo>
                  <a:lnTo>
                    <a:pt x="243" y="1050"/>
                  </a:lnTo>
                  <a:lnTo>
                    <a:pt x="198" y="1137"/>
                  </a:lnTo>
                  <a:lnTo>
                    <a:pt x="159" y="1226"/>
                  </a:lnTo>
                  <a:lnTo>
                    <a:pt x="122" y="1317"/>
                  </a:lnTo>
                  <a:lnTo>
                    <a:pt x="90" y="1410"/>
                  </a:lnTo>
                  <a:lnTo>
                    <a:pt x="63" y="1506"/>
                  </a:lnTo>
                  <a:lnTo>
                    <a:pt x="41" y="1603"/>
                  </a:lnTo>
                  <a:lnTo>
                    <a:pt x="23" y="1701"/>
                  </a:lnTo>
                  <a:lnTo>
                    <a:pt x="11" y="1802"/>
                  </a:lnTo>
                  <a:lnTo>
                    <a:pt x="3" y="1904"/>
                  </a:lnTo>
                  <a:lnTo>
                    <a:pt x="0" y="2008"/>
                  </a:lnTo>
                  <a:lnTo>
                    <a:pt x="3" y="2111"/>
                  </a:lnTo>
                  <a:lnTo>
                    <a:pt x="11" y="2212"/>
                  </a:lnTo>
                  <a:lnTo>
                    <a:pt x="23" y="2313"/>
                  </a:lnTo>
                  <a:lnTo>
                    <a:pt x="41" y="2412"/>
                  </a:lnTo>
                  <a:lnTo>
                    <a:pt x="63" y="2509"/>
                  </a:lnTo>
                  <a:lnTo>
                    <a:pt x="90" y="2605"/>
                  </a:lnTo>
                  <a:lnTo>
                    <a:pt x="122" y="2698"/>
                  </a:lnTo>
                  <a:lnTo>
                    <a:pt x="159" y="2788"/>
                  </a:lnTo>
                  <a:lnTo>
                    <a:pt x="198" y="2878"/>
                  </a:lnTo>
                  <a:lnTo>
                    <a:pt x="243" y="2964"/>
                  </a:lnTo>
                  <a:lnTo>
                    <a:pt x="291" y="3048"/>
                  </a:lnTo>
                  <a:lnTo>
                    <a:pt x="344" y="3130"/>
                  </a:lnTo>
                  <a:lnTo>
                    <a:pt x="399" y="3209"/>
                  </a:lnTo>
                  <a:lnTo>
                    <a:pt x="459" y="3284"/>
                  </a:lnTo>
                  <a:lnTo>
                    <a:pt x="523" y="3357"/>
                  </a:lnTo>
                  <a:lnTo>
                    <a:pt x="589" y="3427"/>
                  </a:lnTo>
                  <a:lnTo>
                    <a:pt x="659" y="3493"/>
                  </a:lnTo>
                  <a:lnTo>
                    <a:pt x="732" y="3556"/>
                  </a:lnTo>
                  <a:lnTo>
                    <a:pt x="807" y="3616"/>
                  </a:lnTo>
                  <a:lnTo>
                    <a:pt x="887" y="3672"/>
                  </a:lnTo>
                  <a:lnTo>
                    <a:pt x="968" y="3724"/>
                  </a:lnTo>
                  <a:lnTo>
                    <a:pt x="1053" y="3772"/>
                  </a:lnTo>
                  <a:lnTo>
                    <a:pt x="1139" y="3817"/>
                  </a:lnTo>
                  <a:lnTo>
                    <a:pt x="1229" y="3857"/>
                  </a:lnTo>
                  <a:lnTo>
                    <a:pt x="1319" y="3892"/>
                  </a:lnTo>
                  <a:lnTo>
                    <a:pt x="1413" y="3925"/>
                  </a:lnTo>
                  <a:lnTo>
                    <a:pt x="1509" y="3952"/>
                  </a:lnTo>
                  <a:lnTo>
                    <a:pt x="1606" y="3974"/>
                  </a:lnTo>
                  <a:lnTo>
                    <a:pt x="1706" y="3992"/>
                  </a:lnTo>
                  <a:lnTo>
                    <a:pt x="1806" y="4004"/>
                  </a:lnTo>
                  <a:lnTo>
                    <a:pt x="1908" y="4012"/>
                  </a:lnTo>
                  <a:lnTo>
                    <a:pt x="2012" y="4015"/>
                  </a:lnTo>
                  <a:lnTo>
                    <a:pt x="2115" y="4012"/>
                  </a:lnTo>
                  <a:lnTo>
                    <a:pt x="2218" y="4004"/>
                  </a:lnTo>
                  <a:lnTo>
                    <a:pt x="2318" y="3992"/>
                  </a:lnTo>
                  <a:lnTo>
                    <a:pt x="2417" y="3974"/>
                  </a:lnTo>
                  <a:lnTo>
                    <a:pt x="2514" y="3952"/>
                  </a:lnTo>
                  <a:lnTo>
                    <a:pt x="2610" y="3925"/>
                  </a:lnTo>
                  <a:lnTo>
                    <a:pt x="2704" y="3892"/>
                  </a:lnTo>
                  <a:lnTo>
                    <a:pt x="2795" y="3857"/>
                  </a:lnTo>
                  <a:lnTo>
                    <a:pt x="2884" y="3817"/>
                  </a:lnTo>
                  <a:lnTo>
                    <a:pt x="2971" y="3772"/>
                  </a:lnTo>
                  <a:lnTo>
                    <a:pt x="3055" y="3724"/>
                  </a:lnTo>
                  <a:lnTo>
                    <a:pt x="3137" y="3672"/>
                  </a:lnTo>
                  <a:lnTo>
                    <a:pt x="3216" y="3616"/>
                  </a:lnTo>
                  <a:lnTo>
                    <a:pt x="3292" y="3556"/>
                  </a:lnTo>
                  <a:lnTo>
                    <a:pt x="3364" y="3493"/>
                  </a:lnTo>
                  <a:lnTo>
                    <a:pt x="3435" y="3427"/>
                  </a:lnTo>
                  <a:lnTo>
                    <a:pt x="3501" y="3357"/>
                  </a:lnTo>
                  <a:lnTo>
                    <a:pt x="3565" y="3284"/>
                  </a:lnTo>
                  <a:lnTo>
                    <a:pt x="3624" y="3209"/>
                  </a:lnTo>
                  <a:lnTo>
                    <a:pt x="3680" y="3130"/>
                  </a:lnTo>
                  <a:lnTo>
                    <a:pt x="3733" y="3048"/>
                  </a:lnTo>
                  <a:lnTo>
                    <a:pt x="3781" y="2964"/>
                  </a:lnTo>
                  <a:lnTo>
                    <a:pt x="3825" y="2878"/>
                  </a:lnTo>
                  <a:lnTo>
                    <a:pt x="3865" y="2788"/>
                  </a:lnTo>
                  <a:lnTo>
                    <a:pt x="3902" y="2698"/>
                  </a:lnTo>
                  <a:lnTo>
                    <a:pt x="3933" y="2605"/>
                  </a:lnTo>
                  <a:lnTo>
                    <a:pt x="3960" y="2509"/>
                  </a:lnTo>
                  <a:lnTo>
                    <a:pt x="3983" y="2412"/>
                  </a:lnTo>
                  <a:lnTo>
                    <a:pt x="4000" y="2313"/>
                  </a:lnTo>
                  <a:lnTo>
                    <a:pt x="4013" y="2212"/>
                  </a:lnTo>
                  <a:lnTo>
                    <a:pt x="4021" y="2111"/>
                  </a:lnTo>
                  <a:lnTo>
                    <a:pt x="4023" y="2008"/>
                  </a:lnTo>
                  <a:lnTo>
                    <a:pt x="4021" y="1904"/>
                  </a:lnTo>
                  <a:lnTo>
                    <a:pt x="4013" y="1802"/>
                  </a:lnTo>
                  <a:lnTo>
                    <a:pt x="4000" y="1701"/>
                  </a:lnTo>
                  <a:lnTo>
                    <a:pt x="3983" y="1603"/>
                  </a:lnTo>
                  <a:lnTo>
                    <a:pt x="3960" y="1506"/>
                  </a:lnTo>
                  <a:lnTo>
                    <a:pt x="3933" y="1410"/>
                  </a:lnTo>
                  <a:lnTo>
                    <a:pt x="3902" y="1317"/>
                  </a:lnTo>
                  <a:lnTo>
                    <a:pt x="3865" y="1226"/>
                  </a:lnTo>
                  <a:lnTo>
                    <a:pt x="3825" y="1137"/>
                  </a:lnTo>
                  <a:lnTo>
                    <a:pt x="3781" y="1050"/>
                  </a:lnTo>
                  <a:lnTo>
                    <a:pt x="3733" y="967"/>
                  </a:lnTo>
                  <a:lnTo>
                    <a:pt x="3680" y="884"/>
                  </a:lnTo>
                  <a:lnTo>
                    <a:pt x="3624" y="806"/>
                  </a:lnTo>
                  <a:lnTo>
                    <a:pt x="3565" y="731"/>
                  </a:lnTo>
                  <a:lnTo>
                    <a:pt x="3501" y="658"/>
                  </a:lnTo>
                  <a:lnTo>
                    <a:pt x="3435" y="587"/>
                  </a:lnTo>
                  <a:lnTo>
                    <a:pt x="3364" y="521"/>
                  </a:lnTo>
                  <a:lnTo>
                    <a:pt x="3292" y="458"/>
                  </a:lnTo>
                  <a:lnTo>
                    <a:pt x="3216" y="399"/>
                  </a:lnTo>
                  <a:lnTo>
                    <a:pt x="3137" y="342"/>
                  </a:lnTo>
                  <a:lnTo>
                    <a:pt x="3055" y="290"/>
                  </a:lnTo>
                  <a:lnTo>
                    <a:pt x="2971" y="242"/>
                  </a:lnTo>
                  <a:lnTo>
                    <a:pt x="2884" y="198"/>
                  </a:lnTo>
                  <a:lnTo>
                    <a:pt x="2795" y="158"/>
                  </a:lnTo>
                  <a:lnTo>
                    <a:pt x="2704" y="122"/>
                  </a:lnTo>
                  <a:lnTo>
                    <a:pt x="2610" y="90"/>
                  </a:lnTo>
                  <a:lnTo>
                    <a:pt x="2514" y="63"/>
                  </a:lnTo>
                  <a:lnTo>
                    <a:pt x="2417" y="41"/>
                  </a:lnTo>
                  <a:lnTo>
                    <a:pt x="2318" y="23"/>
                  </a:lnTo>
                  <a:lnTo>
                    <a:pt x="2218" y="10"/>
                  </a:lnTo>
                  <a:lnTo>
                    <a:pt x="2115" y="3"/>
                  </a:lnTo>
                  <a:lnTo>
                    <a:pt x="20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51" name="îṩḷîḓé">
              <a:extLst>
                <a:ext uri="{FF2B5EF4-FFF2-40B4-BE49-F238E27FC236}">
                  <a16:creationId xmlns:a16="http://schemas.microsoft.com/office/drawing/2014/main" id="{B8A4D02A-A056-4382-AA30-AFFC5FF564BC}"/>
                </a:ext>
              </a:extLst>
            </p:cNvPr>
            <p:cNvSpPr/>
            <p:nvPr/>
          </p:nvSpPr>
          <p:spPr bwMode="auto">
            <a:xfrm>
              <a:off x="3081609" y="351001"/>
              <a:ext cx="611928" cy="383513"/>
            </a:xfrm>
            <a:custGeom>
              <a:avLst/>
              <a:gdLst>
                <a:gd name="T0" fmla="*/ 6716 w 16058"/>
                <a:gd name="T1" fmla="*/ 8942 h 10064"/>
                <a:gd name="T2" fmla="*/ 5195 w 16058"/>
                <a:gd name="T3" fmla="*/ 8519 h 10064"/>
                <a:gd name="T4" fmla="*/ 3782 w 16058"/>
                <a:gd name="T5" fmla="*/ 7815 h 10064"/>
                <a:gd name="T6" fmla="*/ 2529 w 16058"/>
                <a:gd name="T7" fmla="*/ 6861 h 10064"/>
                <a:gd name="T8" fmla="*/ 1491 w 16058"/>
                <a:gd name="T9" fmla="*/ 5689 h 10064"/>
                <a:gd name="T10" fmla="*/ 1492 w 16058"/>
                <a:gd name="T11" fmla="*/ 4372 h 10064"/>
                <a:gd name="T12" fmla="*/ 2533 w 16058"/>
                <a:gd name="T13" fmla="*/ 3199 h 10064"/>
                <a:gd name="T14" fmla="*/ 3786 w 16058"/>
                <a:gd name="T15" fmla="*/ 2246 h 10064"/>
                <a:gd name="T16" fmla="*/ 5198 w 16058"/>
                <a:gd name="T17" fmla="*/ 1543 h 10064"/>
                <a:gd name="T18" fmla="*/ 6717 w 16058"/>
                <a:gd name="T19" fmla="*/ 1121 h 10064"/>
                <a:gd name="T20" fmla="*/ 8293 w 16058"/>
                <a:gd name="T21" fmla="*/ 1012 h 10064"/>
                <a:gd name="T22" fmla="*/ 9859 w 16058"/>
                <a:gd name="T23" fmla="*/ 1230 h 10064"/>
                <a:gd name="T24" fmla="*/ 11349 w 16058"/>
                <a:gd name="T25" fmla="*/ 1750 h 10064"/>
                <a:gd name="T26" fmla="*/ 12715 w 16058"/>
                <a:gd name="T27" fmla="*/ 2540 h 10064"/>
                <a:gd name="T28" fmla="*/ 13901 w 16058"/>
                <a:gd name="T29" fmla="*/ 3571 h 10064"/>
                <a:gd name="T30" fmla="*/ 14857 w 16058"/>
                <a:gd name="T31" fmla="*/ 4809 h 10064"/>
                <a:gd name="T32" fmla="*/ 14245 w 16058"/>
                <a:gd name="T33" fmla="*/ 6106 h 10064"/>
                <a:gd name="T34" fmla="*/ 13128 w 16058"/>
                <a:gd name="T35" fmla="*/ 7208 h 10064"/>
                <a:gd name="T36" fmla="*/ 11817 w 16058"/>
                <a:gd name="T37" fmla="*/ 8082 h 10064"/>
                <a:gd name="T38" fmla="*/ 10363 w 16058"/>
                <a:gd name="T39" fmla="*/ 8694 h 10064"/>
                <a:gd name="T40" fmla="*/ 8819 w 16058"/>
                <a:gd name="T41" fmla="*/ 9015 h 10064"/>
                <a:gd name="T42" fmla="*/ 16037 w 16058"/>
                <a:gd name="T43" fmla="*/ 4889 h 10064"/>
                <a:gd name="T44" fmla="*/ 16017 w 16058"/>
                <a:gd name="T45" fmla="*/ 4835 h 10064"/>
                <a:gd name="T46" fmla="*/ 15713 w 16058"/>
                <a:gd name="T47" fmla="*/ 4283 h 10064"/>
                <a:gd name="T48" fmla="*/ 14616 w 16058"/>
                <a:gd name="T49" fmla="*/ 2869 h 10064"/>
                <a:gd name="T50" fmla="*/ 13237 w 16058"/>
                <a:gd name="T51" fmla="*/ 1686 h 10064"/>
                <a:gd name="T52" fmla="*/ 11639 w 16058"/>
                <a:gd name="T53" fmla="*/ 781 h 10064"/>
                <a:gd name="T54" fmla="*/ 9883 w 16058"/>
                <a:gd name="T55" fmla="*/ 203 h 10064"/>
                <a:gd name="T56" fmla="*/ 8029 w 16058"/>
                <a:gd name="T57" fmla="*/ 0 h 10064"/>
                <a:gd name="T58" fmla="*/ 6175 w 16058"/>
                <a:gd name="T59" fmla="*/ 203 h 10064"/>
                <a:gd name="T60" fmla="*/ 4419 w 16058"/>
                <a:gd name="T61" fmla="*/ 780 h 10064"/>
                <a:gd name="T62" fmla="*/ 2821 w 16058"/>
                <a:gd name="T63" fmla="*/ 1684 h 10064"/>
                <a:gd name="T64" fmla="*/ 1443 w 16058"/>
                <a:gd name="T65" fmla="*/ 2866 h 10064"/>
                <a:gd name="T66" fmla="*/ 345 w 16058"/>
                <a:gd name="T67" fmla="*/ 4280 h 10064"/>
                <a:gd name="T68" fmla="*/ 41 w 16058"/>
                <a:gd name="T69" fmla="*/ 4831 h 10064"/>
                <a:gd name="T70" fmla="*/ 22 w 16058"/>
                <a:gd name="T71" fmla="*/ 4885 h 10064"/>
                <a:gd name="T72" fmla="*/ 2 w 16058"/>
                <a:gd name="T73" fmla="*/ 5001 h 10064"/>
                <a:gd name="T74" fmla="*/ 6 w 16058"/>
                <a:gd name="T75" fmla="*/ 5087 h 10064"/>
                <a:gd name="T76" fmla="*/ 23 w 16058"/>
                <a:gd name="T77" fmla="*/ 5191 h 10064"/>
                <a:gd name="T78" fmla="*/ 46 w 16058"/>
                <a:gd name="T79" fmla="*/ 5248 h 10064"/>
                <a:gd name="T80" fmla="*/ 675 w 16058"/>
                <a:gd name="T81" fmla="*/ 6275 h 10064"/>
                <a:gd name="T82" fmla="*/ 1874 w 16058"/>
                <a:gd name="T83" fmla="*/ 7617 h 10064"/>
                <a:gd name="T84" fmla="*/ 3332 w 16058"/>
                <a:gd name="T85" fmla="*/ 8713 h 10064"/>
                <a:gd name="T86" fmla="*/ 4990 w 16058"/>
                <a:gd name="T87" fmla="*/ 9514 h 10064"/>
                <a:gd name="T88" fmla="*/ 6786 w 16058"/>
                <a:gd name="T89" fmla="*/ 9972 h 10064"/>
                <a:gd name="T90" fmla="*/ 8654 w 16058"/>
                <a:gd name="T91" fmla="*/ 10041 h 10064"/>
                <a:gd name="T92" fmla="*/ 10483 w 16058"/>
                <a:gd name="T93" fmla="*/ 9708 h 10064"/>
                <a:gd name="T94" fmla="*/ 12193 w 16058"/>
                <a:gd name="T95" fmla="*/ 9017 h 10064"/>
                <a:gd name="T96" fmla="*/ 13724 w 16058"/>
                <a:gd name="T97" fmla="*/ 8014 h 10064"/>
                <a:gd name="T98" fmla="*/ 15015 w 16058"/>
                <a:gd name="T99" fmla="*/ 6749 h 10064"/>
                <a:gd name="T100" fmla="*/ 16007 w 16058"/>
                <a:gd name="T101" fmla="*/ 5270 h 10064"/>
                <a:gd name="T102" fmla="*/ 16031 w 16058"/>
                <a:gd name="T103" fmla="*/ 5211 h 10064"/>
                <a:gd name="T104" fmla="*/ 16040 w 16058"/>
                <a:gd name="T105" fmla="*/ 5146 h 10064"/>
                <a:gd name="T106" fmla="*/ 16058 w 16058"/>
                <a:gd name="T107" fmla="*/ 5034 h 10064"/>
                <a:gd name="T108" fmla="*/ 16040 w 16058"/>
                <a:gd name="T109" fmla="*/ 4921 h 10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058" h="10064">
                  <a:moveTo>
                    <a:pt x="8029" y="9056"/>
                  </a:moveTo>
                  <a:lnTo>
                    <a:pt x="7765" y="9052"/>
                  </a:lnTo>
                  <a:lnTo>
                    <a:pt x="7501" y="9038"/>
                  </a:lnTo>
                  <a:lnTo>
                    <a:pt x="7238" y="9015"/>
                  </a:lnTo>
                  <a:lnTo>
                    <a:pt x="6976" y="8983"/>
                  </a:lnTo>
                  <a:lnTo>
                    <a:pt x="6716" y="8942"/>
                  </a:lnTo>
                  <a:lnTo>
                    <a:pt x="6457" y="8892"/>
                  </a:lnTo>
                  <a:lnTo>
                    <a:pt x="6200" y="8834"/>
                  </a:lnTo>
                  <a:lnTo>
                    <a:pt x="5944" y="8768"/>
                  </a:lnTo>
                  <a:lnTo>
                    <a:pt x="5693" y="8693"/>
                  </a:lnTo>
                  <a:lnTo>
                    <a:pt x="5442" y="8610"/>
                  </a:lnTo>
                  <a:lnTo>
                    <a:pt x="5195" y="8519"/>
                  </a:lnTo>
                  <a:lnTo>
                    <a:pt x="4950" y="8421"/>
                  </a:lnTo>
                  <a:lnTo>
                    <a:pt x="4709" y="8314"/>
                  </a:lnTo>
                  <a:lnTo>
                    <a:pt x="4471" y="8200"/>
                  </a:lnTo>
                  <a:lnTo>
                    <a:pt x="4237" y="8079"/>
                  </a:lnTo>
                  <a:lnTo>
                    <a:pt x="4007" y="7951"/>
                  </a:lnTo>
                  <a:lnTo>
                    <a:pt x="3782" y="7815"/>
                  </a:lnTo>
                  <a:lnTo>
                    <a:pt x="3560" y="7672"/>
                  </a:lnTo>
                  <a:lnTo>
                    <a:pt x="3343" y="7524"/>
                  </a:lnTo>
                  <a:lnTo>
                    <a:pt x="3132" y="7368"/>
                  </a:lnTo>
                  <a:lnTo>
                    <a:pt x="2926" y="7205"/>
                  </a:lnTo>
                  <a:lnTo>
                    <a:pt x="2725" y="7036"/>
                  </a:lnTo>
                  <a:lnTo>
                    <a:pt x="2529" y="6861"/>
                  </a:lnTo>
                  <a:lnTo>
                    <a:pt x="2340" y="6680"/>
                  </a:lnTo>
                  <a:lnTo>
                    <a:pt x="2157" y="6493"/>
                  </a:lnTo>
                  <a:lnTo>
                    <a:pt x="1980" y="6301"/>
                  </a:lnTo>
                  <a:lnTo>
                    <a:pt x="1811" y="6102"/>
                  </a:lnTo>
                  <a:lnTo>
                    <a:pt x="1647" y="5898"/>
                  </a:lnTo>
                  <a:lnTo>
                    <a:pt x="1491" y="5689"/>
                  </a:lnTo>
                  <a:lnTo>
                    <a:pt x="1343" y="5475"/>
                  </a:lnTo>
                  <a:lnTo>
                    <a:pt x="1201" y="5255"/>
                  </a:lnTo>
                  <a:lnTo>
                    <a:pt x="1069" y="5030"/>
                  </a:lnTo>
                  <a:lnTo>
                    <a:pt x="1202" y="4806"/>
                  </a:lnTo>
                  <a:lnTo>
                    <a:pt x="1344" y="4586"/>
                  </a:lnTo>
                  <a:lnTo>
                    <a:pt x="1492" y="4372"/>
                  </a:lnTo>
                  <a:lnTo>
                    <a:pt x="1649" y="4163"/>
                  </a:lnTo>
                  <a:lnTo>
                    <a:pt x="1813" y="3958"/>
                  </a:lnTo>
                  <a:lnTo>
                    <a:pt x="1983" y="3760"/>
                  </a:lnTo>
                  <a:lnTo>
                    <a:pt x="2160" y="3567"/>
                  </a:lnTo>
                  <a:lnTo>
                    <a:pt x="2343" y="3380"/>
                  </a:lnTo>
                  <a:lnTo>
                    <a:pt x="2533" y="3199"/>
                  </a:lnTo>
                  <a:lnTo>
                    <a:pt x="2729" y="3024"/>
                  </a:lnTo>
                  <a:lnTo>
                    <a:pt x="2930" y="2855"/>
                  </a:lnTo>
                  <a:lnTo>
                    <a:pt x="3136" y="2693"/>
                  </a:lnTo>
                  <a:lnTo>
                    <a:pt x="3348" y="2537"/>
                  </a:lnTo>
                  <a:lnTo>
                    <a:pt x="3564" y="2389"/>
                  </a:lnTo>
                  <a:lnTo>
                    <a:pt x="3786" y="2246"/>
                  </a:lnTo>
                  <a:lnTo>
                    <a:pt x="4011" y="2111"/>
                  </a:lnTo>
                  <a:lnTo>
                    <a:pt x="4241" y="1982"/>
                  </a:lnTo>
                  <a:lnTo>
                    <a:pt x="4475" y="1862"/>
                  </a:lnTo>
                  <a:lnTo>
                    <a:pt x="4712" y="1748"/>
                  </a:lnTo>
                  <a:lnTo>
                    <a:pt x="4953" y="1641"/>
                  </a:lnTo>
                  <a:lnTo>
                    <a:pt x="5198" y="1543"/>
                  </a:lnTo>
                  <a:lnTo>
                    <a:pt x="5445" y="1452"/>
                  </a:lnTo>
                  <a:lnTo>
                    <a:pt x="5695" y="1370"/>
                  </a:lnTo>
                  <a:lnTo>
                    <a:pt x="5947" y="1295"/>
                  </a:lnTo>
                  <a:lnTo>
                    <a:pt x="6202" y="1229"/>
                  </a:lnTo>
                  <a:lnTo>
                    <a:pt x="6459" y="1171"/>
                  </a:lnTo>
                  <a:lnTo>
                    <a:pt x="6717" y="1121"/>
                  </a:lnTo>
                  <a:lnTo>
                    <a:pt x="6978" y="1081"/>
                  </a:lnTo>
                  <a:lnTo>
                    <a:pt x="7239" y="1049"/>
                  </a:lnTo>
                  <a:lnTo>
                    <a:pt x="7502" y="1026"/>
                  </a:lnTo>
                  <a:lnTo>
                    <a:pt x="7765" y="1012"/>
                  </a:lnTo>
                  <a:lnTo>
                    <a:pt x="8029" y="1008"/>
                  </a:lnTo>
                  <a:lnTo>
                    <a:pt x="8293" y="1012"/>
                  </a:lnTo>
                  <a:lnTo>
                    <a:pt x="8557" y="1026"/>
                  </a:lnTo>
                  <a:lnTo>
                    <a:pt x="8820" y="1049"/>
                  </a:lnTo>
                  <a:lnTo>
                    <a:pt x="9082" y="1081"/>
                  </a:lnTo>
                  <a:lnTo>
                    <a:pt x="9342" y="1122"/>
                  </a:lnTo>
                  <a:lnTo>
                    <a:pt x="9601" y="1172"/>
                  </a:lnTo>
                  <a:lnTo>
                    <a:pt x="9859" y="1230"/>
                  </a:lnTo>
                  <a:lnTo>
                    <a:pt x="10114" y="1296"/>
                  </a:lnTo>
                  <a:lnTo>
                    <a:pt x="10366" y="1371"/>
                  </a:lnTo>
                  <a:lnTo>
                    <a:pt x="10616" y="1454"/>
                  </a:lnTo>
                  <a:lnTo>
                    <a:pt x="10863" y="1545"/>
                  </a:lnTo>
                  <a:lnTo>
                    <a:pt x="11108" y="1643"/>
                  </a:lnTo>
                  <a:lnTo>
                    <a:pt x="11349" y="1750"/>
                  </a:lnTo>
                  <a:lnTo>
                    <a:pt x="11587" y="1864"/>
                  </a:lnTo>
                  <a:lnTo>
                    <a:pt x="11821" y="1985"/>
                  </a:lnTo>
                  <a:lnTo>
                    <a:pt x="12051" y="2113"/>
                  </a:lnTo>
                  <a:lnTo>
                    <a:pt x="12276" y="2249"/>
                  </a:lnTo>
                  <a:lnTo>
                    <a:pt x="12498" y="2392"/>
                  </a:lnTo>
                  <a:lnTo>
                    <a:pt x="12715" y="2540"/>
                  </a:lnTo>
                  <a:lnTo>
                    <a:pt x="12926" y="2696"/>
                  </a:lnTo>
                  <a:lnTo>
                    <a:pt x="13132" y="2859"/>
                  </a:lnTo>
                  <a:lnTo>
                    <a:pt x="13333" y="3028"/>
                  </a:lnTo>
                  <a:lnTo>
                    <a:pt x="13529" y="3203"/>
                  </a:lnTo>
                  <a:lnTo>
                    <a:pt x="13718" y="3384"/>
                  </a:lnTo>
                  <a:lnTo>
                    <a:pt x="13901" y="3571"/>
                  </a:lnTo>
                  <a:lnTo>
                    <a:pt x="14078" y="3763"/>
                  </a:lnTo>
                  <a:lnTo>
                    <a:pt x="14247" y="3962"/>
                  </a:lnTo>
                  <a:lnTo>
                    <a:pt x="14411" y="4166"/>
                  </a:lnTo>
                  <a:lnTo>
                    <a:pt x="14567" y="4375"/>
                  </a:lnTo>
                  <a:lnTo>
                    <a:pt x="14715" y="4589"/>
                  </a:lnTo>
                  <a:lnTo>
                    <a:pt x="14857" y="4809"/>
                  </a:lnTo>
                  <a:lnTo>
                    <a:pt x="14989" y="5034"/>
                  </a:lnTo>
                  <a:lnTo>
                    <a:pt x="14856" y="5258"/>
                  </a:lnTo>
                  <a:lnTo>
                    <a:pt x="14714" y="5477"/>
                  </a:lnTo>
                  <a:lnTo>
                    <a:pt x="14566" y="5692"/>
                  </a:lnTo>
                  <a:lnTo>
                    <a:pt x="14409" y="5901"/>
                  </a:lnTo>
                  <a:lnTo>
                    <a:pt x="14245" y="6106"/>
                  </a:lnTo>
                  <a:lnTo>
                    <a:pt x="14075" y="6304"/>
                  </a:lnTo>
                  <a:lnTo>
                    <a:pt x="13898" y="6497"/>
                  </a:lnTo>
                  <a:lnTo>
                    <a:pt x="13715" y="6684"/>
                  </a:lnTo>
                  <a:lnTo>
                    <a:pt x="13525" y="6865"/>
                  </a:lnTo>
                  <a:lnTo>
                    <a:pt x="13329" y="7040"/>
                  </a:lnTo>
                  <a:lnTo>
                    <a:pt x="13128" y="7208"/>
                  </a:lnTo>
                  <a:lnTo>
                    <a:pt x="12922" y="7371"/>
                  </a:lnTo>
                  <a:lnTo>
                    <a:pt x="12711" y="7527"/>
                  </a:lnTo>
                  <a:lnTo>
                    <a:pt x="12494" y="7675"/>
                  </a:lnTo>
                  <a:lnTo>
                    <a:pt x="12272" y="7818"/>
                  </a:lnTo>
                  <a:lnTo>
                    <a:pt x="12047" y="7953"/>
                  </a:lnTo>
                  <a:lnTo>
                    <a:pt x="11817" y="8082"/>
                  </a:lnTo>
                  <a:lnTo>
                    <a:pt x="11584" y="8202"/>
                  </a:lnTo>
                  <a:lnTo>
                    <a:pt x="11346" y="8316"/>
                  </a:lnTo>
                  <a:lnTo>
                    <a:pt x="11105" y="8423"/>
                  </a:lnTo>
                  <a:lnTo>
                    <a:pt x="10860" y="8520"/>
                  </a:lnTo>
                  <a:lnTo>
                    <a:pt x="10613" y="8612"/>
                  </a:lnTo>
                  <a:lnTo>
                    <a:pt x="10363" y="8694"/>
                  </a:lnTo>
                  <a:lnTo>
                    <a:pt x="10111" y="8769"/>
                  </a:lnTo>
                  <a:lnTo>
                    <a:pt x="9856" y="8835"/>
                  </a:lnTo>
                  <a:lnTo>
                    <a:pt x="9599" y="8893"/>
                  </a:lnTo>
                  <a:lnTo>
                    <a:pt x="9341" y="8943"/>
                  </a:lnTo>
                  <a:lnTo>
                    <a:pt x="9081" y="8983"/>
                  </a:lnTo>
                  <a:lnTo>
                    <a:pt x="8819" y="9015"/>
                  </a:lnTo>
                  <a:lnTo>
                    <a:pt x="8556" y="9038"/>
                  </a:lnTo>
                  <a:lnTo>
                    <a:pt x="8293" y="9052"/>
                  </a:lnTo>
                  <a:lnTo>
                    <a:pt x="8029" y="9056"/>
                  </a:lnTo>
                  <a:close/>
                  <a:moveTo>
                    <a:pt x="16040" y="4921"/>
                  </a:moveTo>
                  <a:lnTo>
                    <a:pt x="16038" y="4905"/>
                  </a:lnTo>
                  <a:lnTo>
                    <a:pt x="16037" y="4889"/>
                  </a:lnTo>
                  <a:lnTo>
                    <a:pt x="16036" y="4881"/>
                  </a:lnTo>
                  <a:lnTo>
                    <a:pt x="16035" y="4873"/>
                  </a:lnTo>
                  <a:lnTo>
                    <a:pt x="16033" y="4865"/>
                  </a:lnTo>
                  <a:lnTo>
                    <a:pt x="16031" y="4857"/>
                  </a:lnTo>
                  <a:lnTo>
                    <a:pt x="16024" y="4846"/>
                  </a:lnTo>
                  <a:lnTo>
                    <a:pt x="16017" y="4835"/>
                  </a:lnTo>
                  <a:lnTo>
                    <a:pt x="16014" y="4826"/>
                  </a:lnTo>
                  <a:lnTo>
                    <a:pt x="16012" y="4816"/>
                  </a:lnTo>
                  <a:lnTo>
                    <a:pt x="16010" y="4807"/>
                  </a:lnTo>
                  <a:lnTo>
                    <a:pt x="16007" y="4798"/>
                  </a:lnTo>
                  <a:lnTo>
                    <a:pt x="15864" y="4539"/>
                  </a:lnTo>
                  <a:lnTo>
                    <a:pt x="15713" y="4283"/>
                  </a:lnTo>
                  <a:lnTo>
                    <a:pt x="15552" y="4034"/>
                  </a:lnTo>
                  <a:lnTo>
                    <a:pt x="15383" y="3789"/>
                  </a:lnTo>
                  <a:lnTo>
                    <a:pt x="15203" y="3550"/>
                  </a:lnTo>
                  <a:lnTo>
                    <a:pt x="15015" y="3318"/>
                  </a:lnTo>
                  <a:lnTo>
                    <a:pt x="14820" y="3091"/>
                  </a:lnTo>
                  <a:lnTo>
                    <a:pt x="14616" y="2869"/>
                  </a:lnTo>
                  <a:lnTo>
                    <a:pt x="14404" y="2654"/>
                  </a:lnTo>
                  <a:lnTo>
                    <a:pt x="14184" y="2447"/>
                  </a:lnTo>
                  <a:lnTo>
                    <a:pt x="13957" y="2246"/>
                  </a:lnTo>
                  <a:lnTo>
                    <a:pt x="13724" y="2052"/>
                  </a:lnTo>
                  <a:lnTo>
                    <a:pt x="13484" y="1865"/>
                  </a:lnTo>
                  <a:lnTo>
                    <a:pt x="13237" y="1686"/>
                  </a:lnTo>
                  <a:lnTo>
                    <a:pt x="12985" y="1515"/>
                  </a:lnTo>
                  <a:lnTo>
                    <a:pt x="12726" y="1351"/>
                  </a:lnTo>
                  <a:lnTo>
                    <a:pt x="12462" y="1196"/>
                  </a:lnTo>
                  <a:lnTo>
                    <a:pt x="12193" y="1049"/>
                  </a:lnTo>
                  <a:lnTo>
                    <a:pt x="11918" y="910"/>
                  </a:lnTo>
                  <a:lnTo>
                    <a:pt x="11639" y="781"/>
                  </a:lnTo>
                  <a:lnTo>
                    <a:pt x="11356" y="661"/>
                  </a:lnTo>
                  <a:lnTo>
                    <a:pt x="11069" y="550"/>
                  </a:lnTo>
                  <a:lnTo>
                    <a:pt x="10777" y="449"/>
                  </a:lnTo>
                  <a:lnTo>
                    <a:pt x="10483" y="357"/>
                  </a:lnTo>
                  <a:lnTo>
                    <a:pt x="10185" y="275"/>
                  </a:lnTo>
                  <a:lnTo>
                    <a:pt x="9883" y="203"/>
                  </a:lnTo>
                  <a:lnTo>
                    <a:pt x="9580" y="142"/>
                  </a:lnTo>
                  <a:lnTo>
                    <a:pt x="9273" y="92"/>
                  </a:lnTo>
                  <a:lnTo>
                    <a:pt x="8964" y="52"/>
                  </a:lnTo>
                  <a:lnTo>
                    <a:pt x="8654" y="23"/>
                  </a:lnTo>
                  <a:lnTo>
                    <a:pt x="8342" y="6"/>
                  </a:lnTo>
                  <a:lnTo>
                    <a:pt x="8029" y="0"/>
                  </a:lnTo>
                  <a:lnTo>
                    <a:pt x="7716" y="6"/>
                  </a:lnTo>
                  <a:lnTo>
                    <a:pt x="7404" y="23"/>
                  </a:lnTo>
                  <a:lnTo>
                    <a:pt x="7094" y="51"/>
                  </a:lnTo>
                  <a:lnTo>
                    <a:pt x="6786" y="92"/>
                  </a:lnTo>
                  <a:lnTo>
                    <a:pt x="6478" y="142"/>
                  </a:lnTo>
                  <a:lnTo>
                    <a:pt x="6175" y="203"/>
                  </a:lnTo>
                  <a:lnTo>
                    <a:pt x="5874" y="275"/>
                  </a:lnTo>
                  <a:lnTo>
                    <a:pt x="5576" y="356"/>
                  </a:lnTo>
                  <a:lnTo>
                    <a:pt x="5281" y="448"/>
                  </a:lnTo>
                  <a:lnTo>
                    <a:pt x="4990" y="549"/>
                  </a:lnTo>
                  <a:lnTo>
                    <a:pt x="4702" y="660"/>
                  </a:lnTo>
                  <a:lnTo>
                    <a:pt x="4419" y="780"/>
                  </a:lnTo>
                  <a:lnTo>
                    <a:pt x="4140" y="909"/>
                  </a:lnTo>
                  <a:lnTo>
                    <a:pt x="3866" y="1047"/>
                  </a:lnTo>
                  <a:lnTo>
                    <a:pt x="3596" y="1194"/>
                  </a:lnTo>
                  <a:lnTo>
                    <a:pt x="3332" y="1349"/>
                  </a:lnTo>
                  <a:lnTo>
                    <a:pt x="3073" y="1513"/>
                  </a:lnTo>
                  <a:lnTo>
                    <a:pt x="2821" y="1684"/>
                  </a:lnTo>
                  <a:lnTo>
                    <a:pt x="2574" y="1863"/>
                  </a:lnTo>
                  <a:lnTo>
                    <a:pt x="2334" y="2050"/>
                  </a:lnTo>
                  <a:lnTo>
                    <a:pt x="2101" y="2243"/>
                  </a:lnTo>
                  <a:lnTo>
                    <a:pt x="1874" y="2444"/>
                  </a:lnTo>
                  <a:lnTo>
                    <a:pt x="1655" y="2652"/>
                  </a:lnTo>
                  <a:lnTo>
                    <a:pt x="1443" y="2866"/>
                  </a:lnTo>
                  <a:lnTo>
                    <a:pt x="1238" y="3087"/>
                  </a:lnTo>
                  <a:lnTo>
                    <a:pt x="1043" y="3314"/>
                  </a:lnTo>
                  <a:lnTo>
                    <a:pt x="855" y="3547"/>
                  </a:lnTo>
                  <a:lnTo>
                    <a:pt x="675" y="3785"/>
                  </a:lnTo>
                  <a:lnTo>
                    <a:pt x="506" y="4031"/>
                  </a:lnTo>
                  <a:lnTo>
                    <a:pt x="345" y="4280"/>
                  </a:lnTo>
                  <a:lnTo>
                    <a:pt x="194" y="4535"/>
                  </a:lnTo>
                  <a:lnTo>
                    <a:pt x="52" y="4794"/>
                  </a:lnTo>
                  <a:lnTo>
                    <a:pt x="48" y="4804"/>
                  </a:lnTo>
                  <a:lnTo>
                    <a:pt x="46" y="4813"/>
                  </a:lnTo>
                  <a:lnTo>
                    <a:pt x="44" y="4822"/>
                  </a:lnTo>
                  <a:lnTo>
                    <a:pt x="41" y="4831"/>
                  </a:lnTo>
                  <a:lnTo>
                    <a:pt x="34" y="4842"/>
                  </a:lnTo>
                  <a:lnTo>
                    <a:pt x="28" y="4853"/>
                  </a:lnTo>
                  <a:lnTo>
                    <a:pt x="25" y="4861"/>
                  </a:lnTo>
                  <a:lnTo>
                    <a:pt x="23" y="4869"/>
                  </a:lnTo>
                  <a:lnTo>
                    <a:pt x="22" y="4877"/>
                  </a:lnTo>
                  <a:lnTo>
                    <a:pt x="22" y="4885"/>
                  </a:lnTo>
                  <a:lnTo>
                    <a:pt x="20" y="4902"/>
                  </a:lnTo>
                  <a:lnTo>
                    <a:pt x="18" y="4918"/>
                  </a:lnTo>
                  <a:lnTo>
                    <a:pt x="11" y="4946"/>
                  </a:lnTo>
                  <a:lnTo>
                    <a:pt x="6" y="4973"/>
                  </a:lnTo>
                  <a:lnTo>
                    <a:pt x="3" y="4987"/>
                  </a:lnTo>
                  <a:lnTo>
                    <a:pt x="2" y="5001"/>
                  </a:lnTo>
                  <a:lnTo>
                    <a:pt x="0" y="5016"/>
                  </a:lnTo>
                  <a:lnTo>
                    <a:pt x="0" y="5030"/>
                  </a:lnTo>
                  <a:lnTo>
                    <a:pt x="0" y="5045"/>
                  </a:lnTo>
                  <a:lnTo>
                    <a:pt x="2" y="5059"/>
                  </a:lnTo>
                  <a:lnTo>
                    <a:pt x="3" y="5073"/>
                  </a:lnTo>
                  <a:lnTo>
                    <a:pt x="6" y="5087"/>
                  </a:lnTo>
                  <a:lnTo>
                    <a:pt x="11" y="5115"/>
                  </a:lnTo>
                  <a:lnTo>
                    <a:pt x="18" y="5143"/>
                  </a:lnTo>
                  <a:lnTo>
                    <a:pt x="20" y="5159"/>
                  </a:lnTo>
                  <a:lnTo>
                    <a:pt x="22" y="5175"/>
                  </a:lnTo>
                  <a:lnTo>
                    <a:pt x="22" y="5183"/>
                  </a:lnTo>
                  <a:lnTo>
                    <a:pt x="23" y="5191"/>
                  </a:lnTo>
                  <a:lnTo>
                    <a:pt x="25" y="5199"/>
                  </a:lnTo>
                  <a:lnTo>
                    <a:pt x="28" y="5207"/>
                  </a:lnTo>
                  <a:lnTo>
                    <a:pt x="34" y="5218"/>
                  </a:lnTo>
                  <a:lnTo>
                    <a:pt x="41" y="5229"/>
                  </a:lnTo>
                  <a:lnTo>
                    <a:pt x="44" y="5238"/>
                  </a:lnTo>
                  <a:lnTo>
                    <a:pt x="46" y="5248"/>
                  </a:lnTo>
                  <a:lnTo>
                    <a:pt x="48" y="5257"/>
                  </a:lnTo>
                  <a:lnTo>
                    <a:pt x="52" y="5266"/>
                  </a:lnTo>
                  <a:lnTo>
                    <a:pt x="194" y="5525"/>
                  </a:lnTo>
                  <a:lnTo>
                    <a:pt x="345" y="5781"/>
                  </a:lnTo>
                  <a:lnTo>
                    <a:pt x="506" y="6030"/>
                  </a:lnTo>
                  <a:lnTo>
                    <a:pt x="675" y="6275"/>
                  </a:lnTo>
                  <a:lnTo>
                    <a:pt x="855" y="6513"/>
                  </a:lnTo>
                  <a:lnTo>
                    <a:pt x="1043" y="6746"/>
                  </a:lnTo>
                  <a:lnTo>
                    <a:pt x="1238" y="6973"/>
                  </a:lnTo>
                  <a:lnTo>
                    <a:pt x="1443" y="7195"/>
                  </a:lnTo>
                  <a:lnTo>
                    <a:pt x="1655" y="7409"/>
                  </a:lnTo>
                  <a:lnTo>
                    <a:pt x="1874" y="7617"/>
                  </a:lnTo>
                  <a:lnTo>
                    <a:pt x="2101" y="7818"/>
                  </a:lnTo>
                  <a:lnTo>
                    <a:pt x="2334" y="8012"/>
                  </a:lnTo>
                  <a:lnTo>
                    <a:pt x="2574" y="8198"/>
                  </a:lnTo>
                  <a:lnTo>
                    <a:pt x="2821" y="8378"/>
                  </a:lnTo>
                  <a:lnTo>
                    <a:pt x="3073" y="8549"/>
                  </a:lnTo>
                  <a:lnTo>
                    <a:pt x="3332" y="8713"/>
                  </a:lnTo>
                  <a:lnTo>
                    <a:pt x="3596" y="8868"/>
                  </a:lnTo>
                  <a:lnTo>
                    <a:pt x="3866" y="9015"/>
                  </a:lnTo>
                  <a:lnTo>
                    <a:pt x="4140" y="9154"/>
                  </a:lnTo>
                  <a:lnTo>
                    <a:pt x="4419" y="9283"/>
                  </a:lnTo>
                  <a:lnTo>
                    <a:pt x="4702" y="9403"/>
                  </a:lnTo>
                  <a:lnTo>
                    <a:pt x="4990" y="9514"/>
                  </a:lnTo>
                  <a:lnTo>
                    <a:pt x="5281" y="9615"/>
                  </a:lnTo>
                  <a:lnTo>
                    <a:pt x="5576" y="9707"/>
                  </a:lnTo>
                  <a:lnTo>
                    <a:pt x="5874" y="9789"/>
                  </a:lnTo>
                  <a:lnTo>
                    <a:pt x="6175" y="9861"/>
                  </a:lnTo>
                  <a:lnTo>
                    <a:pt x="6478" y="9922"/>
                  </a:lnTo>
                  <a:lnTo>
                    <a:pt x="6786" y="9972"/>
                  </a:lnTo>
                  <a:lnTo>
                    <a:pt x="7094" y="10012"/>
                  </a:lnTo>
                  <a:lnTo>
                    <a:pt x="7404" y="10041"/>
                  </a:lnTo>
                  <a:lnTo>
                    <a:pt x="7716" y="10058"/>
                  </a:lnTo>
                  <a:lnTo>
                    <a:pt x="8029" y="10064"/>
                  </a:lnTo>
                  <a:lnTo>
                    <a:pt x="8342" y="10058"/>
                  </a:lnTo>
                  <a:lnTo>
                    <a:pt x="8654" y="10041"/>
                  </a:lnTo>
                  <a:lnTo>
                    <a:pt x="8964" y="10013"/>
                  </a:lnTo>
                  <a:lnTo>
                    <a:pt x="9273" y="9972"/>
                  </a:lnTo>
                  <a:lnTo>
                    <a:pt x="9580" y="9922"/>
                  </a:lnTo>
                  <a:lnTo>
                    <a:pt x="9883" y="9861"/>
                  </a:lnTo>
                  <a:lnTo>
                    <a:pt x="10185" y="9789"/>
                  </a:lnTo>
                  <a:lnTo>
                    <a:pt x="10483" y="9708"/>
                  </a:lnTo>
                  <a:lnTo>
                    <a:pt x="10777" y="9616"/>
                  </a:lnTo>
                  <a:lnTo>
                    <a:pt x="11069" y="9515"/>
                  </a:lnTo>
                  <a:lnTo>
                    <a:pt x="11356" y="9404"/>
                  </a:lnTo>
                  <a:lnTo>
                    <a:pt x="11639" y="9284"/>
                  </a:lnTo>
                  <a:lnTo>
                    <a:pt x="11918" y="9155"/>
                  </a:lnTo>
                  <a:lnTo>
                    <a:pt x="12193" y="9017"/>
                  </a:lnTo>
                  <a:lnTo>
                    <a:pt x="12462" y="8870"/>
                  </a:lnTo>
                  <a:lnTo>
                    <a:pt x="12726" y="8714"/>
                  </a:lnTo>
                  <a:lnTo>
                    <a:pt x="12985" y="8551"/>
                  </a:lnTo>
                  <a:lnTo>
                    <a:pt x="13237" y="8380"/>
                  </a:lnTo>
                  <a:lnTo>
                    <a:pt x="13484" y="8201"/>
                  </a:lnTo>
                  <a:lnTo>
                    <a:pt x="13724" y="8014"/>
                  </a:lnTo>
                  <a:lnTo>
                    <a:pt x="13957" y="7821"/>
                  </a:lnTo>
                  <a:lnTo>
                    <a:pt x="14184" y="7620"/>
                  </a:lnTo>
                  <a:lnTo>
                    <a:pt x="14404" y="7412"/>
                  </a:lnTo>
                  <a:lnTo>
                    <a:pt x="14616" y="7198"/>
                  </a:lnTo>
                  <a:lnTo>
                    <a:pt x="14820" y="6977"/>
                  </a:lnTo>
                  <a:lnTo>
                    <a:pt x="15015" y="6749"/>
                  </a:lnTo>
                  <a:lnTo>
                    <a:pt x="15203" y="6517"/>
                  </a:lnTo>
                  <a:lnTo>
                    <a:pt x="15383" y="6278"/>
                  </a:lnTo>
                  <a:lnTo>
                    <a:pt x="15552" y="6033"/>
                  </a:lnTo>
                  <a:lnTo>
                    <a:pt x="15713" y="5784"/>
                  </a:lnTo>
                  <a:lnTo>
                    <a:pt x="15864" y="5529"/>
                  </a:lnTo>
                  <a:lnTo>
                    <a:pt x="16007" y="5270"/>
                  </a:lnTo>
                  <a:lnTo>
                    <a:pt x="16010" y="5260"/>
                  </a:lnTo>
                  <a:lnTo>
                    <a:pt x="16012" y="5251"/>
                  </a:lnTo>
                  <a:lnTo>
                    <a:pt x="16014" y="5242"/>
                  </a:lnTo>
                  <a:lnTo>
                    <a:pt x="16017" y="5232"/>
                  </a:lnTo>
                  <a:lnTo>
                    <a:pt x="16024" y="5222"/>
                  </a:lnTo>
                  <a:lnTo>
                    <a:pt x="16031" y="5211"/>
                  </a:lnTo>
                  <a:lnTo>
                    <a:pt x="16033" y="5202"/>
                  </a:lnTo>
                  <a:lnTo>
                    <a:pt x="16035" y="5194"/>
                  </a:lnTo>
                  <a:lnTo>
                    <a:pt x="16036" y="5186"/>
                  </a:lnTo>
                  <a:lnTo>
                    <a:pt x="16037" y="5178"/>
                  </a:lnTo>
                  <a:lnTo>
                    <a:pt x="16038" y="5162"/>
                  </a:lnTo>
                  <a:lnTo>
                    <a:pt x="16040" y="5146"/>
                  </a:lnTo>
                  <a:lnTo>
                    <a:pt x="16047" y="5118"/>
                  </a:lnTo>
                  <a:lnTo>
                    <a:pt x="16052" y="5090"/>
                  </a:lnTo>
                  <a:lnTo>
                    <a:pt x="16055" y="5076"/>
                  </a:lnTo>
                  <a:lnTo>
                    <a:pt x="16056" y="5063"/>
                  </a:lnTo>
                  <a:lnTo>
                    <a:pt x="16058" y="5048"/>
                  </a:lnTo>
                  <a:lnTo>
                    <a:pt x="16058" y="5034"/>
                  </a:lnTo>
                  <a:lnTo>
                    <a:pt x="16058" y="5019"/>
                  </a:lnTo>
                  <a:lnTo>
                    <a:pt x="16056" y="5005"/>
                  </a:lnTo>
                  <a:lnTo>
                    <a:pt x="16055" y="4991"/>
                  </a:lnTo>
                  <a:lnTo>
                    <a:pt x="16052" y="4977"/>
                  </a:lnTo>
                  <a:lnTo>
                    <a:pt x="16047" y="4949"/>
                  </a:lnTo>
                  <a:lnTo>
                    <a:pt x="16040" y="49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52" name="íSľîḍê">
              <a:extLst>
                <a:ext uri="{FF2B5EF4-FFF2-40B4-BE49-F238E27FC236}">
                  <a16:creationId xmlns:a16="http://schemas.microsoft.com/office/drawing/2014/main" id="{8B8C3F99-2C6C-4D83-A118-3DF75C333D8D}"/>
                </a:ext>
              </a:extLst>
            </p:cNvPr>
            <p:cNvSpPr/>
            <p:nvPr/>
          </p:nvSpPr>
          <p:spPr bwMode="auto">
            <a:xfrm>
              <a:off x="3311435" y="466619"/>
              <a:ext cx="86009" cy="86009"/>
            </a:xfrm>
            <a:custGeom>
              <a:avLst/>
              <a:gdLst>
                <a:gd name="T0" fmla="*/ 1902 w 2259"/>
                <a:gd name="T1" fmla="*/ 3 h 2264"/>
                <a:gd name="T2" fmla="*/ 1504 w 2259"/>
                <a:gd name="T3" fmla="*/ 64 h 2264"/>
                <a:gd name="T4" fmla="*/ 1136 w 2259"/>
                <a:gd name="T5" fmla="*/ 200 h 2264"/>
                <a:gd name="T6" fmla="*/ 805 w 2259"/>
                <a:gd name="T7" fmla="*/ 401 h 2264"/>
                <a:gd name="T8" fmla="*/ 521 w 2259"/>
                <a:gd name="T9" fmla="*/ 661 h 2264"/>
                <a:gd name="T10" fmla="*/ 290 w 2259"/>
                <a:gd name="T11" fmla="*/ 970 h 2264"/>
                <a:gd name="T12" fmla="*/ 121 w 2259"/>
                <a:gd name="T13" fmla="*/ 1322 h 2264"/>
                <a:gd name="T14" fmla="*/ 23 w 2259"/>
                <a:gd name="T15" fmla="*/ 1707 h 2264"/>
                <a:gd name="T16" fmla="*/ 0 w 2259"/>
                <a:gd name="T17" fmla="*/ 2026 h 2264"/>
                <a:gd name="T18" fmla="*/ 8 w 2259"/>
                <a:gd name="T19" fmla="*/ 2076 h 2264"/>
                <a:gd name="T20" fmla="*/ 24 w 2259"/>
                <a:gd name="T21" fmla="*/ 2122 h 2264"/>
                <a:gd name="T22" fmla="*/ 49 w 2259"/>
                <a:gd name="T23" fmla="*/ 2163 h 2264"/>
                <a:gd name="T24" fmla="*/ 82 w 2259"/>
                <a:gd name="T25" fmla="*/ 2199 h 2264"/>
                <a:gd name="T26" fmla="*/ 120 w 2259"/>
                <a:gd name="T27" fmla="*/ 2228 h 2264"/>
                <a:gd name="T28" fmla="*/ 164 w 2259"/>
                <a:gd name="T29" fmla="*/ 2249 h 2264"/>
                <a:gd name="T30" fmla="*/ 213 w 2259"/>
                <a:gd name="T31" fmla="*/ 2262 h 2264"/>
                <a:gd name="T32" fmla="*/ 264 w 2259"/>
                <a:gd name="T33" fmla="*/ 2264 h 2264"/>
                <a:gd name="T34" fmla="*/ 313 w 2259"/>
                <a:gd name="T35" fmla="*/ 2257 h 2264"/>
                <a:gd name="T36" fmla="*/ 359 w 2259"/>
                <a:gd name="T37" fmla="*/ 2240 h 2264"/>
                <a:gd name="T38" fmla="*/ 400 w 2259"/>
                <a:gd name="T39" fmla="*/ 2215 h 2264"/>
                <a:gd name="T40" fmla="*/ 436 w 2259"/>
                <a:gd name="T41" fmla="*/ 2181 h 2264"/>
                <a:gd name="T42" fmla="*/ 465 w 2259"/>
                <a:gd name="T43" fmla="*/ 2143 h 2264"/>
                <a:gd name="T44" fmla="*/ 487 w 2259"/>
                <a:gd name="T45" fmla="*/ 2099 h 2264"/>
                <a:gd name="T46" fmla="*/ 499 w 2259"/>
                <a:gd name="T47" fmla="*/ 2051 h 2264"/>
                <a:gd name="T48" fmla="*/ 504 w 2259"/>
                <a:gd name="T49" fmla="*/ 1935 h 2264"/>
                <a:gd name="T50" fmla="*/ 549 w 2259"/>
                <a:gd name="T51" fmla="*/ 1636 h 2264"/>
                <a:gd name="T52" fmla="*/ 650 w 2259"/>
                <a:gd name="T53" fmla="*/ 1359 h 2264"/>
                <a:gd name="T54" fmla="*/ 801 w 2259"/>
                <a:gd name="T55" fmla="*/ 1110 h 2264"/>
                <a:gd name="T56" fmla="*/ 995 w 2259"/>
                <a:gd name="T57" fmla="*/ 896 h 2264"/>
                <a:gd name="T58" fmla="*/ 1227 w 2259"/>
                <a:gd name="T59" fmla="*/ 722 h 2264"/>
                <a:gd name="T60" fmla="*/ 1490 w 2259"/>
                <a:gd name="T61" fmla="*/ 595 h 2264"/>
                <a:gd name="T62" fmla="*/ 1779 w 2259"/>
                <a:gd name="T63" fmla="*/ 521 h 2264"/>
                <a:gd name="T64" fmla="*/ 2008 w 2259"/>
                <a:gd name="T65" fmla="*/ 503 h 2264"/>
                <a:gd name="T66" fmla="*/ 2058 w 2259"/>
                <a:gd name="T67" fmla="*/ 498 h 2264"/>
                <a:gd name="T68" fmla="*/ 2105 w 2259"/>
                <a:gd name="T69" fmla="*/ 483 h 2264"/>
                <a:gd name="T70" fmla="*/ 2149 w 2259"/>
                <a:gd name="T71" fmla="*/ 460 h 2264"/>
                <a:gd name="T72" fmla="*/ 2186 w 2259"/>
                <a:gd name="T73" fmla="*/ 430 h 2264"/>
                <a:gd name="T74" fmla="*/ 2216 w 2259"/>
                <a:gd name="T75" fmla="*/ 392 h 2264"/>
                <a:gd name="T76" fmla="*/ 2239 w 2259"/>
                <a:gd name="T77" fmla="*/ 349 h 2264"/>
                <a:gd name="T78" fmla="*/ 2254 w 2259"/>
                <a:gd name="T79" fmla="*/ 302 h 2264"/>
                <a:gd name="T80" fmla="*/ 2259 w 2259"/>
                <a:gd name="T81" fmla="*/ 252 h 2264"/>
                <a:gd name="T82" fmla="*/ 2254 w 2259"/>
                <a:gd name="T83" fmla="*/ 201 h 2264"/>
                <a:gd name="T84" fmla="*/ 2239 w 2259"/>
                <a:gd name="T85" fmla="*/ 154 h 2264"/>
                <a:gd name="T86" fmla="*/ 2216 w 2259"/>
                <a:gd name="T87" fmla="*/ 111 h 2264"/>
                <a:gd name="T88" fmla="*/ 2186 w 2259"/>
                <a:gd name="T89" fmla="*/ 74 h 2264"/>
                <a:gd name="T90" fmla="*/ 2149 w 2259"/>
                <a:gd name="T91" fmla="*/ 42 h 2264"/>
                <a:gd name="T92" fmla="*/ 2105 w 2259"/>
                <a:gd name="T93" fmla="*/ 19 h 2264"/>
                <a:gd name="T94" fmla="*/ 2058 w 2259"/>
                <a:gd name="T95" fmla="*/ 5 h 2264"/>
                <a:gd name="T96" fmla="*/ 2008 w 2259"/>
                <a:gd name="T97" fmla="*/ 0 h 2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59" h="2264">
                  <a:moveTo>
                    <a:pt x="2008" y="0"/>
                  </a:moveTo>
                  <a:lnTo>
                    <a:pt x="2006" y="0"/>
                  </a:lnTo>
                  <a:lnTo>
                    <a:pt x="2005" y="0"/>
                  </a:lnTo>
                  <a:lnTo>
                    <a:pt x="1902" y="3"/>
                  </a:lnTo>
                  <a:lnTo>
                    <a:pt x="1800" y="11"/>
                  </a:lnTo>
                  <a:lnTo>
                    <a:pt x="1700" y="24"/>
                  </a:lnTo>
                  <a:lnTo>
                    <a:pt x="1601" y="42"/>
                  </a:lnTo>
                  <a:lnTo>
                    <a:pt x="1504" y="64"/>
                  </a:lnTo>
                  <a:lnTo>
                    <a:pt x="1409" y="92"/>
                  </a:lnTo>
                  <a:lnTo>
                    <a:pt x="1315" y="124"/>
                  </a:lnTo>
                  <a:lnTo>
                    <a:pt x="1224" y="159"/>
                  </a:lnTo>
                  <a:lnTo>
                    <a:pt x="1136" y="200"/>
                  </a:lnTo>
                  <a:lnTo>
                    <a:pt x="1049" y="244"/>
                  </a:lnTo>
                  <a:lnTo>
                    <a:pt x="965" y="293"/>
                  </a:lnTo>
                  <a:lnTo>
                    <a:pt x="884" y="345"/>
                  </a:lnTo>
                  <a:lnTo>
                    <a:pt x="805" y="401"/>
                  </a:lnTo>
                  <a:lnTo>
                    <a:pt x="729" y="461"/>
                  </a:lnTo>
                  <a:lnTo>
                    <a:pt x="656" y="524"/>
                  </a:lnTo>
                  <a:lnTo>
                    <a:pt x="587" y="590"/>
                  </a:lnTo>
                  <a:lnTo>
                    <a:pt x="521" y="661"/>
                  </a:lnTo>
                  <a:lnTo>
                    <a:pt x="457" y="733"/>
                  </a:lnTo>
                  <a:lnTo>
                    <a:pt x="398" y="810"/>
                  </a:lnTo>
                  <a:lnTo>
                    <a:pt x="342" y="888"/>
                  </a:lnTo>
                  <a:lnTo>
                    <a:pt x="290" y="970"/>
                  </a:lnTo>
                  <a:lnTo>
                    <a:pt x="242" y="1054"/>
                  </a:lnTo>
                  <a:lnTo>
                    <a:pt x="197" y="1141"/>
                  </a:lnTo>
                  <a:lnTo>
                    <a:pt x="157" y="1230"/>
                  </a:lnTo>
                  <a:lnTo>
                    <a:pt x="121" y="1322"/>
                  </a:lnTo>
                  <a:lnTo>
                    <a:pt x="90" y="1415"/>
                  </a:lnTo>
                  <a:lnTo>
                    <a:pt x="63" y="1510"/>
                  </a:lnTo>
                  <a:lnTo>
                    <a:pt x="40" y="1607"/>
                  </a:lnTo>
                  <a:lnTo>
                    <a:pt x="23" y="1707"/>
                  </a:lnTo>
                  <a:lnTo>
                    <a:pt x="10" y="1807"/>
                  </a:lnTo>
                  <a:lnTo>
                    <a:pt x="2" y="1909"/>
                  </a:lnTo>
                  <a:lnTo>
                    <a:pt x="0" y="2012"/>
                  </a:lnTo>
                  <a:lnTo>
                    <a:pt x="0" y="2026"/>
                  </a:lnTo>
                  <a:lnTo>
                    <a:pt x="1" y="2039"/>
                  </a:lnTo>
                  <a:lnTo>
                    <a:pt x="3" y="2051"/>
                  </a:lnTo>
                  <a:lnTo>
                    <a:pt x="5" y="2064"/>
                  </a:lnTo>
                  <a:lnTo>
                    <a:pt x="8" y="2076"/>
                  </a:lnTo>
                  <a:lnTo>
                    <a:pt x="11" y="2088"/>
                  </a:lnTo>
                  <a:lnTo>
                    <a:pt x="15" y="2099"/>
                  </a:lnTo>
                  <a:lnTo>
                    <a:pt x="19" y="2111"/>
                  </a:lnTo>
                  <a:lnTo>
                    <a:pt x="24" y="2122"/>
                  </a:lnTo>
                  <a:lnTo>
                    <a:pt x="30" y="2132"/>
                  </a:lnTo>
                  <a:lnTo>
                    <a:pt x="36" y="2143"/>
                  </a:lnTo>
                  <a:lnTo>
                    <a:pt x="42" y="2153"/>
                  </a:lnTo>
                  <a:lnTo>
                    <a:pt x="49" y="2163"/>
                  </a:lnTo>
                  <a:lnTo>
                    <a:pt x="57" y="2172"/>
                  </a:lnTo>
                  <a:lnTo>
                    <a:pt x="65" y="2181"/>
                  </a:lnTo>
                  <a:lnTo>
                    <a:pt x="73" y="2191"/>
                  </a:lnTo>
                  <a:lnTo>
                    <a:pt x="82" y="2199"/>
                  </a:lnTo>
                  <a:lnTo>
                    <a:pt x="91" y="2207"/>
                  </a:lnTo>
                  <a:lnTo>
                    <a:pt x="100" y="2215"/>
                  </a:lnTo>
                  <a:lnTo>
                    <a:pt x="110" y="2222"/>
                  </a:lnTo>
                  <a:lnTo>
                    <a:pt x="120" y="2228"/>
                  </a:lnTo>
                  <a:lnTo>
                    <a:pt x="131" y="2234"/>
                  </a:lnTo>
                  <a:lnTo>
                    <a:pt x="142" y="2240"/>
                  </a:lnTo>
                  <a:lnTo>
                    <a:pt x="153" y="2245"/>
                  </a:lnTo>
                  <a:lnTo>
                    <a:pt x="164" y="2249"/>
                  </a:lnTo>
                  <a:lnTo>
                    <a:pt x="176" y="2253"/>
                  </a:lnTo>
                  <a:lnTo>
                    <a:pt x="187" y="2257"/>
                  </a:lnTo>
                  <a:lnTo>
                    <a:pt x="200" y="2259"/>
                  </a:lnTo>
                  <a:lnTo>
                    <a:pt x="213" y="2262"/>
                  </a:lnTo>
                  <a:lnTo>
                    <a:pt x="225" y="2263"/>
                  </a:lnTo>
                  <a:lnTo>
                    <a:pt x="238" y="2264"/>
                  </a:lnTo>
                  <a:lnTo>
                    <a:pt x="251" y="2264"/>
                  </a:lnTo>
                  <a:lnTo>
                    <a:pt x="264" y="2264"/>
                  </a:lnTo>
                  <a:lnTo>
                    <a:pt x="277" y="2263"/>
                  </a:lnTo>
                  <a:lnTo>
                    <a:pt x="289" y="2262"/>
                  </a:lnTo>
                  <a:lnTo>
                    <a:pt x="301" y="2259"/>
                  </a:lnTo>
                  <a:lnTo>
                    <a:pt x="313" y="2257"/>
                  </a:lnTo>
                  <a:lnTo>
                    <a:pt x="325" y="2253"/>
                  </a:lnTo>
                  <a:lnTo>
                    <a:pt x="337" y="2249"/>
                  </a:lnTo>
                  <a:lnTo>
                    <a:pt x="348" y="2245"/>
                  </a:lnTo>
                  <a:lnTo>
                    <a:pt x="359" y="2240"/>
                  </a:lnTo>
                  <a:lnTo>
                    <a:pt x="370" y="2234"/>
                  </a:lnTo>
                  <a:lnTo>
                    <a:pt x="380" y="2228"/>
                  </a:lnTo>
                  <a:lnTo>
                    <a:pt x="391" y="2222"/>
                  </a:lnTo>
                  <a:lnTo>
                    <a:pt x="400" y="2215"/>
                  </a:lnTo>
                  <a:lnTo>
                    <a:pt x="410" y="2207"/>
                  </a:lnTo>
                  <a:lnTo>
                    <a:pt x="419" y="2199"/>
                  </a:lnTo>
                  <a:lnTo>
                    <a:pt x="428" y="2191"/>
                  </a:lnTo>
                  <a:lnTo>
                    <a:pt x="436" y="2181"/>
                  </a:lnTo>
                  <a:lnTo>
                    <a:pt x="444" y="2172"/>
                  </a:lnTo>
                  <a:lnTo>
                    <a:pt x="451" y="2163"/>
                  </a:lnTo>
                  <a:lnTo>
                    <a:pt x="458" y="2153"/>
                  </a:lnTo>
                  <a:lnTo>
                    <a:pt x="465" y="2143"/>
                  </a:lnTo>
                  <a:lnTo>
                    <a:pt x="471" y="2132"/>
                  </a:lnTo>
                  <a:lnTo>
                    <a:pt x="476" y="2122"/>
                  </a:lnTo>
                  <a:lnTo>
                    <a:pt x="481" y="2111"/>
                  </a:lnTo>
                  <a:lnTo>
                    <a:pt x="487" y="2099"/>
                  </a:lnTo>
                  <a:lnTo>
                    <a:pt x="491" y="2088"/>
                  </a:lnTo>
                  <a:lnTo>
                    <a:pt x="494" y="2076"/>
                  </a:lnTo>
                  <a:lnTo>
                    <a:pt x="497" y="2064"/>
                  </a:lnTo>
                  <a:lnTo>
                    <a:pt x="499" y="2051"/>
                  </a:lnTo>
                  <a:lnTo>
                    <a:pt x="501" y="2039"/>
                  </a:lnTo>
                  <a:lnTo>
                    <a:pt x="501" y="2026"/>
                  </a:lnTo>
                  <a:lnTo>
                    <a:pt x="502" y="2012"/>
                  </a:lnTo>
                  <a:lnTo>
                    <a:pt x="504" y="1935"/>
                  </a:lnTo>
                  <a:lnTo>
                    <a:pt x="510" y="1859"/>
                  </a:lnTo>
                  <a:lnTo>
                    <a:pt x="519" y="1783"/>
                  </a:lnTo>
                  <a:lnTo>
                    <a:pt x="532" y="1709"/>
                  </a:lnTo>
                  <a:lnTo>
                    <a:pt x="549" y="1636"/>
                  </a:lnTo>
                  <a:lnTo>
                    <a:pt x="569" y="1564"/>
                  </a:lnTo>
                  <a:lnTo>
                    <a:pt x="593" y="1495"/>
                  </a:lnTo>
                  <a:lnTo>
                    <a:pt x="620" y="1426"/>
                  </a:lnTo>
                  <a:lnTo>
                    <a:pt x="650" y="1359"/>
                  </a:lnTo>
                  <a:lnTo>
                    <a:pt x="683" y="1294"/>
                  </a:lnTo>
                  <a:lnTo>
                    <a:pt x="719" y="1231"/>
                  </a:lnTo>
                  <a:lnTo>
                    <a:pt x="759" y="1170"/>
                  </a:lnTo>
                  <a:lnTo>
                    <a:pt x="801" y="1110"/>
                  </a:lnTo>
                  <a:lnTo>
                    <a:pt x="846" y="1053"/>
                  </a:lnTo>
                  <a:lnTo>
                    <a:pt x="893" y="999"/>
                  </a:lnTo>
                  <a:lnTo>
                    <a:pt x="943" y="946"/>
                  </a:lnTo>
                  <a:lnTo>
                    <a:pt x="995" y="896"/>
                  </a:lnTo>
                  <a:lnTo>
                    <a:pt x="1051" y="849"/>
                  </a:lnTo>
                  <a:lnTo>
                    <a:pt x="1107" y="804"/>
                  </a:lnTo>
                  <a:lnTo>
                    <a:pt x="1166" y="761"/>
                  </a:lnTo>
                  <a:lnTo>
                    <a:pt x="1227" y="722"/>
                  </a:lnTo>
                  <a:lnTo>
                    <a:pt x="1290" y="686"/>
                  </a:lnTo>
                  <a:lnTo>
                    <a:pt x="1356" y="653"/>
                  </a:lnTo>
                  <a:lnTo>
                    <a:pt x="1422" y="623"/>
                  </a:lnTo>
                  <a:lnTo>
                    <a:pt x="1490" y="595"/>
                  </a:lnTo>
                  <a:lnTo>
                    <a:pt x="1560" y="571"/>
                  </a:lnTo>
                  <a:lnTo>
                    <a:pt x="1632" y="551"/>
                  </a:lnTo>
                  <a:lnTo>
                    <a:pt x="1705" y="534"/>
                  </a:lnTo>
                  <a:lnTo>
                    <a:pt x="1779" y="521"/>
                  </a:lnTo>
                  <a:lnTo>
                    <a:pt x="1854" y="511"/>
                  </a:lnTo>
                  <a:lnTo>
                    <a:pt x="1931" y="505"/>
                  </a:lnTo>
                  <a:lnTo>
                    <a:pt x="2008" y="503"/>
                  </a:lnTo>
                  <a:lnTo>
                    <a:pt x="2008" y="503"/>
                  </a:lnTo>
                  <a:lnTo>
                    <a:pt x="2021" y="503"/>
                  </a:lnTo>
                  <a:lnTo>
                    <a:pt x="2034" y="502"/>
                  </a:lnTo>
                  <a:lnTo>
                    <a:pt x="2046" y="500"/>
                  </a:lnTo>
                  <a:lnTo>
                    <a:pt x="2058" y="498"/>
                  </a:lnTo>
                  <a:lnTo>
                    <a:pt x="2070" y="495"/>
                  </a:lnTo>
                  <a:lnTo>
                    <a:pt x="2082" y="492"/>
                  </a:lnTo>
                  <a:lnTo>
                    <a:pt x="2094" y="488"/>
                  </a:lnTo>
                  <a:lnTo>
                    <a:pt x="2105" y="483"/>
                  </a:lnTo>
                  <a:lnTo>
                    <a:pt x="2116" y="478"/>
                  </a:lnTo>
                  <a:lnTo>
                    <a:pt x="2127" y="473"/>
                  </a:lnTo>
                  <a:lnTo>
                    <a:pt x="2137" y="467"/>
                  </a:lnTo>
                  <a:lnTo>
                    <a:pt x="2149" y="460"/>
                  </a:lnTo>
                  <a:lnTo>
                    <a:pt x="2158" y="453"/>
                  </a:lnTo>
                  <a:lnTo>
                    <a:pt x="2168" y="446"/>
                  </a:lnTo>
                  <a:lnTo>
                    <a:pt x="2177" y="438"/>
                  </a:lnTo>
                  <a:lnTo>
                    <a:pt x="2186" y="430"/>
                  </a:lnTo>
                  <a:lnTo>
                    <a:pt x="2194" y="420"/>
                  </a:lnTo>
                  <a:lnTo>
                    <a:pt x="2202" y="411"/>
                  </a:lnTo>
                  <a:lnTo>
                    <a:pt x="2209" y="401"/>
                  </a:lnTo>
                  <a:lnTo>
                    <a:pt x="2216" y="392"/>
                  </a:lnTo>
                  <a:lnTo>
                    <a:pt x="2223" y="381"/>
                  </a:lnTo>
                  <a:lnTo>
                    <a:pt x="2229" y="371"/>
                  </a:lnTo>
                  <a:lnTo>
                    <a:pt x="2234" y="360"/>
                  </a:lnTo>
                  <a:lnTo>
                    <a:pt x="2239" y="349"/>
                  </a:lnTo>
                  <a:lnTo>
                    <a:pt x="2244" y="338"/>
                  </a:lnTo>
                  <a:lnTo>
                    <a:pt x="2248" y="326"/>
                  </a:lnTo>
                  <a:lnTo>
                    <a:pt x="2251" y="314"/>
                  </a:lnTo>
                  <a:lnTo>
                    <a:pt x="2254" y="302"/>
                  </a:lnTo>
                  <a:lnTo>
                    <a:pt x="2256" y="290"/>
                  </a:lnTo>
                  <a:lnTo>
                    <a:pt x="2258" y="278"/>
                  </a:lnTo>
                  <a:lnTo>
                    <a:pt x="2259" y="265"/>
                  </a:lnTo>
                  <a:lnTo>
                    <a:pt x="2259" y="252"/>
                  </a:lnTo>
                  <a:lnTo>
                    <a:pt x="2259" y="238"/>
                  </a:lnTo>
                  <a:lnTo>
                    <a:pt x="2258" y="226"/>
                  </a:lnTo>
                  <a:lnTo>
                    <a:pt x="2256" y="213"/>
                  </a:lnTo>
                  <a:lnTo>
                    <a:pt x="2254" y="201"/>
                  </a:lnTo>
                  <a:lnTo>
                    <a:pt x="2251" y="189"/>
                  </a:lnTo>
                  <a:lnTo>
                    <a:pt x="2248" y="177"/>
                  </a:lnTo>
                  <a:lnTo>
                    <a:pt x="2244" y="165"/>
                  </a:lnTo>
                  <a:lnTo>
                    <a:pt x="2239" y="154"/>
                  </a:lnTo>
                  <a:lnTo>
                    <a:pt x="2234" y="143"/>
                  </a:lnTo>
                  <a:lnTo>
                    <a:pt x="2229" y="132"/>
                  </a:lnTo>
                  <a:lnTo>
                    <a:pt x="2223" y="121"/>
                  </a:lnTo>
                  <a:lnTo>
                    <a:pt x="2216" y="111"/>
                  </a:lnTo>
                  <a:lnTo>
                    <a:pt x="2209" y="101"/>
                  </a:lnTo>
                  <a:lnTo>
                    <a:pt x="2202" y="92"/>
                  </a:lnTo>
                  <a:lnTo>
                    <a:pt x="2194" y="83"/>
                  </a:lnTo>
                  <a:lnTo>
                    <a:pt x="2186" y="74"/>
                  </a:lnTo>
                  <a:lnTo>
                    <a:pt x="2177" y="65"/>
                  </a:lnTo>
                  <a:lnTo>
                    <a:pt x="2168" y="57"/>
                  </a:lnTo>
                  <a:lnTo>
                    <a:pt x="2158" y="49"/>
                  </a:lnTo>
                  <a:lnTo>
                    <a:pt x="2149" y="42"/>
                  </a:lnTo>
                  <a:lnTo>
                    <a:pt x="2137" y="36"/>
                  </a:lnTo>
                  <a:lnTo>
                    <a:pt x="2127" y="30"/>
                  </a:lnTo>
                  <a:lnTo>
                    <a:pt x="2116" y="24"/>
                  </a:lnTo>
                  <a:lnTo>
                    <a:pt x="2105" y="19"/>
                  </a:lnTo>
                  <a:lnTo>
                    <a:pt x="2094" y="15"/>
                  </a:lnTo>
                  <a:lnTo>
                    <a:pt x="2082" y="11"/>
                  </a:lnTo>
                  <a:lnTo>
                    <a:pt x="2070" y="8"/>
                  </a:lnTo>
                  <a:lnTo>
                    <a:pt x="2058" y="5"/>
                  </a:lnTo>
                  <a:lnTo>
                    <a:pt x="2046" y="3"/>
                  </a:lnTo>
                  <a:lnTo>
                    <a:pt x="2034" y="1"/>
                  </a:lnTo>
                  <a:lnTo>
                    <a:pt x="2021" y="0"/>
                  </a:lnTo>
                  <a:lnTo>
                    <a:pt x="200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53" name="iṧḻiḑe">
              <a:extLst>
                <a:ext uri="{FF2B5EF4-FFF2-40B4-BE49-F238E27FC236}">
                  <a16:creationId xmlns:a16="http://schemas.microsoft.com/office/drawing/2014/main" id="{1B461432-F367-4F5F-86B7-086E1FD3D82C}"/>
                </a:ext>
              </a:extLst>
            </p:cNvPr>
            <p:cNvSpPr/>
            <p:nvPr/>
          </p:nvSpPr>
          <p:spPr bwMode="auto">
            <a:xfrm>
              <a:off x="3253626" y="408810"/>
              <a:ext cx="267895" cy="267895"/>
            </a:xfrm>
            <a:custGeom>
              <a:avLst/>
              <a:gdLst>
                <a:gd name="T0" fmla="*/ 2911 w 7036"/>
                <a:gd name="T1" fmla="*/ 6484 h 7049"/>
                <a:gd name="T2" fmla="*/ 2212 w 7036"/>
                <a:gd name="T3" fmla="*/ 6248 h 7049"/>
                <a:gd name="T4" fmla="*/ 1601 w 7036"/>
                <a:gd name="T5" fmla="*/ 5856 h 7049"/>
                <a:gd name="T6" fmla="*/ 1102 w 7036"/>
                <a:gd name="T7" fmla="*/ 5332 h 7049"/>
                <a:gd name="T8" fmla="*/ 740 w 7036"/>
                <a:gd name="T9" fmla="*/ 4699 h 7049"/>
                <a:gd name="T10" fmla="*/ 538 w 7036"/>
                <a:gd name="T11" fmla="*/ 3984 h 7049"/>
                <a:gd name="T12" fmla="*/ 518 w 7036"/>
                <a:gd name="T13" fmla="*/ 3216 h 7049"/>
                <a:gd name="T14" fmla="*/ 686 w 7036"/>
                <a:gd name="T15" fmla="*/ 2487 h 7049"/>
                <a:gd name="T16" fmla="*/ 1019 w 7036"/>
                <a:gd name="T17" fmla="*/ 1836 h 7049"/>
                <a:gd name="T18" fmla="*/ 1492 w 7036"/>
                <a:gd name="T19" fmla="*/ 1289 h 7049"/>
                <a:gd name="T20" fmla="*/ 2082 w 7036"/>
                <a:gd name="T21" fmla="*/ 868 h 7049"/>
                <a:gd name="T22" fmla="*/ 2765 w 7036"/>
                <a:gd name="T23" fmla="*/ 598 h 7049"/>
                <a:gd name="T24" fmla="*/ 3518 w 7036"/>
                <a:gd name="T25" fmla="*/ 503 h 7049"/>
                <a:gd name="T26" fmla="*/ 4271 w 7036"/>
                <a:gd name="T27" fmla="*/ 598 h 7049"/>
                <a:gd name="T28" fmla="*/ 4954 w 7036"/>
                <a:gd name="T29" fmla="*/ 868 h 7049"/>
                <a:gd name="T30" fmla="*/ 5544 w 7036"/>
                <a:gd name="T31" fmla="*/ 1289 h 7049"/>
                <a:gd name="T32" fmla="*/ 6018 w 7036"/>
                <a:gd name="T33" fmla="*/ 1836 h 7049"/>
                <a:gd name="T34" fmla="*/ 6350 w 7036"/>
                <a:gd name="T35" fmla="*/ 2487 h 7049"/>
                <a:gd name="T36" fmla="*/ 6518 w 7036"/>
                <a:gd name="T37" fmla="*/ 3216 h 7049"/>
                <a:gd name="T38" fmla="*/ 6499 w 7036"/>
                <a:gd name="T39" fmla="*/ 3984 h 7049"/>
                <a:gd name="T40" fmla="*/ 6296 w 7036"/>
                <a:gd name="T41" fmla="*/ 4699 h 7049"/>
                <a:gd name="T42" fmla="*/ 5934 w 7036"/>
                <a:gd name="T43" fmla="*/ 5332 h 7049"/>
                <a:gd name="T44" fmla="*/ 5435 w 7036"/>
                <a:gd name="T45" fmla="*/ 5856 h 7049"/>
                <a:gd name="T46" fmla="*/ 4825 w 7036"/>
                <a:gd name="T47" fmla="*/ 6248 h 7049"/>
                <a:gd name="T48" fmla="*/ 4125 w 7036"/>
                <a:gd name="T49" fmla="*/ 6484 h 7049"/>
                <a:gd name="T50" fmla="*/ 3518 w 7036"/>
                <a:gd name="T51" fmla="*/ 0 h 7049"/>
                <a:gd name="T52" fmla="*/ 2639 w 7036"/>
                <a:gd name="T53" fmla="*/ 110 h 7049"/>
                <a:gd name="T54" fmla="*/ 1842 w 7036"/>
                <a:gd name="T55" fmla="*/ 425 h 7049"/>
                <a:gd name="T56" fmla="*/ 1153 w 7036"/>
                <a:gd name="T57" fmla="*/ 916 h 7049"/>
                <a:gd name="T58" fmla="*/ 601 w 7036"/>
                <a:gd name="T59" fmla="*/ 1553 h 7049"/>
                <a:gd name="T60" fmla="*/ 214 w 7036"/>
                <a:gd name="T61" fmla="*/ 2313 h 7049"/>
                <a:gd name="T62" fmla="*/ 18 w 7036"/>
                <a:gd name="T63" fmla="*/ 3164 h 7049"/>
                <a:gd name="T64" fmla="*/ 41 w 7036"/>
                <a:gd name="T65" fmla="*/ 4062 h 7049"/>
                <a:gd name="T66" fmla="*/ 277 w 7036"/>
                <a:gd name="T67" fmla="*/ 4896 h 7049"/>
                <a:gd name="T68" fmla="*/ 700 w 7036"/>
                <a:gd name="T69" fmla="*/ 5633 h 7049"/>
                <a:gd name="T70" fmla="*/ 1281 w 7036"/>
                <a:gd name="T71" fmla="*/ 6245 h 7049"/>
                <a:gd name="T72" fmla="*/ 1993 w 7036"/>
                <a:gd name="T73" fmla="*/ 6703 h 7049"/>
                <a:gd name="T74" fmla="*/ 2809 w 7036"/>
                <a:gd name="T75" fmla="*/ 6978 h 7049"/>
                <a:gd name="T76" fmla="*/ 3700 w 7036"/>
                <a:gd name="T77" fmla="*/ 7045 h 7049"/>
                <a:gd name="T78" fmla="*/ 4565 w 7036"/>
                <a:gd name="T79" fmla="*/ 6892 h 7049"/>
                <a:gd name="T80" fmla="*/ 5343 w 7036"/>
                <a:gd name="T81" fmla="*/ 6540 h 7049"/>
                <a:gd name="T82" fmla="*/ 6006 w 7036"/>
                <a:gd name="T83" fmla="*/ 6018 h 7049"/>
                <a:gd name="T84" fmla="*/ 6527 w 7036"/>
                <a:gd name="T85" fmla="*/ 5353 h 7049"/>
                <a:gd name="T86" fmla="*/ 6878 w 7036"/>
                <a:gd name="T87" fmla="*/ 4572 h 7049"/>
                <a:gd name="T88" fmla="*/ 7032 w 7036"/>
                <a:gd name="T89" fmla="*/ 3706 h 7049"/>
                <a:gd name="T90" fmla="*/ 6964 w 7036"/>
                <a:gd name="T91" fmla="*/ 2814 h 7049"/>
                <a:gd name="T92" fmla="*/ 6689 w 7036"/>
                <a:gd name="T93" fmla="*/ 1997 h 7049"/>
                <a:gd name="T94" fmla="*/ 6233 w 7036"/>
                <a:gd name="T95" fmla="*/ 1283 h 7049"/>
                <a:gd name="T96" fmla="*/ 5623 w 7036"/>
                <a:gd name="T97" fmla="*/ 700 h 7049"/>
                <a:gd name="T98" fmla="*/ 4888 w 7036"/>
                <a:gd name="T99" fmla="*/ 277 h 7049"/>
                <a:gd name="T100" fmla="*/ 4054 w 7036"/>
                <a:gd name="T101" fmla="*/ 40 h 70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036" h="7049">
                  <a:moveTo>
                    <a:pt x="3518" y="6547"/>
                  </a:moveTo>
                  <a:lnTo>
                    <a:pt x="3363" y="6543"/>
                  </a:lnTo>
                  <a:lnTo>
                    <a:pt x="3210" y="6531"/>
                  </a:lnTo>
                  <a:lnTo>
                    <a:pt x="3059" y="6511"/>
                  </a:lnTo>
                  <a:lnTo>
                    <a:pt x="2911" y="6484"/>
                  </a:lnTo>
                  <a:lnTo>
                    <a:pt x="2765" y="6451"/>
                  </a:lnTo>
                  <a:lnTo>
                    <a:pt x="2623" y="6410"/>
                  </a:lnTo>
                  <a:lnTo>
                    <a:pt x="2482" y="6363"/>
                  </a:lnTo>
                  <a:lnTo>
                    <a:pt x="2346" y="6308"/>
                  </a:lnTo>
                  <a:lnTo>
                    <a:pt x="2212" y="6248"/>
                  </a:lnTo>
                  <a:lnTo>
                    <a:pt x="2082" y="6181"/>
                  </a:lnTo>
                  <a:lnTo>
                    <a:pt x="1955" y="6108"/>
                  </a:lnTo>
                  <a:lnTo>
                    <a:pt x="1834" y="6030"/>
                  </a:lnTo>
                  <a:lnTo>
                    <a:pt x="1715" y="5945"/>
                  </a:lnTo>
                  <a:lnTo>
                    <a:pt x="1601" y="5856"/>
                  </a:lnTo>
                  <a:lnTo>
                    <a:pt x="1492" y="5760"/>
                  </a:lnTo>
                  <a:lnTo>
                    <a:pt x="1387" y="5661"/>
                  </a:lnTo>
                  <a:lnTo>
                    <a:pt x="1287" y="5555"/>
                  </a:lnTo>
                  <a:lnTo>
                    <a:pt x="1193" y="5445"/>
                  </a:lnTo>
                  <a:lnTo>
                    <a:pt x="1102" y="5332"/>
                  </a:lnTo>
                  <a:lnTo>
                    <a:pt x="1019" y="5213"/>
                  </a:lnTo>
                  <a:lnTo>
                    <a:pt x="940" y="5090"/>
                  </a:lnTo>
                  <a:lnTo>
                    <a:pt x="867" y="4964"/>
                  </a:lnTo>
                  <a:lnTo>
                    <a:pt x="801" y="4834"/>
                  </a:lnTo>
                  <a:lnTo>
                    <a:pt x="740" y="4699"/>
                  </a:lnTo>
                  <a:lnTo>
                    <a:pt x="686" y="4562"/>
                  </a:lnTo>
                  <a:lnTo>
                    <a:pt x="639" y="4423"/>
                  </a:lnTo>
                  <a:lnTo>
                    <a:pt x="598" y="4279"/>
                  </a:lnTo>
                  <a:lnTo>
                    <a:pt x="564" y="4133"/>
                  </a:lnTo>
                  <a:lnTo>
                    <a:pt x="538" y="3984"/>
                  </a:lnTo>
                  <a:lnTo>
                    <a:pt x="518" y="3833"/>
                  </a:lnTo>
                  <a:lnTo>
                    <a:pt x="507" y="3680"/>
                  </a:lnTo>
                  <a:lnTo>
                    <a:pt x="503" y="3525"/>
                  </a:lnTo>
                  <a:lnTo>
                    <a:pt x="507" y="3370"/>
                  </a:lnTo>
                  <a:lnTo>
                    <a:pt x="518" y="3216"/>
                  </a:lnTo>
                  <a:lnTo>
                    <a:pt x="538" y="3065"/>
                  </a:lnTo>
                  <a:lnTo>
                    <a:pt x="564" y="2916"/>
                  </a:lnTo>
                  <a:lnTo>
                    <a:pt x="598" y="2770"/>
                  </a:lnTo>
                  <a:lnTo>
                    <a:pt x="639" y="2627"/>
                  </a:lnTo>
                  <a:lnTo>
                    <a:pt x="686" y="2487"/>
                  </a:lnTo>
                  <a:lnTo>
                    <a:pt x="740" y="2350"/>
                  </a:lnTo>
                  <a:lnTo>
                    <a:pt x="801" y="2216"/>
                  </a:lnTo>
                  <a:lnTo>
                    <a:pt x="867" y="2085"/>
                  </a:lnTo>
                  <a:lnTo>
                    <a:pt x="940" y="1959"/>
                  </a:lnTo>
                  <a:lnTo>
                    <a:pt x="1019" y="1836"/>
                  </a:lnTo>
                  <a:lnTo>
                    <a:pt x="1102" y="1718"/>
                  </a:lnTo>
                  <a:lnTo>
                    <a:pt x="1193" y="1604"/>
                  </a:lnTo>
                  <a:lnTo>
                    <a:pt x="1287" y="1494"/>
                  </a:lnTo>
                  <a:lnTo>
                    <a:pt x="1387" y="1389"/>
                  </a:lnTo>
                  <a:lnTo>
                    <a:pt x="1492" y="1289"/>
                  </a:lnTo>
                  <a:lnTo>
                    <a:pt x="1601" y="1194"/>
                  </a:lnTo>
                  <a:lnTo>
                    <a:pt x="1715" y="1104"/>
                  </a:lnTo>
                  <a:lnTo>
                    <a:pt x="1834" y="1020"/>
                  </a:lnTo>
                  <a:lnTo>
                    <a:pt x="1955" y="941"/>
                  </a:lnTo>
                  <a:lnTo>
                    <a:pt x="2082" y="868"/>
                  </a:lnTo>
                  <a:lnTo>
                    <a:pt x="2212" y="801"/>
                  </a:lnTo>
                  <a:lnTo>
                    <a:pt x="2346" y="741"/>
                  </a:lnTo>
                  <a:lnTo>
                    <a:pt x="2482" y="686"/>
                  </a:lnTo>
                  <a:lnTo>
                    <a:pt x="2623" y="639"/>
                  </a:lnTo>
                  <a:lnTo>
                    <a:pt x="2765" y="598"/>
                  </a:lnTo>
                  <a:lnTo>
                    <a:pt x="2911" y="565"/>
                  </a:lnTo>
                  <a:lnTo>
                    <a:pt x="3059" y="538"/>
                  </a:lnTo>
                  <a:lnTo>
                    <a:pt x="3210" y="518"/>
                  </a:lnTo>
                  <a:lnTo>
                    <a:pt x="3363" y="507"/>
                  </a:lnTo>
                  <a:lnTo>
                    <a:pt x="3518" y="503"/>
                  </a:lnTo>
                  <a:lnTo>
                    <a:pt x="3674" y="507"/>
                  </a:lnTo>
                  <a:lnTo>
                    <a:pt x="3826" y="518"/>
                  </a:lnTo>
                  <a:lnTo>
                    <a:pt x="3977" y="538"/>
                  </a:lnTo>
                  <a:lnTo>
                    <a:pt x="4125" y="565"/>
                  </a:lnTo>
                  <a:lnTo>
                    <a:pt x="4271" y="598"/>
                  </a:lnTo>
                  <a:lnTo>
                    <a:pt x="4414" y="639"/>
                  </a:lnTo>
                  <a:lnTo>
                    <a:pt x="4554" y="686"/>
                  </a:lnTo>
                  <a:lnTo>
                    <a:pt x="4691" y="741"/>
                  </a:lnTo>
                  <a:lnTo>
                    <a:pt x="4825" y="801"/>
                  </a:lnTo>
                  <a:lnTo>
                    <a:pt x="4954" y="868"/>
                  </a:lnTo>
                  <a:lnTo>
                    <a:pt x="5081" y="941"/>
                  </a:lnTo>
                  <a:lnTo>
                    <a:pt x="5203" y="1020"/>
                  </a:lnTo>
                  <a:lnTo>
                    <a:pt x="5321" y="1104"/>
                  </a:lnTo>
                  <a:lnTo>
                    <a:pt x="5435" y="1194"/>
                  </a:lnTo>
                  <a:lnTo>
                    <a:pt x="5544" y="1289"/>
                  </a:lnTo>
                  <a:lnTo>
                    <a:pt x="5650" y="1389"/>
                  </a:lnTo>
                  <a:lnTo>
                    <a:pt x="5749" y="1494"/>
                  </a:lnTo>
                  <a:lnTo>
                    <a:pt x="5844" y="1604"/>
                  </a:lnTo>
                  <a:lnTo>
                    <a:pt x="5934" y="1718"/>
                  </a:lnTo>
                  <a:lnTo>
                    <a:pt x="6018" y="1836"/>
                  </a:lnTo>
                  <a:lnTo>
                    <a:pt x="6096" y="1959"/>
                  </a:lnTo>
                  <a:lnTo>
                    <a:pt x="6169" y="2085"/>
                  </a:lnTo>
                  <a:lnTo>
                    <a:pt x="6236" y="2216"/>
                  </a:lnTo>
                  <a:lnTo>
                    <a:pt x="6296" y="2350"/>
                  </a:lnTo>
                  <a:lnTo>
                    <a:pt x="6350" y="2487"/>
                  </a:lnTo>
                  <a:lnTo>
                    <a:pt x="6397" y="2627"/>
                  </a:lnTo>
                  <a:lnTo>
                    <a:pt x="6439" y="2770"/>
                  </a:lnTo>
                  <a:lnTo>
                    <a:pt x="6472" y="2916"/>
                  </a:lnTo>
                  <a:lnTo>
                    <a:pt x="6499" y="3065"/>
                  </a:lnTo>
                  <a:lnTo>
                    <a:pt x="6518" y="3216"/>
                  </a:lnTo>
                  <a:lnTo>
                    <a:pt x="6530" y="3370"/>
                  </a:lnTo>
                  <a:lnTo>
                    <a:pt x="6533" y="3525"/>
                  </a:lnTo>
                  <a:lnTo>
                    <a:pt x="6530" y="3680"/>
                  </a:lnTo>
                  <a:lnTo>
                    <a:pt x="6518" y="3833"/>
                  </a:lnTo>
                  <a:lnTo>
                    <a:pt x="6499" y="3984"/>
                  </a:lnTo>
                  <a:lnTo>
                    <a:pt x="6472" y="4133"/>
                  </a:lnTo>
                  <a:lnTo>
                    <a:pt x="6439" y="4279"/>
                  </a:lnTo>
                  <a:lnTo>
                    <a:pt x="6397" y="4423"/>
                  </a:lnTo>
                  <a:lnTo>
                    <a:pt x="6350" y="4562"/>
                  </a:lnTo>
                  <a:lnTo>
                    <a:pt x="6296" y="4699"/>
                  </a:lnTo>
                  <a:lnTo>
                    <a:pt x="6236" y="4834"/>
                  </a:lnTo>
                  <a:lnTo>
                    <a:pt x="6169" y="4964"/>
                  </a:lnTo>
                  <a:lnTo>
                    <a:pt x="6096" y="5090"/>
                  </a:lnTo>
                  <a:lnTo>
                    <a:pt x="6018" y="5213"/>
                  </a:lnTo>
                  <a:lnTo>
                    <a:pt x="5934" y="5332"/>
                  </a:lnTo>
                  <a:lnTo>
                    <a:pt x="5844" y="5445"/>
                  </a:lnTo>
                  <a:lnTo>
                    <a:pt x="5749" y="5555"/>
                  </a:lnTo>
                  <a:lnTo>
                    <a:pt x="5650" y="5661"/>
                  </a:lnTo>
                  <a:lnTo>
                    <a:pt x="5544" y="5760"/>
                  </a:lnTo>
                  <a:lnTo>
                    <a:pt x="5435" y="5856"/>
                  </a:lnTo>
                  <a:lnTo>
                    <a:pt x="5321" y="5945"/>
                  </a:lnTo>
                  <a:lnTo>
                    <a:pt x="5203" y="6030"/>
                  </a:lnTo>
                  <a:lnTo>
                    <a:pt x="5081" y="6108"/>
                  </a:lnTo>
                  <a:lnTo>
                    <a:pt x="4954" y="6181"/>
                  </a:lnTo>
                  <a:lnTo>
                    <a:pt x="4825" y="6248"/>
                  </a:lnTo>
                  <a:lnTo>
                    <a:pt x="4691" y="6308"/>
                  </a:lnTo>
                  <a:lnTo>
                    <a:pt x="4554" y="6363"/>
                  </a:lnTo>
                  <a:lnTo>
                    <a:pt x="4414" y="6410"/>
                  </a:lnTo>
                  <a:lnTo>
                    <a:pt x="4271" y="6451"/>
                  </a:lnTo>
                  <a:lnTo>
                    <a:pt x="4125" y="6484"/>
                  </a:lnTo>
                  <a:lnTo>
                    <a:pt x="3977" y="6511"/>
                  </a:lnTo>
                  <a:lnTo>
                    <a:pt x="3826" y="6531"/>
                  </a:lnTo>
                  <a:lnTo>
                    <a:pt x="3674" y="6543"/>
                  </a:lnTo>
                  <a:lnTo>
                    <a:pt x="3518" y="6547"/>
                  </a:lnTo>
                  <a:close/>
                  <a:moveTo>
                    <a:pt x="3518" y="0"/>
                  </a:moveTo>
                  <a:lnTo>
                    <a:pt x="3337" y="5"/>
                  </a:lnTo>
                  <a:lnTo>
                    <a:pt x="3159" y="18"/>
                  </a:lnTo>
                  <a:lnTo>
                    <a:pt x="2982" y="40"/>
                  </a:lnTo>
                  <a:lnTo>
                    <a:pt x="2809" y="71"/>
                  </a:lnTo>
                  <a:lnTo>
                    <a:pt x="2639" y="110"/>
                  </a:lnTo>
                  <a:lnTo>
                    <a:pt x="2472" y="158"/>
                  </a:lnTo>
                  <a:lnTo>
                    <a:pt x="2309" y="214"/>
                  </a:lnTo>
                  <a:lnTo>
                    <a:pt x="2149" y="277"/>
                  </a:lnTo>
                  <a:lnTo>
                    <a:pt x="1993" y="348"/>
                  </a:lnTo>
                  <a:lnTo>
                    <a:pt x="1842" y="425"/>
                  </a:lnTo>
                  <a:lnTo>
                    <a:pt x="1694" y="510"/>
                  </a:lnTo>
                  <a:lnTo>
                    <a:pt x="1552" y="602"/>
                  </a:lnTo>
                  <a:lnTo>
                    <a:pt x="1413" y="700"/>
                  </a:lnTo>
                  <a:lnTo>
                    <a:pt x="1281" y="804"/>
                  </a:lnTo>
                  <a:lnTo>
                    <a:pt x="1153" y="916"/>
                  </a:lnTo>
                  <a:lnTo>
                    <a:pt x="1031" y="1032"/>
                  </a:lnTo>
                  <a:lnTo>
                    <a:pt x="915" y="1154"/>
                  </a:lnTo>
                  <a:lnTo>
                    <a:pt x="804" y="1283"/>
                  </a:lnTo>
                  <a:lnTo>
                    <a:pt x="700" y="1416"/>
                  </a:lnTo>
                  <a:lnTo>
                    <a:pt x="601" y="1553"/>
                  </a:lnTo>
                  <a:lnTo>
                    <a:pt x="510" y="1697"/>
                  </a:lnTo>
                  <a:lnTo>
                    <a:pt x="425" y="1844"/>
                  </a:lnTo>
                  <a:lnTo>
                    <a:pt x="348" y="1997"/>
                  </a:lnTo>
                  <a:lnTo>
                    <a:pt x="277" y="2153"/>
                  </a:lnTo>
                  <a:lnTo>
                    <a:pt x="214" y="2313"/>
                  </a:lnTo>
                  <a:lnTo>
                    <a:pt x="159" y="2477"/>
                  </a:lnTo>
                  <a:lnTo>
                    <a:pt x="112" y="2644"/>
                  </a:lnTo>
                  <a:lnTo>
                    <a:pt x="72" y="2814"/>
                  </a:lnTo>
                  <a:lnTo>
                    <a:pt x="41" y="2987"/>
                  </a:lnTo>
                  <a:lnTo>
                    <a:pt x="18" y="3164"/>
                  </a:lnTo>
                  <a:lnTo>
                    <a:pt x="5" y="3343"/>
                  </a:lnTo>
                  <a:lnTo>
                    <a:pt x="0" y="3525"/>
                  </a:lnTo>
                  <a:lnTo>
                    <a:pt x="5" y="3706"/>
                  </a:lnTo>
                  <a:lnTo>
                    <a:pt x="18" y="3886"/>
                  </a:lnTo>
                  <a:lnTo>
                    <a:pt x="41" y="4062"/>
                  </a:lnTo>
                  <a:lnTo>
                    <a:pt x="72" y="4236"/>
                  </a:lnTo>
                  <a:lnTo>
                    <a:pt x="112" y="4405"/>
                  </a:lnTo>
                  <a:lnTo>
                    <a:pt x="159" y="4572"/>
                  </a:lnTo>
                  <a:lnTo>
                    <a:pt x="214" y="4736"/>
                  </a:lnTo>
                  <a:lnTo>
                    <a:pt x="277" y="4896"/>
                  </a:lnTo>
                  <a:lnTo>
                    <a:pt x="348" y="5053"/>
                  </a:lnTo>
                  <a:lnTo>
                    <a:pt x="425" y="5205"/>
                  </a:lnTo>
                  <a:lnTo>
                    <a:pt x="510" y="5353"/>
                  </a:lnTo>
                  <a:lnTo>
                    <a:pt x="601" y="5496"/>
                  </a:lnTo>
                  <a:lnTo>
                    <a:pt x="700" y="5633"/>
                  </a:lnTo>
                  <a:lnTo>
                    <a:pt x="804" y="5767"/>
                  </a:lnTo>
                  <a:lnTo>
                    <a:pt x="915" y="5895"/>
                  </a:lnTo>
                  <a:lnTo>
                    <a:pt x="1031" y="6018"/>
                  </a:lnTo>
                  <a:lnTo>
                    <a:pt x="1153" y="6134"/>
                  </a:lnTo>
                  <a:lnTo>
                    <a:pt x="1281" y="6245"/>
                  </a:lnTo>
                  <a:lnTo>
                    <a:pt x="1413" y="6350"/>
                  </a:lnTo>
                  <a:lnTo>
                    <a:pt x="1552" y="6448"/>
                  </a:lnTo>
                  <a:lnTo>
                    <a:pt x="1694" y="6540"/>
                  </a:lnTo>
                  <a:lnTo>
                    <a:pt x="1842" y="6624"/>
                  </a:lnTo>
                  <a:lnTo>
                    <a:pt x="1993" y="6703"/>
                  </a:lnTo>
                  <a:lnTo>
                    <a:pt x="2149" y="6773"/>
                  </a:lnTo>
                  <a:lnTo>
                    <a:pt x="2309" y="6835"/>
                  </a:lnTo>
                  <a:lnTo>
                    <a:pt x="2472" y="6892"/>
                  </a:lnTo>
                  <a:lnTo>
                    <a:pt x="2639" y="6939"/>
                  </a:lnTo>
                  <a:lnTo>
                    <a:pt x="2809" y="6978"/>
                  </a:lnTo>
                  <a:lnTo>
                    <a:pt x="2982" y="7009"/>
                  </a:lnTo>
                  <a:lnTo>
                    <a:pt x="3159" y="7031"/>
                  </a:lnTo>
                  <a:lnTo>
                    <a:pt x="3337" y="7045"/>
                  </a:lnTo>
                  <a:lnTo>
                    <a:pt x="3518" y="7049"/>
                  </a:lnTo>
                  <a:lnTo>
                    <a:pt x="3700" y="7045"/>
                  </a:lnTo>
                  <a:lnTo>
                    <a:pt x="3878" y="7031"/>
                  </a:lnTo>
                  <a:lnTo>
                    <a:pt x="4054" y="7009"/>
                  </a:lnTo>
                  <a:lnTo>
                    <a:pt x="4228" y="6978"/>
                  </a:lnTo>
                  <a:lnTo>
                    <a:pt x="4397" y="6939"/>
                  </a:lnTo>
                  <a:lnTo>
                    <a:pt x="4565" y="6892"/>
                  </a:lnTo>
                  <a:lnTo>
                    <a:pt x="4727" y="6835"/>
                  </a:lnTo>
                  <a:lnTo>
                    <a:pt x="4888" y="6773"/>
                  </a:lnTo>
                  <a:lnTo>
                    <a:pt x="5043" y="6703"/>
                  </a:lnTo>
                  <a:lnTo>
                    <a:pt x="5195" y="6624"/>
                  </a:lnTo>
                  <a:lnTo>
                    <a:pt x="5343" y="6540"/>
                  </a:lnTo>
                  <a:lnTo>
                    <a:pt x="5485" y="6448"/>
                  </a:lnTo>
                  <a:lnTo>
                    <a:pt x="5623" y="6350"/>
                  </a:lnTo>
                  <a:lnTo>
                    <a:pt x="5756" y="6245"/>
                  </a:lnTo>
                  <a:lnTo>
                    <a:pt x="5884" y="6134"/>
                  </a:lnTo>
                  <a:lnTo>
                    <a:pt x="6006" y="6018"/>
                  </a:lnTo>
                  <a:lnTo>
                    <a:pt x="6122" y="5895"/>
                  </a:lnTo>
                  <a:lnTo>
                    <a:pt x="6233" y="5767"/>
                  </a:lnTo>
                  <a:lnTo>
                    <a:pt x="6337" y="5633"/>
                  </a:lnTo>
                  <a:lnTo>
                    <a:pt x="6435" y="5496"/>
                  </a:lnTo>
                  <a:lnTo>
                    <a:pt x="6527" y="5353"/>
                  </a:lnTo>
                  <a:lnTo>
                    <a:pt x="6611" y="5205"/>
                  </a:lnTo>
                  <a:lnTo>
                    <a:pt x="6689" y="5053"/>
                  </a:lnTo>
                  <a:lnTo>
                    <a:pt x="6760" y="4896"/>
                  </a:lnTo>
                  <a:lnTo>
                    <a:pt x="6823" y="4736"/>
                  </a:lnTo>
                  <a:lnTo>
                    <a:pt x="6878" y="4572"/>
                  </a:lnTo>
                  <a:lnTo>
                    <a:pt x="6925" y="4405"/>
                  </a:lnTo>
                  <a:lnTo>
                    <a:pt x="6964" y="4236"/>
                  </a:lnTo>
                  <a:lnTo>
                    <a:pt x="6996" y="4062"/>
                  </a:lnTo>
                  <a:lnTo>
                    <a:pt x="7018" y="3886"/>
                  </a:lnTo>
                  <a:lnTo>
                    <a:pt x="7032" y="3706"/>
                  </a:lnTo>
                  <a:lnTo>
                    <a:pt x="7036" y="3525"/>
                  </a:lnTo>
                  <a:lnTo>
                    <a:pt x="7032" y="3343"/>
                  </a:lnTo>
                  <a:lnTo>
                    <a:pt x="7018" y="3164"/>
                  </a:lnTo>
                  <a:lnTo>
                    <a:pt x="6996" y="2987"/>
                  </a:lnTo>
                  <a:lnTo>
                    <a:pt x="6964" y="2814"/>
                  </a:lnTo>
                  <a:lnTo>
                    <a:pt x="6925" y="2644"/>
                  </a:lnTo>
                  <a:lnTo>
                    <a:pt x="6878" y="2477"/>
                  </a:lnTo>
                  <a:lnTo>
                    <a:pt x="6823" y="2313"/>
                  </a:lnTo>
                  <a:lnTo>
                    <a:pt x="6760" y="2153"/>
                  </a:lnTo>
                  <a:lnTo>
                    <a:pt x="6689" y="1997"/>
                  </a:lnTo>
                  <a:lnTo>
                    <a:pt x="6611" y="1844"/>
                  </a:lnTo>
                  <a:lnTo>
                    <a:pt x="6527" y="1697"/>
                  </a:lnTo>
                  <a:lnTo>
                    <a:pt x="6435" y="1553"/>
                  </a:lnTo>
                  <a:lnTo>
                    <a:pt x="6337" y="1416"/>
                  </a:lnTo>
                  <a:lnTo>
                    <a:pt x="6233" y="1283"/>
                  </a:lnTo>
                  <a:lnTo>
                    <a:pt x="6122" y="1154"/>
                  </a:lnTo>
                  <a:lnTo>
                    <a:pt x="6006" y="1032"/>
                  </a:lnTo>
                  <a:lnTo>
                    <a:pt x="5884" y="916"/>
                  </a:lnTo>
                  <a:lnTo>
                    <a:pt x="5756" y="804"/>
                  </a:lnTo>
                  <a:lnTo>
                    <a:pt x="5623" y="700"/>
                  </a:lnTo>
                  <a:lnTo>
                    <a:pt x="5485" y="602"/>
                  </a:lnTo>
                  <a:lnTo>
                    <a:pt x="5343" y="510"/>
                  </a:lnTo>
                  <a:lnTo>
                    <a:pt x="5195" y="425"/>
                  </a:lnTo>
                  <a:lnTo>
                    <a:pt x="5043" y="348"/>
                  </a:lnTo>
                  <a:lnTo>
                    <a:pt x="4888" y="277"/>
                  </a:lnTo>
                  <a:lnTo>
                    <a:pt x="4727" y="214"/>
                  </a:lnTo>
                  <a:lnTo>
                    <a:pt x="4565" y="158"/>
                  </a:lnTo>
                  <a:lnTo>
                    <a:pt x="4397" y="110"/>
                  </a:lnTo>
                  <a:lnTo>
                    <a:pt x="4228" y="71"/>
                  </a:lnTo>
                  <a:lnTo>
                    <a:pt x="4054" y="40"/>
                  </a:lnTo>
                  <a:lnTo>
                    <a:pt x="3878" y="18"/>
                  </a:lnTo>
                  <a:lnTo>
                    <a:pt x="3700" y="5"/>
                  </a:lnTo>
                  <a:lnTo>
                    <a:pt x="35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77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54" name="ïṥļîḍê">
              <a:extLst>
                <a:ext uri="{FF2B5EF4-FFF2-40B4-BE49-F238E27FC236}">
                  <a16:creationId xmlns:a16="http://schemas.microsoft.com/office/drawing/2014/main" id="{E444E319-C8F9-47AF-9145-897D72DBCFD6}"/>
                </a:ext>
              </a:extLst>
            </p:cNvPr>
            <p:cNvSpPr/>
            <p:nvPr/>
          </p:nvSpPr>
          <p:spPr bwMode="auto">
            <a:xfrm>
              <a:off x="3173842" y="826418"/>
              <a:ext cx="131262" cy="131262"/>
            </a:xfrm>
            <a:custGeom>
              <a:avLst/>
              <a:gdLst>
                <a:gd name="T0" fmla="*/ 3521 w 6031"/>
                <a:gd name="T1" fmla="*/ 553 h 6022"/>
                <a:gd name="T2" fmla="*/ 4104 w 6031"/>
                <a:gd name="T3" fmla="*/ 750 h 6022"/>
                <a:gd name="T4" fmla="*/ 4613 w 6031"/>
                <a:gd name="T5" fmla="*/ 1076 h 6022"/>
                <a:gd name="T6" fmla="*/ 5029 w 6031"/>
                <a:gd name="T7" fmla="*/ 1511 h 6022"/>
                <a:gd name="T8" fmla="*/ 5330 w 6031"/>
                <a:gd name="T9" fmla="*/ 2036 h 6022"/>
                <a:gd name="T10" fmla="*/ 5499 w 6031"/>
                <a:gd name="T11" fmla="*/ 2630 h 6022"/>
                <a:gd name="T12" fmla="*/ 5515 w 6031"/>
                <a:gd name="T13" fmla="*/ 3268 h 6022"/>
                <a:gd name="T14" fmla="*/ 5375 w 6031"/>
                <a:gd name="T15" fmla="*/ 3873 h 6022"/>
                <a:gd name="T16" fmla="*/ 5098 w 6031"/>
                <a:gd name="T17" fmla="*/ 4413 h 6022"/>
                <a:gd name="T18" fmla="*/ 4704 w 6031"/>
                <a:gd name="T19" fmla="*/ 4868 h 6022"/>
                <a:gd name="T20" fmla="*/ 4213 w 6031"/>
                <a:gd name="T21" fmla="*/ 5217 h 6022"/>
                <a:gd name="T22" fmla="*/ 3643 w 6031"/>
                <a:gd name="T23" fmla="*/ 5441 h 6022"/>
                <a:gd name="T24" fmla="*/ 3016 w 6031"/>
                <a:gd name="T25" fmla="*/ 5520 h 6022"/>
                <a:gd name="T26" fmla="*/ 2388 w 6031"/>
                <a:gd name="T27" fmla="*/ 5441 h 6022"/>
                <a:gd name="T28" fmla="*/ 1818 w 6031"/>
                <a:gd name="T29" fmla="*/ 5217 h 6022"/>
                <a:gd name="T30" fmla="*/ 1327 w 6031"/>
                <a:gd name="T31" fmla="*/ 4868 h 6022"/>
                <a:gd name="T32" fmla="*/ 932 w 6031"/>
                <a:gd name="T33" fmla="*/ 4413 h 6022"/>
                <a:gd name="T34" fmla="*/ 656 w 6031"/>
                <a:gd name="T35" fmla="*/ 3873 h 6022"/>
                <a:gd name="T36" fmla="*/ 516 w 6031"/>
                <a:gd name="T37" fmla="*/ 3268 h 6022"/>
                <a:gd name="T38" fmla="*/ 532 w 6031"/>
                <a:gd name="T39" fmla="*/ 2630 h 6022"/>
                <a:gd name="T40" fmla="*/ 701 w 6031"/>
                <a:gd name="T41" fmla="*/ 2036 h 6022"/>
                <a:gd name="T42" fmla="*/ 1002 w 6031"/>
                <a:gd name="T43" fmla="*/ 1511 h 6022"/>
                <a:gd name="T44" fmla="*/ 1417 w 6031"/>
                <a:gd name="T45" fmla="*/ 1076 h 6022"/>
                <a:gd name="T46" fmla="*/ 1927 w 6031"/>
                <a:gd name="T47" fmla="*/ 750 h 6022"/>
                <a:gd name="T48" fmla="*/ 2510 w 6031"/>
                <a:gd name="T49" fmla="*/ 553 h 6022"/>
                <a:gd name="T50" fmla="*/ 3016 w 6031"/>
                <a:gd name="T51" fmla="*/ 6022 h 6022"/>
                <a:gd name="T52" fmla="*/ 3768 w 6031"/>
                <a:gd name="T53" fmla="*/ 5928 h 6022"/>
                <a:gd name="T54" fmla="*/ 4452 w 6031"/>
                <a:gd name="T55" fmla="*/ 5659 h 6022"/>
                <a:gd name="T56" fmla="*/ 5042 w 6031"/>
                <a:gd name="T57" fmla="*/ 5239 h 6022"/>
                <a:gd name="T58" fmla="*/ 5515 w 6031"/>
                <a:gd name="T59" fmla="*/ 4693 h 6022"/>
                <a:gd name="T60" fmla="*/ 5848 w 6031"/>
                <a:gd name="T61" fmla="*/ 4046 h 6022"/>
                <a:gd name="T62" fmla="*/ 6015 w 6031"/>
                <a:gd name="T63" fmla="*/ 3318 h 6022"/>
                <a:gd name="T64" fmla="*/ 5996 w 6031"/>
                <a:gd name="T65" fmla="*/ 2554 h 6022"/>
                <a:gd name="T66" fmla="*/ 5794 w 6031"/>
                <a:gd name="T67" fmla="*/ 1840 h 6022"/>
                <a:gd name="T68" fmla="*/ 5431 w 6031"/>
                <a:gd name="T69" fmla="*/ 1211 h 6022"/>
                <a:gd name="T70" fmla="*/ 4932 w 6031"/>
                <a:gd name="T71" fmla="*/ 689 h 6022"/>
                <a:gd name="T72" fmla="*/ 4322 w 6031"/>
                <a:gd name="T73" fmla="*/ 297 h 6022"/>
                <a:gd name="T74" fmla="*/ 3623 w 6031"/>
                <a:gd name="T75" fmla="*/ 62 h 6022"/>
                <a:gd name="T76" fmla="*/ 2861 w 6031"/>
                <a:gd name="T77" fmla="*/ 4 h 6022"/>
                <a:gd name="T78" fmla="*/ 2120 w 6031"/>
                <a:gd name="T79" fmla="*/ 136 h 6022"/>
                <a:gd name="T80" fmla="*/ 1453 w 6031"/>
                <a:gd name="T81" fmla="*/ 437 h 6022"/>
                <a:gd name="T82" fmla="*/ 884 w 6031"/>
                <a:gd name="T83" fmla="*/ 884 h 6022"/>
                <a:gd name="T84" fmla="*/ 437 w 6031"/>
                <a:gd name="T85" fmla="*/ 1452 h 6022"/>
                <a:gd name="T86" fmla="*/ 136 w 6031"/>
                <a:gd name="T87" fmla="*/ 2117 h 6022"/>
                <a:gd name="T88" fmla="*/ 4 w 6031"/>
                <a:gd name="T89" fmla="*/ 2857 h 6022"/>
                <a:gd name="T90" fmla="*/ 62 w 6031"/>
                <a:gd name="T91" fmla="*/ 3617 h 6022"/>
                <a:gd name="T92" fmla="*/ 298 w 6031"/>
                <a:gd name="T93" fmla="*/ 4316 h 6022"/>
                <a:gd name="T94" fmla="*/ 690 w 6031"/>
                <a:gd name="T95" fmla="*/ 4925 h 6022"/>
                <a:gd name="T96" fmla="*/ 1212 w 6031"/>
                <a:gd name="T97" fmla="*/ 5424 h 6022"/>
                <a:gd name="T98" fmla="*/ 1843 w 6031"/>
                <a:gd name="T99" fmla="*/ 5785 h 6022"/>
                <a:gd name="T100" fmla="*/ 2557 w 6031"/>
                <a:gd name="T101" fmla="*/ 5988 h 6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31" h="6022">
                  <a:moveTo>
                    <a:pt x="3016" y="502"/>
                  </a:moveTo>
                  <a:lnTo>
                    <a:pt x="3144" y="505"/>
                  </a:lnTo>
                  <a:lnTo>
                    <a:pt x="3272" y="515"/>
                  </a:lnTo>
                  <a:lnTo>
                    <a:pt x="3397" y="531"/>
                  </a:lnTo>
                  <a:lnTo>
                    <a:pt x="3521" y="553"/>
                  </a:lnTo>
                  <a:lnTo>
                    <a:pt x="3643" y="582"/>
                  </a:lnTo>
                  <a:lnTo>
                    <a:pt x="3762" y="616"/>
                  </a:lnTo>
                  <a:lnTo>
                    <a:pt x="3879" y="655"/>
                  </a:lnTo>
                  <a:lnTo>
                    <a:pt x="3992" y="700"/>
                  </a:lnTo>
                  <a:lnTo>
                    <a:pt x="4104" y="750"/>
                  </a:lnTo>
                  <a:lnTo>
                    <a:pt x="4213" y="805"/>
                  </a:lnTo>
                  <a:lnTo>
                    <a:pt x="4318" y="866"/>
                  </a:lnTo>
                  <a:lnTo>
                    <a:pt x="4420" y="932"/>
                  </a:lnTo>
                  <a:lnTo>
                    <a:pt x="4518" y="1001"/>
                  </a:lnTo>
                  <a:lnTo>
                    <a:pt x="4613" y="1076"/>
                  </a:lnTo>
                  <a:lnTo>
                    <a:pt x="4704" y="1155"/>
                  </a:lnTo>
                  <a:lnTo>
                    <a:pt x="4791" y="1238"/>
                  </a:lnTo>
                  <a:lnTo>
                    <a:pt x="4875" y="1325"/>
                  </a:lnTo>
                  <a:lnTo>
                    <a:pt x="4954" y="1417"/>
                  </a:lnTo>
                  <a:lnTo>
                    <a:pt x="5029" y="1511"/>
                  </a:lnTo>
                  <a:lnTo>
                    <a:pt x="5098" y="1609"/>
                  </a:lnTo>
                  <a:lnTo>
                    <a:pt x="5164" y="1712"/>
                  </a:lnTo>
                  <a:lnTo>
                    <a:pt x="5225" y="1816"/>
                  </a:lnTo>
                  <a:lnTo>
                    <a:pt x="5280" y="1924"/>
                  </a:lnTo>
                  <a:lnTo>
                    <a:pt x="5330" y="2036"/>
                  </a:lnTo>
                  <a:lnTo>
                    <a:pt x="5375" y="2149"/>
                  </a:lnTo>
                  <a:lnTo>
                    <a:pt x="5415" y="2266"/>
                  </a:lnTo>
                  <a:lnTo>
                    <a:pt x="5449" y="2385"/>
                  </a:lnTo>
                  <a:lnTo>
                    <a:pt x="5477" y="2506"/>
                  </a:lnTo>
                  <a:lnTo>
                    <a:pt x="5499" y="2630"/>
                  </a:lnTo>
                  <a:lnTo>
                    <a:pt x="5515" y="2755"/>
                  </a:lnTo>
                  <a:lnTo>
                    <a:pt x="5525" y="2883"/>
                  </a:lnTo>
                  <a:lnTo>
                    <a:pt x="5528" y="3011"/>
                  </a:lnTo>
                  <a:lnTo>
                    <a:pt x="5525" y="3141"/>
                  </a:lnTo>
                  <a:lnTo>
                    <a:pt x="5515" y="3268"/>
                  </a:lnTo>
                  <a:lnTo>
                    <a:pt x="5499" y="3394"/>
                  </a:lnTo>
                  <a:lnTo>
                    <a:pt x="5477" y="3517"/>
                  </a:lnTo>
                  <a:lnTo>
                    <a:pt x="5449" y="3638"/>
                  </a:lnTo>
                  <a:lnTo>
                    <a:pt x="5415" y="3757"/>
                  </a:lnTo>
                  <a:lnTo>
                    <a:pt x="5375" y="3873"/>
                  </a:lnTo>
                  <a:lnTo>
                    <a:pt x="5330" y="3988"/>
                  </a:lnTo>
                  <a:lnTo>
                    <a:pt x="5280" y="4098"/>
                  </a:lnTo>
                  <a:lnTo>
                    <a:pt x="5225" y="4207"/>
                  </a:lnTo>
                  <a:lnTo>
                    <a:pt x="5164" y="4312"/>
                  </a:lnTo>
                  <a:lnTo>
                    <a:pt x="5098" y="4413"/>
                  </a:lnTo>
                  <a:lnTo>
                    <a:pt x="5029" y="4512"/>
                  </a:lnTo>
                  <a:lnTo>
                    <a:pt x="4954" y="4607"/>
                  </a:lnTo>
                  <a:lnTo>
                    <a:pt x="4875" y="4697"/>
                  </a:lnTo>
                  <a:lnTo>
                    <a:pt x="4791" y="4785"/>
                  </a:lnTo>
                  <a:lnTo>
                    <a:pt x="4704" y="4868"/>
                  </a:lnTo>
                  <a:lnTo>
                    <a:pt x="4613" y="4947"/>
                  </a:lnTo>
                  <a:lnTo>
                    <a:pt x="4518" y="5022"/>
                  </a:lnTo>
                  <a:lnTo>
                    <a:pt x="4420" y="5092"/>
                  </a:lnTo>
                  <a:lnTo>
                    <a:pt x="4318" y="5157"/>
                  </a:lnTo>
                  <a:lnTo>
                    <a:pt x="4213" y="5217"/>
                  </a:lnTo>
                  <a:lnTo>
                    <a:pt x="4104" y="5272"/>
                  </a:lnTo>
                  <a:lnTo>
                    <a:pt x="3992" y="5324"/>
                  </a:lnTo>
                  <a:lnTo>
                    <a:pt x="3879" y="5368"/>
                  </a:lnTo>
                  <a:lnTo>
                    <a:pt x="3762" y="5408"/>
                  </a:lnTo>
                  <a:lnTo>
                    <a:pt x="3643" y="5441"/>
                  </a:lnTo>
                  <a:lnTo>
                    <a:pt x="3521" y="5469"/>
                  </a:lnTo>
                  <a:lnTo>
                    <a:pt x="3397" y="5491"/>
                  </a:lnTo>
                  <a:lnTo>
                    <a:pt x="3272" y="5507"/>
                  </a:lnTo>
                  <a:lnTo>
                    <a:pt x="3144" y="5517"/>
                  </a:lnTo>
                  <a:lnTo>
                    <a:pt x="3016" y="5520"/>
                  </a:lnTo>
                  <a:lnTo>
                    <a:pt x="2886" y="5517"/>
                  </a:lnTo>
                  <a:lnTo>
                    <a:pt x="2759" y="5507"/>
                  </a:lnTo>
                  <a:lnTo>
                    <a:pt x="2634" y="5491"/>
                  </a:lnTo>
                  <a:lnTo>
                    <a:pt x="2510" y="5469"/>
                  </a:lnTo>
                  <a:lnTo>
                    <a:pt x="2388" y="5441"/>
                  </a:lnTo>
                  <a:lnTo>
                    <a:pt x="2269" y="5408"/>
                  </a:lnTo>
                  <a:lnTo>
                    <a:pt x="2152" y="5368"/>
                  </a:lnTo>
                  <a:lnTo>
                    <a:pt x="2039" y="5324"/>
                  </a:lnTo>
                  <a:lnTo>
                    <a:pt x="1927" y="5272"/>
                  </a:lnTo>
                  <a:lnTo>
                    <a:pt x="1818" y="5217"/>
                  </a:lnTo>
                  <a:lnTo>
                    <a:pt x="1713" y="5157"/>
                  </a:lnTo>
                  <a:lnTo>
                    <a:pt x="1611" y="5092"/>
                  </a:lnTo>
                  <a:lnTo>
                    <a:pt x="1513" y="5022"/>
                  </a:lnTo>
                  <a:lnTo>
                    <a:pt x="1417" y="4947"/>
                  </a:lnTo>
                  <a:lnTo>
                    <a:pt x="1327" y="4868"/>
                  </a:lnTo>
                  <a:lnTo>
                    <a:pt x="1240" y="4785"/>
                  </a:lnTo>
                  <a:lnTo>
                    <a:pt x="1156" y="4697"/>
                  </a:lnTo>
                  <a:lnTo>
                    <a:pt x="1077" y="4607"/>
                  </a:lnTo>
                  <a:lnTo>
                    <a:pt x="1002" y="4512"/>
                  </a:lnTo>
                  <a:lnTo>
                    <a:pt x="932" y="4413"/>
                  </a:lnTo>
                  <a:lnTo>
                    <a:pt x="867" y="4312"/>
                  </a:lnTo>
                  <a:lnTo>
                    <a:pt x="806" y="4207"/>
                  </a:lnTo>
                  <a:lnTo>
                    <a:pt x="751" y="4098"/>
                  </a:lnTo>
                  <a:lnTo>
                    <a:pt x="701" y="3988"/>
                  </a:lnTo>
                  <a:lnTo>
                    <a:pt x="656" y="3873"/>
                  </a:lnTo>
                  <a:lnTo>
                    <a:pt x="615" y="3757"/>
                  </a:lnTo>
                  <a:lnTo>
                    <a:pt x="582" y="3638"/>
                  </a:lnTo>
                  <a:lnTo>
                    <a:pt x="554" y="3517"/>
                  </a:lnTo>
                  <a:lnTo>
                    <a:pt x="532" y="3394"/>
                  </a:lnTo>
                  <a:lnTo>
                    <a:pt x="516" y="3268"/>
                  </a:lnTo>
                  <a:lnTo>
                    <a:pt x="506" y="3141"/>
                  </a:lnTo>
                  <a:lnTo>
                    <a:pt x="503" y="3011"/>
                  </a:lnTo>
                  <a:lnTo>
                    <a:pt x="506" y="2883"/>
                  </a:lnTo>
                  <a:lnTo>
                    <a:pt x="516" y="2755"/>
                  </a:lnTo>
                  <a:lnTo>
                    <a:pt x="532" y="2630"/>
                  </a:lnTo>
                  <a:lnTo>
                    <a:pt x="554" y="2506"/>
                  </a:lnTo>
                  <a:lnTo>
                    <a:pt x="582" y="2385"/>
                  </a:lnTo>
                  <a:lnTo>
                    <a:pt x="615" y="2266"/>
                  </a:lnTo>
                  <a:lnTo>
                    <a:pt x="656" y="2149"/>
                  </a:lnTo>
                  <a:lnTo>
                    <a:pt x="701" y="2036"/>
                  </a:lnTo>
                  <a:lnTo>
                    <a:pt x="751" y="1924"/>
                  </a:lnTo>
                  <a:lnTo>
                    <a:pt x="806" y="1816"/>
                  </a:lnTo>
                  <a:lnTo>
                    <a:pt x="867" y="1712"/>
                  </a:lnTo>
                  <a:lnTo>
                    <a:pt x="932" y="1609"/>
                  </a:lnTo>
                  <a:lnTo>
                    <a:pt x="1002" y="1511"/>
                  </a:lnTo>
                  <a:lnTo>
                    <a:pt x="1077" y="1417"/>
                  </a:lnTo>
                  <a:lnTo>
                    <a:pt x="1156" y="1325"/>
                  </a:lnTo>
                  <a:lnTo>
                    <a:pt x="1240" y="1238"/>
                  </a:lnTo>
                  <a:lnTo>
                    <a:pt x="1327" y="1155"/>
                  </a:lnTo>
                  <a:lnTo>
                    <a:pt x="1417" y="1076"/>
                  </a:lnTo>
                  <a:lnTo>
                    <a:pt x="1513" y="1001"/>
                  </a:lnTo>
                  <a:lnTo>
                    <a:pt x="1611" y="932"/>
                  </a:lnTo>
                  <a:lnTo>
                    <a:pt x="1713" y="866"/>
                  </a:lnTo>
                  <a:lnTo>
                    <a:pt x="1818" y="805"/>
                  </a:lnTo>
                  <a:lnTo>
                    <a:pt x="1927" y="750"/>
                  </a:lnTo>
                  <a:lnTo>
                    <a:pt x="2039" y="700"/>
                  </a:lnTo>
                  <a:lnTo>
                    <a:pt x="2152" y="655"/>
                  </a:lnTo>
                  <a:lnTo>
                    <a:pt x="2269" y="616"/>
                  </a:lnTo>
                  <a:lnTo>
                    <a:pt x="2388" y="582"/>
                  </a:lnTo>
                  <a:lnTo>
                    <a:pt x="2510" y="553"/>
                  </a:lnTo>
                  <a:lnTo>
                    <a:pt x="2634" y="531"/>
                  </a:lnTo>
                  <a:lnTo>
                    <a:pt x="2759" y="515"/>
                  </a:lnTo>
                  <a:lnTo>
                    <a:pt x="2886" y="505"/>
                  </a:lnTo>
                  <a:lnTo>
                    <a:pt x="3016" y="502"/>
                  </a:lnTo>
                  <a:close/>
                  <a:moveTo>
                    <a:pt x="3016" y="6022"/>
                  </a:moveTo>
                  <a:lnTo>
                    <a:pt x="3170" y="6018"/>
                  </a:lnTo>
                  <a:lnTo>
                    <a:pt x="3323" y="6007"/>
                  </a:lnTo>
                  <a:lnTo>
                    <a:pt x="3474" y="5988"/>
                  </a:lnTo>
                  <a:lnTo>
                    <a:pt x="3623" y="5961"/>
                  </a:lnTo>
                  <a:lnTo>
                    <a:pt x="3768" y="5928"/>
                  </a:lnTo>
                  <a:lnTo>
                    <a:pt x="3911" y="5887"/>
                  </a:lnTo>
                  <a:lnTo>
                    <a:pt x="4052" y="5840"/>
                  </a:lnTo>
                  <a:lnTo>
                    <a:pt x="4188" y="5785"/>
                  </a:lnTo>
                  <a:lnTo>
                    <a:pt x="4322" y="5725"/>
                  </a:lnTo>
                  <a:lnTo>
                    <a:pt x="4452" y="5659"/>
                  </a:lnTo>
                  <a:lnTo>
                    <a:pt x="4577" y="5586"/>
                  </a:lnTo>
                  <a:lnTo>
                    <a:pt x="4700" y="5507"/>
                  </a:lnTo>
                  <a:lnTo>
                    <a:pt x="4819" y="5424"/>
                  </a:lnTo>
                  <a:lnTo>
                    <a:pt x="4932" y="5334"/>
                  </a:lnTo>
                  <a:lnTo>
                    <a:pt x="5042" y="5239"/>
                  </a:lnTo>
                  <a:lnTo>
                    <a:pt x="5146" y="5140"/>
                  </a:lnTo>
                  <a:lnTo>
                    <a:pt x="5247" y="5035"/>
                  </a:lnTo>
                  <a:lnTo>
                    <a:pt x="5341" y="4925"/>
                  </a:lnTo>
                  <a:lnTo>
                    <a:pt x="5431" y="4812"/>
                  </a:lnTo>
                  <a:lnTo>
                    <a:pt x="5515" y="4693"/>
                  </a:lnTo>
                  <a:lnTo>
                    <a:pt x="5594" y="4572"/>
                  </a:lnTo>
                  <a:lnTo>
                    <a:pt x="5666" y="4445"/>
                  </a:lnTo>
                  <a:lnTo>
                    <a:pt x="5733" y="4316"/>
                  </a:lnTo>
                  <a:lnTo>
                    <a:pt x="5794" y="4183"/>
                  </a:lnTo>
                  <a:lnTo>
                    <a:pt x="5848" y="4046"/>
                  </a:lnTo>
                  <a:lnTo>
                    <a:pt x="5895" y="3906"/>
                  </a:lnTo>
                  <a:lnTo>
                    <a:pt x="5935" y="3763"/>
                  </a:lnTo>
                  <a:lnTo>
                    <a:pt x="5969" y="3617"/>
                  </a:lnTo>
                  <a:lnTo>
                    <a:pt x="5996" y="3469"/>
                  </a:lnTo>
                  <a:lnTo>
                    <a:pt x="6015" y="3318"/>
                  </a:lnTo>
                  <a:lnTo>
                    <a:pt x="6027" y="3166"/>
                  </a:lnTo>
                  <a:lnTo>
                    <a:pt x="6031" y="3011"/>
                  </a:lnTo>
                  <a:lnTo>
                    <a:pt x="6027" y="2857"/>
                  </a:lnTo>
                  <a:lnTo>
                    <a:pt x="6015" y="2704"/>
                  </a:lnTo>
                  <a:lnTo>
                    <a:pt x="5996" y="2554"/>
                  </a:lnTo>
                  <a:lnTo>
                    <a:pt x="5969" y="2405"/>
                  </a:lnTo>
                  <a:lnTo>
                    <a:pt x="5935" y="2260"/>
                  </a:lnTo>
                  <a:lnTo>
                    <a:pt x="5895" y="2117"/>
                  </a:lnTo>
                  <a:lnTo>
                    <a:pt x="5848" y="1978"/>
                  </a:lnTo>
                  <a:lnTo>
                    <a:pt x="5794" y="1840"/>
                  </a:lnTo>
                  <a:lnTo>
                    <a:pt x="5733" y="1708"/>
                  </a:lnTo>
                  <a:lnTo>
                    <a:pt x="5666" y="1577"/>
                  </a:lnTo>
                  <a:lnTo>
                    <a:pt x="5594" y="1452"/>
                  </a:lnTo>
                  <a:lnTo>
                    <a:pt x="5515" y="1329"/>
                  </a:lnTo>
                  <a:lnTo>
                    <a:pt x="5431" y="1211"/>
                  </a:lnTo>
                  <a:lnTo>
                    <a:pt x="5341" y="1097"/>
                  </a:lnTo>
                  <a:lnTo>
                    <a:pt x="5247" y="988"/>
                  </a:lnTo>
                  <a:lnTo>
                    <a:pt x="5146" y="884"/>
                  </a:lnTo>
                  <a:lnTo>
                    <a:pt x="5042" y="783"/>
                  </a:lnTo>
                  <a:lnTo>
                    <a:pt x="4932" y="689"/>
                  </a:lnTo>
                  <a:lnTo>
                    <a:pt x="4819" y="600"/>
                  </a:lnTo>
                  <a:lnTo>
                    <a:pt x="4700" y="515"/>
                  </a:lnTo>
                  <a:lnTo>
                    <a:pt x="4577" y="437"/>
                  </a:lnTo>
                  <a:lnTo>
                    <a:pt x="4452" y="365"/>
                  </a:lnTo>
                  <a:lnTo>
                    <a:pt x="4322" y="297"/>
                  </a:lnTo>
                  <a:lnTo>
                    <a:pt x="4188" y="237"/>
                  </a:lnTo>
                  <a:lnTo>
                    <a:pt x="4052" y="183"/>
                  </a:lnTo>
                  <a:lnTo>
                    <a:pt x="3911" y="136"/>
                  </a:lnTo>
                  <a:lnTo>
                    <a:pt x="3768" y="96"/>
                  </a:lnTo>
                  <a:lnTo>
                    <a:pt x="3623" y="62"/>
                  </a:lnTo>
                  <a:lnTo>
                    <a:pt x="3474" y="36"/>
                  </a:lnTo>
                  <a:lnTo>
                    <a:pt x="3323" y="16"/>
                  </a:lnTo>
                  <a:lnTo>
                    <a:pt x="3170" y="4"/>
                  </a:lnTo>
                  <a:lnTo>
                    <a:pt x="3016" y="0"/>
                  </a:lnTo>
                  <a:lnTo>
                    <a:pt x="2861" y="4"/>
                  </a:lnTo>
                  <a:lnTo>
                    <a:pt x="2708" y="16"/>
                  </a:lnTo>
                  <a:lnTo>
                    <a:pt x="2557" y="36"/>
                  </a:lnTo>
                  <a:lnTo>
                    <a:pt x="2408" y="62"/>
                  </a:lnTo>
                  <a:lnTo>
                    <a:pt x="2263" y="96"/>
                  </a:lnTo>
                  <a:lnTo>
                    <a:pt x="2120" y="136"/>
                  </a:lnTo>
                  <a:lnTo>
                    <a:pt x="1979" y="183"/>
                  </a:lnTo>
                  <a:lnTo>
                    <a:pt x="1843" y="237"/>
                  </a:lnTo>
                  <a:lnTo>
                    <a:pt x="1709" y="297"/>
                  </a:lnTo>
                  <a:lnTo>
                    <a:pt x="1579" y="365"/>
                  </a:lnTo>
                  <a:lnTo>
                    <a:pt x="1453" y="437"/>
                  </a:lnTo>
                  <a:lnTo>
                    <a:pt x="1331" y="515"/>
                  </a:lnTo>
                  <a:lnTo>
                    <a:pt x="1212" y="600"/>
                  </a:lnTo>
                  <a:lnTo>
                    <a:pt x="1099" y="689"/>
                  </a:lnTo>
                  <a:lnTo>
                    <a:pt x="989" y="783"/>
                  </a:lnTo>
                  <a:lnTo>
                    <a:pt x="884" y="884"/>
                  </a:lnTo>
                  <a:lnTo>
                    <a:pt x="784" y="988"/>
                  </a:lnTo>
                  <a:lnTo>
                    <a:pt x="690" y="1097"/>
                  </a:lnTo>
                  <a:lnTo>
                    <a:pt x="600" y="1211"/>
                  </a:lnTo>
                  <a:lnTo>
                    <a:pt x="516" y="1329"/>
                  </a:lnTo>
                  <a:lnTo>
                    <a:pt x="437" y="1452"/>
                  </a:lnTo>
                  <a:lnTo>
                    <a:pt x="364" y="1577"/>
                  </a:lnTo>
                  <a:lnTo>
                    <a:pt x="298" y="1708"/>
                  </a:lnTo>
                  <a:lnTo>
                    <a:pt x="237" y="1840"/>
                  </a:lnTo>
                  <a:lnTo>
                    <a:pt x="183" y="1978"/>
                  </a:lnTo>
                  <a:lnTo>
                    <a:pt x="136" y="2117"/>
                  </a:lnTo>
                  <a:lnTo>
                    <a:pt x="95" y="2260"/>
                  </a:lnTo>
                  <a:lnTo>
                    <a:pt x="62" y="2405"/>
                  </a:lnTo>
                  <a:lnTo>
                    <a:pt x="35" y="2554"/>
                  </a:lnTo>
                  <a:lnTo>
                    <a:pt x="15" y="2704"/>
                  </a:lnTo>
                  <a:lnTo>
                    <a:pt x="4" y="2857"/>
                  </a:lnTo>
                  <a:lnTo>
                    <a:pt x="0" y="3011"/>
                  </a:lnTo>
                  <a:lnTo>
                    <a:pt x="4" y="3166"/>
                  </a:lnTo>
                  <a:lnTo>
                    <a:pt x="15" y="3318"/>
                  </a:lnTo>
                  <a:lnTo>
                    <a:pt x="35" y="3469"/>
                  </a:lnTo>
                  <a:lnTo>
                    <a:pt x="62" y="3617"/>
                  </a:lnTo>
                  <a:lnTo>
                    <a:pt x="95" y="3763"/>
                  </a:lnTo>
                  <a:lnTo>
                    <a:pt x="136" y="3906"/>
                  </a:lnTo>
                  <a:lnTo>
                    <a:pt x="183" y="4046"/>
                  </a:lnTo>
                  <a:lnTo>
                    <a:pt x="237" y="4183"/>
                  </a:lnTo>
                  <a:lnTo>
                    <a:pt x="298" y="4316"/>
                  </a:lnTo>
                  <a:lnTo>
                    <a:pt x="364" y="4445"/>
                  </a:lnTo>
                  <a:lnTo>
                    <a:pt x="437" y="4572"/>
                  </a:lnTo>
                  <a:lnTo>
                    <a:pt x="516" y="4693"/>
                  </a:lnTo>
                  <a:lnTo>
                    <a:pt x="600" y="4812"/>
                  </a:lnTo>
                  <a:lnTo>
                    <a:pt x="690" y="4925"/>
                  </a:lnTo>
                  <a:lnTo>
                    <a:pt x="784" y="5035"/>
                  </a:lnTo>
                  <a:lnTo>
                    <a:pt x="884" y="5140"/>
                  </a:lnTo>
                  <a:lnTo>
                    <a:pt x="989" y="5239"/>
                  </a:lnTo>
                  <a:lnTo>
                    <a:pt x="1099" y="5334"/>
                  </a:lnTo>
                  <a:lnTo>
                    <a:pt x="1212" y="5424"/>
                  </a:lnTo>
                  <a:lnTo>
                    <a:pt x="1331" y="5507"/>
                  </a:lnTo>
                  <a:lnTo>
                    <a:pt x="1453" y="5586"/>
                  </a:lnTo>
                  <a:lnTo>
                    <a:pt x="1579" y="5659"/>
                  </a:lnTo>
                  <a:lnTo>
                    <a:pt x="1709" y="5725"/>
                  </a:lnTo>
                  <a:lnTo>
                    <a:pt x="1843" y="5785"/>
                  </a:lnTo>
                  <a:lnTo>
                    <a:pt x="1979" y="5840"/>
                  </a:lnTo>
                  <a:lnTo>
                    <a:pt x="2120" y="5887"/>
                  </a:lnTo>
                  <a:lnTo>
                    <a:pt x="2263" y="5928"/>
                  </a:lnTo>
                  <a:lnTo>
                    <a:pt x="2408" y="5961"/>
                  </a:lnTo>
                  <a:lnTo>
                    <a:pt x="2557" y="5988"/>
                  </a:lnTo>
                  <a:lnTo>
                    <a:pt x="2708" y="6007"/>
                  </a:lnTo>
                  <a:lnTo>
                    <a:pt x="2861" y="6018"/>
                  </a:lnTo>
                  <a:lnTo>
                    <a:pt x="3016" y="60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55" name="íśḷïďè">
              <a:extLst>
                <a:ext uri="{FF2B5EF4-FFF2-40B4-BE49-F238E27FC236}">
                  <a16:creationId xmlns:a16="http://schemas.microsoft.com/office/drawing/2014/main" id="{CF5E422E-AED2-4D72-A466-073B9677ADDE}"/>
                </a:ext>
              </a:extLst>
            </p:cNvPr>
            <p:cNvSpPr/>
            <p:nvPr/>
          </p:nvSpPr>
          <p:spPr bwMode="auto">
            <a:xfrm>
              <a:off x="3107808" y="763606"/>
              <a:ext cx="262524" cy="349494"/>
            </a:xfrm>
            <a:custGeom>
              <a:avLst/>
              <a:gdLst>
                <a:gd name="T0" fmla="*/ 6018 w 12062"/>
                <a:gd name="T1" fmla="*/ 15039 h 16058"/>
                <a:gd name="T2" fmla="*/ 5780 w 12062"/>
                <a:gd name="T3" fmla="*/ 14775 h 16058"/>
                <a:gd name="T4" fmla="*/ 4611 w 12062"/>
                <a:gd name="T5" fmla="*/ 13399 h 16058"/>
                <a:gd name="T6" fmla="*/ 3378 w 12062"/>
                <a:gd name="T7" fmla="*/ 11797 h 16058"/>
                <a:gd name="T8" fmla="*/ 2251 w 12062"/>
                <a:gd name="T9" fmla="*/ 10038 h 16058"/>
                <a:gd name="T10" fmla="*/ 1406 w 12062"/>
                <a:gd name="T11" fmla="*/ 8193 h 16058"/>
                <a:gd name="T12" fmla="*/ 1014 w 12062"/>
                <a:gd name="T13" fmla="*/ 6330 h 16058"/>
                <a:gd name="T14" fmla="*/ 1164 w 12062"/>
                <a:gd name="T15" fmla="*/ 4770 h 16058"/>
                <a:gd name="T16" fmla="*/ 1734 w 12062"/>
                <a:gd name="T17" fmla="*/ 3422 h 16058"/>
                <a:gd name="T18" fmla="*/ 2653 w 12062"/>
                <a:gd name="T19" fmla="*/ 2309 h 16058"/>
                <a:gd name="T20" fmla="*/ 3854 w 12062"/>
                <a:gd name="T21" fmla="*/ 1499 h 16058"/>
                <a:gd name="T22" fmla="*/ 5267 w 12062"/>
                <a:gd name="T23" fmla="*/ 1062 h 16058"/>
                <a:gd name="T24" fmla="*/ 6795 w 12062"/>
                <a:gd name="T25" fmla="*/ 1062 h 16058"/>
                <a:gd name="T26" fmla="*/ 8208 w 12062"/>
                <a:gd name="T27" fmla="*/ 1499 h 16058"/>
                <a:gd name="T28" fmla="*/ 9409 w 12062"/>
                <a:gd name="T29" fmla="*/ 2309 h 16058"/>
                <a:gd name="T30" fmla="*/ 10328 w 12062"/>
                <a:gd name="T31" fmla="*/ 3422 h 16058"/>
                <a:gd name="T32" fmla="*/ 10898 w 12062"/>
                <a:gd name="T33" fmla="*/ 4770 h 16058"/>
                <a:gd name="T34" fmla="*/ 11048 w 12062"/>
                <a:gd name="T35" fmla="*/ 6330 h 16058"/>
                <a:gd name="T36" fmla="*/ 10656 w 12062"/>
                <a:gd name="T37" fmla="*/ 8193 h 16058"/>
                <a:gd name="T38" fmla="*/ 9810 w 12062"/>
                <a:gd name="T39" fmla="*/ 10039 h 16058"/>
                <a:gd name="T40" fmla="*/ 8681 w 12062"/>
                <a:gd name="T41" fmla="*/ 11801 h 16058"/>
                <a:gd name="T42" fmla="*/ 7443 w 12062"/>
                <a:gd name="T43" fmla="*/ 13407 h 16058"/>
                <a:gd name="T44" fmla="*/ 6267 w 12062"/>
                <a:gd name="T45" fmla="*/ 14791 h 16058"/>
                <a:gd name="T46" fmla="*/ 4817 w 12062"/>
                <a:gd name="T47" fmla="*/ 121 h 16058"/>
                <a:gd name="T48" fmla="*/ 3159 w 12062"/>
                <a:gd name="T49" fmla="*/ 722 h 16058"/>
                <a:gd name="T50" fmla="*/ 1768 w 12062"/>
                <a:gd name="T51" fmla="*/ 1753 h 16058"/>
                <a:gd name="T52" fmla="*/ 729 w 12062"/>
                <a:gd name="T53" fmla="*/ 3139 h 16058"/>
                <a:gd name="T54" fmla="*/ 123 w 12062"/>
                <a:gd name="T55" fmla="*/ 4801 h 16058"/>
                <a:gd name="T56" fmla="*/ 34 w 12062"/>
                <a:gd name="T57" fmla="*/ 6682 h 16058"/>
                <a:gd name="T58" fmla="*/ 506 w 12062"/>
                <a:gd name="T59" fmla="*/ 8654 h 16058"/>
                <a:gd name="T60" fmla="*/ 1411 w 12062"/>
                <a:gd name="T61" fmla="*/ 10583 h 16058"/>
                <a:gd name="T62" fmla="*/ 2598 w 12062"/>
                <a:gd name="T63" fmla="*/ 12423 h 16058"/>
                <a:gd name="T64" fmla="*/ 3917 w 12062"/>
                <a:gd name="T65" fmla="*/ 14129 h 16058"/>
                <a:gd name="T66" fmla="*/ 5214 w 12062"/>
                <a:gd name="T67" fmla="*/ 15655 h 16058"/>
                <a:gd name="T68" fmla="*/ 5355 w 12062"/>
                <a:gd name="T69" fmla="*/ 15786 h 16058"/>
                <a:gd name="T70" fmla="*/ 5509 w 12062"/>
                <a:gd name="T71" fmla="*/ 15897 h 16058"/>
                <a:gd name="T72" fmla="*/ 5705 w 12062"/>
                <a:gd name="T73" fmla="*/ 15997 h 16058"/>
                <a:gd name="T74" fmla="*/ 5931 w 12062"/>
                <a:gd name="T75" fmla="*/ 16054 h 16058"/>
                <a:gd name="T76" fmla="*/ 6170 w 12062"/>
                <a:gd name="T77" fmla="*/ 16048 h 16058"/>
                <a:gd name="T78" fmla="*/ 6392 w 12062"/>
                <a:gd name="T79" fmla="*/ 15982 h 16058"/>
                <a:gd name="T80" fmla="*/ 6581 w 12062"/>
                <a:gd name="T81" fmla="*/ 15878 h 16058"/>
                <a:gd name="T82" fmla="*/ 6747 w 12062"/>
                <a:gd name="T83" fmla="*/ 15752 h 16058"/>
                <a:gd name="T84" fmla="*/ 7056 w 12062"/>
                <a:gd name="T85" fmla="*/ 15415 h 16058"/>
                <a:gd name="T86" fmla="*/ 8368 w 12062"/>
                <a:gd name="T87" fmla="*/ 13856 h 16058"/>
                <a:gd name="T88" fmla="*/ 9675 w 12062"/>
                <a:gd name="T89" fmla="*/ 12125 h 16058"/>
                <a:gd name="T90" fmla="*/ 10826 w 12062"/>
                <a:gd name="T91" fmla="*/ 10267 h 16058"/>
                <a:gd name="T92" fmla="*/ 11669 w 12062"/>
                <a:gd name="T93" fmla="*/ 8328 h 16058"/>
                <a:gd name="T94" fmla="*/ 12053 w 12062"/>
                <a:gd name="T95" fmla="*/ 6352 h 16058"/>
                <a:gd name="T96" fmla="*/ 11872 w 12062"/>
                <a:gd name="T97" fmla="*/ 4508 h 16058"/>
                <a:gd name="T98" fmla="*/ 11188 w 12062"/>
                <a:gd name="T99" fmla="*/ 2887 h 16058"/>
                <a:gd name="T100" fmla="*/ 10084 w 12062"/>
                <a:gd name="T101" fmla="*/ 1555 h 16058"/>
                <a:gd name="T102" fmla="*/ 8644 w 12062"/>
                <a:gd name="T103" fmla="*/ 589 h 16058"/>
                <a:gd name="T104" fmla="*/ 6948 w 12062"/>
                <a:gd name="T105" fmla="*/ 68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062" h="16058">
                  <a:moveTo>
                    <a:pt x="6090" y="14996"/>
                  </a:moveTo>
                  <a:lnTo>
                    <a:pt x="6078" y="15005"/>
                  </a:lnTo>
                  <a:lnTo>
                    <a:pt x="6062" y="15018"/>
                  </a:lnTo>
                  <a:lnTo>
                    <a:pt x="6042" y="15032"/>
                  </a:lnTo>
                  <a:lnTo>
                    <a:pt x="6021" y="15045"/>
                  </a:lnTo>
                  <a:lnTo>
                    <a:pt x="6018" y="15039"/>
                  </a:lnTo>
                  <a:lnTo>
                    <a:pt x="6012" y="15032"/>
                  </a:lnTo>
                  <a:lnTo>
                    <a:pt x="6004" y="15024"/>
                  </a:lnTo>
                  <a:lnTo>
                    <a:pt x="5995" y="15015"/>
                  </a:lnTo>
                  <a:lnTo>
                    <a:pt x="5975" y="14996"/>
                  </a:lnTo>
                  <a:lnTo>
                    <a:pt x="5956" y="14978"/>
                  </a:lnTo>
                  <a:lnTo>
                    <a:pt x="5780" y="14775"/>
                  </a:lnTo>
                  <a:lnTo>
                    <a:pt x="5597" y="14565"/>
                  </a:lnTo>
                  <a:lnTo>
                    <a:pt x="5408" y="14346"/>
                  </a:lnTo>
                  <a:lnTo>
                    <a:pt x="5215" y="14120"/>
                  </a:lnTo>
                  <a:lnTo>
                    <a:pt x="5017" y="13886"/>
                  </a:lnTo>
                  <a:lnTo>
                    <a:pt x="4815" y="13646"/>
                  </a:lnTo>
                  <a:lnTo>
                    <a:pt x="4611" y="13399"/>
                  </a:lnTo>
                  <a:lnTo>
                    <a:pt x="4406" y="13145"/>
                  </a:lnTo>
                  <a:lnTo>
                    <a:pt x="4199" y="12887"/>
                  </a:lnTo>
                  <a:lnTo>
                    <a:pt x="3992" y="12622"/>
                  </a:lnTo>
                  <a:lnTo>
                    <a:pt x="3785" y="12352"/>
                  </a:lnTo>
                  <a:lnTo>
                    <a:pt x="3580" y="12077"/>
                  </a:lnTo>
                  <a:lnTo>
                    <a:pt x="3378" y="11797"/>
                  </a:lnTo>
                  <a:lnTo>
                    <a:pt x="3178" y="11513"/>
                  </a:lnTo>
                  <a:lnTo>
                    <a:pt x="2982" y="11225"/>
                  </a:lnTo>
                  <a:lnTo>
                    <a:pt x="2790" y="10932"/>
                  </a:lnTo>
                  <a:lnTo>
                    <a:pt x="2604" y="10637"/>
                  </a:lnTo>
                  <a:lnTo>
                    <a:pt x="2424" y="10339"/>
                  </a:lnTo>
                  <a:lnTo>
                    <a:pt x="2251" y="10038"/>
                  </a:lnTo>
                  <a:lnTo>
                    <a:pt x="2087" y="9734"/>
                  </a:lnTo>
                  <a:lnTo>
                    <a:pt x="1930" y="9429"/>
                  </a:lnTo>
                  <a:lnTo>
                    <a:pt x="1782" y="9122"/>
                  </a:lnTo>
                  <a:lnTo>
                    <a:pt x="1645" y="8813"/>
                  </a:lnTo>
                  <a:lnTo>
                    <a:pt x="1520" y="8504"/>
                  </a:lnTo>
                  <a:lnTo>
                    <a:pt x="1406" y="8193"/>
                  </a:lnTo>
                  <a:lnTo>
                    <a:pt x="1305" y="7881"/>
                  </a:lnTo>
                  <a:lnTo>
                    <a:pt x="1216" y="7570"/>
                  </a:lnTo>
                  <a:lnTo>
                    <a:pt x="1142" y="7259"/>
                  </a:lnTo>
                  <a:lnTo>
                    <a:pt x="1083" y="6948"/>
                  </a:lnTo>
                  <a:lnTo>
                    <a:pt x="1040" y="6639"/>
                  </a:lnTo>
                  <a:lnTo>
                    <a:pt x="1014" y="6330"/>
                  </a:lnTo>
                  <a:lnTo>
                    <a:pt x="1005" y="6023"/>
                  </a:lnTo>
                  <a:lnTo>
                    <a:pt x="1011" y="5765"/>
                  </a:lnTo>
                  <a:lnTo>
                    <a:pt x="1031" y="5510"/>
                  </a:lnTo>
                  <a:lnTo>
                    <a:pt x="1063" y="5259"/>
                  </a:lnTo>
                  <a:lnTo>
                    <a:pt x="1108" y="5012"/>
                  </a:lnTo>
                  <a:lnTo>
                    <a:pt x="1164" y="4770"/>
                  </a:lnTo>
                  <a:lnTo>
                    <a:pt x="1231" y="4532"/>
                  </a:lnTo>
                  <a:lnTo>
                    <a:pt x="1311" y="4299"/>
                  </a:lnTo>
                  <a:lnTo>
                    <a:pt x="1401" y="4071"/>
                  </a:lnTo>
                  <a:lnTo>
                    <a:pt x="1502" y="3849"/>
                  </a:lnTo>
                  <a:lnTo>
                    <a:pt x="1612" y="3632"/>
                  </a:lnTo>
                  <a:lnTo>
                    <a:pt x="1734" y="3422"/>
                  </a:lnTo>
                  <a:lnTo>
                    <a:pt x="1864" y="3219"/>
                  </a:lnTo>
                  <a:lnTo>
                    <a:pt x="2005" y="3022"/>
                  </a:lnTo>
                  <a:lnTo>
                    <a:pt x="2154" y="2832"/>
                  </a:lnTo>
                  <a:lnTo>
                    <a:pt x="2313" y="2650"/>
                  </a:lnTo>
                  <a:lnTo>
                    <a:pt x="2479" y="2475"/>
                  </a:lnTo>
                  <a:lnTo>
                    <a:pt x="2653" y="2309"/>
                  </a:lnTo>
                  <a:lnTo>
                    <a:pt x="2836" y="2151"/>
                  </a:lnTo>
                  <a:lnTo>
                    <a:pt x="3026" y="2002"/>
                  </a:lnTo>
                  <a:lnTo>
                    <a:pt x="3223" y="1862"/>
                  </a:lnTo>
                  <a:lnTo>
                    <a:pt x="3427" y="1731"/>
                  </a:lnTo>
                  <a:lnTo>
                    <a:pt x="3637" y="1610"/>
                  </a:lnTo>
                  <a:lnTo>
                    <a:pt x="3854" y="1499"/>
                  </a:lnTo>
                  <a:lnTo>
                    <a:pt x="4077" y="1399"/>
                  </a:lnTo>
                  <a:lnTo>
                    <a:pt x="4305" y="1309"/>
                  </a:lnTo>
                  <a:lnTo>
                    <a:pt x="4538" y="1229"/>
                  </a:lnTo>
                  <a:lnTo>
                    <a:pt x="4776" y="1162"/>
                  </a:lnTo>
                  <a:lnTo>
                    <a:pt x="5019" y="1106"/>
                  </a:lnTo>
                  <a:lnTo>
                    <a:pt x="5267" y="1062"/>
                  </a:lnTo>
                  <a:lnTo>
                    <a:pt x="5518" y="1030"/>
                  </a:lnTo>
                  <a:lnTo>
                    <a:pt x="5773" y="1010"/>
                  </a:lnTo>
                  <a:lnTo>
                    <a:pt x="6032" y="1004"/>
                  </a:lnTo>
                  <a:lnTo>
                    <a:pt x="6289" y="1010"/>
                  </a:lnTo>
                  <a:lnTo>
                    <a:pt x="6544" y="1030"/>
                  </a:lnTo>
                  <a:lnTo>
                    <a:pt x="6795" y="1062"/>
                  </a:lnTo>
                  <a:lnTo>
                    <a:pt x="7043" y="1106"/>
                  </a:lnTo>
                  <a:lnTo>
                    <a:pt x="7286" y="1162"/>
                  </a:lnTo>
                  <a:lnTo>
                    <a:pt x="7524" y="1229"/>
                  </a:lnTo>
                  <a:lnTo>
                    <a:pt x="7757" y="1309"/>
                  </a:lnTo>
                  <a:lnTo>
                    <a:pt x="7985" y="1399"/>
                  </a:lnTo>
                  <a:lnTo>
                    <a:pt x="8208" y="1499"/>
                  </a:lnTo>
                  <a:lnTo>
                    <a:pt x="8425" y="1610"/>
                  </a:lnTo>
                  <a:lnTo>
                    <a:pt x="8635" y="1731"/>
                  </a:lnTo>
                  <a:lnTo>
                    <a:pt x="8839" y="1862"/>
                  </a:lnTo>
                  <a:lnTo>
                    <a:pt x="9036" y="2002"/>
                  </a:lnTo>
                  <a:lnTo>
                    <a:pt x="9226" y="2151"/>
                  </a:lnTo>
                  <a:lnTo>
                    <a:pt x="9409" y="2309"/>
                  </a:lnTo>
                  <a:lnTo>
                    <a:pt x="9583" y="2475"/>
                  </a:lnTo>
                  <a:lnTo>
                    <a:pt x="9749" y="2650"/>
                  </a:lnTo>
                  <a:lnTo>
                    <a:pt x="9908" y="2832"/>
                  </a:lnTo>
                  <a:lnTo>
                    <a:pt x="10057" y="3022"/>
                  </a:lnTo>
                  <a:lnTo>
                    <a:pt x="10198" y="3219"/>
                  </a:lnTo>
                  <a:lnTo>
                    <a:pt x="10328" y="3422"/>
                  </a:lnTo>
                  <a:lnTo>
                    <a:pt x="10450" y="3632"/>
                  </a:lnTo>
                  <a:lnTo>
                    <a:pt x="10560" y="3849"/>
                  </a:lnTo>
                  <a:lnTo>
                    <a:pt x="10661" y="4071"/>
                  </a:lnTo>
                  <a:lnTo>
                    <a:pt x="10751" y="4299"/>
                  </a:lnTo>
                  <a:lnTo>
                    <a:pt x="10831" y="4532"/>
                  </a:lnTo>
                  <a:lnTo>
                    <a:pt x="10898" y="4770"/>
                  </a:lnTo>
                  <a:lnTo>
                    <a:pt x="10954" y="5012"/>
                  </a:lnTo>
                  <a:lnTo>
                    <a:pt x="10999" y="5259"/>
                  </a:lnTo>
                  <a:lnTo>
                    <a:pt x="11031" y="5510"/>
                  </a:lnTo>
                  <a:lnTo>
                    <a:pt x="11051" y="5765"/>
                  </a:lnTo>
                  <a:lnTo>
                    <a:pt x="11057" y="6023"/>
                  </a:lnTo>
                  <a:lnTo>
                    <a:pt x="11048" y="6330"/>
                  </a:lnTo>
                  <a:lnTo>
                    <a:pt x="11022" y="6639"/>
                  </a:lnTo>
                  <a:lnTo>
                    <a:pt x="10979" y="6948"/>
                  </a:lnTo>
                  <a:lnTo>
                    <a:pt x="10920" y="7259"/>
                  </a:lnTo>
                  <a:lnTo>
                    <a:pt x="10846" y="7570"/>
                  </a:lnTo>
                  <a:lnTo>
                    <a:pt x="10757" y="7881"/>
                  </a:lnTo>
                  <a:lnTo>
                    <a:pt x="10656" y="8193"/>
                  </a:lnTo>
                  <a:lnTo>
                    <a:pt x="10542" y="8504"/>
                  </a:lnTo>
                  <a:lnTo>
                    <a:pt x="10416" y="8814"/>
                  </a:lnTo>
                  <a:lnTo>
                    <a:pt x="10279" y="9122"/>
                  </a:lnTo>
                  <a:lnTo>
                    <a:pt x="10132" y="9430"/>
                  </a:lnTo>
                  <a:lnTo>
                    <a:pt x="9975" y="9735"/>
                  </a:lnTo>
                  <a:lnTo>
                    <a:pt x="9810" y="10039"/>
                  </a:lnTo>
                  <a:lnTo>
                    <a:pt x="9637" y="10340"/>
                  </a:lnTo>
                  <a:lnTo>
                    <a:pt x="9457" y="10639"/>
                  </a:lnTo>
                  <a:lnTo>
                    <a:pt x="9270" y="10934"/>
                  </a:lnTo>
                  <a:lnTo>
                    <a:pt x="9078" y="11227"/>
                  </a:lnTo>
                  <a:lnTo>
                    <a:pt x="8882" y="11516"/>
                  </a:lnTo>
                  <a:lnTo>
                    <a:pt x="8681" y="11801"/>
                  </a:lnTo>
                  <a:lnTo>
                    <a:pt x="8478" y="12081"/>
                  </a:lnTo>
                  <a:lnTo>
                    <a:pt x="8272" y="12357"/>
                  </a:lnTo>
                  <a:lnTo>
                    <a:pt x="8065" y="12628"/>
                  </a:lnTo>
                  <a:lnTo>
                    <a:pt x="7857" y="12893"/>
                  </a:lnTo>
                  <a:lnTo>
                    <a:pt x="7650" y="13154"/>
                  </a:lnTo>
                  <a:lnTo>
                    <a:pt x="7443" y="13407"/>
                  </a:lnTo>
                  <a:lnTo>
                    <a:pt x="7238" y="13655"/>
                  </a:lnTo>
                  <a:lnTo>
                    <a:pt x="7036" y="13897"/>
                  </a:lnTo>
                  <a:lnTo>
                    <a:pt x="6837" y="14132"/>
                  </a:lnTo>
                  <a:lnTo>
                    <a:pt x="6642" y="14359"/>
                  </a:lnTo>
                  <a:lnTo>
                    <a:pt x="6452" y="14579"/>
                  </a:lnTo>
                  <a:lnTo>
                    <a:pt x="6267" y="14791"/>
                  </a:lnTo>
                  <a:lnTo>
                    <a:pt x="6090" y="14996"/>
                  </a:lnTo>
                  <a:close/>
                  <a:moveTo>
                    <a:pt x="6032" y="0"/>
                  </a:moveTo>
                  <a:lnTo>
                    <a:pt x="5721" y="8"/>
                  </a:lnTo>
                  <a:lnTo>
                    <a:pt x="5415" y="31"/>
                  </a:lnTo>
                  <a:lnTo>
                    <a:pt x="5114" y="68"/>
                  </a:lnTo>
                  <a:lnTo>
                    <a:pt x="4817" y="121"/>
                  </a:lnTo>
                  <a:lnTo>
                    <a:pt x="4526" y="188"/>
                  </a:lnTo>
                  <a:lnTo>
                    <a:pt x="4239" y="268"/>
                  </a:lnTo>
                  <a:lnTo>
                    <a:pt x="3959" y="362"/>
                  </a:lnTo>
                  <a:lnTo>
                    <a:pt x="3686" y="470"/>
                  </a:lnTo>
                  <a:lnTo>
                    <a:pt x="3418" y="589"/>
                  </a:lnTo>
                  <a:lnTo>
                    <a:pt x="3159" y="722"/>
                  </a:lnTo>
                  <a:lnTo>
                    <a:pt x="2906" y="865"/>
                  </a:lnTo>
                  <a:lnTo>
                    <a:pt x="2661" y="1021"/>
                  </a:lnTo>
                  <a:lnTo>
                    <a:pt x="2424" y="1188"/>
                  </a:lnTo>
                  <a:lnTo>
                    <a:pt x="2197" y="1366"/>
                  </a:lnTo>
                  <a:lnTo>
                    <a:pt x="1978" y="1555"/>
                  </a:lnTo>
                  <a:lnTo>
                    <a:pt x="1768" y="1753"/>
                  </a:lnTo>
                  <a:lnTo>
                    <a:pt x="1569" y="1962"/>
                  </a:lnTo>
                  <a:lnTo>
                    <a:pt x="1379" y="2180"/>
                  </a:lnTo>
                  <a:lnTo>
                    <a:pt x="1200" y="2407"/>
                  </a:lnTo>
                  <a:lnTo>
                    <a:pt x="1031" y="2643"/>
                  </a:lnTo>
                  <a:lnTo>
                    <a:pt x="874" y="2887"/>
                  </a:lnTo>
                  <a:lnTo>
                    <a:pt x="729" y="3139"/>
                  </a:lnTo>
                  <a:lnTo>
                    <a:pt x="596" y="3399"/>
                  </a:lnTo>
                  <a:lnTo>
                    <a:pt x="474" y="3666"/>
                  </a:lnTo>
                  <a:lnTo>
                    <a:pt x="367" y="3940"/>
                  </a:lnTo>
                  <a:lnTo>
                    <a:pt x="271" y="4221"/>
                  </a:lnTo>
                  <a:lnTo>
                    <a:pt x="190" y="4508"/>
                  </a:lnTo>
                  <a:lnTo>
                    <a:pt x="123" y="4801"/>
                  </a:lnTo>
                  <a:lnTo>
                    <a:pt x="69" y="5099"/>
                  </a:lnTo>
                  <a:lnTo>
                    <a:pt x="31" y="5403"/>
                  </a:lnTo>
                  <a:lnTo>
                    <a:pt x="8" y="5711"/>
                  </a:lnTo>
                  <a:lnTo>
                    <a:pt x="0" y="6023"/>
                  </a:lnTo>
                  <a:lnTo>
                    <a:pt x="9" y="6352"/>
                  </a:lnTo>
                  <a:lnTo>
                    <a:pt x="34" y="6682"/>
                  </a:lnTo>
                  <a:lnTo>
                    <a:pt x="76" y="7012"/>
                  </a:lnTo>
                  <a:lnTo>
                    <a:pt x="134" y="7342"/>
                  </a:lnTo>
                  <a:lnTo>
                    <a:pt x="206" y="7671"/>
                  </a:lnTo>
                  <a:lnTo>
                    <a:pt x="292" y="8000"/>
                  </a:lnTo>
                  <a:lnTo>
                    <a:pt x="393" y="8328"/>
                  </a:lnTo>
                  <a:lnTo>
                    <a:pt x="506" y="8654"/>
                  </a:lnTo>
                  <a:lnTo>
                    <a:pt x="630" y="8980"/>
                  </a:lnTo>
                  <a:lnTo>
                    <a:pt x="767" y="9305"/>
                  </a:lnTo>
                  <a:lnTo>
                    <a:pt x="914" y="9628"/>
                  </a:lnTo>
                  <a:lnTo>
                    <a:pt x="1070" y="9948"/>
                  </a:lnTo>
                  <a:lnTo>
                    <a:pt x="1236" y="10267"/>
                  </a:lnTo>
                  <a:lnTo>
                    <a:pt x="1411" y="10583"/>
                  </a:lnTo>
                  <a:lnTo>
                    <a:pt x="1593" y="10897"/>
                  </a:lnTo>
                  <a:lnTo>
                    <a:pt x="1783" y="11208"/>
                  </a:lnTo>
                  <a:lnTo>
                    <a:pt x="1979" y="11518"/>
                  </a:lnTo>
                  <a:lnTo>
                    <a:pt x="2180" y="11823"/>
                  </a:lnTo>
                  <a:lnTo>
                    <a:pt x="2387" y="12125"/>
                  </a:lnTo>
                  <a:lnTo>
                    <a:pt x="2598" y="12423"/>
                  </a:lnTo>
                  <a:lnTo>
                    <a:pt x="2813" y="12718"/>
                  </a:lnTo>
                  <a:lnTo>
                    <a:pt x="3030" y="13009"/>
                  </a:lnTo>
                  <a:lnTo>
                    <a:pt x="3250" y="13296"/>
                  </a:lnTo>
                  <a:lnTo>
                    <a:pt x="3473" y="13578"/>
                  </a:lnTo>
                  <a:lnTo>
                    <a:pt x="3695" y="13856"/>
                  </a:lnTo>
                  <a:lnTo>
                    <a:pt x="3917" y="14129"/>
                  </a:lnTo>
                  <a:lnTo>
                    <a:pt x="4139" y="14397"/>
                  </a:lnTo>
                  <a:lnTo>
                    <a:pt x="4359" y="14659"/>
                  </a:lnTo>
                  <a:lnTo>
                    <a:pt x="4577" y="14917"/>
                  </a:lnTo>
                  <a:lnTo>
                    <a:pt x="4793" y="15169"/>
                  </a:lnTo>
                  <a:lnTo>
                    <a:pt x="5006" y="15415"/>
                  </a:lnTo>
                  <a:lnTo>
                    <a:pt x="5214" y="15655"/>
                  </a:lnTo>
                  <a:lnTo>
                    <a:pt x="5219" y="15661"/>
                  </a:lnTo>
                  <a:lnTo>
                    <a:pt x="5233" y="15675"/>
                  </a:lnTo>
                  <a:lnTo>
                    <a:pt x="5254" y="15695"/>
                  </a:lnTo>
                  <a:lnTo>
                    <a:pt x="5281" y="15722"/>
                  </a:lnTo>
                  <a:lnTo>
                    <a:pt x="5315" y="15752"/>
                  </a:lnTo>
                  <a:lnTo>
                    <a:pt x="5355" y="15786"/>
                  </a:lnTo>
                  <a:lnTo>
                    <a:pt x="5377" y="15804"/>
                  </a:lnTo>
                  <a:lnTo>
                    <a:pt x="5401" y="15822"/>
                  </a:lnTo>
                  <a:lnTo>
                    <a:pt x="5426" y="15841"/>
                  </a:lnTo>
                  <a:lnTo>
                    <a:pt x="5453" y="15860"/>
                  </a:lnTo>
                  <a:lnTo>
                    <a:pt x="5480" y="15878"/>
                  </a:lnTo>
                  <a:lnTo>
                    <a:pt x="5509" y="15897"/>
                  </a:lnTo>
                  <a:lnTo>
                    <a:pt x="5539" y="15915"/>
                  </a:lnTo>
                  <a:lnTo>
                    <a:pt x="5570" y="15933"/>
                  </a:lnTo>
                  <a:lnTo>
                    <a:pt x="5602" y="15950"/>
                  </a:lnTo>
                  <a:lnTo>
                    <a:pt x="5635" y="15967"/>
                  </a:lnTo>
                  <a:lnTo>
                    <a:pt x="5670" y="15982"/>
                  </a:lnTo>
                  <a:lnTo>
                    <a:pt x="5705" y="15997"/>
                  </a:lnTo>
                  <a:lnTo>
                    <a:pt x="5740" y="16010"/>
                  </a:lnTo>
                  <a:lnTo>
                    <a:pt x="5777" y="16022"/>
                  </a:lnTo>
                  <a:lnTo>
                    <a:pt x="5814" y="16032"/>
                  </a:lnTo>
                  <a:lnTo>
                    <a:pt x="5853" y="16041"/>
                  </a:lnTo>
                  <a:lnTo>
                    <a:pt x="5892" y="16048"/>
                  </a:lnTo>
                  <a:lnTo>
                    <a:pt x="5931" y="16054"/>
                  </a:lnTo>
                  <a:lnTo>
                    <a:pt x="5971" y="16057"/>
                  </a:lnTo>
                  <a:lnTo>
                    <a:pt x="6011" y="16058"/>
                  </a:lnTo>
                  <a:lnTo>
                    <a:pt x="6051" y="16058"/>
                  </a:lnTo>
                  <a:lnTo>
                    <a:pt x="6091" y="16057"/>
                  </a:lnTo>
                  <a:lnTo>
                    <a:pt x="6131" y="16054"/>
                  </a:lnTo>
                  <a:lnTo>
                    <a:pt x="6170" y="16048"/>
                  </a:lnTo>
                  <a:lnTo>
                    <a:pt x="6209" y="16041"/>
                  </a:lnTo>
                  <a:lnTo>
                    <a:pt x="6248" y="16032"/>
                  </a:lnTo>
                  <a:lnTo>
                    <a:pt x="6285" y="16022"/>
                  </a:lnTo>
                  <a:lnTo>
                    <a:pt x="6322" y="16010"/>
                  </a:lnTo>
                  <a:lnTo>
                    <a:pt x="6357" y="15997"/>
                  </a:lnTo>
                  <a:lnTo>
                    <a:pt x="6392" y="15982"/>
                  </a:lnTo>
                  <a:lnTo>
                    <a:pt x="6427" y="15967"/>
                  </a:lnTo>
                  <a:lnTo>
                    <a:pt x="6460" y="15950"/>
                  </a:lnTo>
                  <a:lnTo>
                    <a:pt x="6492" y="15933"/>
                  </a:lnTo>
                  <a:lnTo>
                    <a:pt x="6523" y="15915"/>
                  </a:lnTo>
                  <a:lnTo>
                    <a:pt x="6553" y="15897"/>
                  </a:lnTo>
                  <a:lnTo>
                    <a:pt x="6581" y="15878"/>
                  </a:lnTo>
                  <a:lnTo>
                    <a:pt x="6609" y="15860"/>
                  </a:lnTo>
                  <a:lnTo>
                    <a:pt x="6636" y="15841"/>
                  </a:lnTo>
                  <a:lnTo>
                    <a:pt x="6661" y="15822"/>
                  </a:lnTo>
                  <a:lnTo>
                    <a:pt x="6684" y="15804"/>
                  </a:lnTo>
                  <a:lnTo>
                    <a:pt x="6707" y="15786"/>
                  </a:lnTo>
                  <a:lnTo>
                    <a:pt x="6747" y="15752"/>
                  </a:lnTo>
                  <a:lnTo>
                    <a:pt x="6780" y="15722"/>
                  </a:lnTo>
                  <a:lnTo>
                    <a:pt x="6808" y="15695"/>
                  </a:lnTo>
                  <a:lnTo>
                    <a:pt x="6829" y="15675"/>
                  </a:lnTo>
                  <a:lnTo>
                    <a:pt x="6842" y="15661"/>
                  </a:lnTo>
                  <a:lnTo>
                    <a:pt x="6848" y="15655"/>
                  </a:lnTo>
                  <a:lnTo>
                    <a:pt x="7056" y="15415"/>
                  </a:lnTo>
                  <a:lnTo>
                    <a:pt x="7269" y="15169"/>
                  </a:lnTo>
                  <a:lnTo>
                    <a:pt x="7485" y="14917"/>
                  </a:lnTo>
                  <a:lnTo>
                    <a:pt x="7703" y="14659"/>
                  </a:lnTo>
                  <a:lnTo>
                    <a:pt x="7924" y="14397"/>
                  </a:lnTo>
                  <a:lnTo>
                    <a:pt x="8145" y="14129"/>
                  </a:lnTo>
                  <a:lnTo>
                    <a:pt x="8368" y="13856"/>
                  </a:lnTo>
                  <a:lnTo>
                    <a:pt x="8590" y="13578"/>
                  </a:lnTo>
                  <a:lnTo>
                    <a:pt x="8812" y="13296"/>
                  </a:lnTo>
                  <a:lnTo>
                    <a:pt x="9032" y="13009"/>
                  </a:lnTo>
                  <a:lnTo>
                    <a:pt x="9249" y="12718"/>
                  </a:lnTo>
                  <a:lnTo>
                    <a:pt x="9464" y="12423"/>
                  </a:lnTo>
                  <a:lnTo>
                    <a:pt x="9675" y="12125"/>
                  </a:lnTo>
                  <a:lnTo>
                    <a:pt x="9882" y="11823"/>
                  </a:lnTo>
                  <a:lnTo>
                    <a:pt x="10084" y="11518"/>
                  </a:lnTo>
                  <a:lnTo>
                    <a:pt x="10280" y="11208"/>
                  </a:lnTo>
                  <a:lnTo>
                    <a:pt x="10469" y="10897"/>
                  </a:lnTo>
                  <a:lnTo>
                    <a:pt x="10652" y="10583"/>
                  </a:lnTo>
                  <a:lnTo>
                    <a:pt x="10826" y="10267"/>
                  </a:lnTo>
                  <a:lnTo>
                    <a:pt x="10992" y="9948"/>
                  </a:lnTo>
                  <a:lnTo>
                    <a:pt x="11148" y="9628"/>
                  </a:lnTo>
                  <a:lnTo>
                    <a:pt x="11295" y="9305"/>
                  </a:lnTo>
                  <a:lnTo>
                    <a:pt x="11432" y="8980"/>
                  </a:lnTo>
                  <a:lnTo>
                    <a:pt x="11556" y="8654"/>
                  </a:lnTo>
                  <a:lnTo>
                    <a:pt x="11669" y="8328"/>
                  </a:lnTo>
                  <a:lnTo>
                    <a:pt x="11770" y="8000"/>
                  </a:lnTo>
                  <a:lnTo>
                    <a:pt x="11856" y="7671"/>
                  </a:lnTo>
                  <a:lnTo>
                    <a:pt x="11928" y="7342"/>
                  </a:lnTo>
                  <a:lnTo>
                    <a:pt x="11986" y="7012"/>
                  </a:lnTo>
                  <a:lnTo>
                    <a:pt x="12028" y="6682"/>
                  </a:lnTo>
                  <a:lnTo>
                    <a:pt x="12053" y="6352"/>
                  </a:lnTo>
                  <a:lnTo>
                    <a:pt x="12062" y="6023"/>
                  </a:lnTo>
                  <a:lnTo>
                    <a:pt x="12054" y="5711"/>
                  </a:lnTo>
                  <a:lnTo>
                    <a:pt x="12031" y="5403"/>
                  </a:lnTo>
                  <a:lnTo>
                    <a:pt x="11993" y="5099"/>
                  </a:lnTo>
                  <a:lnTo>
                    <a:pt x="11939" y="4801"/>
                  </a:lnTo>
                  <a:lnTo>
                    <a:pt x="11872" y="4508"/>
                  </a:lnTo>
                  <a:lnTo>
                    <a:pt x="11791" y="4221"/>
                  </a:lnTo>
                  <a:lnTo>
                    <a:pt x="11695" y="3940"/>
                  </a:lnTo>
                  <a:lnTo>
                    <a:pt x="11588" y="3666"/>
                  </a:lnTo>
                  <a:lnTo>
                    <a:pt x="11466" y="3399"/>
                  </a:lnTo>
                  <a:lnTo>
                    <a:pt x="11333" y="3139"/>
                  </a:lnTo>
                  <a:lnTo>
                    <a:pt x="11188" y="2887"/>
                  </a:lnTo>
                  <a:lnTo>
                    <a:pt x="11031" y="2643"/>
                  </a:lnTo>
                  <a:lnTo>
                    <a:pt x="10862" y="2407"/>
                  </a:lnTo>
                  <a:lnTo>
                    <a:pt x="10683" y="2180"/>
                  </a:lnTo>
                  <a:lnTo>
                    <a:pt x="10493" y="1962"/>
                  </a:lnTo>
                  <a:lnTo>
                    <a:pt x="10294" y="1753"/>
                  </a:lnTo>
                  <a:lnTo>
                    <a:pt x="10084" y="1555"/>
                  </a:lnTo>
                  <a:lnTo>
                    <a:pt x="9865" y="1366"/>
                  </a:lnTo>
                  <a:lnTo>
                    <a:pt x="9638" y="1188"/>
                  </a:lnTo>
                  <a:lnTo>
                    <a:pt x="9401" y="1021"/>
                  </a:lnTo>
                  <a:lnTo>
                    <a:pt x="9156" y="865"/>
                  </a:lnTo>
                  <a:lnTo>
                    <a:pt x="8903" y="722"/>
                  </a:lnTo>
                  <a:lnTo>
                    <a:pt x="8644" y="589"/>
                  </a:lnTo>
                  <a:lnTo>
                    <a:pt x="8376" y="470"/>
                  </a:lnTo>
                  <a:lnTo>
                    <a:pt x="8103" y="362"/>
                  </a:lnTo>
                  <a:lnTo>
                    <a:pt x="7823" y="268"/>
                  </a:lnTo>
                  <a:lnTo>
                    <a:pt x="7536" y="188"/>
                  </a:lnTo>
                  <a:lnTo>
                    <a:pt x="7245" y="121"/>
                  </a:lnTo>
                  <a:lnTo>
                    <a:pt x="6948" y="68"/>
                  </a:lnTo>
                  <a:lnTo>
                    <a:pt x="6647" y="31"/>
                  </a:lnTo>
                  <a:lnTo>
                    <a:pt x="6341" y="8"/>
                  </a:lnTo>
                  <a:lnTo>
                    <a:pt x="60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56" name="íSḷidê">
              <a:extLst>
                <a:ext uri="{FF2B5EF4-FFF2-40B4-BE49-F238E27FC236}">
                  <a16:creationId xmlns:a16="http://schemas.microsoft.com/office/drawing/2014/main" id="{E0618037-3E2C-4763-8DB4-C94107E490F8}"/>
                </a:ext>
              </a:extLst>
            </p:cNvPr>
            <p:cNvSpPr/>
            <p:nvPr/>
          </p:nvSpPr>
          <p:spPr bwMode="auto">
            <a:xfrm>
              <a:off x="3190898" y="2095478"/>
              <a:ext cx="461060" cy="305964"/>
            </a:xfrm>
            <a:custGeom>
              <a:avLst/>
              <a:gdLst>
                <a:gd name="T0" fmla="*/ 503 w 12071"/>
                <a:gd name="T1" fmla="*/ 502 h 8033"/>
                <a:gd name="T2" fmla="*/ 11568 w 12071"/>
                <a:gd name="T3" fmla="*/ 0 h 8033"/>
                <a:gd name="T4" fmla="*/ 452 w 12071"/>
                <a:gd name="T5" fmla="*/ 5 h 8033"/>
                <a:gd name="T6" fmla="*/ 377 w 12071"/>
                <a:gd name="T7" fmla="*/ 18 h 8033"/>
                <a:gd name="T8" fmla="*/ 307 w 12071"/>
                <a:gd name="T9" fmla="*/ 41 h 8033"/>
                <a:gd name="T10" fmla="*/ 242 w 12071"/>
                <a:gd name="T11" fmla="*/ 74 h 8033"/>
                <a:gd name="T12" fmla="*/ 183 w 12071"/>
                <a:gd name="T13" fmla="*/ 116 h 8033"/>
                <a:gd name="T14" fmla="*/ 131 w 12071"/>
                <a:gd name="T15" fmla="*/ 166 h 8033"/>
                <a:gd name="T16" fmla="*/ 85 w 12071"/>
                <a:gd name="T17" fmla="*/ 222 h 8033"/>
                <a:gd name="T18" fmla="*/ 49 w 12071"/>
                <a:gd name="T19" fmla="*/ 284 h 8033"/>
                <a:gd name="T20" fmla="*/ 22 w 12071"/>
                <a:gd name="T21" fmla="*/ 353 h 8033"/>
                <a:gd name="T22" fmla="*/ 6 w 12071"/>
                <a:gd name="T23" fmla="*/ 426 h 8033"/>
                <a:gd name="T24" fmla="*/ 0 w 12071"/>
                <a:gd name="T25" fmla="*/ 502 h 8033"/>
                <a:gd name="T26" fmla="*/ 3 w 12071"/>
                <a:gd name="T27" fmla="*/ 7582 h 8033"/>
                <a:gd name="T28" fmla="*/ 16 w 12071"/>
                <a:gd name="T29" fmla="*/ 7656 h 8033"/>
                <a:gd name="T30" fmla="*/ 39 w 12071"/>
                <a:gd name="T31" fmla="*/ 7726 h 8033"/>
                <a:gd name="T32" fmla="*/ 72 w 12071"/>
                <a:gd name="T33" fmla="*/ 7792 h 8033"/>
                <a:gd name="T34" fmla="*/ 115 w 12071"/>
                <a:gd name="T35" fmla="*/ 7850 h 8033"/>
                <a:gd name="T36" fmla="*/ 165 w 12071"/>
                <a:gd name="T37" fmla="*/ 7902 h 8033"/>
                <a:gd name="T38" fmla="*/ 221 w 12071"/>
                <a:gd name="T39" fmla="*/ 7947 h 8033"/>
                <a:gd name="T40" fmla="*/ 285 w 12071"/>
                <a:gd name="T41" fmla="*/ 7983 h 8033"/>
                <a:gd name="T42" fmla="*/ 353 w 12071"/>
                <a:gd name="T43" fmla="*/ 8011 h 8033"/>
                <a:gd name="T44" fmla="*/ 426 w 12071"/>
                <a:gd name="T45" fmla="*/ 8027 h 8033"/>
                <a:gd name="T46" fmla="*/ 503 w 12071"/>
                <a:gd name="T47" fmla="*/ 8033 h 8033"/>
                <a:gd name="T48" fmla="*/ 11619 w 12071"/>
                <a:gd name="T49" fmla="*/ 8030 h 8033"/>
                <a:gd name="T50" fmla="*/ 11694 w 12071"/>
                <a:gd name="T51" fmla="*/ 8017 h 8033"/>
                <a:gd name="T52" fmla="*/ 11764 w 12071"/>
                <a:gd name="T53" fmla="*/ 7994 h 8033"/>
                <a:gd name="T54" fmla="*/ 11829 w 12071"/>
                <a:gd name="T55" fmla="*/ 7960 h 8033"/>
                <a:gd name="T56" fmla="*/ 11888 w 12071"/>
                <a:gd name="T57" fmla="*/ 7918 h 8033"/>
                <a:gd name="T58" fmla="*/ 11940 w 12071"/>
                <a:gd name="T59" fmla="*/ 7868 h 8033"/>
                <a:gd name="T60" fmla="*/ 11986 w 12071"/>
                <a:gd name="T61" fmla="*/ 7812 h 8033"/>
                <a:gd name="T62" fmla="*/ 12022 w 12071"/>
                <a:gd name="T63" fmla="*/ 7749 h 8033"/>
                <a:gd name="T64" fmla="*/ 12049 w 12071"/>
                <a:gd name="T65" fmla="*/ 7680 h 8033"/>
                <a:gd name="T66" fmla="*/ 12065 w 12071"/>
                <a:gd name="T67" fmla="*/ 7607 h 8033"/>
                <a:gd name="T68" fmla="*/ 12071 w 12071"/>
                <a:gd name="T69" fmla="*/ 7531 h 8033"/>
                <a:gd name="T70" fmla="*/ 12068 w 12071"/>
                <a:gd name="T71" fmla="*/ 451 h 8033"/>
                <a:gd name="T72" fmla="*/ 12055 w 12071"/>
                <a:gd name="T73" fmla="*/ 377 h 8033"/>
                <a:gd name="T74" fmla="*/ 12032 w 12071"/>
                <a:gd name="T75" fmla="*/ 306 h 8033"/>
                <a:gd name="T76" fmla="*/ 11999 w 12071"/>
                <a:gd name="T77" fmla="*/ 242 h 8033"/>
                <a:gd name="T78" fmla="*/ 11956 w 12071"/>
                <a:gd name="T79" fmla="*/ 183 h 8033"/>
                <a:gd name="T80" fmla="*/ 11906 w 12071"/>
                <a:gd name="T81" fmla="*/ 131 h 8033"/>
                <a:gd name="T82" fmla="*/ 11850 w 12071"/>
                <a:gd name="T83" fmla="*/ 85 h 8033"/>
                <a:gd name="T84" fmla="*/ 11786 w 12071"/>
                <a:gd name="T85" fmla="*/ 49 h 8033"/>
                <a:gd name="T86" fmla="*/ 11718 w 12071"/>
                <a:gd name="T87" fmla="*/ 22 h 8033"/>
                <a:gd name="T88" fmla="*/ 11645 w 12071"/>
                <a:gd name="T89" fmla="*/ 6 h 8033"/>
                <a:gd name="T90" fmla="*/ 11568 w 12071"/>
                <a:gd name="T91" fmla="*/ 0 h 8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071" h="8033">
                  <a:moveTo>
                    <a:pt x="11568" y="7533"/>
                  </a:moveTo>
                  <a:lnTo>
                    <a:pt x="503" y="7533"/>
                  </a:lnTo>
                  <a:lnTo>
                    <a:pt x="503" y="502"/>
                  </a:lnTo>
                  <a:lnTo>
                    <a:pt x="11568" y="502"/>
                  </a:lnTo>
                  <a:lnTo>
                    <a:pt x="11568" y="7533"/>
                  </a:lnTo>
                  <a:close/>
                  <a:moveTo>
                    <a:pt x="11568" y="0"/>
                  </a:moveTo>
                  <a:lnTo>
                    <a:pt x="503" y="2"/>
                  </a:lnTo>
                  <a:lnTo>
                    <a:pt x="477" y="3"/>
                  </a:lnTo>
                  <a:lnTo>
                    <a:pt x="452" y="5"/>
                  </a:lnTo>
                  <a:lnTo>
                    <a:pt x="426" y="8"/>
                  </a:lnTo>
                  <a:lnTo>
                    <a:pt x="401" y="12"/>
                  </a:lnTo>
                  <a:lnTo>
                    <a:pt x="377" y="18"/>
                  </a:lnTo>
                  <a:lnTo>
                    <a:pt x="353" y="24"/>
                  </a:lnTo>
                  <a:lnTo>
                    <a:pt x="330" y="32"/>
                  </a:lnTo>
                  <a:lnTo>
                    <a:pt x="307" y="41"/>
                  </a:lnTo>
                  <a:lnTo>
                    <a:pt x="285" y="51"/>
                  </a:lnTo>
                  <a:lnTo>
                    <a:pt x="263" y="62"/>
                  </a:lnTo>
                  <a:lnTo>
                    <a:pt x="242" y="74"/>
                  </a:lnTo>
                  <a:lnTo>
                    <a:pt x="221" y="87"/>
                  </a:lnTo>
                  <a:lnTo>
                    <a:pt x="202" y="102"/>
                  </a:lnTo>
                  <a:lnTo>
                    <a:pt x="183" y="116"/>
                  </a:lnTo>
                  <a:lnTo>
                    <a:pt x="165" y="132"/>
                  </a:lnTo>
                  <a:lnTo>
                    <a:pt x="147" y="148"/>
                  </a:lnTo>
                  <a:lnTo>
                    <a:pt x="131" y="166"/>
                  </a:lnTo>
                  <a:lnTo>
                    <a:pt x="115" y="184"/>
                  </a:lnTo>
                  <a:lnTo>
                    <a:pt x="99" y="202"/>
                  </a:lnTo>
                  <a:lnTo>
                    <a:pt x="85" y="222"/>
                  </a:lnTo>
                  <a:lnTo>
                    <a:pt x="72" y="242"/>
                  </a:lnTo>
                  <a:lnTo>
                    <a:pt x="60" y="263"/>
                  </a:lnTo>
                  <a:lnTo>
                    <a:pt x="49" y="284"/>
                  </a:lnTo>
                  <a:lnTo>
                    <a:pt x="39" y="307"/>
                  </a:lnTo>
                  <a:lnTo>
                    <a:pt x="30" y="329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1"/>
                  </a:lnTo>
                  <a:lnTo>
                    <a:pt x="1" y="476"/>
                  </a:lnTo>
                  <a:lnTo>
                    <a:pt x="0" y="502"/>
                  </a:lnTo>
                  <a:lnTo>
                    <a:pt x="0" y="7531"/>
                  </a:lnTo>
                  <a:lnTo>
                    <a:pt x="1" y="7557"/>
                  </a:lnTo>
                  <a:lnTo>
                    <a:pt x="3" y="7582"/>
                  </a:lnTo>
                  <a:lnTo>
                    <a:pt x="6" y="7607"/>
                  </a:lnTo>
                  <a:lnTo>
                    <a:pt x="10" y="7632"/>
                  </a:lnTo>
                  <a:lnTo>
                    <a:pt x="16" y="7656"/>
                  </a:lnTo>
                  <a:lnTo>
                    <a:pt x="22" y="7680"/>
                  </a:lnTo>
                  <a:lnTo>
                    <a:pt x="30" y="7703"/>
                  </a:lnTo>
                  <a:lnTo>
                    <a:pt x="39" y="7726"/>
                  </a:lnTo>
                  <a:lnTo>
                    <a:pt x="49" y="7749"/>
                  </a:lnTo>
                  <a:lnTo>
                    <a:pt x="60" y="7771"/>
                  </a:lnTo>
                  <a:lnTo>
                    <a:pt x="72" y="7792"/>
                  </a:lnTo>
                  <a:lnTo>
                    <a:pt x="85" y="7812"/>
                  </a:lnTo>
                  <a:lnTo>
                    <a:pt x="99" y="7831"/>
                  </a:lnTo>
                  <a:lnTo>
                    <a:pt x="115" y="7850"/>
                  </a:lnTo>
                  <a:lnTo>
                    <a:pt x="131" y="7868"/>
                  </a:lnTo>
                  <a:lnTo>
                    <a:pt x="147" y="7886"/>
                  </a:lnTo>
                  <a:lnTo>
                    <a:pt x="165" y="7902"/>
                  </a:lnTo>
                  <a:lnTo>
                    <a:pt x="183" y="7918"/>
                  </a:lnTo>
                  <a:lnTo>
                    <a:pt x="202" y="7933"/>
                  </a:lnTo>
                  <a:lnTo>
                    <a:pt x="221" y="7947"/>
                  </a:lnTo>
                  <a:lnTo>
                    <a:pt x="242" y="7960"/>
                  </a:lnTo>
                  <a:lnTo>
                    <a:pt x="263" y="7972"/>
                  </a:lnTo>
                  <a:lnTo>
                    <a:pt x="285" y="7983"/>
                  </a:lnTo>
                  <a:lnTo>
                    <a:pt x="307" y="7994"/>
                  </a:lnTo>
                  <a:lnTo>
                    <a:pt x="330" y="8003"/>
                  </a:lnTo>
                  <a:lnTo>
                    <a:pt x="353" y="8011"/>
                  </a:lnTo>
                  <a:lnTo>
                    <a:pt x="377" y="8017"/>
                  </a:lnTo>
                  <a:lnTo>
                    <a:pt x="401" y="8023"/>
                  </a:lnTo>
                  <a:lnTo>
                    <a:pt x="426" y="8027"/>
                  </a:lnTo>
                  <a:lnTo>
                    <a:pt x="452" y="8030"/>
                  </a:lnTo>
                  <a:lnTo>
                    <a:pt x="477" y="8032"/>
                  </a:lnTo>
                  <a:lnTo>
                    <a:pt x="503" y="8033"/>
                  </a:lnTo>
                  <a:lnTo>
                    <a:pt x="11568" y="8033"/>
                  </a:lnTo>
                  <a:lnTo>
                    <a:pt x="11594" y="8032"/>
                  </a:lnTo>
                  <a:lnTo>
                    <a:pt x="11619" y="8030"/>
                  </a:lnTo>
                  <a:lnTo>
                    <a:pt x="11645" y="8027"/>
                  </a:lnTo>
                  <a:lnTo>
                    <a:pt x="11670" y="8023"/>
                  </a:lnTo>
                  <a:lnTo>
                    <a:pt x="11694" y="8017"/>
                  </a:lnTo>
                  <a:lnTo>
                    <a:pt x="11718" y="8011"/>
                  </a:lnTo>
                  <a:lnTo>
                    <a:pt x="11741" y="8003"/>
                  </a:lnTo>
                  <a:lnTo>
                    <a:pt x="11764" y="7994"/>
                  </a:lnTo>
                  <a:lnTo>
                    <a:pt x="11786" y="7983"/>
                  </a:lnTo>
                  <a:lnTo>
                    <a:pt x="11809" y="7972"/>
                  </a:lnTo>
                  <a:lnTo>
                    <a:pt x="11829" y="7960"/>
                  </a:lnTo>
                  <a:lnTo>
                    <a:pt x="11850" y="7947"/>
                  </a:lnTo>
                  <a:lnTo>
                    <a:pt x="11869" y="7933"/>
                  </a:lnTo>
                  <a:lnTo>
                    <a:pt x="11888" y="7918"/>
                  </a:lnTo>
                  <a:lnTo>
                    <a:pt x="11906" y="7902"/>
                  </a:lnTo>
                  <a:lnTo>
                    <a:pt x="11924" y="7886"/>
                  </a:lnTo>
                  <a:lnTo>
                    <a:pt x="11940" y="7868"/>
                  </a:lnTo>
                  <a:lnTo>
                    <a:pt x="11956" y="7850"/>
                  </a:lnTo>
                  <a:lnTo>
                    <a:pt x="11972" y="7831"/>
                  </a:lnTo>
                  <a:lnTo>
                    <a:pt x="11986" y="7812"/>
                  </a:lnTo>
                  <a:lnTo>
                    <a:pt x="11999" y="7792"/>
                  </a:lnTo>
                  <a:lnTo>
                    <a:pt x="12011" y="7771"/>
                  </a:lnTo>
                  <a:lnTo>
                    <a:pt x="12022" y="7749"/>
                  </a:lnTo>
                  <a:lnTo>
                    <a:pt x="12032" y="7726"/>
                  </a:lnTo>
                  <a:lnTo>
                    <a:pt x="12041" y="7703"/>
                  </a:lnTo>
                  <a:lnTo>
                    <a:pt x="12049" y="7680"/>
                  </a:lnTo>
                  <a:lnTo>
                    <a:pt x="12055" y="7656"/>
                  </a:lnTo>
                  <a:lnTo>
                    <a:pt x="12061" y="7632"/>
                  </a:lnTo>
                  <a:lnTo>
                    <a:pt x="12065" y="7607"/>
                  </a:lnTo>
                  <a:lnTo>
                    <a:pt x="12068" y="7582"/>
                  </a:lnTo>
                  <a:lnTo>
                    <a:pt x="12070" y="7557"/>
                  </a:lnTo>
                  <a:lnTo>
                    <a:pt x="12071" y="7531"/>
                  </a:lnTo>
                  <a:lnTo>
                    <a:pt x="12071" y="502"/>
                  </a:lnTo>
                  <a:lnTo>
                    <a:pt x="12070" y="476"/>
                  </a:lnTo>
                  <a:lnTo>
                    <a:pt x="12068" y="451"/>
                  </a:lnTo>
                  <a:lnTo>
                    <a:pt x="12065" y="426"/>
                  </a:lnTo>
                  <a:lnTo>
                    <a:pt x="12061" y="401"/>
                  </a:lnTo>
                  <a:lnTo>
                    <a:pt x="12055" y="377"/>
                  </a:lnTo>
                  <a:lnTo>
                    <a:pt x="12049" y="353"/>
                  </a:lnTo>
                  <a:lnTo>
                    <a:pt x="12041" y="329"/>
                  </a:lnTo>
                  <a:lnTo>
                    <a:pt x="12032" y="306"/>
                  </a:lnTo>
                  <a:lnTo>
                    <a:pt x="12022" y="284"/>
                  </a:lnTo>
                  <a:lnTo>
                    <a:pt x="12011" y="263"/>
                  </a:lnTo>
                  <a:lnTo>
                    <a:pt x="11999" y="242"/>
                  </a:lnTo>
                  <a:lnTo>
                    <a:pt x="11986" y="221"/>
                  </a:lnTo>
                  <a:lnTo>
                    <a:pt x="11972" y="202"/>
                  </a:lnTo>
                  <a:lnTo>
                    <a:pt x="11956" y="183"/>
                  </a:lnTo>
                  <a:lnTo>
                    <a:pt x="11940" y="165"/>
                  </a:lnTo>
                  <a:lnTo>
                    <a:pt x="11924" y="147"/>
                  </a:lnTo>
                  <a:lnTo>
                    <a:pt x="11906" y="131"/>
                  </a:lnTo>
                  <a:lnTo>
                    <a:pt x="11888" y="115"/>
                  </a:lnTo>
                  <a:lnTo>
                    <a:pt x="11869" y="100"/>
                  </a:lnTo>
                  <a:lnTo>
                    <a:pt x="11850" y="85"/>
                  </a:lnTo>
                  <a:lnTo>
                    <a:pt x="11829" y="72"/>
                  </a:lnTo>
                  <a:lnTo>
                    <a:pt x="11809" y="60"/>
                  </a:lnTo>
                  <a:lnTo>
                    <a:pt x="11786" y="49"/>
                  </a:lnTo>
                  <a:lnTo>
                    <a:pt x="11764" y="39"/>
                  </a:lnTo>
                  <a:lnTo>
                    <a:pt x="11741" y="30"/>
                  </a:lnTo>
                  <a:lnTo>
                    <a:pt x="11718" y="22"/>
                  </a:lnTo>
                  <a:lnTo>
                    <a:pt x="11694" y="16"/>
                  </a:lnTo>
                  <a:lnTo>
                    <a:pt x="11670" y="10"/>
                  </a:lnTo>
                  <a:lnTo>
                    <a:pt x="11645" y="6"/>
                  </a:lnTo>
                  <a:lnTo>
                    <a:pt x="11619" y="3"/>
                  </a:lnTo>
                  <a:lnTo>
                    <a:pt x="11594" y="1"/>
                  </a:lnTo>
                  <a:lnTo>
                    <a:pt x="1156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57" name="iṣḻïḋè">
              <a:extLst>
                <a:ext uri="{FF2B5EF4-FFF2-40B4-BE49-F238E27FC236}">
                  <a16:creationId xmlns:a16="http://schemas.microsoft.com/office/drawing/2014/main" id="{741E20F8-E14D-4FB5-A710-FDF2B462CBFA}"/>
                </a:ext>
              </a:extLst>
            </p:cNvPr>
            <p:cNvSpPr/>
            <p:nvPr/>
          </p:nvSpPr>
          <p:spPr bwMode="auto">
            <a:xfrm>
              <a:off x="3114760" y="2019340"/>
              <a:ext cx="613337" cy="573859"/>
            </a:xfrm>
            <a:custGeom>
              <a:avLst/>
              <a:gdLst>
                <a:gd name="T0" fmla="*/ 15066 w 16095"/>
                <a:gd name="T1" fmla="*/ 11696 h 15059"/>
                <a:gd name="T2" fmla="*/ 14988 w 16095"/>
                <a:gd name="T3" fmla="*/ 11847 h 15059"/>
                <a:gd name="T4" fmla="*/ 14867 w 16095"/>
                <a:gd name="T5" fmla="*/ 11963 h 15059"/>
                <a:gd name="T6" fmla="*/ 14712 w 16095"/>
                <a:gd name="T7" fmla="*/ 12033 h 15059"/>
                <a:gd name="T8" fmla="*/ 6036 w 16095"/>
                <a:gd name="T9" fmla="*/ 12049 h 15059"/>
                <a:gd name="T10" fmla="*/ 1359 w 16095"/>
                <a:gd name="T11" fmla="*/ 12027 h 15059"/>
                <a:gd name="T12" fmla="*/ 1208 w 16095"/>
                <a:gd name="T13" fmla="*/ 11949 h 15059"/>
                <a:gd name="T14" fmla="*/ 1091 w 16095"/>
                <a:gd name="T15" fmla="*/ 11828 h 15059"/>
                <a:gd name="T16" fmla="*/ 1022 w 16095"/>
                <a:gd name="T17" fmla="*/ 11672 h 15059"/>
                <a:gd name="T18" fmla="*/ 1007 w 16095"/>
                <a:gd name="T19" fmla="*/ 1480 h 15059"/>
                <a:gd name="T20" fmla="*/ 1045 w 16095"/>
                <a:gd name="T21" fmla="*/ 1310 h 15059"/>
                <a:gd name="T22" fmla="*/ 1137 w 16095"/>
                <a:gd name="T23" fmla="*/ 1169 h 15059"/>
                <a:gd name="T24" fmla="*/ 1268 w 16095"/>
                <a:gd name="T25" fmla="*/ 1064 h 15059"/>
                <a:gd name="T26" fmla="*/ 1432 w 16095"/>
                <a:gd name="T27" fmla="*/ 1010 h 15059"/>
                <a:gd name="T28" fmla="*/ 14663 w 16095"/>
                <a:gd name="T29" fmla="*/ 1010 h 15059"/>
                <a:gd name="T30" fmla="*/ 14826 w 16095"/>
                <a:gd name="T31" fmla="*/ 1064 h 15059"/>
                <a:gd name="T32" fmla="*/ 14958 w 16095"/>
                <a:gd name="T33" fmla="*/ 1169 h 15059"/>
                <a:gd name="T34" fmla="*/ 15050 w 16095"/>
                <a:gd name="T35" fmla="*/ 1310 h 15059"/>
                <a:gd name="T36" fmla="*/ 15088 w 16095"/>
                <a:gd name="T37" fmla="*/ 1480 h 15059"/>
                <a:gd name="T38" fmla="*/ 1279 w 16095"/>
                <a:gd name="T39" fmla="*/ 17 h 15059"/>
                <a:gd name="T40" fmla="*/ 790 w 16095"/>
                <a:gd name="T41" fmla="*/ 182 h 15059"/>
                <a:gd name="T42" fmla="*/ 391 w 16095"/>
                <a:gd name="T43" fmla="*/ 493 h 15059"/>
                <a:gd name="T44" fmla="*/ 119 w 16095"/>
                <a:gd name="T45" fmla="*/ 920 h 15059"/>
                <a:gd name="T46" fmla="*/ 2 w 16095"/>
                <a:gd name="T47" fmla="*/ 1429 h 15059"/>
                <a:gd name="T48" fmla="*/ 47 w 16095"/>
                <a:gd name="T49" fmla="*/ 11922 h 15059"/>
                <a:gd name="T50" fmla="*/ 257 w 16095"/>
                <a:gd name="T51" fmla="*/ 12387 h 15059"/>
                <a:gd name="T52" fmla="*/ 604 w 16095"/>
                <a:gd name="T53" fmla="*/ 12752 h 15059"/>
                <a:gd name="T54" fmla="*/ 1056 w 16095"/>
                <a:gd name="T55" fmla="*/ 12984 h 15059"/>
                <a:gd name="T56" fmla="*/ 6539 w 16095"/>
                <a:gd name="T57" fmla="*/ 13053 h 15059"/>
                <a:gd name="T58" fmla="*/ 3299 w 16095"/>
                <a:gd name="T59" fmla="*/ 14106 h 15059"/>
                <a:gd name="T60" fmla="*/ 3180 w 16095"/>
                <a:gd name="T61" fmla="*/ 14188 h 15059"/>
                <a:gd name="T62" fmla="*/ 3089 w 16095"/>
                <a:gd name="T63" fmla="*/ 14299 h 15059"/>
                <a:gd name="T64" fmla="*/ 3034 w 16095"/>
                <a:gd name="T65" fmla="*/ 14431 h 15059"/>
                <a:gd name="T66" fmla="*/ 3019 w 16095"/>
                <a:gd name="T67" fmla="*/ 14583 h 15059"/>
                <a:gd name="T68" fmla="*/ 3057 w 16095"/>
                <a:gd name="T69" fmla="*/ 14753 h 15059"/>
                <a:gd name="T70" fmla="*/ 3149 w 16095"/>
                <a:gd name="T71" fmla="*/ 14894 h 15059"/>
                <a:gd name="T72" fmla="*/ 3280 w 16095"/>
                <a:gd name="T73" fmla="*/ 14999 h 15059"/>
                <a:gd name="T74" fmla="*/ 3444 w 16095"/>
                <a:gd name="T75" fmla="*/ 15053 h 15059"/>
                <a:gd name="T76" fmla="*/ 12651 w 16095"/>
                <a:gd name="T77" fmla="*/ 15053 h 15059"/>
                <a:gd name="T78" fmla="*/ 12814 w 16095"/>
                <a:gd name="T79" fmla="*/ 14999 h 15059"/>
                <a:gd name="T80" fmla="*/ 12946 w 16095"/>
                <a:gd name="T81" fmla="*/ 14894 h 15059"/>
                <a:gd name="T82" fmla="*/ 13038 w 16095"/>
                <a:gd name="T83" fmla="*/ 14753 h 15059"/>
                <a:gd name="T84" fmla="*/ 13076 w 16095"/>
                <a:gd name="T85" fmla="*/ 14583 h 15059"/>
                <a:gd name="T86" fmla="*/ 13061 w 16095"/>
                <a:gd name="T87" fmla="*/ 14431 h 15059"/>
                <a:gd name="T88" fmla="*/ 13006 w 16095"/>
                <a:gd name="T89" fmla="*/ 14299 h 15059"/>
                <a:gd name="T90" fmla="*/ 12915 w 16095"/>
                <a:gd name="T91" fmla="*/ 14188 h 15059"/>
                <a:gd name="T92" fmla="*/ 12796 w 16095"/>
                <a:gd name="T93" fmla="*/ 14106 h 15059"/>
                <a:gd name="T94" fmla="*/ 9556 w 16095"/>
                <a:gd name="T95" fmla="*/ 13053 h 15059"/>
                <a:gd name="T96" fmla="*/ 15039 w 16095"/>
                <a:gd name="T97" fmla="*/ 12984 h 15059"/>
                <a:gd name="T98" fmla="*/ 15491 w 16095"/>
                <a:gd name="T99" fmla="*/ 12752 h 15059"/>
                <a:gd name="T100" fmla="*/ 15838 w 16095"/>
                <a:gd name="T101" fmla="*/ 12387 h 15059"/>
                <a:gd name="T102" fmla="*/ 16048 w 16095"/>
                <a:gd name="T103" fmla="*/ 11922 h 15059"/>
                <a:gd name="T104" fmla="*/ 16093 w 16095"/>
                <a:gd name="T105" fmla="*/ 1429 h 15059"/>
                <a:gd name="T106" fmla="*/ 15976 w 16095"/>
                <a:gd name="T107" fmla="*/ 920 h 15059"/>
                <a:gd name="T108" fmla="*/ 15703 w 16095"/>
                <a:gd name="T109" fmla="*/ 493 h 15059"/>
                <a:gd name="T110" fmla="*/ 15305 w 16095"/>
                <a:gd name="T111" fmla="*/ 182 h 15059"/>
                <a:gd name="T112" fmla="*/ 14815 w 16095"/>
                <a:gd name="T113" fmla="*/ 17 h 15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5059">
                  <a:moveTo>
                    <a:pt x="15089" y="11547"/>
                  </a:moveTo>
                  <a:lnTo>
                    <a:pt x="15088" y="11573"/>
                  </a:lnTo>
                  <a:lnTo>
                    <a:pt x="15086" y="11598"/>
                  </a:lnTo>
                  <a:lnTo>
                    <a:pt x="15083" y="11623"/>
                  </a:lnTo>
                  <a:lnTo>
                    <a:pt x="15079" y="11648"/>
                  </a:lnTo>
                  <a:lnTo>
                    <a:pt x="15073" y="11672"/>
                  </a:lnTo>
                  <a:lnTo>
                    <a:pt x="15066" y="11696"/>
                  </a:lnTo>
                  <a:lnTo>
                    <a:pt x="15059" y="11719"/>
                  </a:lnTo>
                  <a:lnTo>
                    <a:pt x="15050" y="11743"/>
                  </a:lnTo>
                  <a:lnTo>
                    <a:pt x="15040" y="11765"/>
                  </a:lnTo>
                  <a:lnTo>
                    <a:pt x="15029" y="11786"/>
                  </a:lnTo>
                  <a:lnTo>
                    <a:pt x="15016" y="11807"/>
                  </a:lnTo>
                  <a:lnTo>
                    <a:pt x="15003" y="11828"/>
                  </a:lnTo>
                  <a:lnTo>
                    <a:pt x="14988" y="11847"/>
                  </a:lnTo>
                  <a:lnTo>
                    <a:pt x="14974" y="11866"/>
                  </a:lnTo>
                  <a:lnTo>
                    <a:pt x="14958" y="11884"/>
                  </a:lnTo>
                  <a:lnTo>
                    <a:pt x="14941" y="11902"/>
                  </a:lnTo>
                  <a:lnTo>
                    <a:pt x="14924" y="11918"/>
                  </a:lnTo>
                  <a:lnTo>
                    <a:pt x="14906" y="11934"/>
                  </a:lnTo>
                  <a:lnTo>
                    <a:pt x="14887" y="11949"/>
                  </a:lnTo>
                  <a:lnTo>
                    <a:pt x="14867" y="11963"/>
                  </a:lnTo>
                  <a:lnTo>
                    <a:pt x="14847" y="11977"/>
                  </a:lnTo>
                  <a:lnTo>
                    <a:pt x="14826" y="11989"/>
                  </a:lnTo>
                  <a:lnTo>
                    <a:pt x="14803" y="12000"/>
                  </a:lnTo>
                  <a:lnTo>
                    <a:pt x="14781" y="12010"/>
                  </a:lnTo>
                  <a:lnTo>
                    <a:pt x="14759" y="12019"/>
                  </a:lnTo>
                  <a:lnTo>
                    <a:pt x="14735" y="12027"/>
                  </a:lnTo>
                  <a:lnTo>
                    <a:pt x="14712" y="12033"/>
                  </a:lnTo>
                  <a:lnTo>
                    <a:pt x="14687" y="12039"/>
                  </a:lnTo>
                  <a:lnTo>
                    <a:pt x="14663" y="12043"/>
                  </a:lnTo>
                  <a:lnTo>
                    <a:pt x="14637" y="12047"/>
                  </a:lnTo>
                  <a:lnTo>
                    <a:pt x="14612" y="12048"/>
                  </a:lnTo>
                  <a:lnTo>
                    <a:pt x="14586" y="12049"/>
                  </a:lnTo>
                  <a:lnTo>
                    <a:pt x="10059" y="12049"/>
                  </a:lnTo>
                  <a:lnTo>
                    <a:pt x="6036" y="12049"/>
                  </a:lnTo>
                  <a:lnTo>
                    <a:pt x="1509" y="12049"/>
                  </a:lnTo>
                  <a:lnTo>
                    <a:pt x="1483" y="12048"/>
                  </a:lnTo>
                  <a:lnTo>
                    <a:pt x="1458" y="12047"/>
                  </a:lnTo>
                  <a:lnTo>
                    <a:pt x="1432" y="12043"/>
                  </a:lnTo>
                  <a:lnTo>
                    <a:pt x="1407" y="12039"/>
                  </a:lnTo>
                  <a:lnTo>
                    <a:pt x="1383" y="12033"/>
                  </a:lnTo>
                  <a:lnTo>
                    <a:pt x="1359" y="12027"/>
                  </a:lnTo>
                  <a:lnTo>
                    <a:pt x="1336" y="12019"/>
                  </a:lnTo>
                  <a:lnTo>
                    <a:pt x="1313" y="12010"/>
                  </a:lnTo>
                  <a:lnTo>
                    <a:pt x="1291" y="12000"/>
                  </a:lnTo>
                  <a:lnTo>
                    <a:pt x="1268" y="11989"/>
                  </a:lnTo>
                  <a:lnTo>
                    <a:pt x="1248" y="11977"/>
                  </a:lnTo>
                  <a:lnTo>
                    <a:pt x="1227" y="11963"/>
                  </a:lnTo>
                  <a:lnTo>
                    <a:pt x="1208" y="11949"/>
                  </a:lnTo>
                  <a:lnTo>
                    <a:pt x="1189" y="11934"/>
                  </a:lnTo>
                  <a:lnTo>
                    <a:pt x="1171" y="11918"/>
                  </a:lnTo>
                  <a:lnTo>
                    <a:pt x="1153" y="11902"/>
                  </a:lnTo>
                  <a:lnTo>
                    <a:pt x="1137" y="11884"/>
                  </a:lnTo>
                  <a:lnTo>
                    <a:pt x="1121" y="11866"/>
                  </a:lnTo>
                  <a:lnTo>
                    <a:pt x="1106" y="11847"/>
                  </a:lnTo>
                  <a:lnTo>
                    <a:pt x="1091" y="11828"/>
                  </a:lnTo>
                  <a:lnTo>
                    <a:pt x="1078" y="11807"/>
                  </a:lnTo>
                  <a:lnTo>
                    <a:pt x="1066" y="11786"/>
                  </a:lnTo>
                  <a:lnTo>
                    <a:pt x="1055" y="11765"/>
                  </a:lnTo>
                  <a:lnTo>
                    <a:pt x="1045" y="11743"/>
                  </a:lnTo>
                  <a:lnTo>
                    <a:pt x="1036" y="11719"/>
                  </a:lnTo>
                  <a:lnTo>
                    <a:pt x="1028" y="11696"/>
                  </a:lnTo>
                  <a:lnTo>
                    <a:pt x="1022" y="11672"/>
                  </a:lnTo>
                  <a:lnTo>
                    <a:pt x="1016" y="11648"/>
                  </a:lnTo>
                  <a:lnTo>
                    <a:pt x="1012" y="11623"/>
                  </a:lnTo>
                  <a:lnTo>
                    <a:pt x="1009" y="11598"/>
                  </a:lnTo>
                  <a:lnTo>
                    <a:pt x="1007" y="11573"/>
                  </a:lnTo>
                  <a:lnTo>
                    <a:pt x="1006" y="11547"/>
                  </a:lnTo>
                  <a:lnTo>
                    <a:pt x="1006" y="1506"/>
                  </a:lnTo>
                  <a:lnTo>
                    <a:pt x="1007" y="1480"/>
                  </a:lnTo>
                  <a:lnTo>
                    <a:pt x="1009" y="1455"/>
                  </a:lnTo>
                  <a:lnTo>
                    <a:pt x="1012" y="1430"/>
                  </a:lnTo>
                  <a:lnTo>
                    <a:pt x="1016" y="1405"/>
                  </a:lnTo>
                  <a:lnTo>
                    <a:pt x="1022" y="1381"/>
                  </a:lnTo>
                  <a:lnTo>
                    <a:pt x="1028" y="1356"/>
                  </a:lnTo>
                  <a:lnTo>
                    <a:pt x="1036" y="1333"/>
                  </a:lnTo>
                  <a:lnTo>
                    <a:pt x="1045" y="1310"/>
                  </a:lnTo>
                  <a:lnTo>
                    <a:pt x="1055" y="1288"/>
                  </a:lnTo>
                  <a:lnTo>
                    <a:pt x="1066" y="1267"/>
                  </a:lnTo>
                  <a:lnTo>
                    <a:pt x="1078" y="1246"/>
                  </a:lnTo>
                  <a:lnTo>
                    <a:pt x="1091" y="1225"/>
                  </a:lnTo>
                  <a:lnTo>
                    <a:pt x="1106" y="1206"/>
                  </a:lnTo>
                  <a:lnTo>
                    <a:pt x="1121" y="1187"/>
                  </a:lnTo>
                  <a:lnTo>
                    <a:pt x="1137" y="1169"/>
                  </a:lnTo>
                  <a:lnTo>
                    <a:pt x="1153" y="1151"/>
                  </a:lnTo>
                  <a:lnTo>
                    <a:pt x="1171" y="1135"/>
                  </a:lnTo>
                  <a:lnTo>
                    <a:pt x="1189" y="1119"/>
                  </a:lnTo>
                  <a:lnTo>
                    <a:pt x="1208" y="1103"/>
                  </a:lnTo>
                  <a:lnTo>
                    <a:pt x="1227" y="1090"/>
                  </a:lnTo>
                  <a:lnTo>
                    <a:pt x="1248" y="1077"/>
                  </a:lnTo>
                  <a:lnTo>
                    <a:pt x="1268" y="1064"/>
                  </a:lnTo>
                  <a:lnTo>
                    <a:pt x="1291" y="1053"/>
                  </a:lnTo>
                  <a:lnTo>
                    <a:pt x="1313" y="1043"/>
                  </a:lnTo>
                  <a:lnTo>
                    <a:pt x="1336" y="1034"/>
                  </a:lnTo>
                  <a:lnTo>
                    <a:pt x="1359" y="1027"/>
                  </a:lnTo>
                  <a:lnTo>
                    <a:pt x="1383" y="1020"/>
                  </a:lnTo>
                  <a:lnTo>
                    <a:pt x="1407" y="1014"/>
                  </a:lnTo>
                  <a:lnTo>
                    <a:pt x="1432" y="1010"/>
                  </a:lnTo>
                  <a:lnTo>
                    <a:pt x="1458" y="1007"/>
                  </a:lnTo>
                  <a:lnTo>
                    <a:pt x="1483" y="1005"/>
                  </a:lnTo>
                  <a:lnTo>
                    <a:pt x="1509" y="1004"/>
                  </a:lnTo>
                  <a:lnTo>
                    <a:pt x="14586" y="1004"/>
                  </a:lnTo>
                  <a:lnTo>
                    <a:pt x="14612" y="1005"/>
                  </a:lnTo>
                  <a:lnTo>
                    <a:pt x="14637" y="1007"/>
                  </a:lnTo>
                  <a:lnTo>
                    <a:pt x="14663" y="1010"/>
                  </a:lnTo>
                  <a:lnTo>
                    <a:pt x="14687" y="1014"/>
                  </a:lnTo>
                  <a:lnTo>
                    <a:pt x="14712" y="1020"/>
                  </a:lnTo>
                  <a:lnTo>
                    <a:pt x="14735" y="1027"/>
                  </a:lnTo>
                  <a:lnTo>
                    <a:pt x="14759" y="1034"/>
                  </a:lnTo>
                  <a:lnTo>
                    <a:pt x="14781" y="1043"/>
                  </a:lnTo>
                  <a:lnTo>
                    <a:pt x="14803" y="1053"/>
                  </a:lnTo>
                  <a:lnTo>
                    <a:pt x="14826" y="1064"/>
                  </a:lnTo>
                  <a:lnTo>
                    <a:pt x="14847" y="1077"/>
                  </a:lnTo>
                  <a:lnTo>
                    <a:pt x="14867" y="1090"/>
                  </a:lnTo>
                  <a:lnTo>
                    <a:pt x="14887" y="1103"/>
                  </a:lnTo>
                  <a:lnTo>
                    <a:pt x="14906" y="1119"/>
                  </a:lnTo>
                  <a:lnTo>
                    <a:pt x="14924" y="1135"/>
                  </a:lnTo>
                  <a:lnTo>
                    <a:pt x="14941" y="1151"/>
                  </a:lnTo>
                  <a:lnTo>
                    <a:pt x="14958" y="1169"/>
                  </a:lnTo>
                  <a:lnTo>
                    <a:pt x="14974" y="1187"/>
                  </a:lnTo>
                  <a:lnTo>
                    <a:pt x="14988" y="1206"/>
                  </a:lnTo>
                  <a:lnTo>
                    <a:pt x="15003" y="1225"/>
                  </a:lnTo>
                  <a:lnTo>
                    <a:pt x="15016" y="1246"/>
                  </a:lnTo>
                  <a:lnTo>
                    <a:pt x="15029" y="1267"/>
                  </a:lnTo>
                  <a:lnTo>
                    <a:pt x="15040" y="1288"/>
                  </a:lnTo>
                  <a:lnTo>
                    <a:pt x="15050" y="1310"/>
                  </a:lnTo>
                  <a:lnTo>
                    <a:pt x="15059" y="1333"/>
                  </a:lnTo>
                  <a:lnTo>
                    <a:pt x="15066" y="1356"/>
                  </a:lnTo>
                  <a:lnTo>
                    <a:pt x="15073" y="1381"/>
                  </a:lnTo>
                  <a:lnTo>
                    <a:pt x="15079" y="1405"/>
                  </a:lnTo>
                  <a:lnTo>
                    <a:pt x="15083" y="1430"/>
                  </a:lnTo>
                  <a:lnTo>
                    <a:pt x="15086" y="1455"/>
                  </a:lnTo>
                  <a:lnTo>
                    <a:pt x="15088" y="1480"/>
                  </a:lnTo>
                  <a:lnTo>
                    <a:pt x="15089" y="1506"/>
                  </a:lnTo>
                  <a:lnTo>
                    <a:pt x="15089" y="11547"/>
                  </a:lnTo>
                  <a:close/>
                  <a:moveTo>
                    <a:pt x="14586" y="0"/>
                  </a:moveTo>
                  <a:lnTo>
                    <a:pt x="1509" y="0"/>
                  </a:lnTo>
                  <a:lnTo>
                    <a:pt x="1431" y="2"/>
                  </a:lnTo>
                  <a:lnTo>
                    <a:pt x="1354" y="8"/>
                  </a:lnTo>
                  <a:lnTo>
                    <a:pt x="1279" y="17"/>
                  </a:lnTo>
                  <a:lnTo>
                    <a:pt x="1204" y="30"/>
                  </a:lnTo>
                  <a:lnTo>
                    <a:pt x="1132" y="47"/>
                  </a:lnTo>
                  <a:lnTo>
                    <a:pt x="1060" y="67"/>
                  </a:lnTo>
                  <a:lnTo>
                    <a:pt x="990" y="91"/>
                  </a:lnTo>
                  <a:lnTo>
                    <a:pt x="921" y="118"/>
                  </a:lnTo>
                  <a:lnTo>
                    <a:pt x="854" y="149"/>
                  </a:lnTo>
                  <a:lnTo>
                    <a:pt x="790" y="182"/>
                  </a:lnTo>
                  <a:lnTo>
                    <a:pt x="726" y="218"/>
                  </a:lnTo>
                  <a:lnTo>
                    <a:pt x="665" y="257"/>
                  </a:lnTo>
                  <a:lnTo>
                    <a:pt x="606" y="299"/>
                  </a:lnTo>
                  <a:lnTo>
                    <a:pt x="549" y="344"/>
                  </a:lnTo>
                  <a:lnTo>
                    <a:pt x="494" y="392"/>
                  </a:lnTo>
                  <a:lnTo>
                    <a:pt x="442" y="441"/>
                  </a:lnTo>
                  <a:lnTo>
                    <a:pt x="391" y="493"/>
                  </a:lnTo>
                  <a:lnTo>
                    <a:pt x="344" y="548"/>
                  </a:lnTo>
                  <a:lnTo>
                    <a:pt x="300" y="605"/>
                  </a:lnTo>
                  <a:lnTo>
                    <a:pt x="258" y="664"/>
                  </a:lnTo>
                  <a:lnTo>
                    <a:pt x="218" y="725"/>
                  </a:lnTo>
                  <a:lnTo>
                    <a:pt x="182" y="788"/>
                  </a:lnTo>
                  <a:lnTo>
                    <a:pt x="149" y="853"/>
                  </a:lnTo>
                  <a:lnTo>
                    <a:pt x="119" y="920"/>
                  </a:lnTo>
                  <a:lnTo>
                    <a:pt x="92" y="988"/>
                  </a:lnTo>
                  <a:lnTo>
                    <a:pt x="67" y="1058"/>
                  </a:lnTo>
                  <a:lnTo>
                    <a:pt x="47" y="1130"/>
                  </a:lnTo>
                  <a:lnTo>
                    <a:pt x="30" y="1203"/>
                  </a:lnTo>
                  <a:lnTo>
                    <a:pt x="17" y="1277"/>
                  </a:lnTo>
                  <a:lnTo>
                    <a:pt x="8" y="1352"/>
                  </a:lnTo>
                  <a:lnTo>
                    <a:pt x="2" y="1429"/>
                  </a:lnTo>
                  <a:lnTo>
                    <a:pt x="0" y="1506"/>
                  </a:lnTo>
                  <a:lnTo>
                    <a:pt x="0" y="11547"/>
                  </a:lnTo>
                  <a:lnTo>
                    <a:pt x="2" y="11624"/>
                  </a:lnTo>
                  <a:lnTo>
                    <a:pt x="8" y="11700"/>
                  </a:lnTo>
                  <a:lnTo>
                    <a:pt x="17" y="11776"/>
                  </a:lnTo>
                  <a:lnTo>
                    <a:pt x="30" y="11850"/>
                  </a:lnTo>
                  <a:lnTo>
                    <a:pt x="47" y="11922"/>
                  </a:lnTo>
                  <a:lnTo>
                    <a:pt x="67" y="11994"/>
                  </a:lnTo>
                  <a:lnTo>
                    <a:pt x="92" y="12064"/>
                  </a:lnTo>
                  <a:lnTo>
                    <a:pt x="118" y="12132"/>
                  </a:lnTo>
                  <a:lnTo>
                    <a:pt x="148" y="12198"/>
                  </a:lnTo>
                  <a:lnTo>
                    <a:pt x="181" y="12264"/>
                  </a:lnTo>
                  <a:lnTo>
                    <a:pt x="217" y="12326"/>
                  </a:lnTo>
                  <a:lnTo>
                    <a:pt x="257" y="12387"/>
                  </a:lnTo>
                  <a:lnTo>
                    <a:pt x="299" y="12446"/>
                  </a:lnTo>
                  <a:lnTo>
                    <a:pt x="343" y="12504"/>
                  </a:lnTo>
                  <a:lnTo>
                    <a:pt x="390" y="12558"/>
                  </a:lnTo>
                  <a:lnTo>
                    <a:pt x="441" y="12610"/>
                  </a:lnTo>
                  <a:lnTo>
                    <a:pt x="493" y="12660"/>
                  </a:lnTo>
                  <a:lnTo>
                    <a:pt x="547" y="12707"/>
                  </a:lnTo>
                  <a:lnTo>
                    <a:pt x="604" y="12752"/>
                  </a:lnTo>
                  <a:lnTo>
                    <a:pt x="663" y="12794"/>
                  </a:lnTo>
                  <a:lnTo>
                    <a:pt x="724" y="12833"/>
                  </a:lnTo>
                  <a:lnTo>
                    <a:pt x="787" y="12869"/>
                  </a:lnTo>
                  <a:lnTo>
                    <a:pt x="852" y="12902"/>
                  </a:lnTo>
                  <a:lnTo>
                    <a:pt x="918" y="12933"/>
                  </a:lnTo>
                  <a:lnTo>
                    <a:pt x="987" y="12959"/>
                  </a:lnTo>
                  <a:lnTo>
                    <a:pt x="1056" y="12984"/>
                  </a:lnTo>
                  <a:lnTo>
                    <a:pt x="1128" y="13004"/>
                  </a:lnTo>
                  <a:lnTo>
                    <a:pt x="1201" y="13021"/>
                  </a:lnTo>
                  <a:lnTo>
                    <a:pt x="1275" y="13035"/>
                  </a:lnTo>
                  <a:lnTo>
                    <a:pt x="1350" y="13044"/>
                  </a:lnTo>
                  <a:lnTo>
                    <a:pt x="1426" y="13050"/>
                  </a:lnTo>
                  <a:lnTo>
                    <a:pt x="1504" y="13053"/>
                  </a:lnTo>
                  <a:lnTo>
                    <a:pt x="6539" y="13053"/>
                  </a:lnTo>
                  <a:lnTo>
                    <a:pt x="6539" y="13663"/>
                  </a:lnTo>
                  <a:lnTo>
                    <a:pt x="3399" y="14070"/>
                  </a:lnTo>
                  <a:lnTo>
                    <a:pt x="3378" y="14076"/>
                  </a:lnTo>
                  <a:lnTo>
                    <a:pt x="3358" y="14082"/>
                  </a:lnTo>
                  <a:lnTo>
                    <a:pt x="3338" y="14090"/>
                  </a:lnTo>
                  <a:lnTo>
                    <a:pt x="3319" y="14098"/>
                  </a:lnTo>
                  <a:lnTo>
                    <a:pt x="3299" y="14106"/>
                  </a:lnTo>
                  <a:lnTo>
                    <a:pt x="3280" y="14116"/>
                  </a:lnTo>
                  <a:lnTo>
                    <a:pt x="3262" y="14126"/>
                  </a:lnTo>
                  <a:lnTo>
                    <a:pt x="3245" y="14137"/>
                  </a:lnTo>
                  <a:lnTo>
                    <a:pt x="3228" y="14149"/>
                  </a:lnTo>
                  <a:lnTo>
                    <a:pt x="3211" y="14161"/>
                  </a:lnTo>
                  <a:lnTo>
                    <a:pt x="3196" y="14174"/>
                  </a:lnTo>
                  <a:lnTo>
                    <a:pt x="3180" y="14188"/>
                  </a:lnTo>
                  <a:lnTo>
                    <a:pt x="3166" y="14203"/>
                  </a:lnTo>
                  <a:lnTo>
                    <a:pt x="3151" y="14217"/>
                  </a:lnTo>
                  <a:lnTo>
                    <a:pt x="3138" y="14233"/>
                  </a:lnTo>
                  <a:lnTo>
                    <a:pt x="3124" y="14249"/>
                  </a:lnTo>
                  <a:lnTo>
                    <a:pt x="3112" y="14265"/>
                  </a:lnTo>
                  <a:lnTo>
                    <a:pt x="3100" y="14282"/>
                  </a:lnTo>
                  <a:lnTo>
                    <a:pt x="3089" y="14299"/>
                  </a:lnTo>
                  <a:lnTo>
                    <a:pt x="3079" y="14316"/>
                  </a:lnTo>
                  <a:lnTo>
                    <a:pt x="3070" y="14335"/>
                  </a:lnTo>
                  <a:lnTo>
                    <a:pt x="3061" y="14353"/>
                  </a:lnTo>
                  <a:lnTo>
                    <a:pt x="3053" y="14372"/>
                  </a:lnTo>
                  <a:lnTo>
                    <a:pt x="3046" y="14391"/>
                  </a:lnTo>
                  <a:lnTo>
                    <a:pt x="3039" y="14411"/>
                  </a:lnTo>
                  <a:lnTo>
                    <a:pt x="3034" y="14431"/>
                  </a:lnTo>
                  <a:lnTo>
                    <a:pt x="3029" y="14452"/>
                  </a:lnTo>
                  <a:lnTo>
                    <a:pt x="3025" y="14473"/>
                  </a:lnTo>
                  <a:lnTo>
                    <a:pt x="3022" y="14493"/>
                  </a:lnTo>
                  <a:lnTo>
                    <a:pt x="3020" y="14514"/>
                  </a:lnTo>
                  <a:lnTo>
                    <a:pt x="3018" y="14536"/>
                  </a:lnTo>
                  <a:lnTo>
                    <a:pt x="3018" y="14557"/>
                  </a:lnTo>
                  <a:lnTo>
                    <a:pt x="3019" y="14583"/>
                  </a:lnTo>
                  <a:lnTo>
                    <a:pt x="3020" y="14608"/>
                  </a:lnTo>
                  <a:lnTo>
                    <a:pt x="3024" y="14633"/>
                  </a:lnTo>
                  <a:lnTo>
                    <a:pt x="3028" y="14658"/>
                  </a:lnTo>
                  <a:lnTo>
                    <a:pt x="3034" y="14682"/>
                  </a:lnTo>
                  <a:lnTo>
                    <a:pt x="3040" y="14707"/>
                  </a:lnTo>
                  <a:lnTo>
                    <a:pt x="3048" y="14730"/>
                  </a:lnTo>
                  <a:lnTo>
                    <a:pt x="3057" y="14753"/>
                  </a:lnTo>
                  <a:lnTo>
                    <a:pt x="3067" y="14775"/>
                  </a:lnTo>
                  <a:lnTo>
                    <a:pt x="3078" y="14797"/>
                  </a:lnTo>
                  <a:lnTo>
                    <a:pt x="3090" y="14818"/>
                  </a:lnTo>
                  <a:lnTo>
                    <a:pt x="3103" y="14838"/>
                  </a:lnTo>
                  <a:lnTo>
                    <a:pt x="3117" y="14857"/>
                  </a:lnTo>
                  <a:lnTo>
                    <a:pt x="3132" y="14876"/>
                  </a:lnTo>
                  <a:lnTo>
                    <a:pt x="3149" y="14894"/>
                  </a:lnTo>
                  <a:lnTo>
                    <a:pt x="3165" y="14912"/>
                  </a:lnTo>
                  <a:lnTo>
                    <a:pt x="3183" y="14928"/>
                  </a:lnTo>
                  <a:lnTo>
                    <a:pt x="3201" y="14945"/>
                  </a:lnTo>
                  <a:lnTo>
                    <a:pt x="3220" y="14960"/>
                  </a:lnTo>
                  <a:lnTo>
                    <a:pt x="3239" y="14974"/>
                  </a:lnTo>
                  <a:lnTo>
                    <a:pt x="3260" y="14987"/>
                  </a:lnTo>
                  <a:lnTo>
                    <a:pt x="3280" y="14999"/>
                  </a:lnTo>
                  <a:lnTo>
                    <a:pt x="3302" y="15010"/>
                  </a:lnTo>
                  <a:lnTo>
                    <a:pt x="3325" y="15020"/>
                  </a:lnTo>
                  <a:lnTo>
                    <a:pt x="3348" y="15029"/>
                  </a:lnTo>
                  <a:lnTo>
                    <a:pt x="3371" y="15037"/>
                  </a:lnTo>
                  <a:lnTo>
                    <a:pt x="3395" y="15043"/>
                  </a:lnTo>
                  <a:lnTo>
                    <a:pt x="3419" y="15049"/>
                  </a:lnTo>
                  <a:lnTo>
                    <a:pt x="3444" y="15053"/>
                  </a:lnTo>
                  <a:lnTo>
                    <a:pt x="3469" y="15056"/>
                  </a:lnTo>
                  <a:lnTo>
                    <a:pt x="3495" y="15058"/>
                  </a:lnTo>
                  <a:lnTo>
                    <a:pt x="3521" y="15059"/>
                  </a:lnTo>
                  <a:lnTo>
                    <a:pt x="12574" y="15059"/>
                  </a:lnTo>
                  <a:lnTo>
                    <a:pt x="12600" y="15058"/>
                  </a:lnTo>
                  <a:lnTo>
                    <a:pt x="12626" y="15056"/>
                  </a:lnTo>
                  <a:lnTo>
                    <a:pt x="12651" y="15053"/>
                  </a:lnTo>
                  <a:lnTo>
                    <a:pt x="12676" y="15049"/>
                  </a:lnTo>
                  <a:lnTo>
                    <a:pt x="12700" y="15043"/>
                  </a:lnTo>
                  <a:lnTo>
                    <a:pt x="12724" y="15037"/>
                  </a:lnTo>
                  <a:lnTo>
                    <a:pt x="12747" y="15029"/>
                  </a:lnTo>
                  <a:lnTo>
                    <a:pt x="12770" y="15020"/>
                  </a:lnTo>
                  <a:lnTo>
                    <a:pt x="12793" y="15010"/>
                  </a:lnTo>
                  <a:lnTo>
                    <a:pt x="12814" y="14999"/>
                  </a:lnTo>
                  <a:lnTo>
                    <a:pt x="12835" y="14987"/>
                  </a:lnTo>
                  <a:lnTo>
                    <a:pt x="12856" y="14974"/>
                  </a:lnTo>
                  <a:lnTo>
                    <a:pt x="12875" y="14960"/>
                  </a:lnTo>
                  <a:lnTo>
                    <a:pt x="12894" y="14945"/>
                  </a:lnTo>
                  <a:lnTo>
                    <a:pt x="12912" y="14928"/>
                  </a:lnTo>
                  <a:lnTo>
                    <a:pt x="12930" y="14912"/>
                  </a:lnTo>
                  <a:lnTo>
                    <a:pt x="12946" y="14894"/>
                  </a:lnTo>
                  <a:lnTo>
                    <a:pt x="12963" y="14876"/>
                  </a:lnTo>
                  <a:lnTo>
                    <a:pt x="12978" y="14857"/>
                  </a:lnTo>
                  <a:lnTo>
                    <a:pt x="12992" y="14838"/>
                  </a:lnTo>
                  <a:lnTo>
                    <a:pt x="13005" y="14818"/>
                  </a:lnTo>
                  <a:lnTo>
                    <a:pt x="13017" y="14797"/>
                  </a:lnTo>
                  <a:lnTo>
                    <a:pt x="13028" y="14775"/>
                  </a:lnTo>
                  <a:lnTo>
                    <a:pt x="13038" y="14753"/>
                  </a:lnTo>
                  <a:lnTo>
                    <a:pt x="13047" y="14730"/>
                  </a:lnTo>
                  <a:lnTo>
                    <a:pt x="13055" y="14707"/>
                  </a:lnTo>
                  <a:lnTo>
                    <a:pt x="13061" y="14682"/>
                  </a:lnTo>
                  <a:lnTo>
                    <a:pt x="13067" y="14658"/>
                  </a:lnTo>
                  <a:lnTo>
                    <a:pt x="13071" y="14633"/>
                  </a:lnTo>
                  <a:lnTo>
                    <a:pt x="13074" y="14608"/>
                  </a:lnTo>
                  <a:lnTo>
                    <a:pt x="13076" y="14583"/>
                  </a:lnTo>
                  <a:lnTo>
                    <a:pt x="13077" y="14557"/>
                  </a:lnTo>
                  <a:lnTo>
                    <a:pt x="13077" y="14536"/>
                  </a:lnTo>
                  <a:lnTo>
                    <a:pt x="13075" y="14514"/>
                  </a:lnTo>
                  <a:lnTo>
                    <a:pt x="13073" y="14493"/>
                  </a:lnTo>
                  <a:lnTo>
                    <a:pt x="13070" y="14473"/>
                  </a:lnTo>
                  <a:lnTo>
                    <a:pt x="13066" y="14452"/>
                  </a:lnTo>
                  <a:lnTo>
                    <a:pt x="13061" y="14431"/>
                  </a:lnTo>
                  <a:lnTo>
                    <a:pt x="13056" y="14411"/>
                  </a:lnTo>
                  <a:lnTo>
                    <a:pt x="13049" y="14391"/>
                  </a:lnTo>
                  <a:lnTo>
                    <a:pt x="13042" y="14372"/>
                  </a:lnTo>
                  <a:lnTo>
                    <a:pt x="13034" y="14353"/>
                  </a:lnTo>
                  <a:lnTo>
                    <a:pt x="13025" y="14335"/>
                  </a:lnTo>
                  <a:lnTo>
                    <a:pt x="13016" y="14316"/>
                  </a:lnTo>
                  <a:lnTo>
                    <a:pt x="13006" y="14299"/>
                  </a:lnTo>
                  <a:lnTo>
                    <a:pt x="12995" y="14282"/>
                  </a:lnTo>
                  <a:lnTo>
                    <a:pt x="12983" y="14265"/>
                  </a:lnTo>
                  <a:lnTo>
                    <a:pt x="12971" y="14249"/>
                  </a:lnTo>
                  <a:lnTo>
                    <a:pt x="12957" y="14233"/>
                  </a:lnTo>
                  <a:lnTo>
                    <a:pt x="12944" y="14217"/>
                  </a:lnTo>
                  <a:lnTo>
                    <a:pt x="12930" y="14203"/>
                  </a:lnTo>
                  <a:lnTo>
                    <a:pt x="12915" y="14188"/>
                  </a:lnTo>
                  <a:lnTo>
                    <a:pt x="12900" y="14174"/>
                  </a:lnTo>
                  <a:lnTo>
                    <a:pt x="12884" y="14161"/>
                  </a:lnTo>
                  <a:lnTo>
                    <a:pt x="12867" y="14149"/>
                  </a:lnTo>
                  <a:lnTo>
                    <a:pt x="12850" y="14137"/>
                  </a:lnTo>
                  <a:lnTo>
                    <a:pt x="12833" y="14126"/>
                  </a:lnTo>
                  <a:lnTo>
                    <a:pt x="12815" y="14116"/>
                  </a:lnTo>
                  <a:lnTo>
                    <a:pt x="12796" y="14106"/>
                  </a:lnTo>
                  <a:lnTo>
                    <a:pt x="12776" y="14098"/>
                  </a:lnTo>
                  <a:lnTo>
                    <a:pt x="12757" y="14090"/>
                  </a:lnTo>
                  <a:lnTo>
                    <a:pt x="12737" y="14082"/>
                  </a:lnTo>
                  <a:lnTo>
                    <a:pt x="12717" y="14076"/>
                  </a:lnTo>
                  <a:lnTo>
                    <a:pt x="12696" y="14070"/>
                  </a:lnTo>
                  <a:lnTo>
                    <a:pt x="9556" y="13663"/>
                  </a:lnTo>
                  <a:lnTo>
                    <a:pt x="9556" y="13053"/>
                  </a:lnTo>
                  <a:lnTo>
                    <a:pt x="14591" y="13053"/>
                  </a:lnTo>
                  <a:lnTo>
                    <a:pt x="14669" y="13050"/>
                  </a:lnTo>
                  <a:lnTo>
                    <a:pt x="14745" y="13044"/>
                  </a:lnTo>
                  <a:lnTo>
                    <a:pt x="14820" y="13035"/>
                  </a:lnTo>
                  <a:lnTo>
                    <a:pt x="14894" y="13021"/>
                  </a:lnTo>
                  <a:lnTo>
                    <a:pt x="14967" y="13004"/>
                  </a:lnTo>
                  <a:lnTo>
                    <a:pt x="15039" y="12984"/>
                  </a:lnTo>
                  <a:lnTo>
                    <a:pt x="15108" y="12959"/>
                  </a:lnTo>
                  <a:lnTo>
                    <a:pt x="15177" y="12933"/>
                  </a:lnTo>
                  <a:lnTo>
                    <a:pt x="15243" y="12902"/>
                  </a:lnTo>
                  <a:lnTo>
                    <a:pt x="15308" y="12869"/>
                  </a:lnTo>
                  <a:lnTo>
                    <a:pt x="15371" y="12833"/>
                  </a:lnTo>
                  <a:lnTo>
                    <a:pt x="15432" y="12794"/>
                  </a:lnTo>
                  <a:lnTo>
                    <a:pt x="15491" y="12752"/>
                  </a:lnTo>
                  <a:lnTo>
                    <a:pt x="15548" y="12707"/>
                  </a:lnTo>
                  <a:lnTo>
                    <a:pt x="15602" y="12660"/>
                  </a:lnTo>
                  <a:lnTo>
                    <a:pt x="15654" y="12610"/>
                  </a:lnTo>
                  <a:lnTo>
                    <a:pt x="15705" y="12558"/>
                  </a:lnTo>
                  <a:lnTo>
                    <a:pt x="15752" y="12504"/>
                  </a:lnTo>
                  <a:lnTo>
                    <a:pt x="15796" y="12446"/>
                  </a:lnTo>
                  <a:lnTo>
                    <a:pt x="15838" y="12387"/>
                  </a:lnTo>
                  <a:lnTo>
                    <a:pt x="15878" y="12326"/>
                  </a:lnTo>
                  <a:lnTo>
                    <a:pt x="15914" y="12264"/>
                  </a:lnTo>
                  <a:lnTo>
                    <a:pt x="15947" y="12198"/>
                  </a:lnTo>
                  <a:lnTo>
                    <a:pt x="15977" y="12132"/>
                  </a:lnTo>
                  <a:lnTo>
                    <a:pt x="16003" y="12064"/>
                  </a:lnTo>
                  <a:lnTo>
                    <a:pt x="16028" y="11994"/>
                  </a:lnTo>
                  <a:lnTo>
                    <a:pt x="16048" y="11922"/>
                  </a:lnTo>
                  <a:lnTo>
                    <a:pt x="16065" y="11850"/>
                  </a:lnTo>
                  <a:lnTo>
                    <a:pt x="16078" y="11776"/>
                  </a:lnTo>
                  <a:lnTo>
                    <a:pt x="16087" y="11700"/>
                  </a:lnTo>
                  <a:lnTo>
                    <a:pt x="16093" y="11624"/>
                  </a:lnTo>
                  <a:lnTo>
                    <a:pt x="16095" y="11547"/>
                  </a:lnTo>
                  <a:lnTo>
                    <a:pt x="16095" y="1506"/>
                  </a:lnTo>
                  <a:lnTo>
                    <a:pt x="16093" y="1429"/>
                  </a:lnTo>
                  <a:lnTo>
                    <a:pt x="16087" y="1352"/>
                  </a:lnTo>
                  <a:lnTo>
                    <a:pt x="16078" y="1277"/>
                  </a:lnTo>
                  <a:lnTo>
                    <a:pt x="16064" y="1203"/>
                  </a:lnTo>
                  <a:lnTo>
                    <a:pt x="16048" y="1130"/>
                  </a:lnTo>
                  <a:lnTo>
                    <a:pt x="16028" y="1058"/>
                  </a:lnTo>
                  <a:lnTo>
                    <a:pt x="16003" y="988"/>
                  </a:lnTo>
                  <a:lnTo>
                    <a:pt x="15976" y="920"/>
                  </a:lnTo>
                  <a:lnTo>
                    <a:pt x="15946" y="853"/>
                  </a:lnTo>
                  <a:lnTo>
                    <a:pt x="15913" y="788"/>
                  </a:lnTo>
                  <a:lnTo>
                    <a:pt x="15877" y="725"/>
                  </a:lnTo>
                  <a:lnTo>
                    <a:pt x="15837" y="664"/>
                  </a:lnTo>
                  <a:lnTo>
                    <a:pt x="15795" y="605"/>
                  </a:lnTo>
                  <a:lnTo>
                    <a:pt x="15750" y="548"/>
                  </a:lnTo>
                  <a:lnTo>
                    <a:pt x="15703" y="493"/>
                  </a:lnTo>
                  <a:lnTo>
                    <a:pt x="15652" y="441"/>
                  </a:lnTo>
                  <a:lnTo>
                    <a:pt x="15600" y="392"/>
                  </a:lnTo>
                  <a:lnTo>
                    <a:pt x="15546" y="344"/>
                  </a:lnTo>
                  <a:lnTo>
                    <a:pt x="15488" y="299"/>
                  </a:lnTo>
                  <a:lnTo>
                    <a:pt x="15429" y="257"/>
                  </a:lnTo>
                  <a:lnTo>
                    <a:pt x="15369" y="218"/>
                  </a:lnTo>
                  <a:lnTo>
                    <a:pt x="15305" y="182"/>
                  </a:lnTo>
                  <a:lnTo>
                    <a:pt x="15240" y="149"/>
                  </a:lnTo>
                  <a:lnTo>
                    <a:pt x="15174" y="118"/>
                  </a:lnTo>
                  <a:lnTo>
                    <a:pt x="15105" y="91"/>
                  </a:lnTo>
                  <a:lnTo>
                    <a:pt x="15035" y="67"/>
                  </a:lnTo>
                  <a:lnTo>
                    <a:pt x="14963" y="47"/>
                  </a:lnTo>
                  <a:lnTo>
                    <a:pt x="14890" y="30"/>
                  </a:lnTo>
                  <a:lnTo>
                    <a:pt x="14815" y="17"/>
                  </a:lnTo>
                  <a:lnTo>
                    <a:pt x="14740" y="8"/>
                  </a:lnTo>
                  <a:lnTo>
                    <a:pt x="14664" y="2"/>
                  </a:lnTo>
                  <a:lnTo>
                    <a:pt x="1458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58" name="islîďé">
              <a:extLst>
                <a:ext uri="{FF2B5EF4-FFF2-40B4-BE49-F238E27FC236}">
                  <a16:creationId xmlns:a16="http://schemas.microsoft.com/office/drawing/2014/main" id="{D14526DB-9BAD-401E-B71F-3AF2DF0A3E45}"/>
                </a:ext>
              </a:extLst>
            </p:cNvPr>
            <p:cNvSpPr/>
            <p:nvPr/>
          </p:nvSpPr>
          <p:spPr bwMode="auto">
            <a:xfrm>
              <a:off x="4703538" y="723769"/>
              <a:ext cx="363600" cy="362763"/>
            </a:xfrm>
            <a:custGeom>
              <a:avLst/>
              <a:gdLst>
                <a:gd name="T0" fmla="*/ 13537 w 16094"/>
                <a:gd name="T1" fmla="*/ 6059 h 16058"/>
                <a:gd name="T2" fmla="*/ 13105 w 16094"/>
                <a:gd name="T3" fmla="*/ 4843 h 16058"/>
                <a:gd name="T4" fmla="*/ 12309 w 16094"/>
                <a:gd name="T5" fmla="*/ 3778 h 16058"/>
                <a:gd name="T6" fmla="*/ 11103 w 16094"/>
                <a:gd name="T7" fmla="*/ 2914 h 16058"/>
                <a:gd name="T8" fmla="*/ 9730 w 16094"/>
                <a:gd name="T9" fmla="*/ 2510 h 16058"/>
                <a:gd name="T10" fmla="*/ 10548 w 16094"/>
                <a:gd name="T11" fmla="*/ 1344 h 16058"/>
                <a:gd name="T12" fmla="*/ 11273 w 16094"/>
                <a:gd name="T13" fmla="*/ 1058 h 16058"/>
                <a:gd name="T14" fmla="*/ 12175 w 16094"/>
                <a:gd name="T15" fmla="*/ 1030 h 16058"/>
                <a:gd name="T16" fmla="*/ 13215 w 16094"/>
                <a:gd name="T17" fmla="*/ 1370 h 16058"/>
                <a:gd name="T18" fmla="*/ 14130 w 16094"/>
                <a:gd name="T19" fmla="*/ 2061 h 16058"/>
                <a:gd name="T20" fmla="*/ 14752 w 16094"/>
                <a:gd name="T21" fmla="*/ 2927 h 16058"/>
                <a:gd name="T22" fmla="*/ 15061 w 16094"/>
                <a:gd name="T23" fmla="*/ 3885 h 16058"/>
                <a:gd name="T24" fmla="*/ 15035 w 16094"/>
                <a:gd name="T25" fmla="*/ 4794 h 16058"/>
                <a:gd name="T26" fmla="*/ 14704 w 16094"/>
                <a:gd name="T27" fmla="*/ 5577 h 16058"/>
                <a:gd name="T28" fmla="*/ 4429 w 16094"/>
                <a:gd name="T29" fmla="*/ 13990 h 16058"/>
                <a:gd name="T30" fmla="*/ 4128 w 16094"/>
                <a:gd name="T31" fmla="*/ 13119 h 16058"/>
                <a:gd name="T32" fmla="*/ 3522 w 16094"/>
                <a:gd name="T33" fmla="*/ 12349 h 16058"/>
                <a:gd name="T34" fmla="*/ 2735 w 16094"/>
                <a:gd name="T35" fmla="*/ 11832 h 16058"/>
                <a:gd name="T36" fmla="*/ 1857 w 16094"/>
                <a:gd name="T37" fmla="*/ 11600 h 16058"/>
                <a:gd name="T38" fmla="*/ 2349 w 16094"/>
                <a:gd name="T39" fmla="*/ 9539 h 16058"/>
                <a:gd name="T40" fmla="*/ 3383 w 16094"/>
                <a:gd name="T41" fmla="*/ 9051 h 16058"/>
                <a:gd name="T42" fmla="*/ 5065 w 16094"/>
                <a:gd name="T43" fmla="*/ 9305 h 16058"/>
                <a:gd name="T44" fmla="*/ 6529 w 16094"/>
                <a:gd name="T45" fmla="*/ 10574 h 16058"/>
                <a:gd name="T46" fmla="*/ 7057 w 16094"/>
                <a:gd name="T47" fmla="*/ 12341 h 16058"/>
                <a:gd name="T48" fmla="*/ 6481 w 16094"/>
                <a:gd name="T49" fmla="*/ 13816 h 16058"/>
                <a:gd name="T50" fmla="*/ 1899 w 16094"/>
                <a:gd name="T51" fmla="*/ 15034 h 16058"/>
                <a:gd name="T52" fmla="*/ 1430 w 16094"/>
                <a:gd name="T53" fmla="*/ 14978 h 16058"/>
                <a:gd name="T54" fmla="*/ 1080 w 16094"/>
                <a:gd name="T55" fmla="*/ 14626 h 16058"/>
                <a:gd name="T56" fmla="*/ 1037 w 16094"/>
                <a:gd name="T57" fmla="*/ 14110 h 16058"/>
                <a:gd name="T58" fmla="*/ 2133 w 16094"/>
                <a:gd name="T59" fmla="*/ 12161 h 16058"/>
                <a:gd name="T60" fmla="*/ 2879 w 16094"/>
                <a:gd name="T61" fmla="*/ 12483 h 16058"/>
                <a:gd name="T62" fmla="*/ 3517 w 16094"/>
                <a:gd name="T63" fmla="*/ 13089 h 16058"/>
                <a:gd name="T64" fmla="*/ 3887 w 16094"/>
                <a:gd name="T65" fmla="*/ 13837 h 16058"/>
                <a:gd name="T66" fmla="*/ 5275 w 16094"/>
                <a:gd name="T67" fmla="*/ 8311 h 16058"/>
                <a:gd name="T68" fmla="*/ 4471 w 16094"/>
                <a:gd name="T69" fmla="*/ 8075 h 16058"/>
                <a:gd name="T70" fmla="*/ 3832 w 16094"/>
                <a:gd name="T71" fmla="*/ 8011 h 16058"/>
                <a:gd name="T72" fmla="*/ 8544 w 16094"/>
                <a:gd name="T73" fmla="*/ 3613 h 16058"/>
                <a:gd name="T74" fmla="*/ 9615 w 16094"/>
                <a:gd name="T75" fmla="*/ 3512 h 16058"/>
                <a:gd name="T76" fmla="*/ 7177 w 16094"/>
                <a:gd name="T77" fmla="*/ 9768 h 16058"/>
                <a:gd name="T78" fmla="*/ 6475 w 16094"/>
                <a:gd name="T79" fmla="*/ 9029 h 16058"/>
                <a:gd name="T80" fmla="*/ 10683 w 16094"/>
                <a:gd name="T81" fmla="*/ 3831 h 16058"/>
                <a:gd name="T82" fmla="*/ 11597 w 16094"/>
                <a:gd name="T83" fmla="*/ 4487 h 16058"/>
                <a:gd name="T84" fmla="*/ 12178 w 16094"/>
                <a:gd name="T85" fmla="*/ 5258 h 16058"/>
                <a:gd name="T86" fmla="*/ 7882 w 16094"/>
                <a:gd name="T87" fmla="*/ 11105 h 16058"/>
                <a:gd name="T88" fmla="*/ 12576 w 16094"/>
                <a:gd name="T89" fmla="*/ 6482 h 16058"/>
                <a:gd name="T90" fmla="*/ 12439 w 16094"/>
                <a:gd name="T91" fmla="*/ 7635 h 16058"/>
                <a:gd name="T92" fmla="*/ 11948 w 16094"/>
                <a:gd name="T93" fmla="*/ 8406 h 16058"/>
                <a:gd name="T94" fmla="*/ 14463 w 16094"/>
                <a:gd name="T95" fmla="*/ 1003 h 16058"/>
                <a:gd name="T96" fmla="*/ 13190 w 16094"/>
                <a:gd name="T97" fmla="*/ 260 h 16058"/>
                <a:gd name="T98" fmla="*/ 11795 w 16094"/>
                <a:gd name="T99" fmla="*/ 0 h 16058"/>
                <a:gd name="T100" fmla="*/ 10660 w 16094"/>
                <a:gd name="T101" fmla="*/ 187 h 16058"/>
                <a:gd name="T102" fmla="*/ 9684 w 16094"/>
                <a:gd name="T103" fmla="*/ 727 h 16058"/>
                <a:gd name="T104" fmla="*/ 1704 w 16094"/>
                <a:gd name="T105" fmla="*/ 8728 h 16058"/>
                <a:gd name="T106" fmla="*/ 1279 w 16094"/>
                <a:gd name="T107" fmla="*/ 9454 h 16058"/>
                <a:gd name="T108" fmla="*/ 0 w 16094"/>
                <a:gd name="T109" fmla="*/ 14302 h 16058"/>
                <a:gd name="T110" fmla="*/ 402 w 16094"/>
                <a:gd name="T111" fmla="*/ 15419 h 16058"/>
                <a:gd name="T112" fmla="*/ 1407 w 16094"/>
                <a:gd name="T113" fmla="*/ 16022 h 16058"/>
                <a:gd name="T114" fmla="*/ 2275 w 16094"/>
                <a:gd name="T115" fmla="*/ 15980 h 16058"/>
                <a:gd name="T116" fmla="*/ 7227 w 16094"/>
                <a:gd name="T117" fmla="*/ 14541 h 16058"/>
                <a:gd name="T118" fmla="*/ 15901 w 16094"/>
                <a:gd name="T119" fmla="*/ 5421 h 16058"/>
                <a:gd name="T120" fmla="*/ 15857 w 16094"/>
                <a:gd name="T121" fmla="*/ 2953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094" h="16058">
                  <a:moveTo>
                    <a:pt x="14431" y="5907"/>
                  </a:moveTo>
                  <a:lnTo>
                    <a:pt x="13584" y="6759"/>
                  </a:lnTo>
                  <a:lnTo>
                    <a:pt x="13585" y="6717"/>
                  </a:lnTo>
                  <a:lnTo>
                    <a:pt x="13586" y="6675"/>
                  </a:lnTo>
                  <a:lnTo>
                    <a:pt x="13588" y="6633"/>
                  </a:lnTo>
                  <a:lnTo>
                    <a:pt x="13590" y="6591"/>
                  </a:lnTo>
                  <a:lnTo>
                    <a:pt x="13591" y="6549"/>
                  </a:lnTo>
                  <a:lnTo>
                    <a:pt x="13591" y="6507"/>
                  </a:lnTo>
                  <a:lnTo>
                    <a:pt x="13590" y="6464"/>
                  </a:lnTo>
                  <a:lnTo>
                    <a:pt x="13587" y="6420"/>
                  </a:lnTo>
                  <a:lnTo>
                    <a:pt x="13578" y="6330"/>
                  </a:lnTo>
                  <a:lnTo>
                    <a:pt x="13566" y="6240"/>
                  </a:lnTo>
                  <a:lnTo>
                    <a:pt x="13553" y="6148"/>
                  </a:lnTo>
                  <a:lnTo>
                    <a:pt x="13537" y="6059"/>
                  </a:lnTo>
                  <a:lnTo>
                    <a:pt x="13520" y="5969"/>
                  </a:lnTo>
                  <a:lnTo>
                    <a:pt x="13500" y="5879"/>
                  </a:lnTo>
                  <a:lnTo>
                    <a:pt x="13478" y="5790"/>
                  </a:lnTo>
                  <a:lnTo>
                    <a:pt x="13453" y="5702"/>
                  </a:lnTo>
                  <a:lnTo>
                    <a:pt x="13427" y="5613"/>
                  </a:lnTo>
                  <a:lnTo>
                    <a:pt x="13400" y="5525"/>
                  </a:lnTo>
                  <a:lnTo>
                    <a:pt x="13370" y="5439"/>
                  </a:lnTo>
                  <a:lnTo>
                    <a:pt x="13338" y="5351"/>
                  </a:lnTo>
                  <a:lnTo>
                    <a:pt x="13305" y="5265"/>
                  </a:lnTo>
                  <a:lnTo>
                    <a:pt x="13268" y="5180"/>
                  </a:lnTo>
                  <a:lnTo>
                    <a:pt x="13230" y="5094"/>
                  </a:lnTo>
                  <a:lnTo>
                    <a:pt x="13191" y="5010"/>
                  </a:lnTo>
                  <a:lnTo>
                    <a:pt x="13150" y="4927"/>
                  </a:lnTo>
                  <a:lnTo>
                    <a:pt x="13105" y="4843"/>
                  </a:lnTo>
                  <a:lnTo>
                    <a:pt x="13060" y="4761"/>
                  </a:lnTo>
                  <a:lnTo>
                    <a:pt x="13014" y="4680"/>
                  </a:lnTo>
                  <a:lnTo>
                    <a:pt x="12965" y="4600"/>
                  </a:lnTo>
                  <a:lnTo>
                    <a:pt x="12913" y="4520"/>
                  </a:lnTo>
                  <a:lnTo>
                    <a:pt x="12861" y="4441"/>
                  </a:lnTo>
                  <a:lnTo>
                    <a:pt x="12807" y="4364"/>
                  </a:lnTo>
                  <a:lnTo>
                    <a:pt x="12750" y="4286"/>
                  </a:lnTo>
                  <a:lnTo>
                    <a:pt x="12692" y="4210"/>
                  </a:lnTo>
                  <a:lnTo>
                    <a:pt x="12633" y="4136"/>
                  </a:lnTo>
                  <a:lnTo>
                    <a:pt x="12571" y="4062"/>
                  </a:lnTo>
                  <a:lnTo>
                    <a:pt x="12508" y="3989"/>
                  </a:lnTo>
                  <a:lnTo>
                    <a:pt x="12443" y="3917"/>
                  </a:lnTo>
                  <a:lnTo>
                    <a:pt x="12376" y="3847"/>
                  </a:lnTo>
                  <a:lnTo>
                    <a:pt x="12309" y="3778"/>
                  </a:lnTo>
                  <a:lnTo>
                    <a:pt x="12230" y="3701"/>
                  </a:lnTo>
                  <a:lnTo>
                    <a:pt x="12152" y="3628"/>
                  </a:lnTo>
                  <a:lnTo>
                    <a:pt x="12071" y="3557"/>
                  </a:lnTo>
                  <a:lnTo>
                    <a:pt x="11989" y="3487"/>
                  </a:lnTo>
                  <a:lnTo>
                    <a:pt x="11905" y="3419"/>
                  </a:lnTo>
                  <a:lnTo>
                    <a:pt x="11821" y="3354"/>
                  </a:lnTo>
                  <a:lnTo>
                    <a:pt x="11735" y="3292"/>
                  </a:lnTo>
                  <a:lnTo>
                    <a:pt x="11648" y="3231"/>
                  </a:lnTo>
                  <a:lnTo>
                    <a:pt x="11560" y="3172"/>
                  </a:lnTo>
                  <a:lnTo>
                    <a:pt x="11471" y="3116"/>
                  </a:lnTo>
                  <a:lnTo>
                    <a:pt x="11380" y="3062"/>
                  </a:lnTo>
                  <a:lnTo>
                    <a:pt x="11289" y="3010"/>
                  </a:lnTo>
                  <a:lnTo>
                    <a:pt x="11196" y="2961"/>
                  </a:lnTo>
                  <a:lnTo>
                    <a:pt x="11103" y="2914"/>
                  </a:lnTo>
                  <a:lnTo>
                    <a:pt x="11009" y="2868"/>
                  </a:lnTo>
                  <a:lnTo>
                    <a:pt x="10913" y="2826"/>
                  </a:lnTo>
                  <a:lnTo>
                    <a:pt x="10818" y="2786"/>
                  </a:lnTo>
                  <a:lnTo>
                    <a:pt x="10721" y="2749"/>
                  </a:lnTo>
                  <a:lnTo>
                    <a:pt x="10625" y="2714"/>
                  </a:lnTo>
                  <a:lnTo>
                    <a:pt x="10527" y="2681"/>
                  </a:lnTo>
                  <a:lnTo>
                    <a:pt x="10429" y="2651"/>
                  </a:lnTo>
                  <a:lnTo>
                    <a:pt x="10330" y="2622"/>
                  </a:lnTo>
                  <a:lnTo>
                    <a:pt x="10231" y="2597"/>
                  </a:lnTo>
                  <a:lnTo>
                    <a:pt x="10132" y="2574"/>
                  </a:lnTo>
                  <a:lnTo>
                    <a:pt x="10031" y="2554"/>
                  </a:lnTo>
                  <a:lnTo>
                    <a:pt x="9932" y="2537"/>
                  </a:lnTo>
                  <a:lnTo>
                    <a:pt x="9831" y="2522"/>
                  </a:lnTo>
                  <a:lnTo>
                    <a:pt x="9730" y="2510"/>
                  </a:lnTo>
                  <a:lnTo>
                    <a:pt x="9630" y="2500"/>
                  </a:lnTo>
                  <a:lnTo>
                    <a:pt x="9529" y="2493"/>
                  </a:lnTo>
                  <a:lnTo>
                    <a:pt x="9428" y="2489"/>
                  </a:lnTo>
                  <a:lnTo>
                    <a:pt x="9327" y="2487"/>
                  </a:lnTo>
                  <a:lnTo>
                    <a:pt x="10160" y="1649"/>
                  </a:lnTo>
                  <a:lnTo>
                    <a:pt x="10199" y="1611"/>
                  </a:lnTo>
                  <a:lnTo>
                    <a:pt x="10240" y="1574"/>
                  </a:lnTo>
                  <a:lnTo>
                    <a:pt x="10282" y="1538"/>
                  </a:lnTo>
                  <a:lnTo>
                    <a:pt x="10324" y="1502"/>
                  </a:lnTo>
                  <a:lnTo>
                    <a:pt x="10367" y="1468"/>
                  </a:lnTo>
                  <a:lnTo>
                    <a:pt x="10411" y="1435"/>
                  </a:lnTo>
                  <a:lnTo>
                    <a:pt x="10456" y="1404"/>
                  </a:lnTo>
                  <a:lnTo>
                    <a:pt x="10502" y="1373"/>
                  </a:lnTo>
                  <a:lnTo>
                    <a:pt x="10548" y="1344"/>
                  </a:lnTo>
                  <a:lnTo>
                    <a:pt x="10596" y="1316"/>
                  </a:lnTo>
                  <a:lnTo>
                    <a:pt x="10644" y="1289"/>
                  </a:lnTo>
                  <a:lnTo>
                    <a:pt x="10692" y="1263"/>
                  </a:lnTo>
                  <a:lnTo>
                    <a:pt x="10742" y="1237"/>
                  </a:lnTo>
                  <a:lnTo>
                    <a:pt x="10793" y="1214"/>
                  </a:lnTo>
                  <a:lnTo>
                    <a:pt x="10843" y="1192"/>
                  </a:lnTo>
                  <a:lnTo>
                    <a:pt x="10894" y="1171"/>
                  </a:lnTo>
                  <a:lnTo>
                    <a:pt x="10947" y="1151"/>
                  </a:lnTo>
                  <a:lnTo>
                    <a:pt x="11000" y="1132"/>
                  </a:lnTo>
                  <a:lnTo>
                    <a:pt x="11053" y="1115"/>
                  </a:lnTo>
                  <a:lnTo>
                    <a:pt x="11108" y="1099"/>
                  </a:lnTo>
                  <a:lnTo>
                    <a:pt x="11162" y="1084"/>
                  </a:lnTo>
                  <a:lnTo>
                    <a:pt x="11217" y="1070"/>
                  </a:lnTo>
                  <a:lnTo>
                    <a:pt x="11273" y="1058"/>
                  </a:lnTo>
                  <a:lnTo>
                    <a:pt x="11329" y="1046"/>
                  </a:lnTo>
                  <a:lnTo>
                    <a:pt x="11386" y="1037"/>
                  </a:lnTo>
                  <a:lnTo>
                    <a:pt x="11444" y="1028"/>
                  </a:lnTo>
                  <a:lnTo>
                    <a:pt x="11501" y="1021"/>
                  </a:lnTo>
                  <a:lnTo>
                    <a:pt x="11559" y="1015"/>
                  </a:lnTo>
                  <a:lnTo>
                    <a:pt x="11618" y="1010"/>
                  </a:lnTo>
                  <a:lnTo>
                    <a:pt x="11676" y="1007"/>
                  </a:lnTo>
                  <a:lnTo>
                    <a:pt x="11735" y="1005"/>
                  </a:lnTo>
                  <a:lnTo>
                    <a:pt x="11795" y="1004"/>
                  </a:lnTo>
                  <a:lnTo>
                    <a:pt x="11871" y="1005"/>
                  </a:lnTo>
                  <a:lnTo>
                    <a:pt x="11947" y="1008"/>
                  </a:lnTo>
                  <a:lnTo>
                    <a:pt x="12023" y="1014"/>
                  </a:lnTo>
                  <a:lnTo>
                    <a:pt x="12098" y="1021"/>
                  </a:lnTo>
                  <a:lnTo>
                    <a:pt x="12175" y="1030"/>
                  </a:lnTo>
                  <a:lnTo>
                    <a:pt x="12251" y="1042"/>
                  </a:lnTo>
                  <a:lnTo>
                    <a:pt x="12327" y="1055"/>
                  </a:lnTo>
                  <a:lnTo>
                    <a:pt x="12402" y="1071"/>
                  </a:lnTo>
                  <a:lnTo>
                    <a:pt x="12478" y="1088"/>
                  </a:lnTo>
                  <a:lnTo>
                    <a:pt x="12553" y="1108"/>
                  </a:lnTo>
                  <a:lnTo>
                    <a:pt x="12629" y="1129"/>
                  </a:lnTo>
                  <a:lnTo>
                    <a:pt x="12703" y="1153"/>
                  </a:lnTo>
                  <a:lnTo>
                    <a:pt x="12777" y="1178"/>
                  </a:lnTo>
                  <a:lnTo>
                    <a:pt x="12852" y="1205"/>
                  </a:lnTo>
                  <a:lnTo>
                    <a:pt x="12925" y="1234"/>
                  </a:lnTo>
                  <a:lnTo>
                    <a:pt x="12999" y="1266"/>
                  </a:lnTo>
                  <a:lnTo>
                    <a:pt x="13071" y="1299"/>
                  </a:lnTo>
                  <a:lnTo>
                    <a:pt x="13144" y="1334"/>
                  </a:lnTo>
                  <a:lnTo>
                    <a:pt x="13215" y="1370"/>
                  </a:lnTo>
                  <a:lnTo>
                    <a:pt x="13285" y="1408"/>
                  </a:lnTo>
                  <a:lnTo>
                    <a:pt x="13356" y="1448"/>
                  </a:lnTo>
                  <a:lnTo>
                    <a:pt x="13425" y="1490"/>
                  </a:lnTo>
                  <a:lnTo>
                    <a:pt x="13495" y="1535"/>
                  </a:lnTo>
                  <a:lnTo>
                    <a:pt x="13562" y="1580"/>
                  </a:lnTo>
                  <a:lnTo>
                    <a:pt x="13629" y="1627"/>
                  </a:lnTo>
                  <a:lnTo>
                    <a:pt x="13696" y="1676"/>
                  </a:lnTo>
                  <a:lnTo>
                    <a:pt x="13761" y="1727"/>
                  </a:lnTo>
                  <a:lnTo>
                    <a:pt x="13827" y="1779"/>
                  </a:lnTo>
                  <a:lnTo>
                    <a:pt x="13890" y="1834"/>
                  </a:lnTo>
                  <a:lnTo>
                    <a:pt x="13952" y="1889"/>
                  </a:lnTo>
                  <a:lnTo>
                    <a:pt x="14014" y="1946"/>
                  </a:lnTo>
                  <a:lnTo>
                    <a:pt x="14075" y="2005"/>
                  </a:lnTo>
                  <a:lnTo>
                    <a:pt x="14130" y="2061"/>
                  </a:lnTo>
                  <a:lnTo>
                    <a:pt x="14185" y="2119"/>
                  </a:lnTo>
                  <a:lnTo>
                    <a:pt x="14237" y="2177"/>
                  </a:lnTo>
                  <a:lnTo>
                    <a:pt x="14288" y="2235"/>
                  </a:lnTo>
                  <a:lnTo>
                    <a:pt x="14338" y="2295"/>
                  </a:lnTo>
                  <a:lnTo>
                    <a:pt x="14386" y="2356"/>
                  </a:lnTo>
                  <a:lnTo>
                    <a:pt x="14433" y="2417"/>
                  </a:lnTo>
                  <a:lnTo>
                    <a:pt x="14478" y="2478"/>
                  </a:lnTo>
                  <a:lnTo>
                    <a:pt x="14522" y="2540"/>
                  </a:lnTo>
                  <a:lnTo>
                    <a:pt x="14564" y="2603"/>
                  </a:lnTo>
                  <a:lnTo>
                    <a:pt x="14605" y="2667"/>
                  </a:lnTo>
                  <a:lnTo>
                    <a:pt x="14644" y="2731"/>
                  </a:lnTo>
                  <a:lnTo>
                    <a:pt x="14682" y="2796"/>
                  </a:lnTo>
                  <a:lnTo>
                    <a:pt x="14718" y="2861"/>
                  </a:lnTo>
                  <a:lnTo>
                    <a:pt x="14752" y="2927"/>
                  </a:lnTo>
                  <a:lnTo>
                    <a:pt x="14785" y="2993"/>
                  </a:lnTo>
                  <a:lnTo>
                    <a:pt x="14816" y="3060"/>
                  </a:lnTo>
                  <a:lnTo>
                    <a:pt x="14846" y="3126"/>
                  </a:lnTo>
                  <a:lnTo>
                    <a:pt x="14874" y="3195"/>
                  </a:lnTo>
                  <a:lnTo>
                    <a:pt x="14900" y="3262"/>
                  </a:lnTo>
                  <a:lnTo>
                    <a:pt x="14925" y="3330"/>
                  </a:lnTo>
                  <a:lnTo>
                    <a:pt x="14948" y="3398"/>
                  </a:lnTo>
                  <a:lnTo>
                    <a:pt x="14969" y="3468"/>
                  </a:lnTo>
                  <a:lnTo>
                    <a:pt x="14988" y="3537"/>
                  </a:lnTo>
                  <a:lnTo>
                    <a:pt x="15007" y="3606"/>
                  </a:lnTo>
                  <a:lnTo>
                    <a:pt x="15023" y="3675"/>
                  </a:lnTo>
                  <a:lnTo>
                    <a:pt x="15038" y="3746"/>
                  </a:lnTo>
                  <a:lnTo>
                    <a:pt x="15050" y="3816"/>
                  </a:lnTo>
                  <a:lnTo>
                    <a:pt x="15061" y="3885"/>
                  </a:lnTo>
                  <a:lnTo>
                    <a:pt x="15070" y="3955"/>
                  </a:lnTo>
                  <a:lnTo>
                    <a:pt x="15078" y="4026"/>
                  </a:lnTo>
                  <a:lnTo>
                    <a:pt x="15084" y="4097"/>
                  </a:lnTo>
                  <a:lnTo>
                    <a:pt x="15087" y="4162"/>
                  </a:lnTo>
                  <a:lnTo>
                    <a:pt x="15089" y="4227"/>
                  </a:lnTo>
                  <a:lnTo>
                    <a:pt x="15089" y="4292"/>
                  </a:lnTo>
                  <a:lnTo>
                    <a:pt x="15088" y="4357"/>
                  </a:lnTo>
                  <a:lnTo>
                    <a:pt x="15085" y="4420"/>
                  </a:lnTo>
                  <a:lnTo>
                    <a:pt x="15081" y="4484"/>
                  </a:lnTo>
                  <a:lnTo>
                    <a:pt x="15075" y="4546"/>
                  </a:lnTo>
                  <a:lnTo>
                    <a:pt x="15067" y="4610"/>
                  </a:lnTo>
                  <a:lnTo>
                    <a:pt x="15058" y="4672"/>
                  </a:lnTo>
                  <a:lnTo>
                    <a:pt x="15048" y="4733"/>
                  </a:lnTo>
                  <a:lnTo>
                    <a:pt x="15035" y="4794"/>
                  </a:lnTo>
                  <a:lnTo>
                    <a:pt x="15022" y="4855"/>
                  </a:lnTo>
                  <a:lnTo>
                    <a:pt x="15006" y="4914"/>
                  </a:lnTo>
                  <a:lnTo>
                    <a:pt x="14989" y="4973"/>
                  </a:lnTo>
                  <a:lnTo>
                    <a:pt x="14970" y="5032"/>
                  </a:lnTo>
                  <a:lnTo>
                    <a:pt x="14950" y="5089"/>
                  </a:lnTo>
                  <a:lnTo>
                    <a:pt x="14929" y="5147"/>
                  </a:lnTo>
                  <a:lnTo>
                    <a:pt x="14906" y="5203"/>
                  </a:lnTo>
                  <a:lnTo>
                    <a:pt x="14882" y="5259"/>
                  </a:lnTo>
                  <a:lnTo>
                    <a:pt x="14856" y="5314"/>
                  </a:lnTo>
                  <a:lnTo>
                    <a:pt x="14829" y="5368"/>
                  </a:lnTo>
                  <a:lnTo>
                    <a:pt x="14799" y="5422"/>
                  </a:lnTo>
                  <a:lnTo>
                    <a:pt x="14769" y="5474"/>
                  </a:lnTo>
                  <a:lnTo>
                    <a:pt x="14737" y="5526"/>
                  </a:lnTo>
                  <a:lnTo>
                    <a:pt x="14704" y="5577"/>
                  </a:lnTo>
                  <a:lnTo>
                    <a:pt x="14670" y="5627"/>
                  </a:lnTo>
                  <a:lnTo>
                    <a:pt x="14633" y="5675"/>
                  </a:lnTo>
                  <a:lnTo>
                    <a:pt x="14595" y="5724"/>
                  </a:lnTo>
                  <a:lnTo>
                    <a:pt x="14557" y="5772"/>
                  </a:lnTo>
                  <a:lnTo>
                    <a:pt x="14516" y="5818"/>
                  </a:lnTo>
                  <a:lnTo>
                    <a:pt x="14474" y="5863"/>
                  </a:lnTo>
                  <a:lnTo>
                    <a:pt x="14431" y="5907"/>
                  </a:lnTo>
                  <a:close/>
                  <a:moveTo>
                    <a:pt x="4463" y="14370"/>
                  </a:moveTo>
                  <a:lnTo>
                    <a:pt x="4461" y="14307"/>
                  </a:lnTo>
                  <a:lnTo>
                    <a:pt x="4458" y="14243"/>
                  </a:lnTo>
                  <a:lnTo>
                    <a:pt x="4453" y="14180"/>
                  </a:lnTo>
                  <a:lnTo>
                    <a:pt x="4446" y="14117"/>
                  </a:lnTo>
                  <a:lnTo>
                    <a:pt x="4438" y="14053"/>
                  </a:lnTo>
                  <a:lnTo>
                    <a:pt x="4429" y="13990"/>
                  </a:lnTo>
                  <a:lnTo>
                    <a:pt x="4417" y="13926"/>
                  </a:lnTo>
                  <a:lnTo>
                    <a:pt x="4405" y="13863"/>
                  </a:lnTo>
                  <a:lnTo>
                    <a:pt x="4391" y="13800"/>
                  </a:lnTo>
                  <a:lnTo>
                    <a:pt x="4375" y="13737"/>
                  </a:lnTo>
                  <a:lnTo>
                    <a:pt x="4357" y="13673"/>
                  </a:lnTo>
                  <a:lnTo>
                    <a:pt x="4338" y="13610"/>
                  </a:lnTo>
                  <a:lnTo>
                    <a:pt x="4317" y="13548"/>
                  </a:lnTo>
                  <a:lnTo>
                    <a:pt x="4295" y="13486"/>
                  </a:lnTo>
                  <a:lnTo>
                    <a:pt x="4271" y="13423"/>
                  </a:lnTo>
                  <a:lnTo>
                    <a:pt x="4246" y="13362"/>
                  </a:lnTo>
                  <a:lnTo>
                    <a:pt x="4219" y="13300"/>
                  </a:lnTo>
                  <a:lnTo>
                    <a:pt x="4191" y="13240"/>
                  </a:lnTo>
                  <a:lnTo>
                    <a:pt x="4161" y="13179"/>
                  </a:lnTo>
                  <a:lnTo>
                    <a:pt x="4128" y="13119"/>
                  </a:lnTo>
                  <a:lnTo>
                    <a:pt x="4095" y="13059"/>
                  </a:lnTo>
                  <a:lnTo>
                    <a:pt x="4060" y="13000"/>
                  </a:lnTo>
                  <a:lnTo>
                    <a:pt x="4024" y="12942"/>
                  </a:lnTo>
                  <a:lnTo>
                    <a:pt x="3986" y="12884"/>
                  </a:lnTo>
                  <a:lnTo>
                    <a:pt x="3946" y="12826"/>
                  </a:lnTo>
                  <a:lnTo>
                    <a:pt x="3905" y="12769"/>
                  </a:lnTo>
                  <a:lnTo>
                    <a:pt x="3862" y="12714"/>
                  </a:lnTo>
                  <a:lnTo>
                    <a:pt x="3818" y="12658"/>
                  </a:lnTo>
                  <a:lnTo>
                    <a:pt x="3771" y="12604"/>
                  </a:lnTo>
                  <a:lnTo>
                    <a:pt x="3723" y="12549"/>
                  </a:lnTo>
                  <a:lnTo>
                    <a:pt x="3674" y="12497"/>
                  </a:lnTo>
                  <a:lnTo>
                    <a:pt x="3622" y="12445"/>
                  </a:lnTo>
                  <a:lnTo>
                    <a:pt x="3573" y="12396"/>
                  </a:lnTo>
                  <a:lnTo>
                    <a:pt x="3522" y="12349"/>
                  </a:lnTo>
                  <a:lnTo>
                    <a:pt x="3470" y="12303"/>
                  </a:lnTo>
                  <a:lnTo>
                    <a:pt x="3418" y="12258"/>
                  </a:lnTo>
                  <a:lnTo>
                    <a:pt x="3366" y="12215"/>
                  </a:lnTo>
                  <a:lnTo>
                    <a:pt x="3312" y="12174"/>
                  </a:lnTo>
                  <a:lnTo>
                    <a:pt x="3257" y="12133"/>
                  </a:lnTo>
                  <a:lnTo>
                    <a:pt x="3202" y="12094"/>
                  </a:lnTo>
                  <a:lnTo>
                    <a:pt x="3146" y="12057"/>
                  </a:lnTo>
                  <a:lnTo>
                    <a:pt x="3088" y="12020"/>
                  </a:lnTo>
                  <a:lnTo>
                    <a:pt x="3031" y="11985"/>
                  </a:lnTo>
                  <a:lnTo>
                    <a:pt x="2974" y="11952"/>
                  </a:lnTo>
                  <a:lnTo>
                    <a:pt x="2914" y="11920"/>
                  </a:lnTo>
                  <a:lnTo>
                    <a:pt x="2855" y="11889"/>
                  </a:lnTo>
                  <a:lnTo>
                    <a:pt x="2796" y="11860"/>
                  </a:lnTo>
                  <a:lnTo>
                    <a:pt x="2735" y="11832"/>
                  </a:lnTo>
                  <a:lnTo>
                    <a:pt x="2675" y="11806"/>
                  </a:lnTo>
                  <a:lnTo>
                    <a:pt x="2613" y="11781"/>
                  </a:lnTo>
                  <a:lnTo>
                    <a:pt x="2552" y="11757"/>
                  </a:lnTo>
                  <a:lnTo>
                    <a:pt x="2490" y="11735"/>
                  </a:lnTo>
                  <a:lnTo>
                    <a:pt x="2427" y="11715"/>
                  </a:lnTo>
                  <a:lnTo>
                    <a:pt x="2365" y="11696"/>
                  </a:lnTo>
                  <a:lnTo>
                    <a:pt x="2303" y="11679"/>
                  </a:lnTo>
                  <a:lnTo>
                    <a:pt x="2239" y="11663"/>
                  </a:lnTo>
                  <a:lnTo>
                    <a:pt x="2176" y="11648"/>
                  </a:lnTo>
                  <a:lnTo>
                    <a:pt x="2112" y="11636"/>
                  </a:lnTo>
                  <a:lnTo>
                    <a:pt x="2048" y="11625"/>
                  </a:lnTo>
                  <a:lnTo>
                    <a:pt x="1985" y="11615"/>
                  </a:lnTo>
                  <a:lnTo>
                    <a:pt x="1920" y="11607"/>
                  </a:lnTo>
                  <a:lnTo>
                    <a:pt x="1857" y="11600"/>
                  </a:lnTo>
                  <a:lnTo>
                    <a:pt x="1793" y="11595"/>
                  </a:lnTo>
                  <a:lnTo>
                    <a:pt x="1728" y="11592"/>
                  </a:lnTo>
                  <a:lnTo>
                    <a:pt x="2229" y="9781"/>
                  </a:lnTo>
                  <a:lnTo>
                    <a:pt x="2236" y="9759"/>
                  </a:lnTo>
                  <a:lnTo>
                    <a:pt x="2244" y="9736"/>
                  </a:lnTo>
                  <a:lnTo>
                    <a:pt x="2253" y="9714"/>
                  </a:lnTo>
                  <a:lnTo>
                    <a:pt x="2263" y="9692"/>
                  </a:lnTo>
                  <a:lnTo>
                    <a:pt x="2273" y="9670"/>
                  </a:lnTo>
                  <a:lnTo>
                    <a:pt x="2284" y="9648"/>
                  </a:lnTo>
                  <a:lnTo>
                    <a:pt x="2296" y="9626"/>
                  </a:lnTo>
                  <a:lnTo>
                    <a:pt x="2308" y="9604"/>
                  </a:lnTo>
                  <a:lnTo>
                    <a:pt x="2321" y="9583"/>
                  </a:lnTo>
                  <a:lnTo>
                    <a:pt x="2335" y="9561"/>
                  </a:lnTo>
                  <a:lnTo>
                    <a:pt x="2349" y="9539"/>
                  </a:lnTo>
                  <a:lnTo>
                    <a:pt x="2363" y="9518"/>
                  </a:lnTo>
                  <a:lnTo>
                    <a:pt x="2378" y="9498"/>
                  </a:lnTo>
                  <a:lnTo>
                    <a:pt x="2393" y="9478"/>
                  </a:lnTo>
                  <a:lnTo>
                    <a:pt x="2409" y="9458"/>
                  </a:lnTo>
                  <a:lnTo>
                    <a:pt x="2426" y="9438"/>
                  </a:lnTo>
                  <a:lnTo>
                    <a:pt x="2522" y="9374"/>
                  </a:lnTo>
                  <a:lnTo>
                    <a:pt x="2621" y="9314"/>
                  </a:lnTo>
                  <a:lnTo>
                    <a:pt x="2723" y="9260"/>
                  </a:lnTo>
                  <a:lnTo>
                    <a:pt x="2828" y="9211"/>
                  </a:lnTo>
                  <a:lnTo>
                    <a:pt x="2934" y="9169"/>
                  </a:lnTo>
                  <a:lnTo>
                    <a:pt x="3044" y="9131"/>
                  </a:lnTo>
                  <a:lnTo>
                    <a:pt x="3156" y="9099"/>
                  </a:lnTo>
                  <a:lnTo>
                    <a:pt x="3268" y="9072"/>
                  </a:lnTo>
                  <a:lnTo>
                    <a:pt x="3383" y="9051"/>
                  </a:lnTo>
                  <a:lnTo>
                    <a:pt x="3500" y="9034"/>
                  </a:lnTo>
                  <a:lnTo>
                    <a:pt x="3617" y="9024"/>
                  </a:lnTo>
                  <a:lnTo>
                    <a:pt x="3736" y="9018"/>
                  </a:lnTo>
                  <a:lnTo>
                    <a:pt x="3857" y="9018"/>
                  </a:lnTo>
                  <a:lnTo>
                    <a:pt x="3976" y="9023"/>
                  </a:lnTo>
                  <a:lnTo>
                    <a:pt x="4098" y="9033"/>
                  </a:lnTo>
                  <a:lnTo>
                    <a:pt x="4220" y="9049"/>
                  </a:lnTo>
                  <a:lnTo>
                    <a:pt x="4342" y="9070"/>
                  </a:lnTo>
                  <a:lnTo>
                    <a:pt x="4463" y="9096"/>
                  </a:lnTo>
                  <a:lnTo>
                    <a:pt x="4584" y="9127"/>
                  </a:lnTo>
                  <a:lnTo>
                    <a:pt x="4706" y="9164"/>
                  </a:lnTo>
                  <a:lnTo>
                    <a:pt x="4826" y="9206"/>
                  </a:lnTo>
                  <a:lnTo>
                    <a:pt x="4946" y="9252"/>
                  </a:lnTo>
                  <a:lnTo>
                    <a:pt x="5065" y="9305"/>
                  </a:lnTo>
                  <a:lnTo>
                    <a:pt x="5184" y="9363"/>
                  </a:lnTo>
                  <a:lnTo>
                    <a:pt x="5300" y="9425"/>
                  </a:lnTo>
                  <a:lnTo>
                    <a:pt x="5415" y="9493"/>
                  </a:lnTo>
                  <a:lnTo>
                    <a:pt x="5529" y="9566"/>
                  </a:lnTo>
                  <a:lnTo>
                    <a:pt x="5640" y="9644"/>
                  </a:lnTo>
                  <a:lnTo>
                    <a:pt x="5750" y="9727"/>
                  </a:lnTo>
                  <a:lnTo>
                    <a:pt x="5857" y="9815"/>
                  </a:lnTo>
                  <a:lnTo>
                    <a:pt x="5962" y="9909"/>
                  </a:lnTo>
                  <a:lnTo>
                    <a:pt x="6065" y="10007"/>
                  </a:lnTo>
                  <a:lnTo>
                    <a:pt x="6168" y="10115"/>
                  </a:lnTo>
                  <a:lnTo>
                    <a:pt x="6267" y="10226"/>
                  </a:lnTo>
                  <a:lnTo>
                    <a:pt x="6360" y="10339"/>
                  </a:lnTo>
                  <a:lnTo>
                    <a:pt x="6447" y="10456"/>
                  </a:lnTo>
                  <a:lnTo>
                    <a:pt x="6529" y="10574"/>
                  </a:lnTo>
                  <a:lnTo>
                    <a:pt x="6604" y="10695"/>
                  </a:lnTo>
                  <a:lnTo>
                    <a:pt x="6673" y="10816"/>
                  </a:lnTo>
                  <a:lnTo>
                    <a:pt x="6738" y="10941"/>
                  </a:lnTo>
                  <a:lnTo>
                    <a:pt x="6796" y="11065"/>
                  </a:lnTo>
                  <a:lnTo>
                    <a:pt x="6848" y="11191"/>
                  </a:lnTo>
                  <a:lnTo>
                    <a:pt x="6895" y="11318"/>
                  </a:lnTo>
                  <a:lnTo>
                    <a:pt x="6936" y="11446"/>
                  </a:lnTo>
                  <a:lnTo>
                    <a:pt x="6971" y="11574"/>
                  </a:lnTo>
                  <a:lnTo>
                    <a:pt x="7000" y="11702"/>
                  </a:lnTo>
                  <a:lnTo>
                    <a:pt x="7023" y="11831"/>
                  </a:lnTo>
                  <a:lnTo>
                    <a:pt x="7041" y="11959"/>
                  </a:lnTo>
                  <a:lnTo>
                    <a:pt x="7052" y="12087"/>
                  </a:lnTo>
                  <a:lnTo>
                    <a:pt x="7058" y="12214"/>
                  </a:lnTo>
                  <a:lnTo>
                    <a:pt x="7057" y="12341"/>
                  </a:lnTo>
                  <a:lnTo>
                    <a:pt x="7051" y="12466"/>
                  </a:lnTo>
                  <a:lnTo>
                    <a:pt x="7039" y="12589"/>
                  </a:lnTo>
                  <a:lnTo>
                    <a:pt x="7019" y="12712"/>
                  </a:lnTo>
                  <a:lnTo>
                    <a:pt x="6995" y="12832"/>
                  </a:lnTo>
                  <a:lnTo>
                    <a:pt x="6965" y="12952"/>
                  </a:lnTo>
                  <a:lnTo>
                    <a:pt x="6929" y="13068"/>
                  </a:lnTo>
                  <a:lnTo>
                    <a:pt x="6886" y="13183"/>
                  </a:lnTo>
                  <a:lnTo>
                    <a:pt x="6837" y="13294"/>
                  </a:lnTo>
                  <a:lnTo>
                    <a:pt x="6783" y="13402"/>
                  </a:lnTo>
                  <a:lnTo>
                    <a:pt x="6722" y="13508"/>
                  </a:lnTo>
                  <a:lnTo>
                    <a:pt x="6655" y="13610"/>
                  </a:lnTo>
                  <a:lnTo>
                    <a:pt x="6582" y="13710"/>
                  </a:lnTo>
                  <a:lnTo>
                    <a:pt x="6502" y="13805"/>
                  </a:lnTo>
                  <a:lnTo>
                    <a:pt x="6481" y="13816"/>
                  </a:lnTo>
                  <a:lnTo>
                    <a:pt x="6459" y="13827"/>
                  </a:lnTo>
                  <a:lnTo>
                    <a:pt x="6437" y="13838"/>
                  </a:lnTo>
                  <a:lnTo>
                    <a:pt x="6415" y="13848"/>
                  </a:lnTo>
                  <a:lnTo>
                    <a:pt x="6392" y="13858"/>
                  </a:lnTo>
                  <a:lnTo>
                    <a:pt x="6369" y="13867"/>
                  </a:lnTo>
                  <a:lnTo>
                    <a:pt x="6345" y="13876"/>
                  </a:lnTo>
                  <a:lnTo>
                    <a:pt x="6322" y="13884"/>
                  </a:lnTo>
                  <a:lnTo>
                    <a:pt x="4463" y="14370"/>
                  </a:lnTo>
                  <a:close/>
                  <a:moveTo>
                    <a:pt x="2096" y="14991"/>
                  </a:moveTo>
                  <a:lnTo>
                    <a:pt x="2070" y="14997"/>
                  </a:lnTo>
                  <a:lnTo>
                    <a:pt x="2036" y="15005"/>
                  </a:lnTo>
                  <a:lnTo>
                    <a:pt x="1995" y="15014"/>
                  </a:lnTo>
                  <a:lnTo>
                    <a:pt x="1949" y="15024"/>
                  </a:lnTo>
                  <a:lnTo>
                    <a:pt x="1899" y="15034"/>
                  </a:lnTo>
                  <a:lnTo>
                    <a:pt x="1849" y="15043"/>
                  </a:lnTo>
                  <a:lnTo>
                    <a:pt x="1825" y="15046"/>
                  </a:lnTo>
                  <a:lnTo>
                    <a:pt x="1801" y="15050"/>
                  </a:lnTo>
                  <a:lnTo>
                    <a:pt x="1777" y="15052"/>
                  </a:lnTo>
                  <a:lnTo>
                    <a:pt x="1755" y="15054"/>
                  </a:lnTo>
                  <a:lnTo>
                    <a:pt x="1716" y="15053"/>
                  </a:lnTo>
                  <a:lnTo>
                    <a:pt x="1679" y="15049"/>
                  </a:lnTo>
                  <a:lnTo>
                    <a:pt x="1641" y="15044"/>
                  </a:lnTo>
                  <a:lnTo>
                    <a:pt x="1604" y="15037"/>
                  </a:lnTo>
                  <a:lnTo>
                    <a:pt x="1568" y="15029"/>
                  </a:lnTo>
                  <a:lnTo>
                    <a:pt x="1532" y="15018"/>
                  </a:lnTo>
                  <a:lnTo>
                    <a:pt x="1498" y="15006"/>
                  </a:lnTo>
                  <a:lnTo>
                    <a:pt x="1464" y="14993"/>
                  </a:lnTo>
                  <a:lnTo>
                    <a:pt x="1430" y="14978"/>
                  </a:lnTo>
                  <a:lnTo>
                    <a:pt x="1398" y="14961"/>
                  </a:lnTo>
                  <a:lnTo>
                    <a:pt x="1367" y="14943"/>
                  </a:lnTo>
                  <a:lnTo>
                    <a:pt x="1336" y="14923"/>
                  </a:lnTo>
                  <a:lnTo>
                    <a:pt x="1307" y="14902"/>
                  </a:lnTo>
                  <a:lnTo>
                    <a:pt x="1279" y="14880"/>
                  </a:lnTo>
                  <a:lnTo>
                    <a:pt x="1251" y="14856"/>
                  </a:lnTo>
                  <a:lnTo>
                    <a:pt x="1225" y="14832"/>
                  </a:lnTo>
                  <a:lnTo>
                    <a:pt x="1201" y="14804"/>
                  </a:lnTo>
                  <a:lnTo>
                    <a:pt x="1177" y="14777"/>
                  </a:lnTo>
                  <a:lnTo>
                    <a:pt x="1155" y="14749"/>
                  </a:lnTo>
                  <a:lnTo>
                    <a:pt x="1134" y="14720"/>
                  </a:lnTo>
                  <a:lnTo>
                    <a:pt x="1115" y="14689"/>
                  </a:lnTo>
                  <a:lnTo>
                    <a:pt x="1096" y="14658"/>
                  </a:lnTo>
                  <a:lnTo>
                    <a:pt x="1080" y="14626"/>
                  </a:lnTo>
                  <a:lnTo>
                    <a:pt x="1065" y="14593"/>
                  </a:lnTo>
                  <a:lnTo>
                    <a:pt x="1051" y="14559"/>
                  </a:lnTo>
                  <a:lnTo>
                    <a:pt x="1040" y="14524"/>
                  </a:lnTo>
                  <a:lnTo>
                    <a:pt x="1030" y="14488"/>
                  </a:lnTo>
                  <a:lnTo>
                    <a:pt x="1021" y="14452"/>
                  </a:lnTo>
                  <a:lnTo>
                    <a:pt x="1015" y="14415"/>
                  </a:lnTo>
                  <a:lnTo>
                    <a:pt x="1010" y="14378"/>
                  </a:lnTo>
                  <a:lnTo>
                    <a:pt x="1007" y="14340"/>
                  </a:lnTo>
                  <a:lnTo>
                    <a:pt x="1006" y="14302"/>
                  </a:lnTo>
                  <a:lnTo>
                    <a:pt x="1009" y="14268"/>
                  </a:lnTo>
                  <a:lnTo>
                    <a:pt x="1015" y="14229"/>
                  </a:lnTo>
                  <a:lnTo>
                    <a:pt x="1022" y="14189"/>
                  </a:lnTo>
                  <a:lnTo>
                    <a:pt x="1029" y="14149"/>
                  </a:lnTo>
                  <a:lnTo>
                    <a:pt x="1037" y="14110"/>
                  </a:lnTo>
                  <a:lnTo>
                    <a:pt x="1045" y="14074"/>
                  </a:lnTo>
                  <a:lnTo>
                    <a:pt x="1051" y="14043"/>
                  </a:lnTo>
                  <a:lnTo>
                    <a:pt x="1056" y="14020"/>
                  </a:lnTo>
                  <a:lnTo>
                    <a:pt x="1586" y="12106"/>
                  </a:lnTo>
                  <a:lnTo>
                    <a:pt x="1641" y="12105"/>
                  </a:lnTo>
                  <a:lnTo>
                    <a:pt x="1695" y="12105"/>
                  </a:lnTo>
                  <a:lnTo>
                    <a:pt x="1749" y="12107"/>
                  </a:lnTo>
                  <a:lnTo>
                    <a:pt x="1804" y="12111"/>
                  </a:lnTo>
                  <a:lnTo>
                    <a:pt x="1858" y="12116"/>
                  </a:lnTo>
                  <a:lnTo>
                    <a:pt x="1913" y="12122"/>
                  </a:lnTo>
                  <a:lnTo>
                    <a:pt x="1968" y="12130"/>
                  </a:lnTo>
                  <a:lnTo>
                    <a:pt x="2023" y="12139"/>
                  </a:lnTo>
                  <a:lnTo>
                    <a:pt x="2077" y="12149"/>
                  </a:lnTo>
                  <a:lnTo>
                    <a:pt x="2133" y="12161"/>
                  </a:lnTo>
                  <a:lnTo>
                    <a:pt x="2187" y="12175"/>
                  </a:lnTo>
                  <a:lnTo>
                    <a:pt x="2242" y="12190"/>
                  </a:lnTo>
                  <a:lnTo>
                    <a:pt x="2297" y="12206"/>
                  </a:lnTo>
                  <a:lnTo>
                    <a:pt x="2351" y="12224"/>
                  </a:lnTo>
                  <a:lnTo>
                    <a:pt x="2405" y="12243"/>
                  </a:lnTo>
                  <a:lnTo>
                    <a:pt x="2460" y="12264"/>
                  </a:lnTo>
                  <a:lnTo>
                    <a:pt x="2513" y="12286"/>
                  </a:lnTo>
                  <a:lnTo>
                    <a:pt x="2566" y="12309"/>
                  </a:lnTo>
                  <a:lnTo>
                    <a:pt x="2619" y="12335"/>
                  </a:lnTo>
                  <a:lnTo>
                    <a:pt x="2673" y="12362"/>
                  </a:lnTo>
                  <a:lnTo>
                    <a:pt x="2725" y="12390"/>
                  </a:lnTo>
                  <a:lnTo>
                    <a:pt x="2776" y="12420"/>
                  </a:lnTo>
                  <a:lnTo>
                    <a:pt x="2829" y="12451"/>
                  </a:lnTo>
                  <a:lnTo>
                    <a:pt x="2879" y="12483"/>
                  </a:lnTo>
                  <a:lnTo>
                    <a:pt x="2930" y="12517"/>
                  </a:lnTo>
                  <a:lnTo>
                    <a:pt x="2980" y="12553"/>
                  </a:lnTo>
                  <a:lnTo>
                    <a:pt x="3029" y="12590"/>
                  </a:lnTo>
                  <a:lnTo>
                    <a:pt x="3078" y="12629"/>
                  </a:lnTo>
                  <a:lnTo>
                    <a:pt x="3126" y="12669"/>
                  </a:lnTo>
                  <a:lnTo>
                    <a:pt x="3174" y="12711"/>
                  </a:lnTo>
                  <a:lnTo>
                    <a:pt x="3220" y="12754"/>
                  </a:lnTo>
                  <a:lnTo>
                    <a:pt x="3266" y="12799"/>
                  </a:lnTo>
                  <a:lnTo>
                    <a:pt x="3312" y="12845"/>
                  </a:lnTo>
                  <a:lnTo>
                    <a:pt x="3356" y="12893"/>
                  </a:lnTo>
                  <a:lnTo>
                    <a:pt x="3398" y="12941"/>
                  </a:lnTo>
                  <a:lnTo>
                    <a:pt x="3439" y="12990"/>
                  </a:lnTo>
                  <a:lnTo>
                    <a:pt x="3479" y="13039"/>
                  </a:lnTo>
                  <a:lnTo>
                    <a:pt x="3517" y="13089"/>
                  </a:lnTo>
                  <a:lnTo>
                    <a:pt x="3553" y="13139"/>
                  </a:lnTo>
                  <a:lnTo>
                    <a:pt x="3588" y="13191"/>
                  </a:lnTo>
                  <a:lnTo>
                    <a:pt x="3621" y="13243"/>
                  </a:lnTo>
                  <a:lnTo>
                    <a:pt x="3653" y="13295"/>
                  </a:lnTo>
                  <a:lnTo>
                    <a:pt x="3683" y="13348"/>
                  </a:lnTo>
                  <a:lnTo>
                    <a:pt x="3712" y="13401"/>
                  </a:lnTo>
                  <a:lnTo>
                    <a:pt x="3739" y="13455"/>
                  </a:lnTo>
                  <a:lnTo>
                    <a:pt x="3765" y="13509"/>
                  </a:lnTo>
                  <a:lnTo>
                    <a:pt x="3788" y="13563"/>
                  </a:lnTo>
                  <a:lnTo>
                    <a:pt x="3811" y="13617"/>
                  </a:lnTo>
                  <a:lnTo>
                    <a:pt x="3833" y="13671"/>
                  </a:lnTo>
                  <a:lnTo>
                    <a:pt x="3852" y="13727"/>
                  </a:lnTo>
                  <a:lnTo>
                    <a:pt x="3870" y="13782"/>
                  </a:lnTo>
                  <a:lnTo>
                    <a:pt x="3887" y="13837"/>
                  </a:lnTo>
                  <a:lnTo>
                    <a:pt x="3902" y="13892"/>
                  </a:lnTo>
                  <a:lnTo>
                    <a:pt x="3915" y="13948"/>
                  </a:lnTo>
                  <a:lnTo>
                    <a:pt x="3927" y="14004"/>
                  </a:lnTo>
                  <a:lnTo>
                    <a:pt x="3938" y="14060"/>
                  </a:lnTo>
                  <a:lnTo>
                    <a:pt x="3946" y="14115"/>
                  </a:lnTo>
                  <a:lnTo>
                    <a:pt x="3954" y="14170"/>
                  </a:lnTo>
                  <a:lnTo>
                    <a:pt x="3960" y="14225"/>
                  </a:lnTo>
                  <a:lnTo>
                    <a:pt x="3964" y="14282"/>
                  </a:lnTo>
                  <a:lnTo>
                    <a:pt x="3967" y="14337"/>
                  </a:lnTo>
                  <a:lnTo>
                    <a:pt x="3968" y="14391"/>
                  </a:lnTo>
                  <a:lnTo>
                    <a:pt x="3968" y="14446"/>
                  </a:lnTo>
                  <a:lnTo>
                    <a:pt x="3967" y="14500"/>
                  </a:lnTo>
                  <a:lnTo>
                    <a:pt x="2096" y="14991"/>
                  </a:lnTo>
                  <a:close/>
                  <a:moveTo>
                    <a:pt x="5275" y="8311"/>
                  </a:moveTo>
                  <a:lnTo>
                    <a:pt x="5187" y="8277"/>
                  </a:lnTo>
                  <a:lnTo>
                    <a:pt x="5099" y="8245"/>
                  </a:lnTo>
                  <a:lnTo>
                    <a:pt x="5011" y="8215"/>
                  </a:lnTo>
                  <a:lnTo>
                    <a:pt x="4921" y="8186"/>
                  </a:lnTo>
                  <a:lnTo>
                    <a:pt x="4877" y="8173"/>
                  </a:lnTo>
                  <a:lnTo>
                    <a:pt x="4833" y="8159"/>
                  </a:lnTo>
                  <a:lnTo>
                    <a:pt x="4787" y="8147"/>
                  </a:lnTo>
                  <a:lnTo>
                    <a:pt x="4742" y="8135"/>
                  </a:lnTo>
                  <a:lnTo>
                    <a:pt x="4698" y="8124"/>
                  </a:lnTo>
                  <a:lnTo>
                    <a:pt x="4652" y="8113"/>
                  </a:lnTo>
                  <a:lnTo>
                    <a:pt x="4607" y="8103"/>
                  </a:lnTo>
                  <a:lnTo>
                    <a:pt x="4562" y="8093"/>
                  </a:lnTo>
                  <a:lnTo>
                    <a:pt x="4517" y="8084"/>
                  </a:lnTo>
                  <a:lnTo>
                    <a:pt x="4471" y="8075"/>
                  </a:lnTo>
                  <a:lnTo>
                    <a:pt x="4426" y="8067"/>
                  </a:lnTo>
                  <a:lnTo>
                    <a:pt x="4380" y="8059"/>
                  </a:lnTo>
                  <a:lnTo>
                    <a:pt x="4335" y="8052"/>
                  </a:lnTo>
                  <a:lnTo>
                    <a:pt x="4289" y="8045"/>
                  </a:lnTo>
                  <a:lnTo>
                    <a:pt x="4243" y="8039"/>
                  </a:lnTo>
                  <a:lnTo>
                    <a:pt x="4198" y="8034"/>
                  </a:lnTo>
                  <a:lnTo>
                    <a:pt x="4153" y="8029"/>
                  </a:lnTo>
                  <a:lnTo>
                    <a:pt x="4106" y="8025"/>
                  </a:lnTo>
                  <a:lnTo>
                    <a:pt x="4061" y="8021"/>
                  </a:lnTo>
                  <a:lnTo>
                    <a:pt x="4015" y="8018"/>
                  </a:lnTo>
                  <a:lnTo>
                    <a:pt x="3969" y="8015"/>
                  </a:lnTo>
                  <a:lnTo>
                    <a:pt x="3923" y="8013"/>
                  </a:lnTo>
                  <a:lnTo>
                    <a:pt x="3878" y="8011"/>
                  </a:lnTo>
                  <a:lnTo>
                    <a:pt x="3832" y="8011"/>
                  </a:lnTo>
                  <a:lnTo>
                    <a:pt x="7706" y="4116"/>
                  </a:lnTo>
                  <a:lnTo>
                    <a:pt x="7763" y="4063"/>
                  </a:lnTo>
                  <a:lnTo>
                    <a:pt x="7820" y="4012"/>
                  </a:lnTo>
                  <a:lnTo>
                    <a:pt x="7880" y="3964"/>
                  </a:lnTo>
                  <a:lnTo>
                    <a:pt x="7941" y="3918"/>
                  </a:lnTo>
                  <a:lnTo>
                    <a:pt x="8003" y="3875"/>
                  </a:lnTo>
                  <a:lnTo>
                    <a:pt x="8067" y="3834"/>
                  </a:lnTo>
                  <a:lnTo>
                    <a:pt x="8131" y="3796"/>
                  </a:lnTo>
                  <a:lnTo>
                    <a:pt x="8197" y="3760"/>
                  </a:lnTo>
                  <a:lnTo>
                    <a:pt x="8265" y="3725"/>
                  </a:lnTo>
                  <a:lnTo>
                    <a:pt x="8333" y="3694"/>
                  </a:lnTo>
                  <a:lnTo>
                    <a:pt x="8403" y="3665"/>
                  </a:lnTo>
                  <a:lnTo>
                    <a:pt x="8473" y="3638"/>
                  </a:lnTo>
                  <a:lnTo>
                    <a:pt x="8544" y="3613"/>
                  </a:lnTo>
                  <a:lnTo>
                    <a:pt x="8616" y="3591"/>
                  </a:lnTo>
                  <a:lnTo>
                    <a:pt x="8689" y="3571"/>
                  </a:lnTo>
                  <a:lnTo>
                    <a:pt x="8764" y="3554"/>
                  </a:lnTo>
                  <a:lnTo>
                    <a:pt x="8838" y="3539"/>
                  </a:lnTo>
                  <a:lnTo>
                    <a:pt x="8914" y="3526"/>
                  </a:lnTo>
                  <a:lnTo>
                    <a:pt x="8989" y="3515"/>
                  </a:lnTo>
                  <a:lnTo>
                    <a:pt x="9067" y="3507"/>
                  </a:lnTo>
                  <a:lnTo>
                    <a:pt x="9143" y="3501"/>
                  </a:lnTo>
                  <a:lnTo>
                    <a:pt x="9220" y="3497"/>
                  </a:lnTo>
                  <a:lnTo>
                    <a:pt x="9299" y="3496"/>
                  </a:lnTo>
                  <a:lnTo>
                    <a:pt x="9377" y="3497"/>
                  </a:lnTo>
                  <a:lnTo>
                    <a:pt x="9457" y="3500"/>
                  </a:lnTo>
                  <a:lnTo>
                    <a:pt x="9535" y="3505"/>
                  </a:lnTo>
                  <a:lnTo>
                    <a:pt x="9615" y="3512"/>
                  </a:lnTo>
                  <a:lnTo>
                    <a:pt x="9694" y="3522"/>
                  </a:lnTo>
                  <a:lnTo>
                    <a:pt x="9775" y="3534"/>
                  </a:lnTo>
                  <a:lnTo>
                    <a:pt x="9854" y="3548"/>
                  </a:lnTo>
                  <a:lnTo>
                    <a:pt x="9934" y="3565"/>
                  </a:lnTo>
                  <a:lnTo>
                    <a:pt x="10014" y="3583"/>
                  </a:lnTo>
                  <a:lnTo>
                    <a:pt x="5275" y="8311"/>
                  </a:lnTo>
                  <a:close/>
                  <a:moveTo>
                    <a:pt x="7441" y="10165"/>
                  </a:moveTo>
                  <a:lnTo>
                    <a:pt x="7406" y="10107"/>
                  </a:lnTo>
                  <a:lnTo>
                    <a:pt x="7369" y="10049"/>
                  </a:lnTo>
                  <a:lnTo>
                    <a:pt x="7332" y="9992"/>
                  </a:lnTo>
                  <a:lnTo>
                    <a:pt x="7295" y="9936"/>
                  </a:lnTo>
                  <a:lnTo>
                    <a:pt x="7257" y="9880"/>
                  </a:lnTo>
                  <a:lnTo>
                    <a:pt x="7218" y="9824"/>
                  </a:lnTo>
                  <a:lnTo>
                    <a:pt x="7177" y="9768"/>
                  </a:lnTo>
                  <a:lnTo>
                    <a:pt x="7137" y="9714"/>
                  </a:lnTo>
                  <a:lnTo>
                    <a:pt x="7096" y="9660"/>
                  </a:lnTo>
                  <a:lnTo>
                    <a:pt x="7053" y="9606"/>
                  </a:lnTo>
                  <a:lnTo>
                    <a:pt x="7009" y="9553"/>
                  </a:lnTo>
                  <a:lnTo>
                    <a:pt x="6965" y="9500"/>
                  </a:lnTo>
                  <a:lnTo>
                    <a:pt x="6919" y="9448"/>
                  </a:lnTo>
                  <a:lnTo>
                    <a:pt x="6873" y="9397"/>
                  </a:lnTo>
                  <a:lnTo>
                    <a:pt x="6824" y="9347"/>
                  </a:lnTo>
                  <a:lnTo>
                    <a:pt x="6776" y="9297"/>
                  </a:lnTo>
                  <a:lnTo>
                    <a:pt x="6718" y="9240"/>
                  </a:lnTo>
                  <a:lnTo>
                    <a:pt x="6658" y="9185"/>
                  </a:lnTo>
                  <a:lnTo>
                    <a:pt x="6598" y="9131"/>
                  </a:lnTo>
                  <a:lnTo>
                    <a:pt x="6538" y="9079"/>
                  </a:lnTo>
                  <a:lnTo>
                    <a:pt x="6475" y="9029"/>
                  </a:lnTo>
                  <a:lnTo>
                    <a:pt x="6412" y="8978"/>
                  </a:lnTo>
                  <a:lnTo>
                    <a:pt x="6348" y="8930"/>
                  </a:lnTo>
                  <a:lnTo>
                    <a:pt x="6284" y="8884"/>
                  </a:lnTo>
                  <a:lnTo>
                    <a:pt x="6220" y="8838"/>
                  </a:lnTo>
                  <a:lnTo>
                    <a:pt x="6153" y="8794"/>
                  </a:lnTo>
                  <a:lnTo>
                    <a:pt x="6087" y="8750"/>
                  </a:lnTo>
                  <a:lnTo>
                    <a:pt x="6021" y="8707"/>
                  </a:lnTo>
                  <a:lnTo>
                    <a:pt x="5953" y="8666"/>
                  </a:lnTo>
                  <a:lnTo>
                    <a:pt x="5885" y="8626"/>
                  </a:lnTo>
                  <a:lnTo>
                    <a:pt x="5816" y="8587"/>
                  </a:lnTo>
                  <a:lnTo>
                    <a:pt x="5748" y="8549"/>
                  </a:lnTo>
                  <a:lnTo>
                    <a:pt x="10542" y="3766"/>
                  </a:lnTo>
                  <a:lnTo>
                    <a:pt x="10613" y="3798"/>
                  </a:lnTo>
                  <a:lnTo>
                    <a:pt x="10683" y="3831"/>
                  </a:lnTo>
                  <a:lnTo>
                    <a:pt x="10752" y="3866"/>
                  </a:lnTo>
                  <a:lnTo>
                    <a:pt x="10821" y="3903"/>
                  </a:lnTo>
                  <a:lnTo>
                    <a:pt x="10889" y="3942"/>
                  </a:lnTo>
                  <a:lnTo>
                    <a:pt x="10958" y="3983"/>
                  </a:lnTo>
                  <a:lnTo>
                    <a:pt x="11025" y="4026"/>
                  </a:lnTo>
                  <a:lnTo>
                    <a:pt x="11091" y="4070"/>
                  </a:lnTo>
                  <a:lnTo>
                    <a:pt x="11157" y="4115"/>
                  </a:lnTo>
                  <a:lnTo>
                    <a:pt x="11222" y="4163"/>
                  </a:lnTo>
                  <a:lnTo>
                    <a:pt x="11287" y="4212"/>
                  </a:lnTo>
                  <a:lnTo>
                    <a:pt x="11351" y="4263"/>
                  </a:lnTo>
                  <a:lnTo>
                    <a:pt x="11413" y="4317"/>
                  </a:lnTo>
                  <a:lnTo>
                    <a:pt x="11476" y="4372"/>
                  </a:lnTo>
                  <a:lnTo>
                    <a:pt x="11537" y="4428"/>
                  </a:lnTo>
                  <a:lnTo>
                    <a:pt x="11597" y="4487"/>
                  </a:lnTo>
                  <a:lnTo>
                    <a:pt x="11648" y="4537"/>
                  </a:lnTo>
                  <a:lnTo>
                    <a:pt x="11696" y="4590"/>
                  </a:lnTo>
                  <a:lnTo>
                    <a:pt x="11743" y="4642"/>
                  </a:lnTo>
                  <a:lnTo>
                    <a:pt x="11790" y="4696"/>
                  </a:lnTo>
                  <a:lnTo>
                    <a:pt x="11835" y="4749"/>
                  </a:lnTo>
                  <a:lnTo>
                    <a:pt x="11878" y="4803"/>
                  </a:lnTo>
                  <a:lnTo>
                    <a:pt x="11919" y="4859"/>
                  </a:lnTo>
                  <a:lnTo>
                    <a:pt x="11961" y="4915"/>
                  </a:lnTo>
                  <a:lnTo>
                    <a:pt x="12000" y="4970"/>
                  </a:lnTo>
                  <a:lnTo>
                    <a:pt x="12038" y="5027"/>
                  </a:lnTo>
                  <a:lnTo>
                    <a:pt x="12075" y="5084"/>
                  </a:lnTo>
                  <a:lnTo>
                    <a:pt x="12110" y="5142"/>
                  </a:lnTo>
                  <a:lnTo>
                    <a:pt x="12145" y="5200"/>
                  </a:lnTo>
                  <a:lnTo>
                    <a:pt x="12178" y="5258"/>
                  </a:lnTo>
                  <a:lnTo>
                    <a:pt x="12210" y="5316"/>
                  </a:lnTo>
                  <a:lnTo>
                    <a:pt x="12241" y="5375"/>
                  </a:lnTo>
                  <a:lnTo>
                    <a:pt x="7441" y="10165"/>
                  </a:lnTo>
                  <a:close/>
                  <a:moveTo>
                    <a:pt x="8055" y="11941"/>
                  </a:moveTo>
                  <a:lnTo>
                    <a:pt x="8045" y="11856"/>
                  </a:lnTo>
                  <a:lnTo>
                    <a:pt x="8035" y="11772"/>
                  </a:lnTo>
                  <a:lnTo>
                    <a:pt x="8022" y="11687"/>
                  </a:lnTo>
                  <a:lnTo>
                    <a:pt x="8008" y="11603"/>
                  </a:lnTo>
                  <a:lnTo>
                    <a:pt x="7991" y="11519"/>
                  </a:lnTo>
                  <a:lnTo>
                    <a:pt x="7973" y="11435"/>
                  </a:lnTo>
                  <a:lnTo>
                    <a:pt x="7953" y="11352"/>
                  </a:lnTo>
                  <a:lnTo>
                    <a:pt x="7931" y="11270"/>
                  </a:lnTo>
                  <a:lnTo>
                    <a:pt x="7907" y="11187"/>
                  </a:lnTo>
                  <a:lnTo>
                    <a:pt x="7882" y="11105"/>
                  </a:lnTo>
                  <a:lnTo>
                    <a:pt x="7854" y="11024"/>
                  </a:lnTo>
                  <a:lnTo>
                    <a:pt x="7825" y="10943"/>
                  </a:lnTo>
                  <a:lnTo>
                    <a:pt x="7795" y="10861"/>
                  </a:lnTo>
                  <a:lnTo>
                    <a:pt x="7763" y="10781"/>
                  </a:lnTo>
                  <a:lnTo>
                    <a:pt x="7729" y="10702"/>
                  </a:lnTo>
                  <a:lnTo>
                    <a:pt x="7693" y="10622"/>
                  </a:lnTo>
                  <a:lnTo>
                    <a:pt x="12448" y="5878"/>
                  </a:lnTo>
                  <a:lnTo>
                    <a:pt x="12475" y="5965"/>
                  </a:lnTo>
                  <a:lnTo>
                    <a:pt x="12499" y="6051"/>
                  </a:lnTo>
                  <a:lnTo>
                    <a:pt x="12519" y="6137"/>
                  </a:lnTo>
                  <a:lnTo>
                    <a:pt x="12537" y="6223"/>
                  </a:lnTo>
                  <a:lnTo>
                    <a:pt x="12553" y="6310"/>
                  </a:lnTo>
                  <a:lnTo>
                    <a:pt x="12566" y="6396"/>
                  </a:lnTo>
                  <a:lnTo>
                    <a:pt x="12576" y="6482"/>
                  </a:lnTo>
                  <a:lnTo>
                    <a:pt x="12583" y="6568"/>
                  </a:lnTo>
                  <a:lnTo>
                    <a:pt x="12588" y="6654"/>
                  </a:lnTo>
                  <a:lnTo>
                    <a:pt x="12591" y="6739"/>
                  </a:lnTo>
                  <a:lnTo>
                    <a:pt x="12591" y="6824"/>
                  </a:lnTo>
                  <a:lnTo>
                    <a:pt x="12588" y="6908"/>
                  </a:lnTo>
                  <a:lnTo>
                    <a:pt x="12582" y="6992"/>
                  </a:lnTo>
                  <a:lnTo>
                    <a:pt x="12574" y="7075"/>
                  </a:lnTo>
                  <a:lnTo>
                    <a:pt x="12563" y="7158"/>
                  </a:lnTo>
                  <a:lnTo>
                    <a:pt x="12549" y="7239"/>
                  </a:lnTo>
                  <a:lnTo>
                    <a:pt x="12533" y="7320"/>
                  </a:lnTo>
                  <a:lnTo>
                    <a:pt x="12513" y="7400"/>
                  </a:lnTo>
                  <a:lnTo>
                    <a:pt x="12492" y="7479"/>
                  </a:lnTo>
                  <a:lnTo>
                    <a:pt x="12467" y="7557"/>
                  </a:lnTo>
                  <a:lnTo>
                    <a:pt x="12439" y="7635"/>
                  </a:lnTo>
                  <a:lnTo>
                    <a:pt x="12409" y="7710"/>
                  </a:lnTo>
                  <a:lnTo>
                    <a:pt x="12376" y="7784"/>
                  </a:lnTo>
                  <a:lnTo>
                    <a:pt x="12340" y="7857"/>
                  </a:lnTo>
                  <a:lnTo>
                    <a:pt x="12302" y="7930"/>
                  </a:lnTo>
                  <a:lnTo>
                    <a:pt x="12260" y="8000"/>
                  </a:lnTo>
                  <a:lnTo>
                    <a:pt x="12216" y="8069"/>
                  </a:lnTo>
                  <a:lnTo>
                    <a:pt x="12169" y="8136"/>
                  </a:lnTo>
                  <a:lnTo>
                    <a:pt x="12120" y="8203"/>
                  </a:lnTo>
                  <a:lnTo>
                    <a:pt x="12066" y="8267"/>
                  </a:lnTo>
                  <a:lnTo>
                    <a:pt x="12011" y="8329"/>
                  </a:lnTo>
                  <a:lnTo>
                    <a:pt x="11953" y="8389"/>
                  </a:lnTo>
                  <a:lnTo>
                    <a:pt x="11947" y="8394"/>
                  </a:lnTo>
                  <a:lnTo>
                    <a:pt x="11940" y="8400"/>
                  </a:lnTo>
                  <a:lnTo>
                    <a:pt x="11948" y="8406"/>
                  </a:lnTo>
                  <a:lnTo>
                    <a:pt x="8060" y="12314"/>
                  </a:lnTo>
                  <a:lnTo>
                    <a:pt x="8061" y="12268"/>
                  </a:lnTo>
                  <a:lnTo>
                    <a:pt x="8061" y="12222"/>
                  </a:lnTo>
                  <a:lnTo>
                    <a:pt x="8062" y="12175"/>
                  </a:lnTo>
                  <a:lnTo>
                    <a:pt x="8062" y="12129"/>
                  </a:lnTo>
                  <a:lnTo>
                    <a:pt x="8062" y="12082"/>
                  </a:lnTo>
                  <a:lnTo>
                    <a:pt x="8061" y="12035"/>
                  </a:lnTo>
                  <a:lnTo>
                    <a:pt x="8059" y="11988"/>
                  </a:lnTo>
                  <a:lnTo>
                    <a:pt x="8055" y="11941"/>
                  </a:lnTo>
                  <a:close/>
                  <a:moveTo>
                    <a:pt x="14785" y="1295"/>
                  </a:moveTo>
                  <a:lnTo>
                    <a:pt x="14707" y="1218"/>
                  </a:lnTo>
                  <a:lnTo>
                    <a:pt x="14626" y="1144"/>
                  </a:lnTo>
                  <a:lnTo>
                    <a:pt x="14546" y="1072"/>
                  </a:lnTo>
                  <a:lnTo>
                    <a:pt x="14463" y="1003"/>
                  </a:lnTo>
                  <a:lnTo>
                    <a:pt x="14379" y="934"/>
                  </a:lnTo>
                  <a:lnTo>
                    <a:pt x="14294" y="869"/>
                  </a:lnTo>
                  <a:lnTo>
                    <a:pt x="14208" y="806"/>
                  </a:lnTo>
                  <a:lnTo>
                    <a:pt x="14119" y="745"/>
                  </a:lnTo>
                  <a:lnTo>
                    <a:pt x="14031" y="685"/>
                  </a:lnTo>
                  <a:lnTo>
                    <a:pt x="13941" y="629"/>
                  </a:lnTo>
                  <a:lnTo>
                    <a:pt x="13851" y="575"/>
                  </a:lnTo>
                  <a:lnTo>
                    <a:pt x="13758" y="523"/>
                  </a:lnTo>
                  <a:lnTo>
                    <a:pt x="13666" y="473"/>
                  </a:lnTo>
                  <a:lnTo>
                    <a:pt x="13572" y="426"/>
                  </a:lnTo>
                  <a:lnTo>
                    <a:pt x="13478" y="380"/>
                  </a:lnTo>
                  <a:lnTo>
                    <a:pt x="13382" y="338"/>
                  </a:lnTo>
                  <a:lnTo>
                    <a:pt x="13286" y="298"/>
                  </a:lnTo>
                  <a:lnTo>
                    <a:pt x="13190" y="260"/>
                  </a:lnTo>
                  <a:lnTo>
                    <a:pt x="13092" y="225"/>
                  </a:lnTo>
                  <a:lnTo>
                    <a:pt x="12995" y="193"/>
                  </a:lnTo>
                  <a:lnTo>
                    <a:pt x="12896" y="162"/>
                  </a:lnTo>
                  <a:lnTo>
                    <a:pt x="12798" y="134"/>
                  </a:lnTo>
                  <a:lnTo>
                    <a:pt x="12698" y="109"/>
                  </a:lnTo>
                  <a:lnTo>
                    <a:pt x="12598" y="86"/>
                  </a:lnTo>
                  <a:lnTo>
                    <a:pt x="12499" y="66"/>
                  </a:lnTo>
                  <a:lnTo>
                    <a:pt x="12398" y="49"/>
                  </a:lnTo>
                  <a:lnTo>
                    <a:pt x="12299" y="34"/>
                  </a:lnTo>
                  <a:lnTo>
                    <a:pt x="12198" y="22"/>
                  </a:lnTo>
                  <a:lnTo>
                    <a:pt x="12097" y="12"/>
                  </a:lnTo>
                  <a:lnTo>
                    <a:pt x="11996" y="5"/>
                  </a:lnTo>
                  <a:lnTo>
                    <a:pt x="11895" y="1"/>
                  </a:lnTo>
                  <a:lnTo>
                    <a:pt x="11795" y="0"/>
                  </a:lnTo>
                  <a:lnTo>
                    <a:pt x="11710" y="1"/>
                  </a:lnTo>
                  <a:lnTo>
                    <a:pt x="11626" y="4"/>
                  </a:lnTo>
                  <a:lnTo>
                    <a:pt x="11542" y="9"/>
                  </a:lnTo>
                  <a:lnTo>
                    <a:pt x="11459" y="16"/>
                  </a:lnTo>
                  <a:lnTo>
                    <a:pt x="11376" y="24"/>
                  </a:lnTo>
                  <a:lnTo>
                    <a:pt x="11294" y="35"/>
                  </a:lnTo>
                  <a:lnTo>
                    <a:pt x="11212" y="47"/>
                  </a:lnTo>
                  <a:lnTo>
                    <a:pt x="11131" y="62"/>
                  </a:lnTo>
                  <a:lnTo>
                    <a:pt x="11051" y="78"/>
                  </a:lnTo>
                  <a:lnTo>
                    <a:pt x="10971" y="96"/>
                  </a:lnTo>
                  <a:lnTo>
                    <a:pt x="10892" y="116"/>
                  </a:lnTo>
                  <a:lnTo>
                    <a:pt x="10814" y="139"/>
                  </a:lnTo>
                  <a:lnTo>
                    <a:pt x="10736" y="162"/>
                  </a:lnTo>
                  <a:lnTo>
                    <a:pt x="10660" y="187"/>
                  </a:lnTo>
                  <a:lnTo>
                    <a:pt x="10584" y="215"/>
                  </a:lnTo>
                  <a:lnTo>
                    <a:pt x="10509" y="243"/>
                  </a:lnTo>
                  <a:lnTo>
                    <a:pt x="10435" y="274"/>
                  </a:lnTo>
                  <a:lnTo>
                    <a:pt x="10361" y="307"/>
                  </a:lnTo>
                  <a:lnTo>
                    <a:pt x="10289" y="341"/>
                  </a:lnTo>
                  <a:lnTo>
                    <a:pt x="10217" y="377"/>
                  </a:lnTo>
                  <a:lnTo>
                    <a:pt x="10147" y="416"/>
                  </a:lnTo>
                  <a:lnTo>
                    <a:pt x="10078" y="455"/>
                  </a:lnTo>
                  <a:lnTo>
                    <a:pt x="10010" y="496"/>
                  </a:lnTo>
                  <a:lnTo>
                    <a:pt x="9943" y="539"/>
                  </a:lnTo>
                  <a:lnTo>
                    <a:pt x="9876" y="583"/>
                  </a:lnTo>
                  <a:lnTo>
                    <a:pt x="9811" y="629"/>
                  </a:lnTo>
                  <a:lnTo>
                    <a:pt x="9748" y="677"/>
                  </a:lnTo>
                  <a:lnTo>
                    <a:pt x="9684" y="727"/>
                  </a:lnTo>
                  <a:lnTo>
                    <a:pt x="9623" y="778"/>
                  </a:lnTo>
                  <a:lnTo>
                    <a:pt x="9562" y="831"/>
                  </a:lnTo>
                  <a:lnTo>
                    <a:pt x="9503" y="885"/>
                  </a:lnTo>
                  <a:lnTo>
                    <a:pt x="9446" y="941"/>
                  </a:lnTo>
                  <a:lnTo>
                    <a:pt x="6997" y="3403"/>
                  </a:lnTo>
                  <a:lnTo>
                    <a:pt x="6986" y="3412"/>
                  </a:lnTo>
                  <a:lnTo>
                    <a:pt x="6974" y="3422"/>
                  </a:lnTo>
                  <a:lnTo>
                    <a:pt x="6969" y="3428"/>
                  </a:lnTo>
                  <a:lnTo>
                    <a:pt x="6964" y="3435"/>
                  </a:lnTo>
                  <a:lnTo>
                    <a:pt x="6965" y="3436"/>
                  </a:lnTo>
                  <a:lnTo>
                    <a:pt x="1769" y="8659"/>
                  </a:lnTo>
                  <a:lnTo>
                    <a:pt x="1747" y="8681"/>
                  </a:lnTo>
                  <a:lnTo>
                    <a:pt x="1725" y="8704"/>
                  </a:lnTo>
                  <a:lnTo>
                    <a:pt x="1704" y="8728"/>
                  </a:lnTo>
                  <a:lnTo>
                    <a:pt x="1683" y="8751"/>
                  </a:lnTo>
                  <a:lnTo>
                    <a:pt x="1642" y="8799"/>
                  </a:lnTo>
                  <a:lnTo>
                    <a:pt x="1602" y="8847"/>
                  </a:lnTo>
                  <a:lnTo>
                    <a:pt x="1564" y="8897"/>
                  </a:lnTo>
                  <a:lnTo>
                    <a:pt x="1528" y="8949"/>
                  </a:lnTo>
                  <a:lnTo>
                    <a:pt x="1494" y="9002"/>
                  </a:lnTo>
                  <a:lnTo>
                    <a:pt x="1461" y="9055"/>
                  </a:lnTo>
                  <a:lnTo>
                    <a:pt x="1429" y="9109"/>
                  </a:lnTo>
                  <a:lnTo>
                    <a:pt x="1400" y="9165"/>
                  </a:lnTo>
                  <a:lnTo>
                    <a:pt x="1372" y="9221"/>
                  </a:lnTo>
                  <a:lnTo>
                    <a:pt x="1347" y="9279"/>
                  </a:lnTo>
                  <a:lnTo>
                    <a:pt x="1322" y="9336"/>
                  </a:lnTo>
                  <a:lnTo>
                    <a:pt x="1300" y="9395"/>
                  </a:lnTo>
                  <a:lnTo>
                    <a:pt x="1279" y="9454"/>
                  </a:lnTo>
                  <a:lnTo>
                    <a:pt x="1260" y="9514"/>
                  </a:lnTo>
                  <a:lnTo>
                    <a:pt x="78" y="13784"/>
                  </a:lnTo>
                  <a:lnTo>
                    <a:pt x="74" y="13803"/>
                  </a:lnTo>
                  <a:lnTo>
                    <a:pt x="65" y="13846"/>
                  </a:lnTo>
                  <a:lnTo>
                    <a:pt x="53" y="13908"/>
                  </a:lnTo>
                  <a:lnTo>
                    <a:pt x="38" y="13984"/>
                  </a:lnTo>
                  <a:lnTo>
                    <a:pt x="31" y="14025"/>
                  </a:lnTo>
                  <a:lnTo>
                    <a:pt x="24" y="14066"/>
                  </a:lnTo>
                  <a:lnTo>
                    <a:pt x="18" y="14109"/>
                  </a:lnTo>
                  <a:lnTo>
                    <a:pt x="12" y="14151"/>
                  </a:lnTo>
                  <a:lnTo>
                    <a:pt x="7" y="14192"/>
                  </a:lnTo>
                  <a:lnTo>
                    <a:pt x="3" y="14231"/>
                  </a:lnTo>
                  <a:lnTo>
                    <a:pt x="1" y="14268"/>
                  </a:lnTo>
                  <a:lnTo>
                    <a:pt x="0" y="14302"/>
                  </a:lnTo>
                  <a:lnTo>
                    <a:pt x="2" y="14392"/>
                  </a:lnTo>
                  <a:lnTo>
                    <a:pt x="9" y="14481"/>
                  </a:lnTo>
                  <a:lnTo>
                    <a:pt x="20" y="14569"/>
                  </a:lnTo>
                  <a:lnTo>
                    <a:pt x="36" y="14656"/>
                  </a:lnTo>
                  <a:lnTo>
                    <a:pt x="55" y="14740"/>
                  </a:lnTo>
                  <a:lnTo>
                    <a:pt x="79" y="14824"/>
                  </a:lnTo>
                  <a:lnTo>
                    <a:pt x="107" y="14906"/>
                  </a:lnTo>
                  <a:lnTo>
                    <a:pt x="139" y="14985"/>
                  </a:lnTo>
                  <a:lnTo>
                    <a:pt x="174" y="15063"/>
                  </a:lnTo>
                  <a:lnTo>
                    <a:pt x="212" y="15139"/>
                  </a:lnTo>
                  <a:lnTo>
                    <a:pt x="256" y="15212"/>
                  </a:lnTo>
                  <a:lnTo>
                    <a:pt x="301" y="15283"/>
                  </a:lnTo>
                  <a:lnTo>
                    <a:pt x="350" y="15352"/>
                  </a:lnTo>
                  <a:lnTo>
                    <a:pt x="402" y="15419"/>
                  </a:lnTo>
                  <a:lnTo>
                    <a:pt x="458" y="15483"/>
                  </a:lnTo>
                  <a:lnTo>
                    <a:pt x="516" y="15543"/>
                  </a:lnTo>
                  <a:lnTo>
                    <a:pt x="577" y="15601"/>
                  </a:lnTo>
                  <a:lnTo>
                    <a:pt x="642" y="15657"/>
                  </a:lnTo>
                  <a:lnTo>
                    <a:pt x="708" y="15709"/>
                  </a:lnTo>
                  <a:lnTo>
                    <a:pt x="778" y="15758"/>
                  </a:lnTo>
                  <a:lnTo>
                    <a:pt x="849" y="15804"/>
                  </a:lnTo>
                  <a:lnTo>
                    <a:pt x="922" y="15846"/>
                  </a:lnTo>
                  <a:lnTo>
                    <a:pt x="999" y="15884"/>
                  </a:lnTo>
                  <a:lnTo>
                    <a:pt x="1076" y="15919"/>
                  </a:lnTo>
                  <a:lnTo>
                    <a:pt x="1157" y="15952"/>
                  </a:lnTo>
                  <a:lnTo>
                    <a:pt x="1238" y="15979"/>
                  </a:lnTo>
                  <a:lnTo>
                    <a:pt x="1323" y="16003"/>
                  </a:lnTo>
                  <a:lnTo>
                    <a:pt x="1407" y="16022"/>
                  </a:lnTo>
                  <a:lnTo>
                    <a:pt x="1495" y="16038"/>
                  </a:lnTo>
                  <a:lnTo>
                    <a:pt x="1582" y="16049"/>
                  </a:lnTo>
                  <a:lnTo>
                    <a:pt x="1672" y="16056"/>
                  </a:lnTo>
                  <a:lnTo>
                    <a:pt x="1763" y="16058"/>
                  </a:lnTo>
                  <a:lnTo>
                    <a:pt x="1801" y="16057"/>
                  </a:lnTo>
                  <a:lnTo>
                    <a:pt x="1843" y="16054"/>
                  </a:lnTo>
                  <a:lnTo>
                    <a:pt x="1887" y="16049"/>
                  </a:lnTo>
                  <a:lnTo>
                    <a:pt x="1933" y="16044"/>
                  </a:lnTo>
                  <a:lnTo>
                    <a:pt x="1981" y="16037"/>
                  </a:lnTo>
                  <a:lnTo>
                    <a:pt x="2028" y="16029"/>
                  </a:lnTo>
                  <a:lnTo>
                    <a:pt x="2075" y="16020"/>
                  </a:lnTo>
                  <a:lnTo>
                    <a:pt x="2122" y="16012"/>
                  </a:lnTo>
                  <a:lnTo>
                    <a:pt x="2205" y="15995"/>
                  </a:lnTo>
                  <a:lnTo>
                    <a:pt x="2275" y="15980"/>
                  </a:lnTo>
                  <a:lnTo>
                    <a:pt x="2324" y="15969"/>
                  </a:lnTo>
                  <a:lnTo>
                    <a:pt x="2345" y="15964"/>
                  </a:lnTo>
                  <a:lnTo>
                    <a:pt x="6609" y="14846"/>
                  </a:lnTo>
                  <a:lnTo>
                    <a:pt x="6669" y="14827"/>
                  </a:lnTo>
                  <a:lnTo>
                    <a:pt x="6729" y="14805"/>
                  </a:lnTo>
                  <a:lnTo>
                    <a:pt x="6788" y="14783"/>
                  </a:lnTo>
                  <a:lnTo>
                    <a:pt x="6845" y="14759"/>
                  </a:lnTo>
                  <a:lnTo>
                    <a:pt x="6903" y="14733"/>
                  </a:lnTo>
                  <a:lnTo>
                    <a:pt x="6960" y="14705"/>
                  </a:lnTo>
                  <a:lnTo>
                    <a:pt x="7015" y="14675"/>
                  </a:lnTo>
                  <a:lnTo>
                    <a:pt x="7070" y="14644"/>
                  </a:lnTo>
                  <a:lnTo>
                    <a:pt x="7123" y="14612"/>
                  </a:lnTo>
                  <a:lnTo>
                    <a:pt x="7175" y="14577"/>
                  </a:lnTo>
                  <a:lnTo>
                    <a:pt x="7227" y="14541"/>
                  </a:lnTo>
                  <a:lnTo>
                    <a:pt x="7277" y="14502"/>
                  </a:lnTo>
                  <a:lnTo>
                    <a:pt x="7326" y="14463"/>
                  </a:lnTo>
                  <a:lnTo>
                    <a:pt x="7375" y="14422"/>
                  </a:lnTo>
                  <a:lnTo>
                    <a:pt x="7421" y="14380"/>
                  </a:lnTo>
                  <a:lnTo>
                    <a:pt x="7466" y="14336"/>
                  </a:lnTo>
                  <a:lnTo>
                    <a:pt x="15143" y="6617"/>
                  </a:lnTo>
                  <a:lnTo>
                    <a:pt x="15270" y="6483"/>
                  </a:lnTo>
                  <a:lnTo>
                    <a:pt x="15387" y="6344"/>
                  </a:lnTo>
                  <a:lnTo>
                    <a:pt x="15495" y="6200"/>
                  </a:lnTo>
                  <a:lnTo>
                    <a:pt x="15594" y="6053"/>
                  </a:lnTo>
                  <a:lnTo>
                    <a:pt x="15685" y="5900"/>
                  </a:lnTo>
                  <a:lnTo>
                    <a:pt x="15766" y="5744"/>
                  </a:lnTo>
                  <a:lnTo>
                    <a:pt x="15837" y="5584"/>
                  </a:lnTo>
                  <a:lnTo>
                    <a:pt x="15901" y="5421"/>
                  </a:lnTo>
                  <a:lnTo>
                    <a:pt x="15955" y="5254"/>
                  </a:lnTo>
                  <a:lnTo>
                    <a:pt x="16000" y="5084"/>
                  </a:lnTo>
                  <a:lnTo>
                    <a:pt x="16037" y="4913"/>
                  </a:lnTo>
                  <a:lnTo>
                    <a:pt x="16065" y="4739"/>
                  </a:lnTo>
                  <a:lnTo>
                    <a:pt x="16083" y="4563"/>
                  </a:lnTo>
                  <a:lnTo>
                    <a:pt x="16093" y="4387"/>
                  </a:lnTo>
                  <a:lnTo>
                    <a:pt x="16094" y="4208"/>
                  </a:lnTo>
                  <a:lnTo>
                    <a:pt x="16087" y="4030"/>
                  </a:lnTo>
                  <a:lnTo>
                    <a:pt x="16070" y="3850"/>
                  </a:lnTo>
                  <a:lnTo>
                    <a:pt x="16045" y="3669"/>
                  </a:lnTo>
                  <a:lnTo>
                    <a:pt x="16011" y="3490"/>
                  </a:lnTo>
                  <a:lnTo>
                    <a:pt x="15968" y="3310"/>
                  </a:lnTo>
                  <a:lnTo>
                    <a:pt x="15917" y="3131"/>
                  </a:lnTo>
                  <a:lnTo>
                    <a:pt x="15857" y="2953"/>
                  </a:lnTo>
                  <a:lnTo>
                    <a:pt x="15788" y="2776"/>
                  </a:lnTo>
                  <a:lnTo>
                    <a:pt x="15711" y="2601"/>
                  </a:lnTo>
                  <a:lnTo>
                    <a:pt x="15625" y="2428"/>
                  </a:lnTo>
                  <a:lnTo>
                    <a:pt x="15531" y="2257"/>
                  </a:lnTo>
                  <a:lnTo>
                    <a:pt x="15428" y="2089"/>
                  </a:lnTo>
                  <a:lnTo>
                    <a:pt x="15316" y="1923"/>
                  </a:lnTo>
                  <a:lnTo>
                    <a:pt x="15196" y="1760"/>
                  </a:lnTo>
                  <a:lnTo>
                    <a:pt x="15067" y="1602"/>
                  </a:lnTo>
                  <a:lnTo>
                    <a:pt x="14930" y="1446"/>
                  </a:lnTo>
                  <a:lnTo>
                    <a:pt x="14785" y="129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59" name="i$ḻiďe">
              <a:extLst>
                <a:ext uri="{FF2B5EF4-FFF2-40B4-BE49-F238E27FC236}">
                  <a16:creationId xmlns:a16="http://schemas.microsoft.com/office/drawing/2014/main" id="{B7079F0B-93B8-4749-A49D-9F99A68550BB}"/>
                </a:ext>
              </a:extLst>
            </p:cNvPr>
            <p:cNvSpPr/>
            <p:nvPr/>
          </p:nvSpPr>
          <p:spPr bwMode="auto">
            <a:xfrm>
              <a:off x="5473424" y="45036"/>
              <a:ext cx="265624" cy="385553"/>
            </a:xfrm>
            <a:custGeom>
              <a:avLst/>
              <a:gdLst>
                <a:gd name="T0" fmla="*/ 2887 w 11063"/>
                <a:gd name="T1" fmla="*/ 9929 h 16058"/>
                <a:gd name="T2" fmla="*/ 2451 w 11063"/>
                <a:gd name="T3" fmla="*/ 9123 h 16058"/>
                <a:gd name="T4" fmla="*/ 1855 w 11063"/>
                <a:gd name="T5" fmla="*/ 8041 h 16058"/>
                <a:gd name="T6" fmla="*/ 1427 w 11063"/>
                <a:gd name="T7" fmla="*/ 7165 h 16058"/>
                <a:gd name="T8" fmla="*/ 1122 w 11063"/>
                <a:gd name="T9" fmla="*/ 6318 h 16058"/>
                <a:gd name="T10" fmla="*/ 1006 w 11063"/>
                <a:gd name="T11" fmla="*/ 5520 h 16058"/>
                <a:gd name="T12" fmla="*/ 1362 w 11063"/>
                <a:gd name="T13" fmla="*/ 3764 h 16058"/>
                <a:gd name="T14" fmla="*/ 2332 w 11063"/>
                <a:gd name="T15" fmla="*/ 2327 h 16058"/>
                <a:gd name="T16" fmla="*/ 3771 w 11063"/>
                <a:gd name="T17" fmla="*/ 1359 h 16058"/>
                <a:gd name="T18" fmla="*/ 5532 w 11063"/>
                <a:gd name="T19" fmla="*/ 1004 h 16058"/>
                <a:gd name="T20" fmla="*/ 7292 w 11063"/>
                <a:gd name="T21" fmla="*/ 1359 h 16058"/>
                <a:gd name="T22" fmla="*/ 8731 w 11063"/>
                <a:gd name="T23" fmla="*/ 2327 h 16058"/>
                <a:gd name="T24" fmla="*/ 9701 w 11063"/>
                <a:gd name="T25" fmla="*/ 3764 h 16058"/>
                <a:gd name="T26" fmla="*/ 10057 w 11063"/>
                <a:gd name="T27" fmla="*/ 5520 h 16058"/>
                <a:gd name="T28" fmla="*/ 9941 w 11063"/>
                <a:gd name="T29" fmla="*/ 6314 h 16058"/>
                <a:gd name="T30" fmla="*/ 9636 w 11063"/>
                <a:gd name="T31" fmla="*/ 7163 h 16058"/>
                <a:gd name="T32" fmla="*/ 9207 w 11063"/>
                <a:gd name="T33" fmla="*/ 8042 h 16058"/>
                <a:gd name="T34" fmla="*/ 8612 w 11063"/>
                <a:gd name="T35" fmla="*/ 9129 h 16058"/>
                <a:gd name="T36" fmla="*/ 8179 w 11063"/>
                <a:gd name="T37" fmla="*/ 9932 h 16058"/>
                <a:gd name="T38" fmla="*/ 5484 w 11063"/>
                <a:gd name="T39" fmla="*/ 15054 h 16058"/>
                <a:gd name="T40" fmla="*/ 5160 w 11063"/>
                <a:gd name="T41" fmla="*/ 15030 h 16058"/>
                <a:gd name="T42" fmla="*/ 4907 w 11063"/>
                <a:gd name="T43" fmla="*/ 14937 h 16058"/>
                <a:gd name="T44" fmla="*/ 4698 w 11063"/>
                <a:gd name="T45" fmla="*/ 14732 h 16058"/>
                <a:gd name="T46" fmla="*/ 6658 w 11063"/>
                <a:gd name="T47" fmla="*/ 14161 h 16058"/>
                <a:gd name="T48" fmla="*/ 6436 w 11063"/>
                <a:gd name="T49" fmla="*/ 14651 h 16058"/>
                <a:gd name="T50" fmla="*/ 6202 w 11063"/>
                <a:gd name="T51" fmla="*/ 14919 h 16058"/>
                <a:gd name="T52" fmla="*/ 5915 w 11063"/>
                <a:gd name="T53" fmla="*/ 15031 h 16058"/>
                <a:gd name="T54" fmla="*/ 5532 w 11063"/>
                <a:gd name="T55" fmla="*/ 15054 h 16058"/>
                <a:gd name="T56" fmla="*/ 3763 w 11063"/>
                <a:gd name="T57" fmla="*/ 12094 h 16058"/>
                <a:gd name="T58" fmla="*/ 3603 w 11063"/>
                <a:gd name="T59" fmla="*/ 11605 h 16058"/>
                <a:gd name="T60" fmla="*/ 7351 w 11063"/>
                <a:gd name="T61" fmla="*/ 11943 h 16058"/>
                <a:gd name="T62" fmla="*/ 4290 w 11063"/>
                <a:gd name="T63" fmla="*/ 13799 h 16058"/>
                <a:gd name="T64" fmla="*/ 4145 w 11063"/>
                <a:gd name="T65" fmla="*/ 13340 h 16058"/>
                <a:gd name="T66" fmla="*/ 7149 w 11063"/>
                <a:gd name="T67" fmla="*/ 12594 h 16058"/>
                <a:gd name="T68" fmla="*/ 7016 w 11063"/>
                <a:gd name="T69" fmla="*/ 13038 h 16058"/>
                <a:gd name="T70" fmla="*/ 6835 w 11063"/>
                <a:gd name="T71" fmla="*/ 13637 h 16058"/>
                <a:gd name="T72" fmla="*/ 3630 w 11063"/>
                <a:gd name="T73" fmla="*/ 335 h 16058"/>
                <a:gd name="T74" fmla="*/ 1812 w 11063"/>
                <a:gd name="T75" fmla="*/ 1434 h 16058"/>
                <a:gd name="T76" fmla="*/ 545 w 11063"/>
                <a:gd name="T77" fmla="*/ 3127 h 16058"/>
                <a:gd name="T78" fmla="*/ 7 w 11063"/>
                <a:gd name="T79" fmla="*/ 5236 h 16058"/>
                <a:gd name="T80" fmla="*/ 234 w 11063"/>
                <a:gd name="T81" fmla="*/ 6861 h 16058"/>
                <a:gd name="T82" fmla="*/ 910 w 11063"/>
                <a:gd name="T83" fmla="*/ 8405 h 16058"/>
                <a:gd name="T84" fmla="*/ 1748 w 11063"/>
                <a:gd name="T85" fmla="*/ 9927 h 16058"/>
                <a:gd name="T86" fmla="*/ 2463 w 11063"/>
                <a:gd name="T87" fmla="*/ 11392 h 16058"/>
                <a:gd name="T88" fmla="*/ 3065 w 11063"/>
                <a:gd name="T89" fmla="*/ 13245 h 16058"/>
                <a:gd name="T90" fmla="*/ 3552 w 11063"/>
                <a:gd name="T91" fmla="*/ 14718 h 16058"/>
                <a:gd name="T92" fmla="*/ 4207 w 11063"/>
                <a:gd name="T93" fmla="*/ 15672 h 16058"/>
                <a:gd name="T94" fmla="*/ 5340 w 11063"/>
                <a:gd name="T95" fmla="*/ 16053 h 16058"/>
                <a:gd name="T96" fmla="*/ 6643 w 11063"/>
                <a:gd name="T97" fmla="*/ 15823 h 16058"/>
                <a:gd name="T98" fmla="*/ 7387 w 11063"/>
                <a:gd name="T99" fmla="*/ 15011 h 16058"/>
                <a:gd name="T100" fmla="*/ 7880 w 11063"/>
                <a:gd name="T101" fmla="*/ 13666 h 16058"/>
                <a:gd name="T102" fmla="*/ 8442 w 11063"/>
                <a:gd name="T103" fmla="*/ 11841 h 16058"/>
                <a:gd name="T104" fmla="*/ 9115 w 11063"/>
                <a:gd name="T105" fmla="*/ 10307 h 16058"/>
                <a:gd name="T106" fmla="*/ 9949 w 11063"/>
                <a:gd name="T107" fmla="*/ 8788 h 16058"/>
                <a:gd name="T108" fmla="*/ 10691 w 11063"/>
                <a:gd name="T109" fmla="*/ 7241 h 16058"/>
                <a:gd name="T110" fmla="*/ 11058 w 11063"/>
                <a:gd name="T111" fmla="*/ 5709 h 16058"/>
                <a:gd name="T112" fmla="*/ 10727 w 11063"/>
                <a:gd name="T113" fmla="*/ 3622 h 16058"/>
                <a:gd name="T114" fmla="*/ 9626 w 11063"/>
                <a:gd name="T115" fmla="*/ 1809 h 16058"/>
                <a:gd name="T116" fmla="*/ 7929 w 11063"/>
                <a:gd name="T117" fmla="*/ 544 h 16058"/>
                <a:gd name="T118" fmla="*/ 5816 w 11063"/>
                <a:gd name="T119" fmla="*/ 7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063" h="16058">
                  <a:moveTo>
                    <a:pt x="7881" y="10538"/>
                  </a:moveTo>
                  <a:lnTo>
                    <a:pt x="3187" y="10538"/>
                  </a:lnTo>
                  <a:lnTo>
                    <a:pt x="3140" y="10437"/>
                  </a:lnTo>
                  <a:lnTo>
                    <a:pt x="3092" y="10335"/>
                  </a:lnTo>
                  <a:lnTo>
                    <a:pt x="3041" y="10234"/>
                  </a:lnTo>
                  <a:lnTo>
                    <a:pt x="2991" y="10132"/>
                  </a:lnTo>
                  <a:lnTo>
                    <a:pt x="2940" y="10030"/>
                  </a:lnTo>
                  <a:lnTo>
                    <a:pt x="2887" y="9929"/>
                  </a:lnTo>
                  <a:lnTo>
                    <a:pt x="2835" y="9827"/>
                  </a:lnTo>
                  <a:lnTo>
                    <a:pt x="2781" y="9727"/>
                  </a:lnTo>
                  <a:lnTo>
                    <a:pt x="2728" y="9626"/>
                  </a:lnTo>
                  <a:lnTo>
                    <a:pt x="2672" y="9524"/>
                  </a:lnTo>
                  <a:lnTo>
                    <a:pt x="2618" y="9424"/>
                  </a:lnTo>
                  <a:lnTo>
                    <a:pt x="2563" y="9324"/>
                  </a:lnTo>
                  <a:lnTo>
                    <a:pt x="2507" y="9223"/>
                  </a:lnTo>
                  <a:lnTo>
                    <a:pt x="2451" y="9123"/>
                  </a:lnTo>
                  <a:lnTo>
                    <a:pt x="2396" y="9024"/>
                  </a:lnTo>
                  <a:lnTo>
                    <a:pt x="2340" y="8924"/>
                  </a:lnTo>
                  <a:lnTo>
                    <a:pt x="2217" y="8703"/>
                  </a:lnTo>
                  <a:lnTo>
                    <a:pt x="2094" y="8483"/>
                  </a:lnTo>
                  <a:lnTo>
                    <a:pt x="2034" y="8372"/>
                  </a:lnTo>
                  <a:lnTo>
                    <a:pt x="1973" y="8262"/>
                  </a:lnTo>
                  <a:lnTo>
                    <a:pt x="1914" y="8151"/>
                  </a:lnTo>
                  <a:lnTo>
                    <a:pt x="1855" y="8041"/>
                  </a:lnTo>
                  <a:lnTo>
                    <a:pt x="1796" y="7931"/>
                  </a:lnTo>
                  <a:lnTo>
                    <a:pt x="1740" y="7820"/>
                  </a:lnTo>
                  <a:lnTo>
                    <a:pt x="1684" y="7711"/>
                  </a:lnTo>
                  <a:lnTo>
                    <a:pt x="1629" y="7600"/>
                  </a:lnTo>
                  <a:lnTo>
                    <a:pt x="1576" y="7491"/>
                  </a:lnTo>
                  <a:lnTo>
                    <a:pt x="1525" y="7383"/>
                  </a:lnTo>
                  <a:lnTo>
                    <a:pt x="1475" y="7273"/>
                  </a:lnTo>
                  <a:lnTo>
                    <a:pt x="1427" y="7165"/>
                  </a:lnTo>
                  <a:lnTo>
                    <a:pt x="1381" y="7057"/>
                  </a:lnTo>
                  <a:lnTo>
                    <a:pt x="1337" y="6950"/>
                  </a:lnTo>
                  <a:lnTo>
                    <a:pt x="1294" y="6843"/>
                  </a:lnTo>
                  <a:lnTo>
                    <a:pt x="1255" y="6736"/>
                  </a:lnTo>
                  <a:lnTo>
                    <a:pt x="1218" y="6631"/>
                  </a:lnTo>
                  <a:lnTo>
                    <a:pt x="1183" y="6526"/>
                  </a:lnTo>
                  <a:lnTo>
                    <a:pt x="1151" y="6421"/>
                  </a:lnTo>
                  <a:lnTo>
                    <a:pt x="1122" y="6318"/>
                  </a:lnTo>
                  <a:lnTo>
                    <a:pt x="1095" y="6214"/>
                  </a:lnTo>
                  <a:lnTo>
                    <a:pt x="1072" y="6112"/>
                  </a:lnTo>
                  <a:lnTo>
                    <a:pt x="1053" y="6012"/>
                  </a:lnTo>
                  <a:lnTo>
                    <a:pt x="1036" y="5911"/>
                  </a:lnTo>
                  <a:lnTo>
                    <a:pt x="1023" y="5812"/>
                  </a:lnTo>
                  <a:lnTo>
                    <a:pt x="1014" y="5714"/>
                  </a:lnTo>
                  <a:lnTo>
                    <a:pt x="1008" y="5616"/>
                  </a:lnTo>
                  <a:lnTo>
                    <a:pt x="1006" y="5520"/>
                  </a:lnTo>
                  <a:lnTo>
                    <a:pt x="1012" y="5288"/>
                  </a:lnTo>
                  <a:lnTo>
                    <a:pt x="1029" y="5059"/>
                  </a:lnTo>
                  <a:lnTo>
                    <a:pt x="1058" y="4833"/>
                  </a:lnTo>
                  <a:lnTo>
                    <a:pt x="1098" y="4611"/>
                  </a:lnTo>
                  <a:lnTo>
                    <a:pt x="1149" y="4393"/>
                  </a:lnTo>
                  <a:lnTo>
                    <a:pt x="1210" y="4178"/>
                  </a:lnTo>
                  <a:lnTo>
                    <a:pt x="1280" y="3968"/>
                  </a:lnTo>
                  <a:lnTo>
                    <a:pt x="1362" y="3764"/>
                  </a:lnTo>
                  <a:lnTo>
                    <a:pt x="1452" y="3564"/>
                  </a:lnTo>
                  <a:lnTo>
                    <a:pt x="1553" y="3369"/>
                  </a:lnTo>
                  <a:lnTo>
                    <a:pt x="1661" y="3179"/>
                  </a:lnTo>
                  <a:lnTo>
                    <a:pt x="1779" y="2997"/>
                  </a:lnTo>
                  <a:lnTo>
                    <a:pt x="1906" y="2819"/>
                  </a:lnTo>
                  <a:lnTo>
                    <a:pt x="2041" y="2649"/>
                  </a:lnTo>
                  <a:lnTo>
                    <a:pt x="2182" y="2485"/>
                  </a:lnTo>
                  <a:lnTo>
                    <a:pt x="2332" y="2327"/>
                  </a:lnTo>
                  <a:lnTo>
                    <a:pt x="2490" y="2178"/>
                  </a:lnTo>
                  <a:lnTo>
                    <a:pt x="2654" y="2036"/>
                  </a:lnTo>
                  <a:lnTo>
                    <a:pt x="2825" y="1902"/>
                  </a:lnTo>
                  <a:lnTo>
                    <a:pt x="3003" y="1776"/>
                  </a:lnTo>
                  <a:lnTo>
                    <a:pt x="3186" y="1658"/>
                  </a:lnTo>
                  <a:lnTo>
                    <a:pt x="3376" y="1550"/>
                  </a:lnTo>
                  <a:lnTo>
                    <a:pt x="3571" y="1449"/>
                  </a:lnTo>
                  <a:lnTo>
                    <a:pt x="3771" y="1359"/>
                  </a:lnTo>
                  <a:lnTo>
                    <a:pt x="3977" y="1279"/>
                  </a:lnTo>
                  <a:lnTo>
                    <a:pt x="4187" y="1207"/>
                  </a:lnTo>
                  <a:lnTo>
                    <a:pt x="4402" y="1146"/>
                  </a:lnTo>
                  <a:lnTo>
                    <a:pt x="4620" y="1096"/>
                  </a:lnTo>
                  <a:lnTo>
                    <a:pt x="4843" y="1056"/>
                  </a:lnTo>
                  <a:lnTo>
                    <a:pt x="5069" y="1027"/>
                  </a:lnTo>
                  <a:lnTo>
                    <a:pt x="5299" y="1010"/>
                  </a:lnTo>
                  <a:lnTo>
                    <a:pt x="5532" y="1004"/>
                  </a:lnTo>
                  <a:lnTo>
                    <a:pt x="5764" y="1010"/>
                  </a:lnTo>
                  <a:lnTo>
                    <a:pt x="5993" y="1027"/>
                  </a:lnTo>
                  <a:lnTo>
                    <a:pt x="6219" y="1056"/>
                  </a:lnTo>
                  <a:lnTo>
                    <a:pt x="6443" y="1096"/>
                  </a:lnTo>
                  <a:lnTo>
                    <a:pt x="6661" y="1146"/>
                  </a:lnTo>
                  <a:lnTo>
                    <a:pt x="6876" y="1207"/>
                  </a:lnTo>
                  <a:lnTo>
                    <a:pt x="7086" y="1279"/>
                  </a:lnTo>
                  <a:lnTo>
                    <a:pt x="7292" y="1359"/>
                  </a:lnTo>
                  <a:lnTo>
                    <a:pt x="7492" y="1449"/>
                  </a:lnTo>
                  <a:lnTo>
                    <a:pt x="7687" y="1550"/>
                  </a:lnTo>
                  <a:lnTo>
                    <a:pt x="7877" y="1658"/>
                  </a:lnTo>
                  <a:lnTo>
                    <a:pt x="8060" y="1776"/>
                  </a:lnTo>
                  <a:lnTo>
                    <a:pt x="8238" y="1902"/>
                  </a:lnTo>
                  <a:lnTo>
                    <a:pt x="8409" y="2036"/>
                  </a:lnTo>
                  <a:lnTo>
                    <a:pt x="8573" y="2178"/>
                  </a:lnTo>
                  <a:lnTo>
                    <a:pt x="8731" y="2327"/>
                  </a:lnTo>
                  <a:lnTo>
                    <a:pt x="8881" y="2485"/>
                  </a:lnTo>
                  <a:lnTo>
                    <a:pt x="9022" y="2649"/>
                  </a:lnTo>
                  <a:lnTo>
                    <a:pt x="9157" y="2819"/>
                  </a:lnTo>
                  <a:lnTo>
                    <a:pt x="9283" y="2997"/>
                  </a:lnTo>
                  <a:lnTo>
                    <a:pt x="9402" y="3179"/>
                  </a:lnTo>
                  <a:lnTo>
                    <a:pt x="9510" y="3369"/>
                  </a:lnTo>
                  <a:lnTo>
                    <a:pt x="9611" y="3564"/>
                  </a:lnTo>
                  <a:lnTo>
                    <a:pt x="9701" y="3764"/>
                  </a:lnTo>
                  <a:lnTo>
                    <a:pt x="9783" y="3968"/>
                  </a:lnTo>
                  <a:lnTo>
                    <a:pt x="9853" y="4178"/>
                  </a:lnTo>
                  <a:lnTo>
                    <a:pt x="9914" y="4393"/>
                  </a:lnTo>
                  <a:lnTo>
                    <a:pt x="9965" y="4611"/>
                  </a:lnTo>
                  <a:lnTo>
                    <a:pt x="10005" y="4833"/>
                  </a:lnTo>
                  <a:lnTo>
                    <a:pt x="10034" y="5059"/>
                  </a:lnTo>
                  <a:lnTo>
                    <a:pt x="10051" y="5288"/>
                  </a:lnTo>
                  <a:lnTo>
                    <a:pt x="10057" y="5520"/>
                  </a:lnTo>
                  <a:lnTo>
                    <a:pt x="10055" y="5615"/>
                  </a:lnTo>
                  <a:lnTo>
                    <a:pt x="10049" y="5713"/>
                  </a:lnTo>
                  <a:lnTo>
                    <a:pt x="10040" y="5810"/>
                  </a:lnTo>
                  <a:lnTo>
                    <a:pt x="10027" y="5908"/>
                  </a:lnTo>
                  <a:lnTo>
                    <a:pt x="10010" y="6009"/>
                  </a:lnTo>
                  <a:lnTo>
                    <a:pt x="9990" y="6110"/>
                  </a:lnTo>
                  <a:lnTo>
                    <a:pt x="9967" y="6211"/>
                  </a:lnTo>
                  <a:lnTo>
                    <a:pt x="9941" y="6314"/>
                  </a:lnTo>
                  <a:lnTo>
                    <a:pt x="9911" y="6418"/>
                  </a:lnTo>
                  <a:lnTo>
                    <a:pt x="9880" y="6523"/>
                  </a:lnTo>
                  <a:lnTo>
                    <a:pt x="9845" y="6627"/>
                  </a:lnTo>
                  <a:lnTo>
                    <a:pt x="9808" y="6733"/>
                  </a:lnTo>
                  <a:lnTo>
                    <a:pt x="9769" y="6840"/>
                  </a:lnTo>
                  <a:lnTo>
                    <a:pt x="9726" y="6947"/>
                  </a:lnTo>
                  <a:lnTo>
                    <a:pt x="9682" y="7054"/>
                  </a:lnTo>
                  <a:lnTo>
                    <a:pt x="9636" y="7163"/>
                  </a:lnTo>
                  <a:lnTo>
                    <a:pt x="9588" y="7271"/>
                  </a:lnTo>
                  <a:lnTo>
                    <a:pt x="9538" y="7381"/>
                  </a:lnTo>
                  <a:lnTo>
                    <a:pt x="9486" y="7490"/>
                  </a:lnTo>
                  <a:lnTo>
                    <a:pt x="9433" y="7599"/>
                  </a:lnTo>
                  <a:lnTo>
                    <a:pt x="9378" y="7710"/>
                  </a:lnTo>
                  <a:lnTo>
                    <a:pt x="9323" y="7820"/>
                  </a:lnTo>
                  <a:lnTo>
                    <a:pt x="9266" y="7932"/>
                  </a:lnTo>
                  <a:lnTo>
                    <a:pt x="9207" y="8042"/>
                  </a:lnTo>
                  <a:lnTo>
                    <a:pt x="9149" y="8153"/>
                  </a:lnTo>
                  <a:lnTo>
                    <a:pt x="9089" y="8264"/>
                  </a:lnTo>
                  <a:lnTo>
                    <a:pt x="9028" y="8375"/>
                  </a:lnTo>
                  <a:lnTo>
                    <a:pt x="8968" y="8487"/>
                  </a:lnTo>
                  <a:lnTo>
                    <a:pt x="8845" y="8708"/>
                  </a:lnTo>
                  <a:lnTo>
                    <a:pt x="8722" y="8930"/>
                  </a:lnTo>
                  <a:lnTo>
                    <a:pt x="8667" y="9029"/>
                  </a:lnTo>
                  <a:lnTo>
                    <a:pt x="8612" y="9129"/>
                  </a:lnTo>
                  <a:lnTo>
                    <a:pt x="8557" y="9228"/>
                  </a:lnTo>
                  <a:lnTo>
                    <a:pt x="8501" y="9329"/>
                  </a:lnTo>
                  <a:lnTo>
                    <a:pt x="8447" y="9429"/>
                  </a:lnTo>
                  <a:lnTo>
                    <a:pt x="8392" y="9529"/>
                  </a:lnTo>
                  <a:lnTo>
                    <a:pt x="8338" y="9630"/>
                  </a:lnTo>
                  <a:lnTo>
                    <a:pt x="8284" y="9730"/>
                  </a:lnTo>
                  <a:lnTo>
                    <a:pt x="8231" y="9831"/>
                  </a:lnTo>
                  <a:lnTo>
                    <a:pt x="8179" y="9932"/>
                  </a:lnTo>
                  <a:lnTo>
                    <a:pt x="8127" y="10033"/>
                  </a:lnTo>
                  <a:lnTo>
                    <a:pt x="8076" y="10134"/>
                  </a:lnTo>
                  <a:lnTo>
                    <a:pt x="8026" y="10235"/>
                  </a:lnTo>
                  <a:lnTo>
                    <a:pt x="7976" y="10336"/>
                  </a:lnTo>
                  <a:lnTo>
                    <a:pt x="7928" y="10437"/>
                  </a:lnTo>
                  <a:lnTo>
                    <a:pt x="7881" y="10538"/>
                  </a:lnTo>
                  <a:close/>
                  <a:moveTo>
                    <a:pt x="5532" y="15054"/>
                  </a:moveTo>
                  <a:lnTo>
                    <a:pt x="5484" y="15054"/>
                  </a:lnTo>
                  <a:lnTo>
                    <a:pt x="5439" y="15053"/>
                  </a:lnTo>
                  <a:lnTo>
                    <a:pt x="5395" y="15052"/>
                  </a:lnTo>
                  <a:lnTo>
                    <a:pt x="5352" y="15050"/>
                  </a:lnTo>
                  <a:lnTo>
                    <a:pt x="5311" y="15048"/>
                  </a:lnTo>
                  <a:lnTo>
                    <a:pt x="5272" y="15045"/>
                  </a:lnTo>
                  <a:lnTo>
                    <a:pt x="5234" y="15041"/>
                  </a:lnTo>
                  <a:lnTo>
                    <a:pt x="5197" y="15036"/>
                  </a:lnTo>
                  <a:lnTo>
                    <a:pt x="5160" y="15030"/>
                  </a:lnTo>
                  <a:lnTo>
                    <a:pt x="5125" y="15023"/>
                  </a:lnTo>
                  <a:lnTo>
                    <a:pt x="5091" y="15015"/>
                  </a:lnTo>
                  <a:lnTo>
                    <a:pt x="5059" y="15006"/>
                  </a:lnTo>
                  <a:lnTo>
                    <a:pt x="5027" y="14995"/>
                  </a:lnTo>
                  <a:lnTo>
                    <a:pt x="4995" y="14983"/>
                  </a:lnTo>
                  <a:lnTo>
                    <a:pt x="4965" y="14969"/>
                  </a:lnTo>
                  <a:lnTo>
                    <a:pt x="4936" y="14954"/>
                  </a:lnTo>
                  <a:lnTo>
                    <a:pt x="4907" y="14937"/>
                  </a:lnTo>
                  <a:lnTo>
                    <a:pt x="4880" y="14919"/>
                  </a:lnTo>
                  <a:lnTo>
                    <a:pt x="4852" y="14898"/>
                  </a:lnTo>
                  <a:lnTo>
                    <a:pt x="4825" y="14876"/>
                  </a:lnTo>
                  <a:lnTo>
                    <a:pt x="4799" y="14852"/>
                  </a:lnTo>
                  <a:lnTo>
                    <a:pt x="4773" y="14825"/>
                  </a:lnTo>
                  <a:lnTo>
                    <a:pt x="4748" y="14796"/>
                  </a:lnTo>
                  <a:lnTo>
                    <a:pt x="4723" y="14765"/>
                  </a:lnTo>
                  <a:lnTo>
                    <a:pt x="4698" y="14732"/>
                  </a:lnTo>
                  <a:lnTo>
                    <a:pt x="4673" y="14696"/>
                  </a:lnTo>
                  <a:lnTo>
                    <a:pt x="4648" y="14658"/>
                  </a:lnTo>
                  <a:lnTo>
                    <a:pt x="4624" y="14618"/>
                  </a:lnTo>
                  <a:lnTo>
                    <a:pt x="4600" y="14574"/>
                  </a:lnTo>
                  <a:lnTo>
                    <a:pt x="4576" y="14527"/>
                  </a:lnTo>
                  <a:lnTo>
                    <a:pt x="4552" y="14479"/>
                  </a:lnTo>
                  <a:lnTo>
                    <a:pt x="4527" y="14427"/>
                  </a:lnTo>
                  <a:lnTo>
                    <a:pt x="6658" y="14161"/>
                  </a:lnTo>
                  <a:lnTo>
                    <a:pt x="6630" y="14236"/>
                  </a:lnTo>
                  <a:lnTo>
                    <a:pt x="6602" y="14308"/>
                  </a:lnTo>
                  <a:lnTo>
                    <a:pt x="6573" y="14375"/>
                  </a:lnTo>
                  <a:lnTo>
                    <a:pt x="6546" y="14438"/>
                  </a:lnTo>
                  <a:lnTo>
                    <a:pt x="6518" y="14496"/>
                  </a:lnTo>
                  <a:lnTo>
                    <a:pt x="6491" y="14552"/>
                  </a:lnTo>
                  <a:lnTo>
                    <a:pt x="6464" y="14603"/>
                  </a:lnTo>
                  <a:lnTo>
                    <a:pt x="6436" y="14651"/>
                  </a:lnTo>
                  <a:lnTo>
                    <a:pt x="6408" y="14695"/>
                  </a:lnTo>
                  <a:lnTo>
                    <a:pt x="6380" y="14736"/>
                  </a:lnTo>
                  <a:lnTo>
                    <a:pt x="6352" y="14773"/>
                  </a:lnTo>
                  <a:lnTo>
                    <a:pt x="6323" y="14808"/>
                  </a:lnTo>
                  <a:lnTo>
                    <a:pt x="6294" y="14841"/>
                  </a:lnTo>
                  <a:lnTo>
                    <a:pt x="6264" y="14869"/>
                  </a:lnTo>
                  <a:lnTo>
                    <a:pt x="6233" y="14895"/>
                  </a:lnTo>
                  <a:lnTo>
                    <a:pt x="6202" y="14919"/>
                  </a:lnTo>
                  <a:lnTo>
                    <a:pt x="6170" y="14940"/>
                  </a:lnTo>
                  <a:lnTo>
                    <a:pt x="6137" y="14959"/>
                  </a:lnTo>
                  <a:lnTo>
                    <a:pt x="6103" y="14976"/>
                  </a:lnTo>
                  <a:lnTo>
                    <a:pt x="6068" y="14990"/>
                  </a:lnTo>
                  <a:lnTo>
                    <a:pt x="6031" y="15003"/>
                  </a:lnTo>
                  <a:lnTo>
                    <a:pt x="5994" y="15014"/>
                  </a:lnTo>
                  <a:lnTo>
                    <a:pt x="5955" y="15023"/>
                  </a:lnTo>
                  <a:lnTo>
                    <a:pt x="5915" y="15031"/>
                  </a:lnTo>
                  <a:lnTo>
                    <a:pt x="5873" y="15038"/>
                  </a:lnTo>
                  <a:lnTo>
                    <a:pt x="5829" y="15043"/>
                  </a:lnTo>
                  <a:lnTo>
                    <a:pt x="5785" y="15047"/>
                  </a:lnTo>
                  <a:lnTo>
                    <a:pt x="5738" y="15050"/>
                  </a:lnTo>
                  <a:lnTo>
                    <a:pt x="5689" y="15052"/>
                  </a:lnTo>
                  <a:lnTo>
                    <a:pt x="5638" y="15053"/>
                  </a:lnTo>
                  <a:lnTo>
                    <a:pt x="5586" y="15054"/>
                  </a:lnTo>
                  <a:lnTo>
                    <a:pt x="5532" y="15054"/>
                  </a:lnTo>
                  <a:close/>
                  <a:moveTo>
                    <a:pt x="3890" y="12499"/>
                  </a:moveTo>
                  <a:lnTo>
                    <a:pt x="3873" y="12442"/>
                  </a:lnTo>
                  <a:lnTo>
                    <a:pt x="3855" y="12386"/>
                  </a:lnTo>
                  <a:lnTo>
                    <a:pt x="3838" y="12328"/>
                  </a:lnTo>
                  <a:lnTo>
                    <a:pt x="3820" y="12269"/>
                  </a:lnTo>
                  <a:lnTo>
                    <a:pt x="3802" y="12211"/>
                  </a:lnTo>
                  <a:lnTo>
                    <a:pt x="3783" y="12153"/>
                  </a:lnTo>
                  <a:lnTo>
                    <a:pt x="3763" y="12094"/>
                  </a:lnTo>
                  <a:lnTo>
                    <a:pt x="3744" y="12033"/>
                  </a:lnTo>
                  <a:lnTo>
                    <a:pt x="3725" y="11974"/>
                  </a:lnTo>
                  <a:lnTo>
                    <a:pt x="3705" y="11913"/>
                  </a:lnTo>
                  <a:lnTo>
                    <a:pt x="3685" y="11853"/>
                  </a:lnTo>
                  <a:lnTo>
                    <a:pt x="3665" y="11792"/>
                  </a:lnTo>
                  <a:lnTo>
                    <a:pt x="3645" y="11729"/>
                  </a:lnTo>
                  <a:lnTo>
                    <a:pt x="3624" y="11667"/>
                  </a:lnTo>
                  <a:lnTo>
                    <a:pt x="3603" y="11605"/>
                  </a:lnTo>
                  <a:lnTo>
                    <a:pt x="3581" y="11542"/>
                  </a:lnTo>
                  <a:lnTo>
                    <a:pt x="7487" y="11542"/>
                  </a:lnTo>
                  <a:lnTo>
                    <a:pt x="7464" y="11609"/>
                  </a:lnTo>
                  <a:lnTo>
                    <a:pt x="7440" y="11677"/>
                  </a:lnTo>
                  <a:lnTo>
                    <a:pt x="7417" y="11744"/>
                  </a:lnTo>
                  <a:lnTo>
                    <a:pt x="7395" y="11811"/>
                  </a:lnTo>
                  <a:lnTo>
                    <a:pt x="7373" y="11878"/>
                  </a:lnTo>
                  <a:lnTo>
                    <a:pt x="7351" y="11943"/>
                  </a:lnTo>
                  <a:lnTo>
                    <a:pt x="7330" y="12008"/>
                  </a:lnTo>
                  <a:lnTo>
                    <a:pt x="7309" y="12074"/>
                  </a:lnTo>
                  <a:lnTo>
                    <a:pt x="3890" y="12499"/>
                  </a:lnTo>
                  <a:close/>
                  <a:moveTo>
                    <a:pt x="6835" y="13637"/>
                  </a:moveTo>
                  <a:lnTo>
                    <a:pt x="4342" y="13948"/>
                  </a:lnTo>
                  <a:lnTo>
                    <a:pt x="4325" y="13899"/>
                  </a:lnTo>
                  <a:lnTo>
                    <a:pt x="4309" y="13850"/>
                  </a:lnTo>
                  <a:lnTo>
                    <a:pt x="4290" y="13799"/>
                  </a:lnTo>
                  <a:lnTo>
                    <a:pt x="4273" y="13747"/>
                  </a:lnTo>
                  <a:lnTo>
                    <a:pt x="4256" y="13693"/>
                  </a:lnTo>
                  <a:lnTo>
                    <a:pt x="4238" y="13638"/>
                  </a:lnTo>
                  <a:lnTo>
                    <a:pt x="4220" y="13582"/>
                  </a:lnTo>
                  <a:lnTo>
                    <a:pt x="4202" y="13524"/>
                  </a:lnTo>
                  <a:lnTo>
                    <a:pt x="4183" y="13465"/>
                  </a:lnTo>
                  <a:lnTo>
                    <a:pt x="4164" y="13403"/>
                  </a:lnTo>
                  <a:lnTo>
                    <a:pt x="4145" y="13340"/>
                  </a:lnTo>
                  <a:lnTo>
                    <a:pt x="4124" y="13276"/>
                  </a:lnTo>
                  <a:lnTo>
                    <a:pt x="4104" y="13210"/>
                  </a:lnTo>
                  <a:lnTo>
                    <a:pt x="4083" y="13141"/>
                  </a:lnTo>
                  <a:lnTo>
                    <a:pt x="4062" y="13070"/>
                  </a:lnTo>
                  <a:lnTo>
                    <a:pt x="4041" y="12998"/>
                  </a:lnTo>
                  <a:lnTo>
                    <a:pt x="4038" y="12990"/>
                  </a:lnTo>
                  <a:lnTo>
                    <a:pt x="4036" y="12983"/>
                  </a:lnTo>
                  <a:lnTo>
                    <a:pt x="7149" y="12594"/>
                  </a:lnTo>
                  <a:lnTo>
                    <a:pt x="7132" y="12651"/>
                  </a:lnTo>
                  <a:lnTo>
                    <a:pt x="7116" y="12707"/>
                  </a:lnTo>
                  <a:lnTo>
                    <a:pt x="7098" y="12763"/>
                  </a:lnTo>
                  <a:lnTo>
                    <a:pt x="7081" y="12819"/>
                  </a:lnTo>
                  <a:lnTo>
                    <a:pt x="7064" y="12876"/>
                  </a:lnTo>
                  <a:lnTo>
                    <a:pt x="7047" y="12931"/>
                  </a:lnTo>
                  <a:lnTo>
                    <a:pt x="7031" y="12985"/>
                  </a:lnTo>
                  <a:lnTo>
                    <a:pt x="7016" y="13038"/>
                  </a:lnTo>
                  <a:lnTo>
                    <a:pt x="6992" y="13121"/>
                  </a:lnTo>
                  <a:lnTo>
                    <a:pt x="6968" y="13202"/>
                  </a:lnTo>
                  <a:lnTo>
                    <a:pt x="6945" y="13280"/>
                  </a:lnTo>
                  <a:lnTo>
                    <a:pt x="6921" y="13355"/>
                  </a:lnTo>
                  <a:lnTo>
                    <a:pt x="6899" y="13429"/>
                  </a:lnTo>
                  <a:lnTo>
                    <a:pt x="6878" y="13500"/>
                  </a:lnTo>
                  <a:lnTo>
                    <a:pt x="6856" y="13570"/>
                  </a:lnTo>
                  <a:lnTo>
                    <a:pt x="6835" y="13637"/>
                  </a:lnTo>
                  <a:close/>
                  <a:moveTo>
                    <a:pt x="5532" y="0"/>
                  </a:moveTo>
                  <a:lnTo>
                    <a:pt x="5247" y="7"/>
                  </a:lnTo>
                  <a:lnTo>
                    <a:pt x="4966" y="28"/>
                  </a:lnTo>
                  <a:lnTo>
                    <a:pt x="4689" y="63"/>
                  </a:lnTo>
                  <a:lnTo>
                    <a:pt x="4417" y="112"/>
                  </a:lnTo>
                  <a:lnTo>
                    <a:pt x="4149" y="174"/>
                  </a:lnTo>
                  <a:lnTo>
                    <a:pt x="3886" y="248"/>
                  </a:lnTo>
                  <a:lnTo>
                    <a:pt x="3630" y="335"/>
                  </a:lnTo>
                  <a:lnTo>
                    <a:pt x="3378" y="434"/>
                  </a:lnTo>
                  <a:lnTo>
                    <a:pt x="3133" y="544"/>
                  </a:lnTo>
                  <a:lnTo>
                    <a:pt x="2894" y="666"/>
                  </a:lnTo>
                  <a:lnTo>
                    <a:pt x="2663" y="799"/>
                  </a:lnTo>
                  <a:lnTo>
                    <a:pt x="2439" y="942"/>
                  </a:lnTo>
                  <a:lnTo>
                    <a:pt x="2222" y="1097"/>
                  </a:lnTo>
                  <a:lnTo>
                    <a:pt x="2013" y="1261"/>
                  </a:lnTo>
                  <a:lnTo>
                    <a:pt x="1812" y="1434"/>
                  </a:lnTo>
                  <a:lnTo>
                    <a:pt x="1620" y="1617"/>
                  </a:lnTo>
                  <a:lnTo>
                    <a:pt x="1437" y="1809"/>
                  </a:lnTo>
                  <a:lnTo>
                    <a:pt x="1263" y="2009"/>
                  </a:lnTo>
                  <a:lnTo>
                    <a:pt x="1099" y="2217"/>
                  </a:lnTo>
                  <a:lnTo>
                    <a:pt x="944" y="2434"/>
                  </a:lnTo>
                  <a:lnTo>
                    <a:pt x="801" y="2658"/>
                  </a:lnTo>
                  <a:lnTo>
                    <a:pt x="668" y="2888"/>
                  </a:lnTo>
                  <a:lnTo>
                    <a:pt x="545" y="3127"/>
                  </a:lnTo>
                  <a:lnTo>
                    <a:pt x="434" y="3371"/>
                  </a:lnTo>
                  <a:lnTo>
                    <a:pt x="336" y="3622"/>
                  </a:lnTo>
                  <a:lnTo>
                    <a:pt x="248" y="3879"/>
                  </a:lnTo>
                  <a:lnTo>
                    <a:pt x="174" y="4141"/>
                  </a:lnTo>
                  <a:lnTo>
                    <a:pt x="113" y="4408"/>
                  </a:lnTo>
                  <a:lnTo>
                    <a:pt x="63" y="4679"/>
                  </a:lnTo>
                  <a:lnTo>
                    <a:pt x="28" y="4956"/>
                  </a:lnTo>
                  <a:lnTo>
                    <a:pt x="7" y="5236"/>
                  </a:lnTo>
                  <a:lnTo>
                    <a:pt x="0" y="5520"/>
                  </a:lnTo>
                  <a:lnTo>
                    <a:pt x="5" y="5710"/>
                  </a:lnTo>
                  <a:lnTo>
                    <a:pt x="21" y="5900"/>
                  </a:lnTo>
                  <a:lnTo>
                    <a:pt x="46" y="6092"/>
                  </a:lnTo>
                  <a:lnTo>
                    <a:pt x="81" y="6284"/>
                  </a:lnTo>
                  <a:lnTo>
                    <a:pt x="125" y="6475"/>
                  </a:lnTo>
                  <a:lnTo>
                    <a:pt x="176" y="6668"/>
                  </a:lnTo>
                  <a:lnTo>
                    <a:pt x="234" y="6861"/>
                  </a:lnTo>
                  <a:lnTo>
                    <a:pt x="301" y="7053"/>
                  </a:lnTo>
                  <a:lnTo>
                    <a:pt x="373" y="7247"/>
                  </a:lnTo>
                  <a:lnTo>
                    <a:pt x="451" y="7440"/>
                  </a:lnTo>
                  <a:lnTo>
                    <a:pt x="534" y="7634"/>
                  </a:lnTo>
                  <a:lnTo>
                    <a:pt x="623" y="7826"/>
                  </a:lnTo>
                  <a:lnTo>
                    <a:pt x="715" y="8020"/>
                  </a:lnTo>
                  <a:lnTo>
                    <a:pt x="811" y="8213"/>
                  </a:lnTo>
                  <a:lnTo>
                    <a:pt x="910" y="8405"/>
                  </a:lnTo>
                  <a:lnTo>
                    <a:pt x="1012" y="8597"/>
                  </a:lnTo>
                  <a:lnTo>
                    <a:pt x="1115" y="8789"/>
                  </a:lnTo>
                  <a:lnTo>
                    <a:pt x="1221" y="8980"/>
                  </a:lnTo>
                  <a:lnTo>
                    <a:pt x="1327" y="9171"/>
                  </a:lnTo>
                  <a:lnTo>
                    <a:pt x="1433" y="9361"/>
                  </a:lnTo>
                  <a:lnTo>
                    <a:pt x="1539" y="9550"/>
                  </a:lnTo>
                  <a:lnTo>
                    <a:pt x="1644" y="9739"/>
                  </a:lnTo>
                  <a:lnTo>
                    <a:pt x="1748" y="9927"/>
                  </a:lnTo>
                  <a:lnTo>
                    <a:pt x="1850" y="10115"/>
                  </a:lnTo>
                  <a:lnTo>
                    <a:pt x="1949" y="10300"/>
                  </a:lnTo>
                  <a:lnTo>
                    <a:pt x="2046" y="10485"/>
                  </a:lnTo>
                  <a:lnTo>
                    <a:pt x="2138" y="10670"/>
                  </a:lnTo>
                  <a:lnTo>
                    <a:pt x="2228" y="10852"/>
                  </a:lnTo>
                  <a:lnTo>
                    <a:pt x="2311" y="11033"/>
                  </a:lnTo>
                  <a:lnTo>
                    <a:pt x="2391" y="11214"/>
                  </a:lnTo>
                  <a:lnTo>
                    <a:pt x="2463" y="11392"/>
                  </a:lnTo>
                  <a:lnTo>
                    <a:pt x="2529" y="11569"/>
                  </a:lnTo>
                  <a:lnTo>
                    <a:pt x="2621" y="11829"/>
                  </a:lnTo>
                  <a:lnTo>
                    <a:pt x="2706" y="12083"/>
                  </a:lnTo>
                  <a:lnTo>
                    <a:pt x="2787" y="12329"/>
                  </a:lnTo>
                  <a:lnTo>
                    <a:pt x="2861" y="12568"/>
                  </a:lnTo>
                  <a:lnTo>
                    <a:pt x="2933" y="12801"/>
                  </a:lnTo>
                  <a:lnTo>
                    <a:pt x="3000" y="13026"/>
                  </a:lnTo>
                  <a:lnTo>
                    <a:pt x="3065" y="13245"/>
                  </a:lnTo>
                  <a:lnTo>
                    <a:pt x="3128" y="13456"/>
                  </a:lnTo>
                  <a:lnTo>
                    <a:pt x="3188" y="13658"/>
                  </a:lnTo>
                  <a:lnTo>
                    <a:pt x="3248" y="13855"/>
                  </a:lnTo>
                  <a:lnTo>
                    <a:pt x="3308" y="14043"/>
                  </a:lnTo>
                  <a:lnTo>
                    <a:pt x="3367" y="14223"/>
                  </a:lnTo>
                  <a:lnTo>
                    <a:pt x="3428" y="14396"/>
                  </a:lnTo>
                  <a:lnTo>
                    <a:pt x="3489" y="14562"/>
                  </a:lnTo>
                  <a:lnTo>
                    <a:pt x="3552" y="14718"/>
                  </a:lnTo>
                  <a:lnTo>
                    <a:pt x="3619" y="14867"/>
                  </a:lnTo>
                  <a:lnTo>
                    <a:pt x="3688" y="15007"/>
                  </a:lnTo>
                  <a:lnTo>
                    <a:pt x="3761" y="15140"/>
                  </a:lnTo>
                  <a:lnTo>
                    <a:pt x="3839" y="15263"/>
                  </a:lnTo>
                  <a:lnTo>
                    <a:pt x="3922" y="15379"/>
                  </a:lnTo>
                  <a:lnTo>
                    <a:pt x="4011" y="15485"/>
                  </a:lnTo>
                  <a:lnTo>
                    <a:pt x="4105" y="15582"/>
                  </a:lnTo>
                  <a:lnTo>
                    <a:pt x="4207" y="15672"/>
                  </a:lnTo>
                  <a:lnTo>
                    <a:pt x="4316" y="15752"/>
                  </a:lnTo>
                  <a:lnTo>
                    <a:pt x="4433" y="15822"/>
                  </a:lnTo>
                  <a:lnTo>
                    <a:pt x="4559" y="15884"/>
                  </a:lnTo>
                  <a:lnTo>
                    <a:pt x="4694" y="15937"/>
                  </a:lnTo>
                  <a:lnTo>
                    <a:pt x="4840" y="15981"/>
                  </a:lnTo>
                  <a:lnTo>
                    <a:pt x="4995" y="16014"/>
                  </a:lnTo>
                  <a:lnTo>
                    <a:pt x="5161" y="16038"/>
                  </a:lnTo>
                  <a:lnTo>
                    <a:pt x="5340" y="16053"/>
                  </a:lnTo>
                  <a:lnTo>
                    <a:pt x="5532" y="16058"/>
                  </a:lnTo>
                  <a:lnTo>
                    <a:pt x="5726" y="16053"/>
                  </a:lnTo>
                  <a:lnTo>
                    <a:pt x="5907" y="16039"/>
                  </a:lnTo>
                  <a:lnTo>
                    <a:pt x="6076" y="16014"/>
                  </a:lnTo>
                  <a:lnTo>
                    <a:pt x="6232" y="15981"/>
                  </a:lnTo>
                  <a:lnTo>
                    <a:pt x="6379" y="15938"/>
                  </a:lnTo>
                  <a:lnTo>
                    <a:pt x="6516" y="15885"/>
                  </a:lnTo>
                  <a:lnTo>
                    <a:pt x="6643" y="15823"/>
                  </a:lnTo>
                  <a:lnTo>
                    <a:pt x="6760" y="15753"/>
                  </a:lnTo>
                  <a:lnTo>
                    <a:pt x="6870" y="15673"/>
                  </a:lnTo>
                  <a:lnTo>
                    <a:pt x="6972" y="15584"/>
                  </a:lnTo>
                  <a:lnTo>
                    <a:pt x="7066" y="15487"/>
                  </a:lnTo>
                  <a:lnTo>
                    <a:pt x="7155" y="15381"/>
                  </a:lnTo>
                  <a:lnTo>
                    <a:pt x="7237" y="15266"/>
                  </a:lnTo>
                  <a:lnTo>
                    <a:pt x="7315" y="15143"/>
                  </a:lnTo>
                  <a:lnTo>
                    <a:pt x="7387" y="15011"/>
                  </a:lnTo>
                  <a:lnTo>
                    <a:pt x="7455" y="14871"/>
                  </a:lnTo>
                  <a:lnTo>
                    <a:pt x="7521" y="14723"/>
                  </a:lnTo>
                  <a:lnTo>
                    <a:pt x="7584" y="14567"/>
                  </a:lnTo>
                  <a:lnTo>
                    <a:pt x="7645" y="14402"/>
                  </a:lnTo>
                  <a:lnTo>
                    <a:pt x="7704" y="14229"/>
                  </a:lnTo>
                  <a:lnTo>
                    <a:pt x="7762" y="14050"/>
                  </a:lnTo>
                  <a:lnTo>
                    <a:pt x="7821" y="13862"/>
                  </a:lnTo>
                  <a:lnTo>
                    <a:pt x="7880" y="13666"/>
                  </a:lnTo>
                  <a:lnTo>
                    <a:pt x="7939" y="13464"/>
                  </a:lnTo>
                  <a:lnTo>
                    <a:pt x="8002" y="13253"/>
                  </a:lnTo>
                  <a:lnTo>
                    <a:pt x="8065" y="13035"/>
                  </a:lnTo>
                  <a:lnTo>
                    <a:pt x="8132" y="12810"/>
                  </a:lnTo>
                  <a:lnTo>
                    <a:pt x="8203" y="12578"/>
                  </a:lnTo>
                  <a:lnTo>
                    <a:pt x="8277" y="12340"/>
                  </a:lnTo>
                  <a:lnTo>
                    <a:pt x="8357" y="12094"/>
                  </a:lnTo>
                  <a:lnTo>
                    <a:pt x="8442" y="11841"/>
                  </a:lnTo>
                  <a:lnTo>
                    <a:pt x="8534" y="11581"/>
                  </a:lnTo>
                  <a:lnTo>
                    <a:pt x="8600" y="11403"/>
                  </a:lnTo>
                  <a:lnTo>
                    <a:pt x="8673" y="11224"/>
                  </a:lnTo>
                  <a:lnTo>
                    <a:pt x="8752" y="11043"/>
                  </a:lnTo>
                  <a:lnTo>
                    <a:pt x="8836" y="10861"/>
                  </a:lnTo>
                  <a:lnTo>
                    <a:pt x="8926" y="10678"/>
                  </a:lnTo>
                  <a:lnTo>
                    <a:pt x="9018" y="10493"/>
                  </a:lnTo>
                  <a:lnTo>
                    <a:pt x="9115" y="10307"/>
                  </a:lnTo>
                  <a:lnTo>
                    <a:pt x="9214" y="10121"/>
                  </a:lnTo>
                  <a:lnTo>
                    <a:pt x="9316" y="9932"/>
                  </a:lnTo>
                  <a:lnTo>
                    <a:pt x="9421" y="9743"/>
                  </a:lnTo>
                  <a:lnTo>
                    <a:pt x="9525" y="9554"/>
                  </a:lnTo>
                  <a:lnTo>
                    <a:pt x="9632" y="9363"/>
                  </a:lnTo>
                  <a:lnTo>
                    <a:pt x="9737" y="9172"/>
                  </a:lnTo>
                  <a:lnTo>
                    <a:pt x="9844" y="8980"/>
                  </a:lnTo>
                  <a:lnTo>
                    <a:pt x="9949" y="8788"/>
                  </a:lnTo>
                  <a:lnTo>
                    <a:pt x="10052" y="8596"/>
                  </a:lnTo>
                  <a:lnTo>
                    <a:pt x="10154" y="8402"/>
                  </a:lnTo>
                  <a:lnTo>
                    <a:pt x="10253" y="8210"/>
                  </a:lnTo>
                  <a:lnTo>
                    <a:pt x="10349" y="8016"/>
                  </a:lnTo>
                  <a:lnTo>
                    <a:pt x="10441" y="7822"/>
                  </a:lnTo>
                  <a:lnTo>
                    <a:pt x="10529" y="7629"/>
                  </a:lnTo>
                  <a:lnTo>
                    <a:pt x="10612" y="7435"/>
                  </a:lnTo>
                  <a:lnTo>
                    <a:pt x="10691" y="7241"/>
                  </a:lnTo>
                  <a:lnTo>
                    <a:pt x="10763" y="7048"/>
                  </a:lnTo>
                  <a:lnTo>
                    <a:pt x="10829" y="6856"/>
                  </a:lnTo>
                  <a:lnTo>
                    <a:pt x="10888" y="6663"/>
                  </a:lnTo>
                  <a:lnTo>
                    <a:pt x="10939" y="6470"/>
                  </a:lnTo>
                  <a:lnTo>
                    <a:pt x="10983" y="6280"/>
                  </a:lnTo>
                  <a:lnTo>
                    <a:pt x="11017" y="6088"/>
                  </a:lnTo>
                  <a:lnTo>
                    <a:pt x="11042" y="5898"/>
                  </a:lnTo>
                  <a:lnTo>
                    <a:pt x="11058" y="5709"/>
                  </a:lnTo>
                  <a:lnTo>
                    <a:pt x="11063" y="5520"/>
                  </a:lnTo>
                  <a:lnTo>
                    <a:pt x="11056" y="5236"/>
                  </a:lnTo>
                  <a:lnTo>
                    <a:pt x="11035" y="4956"/>
                  </a:lnTo>
                  <a:lnTo>
                    <a:pt x="11000" y="4679"/>
                  </a:lnTo>
                  <a:lnTo>
                    <a:pt x="10950" y="4408"/>
                  </a:lnTo>
                  <a:lnTo>
                    <a:pt x="10889" y="4141"/>
                  </a:lnTo>
                  <a:lnTo>
                    <a:pt x="10815" y="3879"/>
                  </a:lnTo>
                  <a:lnTo>
                    <a:pt x="10727" y="3622"/>
                  </a:lnTo>
                  <a:lnTo>
                    <a:pt x="10629" y="3371"/>
                  </a:lnTo>
                  <a:lnTo>
                    <a:pt x="10518" y="3127"/>
                  </a:lnTo>
                  <a:lnTo>
                    <a:pt x="10395" y="2888"/>
                  </a:lnTo>
                  <a:lnTo>
                    <a:pt x="10262" y="2658"/>
                  </a:lnTo>
                  <a:lnTo>
                    <a:pt x="10119" y="2434"/>
                  </a:lnTo>
                  <a:lnTo>
                    <a:pt x="9964" y="2217"/>
                  </a:lnTo>
                  <a:lnTo>
                    <a:pt x="9800" y="2009"/>
                  </a:lnTo>
                  <a:lnTo>
                    <a:pt x="9626" y="1809"/>
                  </a:lnTo>
                  <a:lnTo>
                    <a:pt x="9443" y="1617"/>
                  </a:lnTo>
                  <a:lnTo>
                    <a:pt x="9251" y="1434"/>
                  </a:lnTo>
                  <a:lnTo>
                    <a:pt x="9050" y="1261"/>
                  </a:lnTo>
                  <a:lnTo>
                    <a:pt x="8841" y="1097"/>
                  </a:lnTo>
                  <a:lnTo>
                    <a:pt x="8624" y="942"/>
                  </a:lnTo>
                  <a:lnTo>
                    <a:pt x="8400" y="799"/>
                  </a:lnTo>
                  <a:lnTo>
                    <a:pt x="8169" y="666"/>
                  </a:lnTo>
                  <a:lnTo>
                    <a:pt x="7929" y="544"/>
                  </a:lnTo>
                  <a:lnTo>
                    <a:pt x="7685" y="434"/>
                  </a:lnTo>
                  <a:lnTo>
                    <a:pt x="7433" y="335"/>
                  </a:lnTo>
                  <a:lnTo>
                    <a:pt x="7176" y="248"/>
                  </a:lnTo>
                  <a:lnTo>
                    <a:pt x="6913" y="174"/>
                  </a:lnTo>
                  <a:lnTo>
                    <a:pt x="6646" y="112"/>
                  </a:lnTo>
                  <a:lnTo>
                    <a:pt x="6374" y="63"/>
                  </a:lnTo>
                  <a:lnTo>
                    <a:pt x="6097" y="28"/>
                  </a:lnTo>
                  <a:lnTo>
                    <a:pt x="5816" y="7"/>
                  </a:lnTo>
                  <a:lnTo>
                    <a:pt x="55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60" name="işḻïḋè">
              <a:extLst>
                <a:ext uri="{FF2B5EF4-FFF2-40B4-BE49-F238E27FC236}">
                  <a16:creationId xmlns:a16="http://schemas.microsoft.com/office/drawing/2014/main" id="{66512EAF-1503-4B94-AC00-A4D79F86FC26}"/>
                </a:ext>
              </a:extLst>
            </p:cNvPr>
            <p:cNvSpPr/>
            <p:nvPr/>
          </p:nvSpPr>
          <p:spPr bwMode="auto">
            <a:xfrm>
              <a:off x="5533833" y="105445"/>
              <a:ext cx="78177" cy="78177"/>
            </a:xfrm>
            <a:custGeom>
              <a:avLst/>
              <a:gdLst>
                <a:gd name="T0" fmla="*/ 2559 w 3269"/>
                <a:gd name="T1" fmla="*/ 35 h 3262"/>
                <a:gd name="T2" fmla="*/ 1981 w 3269"/>
                <a:gd name="T3" fmla="*/ 183 h 3262"/>
                <a:gd name="T4" fmla="*/ 1455 w 3269"/>
                <a:gd name="T5" fmla="*/ 437 h 3262"/>
                <a:gd name="T6" fmla="*/ 990 w 3269"/>
                <a:gd name="T7" fmla="*/ 783 h 3262"/>
                <a:gd name="T8" fmla="*/ 601 w 3269"/>
                <a:gd name="T9" fmla="*/ 1210 h 3262"/>
                <a:gd name="T10" fmla="*/ 298 w 3269"/>
                <a:gd name="T11" fmla="*/ 1706 h 3262"/>
                <a:gd name="T12" fmla="*/ 96 w 3269"/>
                <a:gd name="T13" fmla="*/ 2259 h 3262"/>
                <a:gd name="T14" fmla="*/ 4 w 3269"/>
                <a:gd name="T15" fmla="*/ 2856 h 3262"/>
                <a:gd name="T16" fmla="*/ 3 w 3269"/>
                <a:gd name="T17" fmla="*/ 3049 h 3262"/>
                <a:gd name="T18" fmla="*/ 15 w 3269"/>
                <a:gd name="T19" fmla="*/ 3097 h 3262"/>
                <a:gd name="T20" fmla="*/ 37 w 3269"/>
                <a:gd name="T21" fmla="*/ 3141 h 3262"/>
                <a:gd name="T22" fmla="*/ 66 w 3269"/>
                <a:gd name="T23" fmla="*/ 3180 h 3262"/>
                <a:gd name="T24" fmla="*/ 101 w 3269"/>
                <a:gd name="T25" fmla="*/ 3212 h 3262"/>
                <a:gd name="T26" fmla="*/ 143 w 3269"/>
                <a:gd name="T27" fmla="*/ 3237 h 3262"/>
                <a:gd name="T28" fmla="*/ 189 w 3269"/>
                <a:gd name="T29" fmla="*/ 3254 h 3262"/>
                <a:gd name="T30" fmla="*/ 239 w 3269"/>
                <a:gd name="T31" fmla="*/ 3262 h 3262"/>
                <a:gd name="T32" fmla="*/ 290 w 3269"/>
                <a:gd name="T33" fmla="*/ 3259 h 3262"/>
                <a:gd name="T34" fmla="*/ 338 w 3269"/>
                <a:gd name="T35" fmla="*/ 3247 h 3262"/>
                <a:gd name="T36" fmla="*/ 382 w 3269"/>
                <a:gd name="T37" fmla="*/ 3226 h 3262"/>
                <a:gd name="T38" fmla="*/ 421 w 3269"/>
                <a:gd name="T39" fmla="*/ 3197 h 3262"/>
                <a:gd name="T40" fmla="*/ 453 w 3269"/>
                <a:gd name="T41" fmla="*/ 3161 h 3262"/>
                <a:gd name="T42" fmla="*/ 478 w 3269"/>
                <a:gd name="T43" fmla="*/ 3119 h 3262"/>
                <a:gd name="T44" fmla="*/ 495 w 3269"/>
                <a:gd name="T45" fmla="*/ 3073 h 3262"/>
                <a:gd name="T46" fmla="*/ 503 w 3269"/>
                <a:gd name="T47" fmla="*/ 3024 h 3262"/>
                <a:gd name="T48" fmla="*/ 532 w 3269"/>
                <a:gd name="T49" fmla="*/ 2630 h 3262"/>
                <a:gd name="T50" fmla="*/ 656 w 3269"/>
                <a:gd name="T51" fmla="*/ 2149 h 3262"/>
                <a:gd name="T52" fmla="*/ 867 w 3269"/>
                <a:gd name="T53" fmla="*/ 1711 h 3262"/>
                <a:gd name="T54" fmla="*/ 1157 w 3269"/>
                <a:gd name="T55" fmla="*/ 1325 h 3262"/>
                <a:gd name="T56" fmla="*/ 1514 w 3269"/>
                <a:gd name="T57" fmla="*/ 1001 h 3262"/>
                <a:gd name="T58" fmla="*/ 1928 w 3269"/>
                <a:gd name="T59" fmla="*/ 750 h 3262"/>
                <a:gd name="T60" fmla="*/ 2390 w 3269"/>
                <a:gd name="T61" fmla="*/ 581 h 3262"/>
                <a:gd name="T62" fmla="*/ 2889 w 3269"/>
                <a:gd name="T63" fmla="*/ 505 h 3262"/>
                <a:gd name="T64" fmla="*/ 3056 w 3269"/>
                <a:gd name="T65" fmla="*/ 499 h 3262"/>
                <a:gd name="T66" fmla="*/ 3104 w 3269"/>
                <a:gd name="T67" fmla="*/ 487 h 3262"/>
                <a:gd name="T68" fmla="*/ 3148 w 3269"/>
                <a:gd name="T69" fmla="*/ 466 h 3262"/>
                <a:gd name="T70" fmla="*/ 3186 w 3269"/>
                <a:gd name="T71" fmla="*/ 437 h 3262"/>
                <a:gd name="T72" fmla="*/ 3219 w 3269"/>
                <a:gd name="T73" fmla="*/ 402 h 3262"/>
                <a:gd name="T74" fmla="*/ 3244 w 3269"/>
                <a:gd name="T75" fmla="*/ 359 h 3262"/>
                <a:gd name="T76" fmla="*/ 3261 w 3269"/>
                <a:gd name="T77" fmla="*/ 314 h 3262"/>
                <a:gd name="T78" fmla="*/ 3269 w 3269"/>
                <a:gd name="T79" fmla="*/ 264 h 3262"/>
                <a:gd name="T80" fmla="*/ 3266 w 3269"/>
                <a:gd name="T81" fmla="*/ 213 h 3262"/>
                <a:gd name="T82" fmla="*/ 3254 w 3269"/>
                <a:gd name="T83" fmla="*/ 165 h 3262"/>
                <a:gd name="T84" fmla="*/ 3233 w 3269"/>
                <a:gd name="T85" fmla="*/ 120 h 3262"/>
                <a:gd name="T86" fmla="*/ 3204 w 3269"/>
                <a:gd name="T87" fmla="*/ 82 h 3262"/>
                <a:gd name="T88" fmla="*/ 3168 w 3269"/>
                <a:gd name="T89" fmla="*/ 50 h 3262"/>
                <a:gd name="T90" fmla="*/ 3126 w 3269"/>
                <a:gd name="T91" fmla="*/ 25 h 3262"/>
                <a:gd name="T92" fmla="*/ 3080 w 3269"/>
                <a:gd name="T93" fmla="*/ 8 h 3262"/>
                <a:gd name="T94" fmla="*/ 3031 w 3269"/>
                <a:gd name="T95" fmla="*/ 0 h 3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269" h="3262">
                  <a:moveTo>
                    <a:pt x="3018" y="0"/>
                  </a:moveTo>
                  <a:lnTo>
                    <a:pt x="2863" y="4"/>
                  </a:lnTo>
                  <a:lnTo>
                    <a:pt x="2710" y="15"/>
                  </a:lnTo>
                  <a:lnTo>
                    <a:pt x="2559" y="35"/>
                  </a:lnTo>
                  <a:lnTo>
                    <a:pt x="2410" y="61"/>
                  </a:lnTo>
                  <a:lnTo>
                    <a:pt x="2264" y="95"/>
                  </a:lnTo>
                  <a:lnTo>
                    <a:pt x="2121" y="136"/>
                  </a:lnTo>
                  <a:lnTo>
                    <a:pt x="1981" y="183"/>
                  </a:lnTo>
                  <a:lnTo>
                    <a:pt x="1844" y="237"/>
                  </a:lnTo>
                  <a:lnTo>
                    <a:pt x="1710" y="297"/>
                  </a:lnTo>
                  <a:lnTo>
                    <a:pt x="1580" y="364"/>
                  </a:lnTo>
                  <a:lnTo>
                    <a:pt x="1455" y="437"/>
                  </a:lnTo>
                  <a:lnTo>
                    <a:pt x="1332" y="515"/>
                  </a:lnTo>
                  <a:lnTo>
                    <a:pt x="1213" y="599"/>
                  </a:lnTo>
                  <a:lnTo>
                    <a:pt x="1100" y="689"/>
                  </a:lnTo>
                  <a:lnTo>
                    <a:pt x="990" y="783"/>
                  </a:lnTo>
                  <a:lnTo>
                    <a:pt x="885" y="883"/>
                  </a:lnTo>
                  <a:lnTo>
                    <a:pt x="785" y="988"/>
                  </a:lnTo>
                  <a:lnTo>
                    <a:pt x="690" y="1097"/>
                  </a:lnTo>
                  <a:lnTo>
                    <a:pt x="601" y="1210"/>
                  </a:lnTo>
                  <a:lnTo>
                    <a:pt x="516" y="1329"/>
                  </a:lnTo>
                  <a:lnTo>
                    <a:pt x="438" y="1450"/>
                  </a:lnTo>
                  <a:lnTo>
                    <a:pt x="365" y="1577"/>
                  </a:lnTo>
                  <a:lnTo>
                    <a:pt x="298" y="1706"/>
                  </a:lnTo>
                  <a:lnTo>
                    <a:pt x="238" y="1840"/>
                  </a:lnTo>
                  <a:lnTo>
                    <a:pt x="183" y="1976"/>
                  </a:lnTo>
                  <a:lnTo>
                    <a:pt x="136" y="2117"/>
                  </a:lnTo>
                  <a:lnTo>
                    <a:pt x="96" y="2259"/>
                  </a:lnTo>
                  <a:lnTo>
                    <a:pt x="62" y="2405"/>
                  </a:lnTo>
                  <a:lnTo>
                    <a:pt x="36" y="2553"/>
                  </a:lnTo>
                  <a:lnTo>
                    <a:pt x="16" y="2704"/>
                  </a:lnTo>
                  <a:lnTo>
                    <a:pt x="4" y="2856"/>
                  </a:lnTo>
                  <a:lnTo>
                    <a:pt x="0" y="3011"/>
                  </a:lnTo>
                  <a:lnTo>
                    <a:pt x="0" y="3024"/>
                  </a:lnTo>
                  <a:lnTo>
                    <a:pt x="1" y="3037"/>
                  </a:lnTo>
                  <a:lnTo>
                    <a:pt x="3" y="3049"/>
                  </a:lnTo>
                  <a:lnTo>
                    <a:pt x="5" y="3061"/>
                  </a:lnTo>
                  <a:lnTo>
                    <a:pt x="8" y="3073"/>
                  </a:lnTo>
                  <a:lnTo>
                    <a:pt x="11" y="3085"/>
                  </a:lnTo>
                  <a:lnTo>
                    <a:pt x="15" y="3097"/>
                  </a:lnTo>
                  <a:lnTo>
                    <a:pt x="20" y="3108"/>
                  </a:lnTo>
                  <a:lnTo>
                    <a:pt x="25" y="3119"/>
                  </a:lnTo>
                  <a:lnTo>
                    <a:pt x="30" y="3130"/>
                  </a:lnTo>
                  <a:lnTo>
                    <a:pt x="37" y="3141"/>
                  </a:lnTo>
                  <a:lnTo>
                    <a:pt x="44" y="3151"/>
                  </a:lnTo>
                  <a:lnTo>
                    <a:pt x="51" y="3161"/>
                  </a:lnTo>
                  <a:lnTo>
                    <a:pt x="58" y="3171"/>
                  </a:lnTo>
                  <a:lnTo>
                    <a:pt x="66" y="3180"/>
                  </a:lnTo>
                  <a:lnTo>
                    <a:pt x="74" y="3189"/>
                  </a:lnTo>
                  <a:lnTo>
                    <a:pt x="83" y="3197"/>
                  </a:lnTo>
                  <a:lnTo>
                    <a:pt x="92" y="3205"/>
                  </a:lnTo>
                  <a:lnTo>
                    <a:pt x="101" y="3212"/>
                  </a:lnTo>
                  <a:lnTo>
                    <a:pt x="111" y="3219"/>
                  </a:lnTo>
                  <a:lnTo>
                    <a:pt x="121" y="3226"/>
                  </a:lnTo>
                  <a:lnTo>
                    <a:pt x="132" y="3232"/>
                  </a:lnTo>
                  <a:lnTo>
                    <a:pt x="143" y="3237"/>
                  </a:lnTo>
                  <a:lnTo>
                    <a:pt x="154" y="3242"/>
                  </a:lnTo>
                  <a:lnTo>
                    <a:pt x="165" y="3247"/>
                  </a:lnTo>
                  <a:lnTo>
                    <a:pt x="177" y="3251"/>
                  </a:lnTo>
                  <a:lnTo>
                    <a:pt x="189" y="3254"/>
                  </a:lnTo>
                  <a:lnTo>
                    <a:pt x="201" y="3257"/>
                  </a:lnTo>
                  <a:lnTo>
                    <a:pt x="214" y="3259"/>
                  </a:lnTo>
                  <a:lnTo>
                    <a:pt x="227" y="3261"/>
                  </a:lnTo>
                  <a:lnTo>
                    <a:pt x="239" y="3262"/>
                  </a:lnTo>
                  <a:lnTo>
                    <a:pt x="252" y="3262"/>
                  </a:lnTo>
                  <a:lnTo>
                    <a:pt x="265" y="3262"/>
                  </a:lnTo>
                  <a:lnTo>
                    <a:pt x="278" y="3261"/>
                  </a:lnTo>
                  <a:lnTo>
                    <a:pt x="290" y="3259"/>
                  </a:lnTo>
                  <a:lnTo>
                    <a:pt x="302" y="3257"/>
                  </a:lnTo>
                  <a:lnTo>
                    <a:pt x="315" y="3254"/>
                  </a:lnTo>
                  <a:lnTo>
                    <a:pt x="326" y="3251"/>
                  </a:lnTo>
                  <a:lnTo>
                    <a:pt x="338" y="3247"/>
                  </a:lnTo>
                  <a:lnTo>
                    <a:pt x="349" y="3242"/>
                  </a:lnTo>
                  <a:lnTo>
                    <a:pt x="360" y="3237"/>
                  </a:lnTo>
                  <a:lnTo>
                    <a:pt x="371" y="3232"/>
                  </a:lnTo>
                  <a:lnTo>
                    <a:pt x="382" y="3226"/>
                  </a:lnTo>
                  <a:lnTo>
                    <a:pt x="393" y="3219"/>
                  </a:lnTo>
                  <a:lnTo>
                    <a:pt x="403" y="3212"/>
                  </a:lnTo>
                  <a:lnTo>
                    <a:pt x="412" y="3205"/>
                  </a:lnTo>
                  <a:lnTo>
                    <a:pt x="421" y="3197"/>
                  </a:lnTo>
                  <a:lnTo>
                    <a:pt x="430" y="3189"/>
                  </a:lnTo>
                  <a:lnTo>
                    <a:pt x="438" y="3180"/>
                  </a:lnTo>
                  <a:lnTo>
                    <a:pt x="446" y="3171"/>
                  </a:lnTo>
                  <a:lnTo>
                    <a:pt x="453" y="3161"/>
                  </a:lnTo>
                  <a:lnTo>
                    <a:pt x="460" y="3151"/>
                  </a:lnTo>
                  <a:lnTo>
                    <a:pt x="467" y="3141"/>
                  </a:lnTo>
                  <a:lnTo>
                    <a:pt x="473" y="3130"/>
                  </a:lnTo>
                  <a:lnTo>
                    <a:pt x="478" y="3119"/>
                  </a:lnTo>
                  <a:lnTo>
                    <a:pt x="483" y="3108"/>
                  </a:lnTo>
                  <a:lnTo>
                    <a:pt x="488" y="3097"/>
                  </a:lnTo>
                  <a:lnTo>
                    <a:pt x="492" y="3085"/>
                  </a:lnTo>
                  <a:lnTo>
                    <a:pt x="495" y="3073"/>
                  </a:lnTo>
                  <a:lnTo>
                    <a:pt x="498" y="3061"/>
                  </a:lnTo>
                  <a:lnTo>
                    <a:pt x="500" y="3049"/>
                  </a:lnTo>
                  <a:lnTo>
                    <a:pt x="502" y="3037"/>
                  </a:lnTo>
                  <a:lnTo>
                    <a:pt x="503" y="3024"/>
                  </a:lnTo>
                  <a:lnTo>
                    <a:pt x="503" y="3011"/>
                  </a:lnTo>
                  <a:lnTo>
                    <a:pt x="506" y="2882"/>
                  </a:lnTo>
                  <a:lnTo>
                    <a:pt x="516" y="2755"/>
                  </a:lnTo>
                  <a:lnTo>
                    <a:pt x="532" y="2630"/>
                  </a:lnTo>
                  <a:lnTo>
                    <a:pt x="554" y="2506"/>
                  </a:lnTo>
                  <a:lnTo>
                    <a:pt x="583" y="2385"/>
                  </a:lnTo>
                  <a:lnTo>
                    <a:pt x="617" y="2265"/>
                  </a:lnTo>
                  <a:lnTo>
                    <a:pt x="656" y="2149"/>
                  </a:lnTo>
                  <a:lnTo>
                    <a:pt x="701" y="2035"/>
                  </a:lnTo>
                  <a:lnTo>
                    <a:pt x="752" y="1924"/>
                  </a:lnTo>
                  <a:lnTo>
                    <a:pt x="807" y="1816"/>
                  </a:lnTo>
                  <a:lnTo>
                    <a:pt x="867" y="1711"/>
                  </a:lnTo>
                  <a:lnTo>
                    <a:pt x="934" y="1609"/>
                  </a:lnTo>
                  <a:lnTo>
                    <a:pt x="1003" y="1511"/>
                  </a:lnTo>
                  <a:lnTo>
                    <a:pt x="1078" y="1416"/>
                  </a:lnTo>
                  <a:lnTo>
                    <a:pt x="1157" y="1325"/>
                  </a:lnTo>
                  <a:lnTo>
                    <a:pt x="1240" y="1238"/>
                  </a:lnTo>
                  <a:lnTo>
                    <a:pt x="1328" y="1154"/>
                  </a:lnTo>
                  <a:lnTo>
                    <a:pt x="1419" y="1076"/>
                  </a:lnTo>
                  <a:lnTo>
                    <a:pt x="1514" y="1001"/>
                  </a:lnTo>
                  <a:lnTo>
                    <a:pt x="1612" y="931"/>
                  </a:lnTo>
                  <a:lnTo>
                    <a:pt x="1715" y="865"/>
                  </a:lnTo>
                  <a:lnTo>
                    <a:pt x="1820" y="805"/>
                  </a:lnTo>
                  <a:lnTo>
                    <a:pt x="1928" y="750"/>
                  </a:lnTo>
                  <a:lnTo>
                    <a:pt x="2040" y="700"/>
                  </a:lnTo>
                  <a:lnTo>
                    <a:pt x="2154" y="654"/>
                  </a:lnTo>
                  <a:lnTo>
                    <a:pt x="2270" y="615"/>
                  </a:lnTo>
                  <a:lnTo>
                    <a:pt x="2390" y="581"/>
                  </a:lnTo>
                  <a:lnTo>
                    <a:pt x="2512" y="553"/>
                  </a:lnTo>
                  <a:lnTo>
                    <a:pt x="2635" y="531"/>
                  </a:lnTo>
                  <a:lnTo>
                    <a:pt x="2761" y="515"/>
                  </a:lnTo>
                  <a:lnTo>
                    <a:pt x="2889" y="505"/>
                  </a:lnTo>
                  <a:lnTo>
                    <a:pt x="3018" y="502"/>
                  </a:lnTo>
                  <a:lnTo>
                    <a:pt x="3031" y="502"/>
                  </a:lnTo>
                  <a:lnTo>
                    <a:pt x="3044" y="501"/>
                  </a:lnTo>
                  <a:lnTo>
                    <a:pt x="3056" y="499"/>
                  </a:lnTo>
                  <a:lnTo>
                    <a:pt x="3068" y="497"/>
                  </a:lnTo>
                  <a:lnTo>
                    <a:pt x="3080" y="494"/>
                  </a:lnTo>
                  <a:lnTo>
                    <a:pt x="3092" y="491"/>
                  </a:lnTo>
                  <a:lnTo>
                    <a:pt x="3104" y="487"/>
                  </a:lnTo>
                  <a:lnTo>
                    <a:pt x="3115" y="482"/>
                  </a:lnTo>
                  <a:lnTo>
                    <a:pt x="3126" y="477"/>
                  </a:lnTo>
                  <a:lnTo>
                    <a:pt x="3137" y="472"/>
                  </a:lnTo>
                  <a:lnTo>
                    <a:pt x="3148" y="466"/>
                  </a:lnTo>
                  <a:lnTo>
                    <a:pt x="3158" y="459"/>
                  </a:lnTo>
                  <a:lnTo>
                    <a:pt x="3168" y="452"/>
                  </a:lnTo>
                  <a:lnTo>
                    <a:pt x="3177" y="445"/>
                  </a:lnTo>
                  <a:lnTo>
                    <a:pt x="3186" y="437"/>
                  </a:lnTo>
                  <a:lnTo>
                    <a:pt x="3196" y="429"/>
                  </a:lnTo>
                  <a:lnTo>
                    <a:pt x="3204" y="420"/>
                  </a:lnTo>
                  <a:lnTo>
                    <a:pt x="3212" y="411"/>
                  </a:lnTo>
                  <a:lnTo>
                    <a:pt x="3219" y="402"/>
                  </a:lnTo>
                  <a:lnTo>
                    <a:pt x="3226" y="391"/>
                  </a:lnTo>
                  <a:lnTo>
                    <a:pt x="3233" y="381"/>
                  </a:lnTo>
                  <a:lnTo>
                    <a:pt x="3239" y="370"/>
                  </a:lnTo>
                  <a:lnTo>
                    <a:pt x="3244" y="359"/>
                  </a:lnTo>
                  <a:lnTo>
                    <a:pt x="3249" y="348"/>
                  </a:lnTo>
                  <a:lnTo>
                    <a:pt x="3254" y="337"/>
                  </a:lnTo>
                  <a:lnTo>
                    <a:pt x="3258" y="325"/>
                  </a:lnTo>
                  <a:lnTo>
                    <a:pt x="3261" y="314"/>
                  </a:lnTo>
                  <a:lnTo>
                    <a:pt x="3264" y="301"/>
                  </a:lnTo>
                  <a:lnTo>
                    <a:pt x="3266" y="289"/>
                  </a:lnTo>
                  <a:lnTo>
                    <a:pt x="3268" y="277"/>
                  </a:lnTo>
                  <a:lnTo>
                    <a:pt x="3269" y="264"/>
                  </a:lnTo>
                  <a:lnTo>
                    <a:pt x="3269" y="251"/>
                  </a:lnTo>
                  <a:lnTo>
                    <a:pt x="3269" y="238"/>
                  </a:lnTo>
                  <a:lnTo>
                    <a:pt x="3268" y="226"/>
                  </a:lnTo>
                  <a:lnTo>
                    <a:pt x="3266" y="213"/>
                  </a:lnTo>
                  <a:lnTo>
                    <a:pt x="3264" y="201"/>
                  </a:lnTo>
                  <a:lnTo>
                    <a:pt x="3261" y="189"/>
                  </a:lnTo>
                  <a:lnTo>
                    <a:pt x="3258" y="177"/>
                  </a:lnTo>
                  <a:lnTo>
                    <a:pt x="3254" y="165"/>
                  </a:lnTo>
                  <a:lnTo>
                    <a:pt x="3249" y="154"/>
                  </a:lnTo>
                  <a:lnTo>
                    <a:pt x="3244" y="143"/>
                  </a:lnTo>
                  <a:lnTo>
                    <a:pt x="3239" y="132"/>
                  </a:lnTo>
                  <a:lnTo>
                    <a:pt x="3233" y="120"/>
                  </a:lnTo>
                  <a:lnTo>
                    <a:pt x="3226" y="110"/>
                  </a:lnTo>
                  <a:lnTo>
                    <a:pt x="3219" y="100"/>
                  </a:lnTo>
                  <a:lnTo>
                    <a:pt x="3212" y="91"/>
                  </a:lnTo>
                  <a:lnTo>
                    <a:pt x="3204" y="82"/>
                  </a:lnTo>
                  <a:lnTo>
                    <a:pt x="3196" y="73"/>
                  </a:lnTo>
                  <a:lnTo>
                    <a:pt x="3186" y="65"/>
                  </a:lnTo>
                  <a:lnTo>
                    <a:pt x="3177" y="57"/>
                  </a:lnTo>
                  <a:lnTo>
                    <a:pt x="3168" y="50"/>
                  </a:lnTo>
                  <a:lnTo>
                    <a:pt x="3158" y="43"/>
                  </a:lnTo>
                  <a:lnTo>
                    <a:pt x="3148" y="36"/>
                  </a:lnTo>
                  <a:lnTo>
                    <a:pt x="3137" y="30"/>
                  </a:lnTo>
                  <a:lnTo>
                    <a:pt x="3126" y="25"/>
                  </a:lnTo>
                  <a:lnTo>
                    <a:pt x="3115" y="20"/>
                  </a:lnTo>
                  <a:lnTo>
                    <a:pt x="3104" y="15"/>
                  </a:lnTo>
                  <a:lnTo>
                    <a:pt x="3092" y="11"/>
                  </a:lnTo>
                  <a:lnTo>
                    <a:pt x="3080" y="8"/>
                  </a:lnTo>
                  <a:lnTo>
                    <a:pt x="3068" y="5"/>
                  </a:lnTo>
                  <a:lnTo>
                    <a:pt x="3056" y="3"/>
                  </a:lnTo>
                  <a:lnTo>
                    <a:pt x="3044" y="1"/>
                  </a:lnTo>
                  <a:lnTo>
                    <a:pt x="3031" y="0"/>
                  </a:lnTo>
                  <a:lnTo>
                    <a:pt x="30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61" name="ïṩ1idè">
              <a:extLst>
                <a:ext uri="{FF2B5EF4-FFF2-40B4-BE49-F238E27FC236}">
                  <a16:creationId xmlns:a16="http://schemas.microsoft.com/office/drawing/2014/main" id="{8E3DD644-5F7D-4091-93D1-A1B27E05E529}"/>
                </a:ext>
              </a:extLst>
            </p:cNvPr>
            <p:cNvSpPr/>
            <p:nvPr/>
          </p:nvSpPr>
          <p:spPr bwMode="auto">
            <a:xfrm>
              <a:off x="5099405" y="280124"/>
              <a:ext cx="459652" cy="611928"/>
            </a:xfrm>
            <a:custGeom>
              <a:avLst/>
              <a:gdLst>
                <a:gd name="T0" fmla="*/ 10946 w 12062"/>
                <a:gd name="T1" fmla="*/ 12419 h 16058"/>
                <a:gd name="T2" fmla="*/ 10253 w 12062"/>
                <a:gd name="T3" fmla="*/ 13775 h 16058"/>
                <a:gd name="T4" fmla="*/ 9063 w 12062"/>
                <a:gd name="T5" fmla="*/ 14707 h 16058"/>
                <a:gd name="T6" fmla="*/ 7539 w 12062"/>
                <a:gd name="T7" fmla="*/ 15054 h 16058"/>
                <a:gd name="T8" fmla="*/ 3155 w 12062"/>
                <a:gd name="T9" fmla="*/ 14778 h 16058"/>
                <a:gd name="T10" fmla="*/ 1920 w 12062"/>
                <a:gd name="T11" fmla="*/ 13902 h 16058"/>
                <a:gd name="T12" fmla="*/ 1164 w 12062"/>
                <a:gd name="T13" fmla="*/ 12585 h 16058"/>
                <a:gd name="T14" fmla="*/ 1005 w 12062"/>
                <a:gd name="T15" fmla="*/ 9534 h 16058"/>
                <a:gd name="T16" fmla="*/ 1044 w 12062"/>
                <a:gd name="T17" fmla="*/ 7834 h 16058"/>
                <a:gd name="T18" fmla="*/ 1170 w 12062"/>
                <a:gd name="T19" fmla="*/ 7658 h 16058"/>
                <a:gd name="T20" fmla="*/ 1358 w 12062"/>
                <a:gd name="T21" fmla="*/ 7550 h 16058"/>
                <a:gd name="T22" fmla="*/ 10554 w 12062"/>
                <a:gd name="T23" fmla="*/ 7527 h 16058"/>
                <a:gd name="T24" fmla="*/ 10772 w 12062"/>
                <a:gd name="T25" fmla="*/ 7576 h 16058"/>
                <a:gd name="T26" fmla="*/ 10942 w 12062"/>
                <a:gd name="T27" fmla="*/ 7710 h 16058"/>
                <a:gd name="T28" fmla="*/ 11041 w 12062"/>
                <a:gd name="T29" fmla="*/ 7904 h 16058"/>
                <a:gd name="T30" fmla="*/ 8041 w 12062"/>
                <a:gd name="T31" fmla="*/ 6524 h 16058"/>
                <a:gd name="T32" fmla="*/ 4111 w 12062"/>
                <a:gd name="T33" fmla="*/ 3919 h 16058"/>
                <a:gd name="T34" fmla="*/ 4543 w 12062"/>
                <a:gd name="T35" fmla="*/ 3166 h 16058"/>
                <a:gd name="T36" fmla="*/ 5248 w 12062"/>
                <a:gd name="T37" fmla="*/ 2667 h 16058"/>
                <a:gd name="T38" fmla="*/ 6135 w 12062"/>
                <a:gd name="T39" fmla="*/ 2512 h 16058"/>
                <a:gd name="T40" fmla="*/ 6989 w 12062"/>
                <a:gd name="T41" fmla="*/ 2751 h 16058"/>
                <a:gd name="T42" fmla="*/ 7642 w 12062"/>
                <a:gd name="T43" fmla="*/ 3315 h 16058"/>
                <a:gd name="T44" fmla="*/ 8000 w 12062"/>
                <a:gd name="T45" fmla="*/ 4112 h 16058"/>
                <a:gd name="T46" fmla="*/ 2584 w 12062"/>
                <a:gd name="T47" fmla="*/ 3809 h 16058"/>
                <a:gd name="T48" fmla="*/ 3212 w 12062"/>
                <a:gd name="T49" fmla="*/ 2415 h 16058"/>
                <a:gd name="T50" fmla="*/ 4354 w 12062"/>
                <a:gd name="T51" fmla="*/ 1427 h 16058"/>
                <a:gd name="T52" fmla="*/ 5850 w 12062"/>
                <a:gd name="T53" fmla="*/ 1009 h 16058"/>
                <a:gd name="T54" fmla="*/ 7400 w 12062"/>
                <a:gd name="T55" fmla="*/ 1280 h 16058"/>
                <a:gd name="T56" fmla="*/ 8635 w 12062"/>
                <a:gd name="T57" fmla="*/ 2155 h 16058"/>
                <a:gd name="T58" fmla="*/ 9391 w 12062"/>
                <a:gd name="T59" fmla="*/ 3472 h 16058"/>
                <a:gd name="T60" fmla="*/ 8544 w 12062"/>
                <a:gd name="T61" fmla="*/ 4518 h 16058"/>
                <a:gd name="T62" fmla="*/ 8297 w 12062"/>
                <a:gd name="T63" fmla="*/ 3430 h 16058"/>
                <a:gd name="T64" fmla="*/ 7629 w 12062"/>
                <a:gd name="T65" fmla="*/ 2581 h 16058"/>
                <a:gd name="T66" fmla="*/ 6659 w 12062"/>
                <a:gd name="T67" fmla="*/ 2088 h 16058"/>
                <a:gd name="T68" fmla="*/ 5524 w 12062"/>
                <a:gd name="T69" fmla="*/ 2059 h 16058"/>
                <a:gd name="T70" fmla="*/ 4527 w 12062"/>
                <a:gd name="T71" fmla="*/ 2507 h 16058"/>
                <a:gd name="T72" fmla="*/ 3822 w 12062"/>
                <a:gd name="T73" fmla="*/ 3322 h 16058"/>
                <a:gd name="T74" fmla="*/ 3521 w 12062"/>
                <a:gd name="T75" fmla="*/ 4389 h 16058"/>
                <a:gd name="T76" fmla="*/ 10502 w 12062"/>
                <a:gd name="T77" fmla="*/ 3829 h 16058"/>
                <a:gd name="T78" fmla="*/ 9782 w 12062"/>
                <a:gd name="T79" fmla="*/ 1991 h 16058"/>
                <a:gd name="T80" fmla="*/ 8376 w 12062"/>
                <a:gd name="T81" fmla="*/ 653 h 16058"/>
                <a:gd name="T82" fmla="*/ 6493 w 12062"/>
                <a:gd name="T83" fmla="*/ 23 h 16058"/>
                <a:gd name="T84" fmla="*/ 4476 w 12062"/>
                <a:gd name="T85" fmla="*/ 274 h 16058"/>
                <a:gd name="T86" fmla="*/ 2833 w 12062"/>
                <a:gd name="T87" fmla="*/ 1323 h 16058"/>
                <a:gd name="T88" fmla="*/ 1782 w 12062"/>
                <a:gd name="T89" fmla="*/ 2964 h 16058"/>
                <a:gd name="T90" fmla="*/ 1430 w 12062"/>
                <a:gd name="T91" fmla="*/ 6526 h 16058"/>
                <a:gd name="T92" fmla="*/ 789 w 12062"/>
                <a:gd name="T93" fmla="*/ 6705 h 16058"/>
                <a:gd name="T94" fmla="*/ 300 w 12062"/>
                <a:gd name="T95" fmla="*/ 7129 h 16058"/>
                <a:gd name="T96" fmla="*/ 30 w 12062"/>
                <a:gd name="T97" fmla="*/ 7726 h 16058"/>
                <a:gd name="T98" fmla="*/ 6 w 12062"/>
                <a:gd name="T99" fmla="*/ 11775 h 16058"/>
                <a:gd name="T100" fmla="*/ 546 w 12062"/>
                <a:gd name="T101" fmla="*/ 13694 h 16058"/>
                <a:gd name="T102" fmla="*/ 1817 w 12062"/>
                <a:gd name="T103" fmla="*/ 15161 h 16058"/>
                <a:gd name="T104" fmla="*/ 3612 w 12062"/>
                <a:gd name="T105" fmla="*/ 15967 h 16058"/>
                <a:gd name="T106" fmla="*/ 8450 w 12062"/>
                <a:gd name="T107" fmla="*/ 15967 h 16058"/>
                <a:gd name="T108" fmla="*/ 10245 w 12062"/>
                <a:gd name="T109" fmla="*/ 15161 h 16058"/>
                <a:gd name="T110" fmla="*/ 11516 w 12062"/>
                <a:gd name="T111" fmla="*/ 13694 h 16058"/>
                <a:gd name="T112" fmla="*/ 12056 w 12062"/>
                <a:gd name="T113" fmla="*/ 11775 h 16058"/>
                <a:gd name="T114" fmla="*/ 12032 w 12062"/>
                <a:gd name="T115" fmla="*/ 7726 h 16058"/>
                <a:gd name="T116" fmla="*/ 11762 w 12062"/>
                <a:gd name="T117" fmla="*/ 7129 h 16058"/>
                <a:gd name="T118" fmla="*/ 11273 w 12062"/>
                <a:gd name="T119" fmla="*/ 6705 h 16058"/>
                <a:gd name="T120" fmla="*/ 10632 w 12062"/>
                <a:gd name="T121" fmla="*/ 6526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062" h="16058">
                  <a:moveTo>
                    <a:pt x="11057" y="9534"/>
                  </a:moveTo>
                  <a:lnTo>
                    <a:pt x="11057" y="10036"/>
                  </a:lnTo>
                  <a:lnTo>
                    <a:pt x="11057" y="11040"/>
                  </a:lnTo>
                  <a:lnTo>
                    <a:pt x="11057" y="11542"/>
                  </a:lnTo>
                  <a:lnTo>
                    <a:pt x="11052" y="11722"/>
                  </a:lnTo>
                  <a:lnTo>
                    <a:pt x="11039" y="11900"/>
                  </a:lnTo>
                  <a:lnTo>
                    <a:pt x="11017" y="12076"/>
                  </a:lnTo>
                  <a:lnTo>
                    <a:pt x="10985" y="12248"/>
                  </a:lnTo>
                  <a:lnTo>
                    <a:pt x="10946" y="12419"/>
                  </a:lnTo>
                  <a:lnTo>
                    <a:pt x="10898" y="12585"/>
                  </a:lnTo>
                  <a:lnTo>
                    <a:pt x="10843" y="12748"/>
                  </a:lnTo>
                  <a:lnTo>
                    <a:pt x="10780" y="12908"/>
                  </a:lnTo>
                  <a:lnTo>
                    <a:pt x="10709" y="13063"/>
                  </a:lnTo>
                  <a:lnTo>
                    <a:pt x="10632" y="13215"/>
                  </a:lnTo>
                  <a:lnTo>
                    <a:pt x="10547" y="13361"/>
                  </a:lnTo>
                  <a:lnTo>
                    <a:pt x="10455" y="13504"/>
                  </a:lnTo>
                  <a:lnTo>
                    <a:pt x="10357" y="13642"/>
                  </a:lnTo>
                  <a:lnTo>
                    <a:pt x="10253" y="13775"/>
                  </a:lnTo>
                  <a:lnTo>
                    <a:pt x="10142" y="13902"/>
                  </a:lnTo>
                  <a:lnTo>
                    <a:pt x="10026" y="14025"/>
                  </a:lnTo>
                  <a:lnTo>
                    <a:pt x="9903" y="14141"/>
                  </a:lnTo>
                  <a:lnTo>
                    <a:pt x="9775" y="14251"/>
                  </a:lnTo>
                  <a:lnTo>
                    <a:pt x="9643" y="14356"/>
                  </a:lnTo>
                  <a:lnTo>
                    <a:pt x="9504" y="14453"/>
                  </a:lnTo>
                  <a:lnTo>
                    <a:pt x="9361" y="14546"/>
                  </a:lnTo>
                  <a:lnTo>
                    <a:pt x="9214" y="14630"/>
                  </a:lnTo>
                  <a:lnTo>
                    <a:pt x="9063" y="14707"/>
                  </a:lnTo>
                  <a:lnTo>
                    <a:pt x="8907" y="14778"/>
                  </a:lnTo>
                  <a:lnTo>
                    <a:pt x="8747" y="14841"/>
                  </a:lnTo>
                  <a:lnTo>
                    <a:pt x="8583" y="14896"/>
                  </a:lnTo>
                  <a:lnTo>
                    <a:pt x="8416" y="14944"/>
                  </a:lnTo>
                  <a:lnTo>
                    <a:pt x="8246" y="14983"/>
                  </a:lnTo>
                  <a:lnTo>
                    <a:pt x="8073" y="15014"/>
                  </a:lnTo>
                  <a:lnTo>
                    <a:pt x="7898" y="15036"/>
                  </a:lnTo>
                  <a:lnTo>
                    <a:pt x="7720" y="15049"/>
                  </a:lnTo>
                  <a:lnTo>
                    <a:pt x="7539" y="15054"/>
                  </a:lnTo>
                  <a:lnTo>
                    <a:pt x="4523" y="15054"/>
                  </a:lnTo>
                  <a:lnTo>
                    <a:pt x="4342" y="15049"/>
                  </a:lnTo>
                  <a:lnTo>
                    <a:pt x="4164" y="15036"/>
                  </a:lnTo>
                  <a:lnTo>
                    <a:pt x="3989" y="15014"/>
                  </a:lnTo>
                  <a:lnTo>
                    <a:pt x="3816" y="14983"/>
                  </a:lnTo>
                  <a:lnTo>
                    <a:pt x="3645" y="14944"/>
                  </a:lnTo>
                  <a:lnTo>
                    <a:pt x="3478" y="14896"/>
                  </a:lnTo>
                  <a:lnTo>
                    <a:pt x="3315" y="14841"/>
                  </a:lnTo>
                  <a:lnTo>
                    <a:pt x="3155" y="14778"/>
                  </a:lnTo>
                  <a:lnTo>
                    <a:pt x="2999" y="14707"/>
                  </a:lnTo>
                  <a:lnTo>
                    <a:pt x="2848" y="14630"/>
                  </a:lnTo>
                  <a:lnTo>
                    <a:pt x="2701" y="14546"/>
                  </a:lnTo>
                  <a:lnTo>
                    <a:pt x="2558" y="14453"/>
                  </a:lnTo>
                  <a:lnTo>
                    <a:pt x="2419" y="14356"/>
                  </a:lnTo>
                  <a:lnTo>
                    <a:pt x="2287" y="14251"/>
                  </a:lnTo>
                  <a:lnTo>
                    <a:pt x="2159" y="14141"/>
                  </a:lnTo>
                  <a:lnTo>
                    <a:pt x="2036" y="14025"/>
                  </a:lnTo>
                  <a:lnTo>
                    <a:pt x="1920" y="13902"/>
                  </a:lnTo>
                  <a:lnTo>
                    <a:pt x="1809" y="13775"/>
                  </a:lnTo>
                  <a:lnTo>
                    <a:pt x="1705" y="13642"/>
                  </a:lnTo>
                  <a:lnTo>
                    <a:pt x="1607" y="13504"/>
                  </a:lnTo>
                  <a:lnTo>
                    <a:pt x="1515" y="13361"/>
                  </a:lnTo>
                  <a:lnTo>
                    <a:pt x="1430" y="13215"/>
                  </a:lnTo>
                  <a:lnTo>
                    <a:pt x="1353" y="13063"/>
                  </a:lnTo>
                  <a:lnTo>
                    <a:pt x="1282" y="12908"/>
                  </a:lnTo>
                  <a:lnTo>
                    <a:pt x="1219" y="12748"/>
                  </a:lnTo>
                  <a:lnTo>
                    <a:pt x="1164" y="12585"/>
                  </a:lnTo>
                  <a:lnTo>
                    <a:pt x="1116" y="12419"/>
                  </a:lnTo>
                  <a:lnTo>
                    <a:pt x="1077" y="12248"/>
                  </a:lnTo>
                  <a:lnTo>
                    <a:pt x="1045" y="12076"/>
                  </a:lnTo>
                  <a:lnTo>
                    <a:pt x="1023" y="11900"/>
                  </a:lnTo>
                  <a:lnTo>
                    <a:pt x="1010" y="11722"/>
                  </a:lnTo>
                  <a:lnTo>
                    <a:pt x="1005" y="11542"/>
                  </a:lnTo>
                  <a:lnTo>
                    <a:pt x="1005" y="11040"/>
                  </a:lnTo>
                  <a:lnTo>
                    <a:pt x="1005" y="10036"/>
                  </a:lnTo>
                  <a:lnTo>
                    <a:pt x="1005" y="9534"/>
                  </a:lnTo>
                  <a:lnTo>
                    <a:pt x="1005" y="8029"/>
                  </a:lnTo>
                  <a:lnTo>
                    <a:pt x="1006" y="8003"/>
                  </a:lnTo>
                  <a:lnTo>
                    <a:pt x="1008" y="7978"/>
                  </a:lnTo>
                  <a:lnTo>
                    <a:pt x="1011" y="7953"/>
                  </a:lnTo>
                  <a:lnTo>
                    <a:pt x="1015" y="7928"/>
                  </a:lnTo>
                  <a:lnTo>
                    <a:pt x="1021" y="7904"/>
                  </a:lnTo>
                  <a:lnTo>
                    <a:pt x="1027" y="7879"/>
                  </a:lnTo>
                  <a:lnTo>
                    <a:pt x="1035" y="7856"/>
                  </a:lnTo>
                  <a:lnTo>
                    <a:pt x="1044" y="7834"/>
                  </a:lnTo>
                  <a:lnTo>
                    <a:pt x="1054" y="7811"/>
                  </a:lnTo>
                  <a:lnTo>
                    <a:pt x="1065" y="7790"/>
                  </a:lnTo>
                  <a:lnTo>
                    <a:pt x="1078" y="7769"/>
                  </a:lnTo>
                  <a:lnTo>
                    <a:pt x="1091" y="7749"/>
                  </a:lnTo>
                  <a:lnTo>
                    <a:pt x="1105" y="7729"/>
                  </a:lnTo>
                  <a:lnTo>
                    <a:pt x="1120" y="7710"/>
                  </a:lnTo>
                  <a:lnTo>
                    <a:pt x="1136" y="7692"/>
                  </a:lnTo>
                  <a:lnTo>
                    <a:pt x="1152" y="7675"/>
                  </a:lnTo>
                  <a:lnTo>
                    <a:pt x="1170" y="7658"/>
                  </a:lnTo>
                  <a:lnTo>
                    <a:pt x="1188" y="7642"/>
                  </a:lnTo>
                  <a:lnTo>
                    <a:pt x="1207" y="7627"/>
                  </a:lnTo>
                  <a:lnTo>
                    <a:pt x="1226" y="7612"/>
                  </a:lnTo>
                  <a:lnTo>
                    <a:pt x="1247" y="7599"/>
                  </a:lnTo>
                  <a:lnTo>
                    <a:pt x="1269" y="7587"/>
                  </a:lnTo>
                  <a:lnTo>
                    <a:pt x="1290" y="7576"/>
                  </a:lnTo>
                  <a:lnTo>
                    <a:pt x="1312" y="7566"/>
                  </a:lnTo>
                  <a:lnTo>
                    <a:pt x="1335" y="7557"/>
                  </a:lnTo>
                  <a:lnTo>
                    <a:pt x="1358" y="7550"/>
                  </a:lnTo>
                  <a:lnTo>
                    <a:pt x="1382" y="7543"/>
                  </a:lnTo>
                  <a:lnTo>
                    <a:pt x="1406" y="7537"/>
                  </a:lnTo>
                  <a:lnTo>
                    <a:pt x="1431" y="7533"/>
                  </a:lnTo>
                  <a:lnTo>
                    <a:pt x="1456" y="7530"/>
                  </a:lnTo>
                  <a:lnTo>
                    <a:pt x="1482" y="7528"/>
                  </a:lnTo>
                  <a:lnTo>
                    <a:pt x="1508" y="7527"/>
                  </a:lnTo>
                  <a:lnTo>
                    <a:pt x="2513" y="7527"/>
                  </a:lnTo>
                  <a:lnTo>
                    <a:pt x="9549" y="7527"/>
                  </a:lnTo>
                  <a:lnTo>
                    <a:pt x="10554" y="7527"/>
                  </a:lnTo>
                  <a:lnTo>
                    <a:pt x="10580" y="7528"/>
                  </a:lnTo>
                  <a:lnTo>
                    <a:pt x="10606" y="7530"/>
                  </a:lnTo>
                  <a:lnTo>
                    <a:pt x="10631" y="7533"/>
                  </a:lnTo>
                  <a:lnTo>
                    <a:pt x="10656" y="7537"/>
                  </a:lnTo>
                  <a:lnTo>
                    <a:pt x="10680" y="7543"/>
                  </a:lnTo>
                  <a:lnTo>
                    <a:pt x="10704" y="7550"/>
                  </a:lnTo>
                  <a:lnTo>
                    <a:pt x="10727" y="7557"/>
                  </a:lnTo>
                  <a:lnTo>
                    <a:pt x="10750" y="7566"/>
                  </a:lnTo>
                  <a:lnTo>
                    <a:pt x="10772" y="7576"/>
                  </a:lnTo>
                  <a:lnTo>
                    <a:pt x="10793" y="7587"/>
                  </a:lnTo>
                  <a:lnTo>
                    <a:pt x="10815" y="7599"/>
                  </a:lnTo>
                  <a:lnTo>
                    <a:pt x="10836" y="7612"/>
                  </a:lnTo>
                  <a:lnTo>
                    <a:pt x="10855" y="7627"/>
                  </a:lnTo>
                  <a:lnTo>
                    <a:pt x="10874" y="7642"/>
                  </a:lnTo>
                  <a:lnTo>
                    <a:pt x="10892" y="7658"/>
                  </a:lnTo>
                  <a:lnTo>
                    <a:pt x="10909" y="7675"/>
                  </a:lnTo>
                  <a:lnTo>
                    <a:pt x="10926" y="7692"/>
                  </a:lnTo>
                  <a:lnTo>
                    <a:pt x="10942" y="7710"/>
                  </a:lnTo>
                  <a:lnTo>
                    <a:pt x="10957" y="7729"/>
                  </a:lnTo>
                  <a:lnTo>
                    <a:pt x="10971" y="7749"/>
                  </a:lnTo>
                  <a:lnTo>
                    <a:pt x="10984" y="7769"/>
                  </a:lnTo>
                  <a:lnTo>
                    <a:pt x="10997" y="7790"/>
                  </a:lnTo>
                  <a:lnTo>
                    <a:pt x="11008" y="7811"/>
                  </a:lnTo>
                  <a:lnTo>
                    <a:pt x="11018" y="7834"/>
                  </a:lnTo>
                  <a:lnTo>
                    <a:pt x="11027" y="7856"/>
                  </a:lnTo>
                  <a:lnTo>
                    <a:pt x="11035" y="7879"/>
                  </a:lnTo>
                  <a:lnTo>
                    <a:pt x="11041" y="7904"/>
                  </a:lnTo>
                  <a:lnTo>
                    <a:pt x="11047" y="7928"/>
                  </a:lnTo>
                  <a:lnTo>
                    <a:pt x="11051" y="7953"/>
                  </a:lnTo>
                  <a:lnTo>
                    <a:pt x="11054" y="7978"/>
                  </a:lnTo>
                  <a:lnTo>
                    <a:pt x="11056" y="8003"/>
                  </a:lnTo>
                  <a:lnTo>
                    <a:pt x="11057" y="8029"/>
                  </a:lnTo>
                  <a:lnTo>
                    <a:pt x="11057" y="9534"/>
                  </a:lnTo>
                  <a:close/>
                  <a:moveTo>
                    <a:pt x="8041" y="4516"/>
                  </a:moveTo>
                  <a:lnTo>
                    <a:pt x="8041" y="4518"/>
                  </a:lnTo>
                  <a:lnTo>
                    <a:pt x="8041" y="6524"/>
                  </a:lnTo>
                  <a:lnTo>
                    <a:pt x="4021" y="6524"/>
                  </a:lnTo>
                  <a:lnTo>
                    <a:pt x="4021" y="4518"/>
                  </a:lnTo>
                  <a:lnTo>
                    <a:pt x="4021" y="4516"/>
                  </a:lnTo>
                  <a:lnTo>
                    <a:pt x="4024" y="4413"/>
                  </a:lnTo>
                  <a:lnTo>
                    <a:pt x="4031" y="4312"/>
                  </a:lnTo>
                  <a:lnTo>
                    <a:pt x="4044" y="4210"/>
                  </a:lnTo>
                  <a:lnTo>
                    <a:pt x="4062" y="4112"/>
                  </a:lnTo>
                  <a:lnTo>
                    <a:pt x="4084" y="4015"/>
                  </a:lnTo>
                  <a:lnTo>
                    <a:pt x="4111" y="3919"/>
                  </a:lnTo>
                  <a:lnTo>
                    <a:pt x="4142" y="3826"/>
                  </a:lnTo>
                  <a:lnTo>
                    <a:pt x="4178" y="3735"/>
                  </a:lnTo>
                  <a:lnTo>
                    <a:pt x="4219" y="3646"/>
                  </a:lnTo>
                  <a:lnTo>
                    <a:pt x="4263" y="3560"/>
                  </a:lnTo>
                  <a:lnTo>
                    <a:pt x="4312" y="3476"/>
                  </a:lnTo>
                  <a:lnTo>
                    <a:pt x="4364" y="3394"/>
                  </a:lnTo>
                  <a:lnTo>
                    <a:pt x="4420" y="3315"/>
                  </a:lnTo>
                  <a:lnTo>
                    <a:pt x="4480" y="3240"/>
                  </a:lnTo>
                  <a:lnTo>
                    <a:pt x="4543" y="3166"/>
                  </a:lnTo>
                  <a:lnTo>
                    <a:pt x="4610" y="3097"/>
                  </a:lnTo>
                  <a:lnTo>
                    <a:pt x="4679" y="3031"/>
                  </a:lnTo>
                  <a:lnTo>
                    <a:pt x="4752" y="2968"/>
                  </a:lnTo>
                  <a:lnTo>
                    <a:pt x="4828" y="2908"/>
                  </a:lnTo>
                  <a:lnTo>
                    <a:pt x="4907" y="2852"/>
                  </a:lnTo>
                  <a:lnTo>
                    <a:pt x="4989" y="2800"/>
                  </a:lnTo>
                  <a:lnTo>
                    <a:pt x="5073" y="2751"/>
                  </a:lnTo>
                  <a:lnTo>
                    <a:pt x="5160" y="2707"/>
                  </a:lnTo>
                  <a:lnTo>
                    <a:pt x="5248" y="2667"/>
                  </a:lnTo>
                  <a:lnTo>
                    <a:pt x="5339" y="2631"/>
                  </a:lnTo>
                  <a:lnTo>
                    <a:pt x="5433" y="2599"/>
                  </a:lnTo>
                  <a:lnTo>
                    <a:pt x="5528" y="2572"/>
                  </a:lnTo>
                  <a:lnTo>
                    <a:pt x="5626" y="2550"/>
                  </a:lnTo>
                  <a:lnTo>
                    <a:pt x="5724" y="2532"/>
                  </a:lnTo>
                  <a:lnTo>
                    <a:pt x="5825" y="2519"/>
                  </a:lnTo>
                  <a:lnTo>
                    <a:pt x="5927" y="2512"/>
                  </a:lnTo>
                  <a:lnTo>
                    <a:pt x="6031" y="2509"/>
                  </a:lnTo>
                  <a:lnTo>
                    <a:pt x="6135" y="2512"/>
                  </a:lnTo>
                  <a:lnTo>
                    <a:pt x="6236" y="2519"/>
                  </a:lnTo>
                  <a:lnTo>
                    <a:pt x="6338" y="2532"/>
                  </a:lnTo>
                  <a:lnTo>
                    <a:pt x="6436" y="2550"/>
                  </a:lnTo>
                  <a:lnTo>
                    <a:pt x="6534" y="2572"/>
                  </a:lnTo>
                  <a:lnTo>
                    <a:pt x="6629" y="2599"/>
                  </a:lnTo>
                  <a:lnTo>
                    <a:pt x="6723" y="2631"/>
                  </a:lnTo>
                  <a:lnTo>
                    <a:pt x="6813" y="2667"/>
                  </a:lnTo>
                  <a:lnTo>
                    <a:pt x="6902" y="2707"/>
                  </a:lnTo>
                  <a:lnTo>
                    <a:pt x="6989" y="2751"/>
                  </a:lnTo>
                  <a:lnTo>
                    <a:pt x="7073" y="2800"/>
                  </a:lnTo>
                  <a:lnTo>
                    <a:pt x="7155" y="2852"/>
                  </a:lnTo>
                  <a:lnTo>
                    <a:pt x="7234" y="2908"/>
                  </a:lnTo>
                  <a:lnTo>
                    <a:pt x="7310" y="2968"/>
                  </a:lnTo>
                  <a:lnTo>
                    <a:pt x="7383" y="3031"/>
                  </a:lnTo>
                  <a:lnTo>
                    <a:pt x="7452" y="3097"/>
                  </a:lnTo>
                  <a:lnTo>
                    <a:pt x="7519" y="3166"/>
                  </a:lnTo>
                  <a:lnTo>
                    <a:pt x="7582" y="3240"/>
                  </a:lnTo>
                  <a:lnTo>
                    <a:pt x="7642" y="3315"/>
                  </a:lnTo>
                  <a:lnTo>
                    <a:pt x="7698" y="3394"/>
                  </a:lnTo>
                  <a:lnTo>
                    <a:pt x="7750" y="3476"/>
                  </a:lnTo>
                  <a:lnTo>
                    <a:pt x="7799" y="3560"/>
                  </a:lnTo>
                  <a:lnTo>
                    <a:pt x="7843" y="3646"/>
                  </a:lnTo>
                  <a:lnTo>
                    <a:pt x="7884" y="3735"/>
                  </a:lnTo>
                  <a:lnTo>
                    <a:pt x="7920" y="3826"/>
                  </a:lnTo>
                  <a:lnTo>
                    <a:pt x="7951" y="3919"/>
                  </a:lnTo>
                  <a:lnTo>
                    <a:pt x="7978" y="4015"/>
                  </a:lnTo>
                  <a:lnTo>
                    <a:pt x="8000" y="4112"/>
                  </a:lnTo>
                  <a:lnTo>
                    <a:pt x="8018" y="4210"/>
                  </a:lnTo>
                  <a:lnTo>
                    <a:pt x="8031" y="4312"/>
                  </a:lnTo>
                  <a:lnTo>
                    <a:pt x="8038" y="4413"/>
                  </a:lnTo>
                  <a:lnTo>
                    <a:pt x="8041" y="4516"/>
                  </a:lnTo>
                  <a:close/>
                  <a:moveTo>
                    <a:pt x="2513" y="4516"/>
                  </a:moveTo>
                  <a:lnTo>
                    <a:pt x="2517" y="4336"/>
                  </a:lnTo>
                  <a:lnTo>
                    <a:pt x="2531" y="4157"/>
                  </a:lnTo>
                  <a:lnTo>
                    <a:pt x="2553" y="3981"/>
                  </a:lnTo>
                  <a:lnTo>
                    <a:pt x="2584" y="3809"/>
                  </a:lnTo>
                  <a:lnTo>
                    <a:pt x="2623" y="3638"/>
                  </a:lnTo>
                  <a:lnTo>
                    <a:pt x="2671" y="3472"/>
                  </a:lnTo>
                  <a:lnTo>
                    <a:pt x="2726" y="3309"/>
                  </a:lnTo>
                  <a:lnTo>
                    <a:pt x="2789" y="3149"/>
                  </a:lnTo>
                  <a:lnTo>
                    <a:pt x="2860" y="2994"/>
                  </a:lnTo>
                  <a:lnTo>
                    <a:pt x="2937" y="2842"/>
                  </a:lnTo>
                  <a:lnTo>
                    <a:pt x="3023" y="2695"/>
                  </a:lnTo>
                  <a:lnTo>
                    <a:pt x="3114" y="2552"/>
                  </a:lnTo>
                  <a:lnTo>
                    <a:pt x="3212" y="2415"/>
                  </a:lnTo>
                  <a:lnTo>
                    <a:pt x="3316" y="2282"/>
                  </a:lnTo>
                  <a:lnTo>
                    <a:pt x="3427" y="2155"/>
                  </a:lnTo>
                  <a:lnTo>
                    <a:pt x="3543" y="2032"/>
                  </a:lnTo>
                  <a:lnTo>
                    <a:pt x="3666" y="1916"/>
                  </a:lnTo>
                  <a:lnTo>
                    <a:pt x="3793" y="1806"/>
                  </a:lnTo>
                  <a:lnTo>
                    <a:pt x="3926" y="1701"/>
                  </a:lnTo>
                  <a:lnTo>
                    <a:pt x="4064" y="1604"/>
                  </a:lnTo>
                  <a:lnTo>
                    <a:pt x="4207" y="1512"/>
                  </a:lnTo>
                  <a:lnTo>
                    <a:pt x="4354" y="1427"/>
                  </a:lnTo>
                  <a:lnTo>
                    <a:pt x="4505" y="1350"/>
                  </a:lnTo>
                  <a:lnTo>
                    <a:pt x="4662" y="1280"/>
                  </a:lnTo>
                  <a:lnTo>
                    <a:pt x="4821" y="1216"/>
                  </a:lnTo>
                  <a:lnTo>
                    <a:pt x="4985" y="1161"/>
                  </a:lnTo>
                  <a:lnTo>
                    <a:pt x="5151" y="1114"/>
                  </a:lnTo>
                  <a:lnTo>
                    <a:pt x="5322" y="1075"/>
                  </a:lnTo>
                  <a:lnTo>
                    <a:pt x="5495" y="1044"/>
                  </a:lnTo>
                  <a:lnTo>
                    <a:pt x="5671" y="1022"/>
                  </a:lnTo>
                  <a:lnTo>
                    <a:pt x="5850" y="1009"/>
                  </a:lnTo>
                  <a:lnTo>
                    <a:pt x="6031" y="1004"/>
                  </a:lnTo>
                  <a:lnTo>
                    <a:pt x="6212" y="1009"/>
                  </a:lnTo>
                  <a:lnTo>
                    <a:pt x="6391" y="1022"/>
                  </a:lnTo>
                  <a:lnTo>
                    <a:pt x="6567" y="1044"/>
                  </a:lnTo>
                  <a:lnTo>
                    <a:pt x="6740" y="1075"/>
                  </a:lnTo>
                  <a:lnTo>
                    <a:pt x="6911" y="1114"/>
                  </a:lnTo>
                  <a:lnTo>
                    <a:pt x="7077" y="1161"/>
                  </a:lnTo>
                  <a:lnTo>
                    <a:pt x="7240" y="1216"/>
                  </a:lnTo>
                  <a:lnTo>
                    <a:pt x="7400" y="1280"/>
                  </a:lnTo>
                  <a:lnTo>
                    <a:pt x="7556" y="1350"/>
                  </a:lnTo>
                  <a:lnTo>
                    <a:pt x="7708" y="1427"/>
                  </a:lnTo>
                  <a:lnTo>
                    <a:pt x="7855" y="1512"/>
                  </a:lnTo>
                  <a:lnTo>
                    <a:pt x="7998" y="1604"/>
                  </a:lnTo>
                  <a:lnTo>
                    <a:pt x="8136" y="1701"/>
                  </a:lnTo>
                  <a:lnTo>
                    <a:pt x="8269" y="1806"/>
                  </a:lnTo>
                  <a:lnTo>
                    <a:pt x="8396" y="1916"/>
                  </a:lnTo>
                  <a:lnTo>
                    <a:pt x="8519" y="2032"/>
                  </a:lnTo>
                  <a:lnTo>
                    <a:pt x="8635" y="2155"/>
                  </a:lnTo>
                  <a:lnTo>
                    <a:pt x="8746" y="2282"/>
                  </a:lnTo>
                  <a:lnTo>
                    <a:pt x="8850" y="2415"/>
                  </a:lnTo>
                  <a:lnTo>
                    <a:pt x="8948" y="2552"/>
                  </a:lnTo>
                  <a:lnTo>
                    <a:pt x="9039" y="2695"/>
                  </a:lnTo>
                  <a:lnTo>
                    <a:pt x="9125" y="2842"/>
                  </a:lnTo>
                  <a:lnTo>
                    <a:pt x="9202" y="2994"/>
                  </a:lnTo>
                  <a:lnTo>
                    <a:pt x="9273" y="3149"/>
                  </a:lnTo>
                  <a:lnTo>
                    <a:pt x="9336" y="3309"/>
                  </a:lnTo>
                  <a:lnTo>
                    <a:pt x="9391" y="3472"/>
                  </a:lnTo>
                  <a:lnTo>
                    <a:pt x="9439" y="3638"/>
                  </a:lnTo>
                  <a:lnTo>
                    <a:pt x="9478" y="3809"/>
                  </a:lnTo>
                  <a:lnTo>
                    <a:pt x="9509" y="3981"/>
                  </a:lnTo>
                  <a:lnTo>
                    <a:pt x="9531" y="4157"/>
                  </a:lnTo>
                  <a:lnTo>
                    <a:pt x="9544" y="4336"/>
                  </a:lnTo>
                  <a:lnTo>
                    <a:pt x="9549" y="4516"/>
                  </a:lnTo>
                  <a:lnTo>
                    <a:pt x="9549" y="6524"/>
                  </a:lnTo>
                  <a:lnTo>
                    <a:pt x="8544" y="6524"/>
                  </a:lnTo>
                  <a:lnTo>
                    <a:pt x="8544" y="4518"/>
                  </a:lnTo>
                  <a:lnTo>
                    <a:pt x="8541" y="4389"/>
                  </a:lnTo>
                  <a:lnTo>
                    <a:pt x="8531" y="4261"/>
                  </a:lnTo>
                  <a:lnTo>
                    <a:pt x="8515" y="4136"/>
                  </a:lnTo>
                  <a:lnTo>
                    <a:pt x="8493" y="4012"/>
                  </a:lnTo>
                  <a:lnTo>
                    <a:pt x="8465" y="3891"/>
                  </a:lnTo>
                  <a:lnTo>
                    <a:pt x="8431" y="3772"/>
                  </a:lnTo>
                  <a:lnTo>
                    <a:pt x="8391" y="3655"/>
                  </a:lnTo>
                  <a:lnTo>
                    <a:pt x="8347" y="3541"/>
                  </a:lnTo>
                  <a:lnTo>
                    <a:pt x="8297" y="3430"/>
                  </a:lnTo>
                  <a:lnTo>
                    <a:pt x="8240" y="3322"/>
                  </a:lnTo>
                  <a:lnTo>
                    <a:pt x="8180" y="3217"/>
                  </a:lnTo>
                  <a:lnTo>
                    <a:pt x="8115" y="3115"/>
                  </a:lnTo>
                  <a:lnTo>
                    <a:pt x="8044" y="3017"/>
                  </a:lnTo>
                  <a:lnTo>
                    <a:pt x="7970" y="2922"/>
                  </a:lnTo>
                  <a:lnTo>
                    <a:pt x="7892" y="2830"/>
                  </a:lnTo>
                  <a:lnTo>
                    <a:pt x="7808" y="2744"/>
                  </a:lnTo>
                  <a:lnTo>
                    <a:pt x="7721" y="2661"/>
                  </a:lnTo>
                  <a:lnTo>
                    <a:pt x="7629" y="2581"/>
                  </a:lnTo>
                  <a:lnTo>
                    <a:pt x="7535" y="2507"/>
                  </a:lnTo>
                  <a:lnTo>
                    <a:pt x="7436" y="2437"/>
                  </a:lnTo>
                  <a:lnTo>
                    <a:pt x="7334" y="2372"/>
                  </a:lnTo>
                  <a:lnTo>
                    <a:pt x="7229" y="2311"/>
                  </a:lnTo>
                  <a:lnTo>
                    <a:pt x="7121" y="2256"/>
                  </a:lnTo>
                  <a:lnTo>
                    <a:pt x="7009" y="2206"/>
                  </a:lnTo>
                  <a:lnTo>
                    <a:pt x="6895" y="2161"/>
                  </a:lnTo>
                  <a:lnTo>
                    <a:pt x="6779" y="2122"/>
                  </a:lnTo>
                  <a:lnTo>
                    <a:pt x="6659" y="2088"/>
                  </a:lnTo>
                  <a:lnTo>
                    <a:pt x="6538" y="2059"/>
                  </a:lnTo>
                  <a:lnTo>
                    <a:pt x="6414" y="2037"/>
                  </a:lnTo>
                  <a:lnTo>
                    <a:pt x="6288" y="2021"/>
                  </a:lnTo>
                  <a:lnTo>
                    <a:pt x="6161" y="2012"/>
                  </a:lnTo>
                  <a:lnTo>
                    <a:pt x="6031" y="2009"/>
                  </a:lnTo>
                  <a:lnTo>
                    <a:pt x="5901" y="2012"/>
                  </a:lnTo>
                  <a:lnTo>
                    <a:pt x="5774" y="2021"/>
                  </a:lnTo>
                  <a:lnTo>
                    <a:pt x="5648" y="2037"/>
                  </a:lnTo>
                  <a:lnTo>
                    <a:pt x="5524" y="2059"/>
                  </a:lnTo>
                  <a:lnTo>
                    <a:pt x="5403" y="2088"/>
                  </a:lnTo>
                  <a:lnTo>
                    <a:pt x="5283" y="2122"/>
                  </a:lnTo>
                  <a:lnTo>
                    <a:pt x="5167" y="2161"/>
                  </a:lnTo>
                  <a:lnTo>
                    <a:pt x="5053" y="2206"/>
                  </a:lnTo>
                  <a:lnTo>
                    <a:pt x="4941" y="2256"/>
                  </a:lnTo>
                  <a:lnTo>
                    <a:pt x="4833" y="2311"/>
                  </a:lnTo>
                  <a:lnTo>
                    <a:pt x="4727" y="2372"/>
                  </a:lnTo>
                  <a:lnTo>
                    <a:pt x="4626" y="2437"/>
                  </a:lnTo>
                  <a:lnTo>
                    <a:pt x="4527" y="2507"/>
                  </a:lnTo>
                  <a:lnTo>
                    <a:pt x="4433" y="2581"/>
                  </a:lnTo>
                  <a:lnTo>
                    <a:pt x="4341" y="2661"/>
                  </a:lnTo>
                  <a:lnTo>
                    <a:pt x="4254" y="2744"/>
                  </a:lnTo>
                  <a:lnTo>
                    <a:pt x="4170" y="2830"/>
                  </a:lnTo>
                  <a:lnTo>
                    <a:pt x="4092" y="2922"/>
                  </a:lnTo>
                  <a:lnTo>
                    <a:pt x="4017" y="3017"/>
                  </a:lnTo>
                  <a:lnTo>
                    <a:pt x="3947" y="3115"/>
                  </a:lnTo>
                  <a:lnTo>
                    <a:pt x="3882" y="3217"/>
                  </a:lnTo>
                  <a:lnTo>
                    <a:pt x="3822" y="3322"/>
                  </a:lnTo>
                  <a:lnTo>
                    <a:pt x="3765" y="3430"/>
                  </a:lnTo>
                  <a:lnTo>
                    <a:pt x="3715" y="3541"/>
                  </a:lnTo>
                  <a:lnTo>
                    <a:pt x="3671" y="3655"/>
                  </a:lnTo>
                  <a:lnTo>
                    <a:pt x="3631" y="3772"/>
                  </a:lnTo>
                  <a:lnTo>
                    <a:pt x="3597" y="3891"/>
                  </a:lnTo>
                  <a:lnTo>
                    <a:pt x="3569" y="4012"/>
                  </a:lnTo>
                  <a:lnTo>
                    <a:pt x="3547" y="4136"/>
                  </a:lnTo>
                  <a:lnTo>
                    <a:pt x="3531" y="4261"/>
                  </a:lnTo>
                  <a:lnTo>
                    <a:pt x="3521" y="4389"/>
                  </a:lnTo>
                  <a:lnTo>
                    <a:pt x="3518" y="4518"/>
                  </a:lnTo>
                  <a:lnTo>
                    <a:pt x="3518" y="6524"/>
                  </a:lnTo>
                  <a:lnTo>
                    <a:pt x="2513" y="6524"/>
                  </a:lnTo>
                  <a:lnTo>
                    <a:pt x="2513" y="4516"/>
                  </a:lnTo>
                  <a:close/>
                  <a:moveTo>
                    <a:pt x="10554" y="6524"/>
                  </a:moveTo>
                  <a:lnTo>
                    <a:pt x="10554" y="4516"/>
                  </a:lnTo>
                  <a:lnTo>
                    <a:pt x="10548" y="4283"/>
                  </a:lnTo>
                  <a:lnTo>
                    <a:pt x="10531" y="4055"/>
                  </a:lnTo>
                  <a:lnTo>
                    <a:pt x="10502" y="3829"/>
                  </a:lnTo>
                  <a:lnTo>
                    <a:pt x="10463" y="3606"/>
                  </a:lnTo>
                  <a:lnTo>
                    <a:pt x="10412" y="3387"/>
                  </a:lnTo>
                  <a:lnTo>
                    <a:pt x="10351" y="3173"/>
                  </a:lnTo>
                  <a:lnTo>
                    <a:pt x="10280" y="2964"/>
                  </a:lnTo>
                  <a:lnTo>
                    <a:pt x="10198" y="2758"/>
                  </a:lnTo>
                  <a:lnTo>
                    <a:pt x="10108" y="2558"/>
                  </a:lnTo>
                  <a:lnTo>
                    <a:pt x="10008" y="2364"/>
                  </a:lnTo>
                  <a:lnTo>
                    <a:pt x="9900" y="2175"/>
                  </a:lnTo>
                  <a:lnTo>
                    <a:pt x="9782" y="1991"/>
                  </a:lnTo>
                  <a:lnTo>
                    <a:pt x="9656" y="1815"/>
                  </a:lnTo>
                  <a:lnTo>
                    <a:pt x="9521" y="1643"/>
                  </a:lnTo>
                  <a:lnTo>
                    <a:pt x="9379" y="1479"/>
                  </a:lnTo>
                  <a:lnTo>
                    <a:pt x="9229" y="1323"/>
                  </a:lnTo>
                  <a:lnTo>
                    <a:pt x="9073" y="1173"/>
                  </a:lnTo>
                  <a:lnTo>
                    <a:pt x="8908" y="1032"/>
                  </a:lnTo>
                  <a:lnTo>
                    <a:pt x="8737" y="897"/>
                  </a:lnTo>
                  <a:lnTo>
                    <a:pt x="8560" y="771"/>
                  </a:lnTo>
                  <a:lnTo>
                    <a:pt x="8376" y="653"/>
                  </a:lnTo>
                  <a:lnTo>
                    <a:pt x="8187" y="545"/>
                  </a:lnTo>
                  <a:lnTo>
                    <a:pt x="7992" y="446"/>
                  </a:lnTo>
                  <a:lnTo>
                    <a:pt x="7792" y="355"/>
                  </a:lnTo>
                  <a:lnTo>
                    <a:pt x="7586" y="274"/>
                  </a:lnTo>
                  <a:lnTo>
                    <a:pt x="7376" y="203"/>
                  </a:lnTo>
                  <a:lnTo>
                    <a:pt x="7162" y="143"/>
                  </a:lnTo>
                  <a:lnTo>
                    <a:pt x="6943" y="91"/>
                  </a:lnTo>
                  <a:lnTo>
                    <a:pt x="6720" y="52"/>
                  </a:lnTo>
                  <a:lnTo>
                    <a:pt x="6493" y="23"/>
                  </a:lnTo>
                  <a:lnTo>
                    <a:pt x="6264" y="6"/>
                  </a:lnTo>
                  <a:lnTo>
                    <a:pt x="6031" y="0"/>
                  </a:lnTo>
                  <a:lnTo>
                    <a:pt x="5798" y="6"/>
                  </a:lnTo>
                  <a:lnTo>
                    <a:pt x="5569" y="23"/>
                  </a:lnTo>
                  <a:lnTo>
                    <a:pt x="5342" y="52"/>
                  </a:lnTo>
                  <a:lnTo>
                    <a:pt x="5119" y="91"/>
                  </a:lnTo>
                  <a:lnTo>
                    <a:pt x="4900" y="143"/>
                  </a:lnTo>
                  <a:lnTo>
                    <a:pt x="4686" y="203"/>
                  </a:lnTo>
                  <a:lnTo>
                    <a:pt x="4476" y="274"/>
                  </a:lnTo>
                  <a:lnTo>
                    <a:pt x="4270" y="355"/>
                  </a:lnTo>
                  <a:lnTo>
                    <a:pt x="4070" y="446"/>
                  </a:lnTo>
                  <a:lnTo>
                    <a:pt x="3875" y="545"/>
                  </a:lnTo>
                  <a:lnTo>
                    <a:pt x="3685" y="653"/>
                  </a:lnTo>
                  <a:lnTo>
                    <a:pt x="3502" y="771"/>
                  </a:lnTo>
                  <a:lnTo>
                    <a:pt x="3324" y="897"/>
                  </a:lnTo>
                  <a:lnTo>
                    <a:pt x="3153" y="1032"/>
                  </a:lnTo>
                  <a:lnTo>
                    <a:pt x="2989" y="1173"/>
                  </a:lnTo>
                  <a:lnTo>
                    <a:pt x="2833" y="1323"/>
                  </a:lnTo>
                  <a:lnTo>
                    <a:pt x="2683" y="1479"/>
                  </a:lnTo>
                  <a:lnTo>
                    <a:pt x="2540" y="1643"/>
                  </a:lnTo>
                  <a:lnTo>
                    <a:pt x="2406" y="1815"/>
                  </a:lnTo>
                  <a:lnTo>
                    <a:pt x="2280" y="1991"/>
                  </a:lnTo>
                  <a:lnTo>
                    <a:pt x="2162" y="2175"/>
                  </a:lnTo>
                  <a:lnTo>
                    <a:pt x="2054" y="2364"/>
                  </a:lnTo>
                  <a:lnTo>
                    <a:pt x="1954" y="2558"/>
                  </a:lnTo>
                  <a:lnTo>
                    <a:pt x="1864" y="2758"/>
                  </a:lnTo>
                  <a:lnTo>
                    <a:pt x="1782" y="2964"/>
                  </a:lnTo>
                  <a:lnTo>
                    <a:pt x="1711" y="3173"/>
                  </a:lnTo>
                  <a:lnTo>
                    <a:pt x="1650" y="3387"/>
                  </a:lnTo>
                  <a:lnTo>
                    <a:pt x="1599" y="3606"/>
                  </a:lnTo>
                  <a:lnTo>
                    <a:pt x="1560" y="3829"/>
                  </a:lnTo>
                  <a:lnTo>
                    <a:pt x="1531" y="4055"/>
                  </a:lnTo>
                  <a:lnTo>
                    <a:pt x="1514" y="4283"/>
                  </a:lnTo>
                  <a:lnTo>
                    <a:pt x="1508" y="4516"/>
                  </a:lnTo>
                  <a:lnTo>
                    <a:pt x="1508" y="6524"/>
                  </a:lnTo>
                  <a:lnTo>
                    <a:pt x="1430" y="6526"/>
                  </a:lnTo>
                  <a:lnTo>
                    <a:pt x="1354" y="6532"/>
                  </a:lnTo>
                  <a:lnTo>
                    <a:pt x="1278" y="6541"/>
                  </a:lnTo>
                  <a:lnTo>
                    <a:pt x="1204" y="6555"/>
                  </a:lnTo>
                  <a:lnTo>
                    <a:pt x="1131" y="6571"/>
                  </a:lnTo>
                  <a:lnTo>
                    <a:pt x="1059" y="6592"/>
                  </a:lnTo>
                  <a:lnTo>
                    <a:pt x="989" y="6615"/>
                  </a:lnTo>
                  <a:lnTo>
                    <a:pt x="921" y="6642"/>
                  </a:lnTo>
                  <a:lnTo>
                    <a:pt x="854" y="6672"/>
                  </a:lnTo>
                  <a:lnTo>
                    <a:pt x="789" y="6705"/>
                  </a:lnTo>
                  <a:lnTo>
                    <a:pt x="726" y="6741"/>
                  </a:lnTo>
                  <a:lnTo>
                    <a:pt x="664" y="6780"/>
                  </a:lnTo>
                  <a:lnTo>
                    <a:pt x="605" y="6823"/>
                  </a:lnTo>
                  <a:lnTo>
                    <a:pt x="549" y="6868"/>
                  </a:lnTo>
                  <a:lnTo>
                    <a:pt x="494" y="6915"/>
                  </a:lnTo>
                  <a:lnTo>
                    <a:pt x="441" y="6964"/>
                  </a:lnTo>
                  <a:lnTo>
                    <a:pt x="392" y="7016"/>
                  </a:lnTo>
                  <a:lnTo>
                    <a:pt x="344" y="7072"/>
                  </a:lnTo>
                  <a:lnTo>
                    <a:pt x="300" y="7129"/>
                  </a:lnTo>
                  <a:lnTo>
                    <a:pt x="257" y="7187"/>
                  </a:lnTo>
                  <a:lnTo>
                    <a:pt x="218" y="7248"/>
                  </a:lnTo>
                  <a:lnTo>
                    <a:pt x="182" y="7311"/>
                  </a:lnTo>
                  <a:lnTo>
                    <a:pt x="149" y="7377"/>
                  </a:lnTo>
                  <a:lnTo>
                    <a:pt x="119" y="7443"/>
                  </a:lnTo>
                  <a:lnTo>
                    <a:pt x="91" y="7511"/>
                  </a:lnTo>
                  <a:lnTo>
                    <a:pt x="67" y="7581"/>
                  </a:lnTo>
                  <a:lnTo>
                    <a:pt x="47" y="7653"/>
                  </a:lnTo>
                  <a:lnTo>
                    <a:pt x="30" y="7726"/>
                  </a:lnTo>
                  <a:lnTo>
                    <a:pt x="17" y="7800"/>
                  </a:lnTo>
                  <a:lnTo>
                    <a:pt x="8" y="7875"/>
                  </a:lnTo>
                  <a:lnTo>
                    <a:pt x="2" y="7952"/>
                  </a:lnTo>
                  <a:lnTo>
                    <a:pt x="0" y="8029"/>
                  </a:lnTo>
                  <a:lnTo>
                    <a:pt x="0" y="9534"/>
                  </a:lnTo>
                  <a:lnTo>
                    <a:pt x="0" y="10036"/>
                  </a:lnTo>
                  <a:lnTo>
                    <a:pt x="0" y="11040"/>
                  </a:lnTo>
                  <a:lnTo>
                    <a:pt x="0" y="11542"/>
                  </a:lnTo>
                  <a:lnTo>
                    <a:pt x="6" y="11775"/>
                  </a:lnTo>
                  <a:lnTo>
                    <a:pt x="23" y="12003"/>
                  </a:lnTo>
                  <a:lnTo>
                    <a:pt x="52" y="12229"/>
                  </a:lnTo>
                  <a:lnTo>
                    <a:pt x="91" y="12452"/>
                  </a:lnTo>
                  <a:lnTo>
                    <a:pt x="143" y="12671"/>
                  </a:lnTo>
                  <a:lnTo>
                    <a:pt x="203" y="12885"/>
                  </a:lnTo>
                  <a:lnTo>
                    <a:pt x="274" y="13094"/>
                  </a:lnTo>
                  <a:lnTo>
                    <a:pt x="356" y="13300"/>
                  </a:lnTo>
                  <a:lnTo>
                    <a:pt x="446" y="13500"/>
                  </a:lnTo>
                  <a:lnTo>
                    <a:pt x="546" y="13694"/>
                  </a:lnTo>
                  <a:lnTo>
                    <a:pt x="654" y="13884"/>
                  </a:lnTo>
                  <a:lnTo>
                    <a:pt x="772" y="14067"/>
                  </a:lnTo>
                  <a:lnTo>
                    <a:pt x="899" y="14243"/>
                  </a:lnTo>
                  <a:lnTo>
                    <a:pt x="1032" y="14415"/>
                  </a:lnTo>
                  <a:lnTo>
                    <a:pt x="1175" y="14579"/>
                  </a:lnTo>
                  <a:lnTo>
                    <a:pt x="1325" y="14735"/>
                  </a:lnTo>
                  <a:lnTo>
                    <a:pt x="1482" y="14885"/>
                  </a:lnTo>
                  <a:lnTo>
                    <a:pt x="1646" y="15027"/>
                  </a:lnTo>
                  <a:lnTo>
                    <a:pt x="1817" y="15161"/>
                  </a:lnTo>
                  <a:lnTo>
                    <a:pt x="1994" y="15287"/>
                  </a:lnTo>
                  <a:lnTo>
                    <a:pt x="2177" y="15405"/>
                  </a:lnTo>
                  <a:lnTo>
                    <a:pt x="2367" y="15513"/>
                  </a:lnTo>
                  <a:lnTo>
                    <a:pt x="2562" y="15612"/>
                  </a:lnTo>
                  <a:lnTo>
                    <a:pt x="2762" y="15703"/>
                  </a:lnTo>
                  <a:lnTo>
                    <a:pt x="2968" y="15784"/>
                  </a:lnTo>
                  <a:lnTo>
                    <a:pt x="3178" y="15855"/>
                  </a:lnTo>
                  <a:lnTo>
                    <a:pt x="3392" y="15915"/>
                  </a:lnTo>
                  <a:lnTo>
                    <a:pt x="3612" y="15967"/>
                  </a:lnTo>
                  <a:lnTo>
                    <a:pt x="3835" y="16006"/>
                  </a:lnTo>
                  <a:lnTo>
                    <a:pt x="4061" y="16035"/>
                  </a:lnTo>
                  <a:lnTo>
                    <a:pt x="4290" y="16052"/>
                  </a:lnTo>
                  <a:lnTo>
                    <a:pt x="4523" y="16058"/>
                  </a:lnTo>
                  <a:lnTo>
                    <a:pt x="7539" y="16058"/>
                  </a:lnTo>
                  <a:lnTo>
                    <a:pt x="7771" y="16052"/>
                  </a:lnTo>
                  <a:lnTo>
                    <a:pt x="8001" y="16035"/>
                  </a:lnTo>
                  <a:lnTo>
                    <a:pt x="8227" y="16006"/>
                  </a:lnTo>
                  <a:lnTo>
                    <a:pt x="8450" y="15967"/>
                  </a:lnTo>
                  <a:lnTo>
                    <a:pt x="8670" y="15915"/>
                  </a:lnTo>
                  <a:lnTo>
                    <a:pt x="8884" y="15855"/>
                  </a:lnTo>
                  <a:lnTo>
                    <a:pt x="9094" y="15784"/>
                  </a:lnTo>
                  <a:lnTo>
                    <a:pt x="9300" y="15703"/>
                  </a:lnTo>
                  <a:lnTo>
                    <a:pt x="9500" y="15612"/>
                  </a:lnTo>
                  <a:lnTo>
                    <a:pt x="9695" y="15513"/>
                  </a:lnTo>
                  <a:lnTo>
                    <a:pt x="9884" y="15405"/>
                  </a:lnTo>
                  <a:lnTo>
                    <a:pt x="10068" y="15287"/>
                  </a:lnTo>
                  <a:lnTo>
                    <a:pt x="10245" y="15161"/>
                  </a:lnTo>
                  <a:lnTo>
                    <a:pt x="10416" y="15027"/>
                  </a:lnTo>
                  <a:lnTo>
                    <a:pt x="10580" y="14885"/>
                  </a:lnTo>
                  <a:lnTo>
                    <a:pt x="10737" y="14735"/>
                  </a:lnTo>
                  <a:lnTo>
                    <a:pt x="10887" y="14579"/>
                  </a:lnTo>
                  <a:lnTo>
                    <a:pt x="11029" y="14415"/>
                  </a:lnTo>
                  <a:lnTo>
                    <a:pt x="11163" y="14243"/>
                  </a:lnTo>
                  <a:lnTo>
                    <a:pt x="11290" y="14067"/>
                  </a:lnTo>
                  <a:lnTo>
                    <a:pt x="11408" y="13884"/>
                  </a:lnTo>
                  <a:lnTo>
                    <a:pt x="11516" y="13694"/>
                  </a:lnTo>
                  <a:lnTo>
                    <a:pt x="11616" y="13500"/>
                  </a:lnTo>
                  <a:lnTo>
                    <a:pt x="11706" y="13300"/>
                  </a:lnTo>
                  <a:lnTo>
                    <a:pt x="11788" y="13094"/>
                  </a:lnTo>
                  <a:lnTo>
                    <a:pt x="11859" y="12885"/>
                  </a:lnTo>
                  <a:lnTo>
                    <a:pt x="11919" y="12671"/>
                  </a:lnTo>
                  <a:lnTo>
                    <a:pt x="11971" y="12452"/>
                  </a:lnTo>
                  <a:lnTo>
                    <a:pt x="12010" y="12229"/>
                  </a:lnTo>
                  <a:lnTo>
                    <a:pt x="12039" y="12003"/>
                  </a:lnTo>
                  <a:lnTo>
                    <a:pt x="12056" y="11775"/>
                  </a:lnTo>
                  <a:lnTo>
                    <a:pt x="12062" y="11542"/>
                  </a:lnTo>
                  <a:lnTo>
                    <a:pt x="12062" y="11040"/>
                  </a:lnTo>
                  <a:lnTo>
                    <a:pt x="12062" y="10036"/>
                  </a:lnTo>
                  <a:lnTo>
                    <a:pt x="12062" y="9534"/>
                  </a:lnTo>
                  <a:lnTo>
                    <a:pt x="12062" y="8029"/>
                  </a:lnTo>
                  <a:lnTo>
                    <a:pt x="12060" y="7952"/>
                  </a:lnTo>
                  <a:lnTo>
                    <a:pt x="12054" y="7875"/>
                  </a:lnTo>
                  <a:lnTo>
                    <a:pt x="12045" y="7800"/>
                  </a:lnTo>
                  <a:lnTo>
                    <a:pt x="12032" y="7726"/>
                  </a:lnTo>
                  <a:lnTo>
                    <a:pt x="12015" y="7653"/>
                  </a:lnTo>
                  <a:lnTo>
                    <a:pt x="11995" y="7581"/>
                  </a:lnTo>
                  <a:lnTo>
                    <a:pt x="11971" y="7511"/>
                  </a:lnTo>
                  <a:lnTo>
                    <a:pt x="11943" y="7443"/>
                  </a:lnTo>
                  <a:lnTo>
                    <a:pt x="11913" y="7377"/>
                  </a:lnTo>
                  <a:lnTo>
                    <a:pt x="11880" y="7311"/>
                  </a:lnTo>
                  <a:lnTo>
                    <a:pt x="11844" y="7248"/>
                  </a:lnTo>
                  <a:lnTo>
                    <a:pt x="11805" y="7187"/>
                  </a:lnTo>
                  <a:lnTo>
                    <a:pt x="11762" y="7129"/>
                  </a:lnTo>
                  <a:lnTo>
                    <a:pt x="11717" y="7072"/>
                  </a:lnTo>
                  <a:lnTo>
                    <a:pt x="11670" y="7016"/>
                  </a:lnTo>
                  <a:lnTo>
                    <a:pt x="11621" y="6964"/>
                  </a:lnTo>
                  <a:lnTo>
                    <a:pt x="11568" y="6915"/>
                  </a:lnTo>
                  <a:lnTo>
                    <a:pt x="11513" y="6868"/>
                  </a:lnTo>
                  <a:lnTo>
                    <a:pt x="11456" y="6823"/>
                  </a:lnTo>
                  <a:lnTo>
                    <a:pt x="11398" y="6780"/>
                  </a:lnTo>
                  <a:lnTo>
                    <a:pt x="11336" y="6741"/>
                  </a:lnTo>
                  <a:lnTo>
                    <a:pt x="11273" y="6705"/>
                  </a:lnTo>
                  <a:lnTo>
                    <a:pt x="11208" y="6672"/>
                  </a:lnTo>
                  <a:lnTo>
                    <a:pt x="11141" y="6642"/>
                  </a:lnTo>
                  <a:lnTo>
                    <a:pt x="11073" y="6615"/>
                  </a:lnTo>
                  <a:lnTo>
                    <a:pt x="11003" y="6592"/>
                  </a:lnTo>
                  <a:lnTo>
                    <a:pt x="10931" y="6571"/>
                  </a:lnTo>
                  <a:lnTo>
                    <a:pt x="10858" y="6555"/>
                  </a:lnTo>
                  <a:lnTo>
                    <a:pt x="10783" y="6541"/>
                  </a:lnTo>
                  <a:lnTo>
                    <a:pt x="10708" y="6532"/>
                  </a:lnTo>
                  <a:lnTo>
                    <a:pt x="10632" y="6526"/>
                  </a:lnTo>
                  <a:lnTo>
                    <a:pt x="10554" y="65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62" name="išḷïḓê">
              <a:extLst>
                <a:ext uri="{FF2B5EF4-FFF2-40B4-BE49-F238E27FC236}">
                  <a16:creationId xmlns:a16="http://schemas.microsoft.com/office/drawing/2014/main" id="{A2D8B151-6186-41E6-8558-5304E3F7DC2E}"/>
                </a:ext>
              </a:extLst>
            </p:cNvPr>
            <p:cNvSpPr/>
            <p:nvPr/>
          </p:nvSpPr>
          <p:spPr bwMode="auto">
            <a:xfrm>
              <a:off x="5291162" y="643897"/>
              <a:ext cx="76139" cy="114208"/>
            </a:xfrm>
            <a:custGeom>
              <a:avLst/>
              <a:gdLst>
                <a:gd name="T0" fmla="*/ 902 w 2010"/>
                <a:gd name="T1" fmla="*/ 5 h 3011"/>
                <a:gd name="T2" fmla="*/ 754 w 2010"/>
                <a:gd name="T3" fmla="*/ 33 h 3011"/>
                <a:gd name="T4" fmla="*/ 614 w 2010"/>
                <a:gd name="T5" fmla="*/ 80 h 3011"/>
                <a:gd name="T6" fmla="*/ 484 w 2010"/>
                <a:gd name="T7" fmla="*/ 146 h 3011"/>
                <a:gd name="T8" fmla="*/ 366 w 2010"/>
                <a:gd name="T9" fmla="*/ 229 h 3011"/>
                <a:gd name="T10" fmla="*/ 261 w 2010"/>
                <a:gd name="T11" fmla="*/ 330 h 3011"/>
                <a:gd name="T12" fmla="*/ 172 w 2010"/>
                <a:gd name="T13" fmla="*/ 443 h 3011"/>
                <a:gd name="T14" fmla="*/ 99 w 2010"/>
                <a:gd name="T15" fmla="*/ 569 h 3011"/>
                <a:gd name="T16" fmla="*/ 45 w 2010"/>
                <a:gd name="T17" fmla="*/ 706 h 3011"/>
                <a:gd name="T18" fmla="*/ 11 w 2010"/>
                <a:gd name="T19" fmla="*/ 852 h 3011"/>
                <a:gd name="T20" fmla="*/ 0 w 2010"/>
                <a:gd name="T21" fmla="*/ 1004 h 3011"/>
                <a:gd name="T22" fmla="*/ 4 w 2010"/>
                <a:gd name="T23" fmla="*/ 1096 h 3011"/>
                <a:gd name="T24" fmla="*/ 16 w 2010"/>
                <a:gd name="T25" fmla="*/ 1202 h 3011"/>
                <a:gd name="T26" fmla="*/ 44 w 2010"/>
                <a:gd name="T27" fmla="*/ 1358 h 3011"/>
                <a:gd name="T28" fmla="*/ 104 w 2010"/>
                <a:gd name="T29" fmla="*/ 1617 h 3011"/>
                <a:gd name="T30" fmla="*/ 183 w 2010"/>
                <a:gd name="T31" fmla="*/ 1892 h 3011"/>
                <a:gd name="T32" fmla="*/ 272 w 2010"/>
                <a:gd name="T33" fmla="*/ 2168 h 3011"/>
                <a:gd name="T34" fmla="*/ 361 w 2010"/>
                <a:gd name="T35" fmla="*/ 2414 h 3011"/>
                <a:gd name="T36" fmla="*/ 417 w 2010"/>
                <a:gd name="T37" fmla="*/ 2545 h 3011"/>
                <a:gd name="T38" fmla="*/ 462 w 2010"/>
                <a:gd name="T39" fmla="*/ 2636 h 3011"/>
                <a:gd name="T40" fmla="*/ 511 w 2010"/>
                <a:gd name="T41" fmla="*/ 2719 h 3011"/>
                <a:gd name="T42" fmla="*/ 567 w 2010"/>
                <a:gd name="T43" fmla="*/ 2795 h 3011"/>
                <a:gd name="T44" fmla="*/ 626 w 2010"/>
                <a:gd name="T45" fmla="*/ 2860 h 3011"/>
                <a:gd name="T46" fmla="*/ 693 w 2010"/>
                <a:gd name="T47" fmla="*/ 2916 h 3011"/>
                <a:gd name="T48" fmla="*/ 767 w 2010"/>
                <a:gd name="T49" fmla="*/ 2959 h 3011"/>
                <a:gd name="T50" fmla="*/ 849 w 2010"/>
                <a:gd name="T51" fmla="*/ 2990 h 3011"/>
                <a:gd name="T52" fmla="*/ 940 w 2010"/>
                <a:gd name="T53" fmla="*/ 3007 h 3011"/>
                <a:gd name="T54" fmla="*/ 1041 w 2010"/>
                <a:gd name="T55" fmla="*/ 3010 h 3011"/>
                <a:gd name="T56" fmla="*/ 1141 w 2010"/>
                <a:gd name="T57" fmla="*/ 2997 h 3011"/>
                <a:gd name="T58" fmla="*/ 1229 w 2010"/>
                <a:gd name="T59" fmla="*/ 2971 h 3011"/>
                <a:gd name="T60" fmla="*/ 1307 w 2010"/>
                <a:gd name="T61" fmla="*/ 2932 h 3011"/>
                <a:gd name="T62" fmla="*/ 1375 w 2010"/>
                <a:gd name="T63" fmla="*/ 2881 h 3011"/>
                <a:gd name="T64" fmla="*/ 1436 w 2010"/>
                <a:gd name="T65" fmla="*/ 2820 h 3011"/>
                <a:gd name="T66" fmla="*/ 1489 w 2010"/>
                <a:gd name="T67" fmla="*/ 2747 h 3011"/>
                <a:gd name="T68" fmla="*/ 1538 w 2010"/>
                <a:gd name="T69" fmla="*/ 2667 h 3011"/>
                <a:gd name="T70" fmla="*/ 1582 w 2010"/>
                <a:gd name="T71" fmla="*/ 2580 h 3011"/>
                <a:gd name="T72" fmla="*/ 1623 w 2010"/>
                <a:gd name="T73" fmla="*/ 2484 h 3011"/>
                <a:gd name="T74" fmla="*/ 1708 w 2010"/>
                <a:gd name="T75" fmla="*/ 2263 h 3011"/>
                <a:gd name="T76" fmla="*/ 1799 w 2010"/>
                <a:gd name="T77" fmla="*/ 1990 h 3011"/>
                <a:gd name="T78" fmla="*/ 1883 w 2010"/>
                <a:gd name="T79" fmla="*/ 1711 h 3011"/>
                <a:gd name="T80" fmla="*/ 1949 w 2010"/>
                <a:gd name="T81" fmla="*/ 1444 h 3011"/>
                <a:gd name="T82" fmla="*/ 1988 w 2010"/>
                <a:gd name="T83" fmla="*/ 1240 h 3011"/>
                <a:gd name="T84" fmla="*/ 2003 w 2010"/>
                <a:gd name="T85" fmla="*/ 1132 h 3011"/>
                <a:gd name="T86" fmla="*/ 2009 w 2010"/>
                <a:gd name="T87" fmla="*/ 1033 h 3011"/>
                <a:gd name="T88" fmla="*/ 2005 w 2010"/>
                <a:gd name="T89" fmla="*/ 902 h 3011"/>
                <a:gd name="T90" fmla="*/ 1978 w 2010"/>
                <a:gd name="T91" fmla="*/ 753 h 3011"/>
                <a:gd name="T92" fmla="*/ 1931 w 2010"/>
                <a:gd name="T93" fmla="*/ 614 h 3011"/>
                <a:gd name="T94" fmla="*/ 1864 w 2010"/>
                <a:gd name="T95" fmla="*/ 484 h 3011"/>
                <a:gd name="T96" fmla="*/ 1780 w 2010"/>
                <a:gd name="T97" fmla="*/ 366 h 3011"/>
                <a:gd name="T98" fmla="*/ 1680 w 2010"/>
                <a:gd name="T99" fmla="*/ 261 h 3011"/>
                <a:gd name="T100" fmla="*/ 1567 w 2010"/>
                <a:gd name="T101" fmla="*/ 172 h 3011"/>
                <a:gd name="T102" fmla="*/ 1440 w 2010"/>
                <a:gd name="T103" fmla="*/ 100 h 3011"/>
                <a:gd name="T104" fmla="*/ 1304 w 2010"/>
                <a:gd name="T105" fmla="*/ 46 h 3011"/>
                <a:gd name="T106" fmla="*/ 1158 w 2010"/>
                <a:gd name="T107" fmla="*/ 11 h 3011"/>
                <a:gd name="T108" fmla="*/ 1005 w 2010"/>
                <a:gd name="T109" fmla="*/ 0 h 30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10" h="3011">
                  <a:moveTo>
                    <a:pt x="1005" y="0"/>
                  </a:moveTo>
                  <a:lnTo>
                    <a:pt x="953" y="1"/>
                  </a:lnTo>
                  <a:lnTo>
                    <a:pt x="902" y="5"/>
                  </a:lnTo>
                  <a:lnTo>
                    <a:pt x="852" y="11"/>
                  </a:lnTo>
                  <a:lnTo>
                    <a:pt x="803" y="21"/>
                  </a:lnTo>
                  <a:lnTo>
                    <a:pt x="754" y="33"/>
                  </a:lnTo>
                  <a:lnTo>
                    <a:pt x="706" y="46"/>
                  </a:lnTo>
                  <a:lnTo>
                    <a:pt x="659" y="62"/>
                  </a:lnTo>
                  <a:lnTo>
                    <a:pt x="614" y="80"/>
                  </a:lnTo>
                  <a:lnTo>
                    <a:pt x="570" y="100"/>
                  </a:lnTo>
                  <a:lnTo>
                    <a:pt x="526" y="122"/>
                  </a:lnTo>
                  <a:lnTo>
                    <a:pt x="484" y="146"/>
                  </a:lnTo>
                  <a:lnTo>
                    <a:pt x="443" y="172"/>
                  </a:lnTo>
                  <a:lnTo>
                    <a:pt x="404" y="200"/>
                  </a:lnTo>
                  <a:lnTo>
                    <a:pt x="366" y="229"/>
                  </a:lnTo>
                  <a:lnTo>
                    <a:pt x="330" y="261"/>
                  </a:lnTo>
                  <a:lnTo>
                    <a:pt x="294" y="294"/>
                  </a:lnTo>
                  <a:lnTo>
                    <a:pt x="261" y="330"/>
                  </a:lnTo>
                  <a:lnTo>
                    <a:pt x="229" y="366"/>
                  </a:lnTo>
                  <a:lnTo>
                    <a:pt x="200" y="404"/>
                  </a:lnTo>
                  <a:lnTo>
                    <a:pt x="172" y="443"/>
                  </a:lnTo>
                  <a:lnTo>
                    <a:pt x="146" y="484"/>
                  </a:lnTo>
                  <a:lnTo>
                    <a:pt x="121" y="526"/>
                  </a:lnTo>
                  <a:lnTo>
                    <a:pt x="99" y="569"/>
                  </a:lnTo>
                  <a:lnTo>
                    <a:pt x="79" y="614"/>
                  </a:lnTo>
                  <a:lnTo>
                    <a:pt x="61" y="659"/>
                  </a:lnTo>
                  <a:lnTo>
                    <a:pt x="45" y="706"/>
                  </a:lnTo>
                  <a:lnTo>
                    <a:pt x="31" y="753"/>
                  </a:lnTo>
                  <a:lnTo>
                    <a:pt x="20" y="802"/>
                  </a:lnTo>
                  <a:lnTo>
                    <a:pt x="11" y="852"/>
                  </a:lnTo>
                  <a:lnTo>
                    <a:pt x="5" y="902"/>
                  </a:lnTo>
                  <a:lnTo>
                    <a:pt x="1" y="953"/>
                  </a:lnTo>
                  <a:lnTo>
                    <a:pt x="0" y="1004"/>
                  </a:lnTo>
                  <a:lnTo>
                    <a:pt x="0" y="1033"/>
                  </a:lnTo>
                  <a:lnTo>
                    <a:pt x="2" y="1064"/>
                  </a:lnTo>
                  <a:lnTo>
                    <a:pt x="4" y="1096"/>
                  </a:lnTo>
                  <a:lnTo>
                    <a:pt x="7" y="1131"/>
                  </a:lnTo>
                  <a:lnTo>
                    <a:pt x="12" y="1166"/>
                  </a:lnTo>
                  <a:lnTo>
                    <a:pt x="16" y="1202"/>
                  </a:lnTo>
                  <a:lnTo>
                    <a:pt x="22" y="1239"/>
                  </a:lnTo>
                  <a:lnTo>
                    <a:pt x="29" y="1278"/>
                  </a:lnTo>
                  <a:lnTo>
                    <a:pt x="44" y="1358"/>
                  </a:lnTo>
                  <a:lnTo>
                    <a:pt x="61" y="1442"/>
                  </a:lnTo>
                  <a:lnTo>
                    <a:pt x="82" y="1528"/>
                  </a:lnTo>
                  <a:lnTo>
                    <a:pt x="104" y="1617"/>
                  </a:lnTo>
                  <a:lnTo>
                    <a:pt x="128" y="1708"/>
                  </a:lnTo>
                  <a:lnTo>
                    <a:pt x="156" y="1800"/>
                  </a:lnTo>
                  <a:lnTo>
                    <a:pt x="183" y="1892"/>
                  </a:lnTo>
                  <a:lnTo>
                    <a:pt x="212" y="1986"/>
                  </a:lnTo>
                  <a:lnTo>
                    <a:pt x="242" y="2078"/>
                  </a:lnTo>
                  <a:lnTo>
                    <a:pt x="272" y="2168"/>
                  </a:lnTo>
                  <a:lnTo>
                    <a:pt x="303" y="2258"/>
                  </a:lnTo>
                  <a:lnTo>
                    <a:pt x="335" y="2345"/>
                  </a:lnTo>
                  <a:lnTo>
                    <a:pt x="361" y="2414"/>
                  </a:lnTo>
                  <a:lnTo>
                    <a:pt x="388" y="2480"/>
                  </a:lnTo>
                  <a:lnTo>
                    <a:pt x="402" y="2513"/>
                  </a:lnTo>
                  <a:lnTo>
                    <a:pt x="417" y="2545"/>
                  </a:lnTo>
                  <a:lnTo>
                    <a:pt x="431" y="2576"/>
                  </a:lnTo>
                  <a:lnTo>
                    <a:pt x="446" y="2606"/>
                  </a:lnTo>
                  <a:lnTo>
                    <a:pt x="462" y="2636"/>
                  </a:lnTo>
                  <a:lnTo>
                    <a:pt x="478" y="2664"/>
                  </a:lnTo>
                  <a:lnTo>
                    <a:pt x="494" y="2692"/>
                  </a:lnTo>
                  <a:lnTo>
                    <a:pt x="511" y="2719"/>
                  </a:lnTo>
                  <a:lnTo>
                    <a:pt x="530" y="2745"/>
                  </a:lnTo>
                  <a:lnTo>
                    <a:pt x="548" y="2770"/>
                  </a:lnTo>
                  <a:lnTo>
                    <a:pt x="567" y="2795"/>
                  </a:lnTo>
                  <a:lnTo>
                    <a:pt x="586" y="2818"/>
                  </a:lnTo>
                  <a:lnTo>
                    <a:pt x="606" y="2840"/>
                  </a:lnTo>
                  <a:lnTo>
                    <a:pt x="626" y="2860"/>
                  </a:lnTo>
                  <a:lnTo>
                    <a:pt x="648" y="2880"/>
                  </a:lnTo>
                  <a:lnTo>
                    <a:pt x="670" y="2898"/>
                  </a:lnTo>
                  <a:lnTo>
                    <a:pt x="693" y="2916"/>
                  </a:lnTo>
                  <a:lnTo>
                    <a:pt x="717" y="2931"/>
                  </a:lnTo>
                  <a:lnTo>
                    <a:pt x="742" y="2946"/>
                  </a:lnTo>
                  <a:lnTo>
                    <a:pt x="767" y="2959"/>
                  </a:lnTo>
                  <a:lnTo>
                    <a:pt x="793" y="2971"/>
                  </a:lnTo>
                  <a:lnTo>
                    <a:pt x="821" y="2981"/>
                  </a:lnTo>
                  <a:lnTo>
                    <a:pt x="849" y="2990"/>
                  </a:lnTo>
                  <a:lnTo>
                    <a:pt x="878" y="2997"/>
                  </a:lnTo>
                  <a:lnTo>
                    <a:pt x="909" y="3003"/>
                  </a:lnTo>
                  <a:lnTo>
                    <a:pt x="940" y="3007"/>
                  </a:lnTo>
                  <a:lnTo>
                    <a:pt x="972" y="3010"/>
                  </a:lnTo>
                  <a:lnTo>
                    <a:pt x="1005" y="3011"/>
                  </a:lnTo>
                  <a:lnTo>
                    <a:pt x="1041" y="3010"/>
                  </a:lnTo>
                  <a:lnTo>
                    <a:pt x="1075" y="3007"/>
                  </a:lnTo>
                  <a:lnTo>
                    <a:pt x="1109" y="3003"/>
                  </a:lnTo>
                  <a:lnTo>
                    <a:pt x="1141" y="2997"/>
                  </a:lnTo>
                  <a:lnTo>
                    <a:pt x="1172" y="2990"/>
                  </a:lnTo>
                  <a:lnTo>
                    <a:pt x="1201" y="2981"/>
                  </a:lnTo>
                  <a:lnTo>
                    <a:pt x="1229" y="2971"/>
                  </a:lnTo>
                  <a:lnTo>
                    <a:pt x="1256" y="2960"/>
                  </a:lnTo>
                  <a:lnTo>
                    <a:pt x="1281" y="2947"/>
                  </a:lnTo>
                  <a:lnTo>
                    <a:pt x="1307" y="2932"/>
                  </a:lnTo>
                  <a:lnTo>
                    <a:pt x="1331" y="2916"/>
                  </a:lnTo>
                  <a:lnTo>
                    <a:pt x="1354" y="2899"/>
                  </a:lnTo>
                  <a:lnTo>
                    <a:pt x="1375" y="2881"/>
                  </a:lnTo>
                  <a:lnTo>
                    <a:pt x="1396" y="2862"/>
                  </a:lnTo>
                  <a:lnTo>
                    <a:pt x="1416" y="2841"/>
                  </a:lnTo>
                  <a:lnTo>
                    <a:pt x="1436" y="2820"/>
                  </a:lnTo>
                  <a:lnTo>
                    <a:pt x="1454" y="2797"/>
                  </a:lnTo>
                  <a:lnTo>
                    <a:pt x="1472" y="2772"/>
                  </a:lnTo>
                  <a:lnTo>
                    <a:pt x="1489" y="2747"/>
                  </a:lnTo>
                  <a:lnTo>
                    <a:pt x="1507" y="2722"/>
                  </a:lnTo>
                  <a:lnTo>
                    <a:pt x="1523" y="2695"/>
                  </a:lnTo>
                  <a:lnTo>
                    <a:pt x="1538" y="2667"/>
                  </a:lnTo>
                  <a:lnTo>
                    <a:pt x="1554" y="2639"/>
                  </a:lnTo>
                  <a:lnTo>
                    <a:pt x="1568" y="2610"/>
                  </a:lnTo>
                  <a:lnTo>
                    <a:pt x="1582" y="2580"/>
                  </a:lnTo>
                  <a:lnTo>
                    <a:pt x="1596" y="2549"/>
                  </a:lnTo>
                  <a:lnTo>
                    <a:pt x="1610" y="2517"/>
                  </a:lnTo>
                  <a:lnTo>
                    <a:pt x="1623" y="2484"/>
                  </a:lnTo>
                  <a:lnTo>
                    <a:pt x="1649" y="2418"/>
                  </a:lnTo>
                  <a:lnTo>
                    <a:pt x="1675" y="2350"/>
                  </a:lnTo>
                  <a:lnTo>
                    <a:pt x="1708" y="2263"/>
                  </a:lnTo>
                  <a:lnTo>
                    <a:pt x="1739" y="2173"/>
                  </a:lnTo>
                  <a:lnTo>
                    <a:pt x="1769" y="2082"/>
                  </a:lnTo>
                  <a:lnTo>
                    <a:pt x="1799" y="1990"/>
                  </a:lnTo>
                  <a:lnTo>
                    <a:pt x="1828" y="1896"/>
                  </a:lnTo>
                  <a:lnTo>
                    <a:pt x="1856" y="1803"/>
                  </a:lnTo>
                  <a:lnTo>
                    <a:pt x="1883" y="1711"/>
                  </a:lnTo>
                  <a:lnTo>
                    <a:pt x="1907" y="1620"/>
                  </a:lnTo>
                  <a:lnTo>
                    <a:pt x="1929" y="1531"/>
                  </a:lnTo>
                  <a:lnTo>
                    <a:pt x="1949" y="1444"/>
                  </a:lnTo>
                  <a:lnTo>
                    <a:pt x="1967" y="1359"/>
                  </a:lnTo>
                  <a:lnTo>
                    <a:pt x="1982" y="1279"/>
                  </a:lnTo>
                  <a:lnTo>
                    <a:pt x="1988" y="1240"/>
                  </a:lnTo>
                  <a:lnTo>
                    <a:pt x="1994" y="1203"/>
                  </a:lnTo>
                  <a:lnTo>
                    <a:pt x="1998" y="1167"/>
                  </a:lnTo>
                  <a:lnTo>
                    <a:pt x="2003" y="1132"/>
                  </a:lnTo>
                  <a:lnTo>
                    <a:pt x="2006" y="1097"/>
                  </a:lnTo>
                  <a:lnTo>
                    <a:pt x="2008" y="1064"/>
                  </a:lnTo>
                  <a:lnTo>
                    <a:pt x="2009" y="1033"/>
                  </a:lnTo>
                  <a:lnTo>
                    <a:pt x="2010" y="1004"/>
                  </a:lnTo>
                  <a:lnTo>
                    <a:pt x="2009" y="953"/>
                  </a:lnTo>
                  <a:lnTo>
                    <a:pt x="2005" y="902"/>
                  </a:lnTo>
                  <a:lnTo>
                    <a:pt x="1998" y="852"/>
                  </a:lnTo>
                  <a:lnTo>
                    <a:pt x="1990" y="802"/>
                  </a:lnTo>
                  <a:lnTo>
                    <a:pt x="1978" y="753"/>
                  </a:lnTo>
                  <a:lnTo>
                    <a:pt x="1965" y="706"/>
                  </a:lnTo>
                  <a:lnTo>
                    <a:pt x="1949" y="659"/>
                  </a:lnTo>
                  <a:lnTo>
                    <a:pt x="1931" y="614"/>
                  </a:lnTo>
                  <a:lnTo>
                    <a:pt x="1911" y="569"/>
                  </a:lnTo>
                  <a:lnTo>
                    <a:pt x="1889" y="526"/>
                  </a:lnTo>
                  <a:lnTo>
                    <a:pt x="1864" y="484"/>
                  </a:lnTo>
                  <a:lnTo>
                    <a:pt x="1838" y="443"/>
                  </a:lnTo>
                  <a:lnTo>
                    <a:pt x="1810" y="404"/>
                  </a:lnTo>
                  <a:lnTo>
                    <a:pt x="1780" y="366"/>
                  </a:lnTo>
                  <a:lnTo>
                    <a:pt x="1749" y="330"/>
                  </a:lnTo>
                  <a:lnTo>
                    <a:pt x="1716" y="294"/>
                  </a:lnTo>
                  <a:lnTo>
                    <a:pt x="1680" y="261"/>
                  </a:lnTo>
                  <a:lnTo>
                    <a:pt x="1644" y="229"/>
                  </a:lnTo>
                  <a:lnTo>
                    <a:pt x="1606" y="200"/>
                  </a:lnTo>
                  <a:lnTo>
                    <a:pt x="1567" y="172"/>
                  </a:lnTo>
                  <a:lnTo>
                    <a:pt x="1526" y="146"/>
                  </a:lnTo>
                  <a:lnTo>
                    <a:pt x="1484" y="122"/>
                  </a:lnTo>
                  <a:lnTo>
                    <a:pt x="1440" y="100"/>
                  </a:lnTo>
                  <a:lnTo>
                    <a:pt x="1396" y="80"/>
                  </a:lnTo>
                  <a:lnTo>
                    <a:pt x="1351" y="62"/>
                  </a:lnTo>
                  <a:lnTo>
                    <a:pt x="1304" y="46"/>
                  </a:lnTo>
                  <a:lnTo>
                    <a:pt x="1256" y="33"/>
                  </a:lnTo>
                  <a:lnTo>
                    <a:pt x="1207" y="21"/>
                  </a:lnTo>
                  <a:lnTo>
                    <a:pt x="1158" y="11"/>
                  </a:lnTo>
                  <a:lnTo>
                    <a:pt x="1108" y="5"/>
                  </a:lnTo>
                  <a:lnTo>
                    <a:pt x="1056" y="1"/>
                  </a:lnTo>
                  <a:lnTo>
                    <a:pt x="10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63" name="iṧliḍè">
              <a:extLst>
                <a:ext uri="{FF2B5EF4-FFF2-40B4-BE49-F238E27FC236}">
                  <a16:creationId xmlns:a16="http://schemas.microsoft.com/office/drawing/2014/main" id="{069B276C-16D8-4509-81C6-306EC8C82EC2}"/>
                </a:ext>
              </a:extLst>
            </p:cNvPr>
            <p:cNvSpPr/>
            <p:nvPr/>
          </p:nvSpPr>
          <p:spPr bwMode="auto">
            <a:xfrm>
              <a:off x="5032327" y="1362536"/>
              <a:ext cx="171982" cy="249634"/>
            </a:xfrm>
            <a:custGeom>
              <a:avLst/>
              <a:gdLst>
                <a:gd name="T0" fmla="*/ 1009 w 11063"/>
                <a:gd name="T1" fmla="*/ 1454 h 16058"/>
                <a:gd name="T2" fmla="*/ 1036 w 11063"/>
                <a:gd name="T3" fmla="*/ 1334 h 16058"/>
                <a:gd name="T4" fmla="*/ 1091 w 11063"/>
                <a:gd name="T5" fmla="*/ 1225 h 16058"/>
                <a:gd name="T6" fmla="*/ 1171 w 11063"/>
                <a:gd name="T7" fmla="*/ 1134 h 16058"/>
                <a:gd name="T8" fmla="*/ 1268 w 11063"/>
                <a:gd name="T9" fmla="*/ 1065 h 16058"/>
                <a:gd name="T10" fmla="*/ 1383 w 11063"/>
                <a:gd name="T11" fmla="*/ 1020 h 16058"/>
                <a:gd name="T12" fmla="*/ 1509 w 11063"/>
                <a:gd name="T13" fmla="*/ 1004 h 16058"/>
                <a:gd name="T14" fmla="*/ 9655 w 11063"/>
                <a:gd name="T15" fmla="*/ 1014 h 16058"/>
                <a:gd name="T16" fmla="*/ 9772 w 11063"/>
                <a:gd name="T17" fmla="*/ 1053 h 16058"/>
                <a:gd name="T18" fmla="*/ 9874 w 11063"/>
                <a:gd name="T19" fmla="*/ 1118 h 16058"/>
                <a:gd name="T20" fmla="*/ 9957 w 11063"/>
                <a:gd name="T21" fmla="*/ 1205 h 16058"/>
                <a:gd name="T22" fmla="*/ 10018 w 11063"/>
                <a:gd name="T23" fmla="*/ 1310 h 16058"/>
                <a:gd name="T24" fmla="*/ 10051 w 11063"/>
                <a:gd name="T25" fmla="*/ 1429 h 16058"/>
                <a:gd name="T26" fmla="*/ 10057 w 11063"/>
                <a:gd name="T27" fmla="*/ 13044 h 16058"/>
                <a:gd name="T28" fmla="*/ 10057 w 11063"/>
                <a:gd name="T29" fmla="*/ 14553 h 16058"/>
                <a:gd name="T30" fmla="*/ 10041 w 11063"/>
                <a:gd name="T31" fmla="*/ 14677 h 16058"/>
                <a:gd name="T32" fmla="*/ 9996 w 11063"/>
                <a:gd name="T33" fmla="*/ 14791 h 16058"/>
                <a:gd name="T34" fmla="*/ 9927 w 11063"/>
                <a:gd name="T35" fmla="*/ 14890 h 16058"/>
                <a:gd name="T36" fmla="*/ 9835 w 11063"/>
                <a:gd name="T37" fmla="*/ 14968 h 16058"/>
                <a:gd name="T38" fmla="*/ 9727 w 11063"/>
                <a:gd name="T39" fmla="*/ 15023 h 16058"/>
                <a:gd name="T40" fmla="*/ 9606 w 11063"/>
                <a:gd name="T41" fmla="*/ 15051 h 16058"/>
                <a:gd name="T42" fmla="*/ 1457 w 11063"/>
                <a:gd name="T43" fmla="*/ 15051 h 16058"/>
                <a:gd name="T44" fmla="*/ 1336 w 11063"/>
                <a:gd name="T45" fmla="*/ 15024 h 16058"/>
                <a:gd name="T46" fmla="*/ 1227 w 11063"/>
                <a:gd name="T47" fmla="*/ 14969 h 16058"/>
                <a:gd name="T48" fmla="*/ 1136 w 11063"/>
                <a:gd name="T49" fmla="*/ 14890 h 16058"/>
                <a:gd name="T50" fmla="*/ 1066 w 11063"/>
                <a:gd name="T51" fmla="*/ 14791 h 16058"/>
                <a:gd name="T52" fmla="*/ 1022 w 11063"/>
                <a:gd name="T53" fmla="*/ 14678 h 16058"/>
                <a:gd name="T54" fmla="*/ 1006 w 11063"/>
                <a:gd name="T55" fmla="*/ 14553 h 16058"/>
                <a:gd name="T56" fmla="*/ 1509 w 11063"/>
                <a:gd name="T57" fmla="*/ 1 h 16058"/>
                <a:gd name="T58" fmla="*/ 1131 w 11063"/>
                <a:gd name="T59" fmla="*/ 48 h 16058"/>
                <a:gd name="T60" fmla="*/ 789 w 11063"/>
                <a:gd name="T61" fmla="*/ 183 h 16058"/>
                <a:gd name="T62" fmla="*/ 494 w 11063"/>
                <a:gd name="T63" fmla="*/ 391 h 16058"/>
                <a:gd name="T64" fmla="*/ 257 w 11063"/>
                <a:gd name="T65" fmla="*/ 664 h 16058"/>
                <a:gd name="T66" fmla="*/ 92 w 11063"/>
                <a:gd name="T67" fmla="*/ 989 h 16058"/>
                <a:gd name="T68" fmla="*/ 8 w 11063"/>
                <a:gd name="T69" fmla="*/ 1352 h 16058"/>
                <a:gd name="T70" fmla="*/ 8 w 11063"/>
                <a:gd name="T71" fmla="*/ 14706 h 16058"/>
                <a:gd name="T72" fmla="*/ 92 w 11063"/>
                <a:gd name="T73" fmla="*/ 15070 h 16058"/>
                <a:gd name="T74" fmla="*/ 257 w 11063"/>
                <a:gd name="T75" fmla="*/ 15395 h 16058"/>
                <a:gd name="T76" fmla="*/ 494 w 11063"/>
                <a:gd name="T77" fmla="*/ 15667 h 16058"/>
                <a:gd name="T78" fmla="*/ 789 w 11063"/>
                <a:gd name="T79" fmla="*/ 15876 h 16058"/>
                <a:gd name="T80" fmla="*/ 1131 w 11063"/>
                <a:gd name="T81" fmla="*/ 16011 h 16058"/>
                <a:gd name="T82" fmla="*/ 1509 w 11063"/>
                <a:gd name="T83" fmla="*/ 16058 h 16058"/>
                <a:gd name="T84" fmla="*/ 9858 w 11063"/>
                <a:gd name="T85" fmla="*/ 16027 h 16058"/>
                <a:gd name="T86" fmla="*/ 10208 w 11063"/>
                <a:gd name="T87" fmla="*/ 15909 h 16058"/>
                <a:gd name="T88" fmla="*/ 10514 w 11063"/>
                <a:gd name="T89" fmla="*/ 15714 h 16058"/>
                <a:gd name="T90" fmla="*/ 10763 w 11063"/>
                <a:gd name="T91" fmla="*/ 15453 h 16058"/>
                <a:gd name="T92" fmla="*/ 10944 w 11063"/>
                <a:gd name="T93" fmla="*/ 15138 h 16058"/>
                <a:gd name="T94" fmla="*/ 11046 w 11063"/>
                <a:gd name="T95" fmla="*/ 14781 h 16058"/>
                <a:gd name="T96" fmla="*/ 11061 w 11063"/>
                <a:gd name="T97" fmla="*/ 1428 h 16058"/>
                <a:gd name="T98" fmla="*/ 10996 w 11063"/>
                <a:gd name="T99" fmla="*/ 1058 h 16058"/>
                <a:gd name="T100" fmla="*/ 10845 w 11063"/>
                <a:gd name="T101" fmla="*/ 725 h 16058"/>
                <a:gd name="T102" fmla="*/ 10620 w 11063"/>
                <a:gd name="T103" fmla="*/ 441 h 16058"/>
                <a:gd name="T104" fmla="*/ 10337 w 11063"/>
                <a:gd name="T105" fmla="*/ 218 h 16058"/>
                <a:gd name="T106" fmla="*/ 10003 w 11063"/>
                <a:gd name="T107" fmla="*/ 67 h 16058"/>
                <a:gd name="T108" fmla="*/ 9632 w 11063"/>
                <a:gd name="T109" fmla="*/ 2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063" h="16058">
                  <a:moveTo>
                    <a:pt x="10057" y="2509"/>
                  </a:moveTo>
                  <a:lnTo>
                    <a:pt x="1006" y="2510"/>
                  </a:lnTo>
                  <a:lnTo>
                    <a:pt x="1006" y="1505"/>
                  </a:lnTo>
                  <a:lnTo>
                    <a:pt x="1007" y="1480"/>
                  </a:lnTo>
                  <a:lnTo>
                    <a:pt x="1009" y="1454"/>
                  </a:lnTo>
                  <a:lnTo>
                    <a:pt x="1012" y="1429"/>
                  </a:lnTo>
                  <a:lnTo>
                    <a:pt x="1016" y="1405"/>
                  </a:lnTo>
                  <a:lnTo>
                    <a:pt x="1022" y="1381"/>
                  </a:lnTo>
                  <a:lnTo>
                    <a:pt x="1028" y="1357"/>
                  </a:lnTo>
                  <a:lnTo>
                    <a:pt x="1036" y="1334"/>
                  </a:lnTo>
                  <a:lnTo>
                    <a:pt x="1045" y="1311"/>
                  </a:lnTo>
                  <a:lnTo>
                    <a:pt x="1055" y="1289"/>
                  </a:lnTo>
                  <a:lnTo>
                    <a:pt x="1066" y="1267"/>
                  </a:lnTo>
                  <a:lnTo>
                    <a:pt x="1078" y="1245"/>
                  </a:lnTo>
                  <a:lnTo>
                    <a:pt x="1091" y="1225"/>
                  </a:lnTo>
                  <a:lnTo>
                    <a:pt x="1105" y="1205"/>
                  </a:lnTo>
                  <a:lnTo>
                    <a:pt x="1120" y="1186"/>
                  </a:lnTo>
                  <a:lnTo>
                    <a:pt x="1136" y="1168"/>
                  </a:lnTo>
                  <a:lnTo>
                    <a:pt x="1153" y="1151"/>
                  </a:lnTo>
                  <a:lnTo>
                    <a:pt x="1171" y="1134"/>
                  </a:lnTo>
                  <a:lnTo>
                    <a:pt x="1189" y="1119"/>
                  </a:lnTo>
                  <a:lnTo>
                    <a:pt x="1208" y="1104"/>
                  </a:lnTo>
                  <a:lnTo>
                    <a:pt x="1227" y="1090"/>
                  </a:lnTo>
                  <a:lnTo>
                    <a:pt x="1248" y="1077"/>
                  </a:lnTo>
                  <a:lnTo>
                    <a:pt x="1268" y="1065"/>
                  </a:lnTo>
                  <a:lnTo>
                    <a:pt x="1290" y="1054"/>
                  </a:lnTo>
                  <a:lnTo>
                    <a:pt x="1312" y="1044"/>
                  </a:lnTo>
                  <a:lnTo>
                    <a:pt x="1336" y="1035"/>
                  </a:lnTo>
                  <a:lnTo>
                    <a:pt x="1359" y="1027"/>
                  </a:lnTo>
                  <a:lnTo>
                    <a:pt x="1383" y="1020"/>
                  </a:lnTo>
                  <a:lnTo>
                    <a:pt x="1407" y="1015"/>
                  </a:lnTo>
                  <a:lnTo>
                    <a:pt x="1432" y="1010"/>
                  </a:lnTo>
                  <a:lnTo>
                    <a:pt x="1457" y="1007"/>
                  </a:lnTo>
                  <a:lnTo>
                    <a:pt x="1482" y="1005"/>
                  </a:lnTo>
                  <a:lnTo>
                    <a:pt x="1509" y="1004"/>
                  </a:lnTo>
                  <a:lnTo>
                    <a:pt x="9554" y="1004"/>
                  </a:lnTo>
                  <a:lnTo>
                    <a:pt x="9581" y="1005"/>
                  </a:lnTo>
                  <a:lnTo>
                    <a:pt x="9606" y="1007"/>
                  </a:lnTo>
                  <a:lnTo>
                    <a:pt x="9631" y="1010"/>
                  </a:lnTo>
                  <a:lnTo>
                    <a:pt x="9655" y="1014"/>
                  </a:lnTo>
                  <a:lnTo>
                    <a:pt x="9680" y="1020"/>
                  </a:lnTo>
                  <a:lnTo>
                    <a:pt x="9703" y="1027"/>
                  </a:lnTo>
                  <a:lnTo>
                    <a:pt x="9727" y="1034"/>
                  </a:lnTo>
                  <a:lnTo>
                    <a:pt x="9750" y="1043"/>
                  </a:lnTo>
                  <a:lnTo>
                    <a:pt x="9772" y="1053"/>
                  </a:lnTo>
                  <a:lnTo>
                    <a:pt x="9794" y="1064"/>
                  </a:lnTo>
                  <a:lnTo>
                    <a:pt x="9815" y="1076"/>
                  </a:lnTo>
                  <a:lnTo>
                    <a:pt x="9835" y="1089"/>
                  </a:lnTo>
                  <a:lnTo>
                    <a:pt x="9855" y="1103"/>
                  </a:lnTo>
                  <a:lnTo>
                    <a:pt x="9874" y="1118"/>
                  </a:lnTo>
                  <a:lnTo>
                    <a:pt x="9892" y="1134"/>
                  </a:lnTo>
                  <a:lnTo>
                    <a:pt x="9909" y="1151"/>
                  </a:lnTo>
                  <a:lnTo>
                    <a:pt x="9927" y="1168"/>
                  </a:lnTo>
                  <a:lnTo>
                    <a:pt x="9943" y="1186"/>
                  </a:lnTo>
                  <a:lnTo>
                    <a:pt x="9957" y="1205"/>
                  </a:lnTo>
                  <a:lnTo>
                    <a:pt x="9971" y="1225"/>
                  </a:lnTo>
                  <a:lnTo>
                    <a:pt x="9984" y="1245"/>
                  </a:lnTo>
                  <a:lnTo>
                    <a:pt x="9996" y="1267"/>
                  </a:lnTo>
                  <a:lnTo>
                    <a:pt x="10008" y="1288"/>
                  </a:lnTo>
                  <a:lnTo>
                    <a:pt x="10018" y="1310"/>
                  </a:lnTo>
                  <a:lnTo>
                    <a:pt x="10026" y="1333"/>
                  </a:lnTo>
                  <a:lnTo>
                    <a:pt x="10034" y="1356"/>
                  </a:lnTo>
                  <a:lnTo>
                    <a:pt x="10041" y="1380"/>
                  </a:lnTo>
                  <a:lnTo>
                    <a:pt x="10047" y="1404"/>
                  </a:lnTo>
                  <a:lnTo>
                    <a:pt x="10051" y="1429"/>
                  </a:lnTo>
                  <a:lnTo>
                    <a:pt x="10054" y="1454"/>
                  </a:lnTo>
                  <a:lnTo>
                    <a:pt x="10056" y="1479"/>
                  </a:lnTo>
                  <a:lnTo>
                    <a:pt x="10057" y="1505"/>
                  </a:lnTo>
                  <a:lnTo>
                    <a:pt x="10057" y="2509"/>
                  </a:lnTo>
                  <a:close/>
                  <a:moveTo>
                    <a:pt x="10057" y="13044"/>
                  </a:moveTo>
                  <a:lnTo>
                    <a:pt x="1006" y="13045"/>
                  </a:lnTo>
                  <a:lnTo>
                    <a:pt x="1006" y="3011"/>
                  </a:lnTo>
                  <a:lnTo>
                    <a:pt x="10057" y="3011"/>
                  </a:lnTo>
                  <a:lnTo>
                    <a:pt x="10057" y="13044"/>
                  </a:lnTo>
                  <a:close/>
                  <a:moveTo>
                    <a:pt x="10057" y="14553"/>
                  </a:moveTo>
                  <a:lnTo>
                    <a:pt x="10056" y="14578"/>
                  </a:lnTo>
                  <a:lnTo>
                    <a:pt x="10054" y="14604"/>
                  </a:lnTo>
                  <a:lnTo>
                    <a:pt x="10051" y="14629"/>
                  </a:lnTo>
                  <a:lnTo>
                    <a:pt x="10047" y="14653"/>
                  </a:lnTo>
                  <a:lnTo>
                    <a:pt x="10041" y="14677"/>
                  </a:lnTo>
                  <a:lnTo>
                    <a:pt x="10034" y="14701"/>
                  </a:lnTo>
                  <a:lnTo>
                    <a:pt x="10026" y="14724"/>
                  </a:lnTo>
                  <a:lnTo>
                    <a:pt x="10018" y="14747"/>
                  </a:lnTo>
                  <a:lnTo>
                    <a:pt x="10008" y="14769"/>
                  </a:lnTo>
                  <a:lnTo>
                    <a:pt x="9996" y="14791"/>
                  </a:lnTo>
                  <a:lnTo>
                    <a:pt x="9984" y="14813"/>
                  </a:lnTo>
                  <a:lnTo>
                    <a:pt x="9971" y="14833"/>
                  </a:lnTo>
                  <a:lnTo>
                    <a:pt x="9957" y="14853"/>
                  </a:lnTo>
                  <a:lnTo>
                    <a:pt x="9943" y="14872"/>
                  </a:lnTo>
                  <a:lnTo>
                    <a:pt x="9927" y="14890"/>
                  </a:lnTo>
                  <a:lnTo>
                    <a:pt x="9909" y="14907"/>
                  </a:lnTo>
                  <a:lnTo>
                    <a:pt x="9892" y="14924"/>
                  </a:lnTo>
                  <a:lnTo>
                    <a:pt x="9874" y="14939"/>
                  </a:lnTo>
                  <a:lnTo>
                    <a:pt x="9855" y="14954"/>
                  </a:lnTo>
                  <a:lnTo>
                    <a:pt x="9835" y="14968"/>
                  </a:lnTo>
                  <a:lnTo>
                    <a:pt x="9815" y="14981"/>
                  </a:lnTo>
                  <a:lnTo>
                    <a:pt x="9794" y="14993"/>
                  </a:lnTo>
                  <a:lnTo>
                    <a:pt x="9772" y="15004"/>
                  </a:lnTo>
                  <a:lnTo>
                    <a:pt x="9750" y="15014"/>
                  </a:lnTo>
                  <a:lnTo>
                    <a:pt x="9727" y="15023"/>
                  </a:lnTo>
                  <a:lnTo>
                    <a:pt x="9703" y="15031"/>
                  </a:lnTo>
                  <a:lnTo>
                    <a:pt x="9680" y="15038"/>
                  </a:lnTo>
                  <a:lnTo>
                    <a:pt x="9655" y="15043"/>
                  </a:lnTo>
                  <a:lnTo>
                    <a:pt x="9631" y="15048"/>
                  </a:lnTo>
                  <a:lnTo>
                    <a:pt x="9606" y="15051"/>
                  </a:lnTo>
                  <a:lnTo>
                    <a:pt x="9581" y="15053"/>
                  </a:lnTo>
                  <a:lnTo>
                    <a:pt x="9554" y="15054"/>
                  </a:lnTo>
                  <a:lnTo>
                    <a:pt x="1509" y="15054"/>
                  </a:lnTo>
                  <a:lnTo>
                    <a:pt x="1482" y="15053"/>
                  </a:lnTo>
                  <a:lnTo>
                    <a:pt x="1457" y="15051"/>
                  </a:lnTo>
                  <a:lnTo>
                    <a:pt x="1432" y="15048"/>
                  </a:lnTo>
                  <a:lnTo>
                    <a:pt x="1407" y="15044"/>
                  </a:lnTo>
                  <a:lnTo>
                    <a:pt x="1383" y="15038"/>
                  </a:lnTo>
                  <a:lnTo>
                    <a:pt x="1359" y="15031"/>
                  </a:lnTo>
                  <a:lnTo>
                    <a:pt x="1336" y="15024"/>
                  </a:lnTo>
                  <a:lnTo>
                    <a:pt x="1312" y="15015"/>
                  </a:lnTo>
                  <a:lnTo>
                    <a:pt x="1290" y="15005"/>
                  </a:lnTo>
                  <a:lnTo>
                    <a:pt x="1268" y="14994"/>
                  </a:lnTo>
                  <a:lnTo>
                    <a:pt x="1248" y="14982"/>
                  </a:lnTo>
                  <a:lnTo>
                    <a:pt x="1227" y="14969"/>
                  </a:lnTo>
                  <a:lnTo>
                    <a:pt x="1208" y="14955"/>
                  </a:lnTo>
                  <a:lnTo>
                    <a:pt x="1189" y="14940"/>
                  </a:lnTo>
                  <a:lnTo>
                    <a:pt x="1171" y="14924"/>
                  </a:lnTo>
                  <a:lnTo>
                    <a:pt x="1153" y="14907"/>
                  </a:lnTo>
                  <a:lnTo>
                    <a:pt x="1136" y="14890"/>
                  </a:lnTo>
                  <a:lnTo>
                    <a:pt x="1120" y="14872"/>
                  </a:lnTo>
                  <a:lnTo>
                    <a:pt x="1105" y="14853"/>
                  </a:lnTo>
                  <a:lnTo>
                    <a:pt x="1091" y="14833"/>
                  </a:lnTo>
                  <a:lnTo>
                    <a:pt x="1078" y="14813"/>
                  </a:lnTo>
                  <a:lnTo>
                    <a:pt x="1066" y="14791"/>
                  </a:lnTo>
                  <a:lnTo>
                    <a:pt x="1055" y="14770"/>
                  </a:lnTo>
                  <a:lnTo>
                    <a:pt x="1045" y="14748"/>
                  </a:lnTo>
                  <a:lnTo>
                    <a:pt x="1036" y="14725"/>
                  </a:lnTo>
                  <a:lnTo>
                    <a:pt x="1028" y="14702"/>
                  </a:lnTo>
                  <a:lnTo>
                    <a:pt x="1022" y="14678"/>
                  </a:lnTo>
                  <a:lnTo>
                    <a:pt x="1016" y="14654"/>
                  </a:lnTo>
                  <a:lnTo>
                    <a:pt x="1012" y="14629"/>
                  </a:lnTo>
                  <a:lnTo>
                    <a:pt x="1009" y="14604"/>
                  </a:lnTo>
                  <a:lnTo>
                    <a:pt x="1007" y="14579"/>
                  </a:lnTo>
                  <a:lnTo>
                    <a:pt x="1006" y="14553"/>
                  </a:lnTo>
                  <a:lnTo>
                    <a:pt x="1006" y="13547"/>
                  </a:lnTo>
                  <a:lnTo>
                    <a:pt x="10057" y="13546"/>
                  </a:lnTo>
                  <a:lnTo>
                    <a:pt x="10057" y="14553"/>
                  </a:lnTo>
                  <a:close/>
                  <a:moveTo>
                    <a:pt x="9554" y="0"/>
                  </a:moveTo>
                  <a:lnTo>
                    <a:pt x="1509" y="1"/>
                  </a:lnTo>
                  <a:lnTo>
                    <a:pt x="1431" y="3"/>
                  </a:lnTo>
                  <a:lnTo>
                    <a:pt x="1354" y="8"/>
                  </a:lnTo>
                  <a:lnTo>
                    <a:pt x="1278" y="18"/>
                  </a:lnTo>
                  <a:lnTo>
                    <a:pt x="1204" y="31"/>
                  </a:lnTo>
                  <a:lnTo>
                    <a:pt x="1131" y="48"/>
                  </a:lnTo>
                  <a:lnTo>
                    <a:pt x="1060" y="68"/>
                  </a:lnTo>
                  <a:lnTo>
                    <a:pt x="990" y="92"/>
                  </a:lnTo>
                  <a:lnTo>
                    <a:pt x="921" y="118"/>
                  </a:lnTo>
                  <a:lnTo>
                    <a:pt x="854" y="149"/>
                  </a:lnTo>
                  <a:lnTo>
                    <a:pt x="789" y="183"/>
                  </a:lnTo>
                  <a:lnTo>
                    <a:pt x="726" y="219"/>
                  </a:lnTo>
                  <a:lnTo>
                    <a:pt x="665" y="258"/>
                  </a:lnTo>
                  <a:lnTo>
                    <a:pt x="605" y="300"/>
                  </a:lnTo>
                  <a:lnTo>
                    <a:pt x="549" y="344"/>
                  </a:lnTo>
                  <a:lnTo>
                    <a:pt x="494" y="391"/>
                  </a:lnTo>
                  <a:lnTo>
                    <a:pt x="442" y="442"/>
                  </a:lnTo>
                  <a:lnTo>
                    <a:pt x="391" y="494"/>
                  </a:lnTo>
                  <a:lnTo>
                    <a:pt x="344" y="548"/>
                  </a:lnTo>
                  <a:lnTo>
                    <a:pt x="300" y="605"/>
                  </a:lnTo>
                  <a:lnTo>
                    <a:pt x="257" y="664"/>
                  </a:lnTo>
                  <a:lnTo>
                    <a:pt x="218" y="726"/>
                  </a:lnTo>
                  <a:lnTo>
                    <a:pt x="182" y="789"/>
                  </a:lnTo>
                  <a:lnTo>
                    <a:pt x="149" y="853"/>
                  </a:lnTo>
                  <a:lnTo>
                    <a:pt x="119" y="920"/>
                  </a:lnTo>
                  <a:lnTo>
                    <a:pt x="92" y="989"/>
                  </a:lnTo>
                  <a:lnTo>
                    <a:pt x="67" y="1058"/>
                  </a:lnTo>
                  <a:lnTo>
                    <a:pt x="47" y="1130"/>
                  </a:lnTo>
                  <a:lnTo>
                    <a:pt x="30" y="1202"/>
                  </a:lnTo>
                  <a:lnTo>
                    <a:pt x="17" y="1277"/>
                  </a:lnTo>
                  <a:lnTo>
                    <a:pt x="8" y="1352"/>
                  </a:lnTo>
                  <a:lnTo>
                    <a:pt x="2" y="1428"/>
                  </a:lnTo>
                  <a:lnTo>
                    <a:pt x="0" y="1505"/>
                  </a:lnTo>
                  <a:lnTo>
                    <a:pt x="0" y="14553"/>
                  </a:lnTo>
                  <a:lnTo>
                    <a:pt x="2" y="14630"/>
                  </a:lnTo>
                  <a:lnTo>
                    <a:pt x="8" y="14706"/>
                  </a:lnTo>
                  <a:lnTo>
                    <a:pt x="17" y="14781"/>
                  </a:lnTo>
                  <a:lnTo>
                    <a:pt x="30" y="14856"/>
                  </a:lnTo>
                  <a:lnTo>
                    <a:pt x="47" y="14929"/>
                  </a:lnTo>
                  <a:lnTo>
                    <a:pt x="67" y="15000"/>
                  </a:lnTo>
                  <a:lnTo>
                    <a:pt x="92" y="15070"/>
                  </a:lnTo>
                  <a:lnTo>
                    <a:pt x="119" y="15139"/>
                  </a:lnTo>
                  <a:lnTo>
                    <a:pt x="149" y="15205"/>
                  </a:lnTo>
                  <a:lnTo>
                    <a:pt x="182" y="15270"/>
                  </a:lnTo>
                  <a:lnTo>
                    <a:pt x="218" y="15333"/>
                  </a:lnTo>
                  <a:lnTo>
                    <a:pt x="257" y="15395"/>
                  </a:lnTo>
                  <a:lnTo>
                    <a:pt x="300" y="15453"/>
                  </a:lnTo>
                  <a:lnTo>
                    <a:pt x="344" y="15510"/>
                  </a:lnTo>
                  <a:lnTo>
                    <a:pt x="391" y="15565"/>
                  </a:lnTo>
                  <a:lnTo>
                    <a:pt x="442" y="15617"/>
                  </a:lnTo>
                  <a:lnTo>
                    <a:pt x="494" y="15667"/>
                  </a:lnTo>
                  <a:lnTo>
                    <a:pt x="549" y="15714"/>
                  </a:lnTo>
                  <a:lnTo>
                    <a:pt x="605" y="15759"/>
                  </a:lnTo>
                  <a:lnTo>
                    <a:pt x="665" y="15801"/>
                  </a:lnTo>
                  <a:lnTo>
                    <a:pt x="726" y="15840"/>
                  </a:lnTo>
                  <a:lnTo>
                    <a:pt x="789" y="15876"/>
                  </a:lnTo>
                  <a:lnTo>
                    <a:pt x="854" y="15909"/>
                  </a:lnTo>
                  <a:lnTo>
                    <a:pt x="921" y="15940"/>
                  </a:lnTo>
                  <a:lnTo>
                    <a:pt x="990" y="15967"/>
                  </a:lnTo>
                  <a:lnTo>
                    <a:pt x="1060" y="15991"/>
                  </a:lnTo>
                  <a:lnTo>
                    <a:pt x="1131" y="16011"/>
                  </a:lnTo>
                  <a:lnTo>
                    <a:pt x="1204" y="16028"/>
                  </a:lnTo>
                  <a:lnTo>
                    <a:pt x="1278" y="16041"/>
                  </a:lnTo>
                  <a:lnTo>
                    <a:pt x="1354" y="16050"/>
                  </a:lnTo>
                  <a:lnTo>
                    <a:pt x="1431" y="16056"/>
                  </a:lnTo>
                  <a:lnTo>
                    <a:pt x="1509" y="16058"/>
                  </a:lnTo>
                  <a:lnTo>
                    <a:pt x="9554" y="16057"/>
                  </a:lnTo>
                  <a:lnTo>
                    <a:pt x="9632" y="16055"/>
                  </a:lnTo>
                  <a:lnTo>
                    <a:pt x="9708" y="16050"/>
                  </a:lnTo>
                  <a:lnTo>
                    <a:pt x="9784" y="16040"/>
                  </a:lnTo>
                  <a:lnTo>
                    <a:pt x="9858" y="16027"/>
                  </a:lnTo>
                  <a:lnTo>
                    <a:pt x="9932" y="16010"/>
                  </a:lnTo>
                  <a:lnTo>
                    <a:pt x="10003" y="15990"/>
                  </a:lnTo>
                  <a:lnTo>
                    <a:pt x="10073" y="15966"/>
                  </a:lnTo>
                  <a:lnTo>
                    <a:pt x="10142" y="15940"/>
                  </a:lnTo>
                  <a:lnTo>
                    <a:pt x="10208" y="15909"/>
                  </a:lnTo>
                  <a:lnTo>
                    <a:pt x="10274" y="15875"/>
                  </a:lnTo>
                  <a:lnTo>
                    <a:pt x="10337" y="15839"/>
                  </a:lnTo>
                  <a:lnTo>
                    <a:pt x="10397" y="15800"/>
                  </a:lnTo>
                  <a:lnTo>
                    <a:pt x="10457" y="15758"/>
                  </a:lnTo>
                  <a:lnTo>
                    <a:pt x="10514" y="15714"/>
                  </a:lnTo>
                  <a:lnTo>
                    <a:pt x="10568" y="15667"/>
                  </a:lnTo>
                  <a:lnTo>
                    <a:pt x="10620" y="15616"/>
                  </a:lnTo>
                  <a:lnTo>
                    <a:pt x="10671" y="15564"/>
                  </a:lnTo>
                  <a:lnTo>
                    <a:pt x="10718" y="15510"/>
                  </a:lnTo>
                  <a:lnTo>
                    <a:pt x="10763" y="15453"/>
                  </a:lnTo>
                  <a:lnTo>
                    <a:pt x="10806" y="15394"/>
                  </a:lnTo>
                  <a:lnTo>
                    <a:pt x="10845" y="15332"/>
                  </a:lnTo>
                  <a:lnTo>
                    <a:pt x="10881" y="15269"/>
                  </a:lnTo>
                  <a:lnTo>
                    <a:pt x="10914" y="15205"/>
                  </a:lnTo>
                  <a:lnTo>
                    <a:pt x="10944" y="15138"/>
                  </a:lnTo>
                  <a:lnTo>
                    <a:pt x="10971" y="15069"/>
                  </a:lnTo>
                  <a:lnTo>
                    <a:pt x="10996" y="15000"/>
                  </a:lnTo>
                  <a:lnTo>
                    <a:pt x="11016" y="14928"/>
                  </a:lnTo>
                  <a:lnTo>
                    <a:pt x="11032" y="14856"/>
                  </a:lnTo>
                  <a:lnTo>
                    <a:pt x="11046" y="14781"/>
                  </a:lnTo>
                  <a:lnTo>
                    <a:pt x="11055" y="14706"/>
                  </a:lnTo>
                  <a:lnTo>
                    <a:pt x="11061" y="14630"/>
                  </a:lnTo>
                  <a:lnTo>
                    <a:pt x="11063" y="14553"/>
                  </a:lnTo>
                  <a:lnTo>
                    <a:pt x="11063" y="1505"/>
                  </a:lnTo>
                  <a:lnTo>
                    <a:pt x="11061" y="1428"/>
                  </a:lnTo>
                  <a:lnTo>
                    <a:pt x="11055" y="1352"/>
                  </a:lnTo>
                  <a:lnTo>
                    <a:pt x="11046" y="1277"/>
                  </a:lnTo>
                  <a:lnTo>
                    <a:pt x="11032" y="1202"/>
                  </a:lnTo>
                  <a:lnTo>
                    <a:pt x="11016" y="1129"/>
                  </a:lnTo>
                  <a:lnTo>
                    <a:pt x="10996" y="1058"/>
                  </a:lnTo>
                  <a:lnTo>
                    <a:pt x="10971" y="988"/>
                  </a:lnTo>
                  <a:lnTo>
                    <a:pt x="10944" y="919"/>
                  </a:lnTo>
                  <a:lnTo>
                    <a:pt x="10914" y="853"/>
                  </a:lnTo>
                  <a:lnTo>
                    <a:pt x="10881" y="788"/>
                  </a:lnTo>
                  <a:lnTo>
                    <a:pt x="10845" y="725"/>
                  </a:lnTo>
                  <a:lnTo>
                    <a:pt x="10806" y="663"/>
                  </a:lnTo>
                  <a:lnTo>
                    <a:pt x="10763" y="605"/>
                  </a:lnTo>
                  <a:lnTo>
                    <a:pt x="10718" y="548"/>
                  </a:lnTo>
                  <a:lnTo>
                    <a:pt x="10671" y="493"/>
                  </a:lnTo>
                  <a:lnTo>
                    <a:pt x="10620" y="441"/>
                  </a:lnTo>
                  <a:lnTo>
                    <a:pt x="10568" y="391"/>
                  </a:lnTo>
                  <a:lnTo>
                    <a:pt x="10514" y="344"/>
                  </a:lnTo>
                  <a:lnTo>
                    <a:pt x="10457" y="299"/>
                  </a:lnTo>
                  <a:lnTo>
                    <a:pt x="10397" y="257"/>
                  </a:lnTo>
                  <a:lnTo>
                    <a:pt x="10337" y="218"/>
                  </a:lnTo>
                  <a:lnTo>
                    <a:pt x="10274" y="182"/>
                  </a:lnTo>
                  <a:lnTo>
                    <a:pt x="10208" y="149"/>
                  </a:lnTo>
                  <a:lnTo>
                    <a:pt x="10142" y="118"/>
                  </a:lnTo>
                  <a:lnTo>
                    <a:pt x="10073" y="91"/>
                  </a:lnTo>
                  <a:lnTo>
                    <a:pt x="10003" y="67"/>
                  </a:lnTo>
                  <a:lnTo>
                    <a:pt x="9932" y="47"/>
                  </a:lnTo>
                  <a:lnTo>
                    <a:pt x="9858" y="30"/>
                  </a:lnTo>
                  <a:lnTo>
                    <a:pt x="9784" y="17"/>
                  </a:lnTo>
                  <a:lnTo>
                    <a:pt x="9708" y="8"/>
                  </a:lnTo>
                  <a:lnTo>
                    <a:pt x="9632" y="2"/>
                  </a:lnTo>
                  <a:lnTo>
                    <a:pt x="955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64" name="îšľiḓê">
              <a:extLst>
                <a:ext uri="{FF2B5EF4-FFF2-40B4-BE49-F238E27FC236}">
                  <a16:creationId xmlns:a16="http://schemas.microsoft.com/office/drawing/2014/main" id="{CA765B6F-CFDC-404F-AE52-B1BE76E4B893}"/>
                </a:ext>
              </a:extLst>
            </p:cNvPr>
            <p:cNvSpPr/>
            <p:nvPr/>
          </p:nvSpPr>
          <p:spPr bwMode="auto">
            <a:xfrm>
              <a:off x="5102500" y="1386119"/>
              <a:ext cx="31635" cy="7478"/>
            </a:xfrm>
            <a:custGeom>
              <a:avLst/>
              <a:gdLst>
                <a:gd name="T0" fmla="*/ 2010 w 2011"/>
                <a:gd name="T1" fmla="*/ 276 h 502"/>
                <a:gd name="T2" fmla="*/ 2003 w 2011"/>
                <a:gd name="T3" fmla="*/ 314 h 502"/>
                <a:gd name="T4" fmla="*/ 1991 w 2011"/>
                <a:gd name="T5" fmla="*/ 349 h 502"/>
                <a:gd name="T6" fmla="*/ 1975 w 2011"/>
                <a:gd name="T7" fmla="*/ 382 h 502"/>
                <a:gd name="T8" fmla="*/ 1954 w 2011"/>
                <a:gd name="T9" fmla="*/ 411 h 502"/>
                <a:gd name="T10" fmla="*/ 1929 w 2011"/>
                <a:gd name="T11" fmla="*/ 437 h 502"/>
                <a:gd name="T12" fmla="*/ 1900 w 2011"/>
                <a:gd name="T13" fmla="*/ 459 h 502"/>
                <a:gd name="T14" fmla="*/ 1868 w 2011"/>
                <a:gd name="T15" fmla="*/ 477 h 502"/>
                <a:gd name="T16" fmla="*/ 1834 w 2011"/>
                <a:gd name="T17" fmla="*/ 491 h 502"/>
                <a:gd name="T18" fmla="*/ 1798 w 2011"/>
                <a:gd name="T19" fmla="*/ 499 h 502"/>
                <a:gd name="T20" fmla="*/ 1760 w 2011"/>
                <a:gd name="T21" fmla="*/ 502 h 502"/>
                <a:gd name="T22" fmla="*/ 225 w 2011"/>
                <a:gd name="T23" fmla="*/ 501 h 502"/>
                <a:gd name="T24" fmla="*/ 188 w 2011"/>
                <a:gd name="T25" fmla="*/ 494 h 502"/>
                <a:gd name="T26" fmla="*/ 153 w 2011"/>
                <a:gd name="T27" fmla="*/ 482 h 502"/>
                <a:gd name="T28" fmla="*/ 120 w 2011"/>
                <a:gd name="T29" fmla="*/ 466 h 502"/>
                <a:gd name="T30" fmla="*/ 91 w 2011"/>
                <a:gd name="T31" fmla="*/ 445 h 502"/>
                <a:gd name="T32" fmla="*/ 65 w 2011"/>
                <a:gd name="T33" fmla="*/ 420 h 502"/>
                <a:gd name="T34" fmla="*/ 43 w 2011"/>
                <a:gd name="T35" fmla="*/ 392 h 502"/>
                <a:gd name="T36" fmla="*/ 25 w 2011"/>
                <a:gd name="T37" fmla="*/ 360 h 502"/>
                <a:gd name="T38" fmla="*/ 11 w 2011"/>
                <a:gd name="T39" fmla="*/ 326 h 502"/>
                <a:gd name="T40" fmla="*/ 3 w 2011"/>
                <a:gd name="T41" fmla="*/ 289 h 502"/>
                <a:gd name="T42" fmla="*/ 0 w 2011"/>
                <a:gd name="T43" fmla="*/ 251 h 502"/>
                <a:gd name="T44" fmla="*/ 3 w 2011"/>
                <a:gd name="T45" fmla="*/ 213 h 502"/>
                <a:gd name="T46" fmla="*/ 11 w 2011"/>
                <a:gd name="T47" fmla="*/ 177 h 502"/>
                <a:gd name="T48" fmla="*/ 25 w 2011"/>
                <a:gd name="T49" fmla="*/ 143 h 502"/>
                <a:gd name="T50" fmla="*/ 43 w 2011"/>
                <a:gd name="T51" fmla="*/ 111 h 502"/>
                <a:gd name="T52" fmla="*/ 65 w 2011"/>
                <a:gd name="T53" fmla="*/ 83 h 502"/>
                <a:gd name="T54" fmla="*/ 91 w 2011"/>
                <a:gd name="T55" fmla="*/ 58 h 502"/>
                <a:gd name="T56" fmla="*/ 120 w 2011"/>
                <a:gd name="T57" fmla="*/ 37 h 502"/>
                <a:gd name="T58" fmla="*/ 153 w 2011"/>
                <a:gd name="T59" fmla="*/ 21 h 502"/>
                <a:gd name="T60" fmla="*/ 188 w 2011"/>
                <a:gd name="T61" fmla="*/ 8 h 502"/>
                <a:gd name="T62" fmla="*/ 225 w 2011"/>
                <a:gd name="T63" fmla="*/ 1 h 502"/>
                <a:gd name="T64" fmla="*/ 1760 w 2011"/>
                <a:gd name="T65" fmla="*/ 0 h 502"/>
                <a:gd name="T66" fmla="*/ 1798 w 2011"/>
                <a:gd name="T67" fmla="*/ 3 h 502"/>
                <a:gd name="T68" fmla="*/ 1834 w 2011"/>
                <a:gd name="T69" fmla="*/ 11 h 502"/>
                <a:gd name="T70" fmla="*/ 1868 w 2011"/>
                <a:gd name="T71" fmla="*/ 26 h 502"/>
                <a:gd name="T72" fmla="*/ 1900 w 2011"/>
                <a:gd name="T73" fmla="*/ 44 h 502"/>
                <a:gd name="T74" fmla="*/ 1929 w 2011"/>
                <a:gd name="T75" fmla="*/ 66 h 502"/>
                <a:gd name="T76" fmla="*/ 1954 w 2011"/>
                <a:gd name="T77" fmla="*/ 92 h 502"/>
                <a:gd name="T78" fmla="*/ 1975 w 2011"/>
                <a:gd name="T79" fmla="*/ 121 h 502"/>
                <a:gd name="T80" fmla="*/ 1991 w 2011"/>
                <a:gd name="T81" fmla="*/ 154 h 502"/>
                <a:gd name="T82" fmla="*/ 2003 w 2011"/>
                <a:gd name="T83" fmla="*/ 189 h 502"/>
                <a:gd name="T84" fmla="*/ 2010 w 2011"/>
                <a:gd name="T85" fmla="*/ 225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11" h="502">
                  <a:moveTo>
                    <a:pt x="2011" y="251"/>
                  </a:moveTo>
                  <a:lnTo>
                    <a:pt x="2011" y="264"/>
                  </a:lnTo>
                  <a:lnTo>
                    <a:pt x="2010" y="276"/>
                  </a:lnTo>
                  <a:lnTo>
                    <a:pt x="2008" y="289"/>
                  </a:lnTo>
                  <a:lnTo>
                    <a:pt x="2006" y="302"/>
                  </a:lnTo>
                  <a:lnTo>
                    <a:pt x="2003" y="314"/>
                  </a:lnTo>
                  <a:lnTo>
                    <a:pt x="2000" y="326"/>
                  </a:lnTo>
                  <a:lnTo>
                    <a:pt x="1996" y="338"/>
                  </a:lnTo>
                  <a:lnTo>
                    <a:pt x="1991" y="349"/>
                  </a:lnTo>
                  <a:lnTo>
                    <a:pt x="1986" y="360"/>
                  </a:lnTo>
                  <a:lnTo>
                    <a:pt x="1981" y="371"/>
                  </a:lnTo>
                  <a:lnTo>
                    <a:pt x="1975" y="382"/>
                  </a:lnTo>
                  <a:lnTo>
                    <a:pt x="1968" y="392"/>
                  </a:lnTo>
                  <a:lnTo>
                    <a:pt x="1961" y="402"/>
                  </a:lnTo>
                  <a:lnTo>
                    <a:pt x="1954" y="411"/>
                  </a:lnTo>
                  <a:lnTo>
                    <a:pt x="1946" y="420"/>
                  </a:lnTo>
                  <a:lnTo>
                    <a:pt x="1938" y="429"/>
                  </a:lnTo>
                  <a:lnTo>
                    <a:pt x="1929" y="437"/>
                  </a:lnTo>
                  <a:lnTo>
                    <a:pt x="1920" y="445"/>
                  </a:lnTo>
                  <a:lnTo>
                    <a:pt x="1910" y="452"/>
                  </a:lnTo>
                  <a:lnTo>
                    <a:pt x="1900" y="459"/>
                  </a:lnTo>
                  <a:lnTo>
                    <a:pt x="1890" y="466"/>
                  </a:lnTo>
                  <a:lnTo>
                    <a:pt x="1879" y="472"/>
                  </a:lnTo>
                  <a:lnTo>
                    <a:pt x="1868" y="477"/>
                  </a:lnTo>
                  <a:lnTo>
                    <a:pt x="1857" y="482"/>
                  </a:lnTo>
                  <a:lnTo>
                    <a:pt x="1846" y="487"/>
                  </a:lnTo>
                  <a:lnTo>
                    <a:pt x="1834" y="491"/>
                  </a:lnTo>
                  <a:lnTo>
                    <a:pt x="1822" y="494"/>
                  </a:lnTo>
                  <a:lnTo>
                    <a:pt x="1810" y="497"/>
                  </a:lnTo>
                  <a:lnTo>
                    <a:pt x="1798" y="499"/>
                  </a:lnTo>
                  <a:lnTo>
                    <a:pt x="1785" y="501"/>
                  </a:lnTo>
                  <a:lnTo>
                    <a:pt x="1773" y="502"/>
                  </a:lnTo>
                  <a:lnTo>
                    <a:pt x="1760" y="502"/>
                  </a:lnTo>
                  <a:lnTo>
                    <a:pt x="251" y="502"/>
                  </a:lnTo>
                  <a:lnTo>
                    <a:pt x="238" y="502"/>
                  </a:lnTo>
                  <a:lnTo>
                    <a:pt x="225" y="501"/>
                  </a:lnTo>
                  <a:lnTo>
                    <a:pt x="213" y="499"/>
                  </a:lnTo>
                  <a:lnTo>
                    <a:pt x="200" y="497"/>
                  </a:lnTo>
                  <a:lnTo>
                    <a:pt x="188" y="494"/>
                  </a:lnTo>
                  <a:lnTo>
                    <a:pt x="176" y="491"/>
                  </a:lnTo>
                  <a:lnTo>
                    <a:pt x="165" y="487"/>
                  </a:lnTo>
                  <a:lnTo>
                    <a:pt x="153" y="482"/>
                  </a:lnTo>
                  <a:lnTo>
                    <a:pt x="142" y="477"/>
                  </a:lnTo>
                  <a:lnTo>
                    <a:pt x="132" y="472"/>
                  </a:lnTo>
                  <a:lnTo>
                    <a:pt x="120" y="466"/>
                  </a:lnTo>
                  <a:lnTo>
                    <a:pt x="110" y="459"/>
                  </a:lnTo>
                  <a:lnTo>
                    <a:pt x="100" y="452"/>
                  </a:lnTo>
                  <a:lnTo>
                    <a:pt x="91" y="445"/>
                  </a:lnTo>
                  <a:lnTo>
                    <a:pt x="82" y="437"/>
                  </a:lnTo>
                  <a:lnTo>
                    <a:pt x="73" y="429"/>
                  </a:lnTo>
                  <a:lnTo>
                    <a:pt x="65" y="420"/>
                  </a:lnTo>
                  <a:lnTo>
                    <a:pt x="57" y="411"/>
                  </a:lnTo>
                  <a:lnTo>
                    <a:pt x="49" y="402"/>
                  </a:lnTo>
                  <a:lnTo>
                    <a:pt x="43" y="392"/>
                  </a:lnTo>
                  <a:lnTo>
                    <a:pt x="36" y="382"/>
                  </a:lnTo>
                  <a:lnTo>
                    <a:pt x="30" y="371"/>
                  </a:lnTo>
                  <a:lnTo>
                    <a:pt x="25" y="360"/>
                  </a:lnTo>
                  <a:lnTo>
                    <a:pt x="20" y="349"/>
                  </a:lnTo>
                  <a:lnTo>
                    <a:pt x="15" y="338"/>
                  </a:lnTo>
                  <a:lnTo>
                    <a:pt x="11" y="326"/>
                  </a:lnTo>
                  <a:lnTo>
                    <a:pt x="8" y="314"/>
                  </a:lnTo>
                  <a:lnTo>
                    <a:pt x="5" y="302"/>
                  </a:lnTo>
                  <a:lnTo>
                    <a:pt x="3" y="289"/>
                  </a:lnTo>
                  <a:lnTo>
                    <a:pt x="1" y="276"/>
                  </a:lnTo>
                  <a:lnTo>
                    <a:pt x="0" y="264"/>
                  </a:lnTo>
                  <a:lnTo>
                    <a:pt x="0" y="251"/>
                  </a:lnTo>
                  <a:lnTo>
                    <a:pt x="0" y="238"/>
                  </a:lnTo>
                  <a:lnTo>
                    <a:pt x="1" y="225"/>
                  </a:lnTo>
                  <a:lnTo>
                    <a:pt x="3" y="213"/>
                  </a:lnTo>
                  <a:lnTo>
                    <a:pt x="5" y="201"/>
                  </a:lnTo>
                  <a:lnTo>
                    <a:pt x="8" y="189"/>
                  </a:lnTo>
                  <a:lnTo>
                    <a:pt x="11" y="177"/>
                  </a:lnTo>
                  <a:lnTo>
                    <a:pt x="15" y="165"/>
                  </a:lnTo>
                  <a:lnTo>
                    <a:pt x="20" y="154"/>
                  </a:lnTo>
                  <a:lnTo>
                    <a:pt x="25" y="143"/>
                  </a:lnTo>
                  <a:lnTo>
                    <a:pt x="30" y="132"/>
                  </a:lnTo>
                  <a:lnTo>
                    <a:pt x="36" y="121"/>
                  </a:lnTo>
                  <a:lnTo>
                    <a:pt x="43" y="111"/>
                  </a:lnTo>
                  <a:lnTo>
                    <a:pt x="49" y="101"/>
                  </a:lnTo>
                  <a:lnTo>
                    <a:pt x="57" y="92"/>
                  </a:lnTo>
                  <a:lnTo>
                    <a:pt x="65" y="83"/>
                  </a:lnTo>
                  <a:lnTo>
                    <a:pt x="73" y="74"/>
                  </a:lnTo>
                  <a:lnTo>
                    <a:pt x="82" y="66"/>
                  </a:lnTo>
                  <a:lnTo>
                    <a:pt x="91" y="58"/>
                  </a:lnTo>
                  <a:lnTo>
                    <a:pt x="100" y="51"/>
                  </a:lnTo>
                  <a:lnTo>
                    <a:pt x="110" y="44"/>
                  </a:lnTo>
                  <a:lnTo>
                    <a:pt x="120" y="37"/>
                  </a:lnTo>
                  <a:lnTo>
                    <a:pt x="132" y="31"/>
                  </a:lnTo>
                  <a:lnTo>
                    <a:pt x="142" y="26"/>
                  </a:lnTo>
                  <a:lnTo>
                    <a:pt x="153" y="21"/>
                  </a:lnTo>
                  <a:lnTo>
                    <a:pt x="165" y="15"/>
                  </a:lnTo>
                  <a:lnTo>
                    <a:pt x="176" y="11"/>
                  </a:lnTo>
                  <a:lnTo>
                    <a:pt x="188" y="8"/>
                  </a:lnTo>
                  <a:lnTo>
                    <a:pt x="200" y="5"/>
                  </a:lnTo>
                  <a:lnTo>
                    <a:pt x="213" y="3"/>
                  </a:lnTo>
                  <a:lnTo>
                    <a:pt x="225" y="1"/>
                  </a:lnTo>
                  <a:lnTo>
                    <a:pt x="238" y="0"/>
                  </a:lnTo>
                  <a:lnTo>
                    <a:pt x="251" y="0"/>
                  </a:lnTo>
                  <a:lnTo>
                    <a:pt x="1760" y="0"/>
                  </a:lnTo>
                  <a:lnTo>
                    <a:pt x="1773" y="0"/>
                  </a:lnTo>
                  <a:lnTo>
                    <a:pt x="1785" y="1"/>
                  </a:lnTo>
                  <a:lnTo>
                    <a:pt x="1798" y="3"/>
                  </a:lnTo>
                  <a:lnTo>
                    <a:pt x="1810" y="5"/>
                  </a:lnTo>
                  <a:lnTo>
                    <a:pt x="1822" y="8"/>
                  </a:lnTo>
                  <a:lnTo>
                    <a:pt x="1834" y="11"/>
                  </a:lnTo>
                  <a:lnTo>
                    <a:pt x="1846" y="15"/>
                  </a:lnTo>
                  <a:lnTo>
                    <a:pt x="1857" y="21"/>
                  </a:lnTo>
                  <a:lnTo>
                    <a:pt x="1868" y="26"/>
                  </a:lnTo>
                  <a:lnTo>
                    <a:pt x="1879" y="31"/>
                  </a:lnTo>
                  <a:lnTo>
                    <a:pt x="1890" y="37"/>
                  </a:lnTo>
                  <a:lnTo>
                    <a:pt x="1900" y="44"/>
                  </a:lnTo>
                  <a:lnTo>
                    <a:pt x="1910" y="51"/>
                  </a:lnTo>
                  <a:lnTo>
                    <a:pt x="1920" y="58"/>
                  </a:lnTo>
                  <a:lnTo>
                    <a:pt x="1929" y="66"/>
                  </a:lnTo>
                  <a:lnTo>
                    <a:pt x="1938" y="74"/>
                  </a:lnTo>
                  <a:lnTo>
                    <a:pt x="1946" y="83"/>
                  </a:lnTo>
                  <a:lnTo>
                    <a:pt x="1954" y="92"/>
                  </a:lnTo>
                  <a:lnTo>
                    <a:pt x="1961" y="101"/>
                  </a:lnTo>
                  <a:lnTo>
                    <a:pt x="1968" y="111"/>
                  </a:lnTo>
                  <a:lnTo>
                    <a:pt x="1975" y="121"/>
                  </a:lnTo>
                  <a:lnTo>
                    <a:pt x="1981" y="132"/>
                  </a:lnTo>
                  <a:lnTo>
                    <a:pt x="1986" y="143"/>
                  </a:lnTo>
                  <a:lnTo>
                    <a:pt x="1991" y="154"/>
                  </a:lnTo>
                  <a:lnTo>
                    <a:pt x="1996" y="165"/>
                  </a:lnTo>
                  <a:lnTo>
                    <a:pt x="2000" y="177"/>
                  </a:lnTo>
                  <a:lnTo>
                    <a:pt x="2003" y="189"/>
                  </a:lnTo>
                  <a:lnTo>
                    <a:pt x="2006" y="201"/>
                  </a:lnTo>
                  <a:lnTo>
                    <a:pt x="2008" y="213"/>
                  </a:lnTo>
                  <a:lnTo>
                    <a:pt x="2010" y="225"/>
                  </a:lnTo>
                  <a:lnTo>
                    <a:pt x="2011" y="238"/>
                  </a:lnTo>
                  <a:lnTo>
                    <a:pt x="2011" y="2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65" name="îślíďe">
              <a:extLst>
                <a:ext uri="{FF2B5EF4-FFF2-40B4-BE49-F238E27FC236}">
                  <a16:creationId xmlns:a16="http://schemas.microsoft.com/office/drawing/2014/main" id="{B13FC156-A01A-4BBE-BB99-6A0FA5998F4B}"/>
                </a:ext>
              </a:extLst>
            </p:cNvPr>
            <p:cNvSpPr/>
            <p:nvPr/>
          </p:nvSpPr>
          <p:spPr bwMode="auto">
            <a:xfrm>
              <a:off x="5110553" y="1581110"/>
              <a:ext cx="15530" cy="7478"/>
            </a:xfrm>
            <a:custGeom>
              <a:avLst/>
              <a:gdLst>
                <a:gd name="T0" fmla="*/ 1004 w 1005"/>
                <a:gd name="T1" fmla="*/ 277 h 503"/>
                <a:gd name="T2" fmla="*/ 997 w 1005"/>
                <a:gd name="T3" fmla="*/ 314 h 503"/>
                <a:gd name="T4" fmla="*/ 985 w 1005"/>
                <a:gd name="T5" fmla="*/ 349 h 503"/>
                <a:gd name="T6" fmla="*/ 969 w 1005"/>
                <a:gd name="T7" fmla="*/ 381 h 503"/>
                <a:gd name="T8" fmla="*/ 948 w 1005"/>
                <a:gd name="T9" fmla="*/ 411 h 503"/>
                <a:gd name="T10" fmla="*/ 923 w 1005"/>
                <a:gd name="T11" fmla="*/ 437 h 503"/>
                <a:gd name="T12" fmla="*/ 894 w 1005"/>
                <a:gd name="T13" fmla="*/ 459 h 503"/>
                <a:gd name="T14" fmla="*/ 863 w 1005"/>
                <a:gd name="T15" fmla="*/ 477 h 503"/>
                <a:gd name="T16" fmla="*/ 828 w 1005"/>
                <a:gd name="T17" fmla="*/ 491 h 503"/>
                <a:gd name="T18" fmla="*/ 792 w 1005"/>
                <a:gd name="T19" fmla="*/ 500 h 503"/>
                <a:gd name="T20" fmla="*/ 754 w 1005"/>
                <a:gd name="T21" fmla="*/ 503 h 503"/>
                <a:gd name="T22" fmla="*/ 225 w 1005"/>
                <a:gd name="T23" fmla="*/ 501 h 503"/>
                <a:gd name="T24" fmla="*/ 188 w 1005"/>
                <a:gd name="T25" fmla="*/ 495 h 503"/>
                <a:gd name="T26" fmla="*/ 153 w 1005"/>
                <a:gd name="T27" fmla="*/ 482 h 503"/>
                <a:gd name="T28" fmla="*/ 120 w 1005"/>
                <a:gd name="T29" fmla="*/ 465 h 503"/>
                <a:gd name="T30" fmla="*/ 91 w 1005"/>
                <a:gd name="T31" fmla="*/ 444 h 503"/>
                <a:gd name="T32" fmla="*/ 65 w 1005"/>
                <a:gd name="T33" fmla="*/ 420 h 503"/>
                <a:gd name="T34" fmla="*/ 43 w 1005"/>
                <a:gd name="T35" fmla="*/ 391 h 503"/>
                <a:gd name="T36" fmla="*/ 25 w 1005"/>
                <a:gd name="T37" fmla="*/ 360 h 503"/>
                <a:gd name="T38" fmla="*/ 11 w 1005"/>
                <a:gd name="T39" fmla="*/ 326 h 503"/>
                <a:gd name="T40" fmla="*/ 3 w 1005"/>
                <a:gd name="T41" fmla="*/ 290 h 503"/>
                <a:gd name="T42" fmla="*/ 0 w 1005"/>
                <a:gd name="T43" fmla="*/ 252 h 503"/>
                <a:gd name="T44" fmla="*/ 3 w 1005"/>
                <a:gd name="T45" fmla="*/ 214 h 503"/>
                <a:gd name="T46" fmla="*/ 11 w 1005"/>
                <a:gd name="T47" fmla="*/ 176 h 503"/>
                <a:gd name="T48" fmla="*/ 25 w 1005"/>
                <a:gd name="T49" fmla="*/ 142 h 503"/>
                <a:gd name="T50" fmla="*/ 43 w 1005"/>
                <a:gd name="T51" fmla="*/ 111 h 503"/>
                <a:gd name="T52" fmla="*/ 65 w 1005"/>
                <a:gd name="T53" fmla="*/ 82 h 503"/>
                <a:gd name="T54" fmla="*/ 91 w 1005"/>
                <a:gd name="T55" fmla="*/ 58 h 503"/>
                <a:gd name="T56" fmla="*/ 120 w 1005"/>
                <a:gd name="T57" fmla="*/ 37 h 503"/>
                <a:gd name="T58" fmla="*/ 153 w 1005"/>
                <a:gd name="T59" fmla="*/ 20 h 503"/>
                <a:gd name="T60" fmla="*/ 188 w 1005"/>
                <a:gd name="T61" fmla="*/ 8 h 503"/>
                <a:gd name="T62" fmla="*/ 225 w 1005"/>
                <a:gd name="T63" fmla="*/ 2 h 503"/>
                <a:gd name="T64" fmla="*/ 754 w 1005"/>
                <a:gd name="T65" fmla="*/ 0 h 503"/>
                <a:gd name="T66" fmla="*/ 792 w 1005"/>
                <a:gd name="T67" fmla="*/ 3 h 503"/>
                <a:gd name="T68" fmla="*/ 828 w 1005"/>
                <a:gd name="T69" fmla="*/ 12 h 503"/>
                <a:gd name="T70" fmla="*/ 863 w 1005"/>
                <a:gd name="T71" fmla="*/ 25 h 503"/>
                <a:gd name="T72" fmla="*/ 894 w 1005"/>
                <a:gd name="T73" fmla="*/ 43 h 503"/>
                <a:gd name="T74" fmla="*/ 923 w 1005"/>
                <a:gd name="T75" fmla="*/ 65 h 503"/>
                <a:gd name="T76" fmla="*/ 948 w 1005"/>
                <a:gd name="T77" fmla="*/ 92 h 503"/>
                <a:gd name="T78" fmla="*/ 969 w 1005"/>
                <a:gd name="T79" fmla="*/ 121 h 503"/>
                <a:gd name="T80" fmla="*/ 985 w 1005"/>
                <a:gd name="T81" fmla="*/ 153 h 503"/>
                <a:gd name="T82" fmla="*/ 997 w 1005"/>
                <a:gd name="T83" fmla="*/ 188 h 503"/>
                <a:gd name="T84" fmla="*/ 1004 w 1005"/>
                <a:gd name="T85" fmla="*/ 226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5" h="503">
                  <a:moveTo>
                    <a:pt x="1005" y="252"/>
                  </a:moveTo>
                  <a:lnTo>
                    <a:pt x="1005" y="264"/>
                  </a:lnTo>
                  <a:lnTo>
                    <a:pt x="1004" y="277"/>
                  </a:lnTo>
                  <a:lnTo>
                    <a:pt x="1002" y="290"/>
                  </a:lnTo>
                  <a:lnTo>
                    <a:pt x="1000" y="302"/>
                  </a:lnTo>
                  <a:lnTo>
                    <a:pt x="997" y="314"/>
                  </a:lnTo>
                  <a:lnTo>
                    <a:pt x="994" y="326"/>
                  </a:lnTo>
                  <a:lnTo>
                    <a:pt x="990" y="337"/>
                  </a:lnTo>
                  <a:lnTo>
                    <a:pt x="985" y="349"/>
                  </a:lnTo>
                  <a:lnTo>
                    <a:pt x="980" y="360"/>
                  </a:lnTo>
                  <a:lnTo>
                    <a:pt x="975" y="371"/>
                  </a:lnTo>
                  <a:lnTo>
                    <a:pt x="969" y="381"/>
                  </a:lnTo>
                  <a:lnTo>
                    <a:pt x="962" y="391"/>
                  </a:lnTo>
                  <a:lnTo>
                    <a:pt x="955" y="401"/>
                  </a:lnTo>
                  <a:lnTo>
                    <a:pt x="948" y="411"/>
                  </a:lnTo>
                  <a:lnTo>
                    <a:pt x="940" y="420"/>
                  </a:lnTo>
                  <a:lnTo>
                    <a:pt x="932" y="428"/>
                  </a:lnTo>
                  <a:lnTo>
                    <a:pt x="923" y="437"/>
                  </a:lnTo>
                  <a:lnTo>
                    <a:pt x="914" y="444"/>
                  </a:lnTo>
                  <a:lnTo>
                    <a:pt x="904" y="452"/>
                  </a:lnTo>
                  <a:lnTo>
                    <a:pt x="894" y="459"/>
                  </a:lnTo>
                  <a:lnTo>
                    <a:pt x="884" y="465"/>
                  </a:lnTo>
                  <a:lnTo>
                    <a:pt x="874" y="471"/>
                  </a:lnTo>
                  <a:lnTo>
                    <a:pt x="863" y="477"/>
                  </a:lnTo>
                  <a:lnTo>
                    <a:pt x="851" y="482"/>
                  </a:lnTo>
                  <a:lnTo>
                    <a:pt x="840" y="486"/>
                  </a:lnTo>
                  <a:lnTo>
                    <a:pt x="828" y="491"/>
                  </a:lnTo>
                  <a:lnTo>
                    <a:pt x="816" y="495"/>
                  </a:lnTo>
                  <a:lnTo>
                    <a:pt x="804" y="497"/>
                  </a:lnTo>
                  <a:lnTo>
                    <a:pt x="792" y="500"/>
                  </a:lnTo>
                  <a:lnTo>
                    <a:pt x="779" y="501"/>
                  </a:lnTo>
                  <a:lnTo>
                    <a:pt x="767" y="502"/>
                  </a:lnTo>
                  <a:lnTo>
                    <a:pt x="754" y="503"/>
                  </a:lnTo>
                  <a:lnTo>
                    <a:pt x="251" y="503"/>
                  </a:lnTo>
                  <a:lnTo>
                    <a:pt x="238" y="502"/>
                  </a:lnTo>
                  <a:lnTo>
                    <a:pt x="225" y="501"/>
                  </a:lnTo>
                  <a:lnTo>
                    <a:pt x="213" y="500"/>
                  </a:lnTo>
                  <a:lnTo>
                    <a:pt x="200" y="497"/>
                  </a:lnTo>
                  <a:lnTo>
                    <a:pt x="188" y="495"/>
                  </a:lnTo>
                  <a:lnTo>
                    <a:pt x="176" y="491"/>
                  </a:lnTo>
                  <a:lnTo>
                    <a:pt x="165" y="486"/>
                  </a:lnTo>
                  <a:lnTo>
                    <a:pt x="153" y="482"/>
                  </a:lnTo>
                  <a:lnTo>
                    <a:pt x="141" y="477"/>
                  </a:lnTo>
                  <a:lnTo>
                    <a:pt x="131" y="471"/>
                  </a:lnTo>
                  <a:lnTo>
                    <a:pt x="120" y="465"/>
                  </a:lnTo>
                  <a:lnTo>
                    <a:pt x="110" y="459"/>
                  </a:lnTo>
                  <a:lnTo>
                    <a:pt x="100" y="452"/>
                  </a:lnTo>
                  <a:lnTo>
                    <a:pt x="91" y="444"/>
                  </a:lnTo>
                  <a:lnTo>
                    <a:pt x="82" y="437"/>
                  </a:lnTo>
                  <a:lnTo>
                    <a:pt x="73" y="428"/>
                  </a:lnTo>
                  <a:lnTo>
                    <a:pt x="65" y="420"/>
                  </a:lnTo>
                  <a:lnTo>
                    <a:pt x="57" y="411"/>
                  </a:lnTo>
                  <a:lnTo>
                    <a:pt x="49" y="401"/>
                  </a:lnTo>
                  <a:lnTo>
                    <a:pt x="43" y="391"/>
                  </a:lnTo>
                  <a:lnTo>
                    <a:pt x="36" y="381"/>
                  </a:lnTo>
                  <a:lnTo>
                    <a:pt x="30" y="371"/>
                  </a:lnTo>
                  <a:lnTo>
                    <a:pt x="25" y="360"/>
                  </a:lnTo>
                  <a:lnTo>
                    <a:pt x="20" y="349"/>
                  </a:lnTo>
                  <a:lnTo>
                    <a:pt x="15" y="337"/>
                  </a:lnTo>
                  <a:lnTo>
                    <a:pt x="11" y="326"/>
                  </a:lnTo>
                  <a:lnTo>
                    <a:pt x="8" y="314"/>
                  </a:lnTo>
                  <a:lnTo>
                    <a:pt x="5" y="302"/>
                  </a:lnTo>
                  <a:lnTo>
                    <a:pt x="3" y="290"/>
                  </a:lnTo>
                  <a:lnTo>
                    <a:pt x="1" y="277"/>
                  </a:lnTo>
                  <a:lnTo>
                    <a:pt x="0" y="264"/>
                  </a:lnTo>
                  <a:lnTo>
                    <a:pt x="0" y="252"/>
                  </a:lnTo>
                  <a:lnTo>
                    <a:pt x="0" y="239"/>
                  </a:lnTo>
                  <a:lnTo>
                    <a:pt x="1" y="226"/>
                  </a:lnTo>
                  <a:lnTo>
                    <a:pt x="3" y="214"/>
                  </a:lnTo>
                  <a:lnTo>
                    <a:pt x="5" y="200"/>
                  </a:lnTo>
                  <a:lnTo>
                    <a:pt x="8" y="188"/>
                  </a:lnTo>
                  <a:lnTo>
                    <a:pt x="11" y="176"/>
                  </a:lnTo>
                  <a:lnTo>
                    <a:pt x="15" y="165"/>
                  </a:lnTo>
                  <a:lnTo>
                    <a:pt x="20" y="153"/>
                  </a:lnTo>
                  <a:lnTo>
                    <a:pt x="25" y="142"/>
                  </a:lnTo>
                  <a:lnTo>
                    <a:pt x="30" y="131"/>
                  </a:lnTo>
                  <a:lnTo>
                    <a:pt x="36" y="121"/>
                  </a:lnTo>
                  <a:lnTo>
                    <a:pt x="43" y="111"/>
                  </a:lnTo>
                  <a:lnTo>
                    <a:pt x="49" y="101"/>
                  </a:lnTo>
                  <a:lnTo>
                    <a:pt x="57" y="92"/>
                  </a:lnTo>
                  <a:lnTo>
                    <a:pt x="65" y="82"/>
                  </a:lnTo>
                  <a:lnTo>
                    <a:pt x="73" y="74"/>
                  </a:lnTo>
                  <a:lnTo>
                    <a:pt x="82" y="65"/>
                  </a:lnTo>
                  <a:lnTo>
                    <a:pt x="91" y="58"/>
                  </a:lnTo>
                  <a:lnTo>
                    <a:pt x="100" y="50"/>
                  </a:lnTo>
                  <a:lnTo>
                    <a:pt x="110" y="43"/>
                  </a:lnTo>
                  <a:lnTo>
                    <a:pt x="120" y="37"/>
                  </a:lnTo>
                  <a:lnTo>
                    <a:pt x="131" y="31"/>
                  </a:lnTo>
                  <a:lnTo>
                    <a:pt x="141" y="25"/>
                  </a:lnTo>
                  <a:lnTo>
                    <a:pt x="153" y="20"/>
                  </a:lnTo>
                  <a:lnTo>
                    <a:pt x="165" y="16"/>
                  </a:lnTo>
                  <a:lnTo>
                    <a:pt x="176" y="12"/>
                  </a:lnTo>
                  <a:lnTo>
                    <a:pt x="188" y="8"/>
                  </a:lnTo>
                  <a:lnTo>
                    <a:pt x="200" y="6"/>
                  </a:lnTo>
                  <a:lnTo>
                    <a:pt x="213" y="3"/>
                  </a:lnTo>
                  <a:lnTo>
                    <a:pt x="225" y="2"/>
                  </a:lnTo>
                  <a:lnTo>
                    <a:pt x="238" y="1"/>
                  </a:lnTo>
                  <a:lnTo>
                    <a:pt x="251" y="0"/>
                  </a:lnTo>
                  <a:lnTo>
                    <a:pt x="754" y="0"/>
                  </a:lnTo>
                  <a:lnTo>
                    <a:pt x="767" y="1"/>
                  </a:lnTo>
                  <a:lnTo>
                    <a:pt x="779" y="2"/>
                  </a:lnTo>
                  <a:lnTo>
                    <a:pt x="792" y="3"/>
                  </a:lnTo>
                  <a:lnTo>
                    <a:pt x="804" y="6"/>
                  </a:lnTo>
                  <a:lnTo>
                    <a:pt x="816" y="8"/>
                  </a:lnTo>
                  <a:lnTo>
                    <a:pt x="828" y="12"/>
                  </a:lnTo>
                  <a:lnTo>
                    <a:pt x="840" y="16"/>
                  </a:lnTo>
                  <a:lnTo>
                    <a:pt x="851" y="20"/>
                  </a:lnTo>
                  <a:lnTo>
                    <a:pt x="863" y="25"/>
                  </a:lnTo>
                  <a:lnTo>
                    <a:pt x="874" y="31"/>
                  </a:lnTo>
                  <a:lnTo>
                    <a:pt x="884" y="37"/>
                  </a:lnTo>
                  <a:lnTo>
                    <a:pt x="894" y="43"/>
                  </a:lnTo>
                  <a:lnTo>
                    <a:pt x="904" y="50"/>
                  </a:lnTo>
                  <a:lnTo>
                    <a:pt x="914" y="58"/>
                  </a:lnTo>
                  <a:lnTo>
                    <a:pt x="923" y="65"/>
                  </a:lnTo>
                  <a:lnTo>
                    <a:pt x="932" y="74"/>
                  </a:lnTo>
                  <a:lnTo>
                    <a:pt x="940" y="82"/>
                  </a:lnTo>
                  <a:lnTo>
                    <a:pt x="948" y="92"/>
                  </a:lnTo>
                  <a:lnTo>
                    <a:pt x="955" y="101"/>
                  </a:lnTo>
                  <a:lnTo>
                    <a:pt x="962" y="111"/>
                  </a:lnTo>
                  <a:lnTo>
                    <a:pt x="969" y="121"/>
                  </a:lnTo>
                  <a:lnTo>
                    <a:pt x="975" y="131"/>
                  </a:lnTo>
                  <a:lnTo>
                    <a:pt x="980" y="142"/>
                  </a:lnTo>
                  <a:lnTo>
                    <a:pt x="985" y="153"/>
                  </a:lnTo>
                  <a:lnTo>
                    <a:pt x="990" y="165"/>
                  </a:lnTo>
                  <a:lnTo>
                    <a:pt x="994" y="176"/>
                  </a:lnTo>
                  <a:lnTo>
                    <a:pt x="997" y="188"/>
                  </a:lnTo>
                  <a:lnTo>
                    <a:pt x="1000" y="200"/>
                  </a:lnTo>
                  <a:lnTo>
                    <a:pt x="1002" y="214"/>
                  </a:lnTo>
                  <a:lnTo>
                    <a:pt x="1004" y="226"/>
                  </a:lnTo>
                  <a:lnTo>
                    <a:pt x="1005" y="239"/>
                  </a:lnTo>
                  <a:lnTo>
                    <a:pt x="1005" y="2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66" name="ïśľídê">
              <a:extLst>
                <a:ext uri="{FF2B5EF4-FFF2-40B4-BE49-F238E27FC236}">
                  <a16:creationId xmlns:a16="http://schemas.microsoft.com/office/drawing/2014/main" id="{A566E99D-ECA8-4126-8A1A-98235EDFFD15}"/>
                </a:ext>
              </a:extLst>
            </p:cNvPr>
            <p:cNvSpPr/>
            <p:nvPr/>
          </p:nvSpPr>
          <p:spPr bwMode="auto">
            <a:xfrm>
              <a:off x="4593351" y="2600386"/>
              <a:ext cx="394077" cy="394076"/>
            </a:xfrm>
            <a:custGeom>
              <a:avLst/>
              <a:gdLst>
                <a:gd name="T0" fmla="*/ 12841 w 16095"/>
                <a:gd name="T1" fmla="*/ 13554 h 16095"/>
                <a:gd name="T2" fmla="*/ 11503 w 16095"/>
                <a:gd name="T3" fmla="*/ 13401 h 16095"/>
                <a:gd name="T4" fmla="*/ 10658 w 16095"/>
                <a:gd name="T5" fmla="*/ 12629 h 16095"/>
                <a:gd name="T6" fmla="*/ 10662 w 16095"/>
                <a:gd name="T7" fmla="*/ 11527 h 16095"/>
                <a:gd name="T8" fmla="*/ 11493 w 16095"/>
                <a:gd name="T9" fmla="*/ 10565 h 16095"/>
                <a:gd name="T10" fmla="*/ 12883 w 16095"/>
                <a:gd name="T11" fmla="*/ 10073 h 16095"/>
                <a:gd name="T12" fmla="*/ 14197 w 16095"/>
                <a:gd name="T13" fmla="*/ 10278 h 16095"/>
                <a:gd name="T14" fmla="*/ 14987 w 16095"/>
                <a:gd name="T15" fmla="*/ 11093 h 16095"/>
                <a:gd name="T16" fmla="*/ 14913 w 16095"/>
                <a:gd name="T17" fmla="*/ 12196 h 16095"/>
                <a:gd name="T18" fmla="*/ 14027 w 16095"/>
                <a:gd name="T19" fmla="*/ 13134 h 16095"/>
                <a:gd name="T20" fmla="*/ 3191 w 16095"/>
                <a:gd name="T21" fmla="*/ 15076 h 16095"/>
                <a:gd name="T22" fmla="*/ 1877 w 16095"/>
                <a:gd name="T23" fmla="*/ 14871 h 16095"/>
                <a:gd name="T24" fmla="*/ 1085 w 16095"/>
                <a:gd name="T25" fmla="*/ 14057 h 16095"/>
                <a:gd name="T26" fmla="*/ 1161 w 16095"/>
                <a:gd name="T27" fmla="*/ 12953 h 16095"/>
                <a:gd name="T28" fmla="*/ 2046 w 16095"/>
                <a:gd name="T29" fmla="*/ 12015 h 16095"/>
                <a:gd name="T30" fmla="*/ 3454 w 16095"/>
                <a:gd name="T31" fmla="*/ 11573 h 16095"/>
                <a:gd name="T32" fmla="*/ 4742 w 16095"/>
                <a:gd name="T33" fmla="*/ 11830 h 16095"/>
                <a:gd name="T34" fmla="*/ 5477 w 16095"/>
                <a:gd name="T35" fmla="*/ 12686 h 16095"/>
                <a:gd name="T36" fmla="*/ 5332 w 16095"/>
                <a:gd name="T37" fmla="*/ 13787 h 16095"/>
                <a:gd name="T38" fmla="*/ 4393 w 16095"/>
                <a:gd name="T39" fmla="*/ 14700 h 16095"/>
                <a:gd name="T40" fmla="*/ 15473 w 16095"/>
                <a:gd name="T41" fmla="*/ 76 h 16095"/>
                <a:gd name="T42" fmla="*/ 15002 w 16095"/>
                <a:gd name="T43" fmla="*/ 4 h 16095"/>
                <a:gd name="T44" fmla="*/ 6031 w 16095"/>
                <a:gd name="T45" fmla="*/ 1646 h 16095"/>
                <a:gd name="T46" fmla="*/ 5647 w 16095"/>
                <a:gd name="T47" fmla="*/ 2047 h 16095"/>
                <a:gd name="T48" fmla="*/ 5532 w 16095"/>
                <a:gd name="T49" fmla="*/ 4024 h 16095"/>
                <a:gd name="T50" fmla="*/ 4898 w 16095"/>
                <a:gd name="T51" fmla="*/ 10801 h 16095"/>
                <a:gd name="T52" fmla="*/ 4095 w 16095"/>
                <a:gd name="T53" fmla="*/ 10593 h 16095"/>
                <a:gd name="T54" fmla="*/ 3144 w 16095"/>
                <a:gd name="T55" fmla="*/ 10592 h 16095"/>
                <a:gd name="T56" fmla="*/ 2088 w 16095"/>
                <a:gd name="T57" fmla="*/ 10870 h 16095"/>
                <a:gd name="T58" fmla="*/ 1086 w 16095"/>
                <a:gd name="T59" fmla="*/ 11468 h 16095"/>
                <a:gd name="T60" fmla="*/ 369 w 16095"/>
                <a:gd name="T61" fmla="*/ 12304 h 16095"/>
                <a:gd name="T62" fmla="*/ 51 w 16095"/>
                <a:gd name="T63" fmla="*/ 13112 h 16095"/>
                <a:gd name="T64" fmla="*/ 17 w 16095"/>
                <a:gd name="T65" fmla="*/ 13888 h 16095"/>
                <a:gd name="T66" fmla="*/ 320 w 16095"/>
                <a:gd name="T67" fmla="*/ 14775 h 16095"/>
                <a:gd name="T68" fmla="*/ 1277 w 16095"/>
                <a:gd name="T69" fmla="*/ 15690 h 16095"/>
                <a:gd name="T70" fmla="*/ 2674 w 16095"/>
                <a:gd name="T71" fmla="*/ 16087 h 16095"/>
                <a:gd name="T72" fmla="*/ 3792 w 16095"/>
                <a:gd name="T73" fmla="*/ 15996 h 16095"/>
                <a:gd name="T74" fmla="*/ 4864 w 16095"/>
                <a:gd name="T75" fmla="*/ 15590 h 16095"/>
                <a:gd name="T76" fmla="*/ 5766 w 16095"/>
                <a:gd name="T77" fmla="*/ 14893 h 16095"/>
                <a:gd name="T78" fmla="*/ 6343 w 16095"/>
                <a:gd name="T79" fmla="*/ 14007 h 16095"/>
                <a:gd name="T80" fmla="*/ 6528 w 16095"/>
                <a:gd name="T81" fmla="*/ 13143 h 16095"/>
                <a:gd name="T82" fmla="*/ 15089 w 16095"/>
                <a:gd name="T83" fmla="*/ 9642 h 16095"/>
                <a:gd name="T84" fmla="*/ 14397 w 16095"/>
                <a:gd name="T85" fmla="*/ 9270 h 16095"/>
                <a:gd name="T86" fmla="*/ 13586 w 16095"/>
                <a:gd name="T87" fmla="*/ 9076 h 16095"/>
                <a:gd name="T88" fmla="*/ 12620 w 16095"/>
                <a:gd name="T89" fmla="*/ 9094 h 16095"/>
                <a:gd name="T90" fmla="*/ 11560 w 16095"/>
                <a:gd name="T91" fmla="*/ 9397 h 16095"/>
                <a:gd name="T92" fmla="*/ 10577 w 16095"/>
                <a:gd name="T93" fmla="*/ 10017 h 16095"/>
                <a:gd name="T94" fmla="*/ 9884 w 16095"/>
                <a:gd name="T95" fmla="*/ 10868 h 16095"/>
                <a:gd name="T96" fmla="*/ 9598 w 16095"/>
                <a:gd name="T97" fmla="*/ 11664 h 16095"/>
                <a:gd name="T98" fmla="*/ 9583 w 16095"/>
                <a:gd name="T99" fmla="*/ 12438 h 16095"/>
                <a:gd name="T100" fmla="*/ 9931 w 16095"/>
                <a:gd name="T101" fmla="*/ 13352 h 16095"/>
                <a:gd name="T102" fmla="*/ 10929 w 16095"/>
                <a:gd name="T103" fmla="*/ 14231 h 16095"/>
                <a:gd name="T104" fmla="*/ 12350 w 16095"/>
                <a:gd name="T105" fmla="*/ 14584 h 16095"/>
                <a:gd name="T106" fmla="*/ 13429 w 16095"/>
                <a:gd name="T107" fmla="*/ 14468 h 16095"/>
                <a:gd name="T108" fmla="*/ 14500 w 16095"/>
                <a:gd name="T109" fmla="*/ 14037 h 16095"/>
                <a:gd name="T110" fmla="*/ 15380 w 16095"/>
                <a:gd name="T111" fmla="*/ 13320 h 16095"/>
                <a:gd name="T112" fmla="*/ 15926 w 16095"/>
                <a:gd name="T113" fmla="*/ 12432 h 16095"/>
                <a:gd name="T114" fmla="*/ 16086 w 16095"/>
                <a:gd name="T115" fmla="*/ 11568 h 16095"/>
                <a:gd name="T116" fmla="*/ 16065 w 16095"/>
                <a:gd name="T117" fmla="*/ 761 h 16095"/>
                <a:gd name="T118" fmla="*/ 15920 w 16095"/>
                <a:gd name="T119" fmla="*/ 439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095" h="16095">
                  <a:moveTo>
                    <a:pt x="15069" y="2515"/>
                  </a:moveTo>
                  <a:lnTo>
                    <a:pt x="6518" y="4024"/>
                  </a:lnTo>
                  <a:lnTo>
                    <a:pt x="6518" y="3521"/>
                  </a:lnTo>
                  <a:lnTo>
                    <a:pt x="6518" y="2515"/>
                  </a:lnTo>
                  <a:lnTo>
                    <a:pt x="15069" y="1006"/>
                  </a:lnTo>
                  <a:lnTo>
                    <a:pt x="15069" y="2012"/>
                  </a:lnTo>
                  <a:lnTo>
                    <a:pt x="15069" y="2515"/>
                  </a:lnTo>
                  <a:close/>
                  <a:moveTo>
                    <a:pt x="13405" y="13423"/>
                  </a:moveTo>
                  <a:lnTo>
                    <a:pt x="13292" y="13458"/>
                  </a:lnTo>
                  <a:lnTo>
                    <a:pt x="13179" y="13488"/>
                  </a:lnTo>
                  <a:lnTo>
                    <a:pt x="13066" y="13515"/>
                  </a:lnTo>
                  <a:lnTo>
                    <a:pt x="12953" y="13537"/>
                  </a:lnTo>
                  <a:lnTo>
                    <a:pt x="12841" y="13554"/>
                  </a:lnTo>
                  <a:lnTo>
                    <a:pt x="12729" y="13567"/>
                  </a:lnTo>
                  <a:lnTo>
                    <a:pt x="12618" y="13576"/>
                  </a:lnTo>
                  <a:lnTo>
                    <a:pt x="12509" y="13580"/>
                  </a:lnTo>
                  <a:lnTo>
                    <a:pt x="12400" y="13580"/>
                  </a:lnTo>
                  <a:lnTo>
                    <a:pt x="12293" y="13576"/>
                  </a:lnTo>
                  <a:lnTo>
                    <a:pt x="12187" y="13568"/>
                  </a:lnTo>
                  <a:lnTo>
                    <a:pt x="12082" y="13556"/>
                  </a:lnTo>
                  <a:lnTo>
                    <a:pt x="11981" y="13540"/>
                  </a:lnTo>
                  <a:lnTo>
                    <a:pt x="11880" y="13520"/>
                  </a:lnTo>
                  <a:lnTo>
                    <a:pt x="11783" y="13495"/>
                  </a:lnTo>
                  <a:lnTo>
                    <a:pt x="11687" y="13467"/>
                  </a:lnTo>
                  <a:lnTo>
                    <a:pt x="11593" y="13436"/>
                  </a:lnTo>
                  <a:lnTo>
                    <a:pt x="11503" y="13401"/>
                  </a:lnTo>
                  <a:lnTo>
                    <a:pt x="11415" y="13362"/>
                  </a:lnTo>
                  <a:lnTo>
                    <a:pt x="11332" y="13319"/>
                  </a:lnTo>
                  <a:lnTo>
                    <a:pt x="11250" y="13273"/>
                  </a:lnTo>
                  <a:lnTo>
                    <a:pt x="11173" y="13223"/>
                  </a:lnTo>
                  <a:lnTo>
                    <a:pt x="11099" y="13171"/>
                  </a:lnTo>
                  <a:lnTo>
                    <a:pt x="11028" y="13114"/>
                  </a:lnTo>
                  <a:lnTo>
                    <a:pt x="10963" y="13054"/>
                  </a:lnTo>
                  <a:lnTo>
                    <a:pt x="10900" y="12991"/>
                  </a:lnTo>
                  <a:lnTo>
                    <a:pt x="10842" y="12925"/>
                  </a:lnTo>
                  <a:lnTo>
                    <a:pt x="10789" y="12856"/>
                  </a:lnTo>
                  <a:lnTo>
                    <a:pt x="10740" y="12783"/>
                  </a:lnTo>
                  <a:lnTo>
                    <a:pt x="10696" y="12708"/>
                  </a:lnTo>
                  <a:lnTo>
                    <a:pt x="10658" y="12629"/>
                  </a:lnTo>
                  <a:lnTo>
                    <a:pt x="10625" y="12548"/>
                  </a:lnTo>
                  <a:lnTo>
                    <a:pt x="10597" y="12464"/>
                  </a:lnTo>
                  <a:lnTo>
                    <a:pt x="10574" y="12380"/>
                  </a:lnTo>
                  <a:lnTo>
                    <a:pt x="10558" y="12295"/>
                  </a:lnTo>
                  <a:lnTo>
                    <a:pt x="10548" y="12210"/>
                  </a:lnTo>
                  <a:lnTo>
                    <a:pt x="10543" y="12124"/>
                  </a:lnTo>
                  <a:lnTo>
                    <a:pt x="10544" y="12038"/>
                  </a:lnTo>
                  <a:lnTo>
                    <a:pt x="10550" y="11952"/>
                  </a:lnTo>
                  <a:lnTo>
                    <a:pt x="10562" y="11867"/>
                  </a:lnTo>
                  <a:lnTo>
                    <a:pt x="10579" y="11781"/>
                  </a:lnTo>
                  <a:lnTo>
                    <a:pt x="10602" y="11696"/>
                  </a:lnTo>
                  <a:lnTo>
                    <a:pt x="10630" y="11611"/>
                  </a:lnTo>
                  <a:lnTo>
                    <a:pt x="10662" y="11527"/>
                  </a:lnTo>
                  <a:lnTo>
                    <a:pt x="10699" y="11444"/>
                  </a:lnTo>
                  <a:lnTo>
                    <a:pt x="10741" y="11362"/>
                  </a:lnTo>
                  <a:lnTo>
                    <a:pt x="10788" y="11281"/>
                  </a:lnTo>
                  <a:lnTo>
                    <a:pt x="10840" y="11201"/>
                  </a:lnTo>
                  <a:lnTo>
                    <a:pt x="10895" y="11122"/>
                  </a:lnTo>
                  <a:lnTo>
                    <a:pt x="10956" y="11046"/>
                  </a:lnTo>
                  <a:lnTo>
                    <a:pt x="11020" y="10971"/>
                  </a:lnTo>
                  <a:lnTo>
                    <a:pt x="11089" y="10898"/>
                  </a:lnTo>
                  <a:lnTo>
                    <a:pt x="11162" y="10827"/>
                  </a:lnTo>
                  <a:lnTo>
                    <a:pt x="11239" y="10757"/>
                  </a:lnTo>
                  <a:lnTo>
                    <a:pt x="11320" y="10691"/>
                  </a:lnTo>
                  <a:lnTo>
                    <a:pt x="11404" y="10626"/>
                  </a:lnTo>
                  <a:lnTo>
                    <a:pt x="11493" y="10565"/>
                  </a:lnTo>
                  <a:lnTo>
                    <a:pt x="11585" y="10506"/>
                  </a:lnTo>
                  <a:lnTo>
                    <a:pt x="11681" y="10449"/>
                  </a:lnTo>
                  <a:lnTo>
                    <a:pt x="11780" y="10396"/>
                  </a:lnTo>
                  <a:lnTo>
                    <a:pt x="11881" y="10347"/>
                  </a:lnTo>
                  <a:lnTo>
                    <a:pt x="11987" y="10300"/>
                  </a:lnTo>
                  <a:lnTo>
                    <a:pt x="12095" y="10257"/>
                  </a:lnTo>
                  <a:lnTo>
                    <a:pt x="12207" y="10217"/>
                  </a:lnTo>
                  <a:lnTo>
                    <a:pt x="12320" y="10182"/>
                  </a:lnTo>
                  <a:lnTo>
                    <a:pt x="12433" y="10152"/>
                  </a:lnTo>
                  <a:lnTo>
                    <a:pt x="12546" y="10125"/>
                  </a:lnTo>
                  <a:lnTo>
                    <a:pt x="12659" y="10103"/>
                  </a:lnTo>
                  <a:lnTo>
                    <a:pt x="12771" y="10086"/>
                  </a:lnTo>
                  <a:lnTo>
                    <a:pt x="12883" y="10073"/>
                  </a:lnTo>
                  <a:lnTo>
                    <a:pt x="12994" y="10065"/>
                  </a:lnTo>
                  <a:lnTo>
                    <a:pt x="13103" y="10060"/>
                  </a:lnTo>
                  <a:lnTo>
                    <a:pt x="13212" y="10060"/>
                  </a:lnTo>
                  <a:lnTo>
                    <a:pt x="13320" y="10064"/>
                  </a:lnTo>
                  <a:lnTo>
                    <a:pt x="13425" y="10072"/>
                  </a:lnTo>
                  <a:lnTo>
                    <a:pt x="13530" y="10084"/>
                  </a:lnTo>
                  <a:lnTo>
                    <a:pt x="13631" y="10100"/>
                  </a:lnTo>
                  <a:lnTo>
                    <a:pt x="13732" y="10121"/>
                  </a:lnTo>
                  <a:lnTo>
                    <a:pt x="13830" y="10145"/>
                  </a:lnTo>
                  <a:lnTo>
                    <a:pt x="13925" y="10173"/>
                  </a:lnTo>
                  <a:lnTo>
                    <a:pt x="14019" y="10204"/>
                  </a:lnTo>
                  <a:lnTo>
                    <a:pt x="14109" y="10239"/>
                  </a:lnTo>
                  <a:lnTo>
                    <a:pt x="14197" y="10278"/>
                  </a:lnTo>
                  <a:lnTo>
                    <a:pt x="14280" y="10321"/>
                  </a:lnTo>
                  <a:lnTo>
                    <a:pt x="14362" y="10367"/>
                  </a:lnTo>
                  <a:lnTo>
                    <a:pt x="14439" y="10417"/>
                  </a:lnTo>
                  <a:lnTo>
                    <a:pt x="14514" y="10469"/>
                  </a:lnTo>
                  <a:lnTo>
                    <a:pt x="14584" y="10526"/>
                  </a:lnTo>
                  <a:lnTo>
                    <a:pt x="14649" y="10586"/>
                  </a:lnTo>
                  <a:lnTo>
                    <a:pt x="14712" y="10650"/>
                  </a:lnTo>
                  <a:lnTo>
                    <a:pt x="14770" y="10715"/>
                  </a:lnTo>
                  <a:lnTo>
                    <a:pt x="14823" y="10784"/>
                  </a:lnTo>
                  <a:lnTo>
                    <a:pt x="14872" y="10857"/>
                  </a:lnTo>
                  <a:lnTo>
                    <a:pt x="14916" y="10933"/>
                  </a:lnTo>
                  <a:lnTo>
                    <a:pt x="14954" y="11012"/>
                  </a:lnTo>
                  <a:lnTo>
                    <a:pt x="14987" y="11093"/>
                  </a:lnTo>
                  <a:lnTo>
                    <a:pt x="15016" y="11177"/>
                  </a:lnTo>
                  <a:lnTo>
                    <a:pt x="15038" y="11260"/>
                  </a:lnTo>
                  <a:lnTo>
                    <a:pt x="15054" y="11346"/>
                  </a:lnTo>
                  <a:lnTo>
                    <a:pt x="15064" y="11430"/>
                  </a:lnTo>
                  <a:lnTo>
                    <a:pt x="15069" y="11516"/>
                  </a:lnTo>
                  <a:lnTo>
                    <a:pt x="15068" y="11602"/>
                  </a:lnTo>
                  <a:lnTo>
                    <a:pt x="15062" y="11688"/>
                  </a:lnTo>
                  <a:lnTo>
                    <a:pt x="15050" y="11773"/>
                  </a:lnTo>
                  <a:lnTo>
                    <a:pt x="15033" y="11860"/>
                  </a:lnTo>
                  <a:lnTo>
                    <a:pt x="15011" y="11944"/>
                  </a:lnTo>
                  <a:lnTo>
                    <a:pt x="14982" y="12029"/>
                  </a:lnTo>
                  <a:lnTo>
                    <a:pt x="14950" y="12113"/>
                  </a:lnTo>
                  <a:lnTo>
                    <a:pt x="14913" y="12196"/>
                  </a:lnTo>
                  <a:lnTo>
                    <a:pt x="14871" y="12278"/>
                  </a:lnTo>
                  <a:lnTo>
                    <a:pt x="14825" y="12360"/>
                  </a:lnTo>
                  <a:lnTo>
                    <a:pt x="14773" y="12439"/>
                  </a:lnTo>
                  <a:lnTo>
                    <a:pt x="14717" y="12518"/>
                  </a:lnTo>
                  <a:lnTo>
                    <a:pt x="14657" y="12594"/>
                  </a:lnTo>
                  <a:lnTo>
                    <a:pt x="14592" y="12670"/>
                  </a:lnTo>
                  <a:lnTo>
                    <a:pt x="14523" y="12742"/>
                  </a:lnTo>
                  <a:lnTo>
                    <a:pt x="14450" y="12813"/>
                  </a:lnTo>
                  <a:lnTo>
                    <a:pt x="14373" y="12883"/>
                  </a:lnTo>
                  <a:lnTo>
                    <a:pt x="14292" y="12949"/>
                  </a:lnTo>
                  <a:lnTo>
                    <a:pt x="14208" y="13014"/>
                  </a:lnTo>
                  <a:lnTo>
                    <a:pt x="14119" y="13075"/>
                  </a:lnTo>
                  <a:lnTo>
                    <a:pt x="14027" y="13134"/>
                  </a:lnTo>
                  <a:lnTo>
                    <a:pt x="13931" y="13191"/>
                  </a:lnTo>
                  <a:lnTo>
                    <a:pt x="13833" y="13244"/>
                  </a:lnTo>
                  <a:lnTo>
                    <a:pt x="13731" y="13293"/>
                  </a:lnTo>
                  <a:lnTo>
                    <a:pt x="13625" y="13341"/>
                  </a:lnTo>
                  <a:lnTo>
                    <a:pt x="13517" y="13383"/>
                  </a:lnTo>
                  <a:lnTo>
                    <a:pt x="13405" y="13423"/>
                  </a:lnTo>
                  <a:close/>
                  <a:moveTo>
                    <a:pt x="3867" y="14932"/>
                  </a:moveTo>
                  <a:lnTo>
                    <a:pt x="3753" y="14967"/>
                  </a:lnTo>
                  <a:lnTo>
                    <a:pt x="3640" y="14997"/>
                  </a:lnTo>
                  <a:lnTo>
                    <a:pt x="3528" y="15024"/>
                  </a:lnTo>
                  <a:lnTo>
                    <a:pt x="3415" y="15046"/>
                  </a:lnTo>
                  <a:lnTo>
                    <a:pt x="3302" y="15063"/>
                  </a:lnTo>
                  <a:lnTo>
                    <a:pt x="3191" y="15076"/>
                  </a:lnTo>
                  <a:lnTo>
                    <a:pt x="3080" y="15084"/>
                  </a:lnTo>
                  <a:lnTo>
                    <a:pt x="2971" y="15089"/>
                  </a:lnTo>
                  <a:lnTo>
                    <a:pt x="2862" y="15089"/>
                  </a:lnTo>
                  <a:lnTo>
                    <a:pt x="2754" y="15085"/>
                  </a:lnTo>
                  <a:lnTo>
                    <a:pt x="2649" y="15077"/>
                  </a:lnTo>
                  <a:lnTo>
                    <a:pt x="2544" y="15065"/>
                  </a:lnTo>
                  <a:lnTo>
                    <a:pt x="2442" y="15049"/>
                  </a:lnTo>
                  <a:lnTo>
                    <a:pt x="2342" y="15028"/>
                  </a:lnTo>
                  <a:lnTo>
                    <a:pt x="2243" y="15004"/>
                  </a:lnTo>
                  <a:lnTo>
                    <a:pt x="2148" y="14976"/>
                  </a:lnTo>
                  <a:lnTo>
                    <a:pt x="2055" y="14945"/>
                  </a:lnTo>
                  <a:lnTo>
                    <a:pt x="1965" y="14909"/>
                  </a:lnTo>
                  <a:lnTo>
                    <a:pt x="1877" y="14871"/>
                  </a:lnTo>
                  <a:lnTo>
                    <a:pt x="1793" y="14827"/>
                  </a:lnTo>
                  <a:lnTo>
                    <a:pt x="1712" y="14782"/>
                  </a:lnTo>
                  <a:lnTo>
                    <a:pt x="1635" y="14732"/>
                  </a:lnTo>
                  <a:lnTo>
                    <a:pt x="1560" y="14680"/>
                  </a:lnTo>
                  <a:lnTo>
                    <a:pt x="1490" y="14623"/>
                  </a:lnTo>
                  <a:lnTo>
                    <a:pt x="1423" y="14563"/>
                  </a:lnTo>
                  <a:lnTo>
                    <a:pt x="1362" y="14499"/>
                  </a:lnTo>
                  <a:lnTo>
                    <a:pt x="1304" y="14434"/>
                  </a:lnTo>
                  <a:lnTo>
                    <a:pt x="1250" y="14365"/>
                  </a:lnTo>
                  <a:lnTo>
                    <a:pt x="1202" y="14292"/>
                  </a:lnTo>
                  <a:lnTo>
                    <a:pt x="1158" y="14217"/>
                  </a:lnTo>
                  <a:lnTo>
                    <a:pt x="1120" y="14138"/>
                  </a:lnTo>
                  <a:lnTo>
                    <a:pt x="1085" y="14057"/>
                  </a:lnTo>
                  <a:lnTo>
                    <a:pt x="1058" y="13973"/>
                  </a:lnTo>
                  <a:lnTo>
                    <a:pt x="1036" y="13889"/>
                  </a:lnTo>
                  <a:lnTo>
                    <a:pt x="1020" y="13804"/>
                  </a:lnTo>
                  <a:lnTo>
                    <a:pt x="1009" y="13719"/>
                  </a:lnTo>
                  <a:lnTo>
                    <a:pt x="1005" y="13633"/>
                  </a:lnTo>
                  <a:lnTo>
                    <a:pt x="1006" y="13547"/>
                  </a:lnTo>
                  <a:lnTo>
                    <a:pt x="1012" y="13461"/>
                  </a:lnTo>
                  <a:lnTo>
                    <a:pt x="1024" y="13376"/>
                  </a:lnTo>
                  <a:lnTo>
                    <a:pt x="1041" y="13290"/>
                  </a:lnTo>
                  <a:lnTo>
                    <a:pt x="1063" y="13205"/>
                  </a:lnTo>
                  <a:lnTo>
                    <a:pt x="1091" y="13120"/>
                  </a:lnTo>
                  <a:lnTo>
                    <a:pt x="1124" y="13036"/>
                  </a:lnTo>
                  <a:lnTo>
                    <a:pt x="1161" y="12953"/>
                  </a:lnTo>
                  <a:lnTo>
                    <a:pt x="1203" y="12871"/>
                  </a:lnTo>
                  <a:lnTo>
                    <a:pt x="1249" y="12790"/>
                  </a:lnTo>
                  <a:lnTo>
                    <a:pt x="1302" y="12710"/>
                  </a:lnTo>
                  <a:lnTo>
                    <a:pt x="1357" y="12631"/>
                  </a:lnTo>
                  <a:lnTo>
                    <a:pt x="1417" y="12555"/>
                  </a:lnTo>
                  <a:lnTo>
                    <a:pt x="1482" y="12479"/>
                  </a:lnTo>
                  <a:lnTo>
                    <a:pt x="1551" y="12407"/>
                  </a:lnTo>
                  <a:lnTo>
                    <a:pt x="1624" y="12336"/>
                  </a:lnTo>
                  <a:lnTo>
                    <a:pt x="1701" y="12266"/>
                  </a:lnTo>
                  <a:lnTo>
                    <a:pt x="1782" y="12200"/>
                  </a:lnTo>
                  <a:lnTo>
                    <a:pt x="1866" y="12135"/>
                  </a:lnTo>
                  <a:lnTo>
                    <a:pt x="1955" y="12074"/>
                  </a:lnTo>
                  <a:lnTo>
                    <a:pt x="2046" y="12015"/>
                  </a:lnTo>
                  <a:lnTo>
                    <a:pt x="2142" y="11958"/>
                  </a:lnTo>
                  <a:lnTo>
                    <a:pt x="2241" y="11905"/>
                  </a:lnTo>
                  <a:lnTo>
                    <a:pt x="2343" y="11856"/>
                  </a:lnTo>
                  <a:lnTo>
                    <a:pt x="2448" y="11808"/>
                  </a:lnTo>
                  <a:lnTo>
                    <a:pt x="2557" y="11765"/>
                  </a:lnTo>
                  <a:lnTo>
                    <a:pt x="2668" y="11726"/>
                  </a:lnTo>
                  <a:lnTo>
                    <a:pt x="2781" y="11691"/>
                  </a:lnTo>
                  <a:lnTo>
                    <a:pt x="2894" y="11661"/>
                  </a:lnTo>
                  <a:lnTo>
                    <a:pt x="3008" y="11634"/>
                  </a:lnTo>
                  <a:lnTo>
                    <a:pt x="3120" y="11612"/>
                  </a:lnTo>
                  <a:lnTo>
                    <a:pt x="3232" y="11595"/>
                  </a:lnTo>
                  <a:lnTo>
                    <a:pt x="3344" y="11582"/>
                  </a:lnTo>
                  <a:lnTo>
                    <a:pt x="3454" y="11573"/>
                  </a:lnTo>
                  <a:lnTo>
                    <a:pt x="3565" y="11569"/>
                  </a:lnTo>
                  <a:lnTo>
                    <a:pt x="3674" y="11569"/>
                  </a:lnTo>
                  <a:lnTo>
                    <a:pt x="3780" y="11573"/>
                  </a:lnTo>
                  <a:lnTo>
                    <a:pt x="3887" y="11581"/>
                  </a:lnTo>
                  <a:lnTo>
                    <a:pt x="3991" y="11593"/>
                  </a:lnTo>
                  <a:lnTo>
                    <a:pt x="4093" y="11609"/>
                  </a:lnTo>
                  <a:lnTo>
                    <a:pt x="4194" y="11629"/>
                  </a:lnTo>
                  <a:lnTo>
                    <a:pt x="4291" y="11654"/>
                  </a:lnTo>
                  <a:lnTo>
                    <a:pt x="4387" y="11682"/>
                  </a:lnTo>
                  <a:lnTo>
                    <a:pt x="4480" y="11713"/>
                  </a:lnTo>
                  <a:lnTo>
                    <a:pt x="4570" y="11748"/>
                  </a:lnTo>
                  <a:lnTo>
                    <a:pt x="4657" y="11787"/>
                  </a:lnTo>
                  <a:lnTo>
                    <a:pt x="4742" y="11830"/>
                  </a:lnTo>
                  <a:lnTo>
                    <a:pt x="4823" y="11876"/>
                  </a:lnTo>
                  <a:lnTo>
                    <a:pt x="4901" y="11925"/>
                  </a:lnTo>
                  <a:lnTo>
                    <a:pt x="4975" y="11978"/>
                  </a:lnTo>
                  <a:lnTo>
                    <a:pt x="5045" y="12035"/>
                  </a:lnTo>
                  <a:lnTo>
                    <a:pt x="5111" y="12095"/>
                  </a:lnTo>
                  <a:lnTo>
                    <a:pt x="5174" y="12158"/>
                  </a:lnTo>
                  <a:lnTo>
                    <a:pt x="5231" y="12224"/>
                  </a:lnTo>
                  <a:lnTo>
                    <a:pt x="5284" y="12293"/>
                  </a:lnTo>
                  <a:lnTo>
                    <a:pt x="5333" y="12366"/>
                  </a:lnTo>
                  <a:lnTo>
                    <a:pt x="5377" y="12441"/>
                  </a:lnTo>
                  <a:lnTo>
                    <a:pt x="5416" y="12521"/>
                  </a:lnTo>
                  <a:lnTo>
                    <a:pt x="5449" y="12602"/>
                  </a:lnTo>
                  <a:lnTo>
                    <a:pt x="5477" y="12686"/>
                  </a:lnTo>
                  <a:lnTo>
                    <a:pt x="5499" y="12769"/>
                  </a:lnTo>
                  <a:lnTo>
                    <a:pt x="5516" y="12855"/>
                  </a:lnTo>
                  <a:lnTo>
                    <a:pt x="5526" y="12939"/>
                  </a:lnTo>
                  <a:lnTo>
                    <a:pt x="5531" y="13025"/>
                  </a:lnTo>
                  <a:lnTo>
                    <a:pt x="5530" y="13111"/>
                  </a:lnTo>
                  <a:lnTo>
                    <a:pt x="5524" y="13197"/>
                  </a:lnTo>
                  <a:lnTo>
                    <a:pt x="5512" y="13282"/>
                  </a:lnTo>
                  <a:lnTo>
                    <a:pt x="5494" y="13368"/>
                  </a:lnTo>
                  <a:lnTo>
                    <a:pt x="5472" y="13453"/>
                  </a:lnTo>
                  <a:lnTo>
                    <a:pt x="5444" y="13538"/>
                  </a:lnTo>
                  <a:lnTo>
                    <a:pt x="5412" y="13622"/>
                  </a:lnTo>
                  <a:lnTo>
                    <a:pt x="5375" y="13705"/>
                  </a:lnTo>
                  <a:lnTo>
                    <a:pt x="5332" y="13787"/>
                  </a:lnTo>
                  <a:lnTo>
                    <a:pt x="5285" y="13869"/>
                  </a:lnTo>
                  <a:lnTo>
                    <a:pt x="5234" y="13948"/>
                  </a:lnTo>
                  <a:lnTo>
                    <a:pt x="5179" y="14027"/>
                  </a:lnTo>
                  <a:lnTo>
                    <a:pt x="5118" y="14103"/>
                  </a:lnTo>
                  <a:lnTo>
                    <a:pt x="5054" y="14179"/>
                  </a:lnTo>
                  <a:lnTo>
                    <a:pt x="4984" y="14251"/>
                  </a:lnTo>
                  <a:lnTo>
                    <a:pt x="4912" y="14322"/>
                  </a:lnTo>
                  <a:lnTo>
                    <a:pt x="4835" y="14392"/>
                  </a:lnTo>
                  <a:lnTo>
                    <a:pt x="4754" y="14458"/>
                  </a:lnTo>
                  <a:lnTo>
                    <a:pt x="4670" y="14523"/>
                  </a:lnTo>
                  <a:lnTo>
                    <a:pt x="4581" y="14584"/>
                  </a:lnTo>
                  <a:lnTo>
                    <a:pt x="4488" y="14643"/>
                  </a:lnTo>
                  <a:lnTo>
                    <a:pt x="4393" y="14700"/>
                  </a:lnTo>
                  <a:lnTo>
                    <a:pt x="4294" y="14753"/>
                  </a:lnTo>
                  <a:lnTo>
                    <a:pt x="4192" y="14802"/>
                  </a:lnTo>
                  <a:lnTo>
                    <a:pt x="4087" y="14849"/>
                  </a:lnTo>
                  <a:lnTo>
                    <a:pt x="3978" y="14892"/>
                  </a:lnTo>
                  <a:lnTo>
                    <a:pt x="3867" y="14932"/>
                  </a:lnTo>
                  <a:close/>
                  <a:moveTo>
                    <a:pt x="15735" y="235"/>
                  </a:moveTo>
                  <a:lnTo>
                    <a:pt x="15701" y="208"/>
                  </a:lnTo>
                  <a:lnTo>
                    <a:pt x="15665" y="182"/>
                  </a:lnTo>
                  <a:lnTo>
                    <a:pt x="15628" y="157"/>
                  </a:lnTo>
                  <a:lnTo>
                    <a:pt x="15591" y="134"/>
                  </a:lnTo>
                  <a:lnTo>
                    <a:pt x="15552" y="113"/>
                  </a:lnTo>
                  <a:lnTo>
                    <a:pt x="15513" y="94"/>
                  </a:lnTo>
                  <a:lnTo>
                    <a:pt x="15473" y="76"/>
                  </a:lnTo>
                  <a:lnTo>
                    <a:pt x="15432" y="60"/>
                  </a:lnTo>
                  <a:lnTo>
                    <a:pt x="15391" y="46"/>
                  </a:lnTo>
                  <a:lnTo>
                    <a:pt x="15349" y="34"/>
                  </a:lnTo>
                  <a:lnTo>
                    <a:pt x="15306" y="24"/>
                  </a:lnTo>
                  <a:lnTo>
                    <a:pt x="15263" y="15"/>
                  </a:lnTo>
                  <a:lnTo>
                    <a:pt x="15220" y="9"/>
                  </a:lnTo>
                  <a:lnTo>
                    <a:pt x="15177" y="4"/>
                  </a:lnTo>
                  <a:lnTo>
                    <a:pt x="15133" y="1"/>
                  </a:lnTo>
                  <a:lnTo>
                    <a:pt x="15089" y="0"/>
                  </a:lnTo>
                  <a:lnTo>
                    <a:pt x="15067" y="0"/>
                  </a:lnTo>
                  <a:lnTo>
                    <a:pt x="15046" y="1"/>
                  </a:lnTo>
                  <a:lnTo>
                    <a:pt x="15024" y="2"/>
                  </a:lnTo>
                  <a:lnTo>
                    <a:pt x="15002" y="4"/>
                  </a:lnTo>
                  <a:lnTo>
                    <a:pt x="14979" y="6"/>
                  </a:lnTo>
                  <a:lnTo>
                    <a:pt x="14958" y="9"/>
                  </a:lnTo>
                  <a:lnTo>
                    <a:pt x="14936" y="12"/>
                  </a:lnTo>
                  <a:lnTo>
                    <a:pt x="14914" y="15"/>
                  </a:lnTo>
                  <a:lnTo>
                    <a:pt x="6363" y="1524"/>
                  </a:lnTo>
                  <a:lnTo>
                    <a:pt x="6318" y="1533"/>
                  </a:lnTo>
                  <a:lnTo>
                    <a:pt x="6274" y="1544"/>
                  </a:lnTo>
                  <a:lnTo>
                    <a:pt x="6232" y="1557"/>
                  </a:lnTo>
                  <a:lnTo>
                    <a:pt x="6190" y="1571"/>
                  </a:lnTo>
                  <a:lnTo>
                    <a:pt x="6148" y="1587"/>
                  </a:lnTo>
                  <a:lnTo>
                    <a:pt x="6108" y="1606"/>
                  </a:lnTo>
                  <a:lnTo>
                    <a:pt x="6069" y="1625"/>
                  </a:lnTo>
                  <a:lnTo>
                    <a:pt x="6031" y="1646"/>
                  </a:lnTo>
                  <a:lnTo>
                    <a:pt x="5993" y="1669"/>
                  </a:lnTo>
                  <a:lnTo>
                    <a:pt x="5957" y="1693"/>
                  </a:lnTo>
                  <a:lnTo>
                    <a:pt x="5923" y="1719"/>
                  </a:lnTo>
                  <a:lnTo>
                    <a:pt x="5889" y="1746"/>
                  </a:lnTo>
                  <a:lnTo>
                    <a:pt x="5857" y="1775"/>
                  </a:lnTo>
                  <a:lnTo>
                    <a:pt x="5825" y="1805"/>
                  </a:lnTo>
                  <a:lnTo>
                    <a:pt x="5795" y="1836"/>
                  </a:lnTo>
                  <a:lnTo>
                    <a:pt x="5767" y="1868"/>
                  </a:lnTo>
                  <a:lnTo>
                    <a:pt x="5740" y="1901"/>
                  </a:lnTo>
                  <a:lnTo>
                    <a:pt x="5715" y="1937"/>
                  </a:lnTo>
                  <a:lnTo>
                    <a:pt x="5691" y="1973"/>
                  </a:lnTo>
                  <a:lnTo>
                    <a:pt x="5668" y="2009"/>
                  </a:lnTo>
                  <a:lnTo>
                    <a:pt x="5647" y="2047"/>
                  </a:lnTo>
                  <a:lnTo>
                    <a:pt x="5628" y="2085"/>
                  </a:lnTo>
                  <a:lnTo>
                    <a:pt x="5610" y="2126"/>
                  </a:lnTo>
                  <a:lnTo>
                    <a:pt x="5594" y="2166"/>
                  </a:lnTo>
                  <a:lnTo>
                    <a:pt x="5580" y="2207"/>
                  </a:lnTo>
                  <a:lnTo>
                    <a:pt x="5568" y="2249"/>
                  </a:lnTo>
                  <a:lnTo>
                    <a:pt x="5557" y="2292"/>
                  </a:lnTo>
                  <a:lnTo>
                    <a:pt x="5548" y="2336"/>
                  </a:lnTo>
                  <a:lnTo>
                    <a:pt x="5541" y="2379"/>
                  </a:lnTo>
                  <a:lnTo>
                    <a:pt x="5536" y="2424"/>
                  </a:lnTo>
                  <a:lnTo>
                    <a:pt x="5533" y="2470"/>
                  </a:lnTo>
                  <a:lnTo>
                    <a:pt x="5532" y="2515"/>
                  </a:lnTo>
                  <a:lnTo>
                    <a:pt x="5532" y="3521"/>
                  </a:lnTo>
                  <a:lnTo>
                    <a:pt x="5532" y="4024"/>
                  </a:lnTo>
                  <a:lnTo>
                    <a:pt x="5532" y="11151"/>
                  </a:lnTo>
                  <a:lnTo>
                    <a:pt x="5483" y="11116"/>
                  </a:lnTo>
                  <a:lnTo>
                    <a:pt x="5434" y="11083"/>
                  </a:lnTo>
                  <a:lnTo>
                    <a:pt x="5385" y="11051"/>
                  </a:lnTo>
                  <a:lnTo>
                    <a:pt x="5333" y="11020"/>
                  </a:lnTo>
                  <a:lnTo>
                    <a:pt x="5282" y="10989"/>
                  </a:lnTo>
                  <a:lnTo>
                    <a:pt x="5230" y="10959"/>
                  </a:lnTo>
                  <a:lnTo>
                    <a:pt x="5177" y="10930"/>
                  </a:lnTo>
                  <a:lnTo>
                    <a:pt x="5122" y="10903"/>
                  </a:lnTo>
                  <a:lnTo>
                    <a:pt x="5067" y="10876"/>
                  </a:lnTo>
                  <a:lnTo>
                    <a:pt x="5012" y="10851"/>
                  </a:lnTo>
                  <a:lnTo>
                    <a:pt x="4955" y="10826"/>
                  </a:lnTo>
                  <a:lnTo>
                    <a:pt x="4898" y="10801"/>
                  </a:lnTo>
                  <a:lnTo>
                    <a:pt x="4841" y="10779"/>
                  </a:lnTo>
                  <a:lnTo>
                    <a:pt x="4782" y="10758"/>
                  </a:lnTo>
                  <a:lnTo>
                    <a:pt x="4723" y="10737"/>
                  </a:lnTo>
                  <a:lnTo>
                    <a:pt x="4663" y="10718"/>
                  </a:lnTo>
                  <a:lnTo>
                    <a:pt x="4602" y="10700"/>
                  </a:lnTo>
                  <a:lnTo>
                    <a:pt x="4541" y="10682"/>
                  </a:lnTo>
                  <a:lnTo>
                    <a:pt x="4479" y="10666"/>
                  </a:lnTo>
                  <a:lnTo>
                    <a:pt x="4417" y="10651"/>
                  </a:lnTo>
                  <a:lnTo>
                    <a:pt x="4354" y="10636"/>
                  </a:lnTo>
                  <a:lnTo>
                    <a:pt x="4290" y="10624"/>
                  </a:lnTo>
                  <a:lnTo>
                    <a:pt x="4226" y="10612"/>
                  </a:lnTo>
                  <a:lnTo>
                    <a:pt x="4161" y="10602"/>
                  </a:lnTo>
                  <a:lnTo>
                    <a:pt x="4095" y="10593"/>
                  </a:lnTo>
                  <a:lnTo>
                    <a:pt x="4030" y="10585"/>
                  </a:lnTo>
                  <a:lnTo>
                    <a:pt x="3963" y="10578"/>
                  </a:lnTo>
                  <a:lnTo>
                    <a:pt x="3896" y="10572"/>
                  </a:lnTo>
                  <a:lnTo>
                    <a:pt x="3829" y="10568"/>
                  </a:lnTo>
                  <a:lnTo>
                    <a:pt x="3761" y="10565"/>
                  </a:lnTo>
                  <a:lnTo>
                    <a:pt x="3693" y="10563"/>
                  </a:lnTo>
                  <a:lnTo>
                    <a:pt x="3623" y="10562"/>
                  </a:lnTo>
                  <a:lnTo>
                    <a:pt x="3544" y="10563"/>
                  </a:lnTo>
                  <a:lnTo>
                    <a:pt x="3463" y="10566"/>
                  </a:lnTo>
                  <a:lnTo>
                    <a:pt x="3384" y="10570"/>
                  </a:lnTo>
                  <a:lnTo>
                    <a:pt x="3303" y="10575"/>
                  </a:lnTo>
                  <a:lnTo>
                    <a:pt x="3223" y="10583"/>
                  </a:lnTo>
                  <a:lnTo>
                    <a:pt x="3144" y="10592"/>
                  </a:lnTo>
                  <a:lnTo>
                    <a:pt x="3063" y="10602"/>
                  </a:lnTo>
                  <a:lnTo>
                    <a:pt x="2984" y="10615"/>
                  </a:lnTo>
                  <a:lnTo>
                    <a:pt x="2904" y="10629"/>
                  </a:lnTo>
                  <a:lnTo>
                    <a:pt x="2825" y="10644"/>
                  </a:lnTo>
                  <a:lnTo>
                    <a:pt x="2745" y="10662"/>
                  </a:lnTo>
                  <a:lnTo>
                    <a:pt x="2666" y="10681"/>
                  </a:lnTo>
                  <a:lnTo>
                    <a:pt x="2587" y="10701"/>
                  </a:lnTo>
                  <a:lnTo>
                    <a:pt x="2508" y="10723"/>
                  </a:lnTo>
                  <a:lnTo>
                    <a:pt x="2429" y="10746"/>
                  </a:lnTo>
                  <a:lnTo>
                    <a:pt x="2351" y="10771"/>
                  </a:lnTo>
                  <a:lnTo>
                    <a:pt x="2262" y="10802"/>
                  </a:lnTo>
                  <a:lnTo>
                    <a:pt x="2175" y="10835"/>
                  </a:lnTo>
                  <a:lnTo>
                    <a:pt x="2088" y="10870"/>
                  </a:lnTo>
                  <a:lnTo>
                    <a:pt x="2003" y="10906"/>
                  </a:lnTo>
                  <a:lnTo>
                    <a:pt x="1918" y="10943"/>
                  </a:lnTo>
                  <a:lnTo>
                    <a:pt x="1836" y="10984"/>
                  </a:lnTo>
                  <a:lnTo>
                    <a:pt x="1754" y="11025"/>
                  </a:lnTo>
                  <a:lnTo>
                    <a:pt x="1674" y="11068"/>
                  </a:lnTo>
                  <a:lnTo>
                    <a:pt x="1595" y="11112"/>
                  </a:lnTo>
                  <a:lnTo>
                    <a:pt x="1518" y="11159"/>
                  </a:lnTo>
                  <a:lnTo>
                    <a:pt x="1443" y="11207"/>
                  </a:lnTo>
                  <a:lnTo>
                    <a:pt x="1368" y="11256"/>
                  </a:lnTo>
                  <a:lnTo>
                    <a:pt x="1295" y="11307"/>
                  </a:lnTo>
                  <a:lnTo>
                    <a:pt x="1224" y="11360"/>
                  </a:lnTo>
                  <a:lnTo>
                    <a:pt x="1154" y="11413"/>
                  </a:lnTo>
                  <a:lnTo>
                    <a:pt x="1086" y="11468"/>
                  </a:lnTo>
                  <a:lnTo>
                    <a:pt x="1020" y="11526"/>
                  </a:lnTo>
                  <a:lnTo>
                    <a:pt x="956" y="11583"/>
                  </a:lnTo>
                  <a:lnTo>
                    <a:pt x="892" y="11643"/>
                  </a:lnTo>
                  <a:lnTo>
                    <a:pt x="832" y="11704"/>
                  </a:lnTo>
                  <a:lnTo>
                    <a:pt x="773" y="11766"/>
                  </a:lnTo>
                  <a:lnTo>
                    <a:pt x="715" y="11830"/>
                  </a:lnTo>
                  <a:lnTo>
                    <a:pt x="660" y="11894"/>
                  </a:lnTo>
                  <a:lnTo>
                    <a:pt x="606" y="11959"/>
                  </a:lnTo>
                  <a:lnTo>
                    <a:pt x="554" y="12026"/>
                  </a:lnTo>
                  <a:lnTo>
                    <a:pt x="505" y="12094"/>
                  </a:lnTo>
                  <a:lnTo>
                    <a:pt x="458" y="12164"/>
                  </a:lnTo>
                  <a:lnTo>
                    <a:pt x="412" y="12233"/>
                  </a:lnTo>
                  <a:lnTo>
                    <a:pt x="369" y="12304"/>
                  </a:lnTo>
                  <a:lnTo>
                    <a:pt x="328" y="12377"/>
                  </a:lnTo>
                  <a:lnTo>
                    <a:pt x="289" y="12450"/>
                  </a:lnTo>
                  <a:lnTo>
                    <a:pt x="251" y="12524"/>
                  </a:lnTo>
                  <a:lnTo>
                    <a:pt x="225" y="12582"/>
                  </a:lnTo>
                  <a:lnTo>
                    <a:pt x="200" y="12639"/>
                  </a:lnTo>
                  <a:lnTo>
                    <a:pt x="176" y="12699"/>
                  </a:lnTo>
                  <a:lnTo>
                    <a:pt x="154" y="12757"/>
                  </a:lnTo>
                  <a:lnTo>
                    <a:pt x="133" y="12815"/>
                  </a:lnTo>
                  <a:lnTo>
                    <a:pt x="114" y="12875"/>
                  </a:lnTo>
                  <a:lnTo>
                    <a:pt x="96" y="12934"/>
                  </a:lnTo>
                  <a:lnTo>
                    <a:pt x="79" y="12994"/>
                  </a:lnTo>
                  <a:lnTo>
                    <a:pt x="65" y="13053"/>
                  </a:lnTo>
                  <a:lnTo>
                    <a:pt x="51" y="13112"/>
                  </a:lnTo>
                  <a:lnTo>
                    <a:pt x="40" y="13173"/>
                  </a:lnTo>
                  <a:lnTo>
                    <a:pt x="30" y="13232"/>
                  </a:lnTo>
                  <a:lnTo>
                    <a:pt x="21" y="13292"/>
                  </a:lnTo>
                  <a:lnTo>
                    <a:pt x="14" y="13352"/>
                  </a:lnTo>
                  <a:lnTo>
                    <a:pt x="8" y="13412"/>
                  </a:lnTo>
                  <a:lnTo>
                    <a:pt x="4" y="13471"/>
                  </a:lnTo>
                  <a:lnTo>
                    <a:pt x="1" y="13532"/>
                  </a:lnTo>
                  <a:lnTo>
                    <a:pt x="0" y="13591"/>
                  </a:lnTo>
                  <a:lnTo>
                    <a:pt x="0" y="13650"/>
                  </a:lnTo>
                  <a:lnTo>
                    <a:pt x="2" y="13711"/>
                  </a:lnTo>
                  <a:lnTo>
                    <a:pt x="6" y="13770"/>
                  </a:lnTo>
                  <a:lnTo>
                    <a:pt x="11" y="13829"/>
                  </a:lnTo>
                  <a:lnTo>
                    <a:pt x="17" y="13888"/>
                  </a:lnTo>
                  <a:lnTo>
                    <a:pt x="25" y="13947"/>
                  </a:lnTo>
                  <a:lnTo>
                    <a:pt x="35" y="14006"/>
                  </a:lnTo>
                  <a:lnTo>
                    <a:pt x="46" y="14064"/>
                  </a:lnTo>
                  <a:lnTo>
                    <a:pt x="58" y="14122"/>
                  </a:lnTo>
                  <a:lnTo>
                    <a:pt x="72" y="14180"/>
                  </a:lnTo>
                  <a:lnTo>
                    <a:pt x="89" y="14238"/>
                  </a:lnTo>
                  <a:lnTo>
                    <a:pt x="106" y="14295"/>
                  </a:lnTo>
                  <a:lnTo>
                    <a:pt x="124" y="14352"/>
                  </a:lnTo>
                  <a:lnTo>
                    <a:pt x="145" y="14408"/>
                  </a:lnTo>
                  <a:lnTo>
                    <a:pt x="182" y="14504"/>
                  </a:lnTo>
                  <a:lnTo>
                    <a:pt x="224" y="14596"/>
                  </a:lnTo>
                  <a:lnTo>
                    <a:pt x="271" y="14687"/>
                  </a:lnTo>
                  <a:lnTo>
                    <a:pt x="320" y="14775"/>
                  </a:lnTo>
                  <a:lnTo>
                    <a:pt x="373" y="14861"/>
                  </a:lnTo>
                  <a:lnTo>
                    <a:pt x="431" y="14944"/>
                  </a:lnTo>
                  <a:lnTo>
                    <a:pt x="491" y="15026"/>
                  </a:lnTo>
                  <a:lnTo>
                    <a:pt x="555" y="15104"/>
                  </a:lnTo>
                  <a:lnTo>
                    <a:pt x="624" y="15181"/>
                  </a:lnTo>
                  <a:lnTo>
                    <a:pt x="694" y="15254"/>
                  </a:lnTo>
                  <a:lnTo>
                    <a:pt x="769" y="15324"/>
                  </a:lnTo>
                  <a:lnTo>
                    <a:pt x="846" y="15392"/>
                  </a:lnTo>
                  <a:lnTo>
                    <a:pt x="926" y="15457"/>
                  </a:lnTo>
                  <a:lnTo>
                    <a:pt x="1010" y="15520"/>
                  </a:lnTo>
                  <a:lnTo>
                    <a:pt x="1096" y="15579"/>
                  </a:lnTo>
                  <a:lnTo>
                    <a:pt x="1185" y="15636"/>
                  </a:lnTo>
                  <a:lnTo>
                    <a:pt x="1277" y="15690"/>
                  </a:lnTo>
                  <a:lnTo>
                    <a:pt x="1371" y="15740"/>
                  </a:lnTo>
                  <a:lnTo>
                    <a:pt x="1469" y="15787"/>
                  </a:lnTo>
                  <a:lnTo>
                    <a:pt x="1567" y="15831"/>
                  </a:lnTo>
                  <a:lnTo>
                    <a:pt x="1669" y="15873"/>
                  </a:lnTo>
                  <a:lnTo>
                    <a:pt x="1772" y="15910"/>
                  </a:lnTo>
                  <a:lnTo>
                    <a:pt x="1879" y="15944"/>
                  </a:lnTo>
                  <a:lnTo>
                    <a:pt x="1987" y="15975"/>
                  </a:lnTo>
                  <a:lnTo>
                    <a:pt x="2097" y="16003"/>
                  </a:lnTo>
                  <a:lnTo>
                    <a:pt x="2209" y="16028"/>
                  </a:lnTo>
                  <a:lnTo>
                    <a:pt x="2323" y="16048"/>
                  </a:lnTo>
                  <a:lnTo>
                    <a:pt x="2438" y="16065"/>
                  </a:lnTo>
                  <a:lnTo>
                    <a:pt x="2555" y="16078"/>
                  </a:lnTo>
                  <a:lnTo>
                    <a:pt x="2674" y="16087"/>
                  </a:lnTo>
                  <a:lnTo>
                    <a:pt x="2793" y="16093"/>
                  </a:lnTo>
                  <a:lnTo>
                    <a:pt x="2914" y="16095"/>
                  </a:lnTo>
                  <a:lnTo>
                    <a:pt x="2995" y="16094"/>
                  </a:lnTo>
                  <a:lnTo>
                    <a:pt x="3075" y="16092"/>
                  </a:lnTo>
                  <a:lnTo>
                    <a:pt x="3155" y="16088"/>
                  </a:lnTo>
                  <a:lnTo>
                    <a:pt x="3235" y="16082"/>
                  </a:lnTo>
                  <a:lnTo>
                    <a:pt x="3315" y="16075"/>
                  </a:lnTo>
                  <a:lnTo>
                    <a:pt x="3395" y="16066"/>
                  </a:lnTo>
                  <a:lnTo>
                    <a:pt x="3475" y="16055"/>
                  </a:lnTo>
                  <a:lnTo>
                    <a:pt x="3554" y="16043"/>
                  </a:lnTo>
                  <a:lnTo>
                    <a:pt x="3633" y="16029"/>
                  </a:lnTo>
                  <a:lnTo>
                    <a:pt x="3713" y="16014"/>
                  </a:lnTo>
                  <a:lnTo>
                    <a:pt x="3792" y="15996"/>
                  </a:lnTo>
                  <a:lnTo>
                    <a:pt x="3872" y="15977"/>
                  </a:lnTo>
                  <a:lnTo>
                    <a:pt x="3950" y="15957"/>
                  </a:lnTo>
                  <a:lnTo>
                    <a:pt x="4029" y="15935"/>
                  </a:lnTo>
                  <a:lnTo>
                    <a:pt x="4107" y="15911"/>
                  </a:lnTo>
                  <a:lnTo>
                    <a:pt x="4186" y="15886"/>
                  </a:lnTo>
                  <a:lnTo>
                    <a:pt x="4275" y="15855"/>
                  </a:lnTo>
                  <a:lnTo>
                    <a:pt x="4363" y="15822"/>
                  </a:lnTo>
                  <a:lnTo>
                    <a:pt x="4449" y="15788"/>
                  </a:lnTo>
                  <a:lnTo>
                    <a:pt x="4535" y="15752"/>
                  </a:lnTo>
                  <a:lnTo>
                    <a:pt x="4619" y="15714"/>
                  </a:lnTo>
                  <a:lnTo>
                    <a:pt x="4702" y="15674"/>
                  </a:lnTo>
                  <a:lnTo>
                    <a:pt x="4783" y="15633"/>
                  </a:lnTo>
                  <a:lnTo>
                    <a:pt x="4864" y="15590"/>
                  </a:lnTo>
                  <a:lnTo>
                    <a:pt x="4942" y="15546"/>
                  </a:lnTo>
                  <a:lnTo>
                    <a:pt x="5020" y="15499"/>
                  </a:lnTo>
                  <a:lnTo>
                    <a:pt x="5096" y="15451"/>
                  </a:lnTo>
                  <a:lnTo>
                    <a:pt x="5171" y="15402"/>
                  </a:lnTo>
                  <a:lnTo>
                    <a:pt x="5243" y="15351"/>
                  </a:lnTo>
                  <a:lnTo>
                    <a:pt x="5314" y="15298"/>
                  </a:lnTo>
                  <a:lnTo>
                    <a:pt x="5384" y="15245"/>
                  </a:lnTo>
                  <a:lnTo>
                    <a:pt x="5452" y="15190"/>
                  </a:lnTo>
                  <a:lnTo>
                    <a:pt x="5519" y="15133"/>
                  </a:lnTo>
                  <a:lnTo>
                    <a:pt x="5583" y="15075"/>
                  </a:lnTo>
                  <a:lnTo>
                    <a:pt x="5645" y="15016"/>
                  </a:lnTo>
                  <a:lnTo>
                    <a:pt x="5707" y="14955"/>
                  </a:lnTo>
                  <a:lnTo>
                    <a:pt x="5766" y="14893"/>
                  </a:lnTo>
                  <a:lnTo>
                    <a:pt x="5823" y="14829"/>
                  </a:lnTo>
                  <a:lnTo>
                    <a:pt x="5879" y="14765"/>
                  </a:lnTo>
                  <a:lnTo>
                    <a:pt x="5932" y="14700"/>
                  </a:lnTo>
                  <a:lnTo>
                    <a:pt x="5983" y="14632"/>
                  </a:lnTo>
                  <a:lnTo>
                    <a:pt x="6034" y="14565"/>
                  </a:lnTo>
                  <a:lnTo>
                    <a:pt x="6081" y="14495"/>
                  </a:lnTo>
                  <a:lnTo>
                    <a:pt x="6126" y="14426"/>
                  </a:lnTo>
                  <a:lnTo>
                    <a:pt x="6169" y="14355"/>
                  </a:lnTo>
                  <a:lnTo>
                    <a:pt x="6211" y="14282"/>
                  </a:lnTo>
                  <a:lnTo>
                    <a:pt x="6250" y="14210"/>
                  </a:lnTo>
                  <a:lnTo>
                    <a:pt x="6286" y="14135"/>
                  </a:lnTo>
                  <a:lnTo>
                    <a:pt x="6316" y="14071"/>
                  </a:lnTo>
                  <a:lnTo>
                    <a:pt x="6343" y="14007"/>
                  </a:lnTo>
                  <a:lnTo>
                    <a:pt x="6369" y="13941"/>
                  </a:lnTo>
                  <a:lnTo>
                    <a:pt x="6393" y="13876"/>
                  </a:lnTo>
                  <a:lnTo>
                    <a:pt x="6414" y="13809"/>
                  </a:lnTo>
                  <a:lnTo>
                    <a:pt x="6434" y="13744"/>
                  </a:lnTo>
                  <a:lnTo>
                    <a:pt x="6452" y="13678"/>
                  </a:lnTo>
                  <a:lnTo>
                    <a:pt x="6468" y="13611"/>
                  </a:lnTo>
                  <a:lnTo>
                    <a:pt x="6482" y="13545"/>
                  </a:lnTo>
                  <a:lnTo>
                    <a:pt x="6494" y="13477"/>
                  </a:lnTo>
                  <a:lnTo>
                    <a:pt x="6504" y="13411"/>
                  </a:lnTo>
                  <a:lnTo>
                    <a:pt x="6513" y="13345"/>
                  </a:lnTo>
                  <a:lnTo>
                    <a:pt x="6519" y="13277"/>
                  </a:lnTo>
                  <a:lnTo>
                    <a:pt x="6525" y="13211"/>
                  </a:lnTo>
                  <a:lnTo>
                    <a:pt x="6528" y="13143"/>
                  </a:lnTo>
                  <a:lnTo>
                    <a:pt x="6530" y="13077"/>
                  </a:lnTo>
                  <a:lnTo>
                    <a:pt x="6538" y="13077"/>
                  </a:lnTo>
                  <a:lnTo>
                    <a:pt x="6538" y="5030"/>
                  </a:lnTo>
                  <a:lnTo>
                    <a:pt x="6560" y="5029"/>
                  </a:lnTo>
                  <a:lnTo>
                    <a:pt x="6582" y="5029"/>
                  </a:lnTo>
                  <a:lnTo>
                    <a:pt x="6603" y="5028"/>
                  </a:lnTo>
                  <a:lnTo>
                    <a:pt x="6625" y="5026"/>
                  </a:lnTo>
                  <a:lnTo>
                    <a:pt x="6647" y="5024"/>
                  </a:lnTo>
                  <a:lnTo>
                    <a:pt x="6669" y="5021"/>
                  </a:lnTo>
                  <a:lnTo>
                    <a:pt x="6691" y="5018"/>
                  </a:lnTo>
                  <a:lnTo>
                    <a:pt x="6713" y="5015"/>
                  </a:lnTo>
                  <a:lnTo>
                    <a:pt x="15089" y="3536"/>
                  </a:lnTo>
                  <a:lnTo>
                    <a:pt x="15089" y="9642"/>
                  </a:lnTo>
                  <a:lnTo>
                    <a:pt x="15041" y="9607"/>
                  </a:lnTo>
                  <a:lnTo>
                    <a:pt x="14991" y="9574"/>
                  </a:lnTo>
                  <a:lnTo>
                    <a:pt x="14941" y="9542"/>
                  </a:lnTo>
                  <a:lnTo>
                    <a:pt x="14891" y="9511"/>
                  </a:lnTo>
                  <a:lnTo>
                    <a:pt x="14840" y="9480"/>
                  </a:lnTo>
                  <a:lnTo>
                    <a:pt x="14786" y="9450"/>
                  </a:lnTo>
                  <a:lnTo>
                    <a:pt x="14733" y="9421"/>
                  </a:lnTo>
                  <a:lnTo>
                    <a:pt x="14680" y="9394"/>
                  </a:lnTo>
                  <a:lnTo>
                    <a:pt x="14624" y="9367"/>
                  </a:lnTo>
                  <a:lnTo>
                    <a:pt x="14569" y="9342"/>
                  </a:lnTo>
                  <a:lnTo>
                    <a:pt x="14513" y="9317"/>
                  </a:lnTo>
                  <a:lnTo>
                    <a:pt x="14455" y="9293"/>
                  </a:lnTo>
                  <a:lnTo>
                    <a:pt x="14397" y="9270"/>
                  </a:lnTo>
                  <a:lnTo>
                    <a:pt x="14339" y="9249"/>
                  </a:lnTo>
                  <a:lnTo>
                    <a:pt x="14279" y="9228"/>
                  </a:lnTo>
                  <a:lnTo>
                    <a:pt x="14220" y="9209"/>
                  </a:lnTo>
                  <a:lnTo>
                    <a:pt x="14160" y="9191"/>
                  </a:lnTo>
                  <a:lnTo>
                    <a:pt x="14098" y="9173"/>
                  </a:lnTo>
                  <a:lnTo>
                    <a:pt x="14036" y="9157"/>
                  </a:lnTo>
                  <a:lnTo>
                    <a:pt x="13973" y="9142"/>
                  </a:lnTo>
                  <a:lnTo>
                    <a:pt x="13910" y="9128"/>
                  </a:lnTo>
                  <a:lnTo>
                    <a:pt x="13847" y="9115"/>
                  </a:lnTo>
                  <a:lnTo>
                    <a:pt x="13782" y="9103"/>
                  </a:lnTo>
                  <a:lnTo>
                    <a:pt x="13718" y="9093"/>
                  </a:lnTo>
                  <a:lnTo>
                    <a:pt x="13653" y="9084"/>
                  </a:lnTo>
                  <a:lnTo>
                    <a:pt x="13586" y="9076"/>
                  </a:lnTo>
                  <a:lnTo>
                    <a:pt x="13520" y="9069"/>
                  </a:lnTo>
                  <a:lnTo>
                    <a:pt x="13453" y="9063"/>
                  </a:lnTo>
                  <a:lnTo>
                    <a:pt x="13385" y="9059"/>
                  </a:lnTo>
                  <a:lnTo>
                    <a:pt x="13318" y="9056"/>
                  </a:lnTo>
                  <a:lnTo>
                    <a:pt x="13249" y="9054"/>
                  </a:lnTo>
                  <a:lnTo>
                    <a:pt x="13180" y="9053"/>
                  </a:lnTo>
                  <a:lnTo>
                    <a:pt x="13100" y="9054"/>
                  </a:lnTo>
                  <a:lnTo>
                    <a:pt x="13020" y="9057"/>
                  </a:lnTo>
                  <a:lnTo>
                    <a:pt x="12940" y="9061"/>
                  </a:lnTo>
                  <a:lnTo>
                    <a:pt x="12860" y="9067"/>
                  </a:lnTo>
                  <a:lnTo>
                    <a:pt x="12780" y="9074"/>
                  </a:lnTo>
                  <a:lnTo>
                    <a:pt x="12700" y="9083"/>
                  </a:lnTo>
                  <a:lnTo>
                    <a:pt x="12620" y="9094"/>
                  </a:lnTo>
                  <a:lnTo>
                    <a:pt x="12541" y="9106"/>
                  </a:lnTo>
                  <a:lnTo>
                    <a:pt x="12462" y="9120"/>
                  </a:lnTo>
                  <a:lnTo>
                    <a:pt x="12382" y="9135"/>
                  </a:lnTo>
                  <a:lnTo>
                    <a:pt x="12303" y="9153"/>
                  </a:lnTo>
                  <a:lnTo>
                    <a:pt x="12223" y="9172"/>
                  </a:lnTo>
                  <a:lnTo>
                    <a:pt x="12144" y="9192"/>
                  </a:lnTo>
                  <a:lnTo>
                    <a:pt x="12065" y="9214"/>
                  </a:lnTo>
                  <a:lnTo>
                    <a:pt x="11987" y="9237"/>
                  </a:lnTo>
                  <a:lnTo>
                    <a:pt x="11908" y="9262"/>
                  </a:lnTo>
                  <a:lnTo>
                    <a:pt x="11820" y="9293"/>
                  </a:lnTo>
                  <a:lnTo>
                    <a:pt x="11731" y="9326"/>
                  </a:lnTo>
                  <a:lnTo>
                    <a:pt x="11645" y="9361"/>
                  </a:lnTo>
                  <a:lnTo>
                    <a:pt x="11560" y="9397"/>
                  </a:lnTo>
                  <a:lnTo>
                    <a:pt x="11476" y="9434"/>
                  </a:lnTo>
                  <a:lnTo>
                    <a:pt x="11393" y="9475"/>
                  </a:lnTo>
                  <a:lnTo>
                    <a:pt x="11312" y="9516"/>
                  </a:lnTo>
                  <a:lnTo>
                    <a:pt x="11231" y="9559"/>
                  </a:lnTo>
                  <a:lnTo>
                    <a:pt x="11153" y="9603"/>
                  </a:lnTo>
                  <a:lnTo>
                    <a:pt x="11075" y="9650"/>
                  </a:lnTo>
                  <a:lnTo>
                    <a:pt x="10999" y="9698"/>
                  </a:lnTo>
                  <a:lnTo>
                    <a:pt x="10925" y="9747"/>
                  </a:lnTo>
                  <a:lnTo>
                    <a:pt x="10852" y="9798"/>
                  </a:lnTo>
                  <a:lnTo>
                    <a:pt x="10781" y="9851"/>
                  </a:lnTo>
                  <a:lnTo>
                    <a:pt x="10711" y="9904"/>
                  </a:lnTo>
                  <a:lnTo>
                    <a:pt x="10644" y="9959"/>
                  </a:lnTo>
                  <a:lnTo>
                    <a:pt x="10577" y="10017"/>
                  </a:lnTo>
                  <a:lnTo>
                    <a:pt x="10513" y="10074"/>
                  </a:lnTo>
                  <a:lnTo>
                    <a:pt x="10450" y="10134"/>
                  </a:lnTo>
                  <a:lnTo>
                    <a:pt x="10388" y="10195"/>
                  </a:lnTo>
                  <a:lnTo>
                    <a:pt x="10330" y="10257"/>
                  </a:lnTo>
                  <a:lnTo>
                    <a:pt x="10273" y="10321"/>
                  </a:lnTo>
                  <a:lnTo>
                    <a:pt x="10216" y="10385"/>
                  </a:lnTo>
                  <a:lnTo>
                    <a:pt x="10163" y="10450"/>
                  </a:lnTo>
                  <a:lnTo>
                    <a:pt x="10112" y="10517"/>
                  </a:lnTo>
                  <a:lnTo>
                    <a:pt x="10062" y="10585"/>
                  </a:lnTo>
                  <a:lnTo>
                    <a:pt x="10014" y="10655"/>
                  </a:lnTo>
                  <a:lnTo>
                    <a:pt x="9969" y="10724"/>
                  </a:lnTo>
                  <a:lnTo>
                    <a:pt x="9926" y="10795"/>
                  </a:lnTo>
                  <a:lnTo>
                    <a:pt x="9884" y="10868"/>
                  </a:lnTo>
                  <a:lnTo>
                    <a:pt x="9846" y="10941"/>
                  </a:lnTo>
                  <a:lnTo>
                    <a:pt x="9809" y="11015"/>
                  </a:lnTo>
                  <a:lnTo>
                    <a:pt x="9782" y="11073"/>
                  </a:lnTo>
                  <a:lnTo>
                    <a:pt x="9757" y="11131"/>
                  </a:lnTo>
                  <a:lnTo>
                    <a:pt x="9733" y="11190"/>
                  </a:lnTo>
                  <a:lnTo>
                    <a:pt x="9711" y="11248"/>
                  </a:lnTo>
                  <a:lnTo>
                    <a:pt x="9690" y="11306"/>
                  </a:lnTo>
                  <a:lnTo>
                    <a:pt x="9671" y="11366"/>
                  </a:lnTo>
                  <a:lnTo>
                    <a:pt x="9653" y="11425"/>
                  </a:lnTo>
                  <a:lnTo>
                    <a:pt x="9637" y="11485"/>
                  </a:lnTo>
                  <a:lnTo>
                    <a:pt x="9622" y="11544"/>
                  </a:lnTo>
                  <a:lnTo>
                    <a:pt x="9609" y="11603"/>
                  </a:lnTo>
                  <a:lnTo>
                    <a:pt x="9598" y="11664"/>
                  </a:lnTo>
                  <a:lnTo>
                    <a:pt x="9587" y="11723"/>
                  </a:lnTo>
                  <a:lnTo>
                    <a:pt x="9579" y="11783"/>
                  </a:lnTo>
                  <a:lnTo>
                    <a:pt x="9571" y="11843"/>
                  </a:lnTo>
                  <a:lnTo>
                    <a:pt x="9565" y="11903"/>
                  </a:lnTo>
                  <a:lnTo>
                    <a:pt x="9561" y="11962"/>
                  </a:lnTo>
                  <a:lnTo>
                    <a:pt x="9558" y="12023"/>
                  </a:lnTo>
                  <a:lnTo>
                    <a:pt x="9557" y="12082"/>
                  </a:lnTo>
                  <a:lnTo>
                    <a:pt x="9558" y="12142"/>
                  </a:lnTo>
                  <a:lnTo>
                    <a:pt x="9560" y="12202"/>
                  </a:lnTo>
                  <a:lnTo>
                    <a:pt x="9563" y="12261"/>
                  </a:lnTo>
                  <a:lnTo>
                    <a:pt x="9568" y="12320"/>
                  </a:lnTo>
                  <a:lnTo>
                    <a:pt x="9575" y="12379"/>
                  </a:lnTo>
                  <a:lnTo>
                    <a:pt x="9583" y="12438"/>
                  </a:lnTo>
                  <a:lnTo>
                    <a:pt x="9593" y="12497"/>
                  </a:lnTo>
                  <a:lnTo>
                    <a:pt x="9604" y="12555"/>
                  </a:lnTo>
                  <a:lnTo>
                    <a:pt x="9616" y="12613"/>
                  </a:lnTo>
                  <a:lnTo>
                    <a:pt x="9630" y="12672"/>
                  </a:lnTo>
                  <a:lnTo>
                    <a:pt x="9646" y="12729"/>
                  </a:lnTo>
                  <a:lnTo>
                    <a:pt x="9663" y="12786"/>
                  </a:lnTo>
                  <a:lnTo>
                    <a:pt x="9682" y="12843"/>
                  </a:lnTo>
                  <a:lnTo>
                    <a:pt x="9702" y="12899"/>
                  </a:lnTo>
                  <a:lnTo>
                    <a:pt x="9739" y="12995"/>
                  </a:lnTo>
                  <a:lnTo>
                    <a:pt x="9782" y="13087"/>
                  </a:lnTo>
                  <a:lnTo>
                    <a:pt x="9828" y="13178"/>
                  </a:lnTo>
                  <a:lnTo>
                    <a:pt x="9877" y="13266"/>
                  </a:lnTo>
                  <a:lnTo>
                    <a:pt x="9931" y="13352"/>
                  </a:lnTo>
                  <a:lnTo>
                    <a:pt x="9988" y="13435"/>
                  </a:lnTo>
                  <a:lnTo>
                    <a:pt x="10049" y="13517"/>
                  </a:lnTo>
                  <a:lnTo>
                    <a:pt x="10113" y="13595"/>
                  </a:lnTo>
                  <a:lnTo>
                    <a:pt x="10181" y="13672"/>
                  </a:lnTo>
                  <a:lnTo>
                    <a:pt x="10252" y="13745"/>
                  </a:lnTo>
                  <a:lnTo>
                    <a:pt x="10326" y="13815"/>
                  </a:lnTo>
                  <a:lnTo>
                    <a:pt x="10403" y="13883"/>
                  </a:lnTo>
                  <a:lnTo>
                    <a:pt x="10484" y="13948"/>
                  </a:lnTo>
                  <a:lnTo>
                    <a:pt x="10567" y="14011"/>
                  </a:lnTo>
                  <a:lnTo>
                    <a:pt x="10654" y="14070"/>
                  </a:lnTo>
                  <a:lnTo>
                    <a:pt x="10742" y="14127"/>
                  </a:lnTo>
                  <a:lnTo>
                    <a:pt x="10834" y="14181"/>
                  </a:lnTo>
                  <a:lnTo>
                    <a:pt x="10929" y="14231"/>
                  </a:lnTo>
                  <a:lnTo>
                    <a:pt x="11025" y="14278"/>
                  </a:lnTo>
                  <a:lnTo>
                    <a:pt x="11125" y="14322"/>
                  </a:lnTo>
                  <a:lnTo>
                    <a:pt x="11226" y="14364"/>
                  </a:lnTo>
                  <a:lnTo>
                    <a:pt x="11330" y="14401"/>
                  </a:lnTo>
                  <a:lnTo>
                    <a:pt x="11435" y="14436"/>
                  </a:lnTo>
                  <a:lnTo>
                    <a:pt x="11544" y="14466"/>
                  </a:lnTo>
                  <a:lnTo>
                    <a:pt x="11654" y="14494"/>
                  </a:lnTo>
                  <a:lnTo>
                    <a:pt x="11765" y="14519"/>
                  </a:lnTo>
                  <a:lnTo>
                    <a:pt x="11879" y="14539"/>
                  </a:lnTo>
                  <a:lnTo>
                    <a:pt x="11995" y="14556"/>
                  </a:lnTo>
                  <a:lnTo>
                    <a:pt x="12111" y="14569"/>
                  </a:lnTo>
                  <a:lnTo>
                    <a:pt x="12230" y="14578"/>
                  </a:lnTo>
                  <a:lnTo>
                    <a:pt x="12350" y="14584"/>
                  </a:lnTo>
                  <a:lnTo>
                    <a:pt x="12472" y="14586"/>
                  </a:lnTo>
                  <a:lnTo>
                    <a:pt x="12551" y="14585"/>
                  </a:lnTo>
                  <a:lnTo>
                    <a:pt x="12632" y="14583"/>
                  </a:lnTo>
                  <a:lnTo>
                    <a:pt x="12712" y="14579"/>
                  </a:lnTo>
                  <a:lnTo>
                    <a:pt x="12792" y="14573"/>
                  </a:lnTo>
                  <a:lnTo>
                    <a:pt x="12872" y="14566"/>
                  </a:lnTo>
                  <a:lnTo>
                    <a:pt x="12951" y="14557"/>
                  </a:lnTo>
                  <a:lnTo>
                    <a:pt x="13032" y="14546"/>
                  </a:lnTo>
                  <a:lnTo>
                    <a:pt x="13111" y="14534"/>
                  </a:lnTo>
                  <a:lnTo>
                    <a:pt x="13191" y="14520"/>
                  </a:lnTo>
                  <a:lnTo>
                    <a:pt x="13270" y="14505"/>
                  </a:lnTo>
                  <a:lnTo>
                    <a:pt x="13350" y="14487"/>
                  </a:lnTo>
                  <a:lnTo>
                    <a:pt x="13429" y="14468"/>
                  </a:lnTo>
                  <a:lnTo>
                    <a:pt x="13508" y="14448"/>
                  </a:lnTo>
                  <a:lnTo>
                    <a:pt x="13586" y="14426"/>
                  </a:lnTo>
                  <a:lnTo>
                    <a:pt x="13665" y="14402"/>
                  </a:lnTo>
                  <a:lnTo>
                    <a:pt x="13743" y="14377"/>
                  </a:lnTo>
                  <a:lnTo>
                    <a:pt x="13832" y="14347"/>
                  </a:lnTo>
                  <a:lnTo>
                    <a:pt x="13920" y="14313"/>
                  </a:lnTo>
                  <a:lnTo>
                    <a:pt x="14007" y="14279"/>
                  </a:lnTo>
                  <a:lnTo>
                    <a:pt x="14092" y="14243"/>
                  </a:lnTo>
                  <a:lnTo>
                    <a:pt x="14177" y="14206"/>
                  </a:lnTo>
                  <a:lnTo>
                    <a:pt x="14259" y="14165"/>
                  </a:lnTo>
                  <a:lnTo>
                    <a:pt x="14341" y="14124"/>
                  </a:lnTo>
                  <a:lnTo>
                    <a:pt x="14421" y="14081"/>
                  </a:lnTo>
                  <a:lnTo>
                    <a:pt x="14500" y="14037"/>
                  </a:lnTo>
                  <a:lnTo>
                    <a:pt x="14577" y="13990"/>
                  </a:lnTo>
                  <a:lnTo>
                    <a:pt x="14652" y="13942"/>
                  </a:lnTo>
                  <a:lnTo>
                    <a:pt x="14727" y="13893"/>
                  </a:lnTo>
                  <a:lnTo>
                    <a:pt x="14800" y="13843"/>
                  </a:lnTo>
                  <a:lnTo>
                    <a:pt x="14871" y="13790"/>
                  </a:lnTo>
                  <a:lnTo>
                    <a:pt x="14941" y="13736"/>
                  </a:lnTo>
                  <a:lnTo>
                    <a:pt x="15009" y="13681"/>
                  </a:lnTo>
                  <a:lnTo>
                    <a:pt x="15075" y="13624"/>
                  </a:lnTo>
                  <a:lnTo>
                    <a:pt x="15139" y="13566"/>
                  </a:lnTo>
                  <a:lnTo>
                    <a:pt x="15203" y="13507"/>
                  </a:lnTo>
                  <a:lnTo>
                    <a:pt x="15264" y="13446"/>
                  </a:lnTo>
                  <a:lnTo>
                    <a:pt x="15322" y="13384"/>
                  </a:lnTo>
                  <a:lnTo>
                    <a:pt x="15380" y="13320"/>
                  </a:lnTo>
                  <a:lnTo>
                    <a:pt x="15436" y="13256"/>
                  </a:lnTo>
                  <a:lnTo>
                    <a:pt x="15489" y="13191"/>
                  </a:lnTo>
                  <a:lnTo>
                    <a:pt x="15541" y="13124"/>
                  </a:lnTo>
                  <a:lnTo>
                    <a:pt x="15590" y="13056"/>
                  </a:lnTo>
                  <a:lnTo>
                    <a:pt x="15638" y="12986"/>
                  </a:lnTo>
                  <a:lnTo>
                    <a:pt x="15684" y="12917"/>
                  </a:lnTo>
                  <a:lnTo>
                    <a:pt x="15727" y="12846"/>
                  </a:lnTo>
                  <a:lnTo>
                    <a:pt x="15768" y="12773"/>
                  </a:lnTo>
                  <a:lnTo>
                    <a:pt x="15806" y="12701"/>
                  </a:lnTo>
                  <a:lnTo>
                    <a:pt x="15844" y="12626"/>
                  </a:lnTo>
                  <a:lnTo>
                    <a:pt x="15873" y="12562"/>
                  </a:lnTo>
                  <a:lnTo>
                    <a:pt x="15901" y="12498"/>
                  </a:lnTo>
                  <a:lnTo>
                    <a:pt x="15926" y="12432"/>
                  </a:lnTo>
                  <a:lnTo>
                    <a:pt x="15950" y="12367"/>
                  </a:lnTo>
                  <a:lnTo>
                    <a:pt x="15971" y="12300"/>
                  </a:lnTo>
                  <a:lnTo>
                    <a:pt x="15991" y="12235"/>
                  </a:lnTo>
                  <a:lnTo>
                    <a:pt x="16008" y="12169"/>
                  </a:lnTo>
                  <a:lnTo>
                    <a:pt x="16025" y="12102"/>
                  </a:lnTo>
                  <a:lnTo>
                    <a:pt x="16039" y="12036"/>
                  </a:lnTo>
                  <a:lnTo>
                    <a:pt x="16051" y="11969"/>
                  </a:lnTo>
                  <a:lnTo>
                    <a:pt x="16062" y="11902"/>
                  </a:lnTo>
                  <a:lnTo>
                    <a:pt x="16070" y="11836"/>
                  </a:lnTo>
                  <a:lnTo>
                    <a:pt x="16077" y="11768"/>
                  </a:lnTo>
                  <a:lnTo>
                    <a:pt x="16081" y="11702"/>
                  </a:lnTo>
                  <a:lnTo>
                    <a:pt x="16085" y="11635"/>
                  </a:lnTo>
                  <a:lnTo>
                    <a:pt x="16086" y="11568"/>
                  </a:lnTo>
                  <a:lnTo>
                    <a:pt x="16095" y="11568"/>
                  </a:lnTo>
                  <a:lnTo>
                    <a:pt x="16095" y="2515"/>
                  </a:lnTo>
                  <a:lnTo>
                    <a:pt x="16095" y="2012"/>
                  </a:lnTo>
                  <a:lnTo>
                    <a:pt x="16095" y="1006"/>
                  </a:lnTo>
                  <a:lnTo>
                    <a:pt x="16095" y="978"/>
                  </a:lnTo>
                  <a:lnTo>
                    <a:pt x="16093" y="951"/>
                  </a:lnTo>
                  <a:lnTo>
                    <a:pt x="16092" y="923"/>
                  </a:lnTo>
                  <a:lnTo>
                    <a:pt x="16089" y="895"/>
                  </a:lnTo>
                  <a:lnTo>
                    <a:pt x="16085" y="868"/>
                  </a:lnTo>
                  <a:lnTo>
                    <a:pt x="16081" y="841"/>
                  </a:lnTo>
                  <a:lnTo>
                    <a:pt x="16077" y="814"/>
                  </a:lnTo>
                  <a:lnTo>
                    <a:pt x="16071" y="787"/>
                  </a:lnTo>
                  <a:lnTo>
                    <a:pt x="16065" y="761"/>
                  </a:lnTo>
                  <a:lnTo>
                    <a:pt x="16058" y="734"/>
                  </a:lnTo>
                  <a:lnTo>
                    <a:pt x="16050" y="708"/>
                  </a:lnTo>
                  <a:lnTo>
                    <a:pt x="16042" y="682"/>
                  </a:lnTo>
                  <a:lnTo>
                    <a:pt x="16032" y="657"/>
                  </a:lnTo>
                  <a:lnTo>
                    <a:pt x="16023" y="631"/>
                  </a:lnTo>
                  <a:lnTo>
                    <a:pt x="16012" y="606"/>
                  </a:lnTo>
                  <a:lnTo>
                    <a:pt x="16000" y="581"/>
                  </a:lnTo>
                  <a:lnTo>
                    <a:pt x="15988" y="556"/>
                  </a:lnTo>
                  <a:lnTo>
                    <a:pt x="15976" y="532"/>
                  </a:lnTo>
                  <a:lnTo>
                    <a:pt x="15963" y="508"/>
                  </a:lnTo>
                  <a:lnTo>
                    <a:pt x="15949" y="485"/>
                  </a:lnTo>
                  <a:lnTo>
                    <a:pt x="15935" y="462"/>
                  </a:lnTo>
                  <a:lnTo>
                    <a:pt x="15920" y="439"/>
                  </a:lnTo>
                  <a:lnTo>
                    <a:pt x="15904" y="416"/>
                  </a:lnTo>
                  <a:lnTo>
                    <a:pt x="15888" y="394"/>
                  </a:lnTo>
                  <a:lnTo>
                    <a:pt x="15871" y="373"/>
                  </a:lnTo>
                  <a:lnTo>
                    <a:pt x="15854" y="352"/>
                  </a:lnTo>
                  <a:lnTo>
                    <a:pt x="15834" y="332"/>
                  </a:lnTo>
                  <a:lnTo>
                    <a:pt x="15816" y="312"/>
                  </a:lnTo>
                  <a:lnTo>
                    <a:pt x="15797" y="292"/>
                  </a:lnTo>
                  <a:lnTo>
                    <a:pt x="15777" y="273"/>
                  </a:lnTo>
                  <a:lnTo>
                    <a:pt x="15756" y="254"/>
                  </a:lnTo>
                  <a:lnTo>
                    <a:pt x="15735" y="2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67" name="ís1ïḍe">
              <a:extLst>
                <a:ext uri="{FF2B5EF4-FFF2-40B4-BE49-F238E27FC236}">
                  <a16:creationId xmlns:a16="http://schemas.microsoft.com/office/drawing/2014/main" id="{F85624B0-4DE1-47BC-81C3-07D43D3F0E43}"/>
                </a:ext>
              </a:extLst>
            </p:cNvPr>
            <p:cNvSpPr/>
            <p:nvPr/>
          </p:nvSpPr>
          <p:spPr bwMode="auto">
            <a:xfrm>
              <a:off x="4978220" y="922633"/>
              <a:ext cx="400967" cy="400967"/>
            </a:xfrm>
            <a:custGeom>
              <a:avLst/>
              <a:gdLst>
                <a:gd name="T0" fmla="*/ 11128 w 16095"/>
                <a:gd name="T1" fmla="*/ 11977 h 16095"/>
                <a:gd name="T2" fmla="*/ 11777 w 16095"/>
                <a:gd name="T3" fmla="*/ 9543 h 16095"/>
                <a:gd name="T4" fmla="*/ 13241 w 16095"/>
                <a:gd name="T5" fmla="*/ 8457 h 16095"/>
                <a:gd name="T6" fmla="*/ 13492 w 16095"/>
                <a:gd name="T7" fmla="*/ 6286 h 16095"/>
                <a:gd name="T8" fmla="*/ 12358 w 16095"/>
                <a:gd name="T9" fmla="*/ 4722 h 16095"/>
                <a:gd name="T10" fmla="*/ 10731 w 16095"/>
                <a:gd name="T11" fmla="*/ 2943 h 16095"/>
                <a:gd name="T12" fmla="*/ 12110 w 16095"/>
                <a:gd name="T13" fmla="*/ 1109 h 16095"/>
                <a:gd name="T14" fmla="*/ 14079 w 16095"/>
                <a:gd name="T15" fmla="*/ 2205 h 16095"/>
                <a:gd name="T16" fmla="*/ 15086 w 16095"/>
                <a:gd name="T17" fmla="*/ 6731 h 16095"/>
                <a:gd name="T18" fmla="*/ 14265 w 16095"/>
                <a:gd name="T19" fmla="*/ 11509 h 16095"/>
                <a:gd name="T20" fmla="*/ 6539 w 16095"/>
                <a:gd name="T21" fmla="*/ 8550 h 16095"/>
                <a:gd name="T22" fmla="*/ 5762 w 16095"/>
                <a:gd name="T23" fmla="*/ 8001 h 16095"/>
                <a:gd name="T24" fmla="*/ 5553 w 16095"/>
                <a:gd name="T25" fmla="*/ 6738 h 16095"/>
                <a:gd name="T26" fmla="*/ 6059 w 16095"/>
                <a:gd name="T27" fmla="*/ 5715 h 16095"/>
                <a:gd name="T28" fmla="*/ 7265 w 16095"/>
                <a:gd name="T29" fmla="*/ 5480 h 16095"/>
                <a:gd name="T30" fmla="*/ 8743 w 16095"/>
                <a:gd name="T31" fmla="*/ 4899 h 16095"/>
                <a:gd name="T32" fmla="*/ 9075 w 16095"/>
                <a:gd name="T33" fmla="*/ 6240 h 16095"/>
                <a:gd name="T34" fmla="*/ 9198 w 16095"/>
                <a:gd name="T35" fmla="*/ 9111 h 16095"/>
                <a:gd name="T36" fmla="*/ 8106 w 16095"/>
                <a:gd name="T37" fmla="*/ 8857 h 16095"/>
                <a:gd name="T38" fmla="*/ 6033 w 16095"/>
                <a:gd name="T39" fmla="*/ 15089 h 16095"/>
                <a:gd name="T40" fmla="*/ 3950 w 16095"/>
                <a:gd name="T41" fmla="*/ 10033 h 16095"/>
                <a:gd name="T42" fmla="*/ 4102 w 16095"/>
                <a:gd name="T43" fmla="*/ 9562 h 16095"/>
                <a:gd name="T44" fmla="*/ 5530 w 16095"/>
                <a:gd name="T45" fmla="*/ 13580 h 16095"/>
                <a:gd name="T46" fmla="*/ 5719 w 16095"/>
                <a:gd name="T47" fmla="*/ 14249 h 16095"/>
                <a:gd name="T48" fmla="*/ 1011 w 16095"/>
                <a:gd name="T49" fmla="*/ 6888 h 16095"/>
                <a:gd name="T50" fmla="*/ 1450 w 16095"/>
                <a:gd name="T51" fmla="*/ 5790 h 16095"/>
                <a:gd name="T52" fmla="*/ 5402 w 16095"/>
                <a:gd name="T53" fmla="*/ 5717 h 16095"/>
                <a:gd name="T54" fmla="*/ 5075 w 16095"/>
                <a:gd name="T55" fmla="*/ 6548 h 16095"/>
                <a:gd name="T56" fmla="*/ 5075 w 16095"/>
                <a:gd name="T57" fmla="*/ 7536 h 16095"/>
                <a:gd name="T58" fmla="*/ 5402 w 16095"/>
                <a:gd name="T59" fmla="*/ 8367 h 16095"/>
                <a:gd name="T60" fmla="*/ 1450 w 16095"/>
                <a:gd name="T61" fmla="*/ 8293 h 16095"/>
                <a:gd name="T62" fmla="*/ 1011 w 16095"/>
                <a:gd name="T63" fmla="*/ 7196 h 16095"/>
                <a:gd name="T64" fmla="*/ 10133 w 16095"/>
                <a:gd name="T65" fmla="*/ 5623 h 16095"/>
                <a:gd name="T66" fmla="*/ 12279 w 16095"/>
                <a:gd name="T67" fmla="*/ 5974 h 16095"/>
                <a:gd name="T68" fmla="*/ 12569 w 16095"/>
                <a:gd name="T69" fmla="*/ 7196 h 16095"/>
                <a:gd name="T70" fmla="*/ 12131 w 16095"/>
                <a:gd name="T71" fmla="*/ 8293 h 16095"/>
                <a:gd name="T72" fmla="*/ 10100 w 16095"/>
                <a:gd name="T73" fmla="*/ 8092 h 16095"/>
                <a:gd name="T74" fmla="*/ 12017 w 16095"/>
                <a:gd name="T75" fmla="*/ 72 h 16095"/>
                <a:gd name="T76" fmla="*/ 10628 w 16095"/>
                <a:gd name="T77" fmla="*/ 1060 h 16095"/>
                <a:gd name="T78" fmla="*/ 9332 w 16095"/>
                <a:gd name="T79" fmla="*/ 3046 h 16095"/>
                <a:gd name="T80" fmla="*/ 7289 w 16095"/>
                <a:gd name="T81" fmla="*/ 4450 h 16095"/>
                <a:gd name="T82" fmla="*/ 1045 w 16095"/>
                <a:gd name="T83" fmla="*/ 4826 h 16095"/>
                <a:gd name="T84" fmla="*/ 40 w 16095"/>
                <a:gd name="T85" fmla="*/ 6529 h 16095"/>
                <a:gd name="T86" fmla="*/ 454 w 16095"/>
                <a:gd name="T87" fmla="*/ 8650 h 16095"/>
                <a:gd name="T88" fmla="*/ 2012 w 16095"/>
                <a:gd name="T89" fmla="*/ 9556 h 16095"/>
                <a:gd name="T90" fmla="*/ 2785 w 16095"/>
                <a:gd name="T91" fmla="*/ 9924 h 16095"/>
                <a:gd name="T92" fmla="*/ 3026 w 16095"/>
                <a:gd name="T93" fmla="*/ 15242 h 16095"/>
                <a:gd name="T94" fmla="*/ 3500 w 16095"/>
                <a:gd name="T95" fmla="*/ 15949 h 16095"/>
                <a:gd name="T96" fmla="*/ 6332 w 16095"/>
                <a:gd name="T97" fmla="*/ 16050 h 16095"/>
                <a:gd name="T98" fmla="*/ 6960 w 16095"/>
                <a:gd name="T99" fmla="*/ 15480 h 16095"/>
                <a:gd name="T100" fmla="*/ 6942 w 16095"/>
                <a:gd name="T101" fmla="*/ 14220 h 16095"/>
                <a:gd name="T102" fmla="*/ 6548 w 16095"/>
                <a:gd name="T103" fmla="*/ 13658 h 16095"/>
                <a:gd name="T104" fmla="*/ 6615 w 16095"/>
                <a:gd name="T105" fmla="*/ 9807 h 16095"/>
                <a:gd name="T106" fmla="*/ 6860 w 16095"/>
                <a:gd name="T107" fmla="*/ 9606 h 16095"/>
                <a:gd name="T108" fmla="*/ 8713 w 16095"/>
                <a:gd name="T109" fmla="*/ 10411 h 16095"/>
                <a:gd name="T110" fmla="*/ 10205 w 16095"/>
                <a:gd name="T111" fmla="*/ 12386 h 16095"/>
                <a:gd name="T112" fmla="*/ 11427 w 16095"/>
                <a:gd name="T113" fmla="*/ 13755 h 16095"/>
                <a:gd name="T114" fmla="*/ 13576 w 16095"/>
                <a:gd name="T115" fmla="*/ 13838 h 16095"/>
                <a:gd name="T116" fmla="*/ 15810 w 16095"/>
                <a:gd name="T117" fmla="*/ 9925 h 16095"/>
                <a:gd name="T118" fmla="*/ 15810 w 16095"/>
                <a:gd name="T119" fmla="*/ 4159 h 16095"/>
                <a:gd name="T120" fmla="*/ 13576 w 16095"/>
                <a:gd name="T121" fmla="*/ 245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095" h="16095">
                  <a:moveTo>
                    <a:pt x="12574" y="13077"/>
                  </a:moveTo>
                  <a:lnTo>
                    <a:pt x="12480" y="13073"/>
                  </a:lnTo>
                  <a:lnTo>
                    <a:pt x="12386" y="13060"/>
                  </a:lnTo>
                  <a:lnTo>
                    <a:pt x="12293" y="13040"/>
                  </a:lnTo>
                  <a:lnTo>
                    <a:pt x="12201" y="13011"/>
                  </a:lnTo>
                  <a:lnTo>
                    <a:pt x="12110" y="12975"/>
                  </a:lnTo>
                  <a:lnTo>
                    <a:pt x="12021" y="12930"/>
                  </a:lnTo>
                  <a:lnTo>
                    <a:pt x="11932" y="12878"/>
                  </a:lnTo>
                  <a:lnTo>
                    <a:pt x="11845" y="12819"/>
                  </a:lnTo>
                  <a:lnTo>
                    <a:pt x="11759" y="12752"/>
                  </a:lnTo>
                  <a:lnTo>
                    <a:pt x="11675" y="12679"/>
                  </a:lnTo>
                  <a:lnTo>
                    <a:pt x="11591" y="12598"/>
                  </a:lnTo>
                  <a:lnTo>
                    <a:pt x="11510" y="12511"/>
                  </a:lnTo>
                  <a:lnTo>
                    <a:pt x="11430" y="12416"/>
                  </a:lnTo>
                  <a:lnTo>
                    <a:pt x="11352" y="12316"/>
                  </a:lnTo>
                  <a:lnTo>
                    <a:pt x="11276" y="12209"/>
                  </a:lnTo>
                  <a:lnTo>
                    <a:pt x="11201" y="12095"/>
                  </a:lnTo>
                  <a:lnTo>
                    <a:pt x="11128" y="11977"/>
                  </a:lnTo>
                  <a:lnTo>
                    <a:pt x="11056" y="11851"/>
                  </a:lnTo>
                  <a:lnTo>
                    <a:pt x="10988" y="11720"/>
                  </a:lnTo>
                  <a:lnTo>
                    <a:pt x="10920" y="11583"/>
                  </a:lnTo>
                  <a:lnTo>
                    <a:pt x="10855" y="11441"/>
                  </a:lnTo>
                  <a:lnTo>
                    <a:pt x="10792" y="11294"/>
                  </a:lnTo>
                  <a:lnTo>
                    <a:pt x="10731" y="11141"/>
                  </a:lnTo>
                  <a:lnTo>
                    <a:pt x="10672" y="10983"/>
                  </a:lnTo>
                  <a:lnTo>
                    <a:pt x="10616" y="10820"/>
                  </a:lnTo>
                  <a:lnTo>
                    <a:pt x="10561" y="10653"/>
                  </a:lnTo>
                  <a:lnTo>
                    <a:pt x="10510" y="10481"/>
                  </a:lnTo>
                  <a:lnTo>
                    <a:pt x="10461" y="10304"/>
                  </a:lnTo>
                  <a:lnTo>
                    <a:pt x="10414" y="10123"/>
                  </a:lnTo>
                  <a:lnTo>
                    <a:pt x="10370" y="9939"/>
                  </a:lnTo>
                  <a:lnTo>
                    <a:pt x="10329" y="9750"/>
                  </a:lnTo>
                  <a:lnTo>
                    <a:pt x="10291" y="9556"/>
                  </a:lnTo>
                  <a:lnTo>
                    <a:pt x="11568" y="9556"/>
                  </a:lnTo>
                  <a:lnTo>
                    <a:pt x="11673" y="9553"/>
                  </a:lnTo>
                  <a:lnTo>
                    <a:pt x="11777" y="9543"/>
                  </a:lnTo>
                  <a:lnTo>
                    <a:pt x="11878" y="9528"/>
                  </a:lnTo>
                  <a:lnTo>
                    <a:pt x="11979" y="9506"/>
                  </a:lnTo>
                  <a:lnTo>
                    <a:pt x="12076" y="9479"/>
                  </a:lnTo>
                  <a:lnTo>
                    <a:pt x="12173" y="9445"/>
                  </a:lnTo>
                  <a:lnTo>
                    <a:pt x="12266" y="9407"/>
                  </a:lnTo>
                  <a:lnTo>
                    <a:pt x="12358" y="9362"/>
                  </a:lnTo>
                  <a:lnTo>
                    <a:pt x="12447" y="9312"/>
                  </a:lnTo>
                  <a:lnTo>
                    <a:pt x="12535" y="9258"/>
                  </a:lnTo>
                  <a:lnTo>
                    <a:pt x="12618" y="9197"/>
                  </a:lnTo>
                  <a:lnTo>
                    <a:pt x="12700" y="9133"/>
                  </a:lnTo>
                  <a:lnTo>
                    <a:pt x="12779" y="9063"/>
                  </a:lnTo>
                  <a:lnTo>
                    <a:pt x="12855" y="8989"/>
                  </a:lnTo>
                  <a:lnTo>
                    <a:pt x="12927" y="8911"/>
                  </a:lnTo>
                  <a:lnTo>
                    <a:pt x="12997" y="8828"/>
                  </a:lnTo>
                  <a:lnTo>
                    <a:pt x="13063" y="8742"/>
                  </a:lnTo>
                  <a:lnTo>
                    <a:pt x="13126" y="8650"/>
                  </a:lnTo>
                  <a:lnTo>
                    <a:pt x="13186" y="8555"/>
                  </a:lnTo>
                  <a:lnTo>
                    <a:pt x="13241" y="8457"/>
                  </a:lnTo>
                  <a:lnTo>
                    <a:pt x="13292" y="8355"/>
                  </a:lnTo>
                  <a:lnTo>
                    <a:pt x="13341" y="8250"/>
                  </a:lnTo>
                  <a:lnTo>
                    <a:pt x="13385" y="8141"/>
                  </a:lnTo>
                  <a:lnTo>
                    <a:pt x="13424" y="8029"/>
                  </a:lnTo>
                  <a:lnTo>
                    <a:pt x="13460" y="7915"/>
                  </a:lnTo>
                  <a:lnTo>
                    <a:pt x="13492" y="7798"/>
                  </a:lnTo>
                  <a:lnTo>
                    <a:pt x="13518" y="7677"/>
                  </a:lnTo>
                  <a:lnTo>
                    <a:pt x="13540" y="7555"/>
                  </a:lnTo>
                  <a:lnTo>
                    <a:pt x="13557" y="7430"/>
                  </a:lnTo>
                  <a:lnTo>
                    <a:pt x="13570" y="7302"/>
                  </a:lnTo>
                  <a:lnTo>
                    <a:pt x="13577" y="7173"/>
                  </a:lnTo>
                  <a:lnTo>
                    <a:pt x="13580" y="7042"/>
                  </a:lnTo>
                  <a:lnTo>
                    <a:pt x="13577" y="6911"/>
                  </a:lnTo>
                  <a:lnTo>
                    <a:pt x="13570" y="6781"/>
                  </a:lnTo>
                  <a:lnTo>
                    <a:pt x="13557" y="6653"/>
                  </a:lnTo>
                  <a:lnTo>
                    <a:pt x="13540" y="6529"/>
                  </a:lnTo>
                  <a:lnTo>
                    <a:pt x="13518" y="6406"/>
                  </a:lnTo>
                  <a:lnTo>
                    <a:pt x="13492" y="6286"/>
                  </a:lnTo>
                  <a:lnTo>
                    <a:pt x="13460" y="6168"/>
                  </a:lnTo>
                  <a:lnTo>
                    <a:pt x="13424" y="6054"/>
                  </a:lnTo>
                  <a:lnTo>
                    <a:pt x="13385" y="5942"/>
                  </a:lnTo>
                  <a:lnTo>
                    <a:pt x="13341" y="5833"/>
                  </a:lnTo>
                  <a:lnTo>
                    <a:pt x="13292" y="5728"/>
                  </a:lnTo>
                  <a:lnTo>
                    <a:pt x="13241" y="5626"/>
                  </a:lnTo>
                  <a:lnTo>
                    <a:pt x="13186" y="5528"/>
                  </a:lnTo>
                  <a:lnTo>
                    <a:pt x="13126" y="5433"/>
                  </a:lnTo>
                  <a:lnTo>
                    <a:pt x="13063" y="5343"/>
                  </a:lnTo>
                  <a:lnTo>
                    <a:pt x="12997" y="5255"/>
                  </a:lnTo>
                  <a:lnTo>
                    <a:pt x="12927" y="5173"/>
                  </a:lnTo>
                  <a:lnTo>
                    <a:pt x="12855" y="5094"/>
                  </a:lnTo>
                  <a:lnTo>
                    <a:pt x="12779" y="5020"/>
                  </a:lnTo>
                  <a:lnTo>
                    <a:pt x="12700" y="4950"/>
                  </a:lnTo>
                  <a:lnTo>
                    <a:pt x="12618" y="4886"/>
                  </a:lnTo>
                  <a:lnTo>
                    <a:pt x="12535" y="4826"/>
                  </a:lnTo>
                  <a:lnTo>
                    <a:pt x="12447" y="4771"/>
                  </a:lnTo>
                  <a:lnTo>
                    <a:pt x="12358" y="4722"/>
                  </a:lnTo>
                  <a:lnTo>
                    <a:pt x="12266" y="4677"/>
                  </a:lnTo>
                  <a:lnTo>
                    <a:pt x="12173" y="4638"/>
                  </a:lnTo>
                  <a:lnTo>
                    <a:pt x="12076" y="4604"/>
                  </a:lnTo>
                  <a:lnTo>
                    <a:pt x="11979" y="4577"/>
                  </a:lnTo>
                  <a:lnTo>
                    <a:pt x="11878" y="4555"/>
                  </a:lnTo>
                  <a:lnTo>
                    <a:pt x="11777" y="4540"/>
                  </a:lnTo>
                  <a:lnTo>
                    <a:pt x="11673" y="4530"/>
                  </a:lnTo>
                  <a:lnTo>
                    <a:pt x="11568" y="4527"/>
                  </a:lnTo>
                  <a:lnTo>
                    <a:pt x="10291" y="4527"/>
                  </a:lnTo>
                  <a:lnTo>
                    <a:pt x="10329" y="4334"/>
                  </a:lnTo>
                  <a:lnTo>
                    <a:pt x="10370" y="4145"/>
                  </a:lnTo>
                  <a:lnTo>
                    <a:pt x="10414" y="3960"/>
                  </a:lnTo>
                  <a:lnTo>
                    <a:pt x="10461" y="3779"/>
                  </a:lnTo>
                  <a:lnTo>
                    <a:pt x="10510" y="3603"/>
                  </a:lnTo>
                  <a:lnTo>
                    <a:pt x="10561" y="3431"/>
                  </a:lnTo>
                  <a:lnTo>
                    <a:pt x="10616" y="3263"/>
                  </a:lnTo>
                  <a:lnTo>
                    <a:pt x="10672" y="3101"/>
                  </a:lnTo>
                  <a:lnTo>
                    <a:pt x="10731" y="2943"/>
                  </a:lnTo>
                  <a:lnTo>
                    <a:pt x="10792" y="2790"/>
                  </a:lnTo>
                  <a:lnTo>
                    <a:pt x="10855" y="2643"/>
                  </a:lnTo>
                  <a:lnTo>
                    <a:pt x="10920" y="2501"/>
                  </a:lnTo>
                  <a:lnTo>
                    <a:pt x="10988" y="2364"/>
                  </a:lnTo>
                  <a:lnTo>
                    <a:pt x="11056" y="2232"/>
                  </a:lnTo>
                  <a:lnTo>
                    <a:pt x="11128" y="2107"/>
                  </a:lnTo>
                  <a:lnTo>
                    <a:pt x="11201" y="1988"/>
                  </a:lnTo>
                  <a:lnTo>
                    <a:pt x="11276" y="1874"/>
                  </a:lnTo>
                  <a:lnTo>
                    <a:pt x="11352" y="1767"/>
                  </a:lnTo>
                  <a:lnTo>
                    <a:pt x="11430" y="1667"/>
                  </a:lnTo>
                  <a:lnTo>
                    <a:pt x="11510" y="1572"/>
                  </a:lnTo>
                  <a:lnTo>
                    <a:pt x="11591" y="1485"/>
                  </a:lnTo>
                  <a:lnTo>
                    <a:pt x="11675" y="1404"/>
                  </a:lnTo>
                  <a:lnTo>
                    <a:pt x="11759" y="1331"/>
                  </a:lnTo>
                  <a:lnTo>
                    <a:pt x="11845" y="1264"/>
                  </a:lnTo>
                  <a:lnTo>
                    <a:pt x="11932" y="1205"/>
                  </a:lnTo>
                  <a:lnTo>
                    <a:pt x="12021" y="1153"/>
                  </a:lnTo>
                  <a:lnTo>
                    <a:pt x="12110" y="1109"/>
                  </a:lnTo>
                  <a:lnTo>
                    <a:pt x="12201" y="1072"/>
                  </a:lnTo>
                  <a:lnTo>
                    <a:pt x="12293" y="1043"/>
                  </a:lnTo>
                  <a:lnTo>
                    <a:pt x="12386" y="1023"/>
                  </a:lnTo>
                  <a:lnTo>
                    <a:pt x="12480" y="1010"/>
                  </a:lnTo>
                  <a:lnTo>
                    <a:pt x="12574" y="1006"/>
                  </a:lnTo>
                  <a:lnTo>
                    <a:pt x="12704" y="1014"/>
                  </a:lnTo>
                  <a:lnTo>
                    <a:pt x="12832" y="1037"/>
                  </a:lnTo>
                  <a:lnTo>
                    <a:pt x="12957" y="1075"/>
                  </a:lnTo>
                  <a:lnTo>
                    <a:pt x="13081" y="1129"/>
                  </a:lnTo>
                  <a:lnTo>
                    <a:pt x="13203" y="1196"/>
                  </a:lnTo>
                  <a:lnTo>
                    <a:pt x="13323" y="1278"/>
                  </a:lnTo>
                  <a:lnTo>
                    <a:pt x="13439" y="1372"/>
                  </a:lnTo>
                  <a:lnTo>
                    <a:pt x="13553" y="1480"/>
                  </a:lnTo>
                  <a:lnTo>
                    <a:pt x="13665" y="1601"/>
                  </a:lnTo>
                  <a:lnTo>
                    <a:pt x="13773" y="1734"/>
                  </a:lnTo>
                  <a:lnTo>
                    <a:pt x="13878" y="1880"/>
                  </a:lnTo>
                  <a:lnTo>
                    <a:pt x="13981" y="2037"/>
                  </a:lnTo>
                  <a:lnTo>
                    <a:pt x="14079" y="2205"/>
                  </a:lnTo>
                  <a:lnTo>
                    <a:pt x="14174" y="2384"/>
                  </a:lnTo>
                  <a:lnTo>
                    <a:pt x="14265" y="2574"/>
                  </a:lnTo>
                  <a:lnTo>
                    <a:pt x="14353" y="2773"/>
                  </a:lnTo>
                  <a:lnTo>
                    <a:pt x="14436" y="2984"/>
                  </a:lnTo>
                  <a:lnTo>
                    <a:pt x="14515" y="3202"/>
                  </a:lnTo>
                  <a:lnTo>
                    <a:pt x="14589" y="3430"/>
                  </a:lnTo>
                  <a:lnTo>
                    <a:pt x="14660" y="3667"/>
                  </a:lnTo>
                  <a:lnTo>
                    <a:pt x="14725" y="3912"/>
                  </a:lnTo>
                  <a:lnTo>
                    <a:pt x="14785" y="4165"/>
                  </a:lnTo>
                  <a:lnTo>
                    <a:pt x="14841" y="4425"/>
                  </a:lnTo>
                  <a:lnTo>
                    <a:pt x="14892" y="4693"/>
                  </a:lnTo>
                  <a:lnTo>
                    <a:pt x="14936" y="4966"/>
                  </a:lnTo>
                  <a:lnTo>
                    <a:pt x="14976" y="5247"/>
                  </a:lnTo>
                  <a:lnTo>
                    <a:pt x="15010" y="5534"/>
                  </a:lnTo>
                  <a:lnTo>
                    <a:pt x="15038" y="5825"/>
                  </a:lnTo>
                  <a:lnTo>
                    <a:pt x="15060" y="6122"/>
                  </a:lnTo>
                  <a:lnTo>
                    <a:pt x="15076" y="6425"/>
                  </a:lnTo>
                  <a:lnTo>
                    <a:pt x="15086" y="6731"/>
                  </a:lnTo>
                  <a:lnTo>
                    <a:pt x="15089" y="7042"/>
                  </a:lnTo>
                  <a:lnTo>
                    <a:pt x="15086" y="7352"/>
                  </a:lnTo>
                  <a:lnTo>
                    <a:pt x="15076" y="7658"/>
                  </a:lnTo>
                  <a:lnTo>
                    <a:pt x="15060" y="7961"/>
                  </a:lnTo>
                  <a:lnTo>
                    <a:pt x="15038" y="8258"/>
                  </a:lnTo>
                  <a:lnTo>
                    <a:pt x="15010" y="8549"/>
                  </a:lnTo>
                  <a:lnTo>
                    <a:pt x="14976" y="8836"/>
                  </a:lnTo>
                  <a:lnTo>
                    <a:pt x="14936" y="9117"/>
                  </a:lnTo>
                  <a:lnTo>
                    <a:pt x="14892" y="9390"/>
                  </a:lnTo>
                  <a:lnTo>
                    <a:pt x="14841" y="9658"/>
                  </a:lnTo>
                  <a:lnTo>
                    <a:pt x="14785" y="9919"/>
                  </a:lnTo>
                  <a:lnTo>
                    <a:pt x="14725" y="10171"/>
                  </a:lnTo>
                  <a:lnTo>
                    <a:pt x="14660" y="10416"/>
                  </a:lnTo>
                  <a:lnTo>
                    <a:pt x="14589" y="10653"/>
                  </a:lnTo>
                  <a:lnTo>
                    <a:pt x="14515" y="10880"/>
                  </a:lnTo>
                  <a:lnTo>
                    <a:pt x="14436" y="11100"/>
                  </a:lnTo>
                  <a:lnTo>
                    <a:pt x="14353" y="11310"/>
                  </a:lnTo>
                  <a:lnTo>
                    <a:pt x="14265" y="11509"/>
                  </a:lnTo>
                  <a:lnTo>
                    <a:pt x="14174" y="11699"/>
                  </a:lnTo>
                  <a:lnTo>
                    <a:pt x="14079" y="11878"/>
                  </a:lnTo>
                  <a:lnTo>
                    <a:pt x="13981" y="12046"/>
                  </a:lnTo>
                  <a:lnTo>
                    <a:pt x="13878" y="12203"/>
                  </a:lnTo>
                  <a:lnTo>
                    <a:pt x="13773" y="12349"/>
                  </a:lnTo>
                  <a:lnTo>
                    <a:pt x="13665" y="12482"/>
                  </a:lnTo>
                  <a:lnTo>
                    <a:pt x="13553" y="12602"/>
                  </a:lnTo>
                  <a:lnTo>
                    <a:pt x="13439" y="12711"/>
                  </a:lnTo>
                  <a:lnTo>
                    <a:pt x="13323" y="12806"/>
                  </a:lnTo>
                  <a:lnTo>
                    <a:pt x="13203" y="12887"/>
                  </a:lnTo>
                  <a:lnTo>
                    <a:pt x="13081" y="12954"/>
                  </a:lnTo>
                  <a:lnTo>
                    <a:pt x="12957" y="13008"/>
                  </a:lnTo>
                  <a:lnTo>
                    <a:pt x="12832" y="13046"/>
                  </a:lnTo>
                  <a:lnTo>
                    <a:pt x="12704" y="13069"/>
                  </a:lnTo>
                  <a:lnTo>
                    <a:pt x="12574" y="13077"/>
                  </a:lnTo>
                  <a:close/>
                  <a:moveTo>
                    <a:pt x="6652" y="8557"/>
                  </a:moveTo>
                  <a:lnTo>
                    <a:pt x="6539" y="8557"/>
                  </a:lnTo>
                  <a:lnTo>
                    <a:pt x="6539" y="8550"/>
                  </a:lnTo>
                  <a:lnTo>
                    <a:pt x="6487" y="8548"/>
                  </a:lnTo>
                  <a:lnTo>
                    <a:pt x="6436" y="8542"/>
                  </a:lnTo>
                  <a:lnTo>
                    <a:pt x="6386" y="8533"/>
                  </a:lnTo>
                  <a:lnTo>
                    <a:pt x="6335" y="8520"/>
                  </a:lnTo>
                  <a:lnTo>
                    <a:pt x="6287" y="8503"/>
                  </a:lnTo>
                  <a:lnTo>
                    <a:pt x="6240" y="8483"/>
                  </a:lnTo>
                  <a:lnTo>
                    <a:pt x="6193" y="8459"/>
                  </a:lnTo>
                  <a:lnTo>
                    <a:pt x="6147" y="8432"/>
                  </a:lnTo>
                  <a:lnTo>
                    <a:pt x="6102" y="8402"/>
                  </a:lnTo>
                  <a:lnTo>
                    <a:pt x="6059" y="8368"/>
                  </a:lnTo>
                  <a:lnTo>
                    <a:pt x="6017" y="8332"/>
                  </a:lnTo>
                  <a:lnTo>
                    <a:pt x="5976" y="8293"/>
                  </a:lnTo>
                  <a:lnTo>
                    <a:pt x="5937" y="8251"/>
                  </a:lnTo>
                  <a:lnTo>
                    <a:pt x="5899" y="8206"/>
                  </a:lnTo>
                  <a:lnTo>
                    <a:pt x="5863" y="8158"/>
                  </a:lnTo>
                  <a:lnTo>
                    <a:pt x="5827" y="8109"/>
                  </a:lnTo>
                  <a:lnTo>
                    <a:pt x="5794" y="8057"/>
                  </a:lnTo>
                  <a:lnTo>
                    <a:pt x="5762" y="8001"/>
                  </a:lnTo>
                  <a:lnTo>
                    <a:pt x="5733" y="7945"/>
                  </a:lnTo>
                  <a:lnTo>
                    <a:pt x="5705" y="7886"/>
                  </a:lnTo>
                  <a:lnTo>
                    <a:pt x="5679" y="7824"/>
                  </a:lnTo>
                  <a:lnTo>
                    <a:pt x="5654" y="7761"/>
                  </a:lnTo>
                  <a:lnTo>
                    <a:pt x="5632" y="7696"/>
                  </a:lnTo>
                  <a:lnTo>
                    <a:pt x="5611" y="7629"/>
                  </a:lnTo>
                  <a:lnTo>
                    <a:pt x="5594" y="7561"/>
                  </a:lnTo>
                  <a:lnTo>
                    <a:pt x="5578" y="7490"/>
                  </a:lnTo>
                  <a:lnTo>
                    <a:pt x="5564" y="7419"/>
                  </a:lnTo>
                  <a:lnTo>
                    <a:pt x="5553" y="7345"/>
                  </a:lnTo>
                  <a:lnTo>
                    <a:pt x="5544" y="7272"/>
                  </a:lnTo>
                  <a:lnTo>
                    <a:pt x="5538" y="7196"/>
                  </a:lnTo>
                  <a:lnTo>
                    <a:pt x="5534" y="7119"/>
                  </a:lnTo>
                  <a:lnTo>
                    <a:pt x="5533" y="7042"/>
                  </a:lnTo>
                  <a:lnTo>
                    <a:pt x="5534" y="6964"/>
                  </a:lnTo>
                  <a:lnTo>
                    <a:pt x="5538" y="6888"/>
                  </a:lnTo>
                  <a:lnTo>
                    <a:pt x="5544" y="6812"/>
                  </a:lnTo>
                  <a:lnTo>
                    <a:pt x="5553" y="6738"/>
                  </a:lnTo>
                  <a:lnTo>
                    <a:pt x="5564" y="6664"/>
                  </a:lnTo>
                  <a:lnTo>
                    <a:pt x="5578" y="6593"/>
                  </a:lnTo>
                  <a:lnTo>
                    <a:pt x="5594" y="6522"/>
                  </a:lnTo>
                  <a:lnTo>
                    <a:pt x="5611" y="6454"/>
                  </a:lnTo>
                  <a:lnTo>
                    <a:pt x="5632" y="6388"/>
                  </a:lnTo>
                  <a:lnTo>
                    <a:pt x="5654" y="6322"/>
                  </a:lnTo>
                  <a:lnTo>
                    <a:pt x="5679" y="6259"/>
                  </a:lnTo>
                  <a:lnTo>
                    <a:pt x="5705" y="6199"/>
                  </a:lnTo>
                  <a:lnTo>
                    <a:pt x="5733" y="6139"/>
                  </a:lnTo>
                  <a:lnTo>
                    <a:pt x="5762" y="6082"/>
                  </a:lnTo>
                  <a:lnTo>
                    <a:pt x="5794" y="6028"/>
                  </a:lnTo>
                  <a:lnTo>
                    <a:pt x="5827" y="5974"/>
                  </a:lnTo>
                  <a:lnTo>
                    <a:pt x="5863" y="5925"/>
                  </a:lnTo>
                  <a:lnTo>
                    <a:pt x="5899" y="5878"/>
                  </a:lnTo>
                  <a:lnTo>
                    <a:pt x="5937" y="5832"/>
                  </a:lnTo>
                  <a:lnTo>
                    <a:pt x="5976" y="5790"/>
                  </a:lnTo>
                  <a:lnTo>
                    <a:pt x="6017" y="5751"/>
                  </a:lnTo>
                  <a:lnTo>
                    <a:pt x="6059" y="5715"/>
                  </a:lnTo>
                  <a:lnTo>
                    <a:pt x="6102" y="5682"/>
                  </a:lnTo>
                  <a:lnTo>
                    <a:pt x="6147" y="5651"/>
                  </a:lnTo>
                  <a:lnTo>
                    <a:pt x="6193" y="5624"/>
                  </a:lnTo>
                  <a:lnTo>
                    <a:pt x="6240" y="5600"/>
                  </a:lnTo>
                  <a:lnTo>
                    <a:pt x="6287" y="5580"/>
                  </a:lnTo>
                  <a:lnTo>
                    <a:pt x="6335" y="5563"/>
                  </a:lnTo>
                  <a:lnTo>
                    <a:pt x="6386" y="5550"/>
                  </a:lnTo>
                  <a:lnTo>
                    <a:pt x="6436" y="5541"/>
                  </a:lnTo>
                  <a:lnTo>
                    <a:pt x="6487" y="5535"/>
                  </a:lnTo>
                  <a:lnTo>
                    <a:pt x="6539" y="5533"/>
                  </a:lnTo>
                  <a:lnTo>
                    <a:pt x="6652" y="5533"/>
                  </a:lnTo>
                  <a:lnTo>
                    <a:pt x="6741" y="5532"/>
                  </a:lnTo>
                  <a:lnTo>
                    <a:pt x="6829" y="5529"/>
                  </a:lnTo>
                  <a:lnTo>
                    <a:pt x="6917" y="5523"/>
                  </a:lnTo>
                  <a:lnTo>
                    <a:pt x="7004" y="5516"/>
                  </a:lnTo>
                  <a:lnTo>
                    <a:pt x="7092" y="5505"/>
                  </a:lnTo>
                  <a:lnTo>
                    <a:pt x="7178" y="5493"/>
                  </a:lnTo>
                  <a:lnTo>
                    <a:pt x="7265" y="5480"/>
                  </a:lnTo>
                  <a:lnTo>
                    <a:pt x="7351" y="5464"/>
                  </a:lnTo>
                  <a:lnTo>
                    <a:pt x="7437" y="5446"/>
                  </a:lnTo>
                  <a:lnTo>
                    <a:pt x="7522" y="5426"/>
                  </a:lnTo>
                  <a:lnTo>
                    <a:pt x="7607" y="5405"/>
                  </a:lnTo>
                  <a:lnTo>
                    <a:pt x="7691" y="5381"/>
                  </a:lnTo>
                  <a:lnTo>
                    <a:pt x="7775" y="5355"/>
                  </a:lnTo>
                  <a:lnTo>
                    <a:pt x="7858" y="5327"/>
                  </a:lnTo>
                  <a:lnTo>
                    <a:pt x="7941" y="5297"/>
                  </a:lnTo>
                  <a:lnTo>
                    <a:pt x="8023" y="5266"/>
                  </a:lnTo>
                  <a:lnTo>
                    <a:pt x="8106" y="5232"/>
                  </a:lnTo>
                  <a:lnTo>
                    <a:pt x="8187" y="5197"/>
                  </a:lnTo>
                  <a:lnTo>
                    <a:pt x="8268" y="5159"/>
                  </a:lnTo>
                  <a:lnTo>
                    <a:pt x="8348" y="5121"/>
                  </a:lnTo>
                  <a:lnTo>
                    <a:pt x="8429" y="5080"/>
                  </a:lnTo>
                  <a:lnTo>
                    <a:pt x="8508" y="5038"/>
                  </a:lnTo>
                  <a:lnTo>
                    <a:pt x="8587" y="4993"/>
                  </a:lnTo>
                  <a:lnTo>
                    <a:pt x="8665" y="4947"/>
                  </a:lnTo>
                  <a:lnTo>
                    <a:pt x="8743" y="4899"/>
                  </a:lnTo>
                  <a:lnTo>
                    <a:pt x="8820" y="4850"/>
                  </a:lnTo>
                  <a:lnTo>
                    <a:pt x="8897" y="4798"/>
                  </a:lnTo>
                  <a:lnTo>
                    <a:pt x="8973" y="4745"/>
                  </a:lnTo>
                  <a:lnTo>
                    <a:pt x="9048" y="4691"/>
                  </a:lnTo>
                  <a:lnTo>
                    <a:pt x="9123" y="4634"/>
                  </a:lnTo>
                  <a:lnTo>
                    <a:pt x="9197" y="4577"/>
                  </a:lnTo>
                  <a:lnTo>
                    <a:pt x="9271" y="4518"/>
                  </a:lnTo>
                  <a:lnTo>
                    <a:pt x="9245" y="4670"/>
                  </a:lnTo>
                  <a:lnTo>
                    <a:pt x="9220" y="4823"/>
                  </a:lnTo>
                  <a:lnTo>
                    <a:pt x="9197" y="4977"/>
                  </a:lnTo>
                  <a:lnTo>
                    <a:pt x="9176" y="5133"/>
                  </a:lnTo>
                  <a:lnTo>
                    <a:pt x="9156" y="5289"/>
                  </a:lnTo>
                  <a:lnTo>
                    <a:pt x="9139" y="5446"/>
                  </a:lnTo>
                  <a:lnTo>
                    <a:pt x="9123" y="5604"/>
                  </a:lnTo>
                  <a:lnTo>
                    <a:pt x="9108" y="5762"/>
                  </a:lnTo>
                  <a:lnTo>
                    <a:pt x="9096" y="5921"/>
                  </a:lnTo>
                  <a:lnTo>
                    <a:pt x="9085" y="6080"/>
                  </a:lnTo>
                  <a:lnTo>
                    <a:pt x="9075" y="6240"/>
                  </a:lnTo>
                  <a:lnTo>
                    <a:pt x="9068" y="6400"/>
                  </a:lnTo>
                  <a:lnTo>
                    <a:pt x="9061" y="6560"/>
                  </a:lnTo>
                  <a:lnTo>
                    <a:pt x="9056" y="6721"/>
                  </a:lnTo>
                  <a:lnTo>
                    <a:pt x="9054" y="6881"/>
                  </a:lnTo>
                  <a:lnTo>
                    <a:pt x="9053" y="7042"/>
                  </a:lnTo>
                  <a:lnTo>
                    <a:pt x="9054" y="7203"/>
                  </a:lnTo>
                  <a:lnTo>
                    <a:pt x="9056" y="7363"/>
                  </a:lnTo>
                  <a:lnTo>
                    <a:pt x="9061" y="7524"/>
                  </a:lnTo>
                  <a:lnTo>
                    <a:pt x="9068" y="7685"/>
                  </a:lnTo>
                  <a:lnTo>
                    <a:pt x="9075" y="7846"/>
                  </a:lnTo>
                  <a:lnTo>
                    <a:pt x="9085" y="8006"/>
                  </a:lnTo>
                  <a:lnTo>
                    <a:pt x="9096" y="8166"/>
                  </a:lnTo>
                  <a:lnTo>
                    <a:pt x="9108" y="8325"/>
                  </a:lnTo>
                  <a:lnTo>
                    <a:pt x="9123" y="8484"/>
                  </a:lnTo>
                  <a:lnTo>
                    <a:pt x="9139" y="8642"/>
                  </a:lnTo>
                  <a:lnTo>
                    <a:pt x="9157" y="8799"/>
                  </a:lnTo>
                  <a:lnTo>
                    <a:pt x="9176" y="8956"/>
                  </a:lnTo>
                  <a:lnTo>
                    <a:pt x="9198" y="9111"/>
                  </a:lnTo>
                  <a:lnTo>
                    <a:pt x="9220" y="9266"/>
                  </a:lnTo>
                  <a:lnTo>
                    <a:pt x="9246" y="9420"/>
                  </a:lnTo>
                  <a:lnTo>
                    <a:pt x="9272" y="9571"/>
                  </a:lnTo>
                  <a:lnTo>
                    <a:pt x="9198" y="9512"/>
                  </a:lnTo>
                  <a:lnTo>
                    <a:pt x="9124" y="9455"/>
                  </a:lnTo>
                  <a:lnTo>
                    <a:pt x="9049" y="9398"/>
                  </a:lnTo>
                  <a:lnTo>
                    <a:pt x="8974" y="9344"/>
                  </a:lnTo>
                  <a:lnTo>
                    <a:pt x="8898" y="9291"/>
                  </a:lnTo>
                  <a:lnTo>
                    <a:pt x="8821" y="9240"/>
                  </a:lnTo>
                  <a:lnTo>
                    <a:pt x="8744" y="9190"/>
                  </a:lnTo>
                  <a:lnTo>
                    <a:pt x="8666" y="9142"/>
                  </a:lnTo>
                  <a:lnTo>
                    <a:pt x="8588" y="9097"/>
                  </a:lnTo>
                  <a:lnTo>
                    <a:pt x="8508" y="9051"/>
                  </a:lnTo>
                  <a:lnTo>
                    <a:pt x="8429" y="9009"/>
                  </a:lnTo>
                  <a:lnTo>
                    <a:pt x="8349" y="8968"/>
                  </a:lnTo>
                  <a:lnTo>
                    <a:pt x="8269" y="8930"/>
                  </a:lnTo>
                  <a:lnTo>
                    <a:pt x="8187" y="8892"/>
                  </a:lnTo>
                  <a:lnTo>
                    <a:pt x="8106" y="8857"/>
                  </a:lnTo>
                  <a:lnTo>
                    <a:pt x="8024" y="8823"/>
                  </a:lnTo>
                  <a:lnTo>
                    <a:pt x="7942" y="8792"/>
                  </a:lnTo>
                  <a:lnTo>
                    <a:pt x="7858" y="8762"/>
                  </a:lnTo>
                  <a:lnTo>
                    <a:pt x="7775" y="8735"/>
                  </a:lnTo>
                  <a:lnTo>
                    <a:pt x="7691" y="8708"/>
                  </a:lnTo>
                  <a:lnTo>
                    <a:pt x="7607" y="8684"/>
                  </a:lnTo>
                  <a:lnTo>
                    <a:pt x="7522" y="8662"/>
                  </a:lnTo>
                  <a:lnTo>
                    <a:pt x="7437" y="8643"/>
                  </a:lnTo>
                  <a:lnTo>
                    <a:pt x="7351" y="8625"/>
                  </a:lnTo>
                  <a:lnTo>
                    <a:pt x="7265" y="8609"/>
                  </a:lnTo>
                  <a:lnTo>
                    <a:pt x="7178" y="8595"/>
                  </a:lnTo>
                  <a:lnTo>
                    <a:pt x="7092" y="8584"/>
                  </a:lnTo>
                  <a:lnTo>
                    <a:pt x="7004" y="8574"/>
                  </a:lnTo>
                  <a:lnTo>
                    <a:pt x="6917" y="8567"/>
                  </a:lnTo>
                  <a:lnTo>
                    <a:pt x="6829" y="8561"/>
                  </a:lnTo>
                  <a:lnTo>
                    <a:pt x="6741" y="8558"/>
                  </a:lnTo>
                  <a:lnTo>
                    <a:pt x="6652" y="8557"/>
                  </a:lnTo>
                  <a:close/>
                  <a:moveTo>
                    <a:pt x="6033" y="15089"/>
                  </a:moveTo>
                  <a:lnTo>
                    <a:pt x="4021" y="15089"/>
                  </a:lnTo>
                  <a:lnTo>
                    <a:pt x="4021" y="10562"/>
                  </a:lnTo>
                  <a:lnTo>
                    <a:pt x="4021" y="10528"/>
                  </a:lnTo>
                  <a:lnTo>
                    <a:pt x="4020" y="10494"/>
                  </a:lnTo>
                  <a:lnTo>
                    <a:pt x="4018" y="10460"/>
                  </a:lnTo>
                  <a:lnTo>
                    <a:pt x="4016" y="10426"/>
                  </a:lnTo>
                  <a:lnTo>
                    <a:pt x="4014" y="10392"/>
                  </a:lnTo>
                  <a:lnTo>
                    <a:pt x="4011" y="10359"/>
                  </a:lnTo>
                  <a:lnTo>
                    <a:pt x="4007" y="10325"/>
                  </a:lnTo>
                  <a:lnTo>
                    <a:pt x="4003" y="10292"/>
                  </a:lnTo>
                  <a:lnTo>
                    <a:pt x="3998" y="10260"/>
                  </a:lnTo>
                  <a:lnTo>
                    <a:pt x="3993" y="10226"/>
                  </a:lnTo>
                  <a:lnTo>
                    <a:pt x="3987" y="10193"/>
                  </a:lnTo>
                  <a:lnTo>
                    <a:pt x="3980" y="10161"/>
                  </a:lnTo>
                  <a:lnTo>
                    <a:pt x="3973" y="10129"/>
                  </a:lnTo>
                  <a:lnTo>
                    <a:pt x="3966" y="10097"/>
                  </a:lnTo>
                  <a:lnTo>
                    <a:pt x="3958" y="10064"/>
                  </a:lnTo>
                  <a:lnTo>
                    <a:pt x="3950" y="10033"/>
                  </a:lnTo>
                  <a:lnTo>
                    <a:pt x="3941" y="10002"/>
                  </a:lnTo>
                  <a:lnTo>
                    <a:pt x="3932" y="9970"/>
                  </a:lnTo>
                  <a:lnTo>
                    <a:pt x="3922" y="9940"/>
                  </a:lnTo>
                  <a:lnTo>
                    <a:pt x="3912" y="9908"/>
                  </a:lnTo>
                  <a:lnTo>
                    <a:pt x="3901" y="9877"/>
                  </a:lnTo>
                  <a:lnTo>
                    <a:pt x="3890" y="9847"/>
                  </a:lnTo>
                  <a:lnTo>
                    <a:pt x="3878" y="9817"/>
                  </a:lnTo>
                  <a:lnTo>
                    <a:pt x="3866" y="9787"/>
                  </a:lnTo>
                  <a:lnTo>
                    <a:pt x="3853" y="9758"/>
                  </a:lnTo>
                  <a:lnTo>
                    <a:pt x="3840" y="9728"/>
                  </a:lnTo>
                  <a:lnTo>
                    <a:pt x="3826" y="9698"/>
                  </a:lnTo>
                  <a:lnTo>
                    <a:pt x="3811" y="9670"/>
                  </a:lnTo>
                  <a:lnTo>
                    <a:pt x="3797" y="9641"/>
                  </a:lnTo>
                  <a:lnTo>
                    <a:pt x="3782" y="9613"/>
                  </a:lnTo>
                  <a:lnTo>
                    <a:pt x="3766" y="9585"/>
                  </a:lnTo>
                  <a:lnTo>
                    <a:pt x="3750" y="9556"/>
                  </a:lnTo>
                  <a:lnTo>
                    <a:pt x="4102" y="9556"/>
                  </a:lnTo>
                  <a:lnTo>
                    <a:pt x="4102" y="9562"/>
                  </a:lnTo>
                  <a:lnTo>
                    <a:pt x="5615" y="9562"/>
                  </a:lnTo>
                  <a:lnTo>
                    <a:pt x="5605" y="9592"/>
                  </a:lnTo>
                  <a:lnTo>
                    <a:pt x="5596" y="9622"/>
                  </a:lnTo>
                  <a:lnTo>
                    <a:pt x="5587" y="9651"/>
                  </a:lnTo>
                  <a:lnTo>
                    <a:pt x="5579" y="9681"/>
                  </a:lnTo>
                  <a:lnTo>
                    <a:pt x="5572" y="9711"/>
                  </a:lnTo>
                  <a:lnTo>
                    <a:pt x="5565" y="9743"/>
                  </a:lnTo>
                  <a:lnTo>
                    <a:pt x="5558" y="9773"/>
                  </a:lnTo>
                  <a:lnTo>
                    <a:pt x="5552" y="9804"/>
                  </a:lnTo>
                  <a:lnTo>
                    <a:pt x="5547" y="9835"/>
                  </a:lnTo>
                  <a:lnTo>
                    <a:pt x="5543" y="9866"/>
                  </a:lnTo>
                  <a:lnTo>
                    <a:pt x="5539" y="9897"/>
                  </a:lnTo>
                  <a:lnTo>
                    <a:pt x="5536" y="9930"/>
                  </a:lnTo>
                  <a:lnTo>
                    <a:pt x="5533" y="9962"/>
                  </a:lnTo>
                  <a:lnTo>
                    <a:pt x="5531" y="9994"/>
                  </a:lnTo>
                  <a:lnTo>
                    <a:pt x="5530" y="10026"/>
                  </a:lnTo>
                  <a:lnTo>
                    <a:pt x="5530" y="10059"/>
                  </a:lnTo>
                  <a:lnTo>
                    <a:pt x="5530" y="13580"/>
                  </a:lnTo>
                  <a:lnTo>
                    <a:pt x="5531" y="13625"/>
                  </a:lnTo>
                  <a:lnTo>
                    <a:pt x="5533" y="13669"/>
                  </a:lnTo>
                  <a:lnTo>
                    <a:pt x="5537" y="13712"/>
                  </a:lnTo>
                  <a:lnTo>
                    <a:pt x="5542" y="13754"/>
                  </a:lnTo>
                  <a:lnTo>
                    <a:pt x="5548" y="13795"/>
                  </a:lnTo>
                  <a:lnTo>
                    <a:pt x="5556" y="13836"/>
                  </a:lnTo>
                  <a:lnTo>
                    <a:pt x="5565" y="13875"/>
                  </a:lnTo>
                  <a:lnTo>
                    <a:pt x="5575" y="13913"/>
                  </a:lnTo>
                  <a:lnTo>
                    <a:pt x="5585" y="13951"/>
                  </a:lnTo>
                  <a:lnTo>
                    <a:pt x="5597" y="13988"/>
                  </a:lnTo>
                  <a:lnTo>
                    <a:pt x="5610" y="14024"/>
                  </a:lnTo>
                  <a:lnTo>
                    <a:pt x="5624" y="14058"/>
                  </a:lnTo>
                  <a:lnTo>
                    <a:pt x="5638" y="14092"/>
                  </a:lnTo>
                  <a:lnTo>
                    <a:pt x="5653" y="14125"/>
                  </a:lnTo>
                  <a:lnTo>
                    <a:pt x="5669" y="14158"/>
                  </a:lnTo>
                  <a:lnTo>
                    <a:pt x="5686" y="14189"/>
                  </a:lnTo>
                  <a:lnTo>
                    <a:pt x="5702" y="14220"/>
                  </a:lnTo>
                  <a:lnTo>
                    <a:pt x="5719" y="14249"/>
                  </a:lnTo>
                  <a:lnTo>
                    <a:pt x="5737" y="14278"/>
                  </a:lnTo>
                  <a:lnTo>
                    <a:pt x="5754" y="14306"/>
                  </a:lnTo>
                  <a:lnTo>
                    <a:pt x="5772" y="14334"/>
                  </a:lnTo>
                  <a:lnTo>
                    <a:pt x="5790" y="14360"/>
                  </a:lnTo>
                  <a:lnTo>
                    <a:pt x="5808" y="14385"/>
                  </a:lnTo>
                  <a:lnTo>
                    <a:pt x="5826" y="14410"/>
                  </a:lnTo>
                  <a:lnTo>
                    <a:pt x="5863" y="14457"/>
                  </a:lnTo>
                  <a:lnTo>
                    <a:pt x="5897" y="14501"/>
                  </a:lnTo>
                  <a:lnTo>
                    <a:pt x="5931" y="14542"/>
                  </a:lnTo>
                  <a:lnTo>
                    <a:pt x="5962" y="14579"/>
                  </a:lnTo>
                  <a:lnTo>
                    <a:pt x="5979" y="14599"/>
                  </a:lnTo>
                  <a:lnTo>
                    <a:pt x="5997" y="14620"/>
                  </a:lnTo>
                  <a:lnTo>
                    <a:pt x="6016" y="14641"/>
                  </a:lnTo>
                  <a:lnTo>
                    <a:pt x="6033" y="14663"/>
                  </a:lnTo>
                  <a:lnTo>
                    <a:pt x="6033" y="15089"/>
                  </a:lnTo>
                  <a:close/>
                  <a:moveTo>
                    <a:pt x="1006" y="7042"/>
                  </a:moveTo>
                  <a:lnTo>
                    <a:pt x="1007" y="6964"/>
                  </a:lnTo>
                  <a:lnTo>
                    <a:pt x="1011" y="6888"/>
                  </a:lnTo>
                  <a:lnTo>
                    <a:pt x="1017" y="6812"/>
                  </a:lnTo>
                  <a:lnTo>
                    <a:pt x="1026" y="6738"/>
                  </a:lnTo>
                  <a:lnTo>
                    <a:pt x="1037" y="6664"/>
                  </a:lnTo>
                  <a:lnTo>
                    <a:pt x="1051" y="6593"/>
                  </a:lnTo>
                  <a:lnTo>
                    <a:pt x="1067" y="6522"/>
                  </a:lnTo>
                  <a:lnTo>
                    <a:pt x="1085" y="6454"/>
                  </a:lnTo>
                  <a:lnTo>
                    <a:pt x="1106" y="6388"/>
                  </a:lnTo>
                  <a:lnTo>
                    <a:pt x="1128" y="6322"/>
                  </a:lnTo>
                  <a:lnTo>
                    <a:pt x="1152" y="6259"/>
                  </a:lnTo>
                  <a:lnTo>
                    <a:pt x="1178" y="6199"/>
                  </a:lnTo>
                  <a:lnTo>
                    <a:pt x="1206" y="6139"/>
                  </a:lnTo>
                  <a:lnTo>
                    <a:pt x="1235" y="6082"/>
                  </a:lnTo>
                  <a:lnTo>
                    <a:pt x="1267" y="6028"/>
                  </a:lnTo>
                  <a:lnTo>
                    <a:pt x="1301" y="5974"/>
                  </a:lnTo>
                  <a:lnTo>
                    <a:pt x="1336" y="5925"/>
                  </a:lnTo>
                  <a:lnTo>
                    <a:pt x="1372" y="5878"/>
                  </a:lnTo>
                  <a:lnTo>
                    <a:pt x="1410" y="5832"/>
                  </a:lnTo>
                  <a:lnTo>
                    <a:pt x="1450" y="5790"/>
                  </a:lnTo>
                  <a:lnTo>
                    <a:pt x="1490" y="5751"/>
                  </a:lnTo>
                  <a:lnTo>
                    <a:pt x="1532" y="5715"/>
                  </a:lnTo>
                  <a:lnTo>
                    <a:pt x="1575" y="5682"/>
                  </a:lnTo>
                  <a:lnTo>
                    <a:pt x="1621" y="5651"/>
                  </a:lnTo>
                  <a:lnTo>
                    <a:pt x="1666" y="5624"/>
                  </a:lnTo>
                  <a:lnTo>
                    <a:pt x="1713" y="5600"/>
                  </a:lnTo>
                  <a:lnTo>
                    <a:pt x="1760" y="5580"/>
                  </a:lnTo>
                  <a:lnTo>
                    <a:pt x="1809" y="5563"/>
                  </a:lnTo>
                  <a:lnTo>
                    <a:pt x="1859" y="5550"/>
                  </a:lnTo>
                  <a:lnTo>
                    <a:pt x="1909" y="5541"/>
                  </a:lnTo>
                  <a:lnTo>
                    <a:pt x="1960" y="5535"/>
                  </a:lnTo>
                  <a:lnTo>
                    <a:pt x="2012" y="5533"/>
                  </a:lnTo>
                  <a:lnTo>
                    <a:pt x="5540" y="5533"/>
                  </a:lnTo>
                  <a:lnTo>
                    <a:pt x="5511" y="5568"/>
                  </a:lnTo>
                  <a:lnTo>
                    <a:pt x="5482" y="5603"/>
                  </a:lnTo>
                  <a:lnTo>
                    <a:pt x="5455" y="5640"/>
                  </a:lnTo>
                  <a:lnTo>
                    <a:pt x="5428" y="5678"/>
                  </a:lnTo>
                  <a:lnTo>
                    <a:pt x="5402" y="5717"/>
                  </a:lnTo>
                  <a:lnTo>
                    <a:pt x="5377" y="5756"/>
                  </a:lnTo>
                  <a:lnTo>
                    <a:pt x="5352" y="5796"/>
                  </a:lnTo>
                  <a:lnTo>
                    <a:pt x="5328" y="5837"/>
                  </a:lnTo>
                  <a:lnTo>
                    <a:pt x="5305" y="5880"/>
                  </a:lnTo>
                  <a:lnTo>
                    <a:pt x="5283" y="5922"/>
                  </a:lnTo>
                  <a:lnTo>
                    <a:pt x="5262" y="5966"/>
                  </a:lnTo>
                  <a:lnTo>
                    <a:pt x="5241" y="6010"/>
                  </a:lnTo>
                  <a:lnTo>
                    <a:pt x="5222" y="6056"/>
                  </a:lnTo>
                  <a:lnTo>
                    <a:pt x="5203" y="6102"/>
                  </a:lnTo>
                  <a:lnTo>
                    <a:pt x="5185" y="6148"/>
                  </a:lnTo>
                  <a:lnTo>
                    <a:pt x="5168" y="6196"/>
                  </a:lnTo>
                  <a:lnTo>
                    <a:pt x="5151" y="6244"/>
                  </a:lnTo>
                  <a:lnTo>
                    <a:pt x="5136" y="6293"/>
                  </a:lnTo>
                  <a:lnTo>
                    <a:pt x="5122" y="6342"/>
                  </a:lnTo>
                  <a:lnTo>
                    <a:pt x="5109" y="6393"/>
                  </a:lnTo>
                  <a:lnTo>
                    <a:pt x="5096" y="6444"/>
                  </a:lnTo>
                  <a:lnTo>
                    <a:pt x="5085" y="6495"/>
                  </a:lnTo>
                  <a:lnTo>
                    <a:pt x="5075" y="6548"/>
                  </a:lnTo>
                  <a:lnTo>
                    <a:pt x="5066" y="6600"/>
                  </a:lnTo>
                  <a:lnTo>
                    <a:pt x="5057" y="6653"/>
                  </a:lnTo>
                  <a:lnTo>
                    <a:pt x="5050" y="6708"/>
                  </a:lnTo>
                  <a:lnTo>
                    <a:pt x="5044" y="6762"/>
                  </a:lnTo>
                  <a:lnTo>
                    <a:pt x="5039" y="6816"/>
                  </a:lnTo>
                  <a:lnTo>
                    <a:pt x="5035" y="6873"/>
                  </a:lnTo>
                  <a:lnTo>
                    <a:pt x="5032" y="6928"/>
                  </a:lnTo>
                  <a:lnTo>
                    <a:pt x="5031" y="6984"/>
                  </a:lnTo>
                  <a:lnTo>
                    <a:pt x="5030" y="7042"/>
                  </a:lnTo>
                  <a:lnTo>
                    <a:pt x="5031" y="7099"/>
                  </a:lnTo>
                  <a:lnTo>
                    <a:pt x="5032" y="7155"/>
                  </a:lnTo>
                  <a:lnTo>
                    <a:pt x="5035" y="7212"/>
                  </a:lnTo>
                  <a:lnTo>
                    <a:pt x="5039" y="7267"/>
                  </a:lnTo>
                  <a:lnTo>
                    <a:pt x="5044" y="7322"/>
                  </a:lnTo>
                  <a:lnTo>
                    <a:pt x="5050" y="7377"/>
                  </a:lnTo>
                  <a:lnTo>
                    <a:pt x="5057" y="7431"/>
                  </a:lnTo>
                  <a:lnTo>
                    <a:pt x="5066" y="7484"/>
                  </a:lnTo>
                  <a:lnTo>
                    <a:pt x="5075" y="7536"/>
                  </a:lnTo>
                  <a:lnTo>
                    <a:pt x="5085" y="7589"/>
                  </a:lnTo>
                  <a:lnTo>
                    <a:pt x="5096" y="7640"/>
                  </a:lnTo>
                  <a:lnTo>
                    <a:pt x="5109" y="7691"/>
                  </a:lnTo>
                  <a:lnTo>
                    <a:pt x="5122" y="7742"/>
                  </a:lnTo>
                  <a:lnTo>
                    <a:pt x="5136" y="7791"/>
                  </a:lnTo>
                  <a:lnTo>
                    <a:pt x="5151" y="7840"/>
                  </a:lnTo>
                  <a:lnTo>
                    <a:pt x="5168" y="7888"/>
                  </a:lnTo>
                  <a:lnTo>
                    <a:pt x="5185" y="7936"/>
                  </a:lnTo>
                  <a:lnTo>
                    <a:pt x="5203" y="7982"/>
                  </a:lnTo>
                  <a:lnTo>
                    <a:pt x="5222" y="8028"/>
                  </a:lnTo>
                  <a:lnTo>
                    <a:pt x="5241" y="8074"/>
                  </a:lnTo>
                  <a:lnTo>
                    <a:pt x="5262" y="8118"/>
                  </a:lnTo>
                  <a:lnTo>
                    <a:pt x="5283" y="8161"/>
                  </a:lnTo>
                  <a:lnTo>
                    <a:pt x="5305" y="8204"/>
                  </a:lnTo>
                  <a:lnTo>
                    <a:pt x="5328" y="8247"/>
                  </a:lnTo>
                  <a:lnTo>
                    <a:pt x="5352" y="8288"/>
                  </a:lnTo>
                  <a:lnTo>
                    <a:pt x="5377" y="8328"/>
                  </a:lnTo>
                  <a:lnTo>
                    <a:pt x="5402" y="8367"/>
                  </a:lnTo>
                  <a:lnTo>
                    <a:pt x="5428" y="8406"/>
                  </a:lnTo>
                  <a:lnTo>
                    <a:pt x="5455" y="8443"/>
                  </a:lnTo>
                  <a:lnTo>
                    <a:pt x="5482" y="8480"/>
                  </a:lnTo>
                  <a:lnTo>
                    <a:pt x="5511" y="8515"/>
                  </a:lnTo>
                  <a:lnTo>
                    <a:pt x="5540" y="8550"/>
                  </a:lnTo>
                  <a:lnTo>
                    <a:pt x="2012" y="8550"/>
                  </a:lnTo>
                  <a:lnTo>
                    <a:pt x="1960" y="8548"/>
                  </a:lnTo>
                  <a:lnTo>
                    <a:pt x="1909" y="8542"/>
                  </a:lnTo>
                  <a:lnTo>
                    <a:pt x="1859" y="8533"/>
                  </a:lnTo>
                  <a:lnTo>
                    <a:pt x="1809" y="8520"/>
                  </a:lnTo>
                  <a:lnTo>
                    <a:pt x="1760" y="8503"/>
                  </a:lnTo>
                  <a:lnTo>
                    <a:pt x="1713" y="8483"/>
                  </a:lnTo>
                  <a:lnTo>
                    <a:pt x="1666" y="8459"/>
                  </a:lnTo>
                  <a:lnTo>
                    <a:pt x="1621" y="8432"/>
                  </a:lnTo>
                  <a:lnTo>
                    <a:pt x="1575" y="8402"/>
                  </a:lnTo>
                  <a:lnTo>
                    <a:pt x="1532" y="8368"/>
                  </a:lnTo>
                  <a:lnTo>
                    <a:pt x="1490" y="8332"/>
                  </a:lnTo>
                  <a:lnTo>
                    <a:pt x="1450" y="8293"/>
                  </a:lnTo>
                  <a:lnTo>
                    <a:pt x="1410" y="8251"/>
                  </a:lnTo>
                  <a:lnTo>
                    <a:pt x="1372" y="8206"/>
                  </a:lnTo>
                  <a:lnTo>
                    <a:pt x="1336" y="8158"/>
                  </a:lnTo>
                  <a:lnTo>
                    <a:pt x="1301" y="8109"/>
                  </a:lnTo>
                  <a:lnTo>
                    <a:pt x="1267" y="8057"/>
                  </a:lnTo>
                  <a:lnTo>
                    <a:pt x="1235" y="8001"/>
                  </a:lnTo>
                  <a:lnTo>
                    <a:pt x="1206" y="7945"/>
                  </a:lnTo>
                  <a:lnTo>
                    <a:pt x="1178" y="7886"/>
                  </a:lnTo>
                  <a:lnTo>
                    <a:pt x="1152" y="7824"/>
                  </a:lnTo>
                  <a:lnTo>
                    <a:pt x="1128" y="7761"/>
                  </a:lnTo>
                  <a:lnTo>
                    <a:pt x="1106" y="7696"/>
                  </a:lnTo>
                  <a:lnTo>
                    <a:pt x="1085" y="7629"/>
                  </a:lnTo>
                  <a:lnTo>
                    <a:pt x="1067" y="7561"/>
                  </a:lnTo>
                  <a:lnTo>
                    <a:pt x="1051" y="7490"/>
                  </a:lnTo>
                  <a:lnTo>
                    <a:pt x="1037" y="7419"/>
                  </a:lnTo>
                  <a:lnTo>
                    <a:pt x="1026" y="7345"/>
                  </a:lnTo>
                  <a:lnTo>
                    <a:pt x="1017" y="7272"/>
                  </a:lnTo>
                  <a:lnTo>
                    <a:pt x="1011" y="7196"/>
                  </a:lnTo>
                  <a:lnTo>
                    <a:pt x="1007" y="7119"/>
                  </a:lnTo>
                  <a:lnTo>
                    <a:pt x="1006" y="7042"/>
                  </a:lnTo>
                  <a:close/>
                  <a:moveTo>
                    <a:pt x="10059" y="7042"/>
                  </a:moveTo>
                  <a:lnTo>
                    <a:pt x="10059" y="6944"/>
                  </a:lnTo>
                  <a:lnTo>
                    <a:pt x="10060" y="6846"/>
                  </a:lnTo>
                  <a:lnTo>
                    <a:pt x="10062" y="6750"/>
                  </a:lnTo>
                  <a:lnTo>
                    <a:pt x="10064" y="6653"/>
                  </a:lnTo>
                  <a:lnTo>
                    <a:pt x="10068" y="6558"/>
                  </a:lnTo>
                  <a:lnTo>
                    <a:pt x="10071" y="6462"/>
                  </a:lnTo>
                  <a:lnTo>
                    <a:pt x="10076" y="6368"/>
                  </a:lnTo>
                  <a:lnTo>
                    <a:pt x="10082" y="6273"/>
                  </a:lnTo>
                  <a:lnTo>
                    <a:pt x="10087" y="6178"/>
                  </a:lnTo>
                  <a:lnTo>
                    <a:pt x="10093" y="6085"/>
                  </a:lnTo>
                  <a:lnTo>
                    <a:pt x="10100" y="5991"/>
                  </a:lnTo>
                  <a:lnTo>
                    <a:pt x="10107" y="5899"/>
                  </a:lnTo>
                  <a:lnTo>
                    <a:pt x="10115" y="5806"/>
                  </a:lnTo>
                  <a:lnTo>
                    <a:pt x="10124" y="5715"/>
                  </a:lnTo>
                  <a:lnTo>
                    <a:pt x="10133" y="5623"/>
                  </a:lnTo>
                  <a:lnTo>
                    <a:pt x="10142" y="5533"/>
                  </a:lnTo>
                  <a:lnTo>
                    <a:pt x="11568" y="5533"/>
                  </a:lnTo>
                  <a:lnTo>
                    <a:pt x="11620" y="5535"/>
                  </a:lnTo>
                  <a:lnTo>
                    <a:pt x="11671" y="5541"/>
                  </a:lnTo>
                  <a:lnTo>
                    <a:pt x="11721" y="5550"/>
                  </a:lnTo>
                  <a:lnTo>
                    <a:pt x="11770" y="5563"/>
                  </a:lnTo>
                  <a:lnTo>
                    <a:pt x="11820" y="5580"/>
                  </a:lnTo>
                  <a:lnTo>
                    <a:pt x="11867" y="5600"/>
                  </a:lnTo>
                  <a:lnTo>
                    <a:pt x="11914" y="5624"/>
                  </a:lnTo>
                  <a:lnTo>
                    <a:pt x="11960" y="5651"/>
                  </a:lnTo>
                  <a:lnTo>
                    <a:pt x="12004" y="5682"/>
                  </a:lnTo>
                  <a:lnTo>
                    <a:pt x="12047" y="5715"/>
                  </a:lnTo>
                  <a:lnTo>
                    <a:pt x="12089" y="5751"/>
                  </a:lnTo>
                  <a:lnTo>
                    <a:pt x="12131" y="5790"/>
                  </a:lnTo>
                  <a:lnTo>
                    <a:pt x="12170" y="5832"/>
                  </a:lnTo>
                  <a:lnTo>
                    <a:pt x="12208" y="5878"/>
                  </a:lnTo>
                  <a:lnTo>
                    <a:pt x="12244" y="5925"/>
                  </a:lnTo>
                  <a:lnTo>
                    <a:pt x="12279" y="5974"/>
                  </a:lnTo>
                  <a:lnTo>
                    <a:pt x="12313" y="6028"/>
                  </a:lnTo>
                  <a:lnTo>
                    <a:pt x="12344" y="6082"/>
                  </a:lnTo>
                  <a:lnTo>
                    <a:pt x="12374" y="6139"/>
                  </a:lnTo>
                  <a:lnTo>
                    <a:pt x="12402" y="6199"/>
                  </a:lnTo>
                  <a:lnTo>
                    <a:pt x="12428" y="6259"/>
                  </a:lnTo>
                  <a:lnTo>
                    <a:pt x="12453" y="6322"/>
                  </a:lnTo>
                  <a:lnTo>
                    <a:pt x="12475" y="6388"/>
                  </a:lnTo>
                  <a:lnTo>
                    <a:pt x="12495" y="6454"/>
                  </a:lnTo>
                  <a:lnTo>
                    <a:pt x="12513" y="6522"/>
                  </a:lnTo>
                  <a:lnTo>
                    <a:pt x="12529" y="6593"/>
                  </a:lnTo>
                  <a:lnTo>
                    <a:pt x="12542" y="6664"/>
                  </a:lnTo>
                  <a:lnTo>
                    <a:pt x="12554" y="6738"/>
                  </a:lnTo>
                  <a:lnTo>
                    <a:pt x="12562" y="6812"/>
                  </a:lnTo>
                  <a:lnTo>
                    <a:pt x="12569" y="6888"/>
                  </a:lnTo>
                  <a:lnTo>
                    <a:pt x="12573" y="6964"/>
                  </a:lnTo>
                  <a:lnTo>
                    <a:pt x="12574" y="7042"/>
                  </a:lnTo>
                  <a:lnTo>
                    <a:pt x="12573" y="7119"/>
                  </a:lnTo>
                  <a:lnTo>
                    <a:pt x="12569" y="7196"/>
                  </a:lnTo>
                  <a:lnTo>
                    <a:pt x="12562" y="7272"/>
                  </a:lnTo>
                  <a:lnTo>
                    <a:pt x="12554" y="7345"/>
                  </a:lnTo>
                  <a:lnTo>
                    <a:pt x="12542" y="7419"/>
                  </a:lnTo>
                  <a:lnTo>
                    <a:pt x="12529" y="7490"/>
                  </a:lnTo>
                  <a:lnTo>
                    <a:pt x="12513" y="7561"/>
                  </a:lnTo>
                  <a:lnTo>
                    <a:pt x="12495" y="7629"/>
                  </a:lnTo>
                  <a:lnTo>
                    <a:pt x="12475" y="7696"/>
                  </a:lnTo>
                  <a:lnTo>
                    <a:pt x="12453" y="7761"/>
                  </a:lnTo>
                  <a:lnTo>
                    <a:pt x="12428" y="7824"/>
                  </a:lnTo>
                  <a:lnTo>
                    <a:pt x="12402" y="7886"/>
                  </a:lnTo>
                  <a:lnTo>
                    <a:pt x="12374" y="7945"/>
                  </a:lnTo>
                  <a:lnTo>
                    <a:pt x="12344" y="8001"/>
                  </a:lnTo>
                  <a:lnTo>
                    <a:pt x="12313" y="8057"/>
                  </a:lnTo>
                  <a:lnTo>
                    <a:pt x="12279" y="8109"/>
                  </a:lnTo>
                  <a:lnTo>
                    <a:pt x="12244" y="8158"/>
                  </a:lnTo>
                  <a:lnTo>
                    <a:pt x="12208" y="8206"/>
                  </a:lnTo>
                  <a:lnTo>
                    <a:pt x="12170" y="8251"/>
                  </a:lnTo>
                  <a:lnTo>
                    <a:pt x="12131" y="8293"/>
                  </a:lnTo>
                  <a:lnTo>
                    <a:pt x="12089" y="8332"/>
                  </a:lnTo>
                  <a:lnTo>
                    <a:pt x="12047" y="8368"/>
                  </a:lnTo>
                  <a:lnTo>
                    <a:pt x="12004" y="8402"/>
                  </a:lnTo>
                  <a:lnTo>
                    <a:pt x="11960" y="8432"/>
                  </a:lnTo>
                  <a:lnTo>
                    <a:pt x="11914" y="8459"/>
                  </a:lnTo>
                  <a:lnTo>
                    <a:pt x="11867" y="8483"/>
                  </a:lnTo>
                  <a:lnTo>
                    <a:pt x="11820" y="8503"/>
                  </a:lnTo>
                  <a:lnTo>
                    <a:pt x="11770" y="8520"/>
                  </a:lnTo>
                  <a:lnTo>
                    <a:pt x="11721" y="8533"/>
                  </a:lnTo>
                  <a:lnTo>
                    <a:pt x="11671" y="8542"/>
                  </a:lnTo>
                  <a:lnTo>
                    <a:pt x="11620" y="8548"/>
                  </a:lnTo>
                  <a:lnTo>
                    <a:pt x="11568" y="8550"/>
                  </a:lnTo>
                  <a:lnTo>
                    <a:pt x="10142" y="8550"/>
                  </a:lnTo>
                  <a:lnTo>
                    <a:pt x="10133" y="8460"/>
                  </a:lnTo>
                  <a:lnTo>
                    <a:pt x="10124" y="8368"/>
                  </a:lnTo>
                  <a:lnTo>
                    <a:pt x="10115" y="8277"/>
                  </a:lnTo>
                  <a:lnTo>
                    <a:pt x="10107" y="8184"/>
                  </a:lnTo>
                  <a:lnTo>
                    <a:pt x="10100" y="8092"/>
                  </a:lnTo>
                  <a:lnTo>
                    <a:pt x="10093" y="7998"/>
                  </a:lnTo>
                  <a:lnTo>
                    <a:pt x="10087" y="7905"/>
                  </a:lnTo>
                  <a:lnTo>
                    <a:pt x="10082" y="7811"/>
                  </a:lnTo>
                  <a:lnTo>
                    <a:pt x="10076" y="7717"/>
                  </a:lnTo>
                  <a:lnTo>
                    <a:pt x="10071" y="7621"/>
                  </a:lnTo>
                  <a:lnTo>
                    <a:pt x="10068" y="7525"/>
                  </a:lnTo>
                  <a:lnTo>
                    <a:pt x="10064" y="7430"/>
                  </a:lnTo>
                  <a:lnTo>
                    <a:pt x="10062" y="7333"/>
                  </a:lnTo>
                  <a:lnTo>
                    <a:pt x="10060" y="7237"/>
                  </a:lnTo>
                  <a:lnTo>
                    <a:pt x="10059" y="7139"/>
                  </a:lnTo>
                  <a:lnTo>
                    <a:pt x="10059" y="7042"/>
                  </a:lnTo>
                  <a:close/>
                  <a:moveTo>
                    <a:pt x="12574" y="0"/>
                  </a:moveTo>
                  <a:lnTo>
                    <a:pt x="12478" y="2"/>
                  </a:lnTo>
                  <a:lnTo>
                    <a:pt x="12383" y="8"/>
                  </a:lnTo>
                  <a:lnTo>
                    <a:pt x="12290" y="18"/>
                  </a:lnTo>
                  <a:lnTo>
                    <a:pt x="12197" y="32"/>
                  </a:lnTo>
                  <a:lnTo>
                    <a:pt x="12106" y="50"/>
                  </a:lnTo>
                  <a:lnTo>
                    <a:pt x="12017" y="72"/>
                  </a:lnTo>
                  <a:lnTo>
                    <a:pt x="11928" y="99"/>
                  </a:lnTo>
                  <a:lnTo>
                    <a:pt x="11841" y="128"/>
                  </a:lnTo>
                  <a:lnTo>
                    <a:pt x="11755" y="161"/>
                  </a:lnTo>
                  <a:lnTo>
                    <a:pt x="11671" y="198"/>
                  </a:lnTo>
                  <a:lnTo>
                    <a:pt x="11588" y="238"/>
                  </a:lnTo>
                  <a:lnTo>
                    <a:pt x="11506" y="282"/>
                  </a:lnTo>
                  <a:lnTo>
                    <a:pt x="11425" y="329"/>
                  </a:lnTo>
                  <a:lnTo>
                    <a:pt x="11347" y="380"/>
                  </a:lnTo>
                  <a:lnTo>
                    <a:pt x="11269" y="435"/>
                  </a:lnTo>
                  <a:lnTo>
                    <a:pt x="11192" y="491"/>
                  </a:lnTo>
                  <a:lnTo>
                    <a:pt x="11117" y="552"/>
                  </a:lnTo>
                  <a:lnTo>
                    <a:pt x="11043" y="616"/>
                  </a:lnTo>
                  <a:lnTo>
                    <a:pt x="10971" y="682"/>
                  </a:lnTo>
                  <a:lnTo>
                    <a:pt x="10899" y="752"/>
                  </a:lnTo>
                  <a:lnTo>
                    <a:pt x="10829" y="825"/>
                  </a:lnTo>
                  <a:lnTo>
                    <a:pt x="10761" y="900"/>
                  </a:lnTo>
                  <a:lnTo>
                    <a:pt x="10693" y="979"/>
                  </a:lnTo>
                  <a:lnTo>
                    <a:pt x="10628" y="1060"/>
                  </a:lnTo>
                  <a:lnTo>
                    <a:pt x="10562" y="1144"/>
                  </a:lnTo>
                  <a:lnTo>
                    <a:pt x="10500" y="1230"/>
                  </a:lnTo>
                  <a:lnTo>
                    <a:pt x="10438" y="1320"/>
                  </a:lnTo>
                  <a:lnTo>
                    <a:pt x="10377" y="1412"/>
                  </a:lnTo>
                  <a:lnTo>
                    <a:pt x="10318" y="1506"/>
                  </a:lnTo>
                  <a:lnTo>
                    <a:pt x="10260" y="1602"/>
                  </a:lnTo>
                  <a:lnTo>
                    <a:pt x="10203" y="1702"/>
                  </a:lnTo>
                  <a:lnTo>
                    <a:pt x="10148" y="1804"/>
                  </a:lnTo>
                  <a:lnTo>
                    <a:pt x="10137" y="1798"/>
                  </a:lnTo>
                  <a:lnTo>
                    <a:pt x="10056" y="1952"/>
                  </a:lnTo>
                  <a:lnTo>
                    <a:pt x="9974" y="2101"/>
                  </a:lnTo>
                  <a:lnTo>
                    <a:pt x="9888" y="2247"/>
                  </a:lnTo>
                  <a:lnTo>
                    <a:pt x="9801" y="2390"/>
                  </a:lnTo>
                  <a:lnTo>
                    <a:pt x="9711" y="2529"/>
                  </a:lnTo>
                  <a:lnTo>
                    <a:pt x="9620" y="2665"/>
                  </a:lnTo>
                  <a:lnTo>
                    <a:pt x="9525" y="2796"/>
                  </a:lnTo>
                  <a:lnTo>
                    <a:pt x="9430" y="2923"/>
                  </a:lnTo>
                  <a:lnTo>
                    <a:pt x="9332" y="3046"/>
                  </a:lnTo>
                  <a:lnTo>
                    <a:pt x="9231" y="3165"/>
                  </a:lnTo>
                  <a:lnTo>
                    <a:pt x="9130" y="3279"/>
                  </a:lnTo>
                  <a:lnTo>
                    <a:pt x="9026" y="3389"/>
                  </a:lnTo>
                  <a:lnTo>
                    <a:pt x="8921" y="3495"/>
                  </a:lnTo>
                  <a:lnTo>
                    <a:pt x="8814" y="3595"/>
                  </a:lnTo>
                  <a:lnTo>
                    <a:pt x="8705" y="3692"/>
                  </a:lnTo>
                  <a:lnTo>
                    <a:pt x="8595" y="3783"/>
                  </a:lnTo>
                  <a:lnTo>
                    <a:pt x="8483" y="3870"/>
                  </a:lnTo>
                  <a:lnTo>
                    <a:pt x="8369" y="3951"/>
                  </a:lnTo>
                  <a:lnTo>
                    <a:pt x="8255" y="4029"/>
                  </a:lnTo>
                  <a:lnTo>
                    <a:pt x="8138" y="4100"/>
                  </a:lnTo>
                  <a:lnTo>
                    <a:pt x="8020" y="4167"/>
                  </a:lnTo>
                  <a:lnTo>
                    <a:pt x="7902" y="4227"/>
                  </a:lnTo>
                  <a:lnTo>
                    <a:pt x="7781" y="4283"/>
                  </a:lnTo>
                  <a:lnTo>
                    <a:pt x="7659" y="4334"/>
                  </a:lnTo>
                  <a:lnTo>
                    <a:pt x="7537" y="4378"/>
                  </a:lnTo>
                  <a:lnTo>
                    <a:pt x="7414" y="4417"/>
                  </a:lnTo>
                  <a:lnTo>
                    <a:pt x="7289" y="4450"/>
                  </a:lnTo>
                  <a:lnTo>
                    <a:pt x="7163" y="4477"/>
                  </a:lnTo>
                  <a:lnTo>
                    <a:pt x="7037" y="4499"/>
                  </a:lnTo>
                  <a:lnTo>
                    <a:pt x="6909" y="4515"/>
                  </a:lnTo>
                  <a:lnTo>
                    <a:pt x="6781" y="4524"/>
                  </a:lnTo>
                  <a:lnTo>
                    <a:pt x="6652" y="4527"/>
                  </a:lnTo>
                  <a:lnTo>
                    <a:pt x="6318" y="4527"/>
                  </a:lnTo>
                  <a:lnTo>
                    <a:pt x="4102" y="4527"/>
                  </a:lnTo>
                  <a:lnTo>
                    <a:pt x="2012" y="4527"/>
                  </a:lnTo>
                  <a:lnTo>
                    <a:pt x="1907" y="4530"/>
                  </a:lnTo>
                  <a:lnTo>
                    <a:pt x="1804" y="4540"/>
                  </a:lnTo>
                  <a:lnTo>
                    <a:pt x="1701" y="4555"/>
                  </a:lnTo>
                  <a:lnTo>
                    <a:pt x="1601" y="4577"/>
                  </a:lnTo>
                  <a:lnTo>
                    <a:pt x="1503" y="4604"/>
                  </a:lnTo>
                  <a:lnTo>
                    <a:pt x="1407" y="4638"/>
                  </a:lnTo>
                  <a:lnTo>
                    <a:pt x="1313" y="4677"/>
                  </a:lnTo>
                  <a:lnTo>
                    <a:pt x="1221" y="4722"/>
                  </a:lnTo>
                  <a:lnTo>
                    <a:pt x="1132" y="4771"/>
                  </a:lnTo>
                  <a:lnTo>
                    <a:pt x="1045" y="4826"/>
                  </a:lnTo>
                  <a:lnTo>
                    <a:pt x="961" y="4886"/>
                  </a:lnTo>
                  <a:lnTo>
                    <a:pt x="879" y="4950"/>
                  </a:lnTo>
                  <a:lnTo>
                    <a:pt x="801" y="5020"/>
                  </a:lnTo>
                  <a:lnTo>
                    <a:pt x="725" y="5094"/>
                  </a:lnTo>
                  <a:lnTo>
                    <a:pt x="652" y="5173"/>
                  </a:lnTo>
                  <a:lnTo>
                    <a:pt x="582" y="5255"/>
                  </a:lnTo>
                  <a:lnTo>
                    <a:pt x="516" y="5343"/>
                  </a:lnTo>
                  <a:lnTo>
                    <a:pt x="454" y="5433"/>
                  </a:lnTo>
                  <a:lnTo>
                    <a:pt x="394" y="5528"/>
                  </a:lnTo>
                  <a:lnTo>
                    <a:pt x="339" y="5626"/>
                  </a:lnTo>
                  <a:lnTo>
                    <a:pt x="288" y="5728"/>
                  </a:lnTo>
                  <a:lnTo>
                    <a:pt x="239" y="5833"/>
                  </a:lnTo>
                  <a:lnTo>
                    <a:pt x="195" y="5942"/>
                  </a:lnTo>
                  <a:lnTo>
                    <a:pt x="156" y="6054"/>
                  </a:lnTo>
                  <a:lnTo>
                    <a:pt x="120" y="6168"/>
                  </a:lnTo>
                  <a:lnTo>
                    <a:pt x="89" y="6286"/>
                  </a:lnTo>
                  <a:lnTo>
                    <a:pt x="62" y="6406"/>
                  </a:lnTo>
                  <a:lnTo>
                    <a:pt x="40" y="6529"/>
                  </a:lnTo>
                  <a:lnTo>
                    <a:pt x="23" y="6653"/>
                  </a:lnTo>
                  <a:lnTo>
                    <a:pt x="10" y="6781"/>
                  </a:lnTo>
                  <a:lnTo>
                    <a:pt x="3" y="6911"/>
                  </a:lnTo>
                  <a:lnTo>
                    <a:pt x="0" y="7042"/>
                  </a:lnTo>
                  <a:lnTo>
                    <a:pt x="3" y="7173"/>
                  </a:lnTo>
                  <a:lnTo>
                    <a:pt x="10" y="7302"/>
                  </a:lnTo>
                  <a:lnTo>
                    <a:pt x="23" y="7430"/>
                  </a:lnTo>
                  <a:lnTo>
                    <a:pt x="40" y="7555"/>
                  </a:lnTo>
                  <a:lnTo>
                    <a:pt x="62" y="7677"/>
                  </a:lnTo>
                  <a:lnTo>
                    <a:pt x="89" y="7798"/>
                  </a:lnTo>
                  <a:lnTo>
                    <a:pt x="120" y="7915"/>
                  </a:lnTo>
                  <a:lnTo>
                    <a:pt x="156" y="8029"/>
                  </a:lnTo>
                  <a:lnTo>
                    <a:pt x="195" y="8141"/>
                  </a:lnTo>
                  <a:lnTo>
                    <a:pt x="239" y="8250"/>
                  </a:lnTo>
                  <a:lnTo>
                    <a:pt x="288" y="8355"/>
                  </a:lnTo>
                  <a:lnTo>
                    <a:pt x="339" y="8457"/>
                  </a:lnTo>
                  <a:lnTo>
                    <a:pt x="394" y="8555"/>
                  </a:lnTo>
                  <a:lnTo>
                    <a:pt x="454" y="8650"/>
                  </a:lnTo>
                  <a:lnTo>
                    <a:pt x="516" y="8742"/>
                  </a:lnTo>
                  <a:lnTo>
                    <a:pt x="582" y="8828"/>
                  </a:lnTo>
                  <a:lnTo>
                    <a:pt x="652" y="8911"/>
                  </a:lnTo>
                  <a:lnTo>
                    <a:pt x="725" y="8989"/>
                  </a:lnTo>
                  <a:lnTo>
                    <a:pt x="801" y="9063"/>
                  </a:lnTo>
                  <a:lnTo>
                    <a:pt x="879" y="9133"/>
                  </a:lnTo>
                  <a:lnTo>
                    <a:pt x="961" y="9197"/>
                  </a:lnTo>
                  <a:lnTo>
                    <a:pt x="1045" y="9258"/>
                  </a:lnTo>
                  <a:lnTo>
                    <a:pt x="1132" y="9312"/>
                  </a:lnTo>
                  <a:lnTo>
                    <a:pt x="1221" y="9362"/>
                  </a:lnTo>
                  <a:lnTo>
                    <a:pt x="1313" y="9407"/>
                  </a:lnTo>
                  <a:lnTo>
                    <a:pt x="1407" y="9445"/>
                  </a:lnTo>
                  <a:lnTo>
                    <a:pt x="1503" y="9479"/>
                  </a:lnTo>
                  <a:lnTo>
                    <a:pt x="1601" y="9506"/>
                  </a:lnTo>
                  <a:lnTo>
                    <a:pt x="1701" y="9528"/>
                  </a:lnTo>
                  <a:lnTo>
                    <a:pt x="1804" y="9543"/>
                  </a:lnTo>
                  <a:lnTo>
                    <a:pt x="1907" y="9553"/>
                  </a:lnTo>
                  <a:lnTo>
                    <a:pt x="2012" y="9556"/>
                  </a:lnTo>
                  <a:lnTo>
                    <a:pt x="2063" y="9557"/>
                  </a:lnTo>
                  <a:lnTo>
                    <a:pt x="2114" y="9561"/>
                  </a:lnTo>
                  <a:lnTo>
                    <a:pt x="2165" y="9568"/>
                  </a:lnTo>
                  <a:lnTo>
                    <a:pt x="2214" y="9578"/>
                  </a:lnTo>
                  <a:lnTo>
                    <a:pt x="2262" y="9589"/>
                  </a:lnTo>
                  <a:lnTo>
                    <a:pt x="2311" y="9603"/>
                  </a:lnTo>
                  <a:lnTo>
                    <a:pt x="2357" y="9618"/>
                  </a:lnTo>
                  <a:lnTo>
                    <a:pt x="2402" y="9636"/>
                  </a:lnTo>
                  <a:lnTo>
                    <a:pt x="2446" y="9656"/>
                  </a:lnTo>
                  <a:lnTo>
                    <a:pt x="2490" y="9679"/>
                  </a:lnTo>
                  <a:lnTo>
                    <a:pt x="2532" y="9703"/>
                  </a:lnTo>
                  <a:lnTo>
                    <a:pt x="2573" y="9729"/>
                  </a:lnTo>
                  <a:lnTo>
                    <a:pt x="2612" y="9758"/>
                  </a:lnTo>
                  <a:lnTo>
                    <a:pt x="2650" y="9787"/>
                  </a:lnTo>
                  <a:lnTo>
                    <a:pt x="2686" y="9819"/>
                  </a:lnTo>
                  <a:lnTo>
                    <a:pt x="2721" y="9852"/>
                  </a:lnTo>
                  <a:lnTo>
                    <a:pt x="2754" y="9886"/>
                  </a:lnTo>
                  <a:lnTo>
                    <a:pt x="2785" y="9924"/>
                  </a:lnTo>
                  <a:lnTo>
                    <a:pt x="2816" y="9961"/>
                  </a:lnTo>
                  <a:lnTo>
                    <a:pt x="2844" y="10000"/>
                  </a:lnTo>
                  <a:lnTo>
                    <a:pt x="2870" y="10041"/>
                  </a:lnTo>
                  <a:lnTo>
                    <a:pt x="2894" y="10084"/>
                  </a:lnTo>
                  <a:lnTo>
                    <a:pt x="2916" y="10127"/>
                  </a:lnTo>
                  <a:lnTo>
                    <a:pt x="2936" y="10171"/>
                  </a:lnTo>
                  <a:lnTo>
                    <a:pt x="2953" y="10216"/>
                  </a:lnTo>
                  <a:lnTo>
                    <a:pt x="2970" y="10264"/>
                  </a:lnTo>
                  <a:lnTo>
                    <a:pt x="2984" y="10311"/>
                  </a:lnTo>
                  <a:lnTo>
                    <a:pt x="2995" y="10360"/>
                  </a:lnTo>
                  <a:lnTo>
                    <a:pt x="3003" y="10409"/>
                  </a:lnTo>
                  <a:lnTo>
                    <a:pt x="3010" y="10460"/>
                  </a:lnTo>
                  <a:lnTo>
                    <a:pt x="3014" y="10510"/>
                  </a:lnTo>
                  <a:lnTo>
                    <a:pt x="3015" y="10562"/>
                  </a:lnTo>
                  <a:lnTo>
                    <a:pt x="3015" y="15089"/>
                  </a:lnTo>
                  <a:lnTo>
                    <a:pt x="3016" y="15140"/>
                  </a:lnTo>
                  <a:lnTo>
                    <a:pt x="3020" y="15192"/>
                  </a:lnTo>
                  <a:lnTo>
                    <a:pt x="3026" y="15242"/>
                  </a:lnTo>
                  <a:lnTo>
                    <a:pt x="3035" y="15292"/>
                  </a:lnTo>
                  <a:lnTo>
                    <a:pt x="3046" y="15341"/>
                  </a:lnTo>
                  <a:lnTo>
                    <a:pt x="3060" y="15388"/>
                  </a:lnTo>
                  <a:lnTo>
                    <a:pt x="3076" y="15435"/>
                  </a:lnTo>
                  <a:lnTo>
                    <a:pt x="3094" y="15480"/>
                  </a:lnTo>
                  <a:lnTo>
                    <a:pt x="3114" y="15526"/>
                  </a:lnTo>
                  <a:lnTo>
                    <a:pt x="3137" y="15569"/>
                  </a:lnTo>
                  <a:lnTo>
                    <a:pt x="3161" y="15611"/>
                  </a:lnTo>
                  <a:lnTo>
                    <a:pt x="3187" y="15651"/>
                  </a:lnTo>
                  <a:lnTo>
                    <a:pt x="3215" y="15691"/>
                  </a:lnTo>
                  <a:lnTo>
                    <a:pt x="3245" y="15729"/>
                  </a:lnTo>
                  <a:lnTo>
                    <a:pt x="3276" y="15765"/>
                  </a:lnTo>
                  <a:lnTo>
                    <a:pt x="3310" y="15800"/>
                  </a:lnTo>
                  <a:lnTo>
                    <a:pt x="3345" y="15833"/>
                  </a:lnTo>
                  <a:lnTo>
                    <a:pt x="3381" y="15866"/>
                  </a:lnTo>
                  <a:lnTo>
                    <a:pt x="3419" y="15895"/>
                  </a:lnTo>
                  <a:lnTo>
                    <a:pt x="3458" y="15923"/>
                  </a:lnTo>
                  <a:lnTo>
                    <a:pt x="3500" y="15949"/>
                  </a:lnTo>
                  <a:lnTo>
                    <a:pt x="3542" y="15973"/>
                  </a:lnTo>
                  <a:lnTo>
                    <a:pt x="3585" y="15995"/>
                  </a:lnTo>
                  <a:lnTo>
                    <a:pt x="3629" y="16016"/>
                  </a:lnTo>
                  <a:lnTo>
                    <a:pt x="3675" y="16034"/>
                  </a:lnTo>
                  <a:lnTo>
                    <a:pt x="3722" y="16050"/>
                  </a:lnTo>
                  <a:lnTo>
                    <a:pt x="3769" y="16064"/>
                  </a:lnTo>
                  <a:lnTo>
                    <a:pt x="3819" y="16075"/>
                  </a:lnTo>
                  <a:lnTo>
                    <a:pt x="3868" y="16083"/>
                  </a:lnTo>
                  <a:lnTo>
                    <a:pt x="3918" y="16090"/>
                  </a:lnTo>
                  <a:lnTo>
                    <a:pt x="3969" y="16094"/>
                  </a:lnTo>
                  <a:lnTo>
                    <a:pt x="4021" y="16095"/>
                  </a:lnTo>
                  <a:lnTo>
                    <a:pt x="6033" y="16095"/>
                  </a:lnTo>
                  <a:lnTo>
                    <a:pt x="6085" y="16094"/>
                  </a:lnTo>
                  <a:lnTo>
                    <a:pt x="6135" y="16090"/>
                  </a:lnTo>
                  <a:lnTo>
                    <a:pt x="6186" y="16083"/>
                  </a:lnTo>
                  <a:lnTo>
                    <a:pt x="6236" y="16075"/>
                  </a:lnTo>
                  <a:lnTo>
                    <a:pt x="6284" y="16064"/>
                  </a:lnTo>
                  <a:lnTo>
                    <a:pt x="6332" y="16050"/>
                  </a:lnTo>
                  <a:lnTo>
                    <a:pt x="6379" y="16034"/>
                  </a:lnTo>
                  <a:lnTo>
                    <a:pt x="6425" y="16016"/>
                  </a:lnTo>
                  <a:lnTo>
                    <a:pt x="6469" y="15995"/>
                  </a:lnTo>
                  <a:lnTo>
                    <a:pt x="6512" y="15973"/>
                  </a:lnTo>
                  <a:lnTo>
                    <a:pt x="6555" y="15949"/>
                  </a:lnTo>
                  <a:lnTo>
                    <a:pt x="6595" y="15923"/>
                  </a:lnTo>
                  <a:lnTo>
                    <a:pt x="6635" y="15895"/>
                  </a:lnTo>
                  <a:lnTo>
                    <a:pt x="6672" y="15866"/>
                  </a:lnTo>
                  <a:lnTo>
                    <a:pt x="6710" y="15833"/>
                  </a:lnTo>
                  <a:lnTo>
                    <a:pt x="6744" y="15800"/>
                  </a:lnTo>
                  <a:lnTo>
                    <a:pt x="6778" y="15765"/>
                  </a:lnTo>
                  <a:lnTo>
                    <a:pt x="6809" y="15729"/>
                  </a:lnTo>
                  <a:lnTo>
                    <a:pt x="6839" y="15691"/>
                  </a:lnTo>
                  <a:lnTo>
                    <a:pt x="6867" y="15651"/>
                  </a:lnTo>
                  <a:lnTo>
                    <a:pt x="6893" y="15611"/>
                  </a:lnTo>
                  <a:lnTo>
                    <a:pt x="6917" y="15569"/>
                  </a:lnTo>
                  <a:lnTo>
                    <a:pt x="6940" y="15526"/>
                  </a:lnTo>
                  <a:lnTo>
                    <a:pt x="6960" y="15480"/>
                  </a:lnTo>
                  <a:lnTo>
                    <a:pt x="6977" y="15435"/>
                  </a:lnTo>
                  <a:lnTo>
                    <a:pt x="6993" y="15388"/>
                  </a:lnTo>
                  <a:lnTo>
                    <a:pt x="7007" y="15341"/>
                  </a:lnTo>
                  <a:lnTo>
                    <a:pt x="7018" y="15292"/>
                  </a:lnTo>
                  <a:lnTo>
                    <a:pt x="7027" y="15242"/>
                  </a:lnTo>
                  <a:lnTo>
                    <a:pt x="7034" y="15192"/>
                  </a:lnTo>
                  <a:lnTo>
                    <a:pt x="7038" y="15140"/>
                  </a:lnTo>
                  <a:lnTo>
                    <a:pt x="7039" y="15089"/>
                  </a:lnTo>
                  <a:lnTo>
                    <a:pt x="7039" y="14586"/>
                  </a:lnTo>
                  <a:lnTo>
                    <a:pt x="7038" y="14540"/>
                  </a:lnTo>
                  <a:lnTo>
                    <a:pt x="7033" y="14495"/>
                  </a:lnTo>
                  <a:lnTo>
                    <a:pt x="7026" y="14451"/>
                  </a:lnTo>
                  <a:lnTo>
                    <a:pt x="7017" y="14410"/>
                  </a:lnTo>
                  <a:lnTo>
                    <a:pt x="7005" y="14370"/>
                  </a:lnTo>
                  <a:lnTo>
                    <a:pt x="6992" y="14331"/>
                  </a:lnTo>
                  <a:lnTo>
                    <a:pt x="6977" y="14292"/>
                  </a:lnTo>
                  <a:lnTo>
                    <a:pt x="6960" y="14256"/>
                  </a:lnTo>
                  <a:lnTo>
                    <a:pt x="6942" y="14220"/>
                  </a:lnTo>
                  <a:lnTo>
                    <a:pt x="6922" y="14186"/>
                  </a:lnTo>
                  <a:lnTo>
                    <a:pt x="6901" y="14153"/>
                  </a:lnTo>
                  <a:lnTo>
                    <a:pt x="6880" y="14120"/>
                  </a:lnTo>
                  <a:lnTo>
                    <a:pt x="6857" y="14088"/>
                  </a:lnTo>
                  <a:lnTo>
                    <a:pt x="6834" y="14058"/>
                  </a:lnTo>
                  <a:lnTo>
                    <a:pt x="6810" y="14028"/>
                  </a:lnTo>
                  <a:lnTo>
                    <a:pt x="6787" y="13999"/>
                  </a:lnTo>
                  <a:lnTo>
                    <a:pt x="6740" y="13942"/>
                  </a:lnTo>
                  <a:lnTo>
                    <a:pt x="6695" y="13888"/>
                  </a:lnTo>
                  <a:lnTo>
                    <a:pt x="6673" y="13862"/>
                  </a:lnTo>
                  <a:lnTo>
                    <a:pt x="6652" y="13836"/>
                  </a:lnTo>
                  <a:lnTo>
                    <a:pt x="6632" y="13810"/>
                  </a:lnTo>
                  <a:lnTo>
                    <a:pt x="6614" y="13784"/>
                  </a:lnTo>
                  <a:lnTo>
                    <a:pt x="6597" y="13758"/>
                  </a:lnTo>
                  <a:lnTo>
                    <a:pt x="6582" y="13733"/>
                  </a:lnTo>
                  <a:lnTo>
                    <a:pt x="6569" y="13708"/>
                  </a:lnTo>
                  <a:lnTo>
                    <a:pt x="6558" y="13683"/>
                  </a:lnTo>
                  <a:lnTo>
                    <a:pt x="6548" y="13658"/>
                  </a:lnTo>
                  <a:lnTo>
                    <a:pt x="6542" y="13631"/>
                  </a:lnTo>
                  <a:lnTo>
                    <a:pt x="6537" y="13606"/>
                  </a:lnTo>
                  <a:lnTo>
                    <a:pt x="6536" y="13580"/>
                  </a:lnTo>
                  <a:lnTo>
                    <a:pt x="6536" y="10059"/>
                  </a:lnTo>
                  <a:lnTo>
                    <a:pt x="6537" y="10051"/>
                  </a:lnTo>
                  <a:lnTo>
                    <a:pt x="6540" y="10043"/>
                  </a:lnTo>
                  <a:lnTo>
                    <a:pt x="6543" y="10036"/>
                  </a:lnTo>
                  <a:lnTo>
                    <a:pt x="6545" y="10028"/>
                  </a:lnTo>
                  <a:lnTo>
                    <a:pt x="6547" y="10001"/>
                  </a:lnTo>
                  <a:lnTo>
                    <a:pt x="6551" y="9975"/>
                  </a:lnTo>
                  <a:lnTo>
                    <a:pt x="6556" y="9950"/>
                  </a:lnTo>
                  <a:lnTo>
                    <a:pt x="6563" y="9925"/>
                  </a:lnTo>
                  <a:lnTo>
                    <a:pt x="6571" y="9899"/>
                  </a:lnTo>
                  <a:lnTo>
                    <a:pt x="6580" y="9875"/>
                  </a:lnTo>
                  <a:lnTo>
                    <a:pt x="6590" y="9852"/>
                  </a:lnTo>
                  <a:lnTo>
                    <a:pt x="6601" y="9829"/>
                  </a:lnTo>
                  <a:lnTo>
                    <a:pt x="6608" y="9818"/>
                  </a:lnTo>
                  <a:lnTo>
                    <a:pt x="6615" y="9807"/>
                  </a:lnTo>
                  <a:lnTo>
                    <a:pt x="6623" y="9796"/>
                  </a:lnTo>
                  <a:lnTo>
                    <a:pt x="6631" y="9785"/>
                  </a:lnTo>
                  <a:lnTo>
                    <a:pt x="6646" y="9764"/>
                  </a:lnTo>
                  <a:lnTo>
                    <a:pt x="6663" y="9743"/>
                  </a:lnTo>
                  <a:lnTo>
                    <a:pt x="6680" y="9722"/>
                  </a:lnTo>
                  <a:lnTo>
                    <a:pt x="6699" y="9703"/>
                  </a:lnTo>
                  <a:lnTo>
                    <a:pt x="6719" y="9685"/>
                  </a:lnTo>
                  <a:lnTo>
                    <a:pt x="6739" y="9669"/>
                  </a:lnTo>
                  <a:lnTo>
                    <a:pt x="6760" y="9653"/>
                  </a:lnTo>
                  <a:lnTo>
                    <a:pt x="6783" y="9638"/>
                  </a:lnTo>
                  <a:lnTo>
                    <a:pt x="6787" y="9634"/>
                  </a:lnTo>
                  <a:lnTo>
                    <a:pt x="6790" y="9631"/>
                  </a:lnTo>
                  <a:lnTo>
                    <a:pt x="6793" y="9630"/>
                  </a:lnTo>
                  <a:lnTo>
                    <a:pt x="6796" y="9629"/>
                  </a:lnTo>
                  <a:lnTo>
                    <a:pt x="6811" y="9622"/>
                  </a:lnTo>
                  <a:lnTo>
                    <a:pt x="6827" y="9615"/>
                  </a:lnTo>
                  <a:lnTo>
                    <a:pt x="6844" y="9610"/>
                  </a:lnTo>
                  <a:lnTo>
                    <a:pt x="6860" y="9606"/>
                  </a:lnTo>
                  <a:lnTo>
                    <a:pt x="6895" y="9598"/>
                  </a:lnTo>
                  <a:lnTo>
                    <a:pt x="6929" y="9589"/>
                  </a:lnTo>
                  <a:lnTo>
                    <a:pt x="7048" y="9604"/>
                  </a:lnTo>
                  <a:lnTo>
                    <a:pt x="7166" y="9624"/>
                  </a:lnTo>
                  <a:lnTo>
                    <a:pt x="7283" y="9650"/>
                  </a:lnTo>
                  <a:lnTo>
                    <a:pt x="7400" y="9680"/>
                  </a:lnTo>
                  <a:lnTo>
                    <a:pt x="7514" y="9715"/>
                  </a:lnTo>
                  <a:lnTo>
                    <a:pt x="7629" y="9756"/>
                  </a:lnTo>
                  <a:lnTo>
                    <a:pt x="7743" y="9801"/>
                  </a:lnTo>
                  <a:lnTo>
                    <a:pt x="7855" y="9851"/>
                  </a:lnTo>
                  <a:lnTo>
                    <a:pt x="7967" y="9905"/>
                  </a:lnTo>
                  <a:lnTo>
                    <a:pt x="8077" y="9964"/>
                  </a:lnTo>
                  <a:lnTo>
                    <a:pt x="8186" y="10028"/>
                  </a:lnTo>
                  <a:lnTo>
                    <a:pt x="8294" y="10096"/>
                  </a:lnTo>
                  <a:lnTo>
                    <a:pt x="8401" y="10169"/>
                  </a:lnTo>
                  <a:lnTo>
                    <a:pt x="8506" y="10245"/>
                  </a:lnTo>
                  <a:lnTo>
                    <a:pt x="8611" y="10327"/>
                  </a:lnTo>
                  <a:lnTo>
                    <a:pt x="8713" y="10411"/>
                  </a:lnTo>
                  <a:lnTo>
                    <a:pt x="8815" y="10501"/>
                  </a:lnTo>
                  <a:lnTo>
                    <a:pt x="8915" y="10595"/>
                  </a:lnTo>
                  <a:lnTo>
                    <a:pt x="9013" y="10692"/>
                  </a:lnTo>
                  <a:lnTo>
                    <a:pt x="9110" y="10794"/>
                  </a:lnTo>
                  <a:lnTo>
                    <a:pt x="9205" y="10898"/>
                  </a:lnTo>
                  <a:lnTo>
                    <a:pt x="9299" y="11008"/>
                  </a:lnTo>
                  <a:lnTo>
                    <a:pt x="9391" y="11121"/>
                  </a:lnTo>
                  <a:lnTo>
                    <a:pt x="9481" y="11237"/>
                  </a:lnTo>
                  <a:lnTo>
                    <a:pt x="9570" y="11357"/>
                  </a:lnTo>
                  <a:lnTo>
                    <a:pt x="9657" y="11481"/>
                  </a:lnTo>
                  <a:lnTo>
                    <a:pt x="9741" y="11608"/>
                  </a:lnTo>
                  <a:lnTo>
                    <a:pt x="9825" y="11737"/>
                  </a:lnTo>
                  <a:lnTo>
                    <a:pt x="9905" y="11871"/>
                  </a:lnTo>
                  <a:lnTo>
                    <a:pt x="9985" y="12008"/>
                  </a:lnTo>
                  <a:lnTo>
                    <a:pt x="10061" y="12149"/>
                  </a:lnTo>
                  <a:lnTo>
                    <a:pt x="10137" y="12292"/>
                  </a:lnTo>
                  <a:lnTo>
                    <a:pt x="10150" y="12286"/>
                  </a:lnTo>
                  <a:lnTo>
                    <a:pt x="10205" y="12386"/>
                  </a:lnTo>
                  <a:lnTo>
                    <a:pt x="10262" y="12486"/>
                  </a:lnTo>
                  <a:lnTo>
                    <a:pt x="10320" y="12581"/>
                  </a:lnTo>
                  <a:lnTo>
                    <a:pt x="10379" y="12676"/>
                  </a:lnTo>
                  <a:lnTo>
                    <a:pt x="10440" y="12767"/>
                  </a:lnTo>
                  <a:lnTo>
                    <a:pt x="10502" y="12856"/>
                  </a:lnTo>
                  <a:lnTo>
                    <a:pt x="10565" y="12942"/>
                  </a:lnTo>
                  <a:lnTo>
                    <a:pt x="10630" y="13026"/>
                  </a:lnTo>
                  <a:lnTo>
                    <a:pt x="10696" y="13107"/>
                  </a:lnTo>
                  <a:lnTo>
                    <a:pt x="10763" y="13186"/>
                  </a:lnTo>
                  <a:lnTo>
                    <a:pt x="10832" y="13261"/>
                  </a:lnTo>
                  <a:lnTo>
                    <a:pt x="10901" y="13334"/>
                  </a:lnTo>
                  <a:lnTo>
                    <a:pt x="10973" y="13403"/>
                  </a:lnTo>
                  <a:lnTo>
                    <a:pt x="11045" y="13470"/>
                  </a:lnTo>
                  <a:lnTo>
                    <a:pt x="11119" y="13533"/>
                  </a:lnTo>
                  <a:lnTo>
                    <a:pt x="11194" y="13593"/>
                  </a:lnTo>
                  <a:lnTo>
                    <a:pt x="11271" y="13651"/>
                  </a:lnTo>
                  <a:lnTo>
                    <a:pt x="11348" y="13704"/>
                  </a:lnTo>
                  <a:lnTo>
                    <a:pt x="11427" y="13755"/>
                  </a:lnTo>
                  <a:lnTo>
                    <a:pt x="11508" y="13801"/>
                  </a:lnTo>
                  <a:lnTo>
                    <a:pt x="11589" y="13846"/>
                  </a:lnTo>
                  <a:lnTo>
                    <a:pt x="11672" y="13886"/>
                  </a:lnTo>
                  <a:lnTo>
                    <a:pt x="11756" y="13922"/>
                  </a:lnTo>
                  <a:lnTo>
                    <a:pt x="11842" y="13955"/>
                  </a:lnTo>
                  <a:lnTo>
                    <a:pt x="11929" y="13986"/>
                  </a:lnTo>
                  <a:lnTo>
                    <a:pt x="12017" y="14011"/>
                  </a:lnTo>
                  <a:lnTo>
                    <a:pt x="12106" y="14033"/>
                  </a:lnTo>
                  <a:lnTo>
                    <a:pt x="12198" y="14051"/>
                  </a:lnTo>
                  <a:lnTo>
                    <a:pt x="12290" y="14065"/>
                  </a:lnTo>
                  <a:lnTo>
                    <a:pt x="12383" y="14075"/>
                  </a:lnTo>
                  <a:lnTo>
                    <a:pt x="12478" y="14081"/>
                  </a:lnTo>
                  <a:lnTo>
                    <a:pt x="12574" y="14083"/>
                  </a:lnTo>
                  <a:lnTo>
                    <a:pt x="12787" y="14073"/>
                  </a:lnTo>
                  <a:lnTo>
                    <a:pt x="12995" y="14043"/>
                  </a:lnTo>
                  <a:lnTo>
                    <a:pt x="13195" y="13993"/>
                  </a:lnTo>
                  <a:lnTo>
                    <a:pt x="13389" y="13924"/>
                  </a:lnTo>
                  <a:lnTo>
                    <a:pt x="13576" y="13838"/>
                  </a:lnTo>
                  <a:lnTo>
                    <a:pt x="13757" y="13733"/>
                  </a:lnTo>
                  <a:lnTo>
                    <a:pt x="13932" y="13612"/>
                  </a:lnTo>
                  <a:lnTo>
                    <a:pt x="14099" y="13475"/>
                  </a:lnTo>
                  <a:lnTo>
                    <a:pt x="14260" y="13323"/>
                  </a:lnTo>
                  <a:lnTo>
                    <a:pt x="14415" y="13155"/>
                  </a:lnTo>
                  <a:lnTo>
                    <a:pt x="14563" y="12973"/>
                  </a:lnTo>
                  <a:lnTo>
                    <a:pt x="14704" y="12777"/>
                  </a:lnTo>
                  <a:lnTo>
                    <a:pt x="14839" y="12569"/>
                  </a:lnTo>
                  <a:lnTo>
                    <a:pt x="14966" y="12349"/>
                  </a:lnTo>
                  <a:lnTo>
                    <a:pt x="15087" y="12118"/>
                  </a:lnTo>
                  <a:lnTo>
                    <a:pt x="15202" y="11874"/>
                  </a:lnTo>
                  <a:lnTo>
                    <a:pt x="15309" y="11622"/>
                  </a:lnTo>
                  <a:lnTo>
                    <a:pt x="15410" y="11359"/>
                  </a:lnTo>
                  <a:lnTo>
                    <a:pt x="15504" y="11087"/>
                  </a:lnTo>
                  <a:lnTo>
                    <a:pt x="15590" y="10807"/>
                  </a:lnTo>
                  <a:lnTo>
                    <a:pt x="15670" y="10520"/>
                  </a:lnTo>
                  <a:lnTo>
                    <a:pt x="15744" y="10225"/>
                  </a:lnTo>
                  <a:lnTo>
                    <a:pt x="15810" y="9925"/>
                  </a:lnTo>
                  <a:lnTo>
                    <a:pt x="15870" y="9618"/>
                  </a:lnTo>
                  <a:lnTo>
                    <a:pt x="15923" y="9307"/>
                  </a:lnTo>
                  <a:lnTo>
                    <a:pt x="15968" y="8991"/>
                  </a:lnTo>
                  <a:lnTo>
                    <a:pt x="16006" y="8671"/>
                  </a:lnTo>
                  <a:lnTo>
                    <a:pt x="16039" y="8349"/>
                  </a:lnTo>
                  <a:lnTo>
                    <a:pt x="16063" y="8024"/>
                  </a:lnTo>
                  <a:lnTo>
                    <a:pt x="16081" y="7697"/>
                  </a:lnTo>
                  <a:lnTo>
                    <a:pt x="16091" y="7369"/>
                  </a:lnTo>
                  <a:lnTo>
                    <a:pt x="16095" y="7042"/>
                  </a:lnTo>
                  <a:lnTo>
                    <a:pt x="16091" y="6714"/>
                  </a:lnTo>
                  <a:lnTo>
                    <a:pt x="16081" y="6386"/>
                  </a:lnTo>
                  <a:lnTo>
                    <a:pt x="16063" y="6060"/>
                  </a:lnTo>
                  <a:lnTo>
                    <a:pt x="16039" y="5735"/>
                  </a:lnTo>
                  <a:lnTo>
                    <a:pt x="16006" y="5412"/>
                  </a:lnTo>
                  <a:lnTo>
                    <a:pt x="15968" y="5092"/>
                  </a:lnTo>
                  <a:lnTo>
                    <a:pt x="15923" y="4776"/>
                  </a:lnTo>
                  <a:lnTo>
                    <a:pt x="15870" y="4465"/>
                  </a:lnTo>
                  <a:lnTo>
                    <a:pt x="15810" y="4159"/>
                  </a:lnTo>
                  <a:lnTo>
                    <a:pt x="15744" y="3858"/>
                  </a:lnTo>
                  <a:lnTo>
                    <a:pt x="15670" y="3563"/>
                  </a:lnTo>
                  <a:lnTo>
                    <a:pt x="15590" y="3276"/>
                  </a:lnTo>
                  <a:lnTo>
                    <a:pt x="15504" y="2996"/>
                  </a:lnTo>
                  <a:lnTo>
                    <a:pt x="15410" y="2724"/>
                  </a:lnTo>
                  <a:lnTo>
                    <a:pt x="15309" y="2462"/>
                  </a:lnTo>
                  <a:lnTo>
                    <a:pt x="15202" y="2209"/>
                  </a:lnTo>
                  <a:lnTo>
                    <a:pt x="15087" y="1966"/>
                  </a:lnTo>
                  <a:lnTo>
                    <a:pt x="14966" y="1734"/>
                  </a:lnTo>
                  <a:lnTo>
                    <a:pt x="14839" y="1514"/>
                  </a:lnTo>
                  <a:lnTo>
                    <a:pt x="14704" y="1306"/>
                  </a:lnTo>
                  <a:lnTo>
                    <a:pt x="14563" y="1111"/>
                  </a:lnTo>
                  <a:lnTo>
                    <a:pt x="14415" y="928"/>
                  </a:lnTo>
                  <a:lnTo>
                    <a:pt x="14260" y="760"/>
                  </a:lnTo>
                  <a:lnTo>
                    <a:pt x="14099" y="609"/>
                  </a:lnTo>
                  <a:lnTo>
                    <a:pt x="13932" y="471"/>
                  </a:lnTo>
                  <a:lnTo>
                    <a:pt x="13757" y="350"/>
                  </a:lnTo>
                  <a:lnTo>
                    <a:pt x="13576" y="245"/>
                  </a:lnTo>
                  <a:lnTo>
                    <a:pt x="13389" y="159"/>
                  </a:lnTo>
                  <a:lnTo>
                    <a:pt x="13195" y="91"/>
                  </a:lnTo>
                  <a:lnTo>
                    <a:pt x="12995" y="40"/>
                  </a:lnTo>
                  <a:lnTo>
                    <a:pt x="12787" y="10"/>
                  </a:lnTo>
                  <a:lnTo>
                    <a:pt x="1257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68" name="ïśľïďe">
              <a:extLst>
                <a:ext uri="{FF2B5EF4-FFF2-40B4-BE49-F238E27FC236}">
                  <a16:creationId xmlns:a16="http://schemas.microsoft.com/office/drawing/2014/main" id="{5E23DDD7-4C62-4977-A48B-D3275560B8AE}"/>
                </a:ext>
              </a:extLst>
            </p:cNvPr>
            <p:cNvSpPr/>
            <p:nvPr/>
          </p:nvSpPr>
          <p:spPr bwMode="auto">
            <a:xfrm>
              <a:off x="4821735" y="438465"/>
              <a:ext cx="231062" cy="231062"/>
            </a:xfrm>
            <a:custGeom>
              <a:avLst/>
              <a:gdLst>
                <a:gd name="T0" fmla="*/ 15044 w 16095"/>
                <a:gd name="T1" fmla="*/ 14382 h 16095"/>
                <a:gd name="T2" fmla="*/ 14889 w 16095"/>
                <a:gd name="T3" fmla="*/ 14685 h 16095"/>
                <a:gd name="T4" fmla="*/ 14645 w 16095"/>
                <a:gd name="T5" fmla="*/ 14917 h 16095"/>
                <a:gd name="T6" fmla="*/ 14335 w 16095"/>
                <a:gd name="T7" fmla="*/ 15057 h 16095"/>
                <a:gd name="T8" fmla="*/ 1961 w 16095"/>
                <a:gd name="T9" fmla="*/ 15088 h 16095"/>
                <a:gd name="T10" fmla="*/ 1621 w 16095"/>
                <a:gd name="T11" fmla="*/ 15010 h 16095"/>
                <a:gd name="T12" fmla="*/ 1336 w 16095"/>
                <a:gd name="T13" fmla="*/ 14828 h 16095"/>
                <a:gd name="T14" fmla="*/ 1128 w 16095"/>
                <a:gd name="T15" fmla="*/ 14562 h 16095"/>
                <a:gd name="T16" fmla="*/ 1017 w 16095"/>
                <a:gd name="T17" fmla="*/ 14236 h 16095"/>
                <a:gd name="T18" fmla="*/ 1012 w 16095"/>
                <a:gd name="T19" fmla="*/ 3947 h 16095"/>
                <a:gd name="T20" fmla="*/ 1066 w 16095"/>
                <a:gd name="T21" fmla="*/ 3784 h 16095"/>
                <a:gd name="T22" fmla="*/ 1171 w 16095"/>
                <a:gd name="T23" fmla="*/ 3652 h 16095"/>
                <a:gd name="T24" fmla="*/ 1313 w 16095"/>
                <a:gd name="T25" fmla="*/ 3560 h 16095"/>
                <a:gd name="T26" fmla="*/ 1483 w 16095"/>
                <a:gd name="T27" fmla="*/ 3522 h 16095"/>
                <a:gd name="T28" fmla="*/ 2022 w 16095"/>
                <a:gd name="T29" fmla="*/ 13682 h 16095"/>
                <a:gd name="T30" fmla="*/ 2084 w 16095"/>
                <a:gd name="T31" fmla="*/ 13841 h 16095"/>
                <a:gd name="T32" fmla="*/ 2195 w 16095"/>
                <a:gd name="T33" fmla="*/ 13968 h 16095"/>
                <a:gd name="T34" fmla="*/ 2342 w 16095"/>
                <a:gd name="T35" fmla="*/ 14053 h 16095"/>
                <a:gd name="T36" fmla="*/ 2515 w 16095"/>
                <a:gd name="T37" fmla="*/ 14083 h 16095"/>
                <a:gd name="T38" fmla="*/ 2688 w 16095"/>
                <a:gd name="T39" fmla="*/ 14053 h 16095"/>
                <a:gd name="T40" fmla="*/ 2835 w 16095"/>
                <a:gd name="T41" fmla="*/ 13968 h 16095"/>
                <a:gd name="T42" fmla="*/ 2945 w 16095"/>
                <a:gd name="T43" fmla="*/ 13841 h 16095"/>
                <a:gd name="T44" fmla="*/ 3008 w 16095"/>
                <a:gd name="T45" fmla="*/ 13682 h 16095"/>
                <a:gd name="T46" fmla="*/ 3021 w 16095"/>
                <a:gd name="T47" fmla="*/ 1458 h 16095"/>
                <a:gd name="T48" fmla="*/ 3067 w 16095"/>
                <a:gd name="T49" fmla="*/ 1291 h 16095"/>
                <a:gd name="T50" fmla="*/ 3166 w 16095"/>
                <a:gd name="T51" fmla="*/ 1154 h 16095"/>
                <a:gd name="T52" fmla="*/ 3302 w 16095"/>
                <a:gd name="T53" fmla="*/ 1055 h 16095"/>
                <a:gd name="T54" fmla="*/ 3469 w 16095"/>
                <a:gd name="T55" fmla="*/ 1009 h 16095"/>
                <a:gd name="T56" fmla="*/ 14688 w 16095"/>
                <a:gd name="T57" fmla="*/ 1016 h 16095"/>
                <a:gd name="T58" fmla="*/ 14847 w 16095"/>
                <a:gd name="T59" fmla="*/ 1079 h 16095"/>
                <a:gd name="T60" fmla="*/ 14974 w 16095"/>
                <a:gd name="T61" fmla="*/ 1189 h 16095"/>
                <a:gd name="T62" fmla="*/ 15059 w 16095"/>
                <a:gd name="T63" fmla="*/ 1336 h 16095"/>
                <a:gd name="T64" fmla="*/ 15089 w 16095"/>
                <a:gd name="T65" fmla="*/ 1509 h 16095"/>
                <a:gd name="T66" fmla="*/ 3217 w 16095"/>
                <a:gd name="T67" fmla="*/ 30 h 16095"/>
                <a:gd name="T68" fmla="*/ 2738 w 16095"/>
                <a:gd name="T69" fmla="*/ 218 h 16095"/>
                <a:gd name="T70" fmla="*/ 2356 w 16095"/>
                <a:gd name="T71" fmla="*/ 549 h 16095"/>
                <a:gd name="T72" fmla="*/ 2103 w 16095"/>
                <a:gd name="T73" fmla="*/ 990 h 16095"/>
                <a:gd name="T74" fmla="*/ 2012 w 16095"/>
                <a:gd name="T75" fmla="*/ 1509 h 16095"/>
                <a:gd name="T76" fmla="*/ 1132 w 16095"/>
                <a:gd name="T77" fmla="*/ 2562 h 16095"/>
                <a:gd name="T78" fmla="*/ 665 w 16095"/>
                <a:gd name="T79" fmla="*/ 2772 h 16095"/>
                <a:gd name="T80" fmla="*/ 300 w 16095"/>
                <a:gd name="T81" fmla="*/ 3120 h 16095"/>
                <a:gd name="T82" fmla="*/ 67 w 16095"/>
                <a:gd name="T83" fmla="*/ 3575 h 16095"/>
                <a:gd name="T84" fmla="*/ 0 w 16095"/>
                <a:gd name="T85" fmla="*/ 14083 h 16095"/>
                <a:gd name="T86" fmla="*/ 122 w 16095"/>
                <a:gd name="T87" fmla="*/ 14775 h 16095"/>
                <a:gd name="T88" fmla="*/ 460 w 16095"/>
                <a:gd name="T89" fmla="*/ 15363 h 16095"/>
                <a:gd name="T90" fmla="*/ 969 w 16095"/>
                <a:gd name="T91" fmla="*/ 15803 h 16095"/>
                <a:gd name="T92" fmla="*/ 1606 w 16095"/>
                <a:gd name="T93" fmla="*/ 16054 h 16095"/>
                <a:gd name="T94" fmla="*/ 14289 w 16095"/>
                <a:gd name="T95" fmla="*/ 16085 h 16095"/>
                <a:gd name="T96" fmla="*/ 14955 w 16095"/>
                <a:gd name="T97" fmla="*/ 15897 h 16095"/>
                <a:gd name="T98" fmla="*/ 15506 w 16095"/>
                <a:gd name="T99" fmla="*/ 15506 h 16095"/>
                <a:gd name="T100" fmla="*/ 15897 w 16095"/>
                <a:gd name="T101" fmla="*/ 14955 h 16095"/>
                <a:gd name="T102" fmla="*/ 16085 w 16095"/>
                <a:gd name="T103" fmla="*/ 14289 h 16095"/>
                <a:gd name="T104" fmla="*/ 16065 w 16095"/>
                <a:gd name="T105" fmla="*/ 1204 h 16095"/>
                <a:gd name="T106" fmla="*/ 15877 w 16095"/>
                <a:gd name="T107" fmla="*/ 726 h 16095"/>
                <a:gd name="T108" fmla="*/ 15546 w 16095"/>
                <a:gd name="T109" fmla="*/ 344 h 16095"/>
                <a:gd name="T110" fmla="*/ 15105 w 16095"/>
                <a:gd name="T111" fmla="*/ 92 h 16095"/>
                <a:gd name="T112" fmla="*/ 14586 w 16095"/>
                <a:gd name="T113" fmla="*/ 0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6095">
                  <a:moveTo>
                    <a:pt x="15089" y="14083"/>
                  </a:moveTo>
                  <a:lnTo>
                    <a:pt x="15088" y="14134"/>
                  </a:lnTo>
                  <a:lnTo>
                    <a:pt x="15084" y="14186"/>
                  </a:lnTo>
                  <a:lnTo>
                    <a:pt x="15077" y="14236"/>
                  </a:lnTo>
                  <a:lnTo>
                    <a:pt x="15069" y="14285"/>
                  </a:lnTo>
                  <a:lnTo>
                    <a:pt x="15057" y="14334"/>
                  </a:lnTo>
                  <a:lnTo>
                    <a:pt x="15044" y="14382"/>
                  </a:lnTo>
                  <a:lnTo>
                    <a:pt x="15028" y="14428"/>
                  </a:lnTo>
                  <a:lnTo>
                    <a:pt x="15010" y="14474"/>
                  </a:lnTo>
                  <a:lnTo>
                    <a:pt x="14989" y="14519"/>
                  </a:lnTo>
                  <a:lnTo>
                    <a:pt x="14967" y="14562"/>
                  </a:lnTo>
                  <a:lnTo>
                    <a:pt x="14943" y="14604"/>
                  </a:lnTo>
                  <a:lnTo>
                    <a:pt x="14917" y="14645"/>
                  </a:lnTo>
                  <a:lnTo>
                    <a:pt x="14889" y="14685"/>
                  </a:lnTo>
                  <a:lnTo>
                    <a:pt x="14859" y="14723"/>
                  </a:lnTo>
                  <a:lnTo>
                    <a:pt x="14828" y="14759"/>
                  </a:lnTo>
                  <a:lnTo>
                    <a:pt x="14794" y="14794"/>
                  </a:lnTo>
                  <a:lnTo>
                    <a:pt x="14759" y="14828"/>
                  </a:lnTo>
                  <a:lnTo>
                    <a:pt x="14723" y="14859"/>
                  </a:lnTo>
                  <a:lnTo>
                    <a:pt x="14685" y="14889"/>
                  </a:lnTo>
                  <a:lnTo>
                    <a:pt x="14645" y="14917"/>
                  </a:lnTo>
                  <a:lnTo>
                    <a:pt x="14604" y="14943"/>
                  </a:lnTo>
                  <a:lnTo>
                    <a:pt x="14562" y="14967"/>
                  </a:lnTo>
                  <a:lnTo>
                    <a:pt x="14519" y="14989"/>
                  </a:lnTo>
                  <a:lnTo>
                    <a:pt x="14474" y="15010"/>
                  </a:lnTo>
                  <a:lnTo>
                    <a:pt x="14429" y="15028"/>
                  </a:lnTo>
                  <a:lnTo>
                    <a:pt x="14382" y="15044"/>
                  </a:lnTo>
                  <a:lnTo>
                    <a:pt x="14335" y="15057"/>
                  </a:lnTo>
                  <a:lnTo>
                    <a:pt x="14285" y="15069"/>
                  </a:lnTo>
                  <a:lnTo>
                    <a:pt x="14236" y="15077"/>
                  </a:lnTo>
                  <a:lnTo>
                    <a:pt x="14186" y="15084"/>
                  </a:lnTo>
                  <a:lnTo>
                    <a:pt x="14134" y="15088"/>
                  </a:lnTo>
                  <a:lnTo>
                    <a:pt x="14083" y="15089"/>
                  </a:lnTo>
                  <a:lnTo>
                    <a:pt x="2012" y="15089"/>
                  </a:lnTo>
                  <a:lnTo>
                    <a:pt x="1961" y="15088"/>
                  </a:lnTo>
                  <a:lnTo>
                    <a:pt x="1909" y="15084"/>
                  </a:lnTo>
                  <a:lnTo>
                    <a:pt x="1859" y="15077"/>
                  </a:lnTo>
                  <a:lnTo>
                    <a:pt x="1810" y="15069"/>
                  </a:lnTo>
                  <a:lnTo>
                    <a:pt x="1760" y="15057"/>
                  </a:lnTo>
                  <a:lnTo>
                    <a:pt x="1713" y="15044"/>
                  </a:lnTo>
                  <a:lnTo>
                    <a:pt x="1666" y="15028"/>
                  </a:lnTo>
                  <a:lnTo>
                    <a:pt x="1621" y="15010"/>
                  </a:lnTo>
                  <a:lnTo>
                    <a:pt x="1576" y="14989"/>
                  </a:lnTo>
                  <a:lnTo>
                    <a:pt x="1533" y="14967"/>
                  </a:lnTo>
                  <a:lnTo>
                    <a:pt x="1491" y="14943"/>
                  </a:lnTo>
                  <a:lnTo>
                    <a:pt x="1450" y="14917"/>
                  </a:lnTo>
                  <a:lnTo>
                    <a:pt x="1410" y="14889"/>
                  </a:lnTo>
                  <a:lnTo>
                    <a:pt x="1372" y="14859"/>
                  </a:lnTo>
                  <a:lnTo>
                    <a:pt x="1336" y="14828"/>
                  </a:lnTo>
                  <a:lnTo>
                    <a:pt x="1301" y="14794"/>
                  </a:lnTo>
                  <a:lnTo>
                    <a:pt x="1267" y="14759"/>
                  </a:lnTo>
                  <a:lnTo>
                    <a:pt x="1236" y="14723"/>
                  </a:lnTo>
                  <a:lnTo>
                    <a:pt x="1206" y="14685"/>
                  </a:lnTo>
                  <a:lnTo>
                    <a:pt x="1178" y="14645"/>
                  </a:lnTo>
                  <a:lnTo>
                    <a:pt x="1152" y="14604"/>
                  </a:lnTo>
                  <a:lnTo>
                    <a:pt x="1128" y="14562"/>
                  </a:lnTo>
                  <a:lnTo>
                    <a:pt x="1106" y="14519"/>
                  </a:lnTo>
                  <a:lnTo>
                    <a:pt x="1085" y="14474"/>
                  </a:lnTo>
                  <a:lnTo>
                    <a:pt x="1067" y="14428"/>
                  </a:lnTo>
                  <a:lnTo>
                    <a:pt x="1051" y="14382"/>
                  </a:lnTo>
                  <a:lnTo>
                    <a:pt x="1037" y="14334"/>
                  </a:lnTo>
                  <a:lnTo>
                    <a:pt x="1026" y="14285"/>
                  </a:lnTo>
                  <a:lnTo>
                    <a:pt x="1017" y="14236"/>
                  </a:lnTo>
                  <a:lnTo>
                    <a:pt x="1011" y="14186"/>
                  </a:lnTo>
                  <a:lnTo>
                    <a:pt x="1007" y="14134"/>
                  </a:lnTo>
                  <a:lnTo>
                    <a:pt x="1006" y="14083"/>
                  </a:lnTo>
                  <a:lnTo>
                    <a:pt x="1006" y="4024"/>
                  </a:lnTo>
                  <a:lnTo>
                    <a:pt x="1007" y="3998"/>
                  </a:lnTo>
                  <a:lnTo>
                    <a:pt x="1009" y="3972"/>
                  </a:lnTo>
                  <a:lnTo>
                    <a:pt x="1012" y="3947"/>
                  </a:lnTo>
                  <a:lnTo>
                    <a:pt x="1016" y="3922"/>
                  </a:lnTo>
                  <a:lnTo>
                    <a:pt x="1022" y="3898"/>
                  </a:lnTo>
                  <a:lnTo>
                    <a:pt x="1028" y="3874"/>
                  </a:lnTo>
                  <a:lnTo>
                    <a:pt x="1036" y="3851"/>
                  </a:lnTo>
                  <a:lnTo>
                    <a:pt x="1045" y="3828"/>
                  </a:lnTo>
                  <a:lnTo>
                    <a:pt x="1055" y="3805"/>
                  </a:lnTo>
                  <a:lnTo>
                    <a:pt x="1066" y="3784"/>
                  </a:lnTo>
                  <a:lnTo>
                    <a:pt x="1078" y="3763"/>
                  </a:lnTo>
                  <a:lnTo>
                    <a:pt x="1091" y="3743"/>
                  </a:lnTo>
                  <a:lnTo>
                    <a:pt x="1106" y="3723"/>
                  </a:lnTo>
                  <a:lnTo>
                    <a:pt x="1121" y="3704"/>
                  </a:lnTo>
                  <a:lnTo>
                    <a:pt x="1137" y="3686"/>
                  </a:lnTo>
                  <a:lnTo>
                    <a:pt x="1153" y="3669"/>
                  </a:lnTo>
                  <a:lnTo>
                    <a:pt x="1171" y="3652"/>
                  </a:lnTo>
                  <a:lnTo>
                    <a:pt x="1189" y="3635"/>
                  </a:lnTo>
                  <a:lnTo>
                    <a:pt x="1208" y="3620"/>
                  </a:lnTo>
                  <a:lnTo>
                    <a:pt x="1227" y="3606"/>
                  </a:lnTo>
                  <a:lnTo>
                    <a:pt x="1248" y="3593"/>
                  </a:lnTo>
                  <a:lnTo>
                    <a:pt x="1269" y="3581"/>
                  </a:lnTo>
                  <a:lnTo>
                    <a:pt x="1291" y="3570"/>
                  </a:lnTo>
                  <a:lnTo>
                    <a:pt x="1313" y="3560"/>
                  </a:lnTo>
                  <a:lnTo>
                    <a:pt x="1336" y="3551"/>
                  </a:lnTo>
                  <a:lnTo>
                    <a:pt x="1359" y="3544"/>
                  </a:lnTo>
                  <a:lnTo>
                    <a:pt x="1383" y="3537"/>
                  </a:lnTo>
                  <a:lnTo>
                    <a:pt x="1407" y="3531"/>
                  </a:lnTo>
                  <a:lnTo>
                    <a:pt x="1432" y="3527"/>
                  </a:lnTo>
                  <a:lnTo>
                    <a:pt x="1458" y="3524"/>
                  </a:lnTo>
                  <a:lnTo>
                    <a:pt x="1483" y="3522"/>
                  </a:lnTo>
                  <a:lnTo>
                    <a:pt x="1509" y="3521"/>
                  </a:lnTo>
                  <a:lnTo>
                    <a:pt x="2012" y="3521"/>
                  </a:lnTo>
                  <a:lnTo>
                    <a:pt x="2012" y="13580"/>
                  </a:lnTo>
                  <a:lnTo>
                    <a:pt x="2013" y="13606"/>
                  </a:lnTo>
                  <a:lnTo>
                    <a:pt x="2015" y="13631"/>
                  </a:lnTo>
                  <a:lnTo>
                    <a:pt x="2018" y="13657"/>
                  </a:lnTo>
                  <a:lnTo>
                    <a:pt x="2022" y="13682"/>
                  </a:lnTo>
                  <a:lnTo>
                    <a:pt x="2028" y="13706"/>
                  </a:lnTo>
                  <a:lnTo>
                    <a:pt x="2034" y="13730"/>
                  </a:lnTo>
                  <a:lnTo>
                    <a:pt x="2042" y="13753"/>
                  </a:lnTo>
                  <a:lnTo>
                    <a:pt x="2051" y="13776"/>
                  </a:lnTo>
                  <a:lnTo>
                    <a:pt x="2061" y="13798"/>
                  </a:lnTo>
                  <a:lnTo>
                    <a:pt x="2072" y="13821"/>
                  </a:lnTo>
                  <a:lnTo>
                    <a:pt x="2084" y="13841"/>
                  </a:lnTo>
                  <a:lnTo>
                    <a:pt x="2097" y="13862"/>
                  </a:lnTo>
                  <a:lnTo>
                    <a:pt x="2111" y="13881"/>
                  </a:lnTo>
                  <a:lnTo>
                    <a:pt x="2127" y="13900"/>
                  </a:lnTo>
                  <a:lnTo>
                    <a:pt x="2143" y="13918"/>
                  </a:lnTo>
                  <a:lnTo>
                    <a:pt x="2159" y="13936"/>
                  </a:lnTo>
                  <a:lnTo>
                    <a:pt x="2177" y="13952"/>
                  </a:lnTo>
                  <a:lnTo>
                    <a:pt x="2195" y="13968"/>
                  </a:lnTo>
                  <a:lnTo>
                    <a:pt x="2214" y="13984"/>
                  </a:lnTo>
                  <a:lnTo>
                    <a:pt x="2233" y="13998"/>
                  </a:lnTo>
                  <a:lnTo>
                    <a:pt x="2254" y="14011"/>
                  </a:lnTo>
                  <a:lnTo>
                    <a:pt x="2275" y="14023"/>
                  </a:lnTo>
                  <a:lnTo>
                    <a:pt x="2297" y="14034"/>
                  </a:lnTo>
                  <a:lnTo>
                    <a:pt x="2319" y="14044"/>
                  </a:lnTo>
                  <a:lnTo>
                    <a:pt x="2342" y="14053"/>
                  </a:lnTo>
                  <a:lnTo>
                    <a:pt x="2365" y="14061"/>
                  </a:lnTo>
                  <a:lnTo>
                    <a:pt x="2389" y="14067"/>
                  </a:lnTo>
                  <a:lnTo>
                    <a:pt x="2413" y="14073"/>
                  </a:lnTo>
                  <a:lnTo>
                    <a:pt x="2438" y="14077"/>
                  </a:lnTo>
                  <a:lnTo>
                    <a:pt x="2464" y="14080"/>
                  </a:lnTo>
                  <a:lnTo>
                    <a:pt x="2489" y="14082"/>
                  </a:lnTo>
                  <a:lnTo>
                    <a:pt x="2515" y="14083"/>
                  </a:lnTo>
                  <a:lnTo>
                    <a:pt x="2541" y="14082"/>
                  </a:lnTo>
                  <a:lnTo>
                    <a:pt x="2566" y="14080"/>
                  </a:lnTo>
                  <a:lnTo>
                    <a:pt x="2591" y="14077"/>
                  </a:lnTo>
                  <a:lnTo>
                    <a:pt x="2616" y="14073"/>
                  </a:lnTo>
                  <a:lnTo>
                    <a:pt x="2641" y="14067"/>
                  </a:lnTo>
                  <a:lnTo>
                    <a:pt x="2665" y="14061"/>
                  </a:lnTo>
                  <a:lnTo>
                    <a:pt x="2688" y="14053"/>
                  </a:lnTo>
                  <a:lnTo>
                    <a:pt x="2711" y="14044"/>
                  </a:lnTo>
                  <a:lnTo>
                    <a:pt x="2733" y="14034"/>
                  </a:lnTo>
                  <a:lnTo>
                    <a:pt x="2755" y="14023"/>
                  </a:lnTo>
                  <a:lnTo>
                    <a:pt x="2775" y="14011"/>
                  </a:lnTo>
                  <a:lnTo>
                    <a:pt x="2797" y="13998"/>
                  </a:lnTo>
                  <a:lnTo>
                    <a:pt x="2816" y="13984"/>
                  </a:lnTo>
                  <a:lnTo>
                    <a:pt x="2835" y="13968"/>
                  </a:lnTo>
                  <a:lnTo>
                    <a:pt x="2853" y="13952"/>
                  </a:lnTo>
                  <a:lnTo>
                    <a:pt x="2871" y="13936"/>
                  </a:lnTo>
                  <a:lnTo>
                    <a:pt x="2887" y="13918"/>
                  </a:lnTo>
                  <a:lnTo>
                    <a:pt x="2903" y="13900"/>
                  </a:lnTo>
                  <a:lnTo>
                    <a:pt x="2918" y="13881"/>
                  </a:lnTo>
                  <a:lnTo>
                    <a:pt x="2932" y="13862"/>
                  </a:lnTo>
                  <a:lnTo>
                    <a:pt x="2945" y="13841"/>
                  </a:lnTo>
                  <a:lnTo>
                    <a:pt x="2957" y="13821"/>
                  </a:lnTo>
                  <a:lnTo>
                    <a:pt x="2969" y="13798"/>
                  </a:lnTo>
                  <a:lnTo>
                    <a:pt x="2979" y="13776"/>
                  </a:lnTo>
                  <a:lnTo>
                    <a:pt x="2988" y="13753"/>
                  </a:lnTo>
                  <a:lnTo>
                    <a:pt x="2996" y="13730"/>
                  </a:lnTo>
                  <a:lnTo>
                    <a:pt x="3002" y="13706"/>
                  </a:lnTo>
                  <a:lnTo>
                    <a:pt x="3008" y="13682"/>
                  </a:lnTo>
                  <a:lnTo>
                    <a:pt x="3012" y="13657"/>
                  </a:lnTo>
                  <a:lnTo>
                    <a:pt x="3015" y="13631"/>
                  </a:lnTo>
                  <a:lnTo>
                    <a:pt x="3017" y="13606"/>
                  </a:lnTo>
                  <a:lnTo>
                    <a:pt x="3018" y="13580"/>
                  </a:lnTo>
                  <a:lnTo>
                    <a:pt x="3018" y="1509"/>
                  </a:lnTo>
                  <a:lnTo>
                    <a:pt x="3019" y="1483"/>
                  </a:lnTo>
                  <a:lnTo>
                    <a:pt x="3021" y="1458"/>
                  </a:lnTo>
                  <a:lnTo>
                    <a:pt x="3024" y="1432"/>
                  </a:lnTo>
                  <a:lnTo>
                    <a:pt x="3028" y="1407"/>
                  </a:lnTo>
                  <a:lnTo>
                    <a:pt x="3034" y="1383"/>
                  </a:lnTo>
                  <a:lnTo>
                    <a:pt x="3041" y="1359"/>
                  </a:lnTo>
                  <a:lnTo>
                    <a:pt x="3048" y="1336"/>
                  </a:lnTo>
                  <a:lnTo>
                    <a:pt x="3057" y="1313"/>
                  </a:lnTo>
                  <a:lnTo>
                    <a:pt x="3067" y="1291"/>
                  </a:lnTo>
                  <a:lnTo>
                    <a:pt x="3078" y="1269"/>
                  </a:lnTo>
                  <a:lnTo>
                    <a:pt x="3090" y="1248"/>
                  </a:lnTo>
                  <a:lnTo>
                    <a:pt x="3103" y="1227"/>
                  </a:lnTo>
                  <a:lnTo>
                    <a:pt x="3117" y="1208"/>
                  </a:lnTo>
                  <a:lnTo>
                    <a:pt x="3132" y="1189"/>
                  </a:lnTo>
                  <a:lnTo>
                    <a:pt x="3149" y="1171"/>
                  </a:lnTo>
                  <a:lnTo>
                    <a:pt x="3166" y="1154"/>
                  </a:lnTo>
                  <a:lnTo>
                    <a:pt x="3183" y="1137"/>
                  </a:lnTo>
                  <a:lnTo>
                    <a:pt x="3201" y="1121"/>
                  </a:lnTo>
                  <a:lnTo>
                    <a:pt x="3220" y="1106"/>
                  </a:lnTo>
                  <a:lnTo>
                    <a:pt x="3240" y="1092"/>
                  </a:lnTo>
                  <a:lnTo>
                    <a:pt x="3260" y="1079"/>
                  </a:lnTo>
                  <a:lnTo>
                    <a:pt x="3281" y="1066"/>
                  </a:lnTo>
                  <a:lnTo>
                    <a:pt x="3302" y="1055"/>
                  </a:lnTo>
                  <a:lnTo>
                    <a:pt x="3325" y="1045"/>
                  </a:lnTo>
                  <a:lnTo>
                    <a:pt x="3348" y="1036"/>
                  </a:lnTo>
                  <a:lnTo>
                    <a:pt x="3371" y="1029"/>
                  </a:lnTo>
                  <a:lnTo>
                    <a:pt x="3395" y="1022"/>
                  </a:lnTo>
                  <a:lnTo>
                    <a:pt x="3419" y="1016"/>
                  </a:lnTo>
                  <a:lnTo>
                    <a:pt x="3444" y="1012"/>
                  </a:lnTo>
                  <a:lnTo>
                    <a:pt x="3469" y="1009"/>
                  </a:lnTo>
                  <a:lnTo>
                    <a:pt x="3495" y="1007"/>
                  </a:lnTo>
                  <a:lnTo>
                    <a:pt x="3521" y="1006"/>
                  </a:lnTo>
                  <a:lnTo>
                    <a:pt x="14586" y="1006"/>
                  </a:lnTo>
                  <a:lnTo>
                    <a:pt x="14612" y="1007"/>
                  </a:lnTo>
                  <a:lnTo>
                    <a:pt x="14637" y="1009"/>
                  </a:lnTo>
                  <a:lnTo>
                    <a:pt x="14663" y="1012"/>
                  </a:lnTo>
                  <a:lnTo>
                    <a:pt x="14688" y="1016"/>
                  </a:lnTo>
                  <a:lnTo>
                    <a:pt x="14712" y="1022"/>
                  </a:lnTo>
                  <a:lnTo>
                    <a:pt x="14736" y="1029"/>
                  </a:lnTo>
                  <a:lnTo>
                    <a:pt x="14759" y="1036"/>
                  </a:lnTo>
                  <a:lnTo>
                    <a:pt x="14782" y="1045"/>
                  </a:lnTo>
                  <a:lnTo>
                    <a:pt x="14804" y="1055"/>
                  </a:lnTo>
                  <a:lnTo>
                    <a:pt x="14826" y="1066"/>
                  </a:lnTo>
                  <a:lnTo>
                    <a:pt x="14847" y="1079"/>
                  </a:lnTo>
                  <a:lnTo>
                    <a:pt x="14867" y="1092"/>
                  </a:lnTo>
                  <a:lnTo>
                    <a:pt x="14887" y="1106"/>
                  </a:lnTo>
                  <a:lnTo>
                    <a:pt x="14906" y="1121"/>
                  </a:lnTo>
                  <a:lnTo>
                    <a:pt x="14924" y="1137"/>
                  </a:lnTo>
                  <a:lnTo>
                    <a:pt x="14942" y="1154"/>
                  </a:lnTo>
                  <a:lnTo>
                    <a:pt x="14958" y="1171"/>
                  </a:lnTo>
                  <a:lnTo>
                    <a:pt x="14974" y="1189"/>
                  </a:lnTo>
                  <a:lnTo>
                    <a:pt x="14989" y="1208"/>
                  </a:lnTo>
                  <a:lnTo>
                    <a:pt x="15004" y="1227"/>
                  </a:lnTo>
                  <a:lnTo>
                    <a:pt x="15017" y="1248"/>
                  </a:lnTo>
                  <a:lnTo>
                    <a:pt x="15029" y="1269"/>
                  </a:lnTo>
                  <a:lnTo>
                    <a:pt x="15040" y="1291"/>
                  </a:lnTo>
                  <a:lnTo>
                    <a:pt x="15050" y="1313"/>
                  </a:lnTo>
                  <a:lnTo>
                    <a:pt x="15059" y="1336"/>
                  </a:lnTo>
                  <a:lnTo>
                    <a:pt x="15066" y="1359"/>
                  </a:lnTo>
                  <a:lnTo>
                    <a:pt x="15073" y="1383"/>
                  </a:lnTo>
                  <a:lnTo>
                    <a:pt x="15079" y="1407"/>
                  </a:lnTo>
                  <a:lnTo>
                    <a:pt x="15083" y="1432"/>
                  </a:lnTo>
                  <a:lnTo>
                    <a:pt x="15086" y="1458"/>
                  </a:lnTo>
                  <a:lnTo>
                    <a:pt x="15088" y="1483"/>
                  </a:lnTo>
                  <a:lnTo>
                    <a:pt x="15089" y="1509"/>
                  </a:lnTo>
                  <a:lnTo>
                    <a:pt x="15089" y="14083"/>
                  </a:lnTo>
                  <a:close/>
                  <a:moveTo>
                    <a:pt x="14586" y="0"/>
                  </a:moveTo>
                  <a:lnTo>
                    <a:pt x="3521" y="0"/>
                  </a:lnTo>
                  <a:lnTo>
                    <a:pt x="3443" y="2"/>
                  </a:lnTo>
                  <a:lnTo>
                    <a:pt x="3367" y="8"/>
                  </a:lnTo>
                  <a:lnTo>
                    <a:pt x="3291" y="17"/>
                  </a:lnTo>
                  <a:lnTo>
                    <a:pt x="3217" y="30"/>
                  </a:lnTo>
                  <a:lnTo>
                    <a:pt x="3144" y="47"/>
                  </a:lnTo>
                  <a:lnTo>
                    <a:pt x="3072" y="67"/>
                  </a:lnTo>
                  <a:lnTo>
                    <a:pt x="3002" y="92"/>
                  </a:lnTo>
                  <a:lnTo>
                    <a:pt x="2933" y="119"/>
                  </a:lnTo>
                  <a:lnTo>
                    <a:pt x="2867" y="149"/>
                  </a:lnTo>
                  <a:lnTo>
                    <a:pt x="2802" y="182"/>
                  </a:lnTo>
                  <a:lnTo>
                    <a:pt x="2738" y="218"/>
                  </a:lnTo>
                  <a:lnTo>
                    <a:pt x="2677" y="258"/>
                  </a:lnTo>
                  <a:lnTo>
                    <a:pt x="2617" y="300"/>
                  </a:lnTo>
                  <a:lnTo>
                    <a:pt x="2561" y="344"/>
                  </a:lnTo>
                  <a:lnTo>
                    <a:pt x="2506" y="391"/>
                  </a:lnTo>
                  <a:lnTo>
                    <a:pt x="2453" y="442"/>
                  </a:lnTo>
                  <a:lnTo>
                    <a:pt x="2404" y="494"/>
                  </a:lnTo>
                  <a:lnTo>
                    <a:pt x="2356" y="549"/>
                  </a:lnTo>
                  <a:lnTo>
                    <a:pt x="2312" y="606"/>
                  </a:lnTo>
                  <a:lnTo>
                    <a:pt x="2269" y="665"/>
                  </a:lnTo>
                  <a:lnTo>
                    <a:pt x="2230" y="726"/>
                  </a:lnTo>
                  <a:lnTo>
                    <a:pt x="2194" y="790"/>
                  </a:lnTo>
                  <a:lnTo>
                    <a:pt x="2161" y="854"/>
                  </a:lnTo>
                  <a:lnTo>
                    <a:pt x="2131" y="921"/>
                  </a:lnTo>
                  <a:lnTo>
                    <a:pt x="2103" y="990"/>
                  </a:lnTo>
                  <a:lnTo>
                    <a:pt x="2079" y="1060"/>
                  </a:lnTo>
                  <a:lnTo>
                    <a:pt x="2059" y="1132"/>
                  </a:lnTo>
                  <a:lnTo>
                    <a:pt x="2042" y="1204"/>
                  </a:lnTo>
                  <a:lnTo>
                    <a:pt x="2029" y="1279"/>
                  </a:lnTo>
                  <a:lnTo>
                    <a:pt x="2020" y="1354"/>
                  </a:lnTo>
                  <a:lnTo>
                    <a:pt x="2014" y="1431"/>
                  </a:lnTo>
                  <a:lnTo>
                    <a:pt x="2012" y="1509"/>
                  </a:lnTo>
                  <a:lnTo>
                    <a:pt x="2012" y="2515"/>
                  </a:lnTo>
                  <a:lnTo>
                    <a:pt x="1509" y="2515"/>
                  </a:lnTo>
                  <a:lnTo>
                    <a:pt x="1431" y="2517"/>
                  </a:lnTo>
                  <a:lnTo>
                    <a:pt x="1355" y="2523"/>
                  </a:lnTo>
                  <a:lnTo>
                    <a:pt x="1280" y="2532"/>
                  </a:lnTo>
                  <a:lnTo>
                    <a:pt x="1205" y="2545"/>
                  </a:lnTo>
                  <a:lnTo>
                    <a:pt x="1132" y="2562"/>
                  </a:lnTo>
                  <a:lnTo>
                    <a:pt x="1060" y="2582"/>
                  </a:lnTo>
                  <a:lnTo>
                    <a:pt x="990" y="2606"/>
                  </a:lnTo>
                  <a:lnTo>
                    <a:pt x="921" y="2634"/>
                  </a:lnTo>
                  <a:lnTo>
                    <a:pt x="855" y="2664"/>
                  </a:lnTo>
                  <a:lnTo>
                    <a:pt x="790" y="2697"/>
                  </a:lnTo>
                  <a:lnTo>
                    <a:pt x="726" y="2733"/>
                  </a:lnTo>
                  <a:lnTo>
                    <a:pt x="665" y="2772"/>
                  </a:lnTo>
                  <a:lnTo>
                    <a:pt x="607" y="2815"/>
                  </a:lnTo>
                  <a:lnTo>
                    <a:pt x="549" y="2859"/>
                  </a:lnTo>
                  <a:lnTo>
                    <a:pt x="494" y="2907"/>
                  </a:lnTo>
                  <a:lnTo>
                    <a:pt x="442" y="2956"/>
                  </a:lnTo>
                  <a:lnTo>
                    <a:pt x="392" y="3009"/>
                  </a:lnTo>
                  <a:lnTo>
                    <a:pt x="345" y="3064"/>
                  </a:lnTo>
                  <a:lnTo>
                    <a:pt x="300" y="3120"/>
                  </a:lnTo>
                  <a:lnTo>
                    <a:pt x="258" y="3180"/>
                  </a:lnTo>
                  <a:lnTo>
                    <a:pt x="218" y="3241"/>
                  </a:lnTo>
                  <a:lnTo>
                    <a:pt x="182" y="3305"/>
                  </a:lnTo>
                  <a:lnTo>
                    <a:pt x="149" y="3369"/>
                  </a:lnTo>
                  <a:lnTo>
                    <a:pt x="119" y="3436"/>
                  </a:lnTo>
                  <a:lnTo>
                    <a:pt x="92" y="3505"/>
                  </a:lnTo>
                  <a:lnTo>
                    <a:pt x="67" y="3575"/>
                  </a:lnTo>
                  <a:lnTo>
                    <a:pt x="47" y="3647"/>
                  </a:lnTo>
                  <a:lnTo>
                    <a:pt x="30" y="3720"/>
                  </a:lnTo>
                  <a:lnTo>
                    <a:pt x="17" y="3793"/>
                  </a:lnTo>
                  <a:lnTo>
                    <a:pt x="8" y="3869"/>
                  </a:lnTo>
                  <a:lnTo>
                    <a:pt x="2" y="3946"/>
                  </a:lnTo>
                  <a:lnTo>
                    <a:pt x="0" y="4024"/>
                  </a:lnTo>
                  <a:lnTo>
                    <a:pt x="0" y="14083"/>
                  </a:lnTo>
                  <a:lnTo>
                    <a:pt x="3" y="14187"/>
                  </a:lnTo>
                  <a:lnTo>
                    <a:pt x="10" y="14289"/>
                  </a:lnTo>
                  <a:lnTo>
                    <a:pt x="23" y="14390"/>
                  </a:lnTo>
                  <a:lnTo>
                    <a:pt x="41" y="14489"/>
                  </a:lnTo>
                  <a:lnTo>
                    <a:pt x="63" y="14586"/>
                  </a:lnTo>
                  <a:lnTo>
                    <a:pt x="91" y="14682"/>
                  </a:lnTo>
                  <a:lnTo>
                    <a:pt x="122" y="14775"/>
                  </a:lnTo>
                  <a:lnTo>
                    <a:pt x="158" y="14867"/>
                  </a:lnTo>
                  <a:lnTo>
                    <a:pt x="198" y="14955"/>
                  </a:lnTo>
                  <a:lnTo>
                    <a:pt x="242" y="15042"/>
                  </a:lnTo>
                  <a:lnTo>
                    <a:pt x="292" y="15126"/>
                  </a:lnTo>
                  <a:lnTo>
                    <a:pt x="344" y="15208"/>
                  </a:lnTo>
                  <a:lnTo>
                    <a:pt x="399" y="15287"/>
                  </a:lnTo>
                  <a:lnTo>
                    <a:pt x="460" y="15363"/>
                  </a:lnTo>
                  <a:lnTo>
                    <a:pt x="523" y="15436"/>
                  </a:lnTo>
                  <a:lnTo>
                    <a:pt x="589" y="15506"/>
                  </a:lnTo>
                  <a:lnTo>
                    <a:pt x="659" y="15572"/>
                  </a:lnTo>
                  <a:lnTo>
                    <a:pt x="732" y="15635"/>
                  </a:lnTo>
                  <a:lnTo>
                    <a:pt x="808" y="15696"/>
                  </a:lnTo>
                  <a:lnTo>
                    <a:pt x="887" y="15751"/>
                  </a:lnTo>
                  <a:lnTo>
                    <a:pt x="969" y="15803"/>
                  </a:lnTo>
                  <a:lnTo>
                    <a:pt x="1053" y="15853"/>
                  </a:lnTo>
                  <a:lnTo>
                    <a:pt x="1140" y="15897"/>
                  </a:lnTo>
                  <a:lnTo>
                    <a:pt x="1228" y="15937"/>
                  </a:lnTo>
                  <a:lnTo>
                    <a:pt x="1320" y="15973"/>
                  </a:lnTo>
                  <a:lnTo>
                    <a:pt x="1413" y="16004"/>
                  </a:lnTo>
                  <a:lnTo>
                    <a:pt x="1509" y="16032"/>
                  </a:lnTo>
                  <a:lnTo>
                    <a:pt x="1606" y="16054"/>
                  </a:lnTo>
                  <a:lnTo>
                    <a:pt x="1705" y="16072"/>
                  </a:lnTo>
                  <a:lnTo>
                    <a:pt x="1806" y="16085"/>
                  </a:lnTo>
                  <a:lnTo>
                    <a:pt x="1908" y="16092"/>
                  </a:lnTo>
                  <a:lnTo>
                    <a:pt x="2012" y="16095"/>
                  </a:lnTo>
                  <a:lnTo>
                    <a:pt x="14083" y="16095"/>
                  </a:lnTo>
                  <a:lnTo>
                    <a:pt x="14187" y="16092"/>
                  </a:lnTo>
                  <a:lnTo>
                    <a:pt x="14289" y="16085"/>
                  </a:lnTo>
                  <a:lnTo>
                    <a:pt x="14390" y="16072"/>
                  </a:lnTo>
                  <a:lnTo>
                    <a:pt x="14489" y="16054"/>
                  </a:lnTo>
                  <a:lnTo>
                    <a:pt x="14586" y="16032"/>
                  </a:lnTo>
                  <a:lnTo>
                    <a:pt x="14682" y="16004"/>
                  </a:lnTo>
                  <a:lnTo>
                    <a:pt x="14775" y="15973"/>
                  </a:lnTo>
                  <a:lnTo>
                    <a:pt x="14867" y="15937"/>
                  </a:lnTo>
                  <a:lnTo>
                    <a:pt x="14955" y="15897"/>
                  </a:lnTo>
                  <a:lnTo>
                    <a:pt x="15042" y="15853"/>
                  </a:lnTo>
                  <a:lnTo>
                    <a:pt x="15126" y="15803"/>
                  </a:lnTo>
                  <a:lnTo>
                    <a:pt x="15208" y="15751"/>
                  </a:lnTo>
                  <a:lnTo>
                    <a:pt x="15287" y="15696"/>
                  </a:lnTo>
                  <a:lnTo>
                    <a:pt x="15363" y="15635"/>
                  </a:lnTo>
                  <a:lnTo>
                    <a:pt x="15436" y="15572"/>
                  </a:lnTo>
                  <a:lnTo>
                    <a:pt x="15506" y="15506"/>
                  </a:lnTo>
                  <a:lnTo>
                    <a:pt x="15572" y="15436"/>
                  </a:lnTo>
                  <a:lnTo>
                    <a:pt x="15635" y="15363"/>
                  </a:lnTo>
                  <a:lnTo>
                    <a:pt x="15696" y="15287"/>
                  </a:lnTo>
                  <a:lnTo>
                    <a:pt x="15751" y="15208"/>
                  </a:lnTo>
                  <a:lnTo>
                    <a:pt x="15803" y="15126"/>
                  </a:lnTo>
                  <a:lnTo>
                    <a:pt x="15853" y="15042"/>
                  </a:lnTo>
                  <a:lnTo>
                    <a:pt x="15897" y="14955"/>
                  </a:lnTo>
                  <a:lnTo>
                    <a:pt x="15937" y="14867"/>
                  </a:lnTo>
                  <a:lnTo>
                    <a:pt x="15973" y="14775"/>
                  </a:lnTo>
                  <a:lnTo>
                    <a:pt x="16004" y="14682"/>
                  </a:lnTo>
                  <a:lnTo>
                    <a:pt x="16032" y="14586"/>
                  </a:lnTo>
                  <a:lnTo>
                    <a:pt x="16054" y="14489"/>
                  </a:lnTo>
                  <a:lnTo>
                    <a:pt x="16072" y="14390"/>
                  </a:lnTo>
                  <a:lnTo>
                    <a:pt x="16085" y="14289"/>
                  </a:lnTo>
                  <a:lnTo>
                    <a:pt x="16092" y="14187"/>
                  </a:lnTo>
                  <a:lnTo>
                    <a:pt x="16095" y="14083"/>
                  </a:lnTo>
                  <a:lnTo>
                    <a:pt x="16095" y="1509"/>
                  </a:lnTo>
                  <a:lnTo>
                    <a:pt x="16093" y="1431"/>
                  </a:lnTo>
                  <a:lnTo>
                    <a:pt x="16087" y="1354"/>
                  </a:lnTo>
                  <a:lnTo>
                    <a:pt x="16078" y="1279"/>
                  </a:lnTo>
                  <a:lnTo>
                    <a:pt x="16065" y="1204"/>
                  </a:lnTo>
                  <a:lnTo>
                    <a:pt x="16048" y="1132"/>
                  </a:lnTo>
                  <a:lnTo>
                    <a:pt x="16028" y="1060"/>
                  </a:lnTo>
                  <a:lnTo>
                    <a:pt x="16003" y="990"/>
                  </a:lnTo>
                  <a:lnTo>
                    <a:pt x="15976" y="921"/>
                  </a:lnTo>
                  <a:lnTo>
                    <a:pt x="15946" y="854"/>
                  </a:lnTo>
                  <a:lnTo>
                    <a:pt x="15913" y="790"/>
                  </a:lnTo>
                  <a:lnTo>
                    <a:pt x="15877" y="726"/>
                  </a:lnTo>
                  <a:lnTo>
                    <a:pt x="15837" y="665"/>
                  </a:lnTo>
                  <a:lnTo>
                    <a:pt x="15795" y="606"/>
                  </a:lnTo>
                  <a:lnTo>
                    <a:pt x="15750" y="549"/>
                  </a:lnTo>
                  <a:lnTo>
                    <a:pt x="15703" y="494"/>
                  </a:lnTo>
                  <a:lnTo>
                    <a:pt x="15653" y="442"/>
                  </a:lnTo>
                  <a:lnTo>
                    <a:pt x="15601" y="391"/>
                  </a:lnTo>
                  <a:lnTo>
                    <a:pt x="15546" y="344"/>
                  </a:lnTo>
                  <a:lnTo>
                    <a:pt x="15488" y="300"/>
                  </a:lnTo>
                  <a:lnTo>
                    <a:pt x="15430" y="258"/>
                  </a:lnTo>
                  <a:lnTo>
                    <a:pt x="15369" y="218"/>
                  </a:lnTo>
                  <a:lnTo>
                    <a:pt x="15305" y="182"/>
                  </a:lnTo>
                  <a:lnTo>
                    <a:pt x="15240" y="149"/>
                  </a:lnTo>
                  <a:lnTo>
                    <a:pt x="15174" y="119"/>
                  </a:lnTo>
                  <a:lnTo>
                    <a:pt x="15105" y="92"/>
                  </a:lnTo>
                  <a:lnTo>
                    <a:pt x="15035" y="67"/>
                  </a:lnTo>
                  <a:lnTo>
                    <a:pt x="14963" y="47"/>
                  </a:lnTo>
                  <a:lnTo>
                    <a:pt x="14890" y="30"/>
                  </a:lnTo>
                  <a:lnTo>
                    <a:pt x="14815" y="17"/>
                  </a:lnTo>
                  <a:lnTo>
                    <a:pt x="14740" y="8"/>
                  </a:lnTo>
                  <a:lnTo>
                    <a:pt x="14664" y="2"/>
                  </a:lnTo>
                  <a:lnTo>
                    <a:pt x="1458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69" name="işļîdè">
              <a:extLst>
                <a:ext uri="{FF2B5EF4-FFF2-40B4-BE49-F238E27FC236}">
                  <a16:creationId xmlns:a16="http://schemas.microsoft.com/office/drawing/2014/main" id="{242F59C2-76EB-4328-8364-1D3ACB209882}"/>
                </a:ext>
              </a:extLst>
            </p:cNvPr>
            <p:cNvSpPr/>
            <p:nvPr/>
          </p:nvSpPr>
          <p:spPr bwMode="auto">
            <a:xfrm>
              <a:off x="4958779" y="525047"/>
              <a:ext cx="65335" cy="7436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1 h 503"/>
                <a:gd name="T8" fmla="*/ 4427 w 4527"/>
                <a:gd name="T9" fmla="*/ 452 h 503"/>
                <a:gd name="T10" fmla="*/ 4454 w 4527"/>
                <a:gd name="T11" fmla="*/ 428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1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0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1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89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1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5 h 503"/>
                <a:gd name="T80" fmla="*/ 154 w 4527"/>
                <a:gd name="T81" fmla="*/ 482 h 503"/>
                <a:gd name="T82" fmla="*/ 190 w 4527"/>
                <a:gd name="T83" fmla="*/ 495 h 503"/>
                <a:gd name="T84" fmla="*/ 227 w 4527"/>
                <a:gd name="T85" fmla="*/ 50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1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1"/>
                  </a:lnTo>
                  <a:lnTo>
                    <a:pt x="4362" y="488"/>
                  </a:lnTo>
                  <a:lnTo>
                    <a:pt x="4374" y="482"/>
                  </a:lnTo>
                  <a:lnTo>
                    <a:pt x="4385" y="477"/>
                  </a:lnTo>
                  <a:lnTo>
                    <a:pt x="4396" y="471"/>
                  </a:lnTo>
                  <a:lnTo>
                    <a:pt x="4406" y="465"/>
                  </a:lnTo>
                  <a:lnTo>
                    <a:pt x="4416" y="459"/>
                  </a:lnTo>
                  <a:lnTo>
                    <a:pt x="4427" y="452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8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1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3"/>
                  </a:lnTo>
                  <a:lnTo>
                    <a:pt x="4522" y="301"/>
                  </a:lnTo>
                  <a:lnTo>
                    <a:pt x="4525" y="289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1"/>
                  </a:lnTo>
                  <a:lnTo>
                    <a:pt x="4497" y="131"/>
                  </a:lnTo>
                  <a:lnTo>
                    <a:pt x="4491" y="120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0"/>
                  </a:lnTo>
                  <a:lnTo>
                    <a:pt x="32" y="131"/>
                  </a:lnTo>
                  <a:lnTo>
                    <a:pt x="26" y="141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89"/>
                  </a:lnTo>
                  <a:lnTo>
                    <a:pt x="6" y="301"/>
                  </a:lnTo>
                  <a:lnTo>
                    <a:pt x="8" y="313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1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8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2"/>
                  </a:lnTo>
                  <a:lnTo>
                    <a:pt x="112" y="459"/>
                  </a:lnTo>
                  <a:lnTo>
                    <a:pt x="122" y="465"/>
                  </a:lnTo>
                  <a:lnTo>
                    <a:pt x="132" y="471"/>
                  </a:lnTo>
                  <a:lnTo>
                    <a:pt x="143" y="477"/>
                  </a:lnTo>
                  <a:lnTo>
                    <a:pt x="154" y="482"/>
                  </a:lnTo>
                  <a:lnTo>
                    <a:pt x="166" y="488"/>
                  </a:lnTo>
                  <a:lnTo>
                    <a:pt x="177" y="491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1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70" name="iŝļíḑê">
              <a:extLst>
                <a:ext uri="{FF2B5EF4-FFF2-40B4-BE49-F238E27FC236}">
                  <a16:creationId xmlns:a16="http://schemas.microsoft.com/office/drawing/2014/main" id="{CA396FA4-D6A9-438D-A49E-41B215755347}"/>
                </a:ext>
              </a:extLst>
            </p:cNvPr>
            <p:cNvSpPr/>
            <p:nvPr/>
          </p:nvSpPr>
          <p:spPr bwMode="auto">
            <a:xfrm>
              <a:off x="4958779" y="503269"/>
              <a:ext cx="65335" cy="7436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3 h 503"/>
                <a:gd name="T8" fmla="*/ 4427 w 4527"/>
                <a:gd name="T9" fmla="*/ 452 h 503"/>
                <a:gd name="T10" fmla="*/ 4454 w 4527"/>
                <a:gd name="T11" fmla="*/ 429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2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0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2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89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2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6 h 503"/>
                <a:gd name="T80" fmla="*/ 154 w 4527"/>
                <a:gd name="T81" fmla="*/ 483 h 503"/>
                <a:gd name="T82" fmla="*/ 190 w 4527"/>
                <a:gd name="T83" fmla="*/ 495 h 503"/>
                <a:gd name="T84" fmla="*/ 227 w 4527"/>
                <a:gd name="T85" fmla="*/ 50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1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1"/>
                  </a:lnTo>
                  <a:lnTo>
                    <a:pt x="4362" y="488"/>
                  </a:lnTo>
                  <a:lnTo>
                    <a:pt x="4374" y="483"/>
                  </a:lnTo>
                  <a:lnTo>
                    <a:pt x="4385" y="478"/>
                  </a:lnTo>
                  <a:lnTo>
                    <a:pt x="4396" y="473"/>
                  </a:lnTo>
                  <a:lnTo>
                    <a:pt x="4406" y="466"/>
                  </a:lnTo>
                  <a:lnTo>
                    <a:pt x="4416" y="459"/>
                  </a:lnTo>
                  <a:lnTo>
                    <a:pt x="4427" y="452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9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2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4"/>
                  </a:lnTo>
                  <a:lnTo>
                    <a:pt x="4522" y="302"/>
                  </a:lnTo>
                  <a:lnTo>
                    <a:pt x="4525" y="289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2"/>
                  </a:lnTo>
                  <a:lnTo>
                    <a:pt x="4497" y="132"/>
                  </a:lnTo>
                  <a:lnTo>
                    <a:pt x="4491" y="120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0"/>
                  </a:lnTo>
                  <a:lnTo>
                    <a:pt x="32" y="132"/>
                  </a:lnTo>
                  <a:lnTo>
                    <a:pt x="26" y="142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89"/>
                  </a:lnTo>
                  <a:lnTo>
                    <a:pt x="6" y="302"/>
                  </a:lnTo>
                  <a:lnTo>
                    <a:pt x="8" y="314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2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9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2"/>
                  </a:lnTo>
                  <a:lnTo>
                    <a:pt x="112" y="459"/>
                  </a:lnTo>
                  <a:lnTo>
                    <a:pt x="122" y="466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6" y="488"/>
                  </a:lnTo>
                  <a:lnTo>
                    <a:pt x="177" y="491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1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71" name="iṣḻîďè">
              <a:extLst>
                <a:ext uri="{FF2B5EF4-FFF2-40B4-BE49-F238E27FC236}">
                  <a16:creationId xmlns:a16="http://schemas.microsoft.com/office/drawing/2014/main" id="{5AC2137C-ACC4-4438-A5DA-1058B7647972}"/>
                </a:ext>
              </a:extLst>
            </p:cNvPr>
            <p:cNvSpPr/>
            <p:nvPr/>
          </p:nvSpPr>
          <p:spPr bwMode="auto">
            <a:xfrm>
              <a:off x="4958779" y="482021"/>
              <a:ext cx="65335" cy="6905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3 h 503"/>
                <a:gd name="T8" fmla="*/ 4427 w 4527"/>
                <a:gd name="T9" fmla="*/ 453 h 503"/>
                <a:gd name="T10" fmla="*/ 4454 w 4527"/>
                <a:gd name="T11" fmla="*/ 428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2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1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2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90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2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7 h 503"/>
                <a:gd name="T80" fmla="*/ 154 w 4527"/>
                <a:gd name="T81" fmla="*/ 483 h 503"/>
                <a:gd name="T82" fmla="*/ 190 w 4527"/>
                <a:gd name="T83" fmla="*/ 495 h 503"/>
                <a:gd name="T84" fmla="*/ 227 w 4527"/>
                <a:gd name="T85" fmla="*/ 50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2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2"/>
                  </a:lnTo>
                  <a:lnTo>
                    <a:pt x="4362" y="488"/>
                  </a:lnTo>
                  <a:lnTo>
                    <a:pt x="4374" y="483"/>
                  </a:lnTo>
                  <a:lnTo>
                    <a:pt x="4385" y="478"/>
                  </a:lnTo>
                  <a:lnTo>
                    <a:pt x="4396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8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2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4"/>
                  </a:lnTo>
                  <a:lnTo>
                    <a:pt x="4522" y="302"/>
                  </a:lnTo>
                  <a:lnTo>
                    <a:pt x="4525" y="290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2"/>
                  </a:lnTo>
                  <a:lnTo>
                    <a:pt x="4497" y="132"/>
                  </a:lnTo>
                  <a:lnTo>
                    <a:pt x="4491" y="121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1"/>
                  </a:lnTo>
                  <a:lnTo>
                    <a:pt x="32" y="132"/>
                  </a:lnTo>
                  <a:lnTo>
                    <a:pt x="26" y="142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90"/>
                  </a:lnTo>
                  <a:lnTo>
                    <a:pt x="6" y="302"/>
                  </a:lnTo>
                  <a:lnTo>
                    <a:pt x="8" y="314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2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8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3"/>
                  </a:lnTo>
                  <a:lnTo>
                    <a:pt x="112" y="460"/>
                  </a:lnTo>
                  <a:lnTo>
                    <a:pt x="122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6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72" name="îŝḷíďè">
              <a:extLst>
                <a:ext uri="{FF2B5EF4-FFF2-40B4-BE49-F238E27FC236}">
                  <a16:creationId xmlns:a16="http://schemas.microsoft.com/office/drawing/2014/main" id="{3BB782E7-EA15-4470-81C3-C86B28A735F0}"/>
                </a:ext>
              </a:extLst>
            </p:cNvPr>
            <p:cNvSpPr/>
            <p:nvPr/>
          </p:nvSpPr>
          <p:spPr bwMode="auto">
            <a:xfrm>
              <a:off x="4879633" y="633407"/>
              <a:ext cx="64804" cy="7436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0 h 503"/>
                <a:gd name="T8" fmla="*/ 100 w 4526"/>
                <a:gd name="T9" fmla="*/ 50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1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50 h 503"/>
                <a:gd name="T28" fmla="*/ 36 w 4526"/>
                <a:gd name="T29" fmla="*/ 382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2 h 503"/>
                <a:gd name="T58" fmla="*/ 4501 w 4526"/>
                <a:gd name="T59" fmla="*/ 361 h 503"/>
                <a:gd name="T60" fmla="*/ 4515 w 4526"/>
                <a:gd name="T61" fmla="*/ 327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3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6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3"/>
                  </a:lnTo>
                  <a:lnTo>
                    <a:pt x="100" y="50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7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4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4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2"/>
                  </a:lnTo>
                  <a:lnTo>
                    <a:pt x="4490" y="382"/>
                  </a:lnTo>
                  <a:lnTo>
                    <a:pt x="4496" y="371"/>
                  </a:lnTo>
                  <a:lnTo>
                    <a:pt x="4501" y="361"/>
                  </a:lnTo>
                  <a:lnTo>
                    <a:pt x="4506" y="350"/>
                  </a:lnTo>
                  <a:lnTo>
                    <a:pt x="4511" y="338"/>
                  </a:lnTo>
                  <a:lnTo>
                    <a:pt x="4515" y="327"/>
                  </a:lnTo>
                  <a:lnTo>
                    <a:pt x="4518" y="315"/>
                  </a:lnTo>
                  <a:lnTo>
                    <a:pt x="4521" y="303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3"/>
                  </a:lnTo>
                  <a:lnTo>
                    <a:pt x="4521" y="201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0"/>
                  </a:lnTo>
                  <a:lnTo>
                    <a:pt x="4416" y="43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73" name="íšľíḍé">
              <a:extLst>
                <a:ext uri="{FF2B5EF4-FFF2-40B4-BE49-F238E27FC236}">
                  <a16:creationId xmlns:a16="http://schemas.microsoft.com/office/drawing/2014/main" id="{7F998164-CFCF-4FEA-85EA-CF93CE170D57}"/>
                </a:ext>
              </a:extLst>
            </p:cNvPr>
            <p:cNvSpPr/>
            <p:nvPr/>
          </p:nvSpPr>
          <p:spPr bwMode="auto">
            <a:xfrm>
              <a:off x="4879633" y="611629"/>
              <a:ext cx="64804" cy="7436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0 h 503"/>
                <a:gd name="T8" fmla="*/ 100 w 4526"/>
                <a:gd name="T9" fmla="*/ 51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1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49 h 503"/>
                <a:gd name="T28" fmla="*/ 36 w 4526"/>
                <a:gd name="T29" fmla="*/ 383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3 h 503"/>
                <a:gd name="T58" fmla="*/ 4501 w 4526"/>
                <a:gd name="T59" fmla="*/ 361 h 503"/>
                <a:gd name="T60" fmla="*/ 4515 w 4526"/>
                <a:gd name="T61" fmla="*/ 326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4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6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3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3"/>
                  </a:lnTo>
                  <a:lnTo>
                    <a:pt x="4490" y="383"/>
                  </a:lnTo>
                  <a:lnTo>
                    <a:pt x="4496" y="371"/>
                  </a:lnTo>
                  <a:lnTo>
                    <a:pt x="4501" y="361"/>
                  </a:lnTo>
                  <a:lnTo>
                    <a:pt x="4506" y="349"/>
                  </a:lnTo>
                  <a:lnTo>
                    <a:pt x="4511" y="338"/>
                  </a:lnTo>
                  <a:lnTo>
                    <a:pt x="4515" y="326"/>
                  </a:lnTo>
                  <a:lnTo>
                    <a:pt x="4518" y="315"/>
                  </a:lnTo>
                  <a:lnTo>
                    <a:pt x="4521" y="302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4"/>
                  </a:lnTo>
                  <a:lnTo>
                    <a:pt x="4521" y="201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1"/>
                  </a:lnTo>
                  <a:lnTo>
                    <a:pt x="4416" y="44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74" name="íṣľiḍe">
              <a:extLst>
                <a:ext uri="{FF2B5EF4-FFF2-40B4-BE49-F238E27FC236}">
                  <a16:creationId xmlns:a16="http://schemas.microsoft.com/office/drawing/2014/main" id="{2EAED4FA-4318-46B0-A33F-80358FA0A216}"/>
                </a:ext>
              </a:extLst>
            </p:cNvPr>
            <p:cNvSpPr/>
            <p:nvPr/>
          </p:nvSpPr>
          <p:spPr bwMode="auto">
            <a:xfrm>
              <a:off x="4879633" y="590382"/>
              <a:ext cx="64804" cy="6905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1 h 503"/>
                <a:gd name="T8" fmla="*/ 100 w 4526"/>
                <a:gd name="T9" fmla="*/ 51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2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50 h 503"/>
                <a:gd name="T28" fmla="*/ 36 w 4526"/>
                <a:gd name="T29" fmla="*/ 383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3 h 503"/>
                <a:gd name="T58" fmla="*/ 4501 w 4526"/>
                <a:gd name="T59" fmla="*/ 361 h 503"/>
                <a:gd name="T60" fmla="*/ 4515 w 4526"/>
                <a:gd name="T61" fmla="*/ 326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4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7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0" y="37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1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3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3"/>
                  </a:lnTo>
                  <a:lnTo>
                    <a:pt x="4490" y="383"/>
                  </a:lnTo>
                  <a:lnTo>
                    <a:pt x="4496" y="372"/>
                  </a:lnTo>
                  <a:lnTo>
                    <a:pt x="4501" y="361"/>
                  </a:lnTo>
                  <a:lnTo>
                    <a:pt x="4506" y="350"/>
                  </a:lnTo>
                  <a:lnTo>
                    <a:pt x="4511" y="338"/>
                  </a:lnTo>
                  <a:lnTo>
                    <a:pt x="4515" y="326"/>
                  </a:lnTo>
                  <a:lnTo>
                    <a:pt x="4518" y="315"/>
                  </a:lnTo>
                  <a:lnTo>
                    <a:pt x="4521" y="302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4"/>
                  </a:lnTo>
                  <a:lnTo>
                    <a:pt x="4521" y="202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1"/>
                  </a:lnTo>
                  <a:lnTo>
                    <a:pt x="4416" y="44"/>
                  </a:lnTo>
                  <a:lnTo>
                    <a:pt x="4406" y="37"/>
                  </a:lnTo>
                  <a:lnTo>
                    <a:pt x="4395" y="31"/>
                  </a:lnTo>
                  <a:lnTo>
                    <a:pt x="4384" y="26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75" name="îṡliḍè">
              <a:extLst>
                <a:ext uri="{FF2B5EF4-FFF2-40B4-BE49-F238E27FC236}">
                  <a16:creationId xmlns:a16="http://schemas.microsoft.com/office/drawing/2014/main" id="{C80B9498-3C77-4B9D-B0C9-C133BAEEF488}"/>
                </a:ext>
              </a:extLst>
            </p:cNvPr>
            <p:cNvSpPr/>
            <p:nvPr/>
          </p:nvSpPr>
          <p:spPr bwMode="auto">
            <a:xfrm>
              <a:off x="4958779" y="633407"/>
              <a:ext cx="65335" cy="7436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0 h 503"/>
                <a:gd name="T8" fmla="*/ 102 w 4527"/>
                <a:gd name="T9" fmla="*/ 50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1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50 h 503"/>
                <a:gd name="T28" fmla="*/ 37 w 4527"/>
                <a:gd name="T29" fmla="*/ 382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2 h 503"/>
                <a:gd name="T58" fmla="*/ 4502 w 4527"/>
                <a:gd name="T59" fmla="*/ 361 h 503"/>
                <a:gd name="T60" fmla="*/ 4516 w 4527"/>
                <a:gd name="T61" fmla="*/ 327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3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6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3"/>
                  </a:lnTo>
                  <a:lnTo>
                    <a:pt x="102" y="50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7"/>
                  </a:lnTo>
                  <a:lnTo>
                    <a:pt x="15" y="338"/>
                  </a:lnTo>
                  <a:lnTo>
                    <a:pt x="21" y="350"/>
                  </a:lnTo>
                  <a:lnTo>
                    <a:pt x="26" y="361"/>
                  </a:lnTo>
                  <a:lnTo>
                    <a:pt x="31" y="371"/>
                  </a:lnTo>
                  <a:lnTo>
                    <a:pt x="37" y="382"/>
                  </a:lnTo>
                  <a:lnTo>
                    <a:pt x="44" y="392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4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4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2"/>
                  </a:lnTo>
                  <a:lnTo>
                    <a:pt x="4491" y="382"/>
                  </a:lnTo>
                  <a:lnTo>
                    <a:pt x="4497" y="371"/>
                  </a:lnTo>
                  <a:lnTo>
                    <a:pt x="4502" y="361"/>
                  </a:lnTo>
                  <a:lnTo>
                    <a:pt x="4507" y="350"/>
                  </a:lnTo>
                  <a:lnTo>
                    <a:pt x="4512" y="338"/>
                  </a:lnTo>
                  <a:lnTo>
                    <a:pt x="4516" y="327"/>
                  </a:lnTo>
                  <a:lnTo>
                    <a:pt x="4519" y="315"/>
                  </a:lnTo>
                  <a:lnTo>
                    <a:pt x="4522" y="303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3"/>
                  </a:lnTo>
                  <a:lnTo>
                    <a:pt x="4522" y="201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0"/>
                  </a:lnTo>
                  <a:lnTo>
                    <a:pt x="4416" y="43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76" name="iSļiḓê">
              <a:extLst>
                <a:ext uri="{FF2B5EF4-FFF2-40B4-BE49-F238E27FC236}">
                  <a16:creationId xmlns:a16="http://schemas.microsoft.com/office/drawing/2014/main" id="{9BF352C7-D5F0-426E-8245-9401A055A8CC}"/>
                </a:ext>
              </a:extLst>
            </p:cNvPr>
            <p:cNvSpPr/>
            <p:nvPr/>
          </p:nvSpPr>
          <p:spPr bwMode="auto">
            <a:xfrm>
              <a:off x="4958779" y="611629"/>
              <a:ext cx="65335" cy="7436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0 h 503"/>
                <a:gd name="T8" fmla="*/ 102 w 4527"/>
                <a:gd name="T9" fmla="*/ 51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1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49 h 503"/>
                <a:gd name="T28" fmla="*/ 37 w 4527"/>
                <a:gd name="T29" fmla="*/ 383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3 h 503"/>
                <a:gd name="T58" fmla="*/ 4502 w 4527"/>
                <a:gd name="T59" fmla="*/ 361 h 503"/>
                <a:gd name="T60" fmla="*/ 4516 w 4527"/>
                <a:gd name="T61" fmla="*/ 326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4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6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4"/>
                  </a:lnTo>
                  <a:lnTo>
                    <a:pt x="102" y="51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1" y="349"/>
                  </a:lnTo>
                  <a:lnTo>
                    <a:pt x="26" y="361"/>
                  </a:lnTo>
                  <a:lnTo>
                    <a:pt x="31" y="371"/>
                  </a:lnTo>
                  <a:lnTo>
                    <a:pt x="37" y="383"/>
                  </a:lnTo>
                  <a:lnTo>
                    <a:pt x="44" y="393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3"/>
                  </a:lnTo>
                  <a:lnTo>
                    <a:pt x="4491" y="383"/>
                  </a:lnTo>
                  <a:lnTo>
                    <a:pt x="4497" y="371"/>
                  </a:lnTo>
                  <a:lnTo>
                    <a:pt x="4502" y="361"/>
                  </a:lnTo>
                  <a:lnTo>
                    <a:pt x="4507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19" y="315"/>
                  </a:lnTo>
                  <a:lnTo>
                    <a:pt x="4522" y="302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4"/>
                  </a:lnTo>
                  <a:lnTo>
                    <a:pt x="4522" y="201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1"/>
                  </a:lnTo>
                  <a:lnTo>
                    <a:pt x="4416" y="44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77" name="i$lïḍe">
              <a:extLst>
                <a:ext uri="{FF2B5EF4-FFF2-40B4-BE49-F238E27FC236}">
                  <a16:creationId xmlns:a16="http://schemas.microsoft.com/office/drawing/2014/main" id="{96ACBE47-556D-4478-96AE-273B76967E6B}"/>
                </a:ext>
              </a:extLst>
            </p:cNvPr>
            <p:cNvSpPr/>
            <p:nvPr/>
          </p:nvSpPr>
          <p:spPr bwMode="auto">
            <a:xfrm>
              <a:off x="4958779" y="590382"/>
              <a:ext cx="65335" cy="6905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1 h 503"/>
                <a:gd name="T8" fmla="*/ 102 w 4527"/>
                <a:gd name="T9" fmla="*/ 51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2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50 h 503"/>
                <a:gd name="T28" fmla="*/ 37 w 4527"/>
                <a:gd name="T29" fmla="*/ 383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3 h 503"/>
                <a:gd name="T58" fmla="*/ 4502 w 4527"/>
                <a:gd name="T59" fmla="*/ 361 h 503"/>
                <a:gd name="T60" fmla="*/ 4516 w 4527"/>
                <a:gd name="T61" fmla="*/ 326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4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7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1" y="37"/>
                  </a:lnTo>
                  <a:lnTo>
                    <a:pt x="111" y="44"/>
                  </a:lnTo>
                  <a:lnTo>
                    <a:pt x="102" y="51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1" y="350"/>
                  </a:lnTo>
                  <a:lnTo>
                    <a:pt x="26" y="361"/>
                  </a:lnTo>
                  <a:lnTo>
                    <a:pt x="31" y="372"/>
                  </a:lnTo>
                  <a:lnTo>
                    <a:pt x="37" y="383"/>
                  </a:lnTo>
                  <a:lnTo>
                    <a:pt x="44" y="393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3"/>
                  </a:lnTo>
                  <a:lnTo>
                    <a:pt x="4491" y="383"/>
                  </a:lnTo>
                  <a:lnTo>
                    <a:pt x="4497" y="372"/>
                  </a:lnTo>
                  <a:lnTo>
                    <a:pt x="4502" y="361"/>
                  </a:lnTo>
                  <a:lnTo>
                    <a:pt x="4507" y="350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19" y="315"/>
                  </a:lnTo>
                  <a:lnTo>
                    <a:pt x="4522" y="302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4"/>
                  </a:lnTo>
                  <a:lnTo>
                    <a:pt x="4522" y="202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1"/>
                  </a:lnTo>
                  <a:lnTo>
                    <a:pt x="4416" y="44"/>
                  </a:lnTo>
                  <a:lnTo>
                    <a:pt x="4406" y="37"/>
                  </a:lnTo>
                  <a:lnTo>
                    <a:pt x="4395" y="31"/>
                  </a:lnTo>
                  <a:lnTo>
                    <a:pt x="4384" y="26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78" name="íŝ1íḋè">
              <a:extLst>
                <a:ext uri="{FF2B5EF4-FFF2-40B4-BE49-F238E27FC236}">
                  <a16:creationId xmlns:a16="http://schemas.microsoft.com/office/drawing/2014/main" id="{76B964FF-9286-443F-BB36-891E61B8A747}"/>
                </a:ext>
              </a:extLst>
            </p:cNvPr>
            <p:cNvSpPr/>
            <p:nvPr/>
          </p:nvSpPr>
          <p:spPr bwMode="auto">
            <a:xfrm>
              <a:off x="4879633" y="546825"/>
              <a:ext cx="144480" cy="7436"/>
            </a:xfrm>
            <a:custGeom>
              <a:avLst/>
              <a:gdLst>
                <a:gd name="T0" fmla="*/ 238 w 10059"/>
                <a:gd name="T1" fmla="*/ 1 h 503"/>
                <a:gd name="T2" fmla="*/ 201 w 10059"/>
                <a:gd name="T3" fmla="*/ 5 h 503"/>
                <a:gd name="T4" fmla="*/ 165 w 10059"/>
                <a:gd name="T5" fmla="*/ 15 h 503"/>
                <a:gd name="T6" fmla="*/ 132 w 10059"/>
                <a:gd name="T7" fmla="*/ 30 h 503"/>
                <a:gd name="T8" fmla="*/ 100 w 10059"/>
                <a:gd name="T9" fmla="*/ 50 h 503"/>
                <a:gd name="T10" fmla="*/ 73 w 10059"/>
                <a:gd name="T11" fmla="*/ 73 h 503"/>
                <a:gd name="T12" fmla="*/ 50 w 10059"/>
                <a:gd name="T13" fmla="*/ 101 h 503"/>
                <a:gd name="T14" fmla="*/ 30 w 10059"/>
                <a:gd name="T15" fmla="*/ 131 h 503"/>
                <a:gd name="T16" fmla="*/ 15 w 10059"/>
                <a:gd name="T17" fmla="*/ 165 h 503"/>
                <a:gd name="T18" fmla="*/ 5 w 10059"/>
                <a:gd name="T19" fmla="*/ 201 h 503"/>
                <a:gd name="T20" fmla="*/ 0 w 10059"/>
                <a:gd name="T21" fmla="*/ 238 h 503"/>
                <a:gd name="T22" fmla="*/ 1 w 10059"/>
                <a:gd name="T23" fmla="*/ 277 h 503"/>
                <a:gd name="T24" fmla="*/ 8 w 10059"/>
                <a:gd name="T25" fmla="*/ 314 h 503"/>
                <a:gd name="T26" fmla="*/ 20 w 10059"/>
                <a:gd name="T27" fmla="*/ 349 h 503"/>
                <a:gd name="T28" fmla="*/ 36 w 10059"/>
                <a:gd name="T29" fmla="*/ 382 h 503"/>
                <a:gd name="T30" fmla="*/ 57 w 10059"/>
                <a:gd name="T31" fmla="*/ 411 h 503"/>
                <a:gd name="T32" fmla="*/ 82 w 10059"/>
                <a:gd name="T33" fmla="*/ 437 h 503"/>
                <a:gd name="T34" fmla="*/ 110 w 10059"/>
                <a:gd name="T35" fmla="*/ 460 h 503"/>
                <a:gd name="T36" fmla="*/ 143 w 10059"/>
                <a:gd name="T37" fmla="*/ 478 h 503"/>
                <a:gd name="T38" fmla="*/ 177 w 10059"/>
                <a:gd name="T39" fmla="*/ 491 h 503"/>
                <a:gd name="T40" fmla="*/ 213 w 10059"/>
                <a:gd name="T41" fmla="*/ 499 h 503"/>
                <a:gd name="T42" fmla="*/ 251 w 10059"/>
                <a:gd name="T43" fmla="*/ 503 h 503"/>
                <a:gd name="T44" fmla="*/ 9834 w 10059"/>
                <a:gd name="T45" fmla="*/ 502 h 503"/>
                <a:gd name="T46" fmla="*/ 9870 w 10059"/>
                <a:gd name="T47" fmla="*/ 494 h 503"/>
                <a:gd name="T48" fmla="*/ 9905 w 10059"/>
                <a:gd name="T49" fmla="*/ 483 h 503"/>
                <a:gd name="T50" fmla="*/ 9938 w 10059"/>
                <a:gd name="T51" fmla="*/ 466 h 503"/>
                <a:gd name="T52" fmla="*/ 9968 w 10059"/>
                <a:gd name="T53" fmla="*/ 445 h 503"/>
                <a:gd name="T54" fmla="*/ 9994 w 10059"/>
                <a:gd name="T55" fmla="*/ 420 h 503"/>
                <a:gd name="T56" fmla="*/ 10016 w 10059"/>
                <a:gd name="T57" fmla="*/ 392 h 503"/>
                <a:gd name="T58" fmla="*/ 10034 w 10059"/>
                <a:gd name="T59" fmla="*/ 361 h 503"/>
                <a:gd name="T60" fmla="*/ 10048 w 10059"/>
                <a:gd name="T61" fmla="*/ 326 h 503"/>
                <a:gd name="T62" fmla="*/ 10056 w 10059"/>
                <a:gd name="T63" fmla="*/ 289 h 503"/>
                <a:gd name="T64" fmla="*/ 10059 w 10059"/>
                <a:gd name="T65" fmla="*/ 251 h 503"/>
                <a:gd name="T66" fmla="*/ 10056 w 10059"/>
                <a:gd name="T67" fmla="*/ 213 h 503"/>
                <a:gd name="T68" fmla="*/ 10048 w 10059"/>
                <a:gd name="T69" fmla="*/ 177 h 503"/>
                <a:gd name="T70" fmla="*/ 10034 w 10059"/>
                <a:gd name="T71" fmla="*/ 142 h 503"/>
                <a:gd name="T72" fmla="*/ 10016 w 10059"/>
                <a:gd name="T73" fmla="*/ 110 h 503"/>
                <a:gd name="T74" fmla="*/ 9994 w 10059"/>
                <a:gd name="T75" fmla="*/ 82 h 503"/>
                <a:gd name="T76" fmla="*/ 9968 w 10059"/>
                <a:gd name="T77" fmla="*/ 57 h 503"/>
                <a:gd name="T78" fmla="*/ 9938 w 10059"/>
                <a:gd name="T79" fmla="*/ 36 h 503"/>
                <a:gd name="T80" fmla="*/ 9905 w 10059"/>
                <a:gd name="T81" fmla="*/ 20 h 503"/>
                <a:gd name="T82" fmla="*/ 9870 w 10059"/>
                <a:gd name="T83" fmla="*/ 8 h 503"/>
                <a:gd name="T84" fmla="*/ 9834 w 10059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59" h="503">
                  <a:moveTo>
                    <a:pt x="9808" y="0"/>
                  </a:moveTo>
                  <a:lnTo>
                    <a:pt x="251" y="0"/>
                  </a:lnTo>
                  <a:lnTo>
                    <a:pt x="238" y="1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3"/>
                  </a:lnTo>
                  <a:lnTo>
                    <a:pt x="100" y="50"/>
                  </a:lnTo>
                  <a:lnTo>
                    <a:pt x="91" y="57"/>
                  </a:lnTo>
                  <a:lnTo>
                    <a:pt x="82" y="65"/>
                  </a:lnTo>
                  <a:lnTo>
                    <a:pt x="73" y="73"/>
                  </a:lnTo>
                  <a:lnTo>
                    <a:pt x="65" y="82"/>
                  </a:lnTo>
                  <a:lnTo>
                    <a:pt x="57" y="91"/>
                  </a:lnTo>
                  <a:lnTo>
                    <a:pt x="50" y="101"/>
                  </a:lnTo>
                  <a:lnTo>
                    <a:pt x="43" y="110"/>
                  </a:lnTo>
                  <a:lnTo>
                    <a:pt x="36" y="121"/>
                  </a:lnTo>
                  <a:lnTo>
                    <a:pt x="30" y="131"/>
                  </a:lnTo>
                  <a:lnTo>
                    <a:pt x="25" y="142"/>
                  </a:lnTo>
                  <a:lnTo>
                    <a:pt x="20" y="153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6"/>
                  </a:lnTo>
                  <a:lnTo>
                    <a:pt x="0" y="238"/>
                  </a:lnTo>
                  <a:lnTo>
                    <a:pt x="0" y="251"/>
                  </a:lnTo>
                  <a:lnTo>
                    <a:pt x="0" y="264"/>
                  </a:lnTo>
                  <a:lnTo>
                    <a:pt x="1" y="277"/>
                  </a:lnTo>
                  <a:lnTo>
                    <a:pt x="3" y="289"/>
                  </a:lnTo>
                  <a:lnTo>
                    <a:pt x="5" y="302"/>
                  </a:lnTo>
                  <a:lnTo>
                    <a:pt x="8" y="314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2"/>
                  </a:lnTo>
                  <a:lnTo>
                    <a:pt x="57" y="411"/>
                  </a:lnTo>
                  <a:lnTo>
                    <a:pt x="65" y="420"/>
                  </a:lnTo>
                  <a:lnTo>
                    <a:pt x="73" y="429"/>
                  </a:lnTo>
                  <a:lnTo>
                    <a:pt x="82" y="437"/>
                  </a:lnTo>
                  <a:lnTo>
                    <a:pt x="91" y="445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6"/>
                  </a:lnTo>
                  <a:lnTo>
                    <a:pt x="132" y="472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7"/>
                  </a:lnTo>
                  <a:lnTo>
                    <a:pt x="177" y="491"/>
                  </a:lnTo>
                  <a:lnTo>
                    <a:pt x="189" y="494"/>
                  </a:lnTo>
                  <a:lnTo>
                    <a:pt x="201" y="497"/>
                  </a:lnTo>
                  <a:lnTo>
                    <a:pt x="213" y="499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9808" y="503"/>
                  </a:lnTo>
                  <a:lnTo>
                    <a:pt x="9821" y="503"/>
                  </a:lnTo>
                  <a:lnTo>
                    <a:pt x="9834" y="502"/>
                  </a:lnTo>
                  <a:lnTo>
                    <a:pt x="9846" y="499"/>
                  </a:lnTo>
                  <a:lnTo>
                    <a:pt x="9858" y="497"/>
                  </a:lnTo>
                  <a:lnTo>
                    <a:pt x="9870" y="494"/>
                  </a:lnTo>
                  <a:lnTo>
                    <a:pt x="9882" y="491"/>
                  </a:lnTo>
                  <a:lnTo>
                    <a:pt x="9894" y="487"/>
                  </a:lnTo>
                  <a:lnTo>
                    <a:pt x="9905" y="483"/>
                  </a:lnTo>
                  <a:lnTo>
                    <a:pt x="9916" y="478"/>
                  </a:lnTo>
                  <a:lnTo>
                    <a:pt x="9927" y="472"/>
                  </a:lnTo>
                  <a:lnTo>
                    <a:pt x="9938" y="466"/>
                  </a:lnTo>
                  <a:lnTo>
                    <a:pt x="9948" y="460"/>
                  </a:lnTo>
                  <a:lnTo>
                    <a:pt x="9959" y="453"/>
                  </a:lnTo>
                  <a:lnTo>
                    <a:pt x="9968" y="445"/>
                  </a:lnTo>
                  <a:lnTo>
                    <a:pt x="9977" y="437"/>
                  </a:lnTo>
                  <a:lnTo>
                    <a:pt x="9986" y="429"/>
                  </a:lnTo>
                  <a:lnTo>
                    <a:pt x="9994" y="420"/>
                  </a:lnTo>
                  <a:lnTo>
                    <a:pt x="10002" y="411"/>
                  </a:lnTo>
                  <a:lnTo>
                    <a:pt x="10009" y="402"/>
                  </a:lnTo>
                  <a:lnTo>
                    <a:pt x="10016" y="392"/>
                  </a:lnTo>
                  <a:lnTo>
                    <a:pt x="10023" y="382"/>
                  </a:lnTo>
                  <a:lnTo>
                    <a:pt x="10029" y="371"/>
                  </a:lnTo>
                  <a:lnTo>
                    <a:pt x="10034" y="361"/>
                  </a:lnTo>
                  <a:lnTo>
                    <a:pt x="10039" y="349"/>
                  </a:lnTo>
                  <a:lnTo>
                    <a:pt x="10044" y="338"/>
                  </a:lnTo>
                  <a:lnTo>
                    <a:pt x="10048" y="326"/>
                  </a:lnTo>
                  <a:lnTo>
                    <a:pt x="10051" y="314"/>
                  </a:lnTo>
                  <a:lnTo>
                    <a:pt x="10054" y="302"/>
                  </a:lnTo>
                  <a:lnTo>
                    <a:pt x="10056" y="289"/>
                  </a:lnTo>
                  <a:lnTo>
                    <a:pt x="10058" y="277"/>
                  </a:lnTo>
                  <a:lnTo>
                    <a:pt x="10059" y="264"/>
                  </a:lnTo>
                  <a:lnTo>
                    <a:pt x="10059" y="251"/>
                  </a:lnTo>
                  <a:lnTo>
                    <a:pt x="10059" y="238"/>
                  </a:lnTo>
                  <a:lnTo>
                    <a:pt x="10058" y="226"/>
                  </a:lnTo>
                  <a:lnTo>
                    <a:pt x="10056" y="213"/>
                  </a:lnTo>
                  <a:lnTo>
                    <a:pt x="10054" y="201"/>
                  </a:lnTo>
                  <a:lnTo>
                    <a:pt x="10051" y="189"/>
                  </a:lnTo>
                  <a:lnTo>
                    <a:pt x="10048" y="177"/>
                  </a:lnTo>
                  <a:lnTo>
                    <a:pt x="10044" y="165"/>
                  </a:lnTo>
                  <a:lnTo>
                    <a:pt x="10039" y="153"/>
                  </a:lnTo>
                  <a:lnTo>
                    <a:pt x="10034" y="142"/>
                  </a:lnTo>
                  <a:lnTo>
                    <a:pt x="10029" y="131"/>
                  </a:lnTo>
                  <a:lnTo>
                    <a:pt x="10023" y="121"/>
                  </a:lnTo>
                  <a:lnTo>
                    <a:pt x="10016" y="110"/>
                  </a:lnTo>
                  <a:lnTo>
                    <a:pt x="10009" y="101"/>
                  </a:lnTo>
                  <a:lnTo>
                    <a:pt x="10002" y="91"/>
                  </a:lnTo>
                  <a:lnTo>
                    <a:pt x="9994" y="82"/>
                  </a:lnTo>
                  <a:lnTo>
                    <a:pt x="9986" y="73"/>
                  </a:lnTo>
                  <a:lnTo>
                    <a:pt x="9977" y="65"/>
                  </a:lnTo>
                  <a:lnTo>
                    <a:pt x="9968" y="57"/>
                  </a:lnTo>
                  <a:lnTo>
                    <a:pt x="9959" y="50"/>
                  </a:lnTo>
                  <a:lnTo>
                    <a:pt x="9948" y="43"/>
                  </a:lnTo>
                  <a:lnTo>
                    <a:pt x="9938" y="36"/>
                  </a:lnTo>
                  <a:lnTo>
                    <a:pt x="9927" y="30"/>
                  </a:lnTo>
                  <a:lnTo>
                    <a:pt x="9916" y="25"/>
                  </a:lnTo>
                  <a:lnTo>
                    <a:pt x="9905" y="20"/>
                  </a:lnTo>
                  <a:lnTo>
                    <a:pt x="9894" y="15"/>
                  </a:lnTo>
                  <a:lnTo>
                    <a:pt x="9882" y="11"/>
                  </a:lnTo>
                  <a:lnTo>
                    <a:pt x="9870" y="8"/>
                  </a:lnTo>
                  <a:lnTo>
                    <a:pt x="9858" y="5"/>
                  </a:lnTo>
                  <a:lnTo>
                    <a:pt x="9846" y="3"/>
                  </a:lnTo>
                  <a:lnTo>
                    <a:pt x="9834" y="1"/>
                  </a:lnTo>
                  <a:lnTo>
                    <a:pt x="9821" y="1"/>
                  </a:lnTo>
                  <a:lnTo>
                    <a:pt x="980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79" name="ïṧľiḓê">
              <a:extLst>
                <a:ext uri="{FF2B5EF4-FFF2-40B4-BE49-F238E27FC236}">
                  <a16:creationId xmlns:a16="http://schemas.microsoft.com/office/drawing/2014/main" id="{43A81B68-CD68-4556-802B-4E03C4D2D5A9}"/>
                </a:ext>
              </a:extLst>
            </p:cNvPr>
            <p:cNvSpPr/>
            <p:nvPr/>
          </p:nvSpPr>
          <p:spPr bwMode="auto">
            <a:xfrm>
              <a:off x="4879633" y="568603"/>
              <a:ext cx="144480" cy="6905"/>
            </a:xfrm>
            <a:custGeom>
              <a:avLst/>
              <a:gdLst>
                <a:gd name="T0" fmla="*/ 238 w 10059"/>
                <a:gd name="T1" fmla="*/ 0 h 503"/>
                <a:gd name="T2" fmla="*/ 201 w 10059"/>
                <a:gd name="T3" fmla="*/ 5 h 503"/>
                <a:gd name="T4" fmla="*/ 165 w 10059"/>
                <a:gd name="T5" fmla="*/ 16 h 503"/>
                <a:gd name="T6" fmla="*/ 132 w 10059"/>
                <a:gd name="T7" fmla="*/ 31 h 503"/>
                <a:gd name="T8" fmla="*/ 100 w 10059"/>
                <a:gd name="T9" fmla="*/ 51 h 503"/>
                <a:gd name="T10" fmla="*/ 73 w 10059"/>
                <a:gd name="T11" fmla="*/ 74 h 503"/>
                <a:gd name="T12" fmla="*/ 50 w 10059"/>
                <a:gd name="T13" fmla="*/ 102 h 503"/>
                <a:gd name="T14" fmla="*/ 30 w 10059"/>
                <a:gd name="T15" fmla="*/ 132 h 503"/>
                <a:gd name="T16" fmla="*/ 15 w 10059"/>
                <a:gd name="T17" fmla="*/ 165 h 503"/>
                <a:gd name="T18" fmla="*/ 5 w 10059"/>
                <a:gd name="T19" fmla="*/ 202 h 503"/>
                <a:gd name="T20" fmla="*/ 0 w 10059"/>
                <a:gd name="T21" fmla="*/ 239 h 503"/>
                <a:gd name="T22" fmla="*/ 1 w 10059"/>
                <a:gd name="T23" fmla="*/ 278 h 503"/>
                <a:gd name="T24" fmla="*/ 8 w 10059"/>
                <a:gd name="T25" fmla="*/ 315 h 503"/>
                <a:gd name="T26" fmla="*/ 20 w 10059"/>
                <a:gd name="T27" fmla="*/ 350 h 503"/>
                <a:gd name="T28" fmla="*/ 36 w 10059"/>
                <a:gd name="T29" fmla="*/ 383 h 503"/>
                <a:gd name="T30" fmla="*/ 57 w 10059"/>
                <a:gd name="T31" fmla="*/ 412 h 503"/>
                <a:gd name="T32" fmla="*/ 82 w 10059"/>
                <a:gd name="T33" fmla="*/ 438 h 503"/>
                <a:gd name="T34" fmla="*/ 110 w 10059"/>
                <a:gd name="T35" fmla="*/ 460 h 503"/>
                <a:gd name="T36" fmla="*/ 143 w 10059"/>
                <a:gd name="T37" fmla="*/ 478 h 503"/>
                <a:gd name="T38" fmla="*/ 177 w 10059"/>
                <a:gd name="T39" fmla="*/ 492 h 503"/>
                <a:gd name="T40" fmla="*/ 213 w 10059"/>
                <a:gd name="T41" fmla="*/ 500 h 503"/>
                <a:gd name="T42" fmla="*/ 251 w 10059"/>
                <a:gd name="T43" fmla="*/ 503 h 503"/>
                <a:gd name="T44" fmla="*/ 9834 w 10059"/>
                <a:gd name="T45" fmla="*/ 502 h 503"/>
                <a:gd name="T46" fmla="*/ 9870 w 10059"/>
                <a:gd name="T47" fmla="*/ 495 h 503"/>
                <a:gd name="T48" fmla="*/ 9905 w 10059"/>
                <a:gd name="T49" fmla="*/ 483 h 503"/>
                <a:gd name="T50" fmla="*/ 9938 w 10059"/>
                <a:gd name="T51" fmla="*/ 467 h 503"/>
                <a:gd name="T52" fmla="*/ 9968 w 10059"/>
                <a:gd name="T53" fmla="*/ 446 h 503"/>
                <a:gd name="T54" fmla="*/ 9994 w 10059"/>
                <a:gd name="T55" fmla="*/ 421 h 503"/>
                <a:gd name="T56" fmla="*/ 10016 w 10059"/>
                <a:gd name="T57" fmla="*/ 393 h 503"/>
                <a:gd name="T58" fmla="*/ 10034 w 10059"/>
                <a:gd name="T59" fmla="*/ 362 h 503"/>
                <a:gd name="T60" fmla="*/ 10048 w 10059"/>
                <a:gd name="T61" fmla="*/ 326 h 503"/>
                <a:gd name="T62" fmla="*/ 10056 w 10059"/>
                <a:gd name="T63" fmla="*/ 290 h 503"/>
                <a:gd name="T64" fmla="*/ 10059 w 10059"/>
                <a:gd name="T65" fmla="*/ 252 h 503"/>
                <a:gd name="T66" fmla="*/ 10056 w 10059"/>
                <a:gd name="T67" fmla="*/ 214 h 503"/>
                <a:gd name="T68" fmla="*/ 10048 w 10059"/>
                <a:gd name="T69" fmla="*/ 177 h 503"/>
                <a:gd name="T70" fmla="*/ 10034 w 10059"/>
                <a:gd name="T71" fmla="*/ 143 h 503"/>
                <a:gd name="T72" fmla="*/ 10016 w 10059"/>
                <a:gd name="T73" fmla="*/ 112 h 503"/>
                <a:gd name="T74" fmla="*/ 9994 w 10059"/>
                <a:gd name="T75" fmla="*/ 83 h 503"/>
                <a:gd name="T76" fmla="*/ 9968 w 10059"/>
                <a:gd name="T77" fmla="*/ 58 h 503"/>
                <a:gd name="T78" fmla="*/ 9938 w 10059"/>
                <a:gd name="T79" fmla="*/ 37 h 503"/>
                <a:gd name="T80" fmla="*/ 9905 w 10059"/>
                <a:gd name="T81" fmla="*/ 21 h 503"/>
                <a:gd name="T82" fmla="*/ 9870 w 10059"/>
                <a:gd name="T83" fmla="*/ 8 h 503"/>
                <a:gd name="T84" fmla="*/ 9834 w 10059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59" h="503">
                  <a:moveTo>
                    <a:pt x="9808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2"/>
                  </a:lnTo>
                  <a:lnTo>
                    <a:pt x="165" y="16"/>
                  </a:lnTo>
                  <a:lnTo>
                    <a:pt x="154" y="21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0" y="37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2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90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2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4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9808" y="503"/>
                  </a:lnTo>
                  <a:lnTo>
                    <a:pt x="9821" y="503"/>
                  </a:lnTo>
                  <a:lnTo>
                    <a:pt x="9834" y="502"/>
                  </a:lnTo>
                  <a:lnTo>
                    <a:pt x="9846" y="500"/>
                  </a:lnTo>
                  <a:lnTo>
                    <a:pt x="9858" y="498"/>
                  </a:lnTo>
                  <a:lnTo>
                    <a:pt x="9870" y="495"/>
                  </a:lnTo>
                  <a:lnTo>
                    <a:pt x="9882" y="492"/>
                  </a:lnTo>
                  <a:lnTo>
                    <a:pt x="9894" y="488"/>
                  </a:lnTo>
                  <a:lnTo>
                    <a:pt x="9905" y="483"/>
                  </a:lnTo>
                  <a:lnTo>
                    <a:pt x="9916" y="478"/>
                  </a:lnTo>
                  <a:lnTo>
                    <a:pt x="9927" y="473"/>
                  </a:lnTo>
                  <a:lnTo>
                    <a:pt x="9938" y="467"/>
                  </a:lnTo>
                  <a:lnTo>
                    <a:pt x="9948" y="460"/>
                  </a:lnTo>
                  <a:lnTo>
                    <a:pt x="9959" y="454"/>
                  </a:lnTo>
                  <a:lnTo>
                    <a:pt x="9968" y="446"/>
                  </a:lnTo>
                  <a:lnTo>
                    <a:pt x="9977" y="438"/>
                  </a:lnTo>
                  <a:lnTo>
                    <a:pt x="9986" y="430"/>
                  </a:lnTo>
                  <a:lnTo>
                    <a:pt x="9994" y="421"/>
                  </a:lnTo>
                  <a:lnTo>
                    <a:pt x="10002" y="412"/>
                  </a:lnTo>
                  <a:lnTo>
                    <a:pt x="10009" y="403"/>
                  </a:lnTo>
                  <a:lnTo>
                    <a:pt x="10016" y="393"/>
                  </a:lnTo>
                  <a:lnTo>
                    <a:pt x="10023" y="383"/>
                  </a:lnTo>
                  <a:lnTo>
                    <a:pt x="10029" y="372"/>
                  </a:lnTo>
                  <a:lnTo>
                    <a:pt x="10034" y="362"/>
                  </a:lnTo>
                  <a:lnTo>
                    <a:pt x="10039" y="350"/>
                  </a:lnTo>
                  <a:lnTo>
                    <a:pt x="10044" y="338"/>
                  </a:lnTo>
                  <a:lnTo>
                    <a:pt x="10048" y="326"/>
                  </a:lnTo>
                  <a:lnTo>
                    <a:pt x="10051" y="315"/>
                  </a:lnTo>
                  <a:lnTo>
                    <a:pt x="10054" y="302"/>
                  </a:lnTo>
                  <a:lnTo>
                    <a:pt x="10056" y="290"/>
                  </a:lnTo>
                  <a:lnTo>
                    <a:pt x="10058" y="278"/>
                  </a:lnTo>
                  <a:lnTo>
                    <a:pt x="10059" y="265"/>
                  </a:lnTo>
                  <a:lnTo>
                    <a:pt x="10059" y="252"/>
                  </a:lnTo>
                  <a:lnTo>
                    <a:pt x="10059" y="239"/>
                  </a:lnTo>
                  <a:lnTo>
                    <a:pt x="10058" y="227"/>
                  </a:lnTo>
                  <a:lnTo>
                    <a:pt x="10056" y="214"/>
                  </a:lnTo>
                  <a:lnTo>
                    <a:pt x="10054" y="202"/>
                  </a:lnTo>
                  <a:lnTo>
                    <a:pt x="10051" y="190"/>
                  </a:lnTo>
                  <a:lnTo>
                    <a:pt x="10048" y="177"/>
                  </a:lnTo>
                  <a:lnTo>
                    <a:pt x="10044" y="165"/>
                  </a:lnTo>
                  <a:lnTo>
                    <a:pt x="10039" y="154"/>
                  </a:lnTo>
                  <a:lnTo>
                    <a:pt x="10034" y="143"/>
                  </a:lnTo>
                  <a:lnTo>
                    <a:pt x="10029" y="132"/>
                  </a:lnTo>
                  <a:lnTo>
                    <a:pt x="10023" y="122"/>
                  </a:lnTo>
                  <a:lnTo>
                    <a:pt x="10016" y="112"/>
                  </a:lnTo>
                  <a:lnTo>
                    <a:pt x="10009" y="102"/>
                  </a:lnTo>
                  <a:lnTo>
                    <a:pt x="10002" y="92"/>
                  </a:lnTo>
                  <a:lnTo>
                    <a:pt x="9994" y="83"/>
                  </a:lnTo>
                  <a:lnTo>
                    <a:pt x="9986" y="74"/>
                  </a:lnTo>
                  <a:lnTo>
                    <a:pt x="9977" y="66"/>
                  </a:lnTo>
                  <a:lnTo>
                    <a:pt x="9968" y="58"/>
                  </a:lnTo>
                  <a:lnTo>
                    <a:pt x="9959" y="51"/>
                  </a:lnTo>
                  <a:lnTo>
                    <a:pt x="9948" y="44"/>
                  </a:lnTo>
                  <a:lnTo>
                    <a:pt x="9938" y="37"/>
                  </a:lnTo>
                  <a:lnTo>
                    <a:pt x="9927" y="31"/>
                  </a:lnTo>
                  <a:lnTo>
                    <a:pt x="9916" y="26"/>
                  </a:lnTo>
                  <a:lnTo>
                    <a:pt x="9905" y="21"/>
                  </a:lnTo>
                  <a:lnTo>
                    <a:pt x="9894" y="16"/>
                  </a:lnTo>
                  <a:lnTo>
                    <a:pt x="9882" y="12"/>
                  </a:lnTo>
                  <a:lnTo>
                    <a:pt x="9870" y="8"/>
                  </a:lnTo>
                  <a:lnTo>
                    <a:pt x="9858" y="5"/>
                  </a:lnTo>
                  <a:lnTo>
                    <a:pt x="9846" y="3"/>
                  </a:lnTo>
                  <a:lnTo>
                    <a:pt x="9834" y="1"/>
                  </a:lnTo>
                  <a:lnTo>
                    <a:pt x="9821" y="0"/>
                  </a:lnTo>
                  <a:lnTo>
                    <a:pt x="980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80" name="íşlïḋé">
              <a:extLst>
                <a:ext uri="{FF2B5EF4-FFF2-40B4-BE49-F238E27FC236}">
                  <a16:creationId xmlns:a16="http://schemas.microsoft.com/office/drawing/2014/main" id="{8B2B9E5B-9578-422E-986A-FC7473B5DF9F}"/>
                </a:ext>
              </a:extLst>
            </p:cNvPr>
            <p:cNvSpPr/>
            <p:nvPr/>
          </p:nvSpPr>
          <p:spPr bwMode="auto">
            <a:xfrm>
              <a:off x="4879633" y="467149"/>
              <a:ext cx="64804" cy="65335"/>
            </a:xfrm>
            <a:custGeom>
              <a:avLst/>
              <a:gdLst>
                <a:gd name="T0" fmla="*/ 3521 w 4526"/>
                <a:gd name="T1" fmla="*/ 3519 h 4525"/>
                <a:gd name="T2" fmla="*/ 503 w 4526"/>
                <a:gd name="T3" fmla="*/ 4525 h 4525"/>
                <a:gd name="T4" fmla="*/ 4075 w 4526"/>
                <a:gd name="T5" fmla="*/ 4522 h 4525"/>
                <a:gd name="T6" fmla="*/ 4149 w 4526"/>
                <a:gd name="T7" fmla="*/ 4508 h 4525"/>
                <a:gd name="T8" fmla="*/ 4220 w 4526"/>
                <a:gd name="T9" fmla="*/ 4485 h 4525"/>
                <a:gd name="T10" fmla="*/ 4284 w 4526"/>
                <a:gd name="T11" fmla="*/ 4452 h 4525"/>
                <a:gd name="T12" fmla="*/ 4343 w 4526"/>
                <a:gd name="T13" fmla="*/ 4410 h 4525"/>
                <a:gd name="T14" fmla="*/ 4396 w 4526"/>
                <a:gd name="T15" fmla="*/ 4360 h 4525"/>
                <a:gd name="T16" fmla="*/ 4441 w 4526"/>
                <a:gd name="T17" fmla="*/ 4302 h 4525"/>
                <a:gd name="T18" fmla="*/ 4477 w 4526"/>
                <a:gd name="T19" fmla="*/ 4240 h 4525"/>
                <a:gd name="T20" fmla="*/ 4504 w 4526"/>
                <a:gd name="T21" fmla="*/ 4172 h 4525"/>
                <a:gd name="T22" fmla="*/ 4520 w 4526"/>
                <a:gd name="T23" fmla="*/ 4098 h 4525"/>
                <a:gd name="T24" fmla="*/ 4526 w 4526"/>
                <a:gd name="T25" fmla="*/ 4022 h 4525"/>
                <a:gd name="T26" fmla="*/ 4523 w 4526"/>
                <a:gd name="T27" fmla="*/ 452 h 4525"/>
                <a:gd name="T28" fmla="*/ 4510 w 4526"/>
                <a:gd name="T29" fmla="*/ 377 h 4525"/>
                <a:gd name="T30" fmla="*/ 4487 w 4526"/>
                <a:gd name="T31" fmla="*/ 308 h 4525"/>
                <a:gd name="T32" fmla="*/ 4454 w 4526"/>
                <a:gd name="T33" fmla="*/ 242 h 4525"/>
                <a:gd name="T34" fmla="*/ 4412 w 4526"/>
                <a:gd name="T35" fmla="*/ 183 h 4525"/>
                <a:gd name="T36" fmla="*/ 4361 w 4526"/>
                <a:gd name="T37" fmla="*/ 131 h 4525"/>
                <a:gd name="T38" fmla="*/ 4305 w 4526"/>
                <a:gd name="T39" fmla="*/ 85 h 4525"/>
                <a:gd name="T40" fmla="*/ 4242 w 4526"/>
                <a:gd name="T41" fmla="*/ 49 h 4525"/>
                <a:gd name="T42" fmla="*/ 4173 w 4526"/>
                <a:gd name="T43" fmla="*/ 22 h 4525"/>
                <a:gd name="T44" fmla="*/ 4100 w 4526"/>
                <a:gd name="T45" fmla="*/ 6 h 4525"/>
                <a:gd name="T46" fmla="*/ 4024 w 4526"/>
                <a:gd name="T47" fmla="*/ 0 h 4525"/>
                <a:gd name="T48" fmla="*/ 451 w 4526"/>
                <a:gd name="T49" fmla="*/ 3 h 4525"/>
                <a:gd name="T50" fmla="*/ 377 w 4526"/>
                <a:gd name="T51" fmla="*/ 16 h 4525"/>
                <a:gd name="T52" fmla="*/ 307 w 4526"/>
                <a:gd name="T53" fmla="*/ 39 h 4525"/>
                <a:gd name="T54" fmla="*/ 242 w 4526"/>
                <a:gd name="T55" fmla="*/ 72 h 4525"/>
                <a:gd name="T56" fmla="*/ 183 w 4526"/>
                <a:gd name="T57" fmla="*/ 115 h 4525"/>
                <a:gd name="T58" fmla="*/ 131 w 4526"/>
                <a:gd name="T59" fmla="*/ 165 h 4525"/>
                <a:gd name="T60" fmla="*/ 85 w 4526"/>
                <a:gd name="T61" fmla="*/ 222 h 4525"/>
                <a:gd name="T62" fmla="*/ 49 w 4526"/>
                <a:gd name="T63" fmla="*/ 285 h 4525"/>
                <a:gd name="T64" fmla="*/ 22 w 4526"/>
                <a:gd name="T65" fmla="*/ 353 h 4525"/>
                <a:gd name="T66" fmla="*/ 6 w 4526"/>
                <a:gd name="T67" fmla="*/ 426 h 4525"/>
                <a:gd name="T68" fmla="*/ 0 w 4526"/>
                <a:gd name="T69" fmla="*/ 503 h 4525"/>
                <a:gd name="T70" fmla="*/ 3 w 4526"/>
                <a:gd name="T71" fmla="*/ 4073 h 4525"/>
                <a:gd name="T72" fmla="*/ 16 w 4526"/>
                <a:gd name="T73" fmla="*/ 4147 h 4525"/>
                <a:gd name="T74" fmla="*/ 39 w 4526"/>
                <a:gd name="T75" fmla="*/ 4218 h 4525"/>
                <a:gd name="T76" fmla="*/ 72 w 4526"/>
                <a:gd name="T77" fmla="*/ 4282 h 4525"/>
                <a:gd name="T78" fmla="*/ 114 w 4526"/>
                <a:gd name="T79" fmla="*/ 4342 h 4525"/>
                <a:gd name="T80" fmla="*/ 165 w 4526"/>
                <a:gd name="T81" fmla="*/ 4394 h 4525"/>
                <a:gd name="T82" fmla="*/ 221 w 4526"/>
                <a:gd name="T83" fmla="*/ 4439 h 4525"/>
                <a:gd name="T84" fmla="*/ 284 w 4526"/>
                <a:gd name="T85" fmla="*/ 4475 h 4525"/>
                <a:gd name="T86" fmla="*/ 353 w 4526"/>
                <a:gd name="T87" fmla="*/ 4501 h 4525"/>
                <a:gd name="T88" fmla="*/ 426 w 4526"/>
                <a:gd name="T89" fmla="*/ 4519 h 4525"/>
                <a:gd name="T90" fmla="*/ 503 w 4526"/>
                <a:gd name="T91" fmla="*/ 4525 h 4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526" h="4525">
                  <a:moveTo>
                    <a:pt x="1006" y="1004"/>
                  </a:moveTo>
                  <a:lnTo>
                    <a:pt x="3521" y="1004"/>
                  </a:lnTo>
                  <a:lnTo>
                    <a:pt x="3521" y="3519"/>
                  </a:lnTo>
                  <a:lnTo>
                    <a:pt x="1006" y="3519"/>
                  </a:lnTo>
                  <a:lnTo>
                    <a:pt x="1006" y="1004"/>
                  </a:lnTo>
                  <a:close/>
                  <a:moveTo>
                    <a:pt x="503" y="4525"/>
                  </a:moveTo>
                  <a:lnTo>
                    <a:pt x="4024" y="4525"/>
                  </a:lnTo>
                  <a:lnTo>
                    <a:pt x="4050" y="4524"/>
                  </a:lnTo>
                  <a:lnTo>
                    <a:pt x="4075" y="4522"/>
                  </a:lnTo>
                  <a:lnTo>
                    <a:pt x="4100" y="4519"/>
                  </a:lnTo>
                  <a:lnTo>
                    <a:pt x="4125" y="4515"/>
                  </a:lnTo>
                  <a:lnTo>
                    <a:pt x="4149" y="4508"/>
                  </a:lnTo>
                  <a:lnTo>
                    <a:pt x="4173" y="4501"/>
                  </a:lnTo>
                  <a:lnTo>
                    <a:pt x="4197" y="4494"/>
                  </a:lnTo>
                  <a:lnTo>
                    <a:pt x="4220" y="4485"/>
                  </a:lnTo>
                  <a:lnTo>
                    <a:pt x="4242" y="4475"/>
                  </a:lnTo>
                  <a:lnTo>
                    <a:pt x="4263" y="4464"/>
                  </a:lnTo>
                  <a:lnTo>
                    <a:pt x="4284" y="4452"/>
                  </a:lnTo>
                  <a:lnTo>
                    <a:pt x="4305" y="4439"/>
                  </a:lnTo>
                  <a:lnTo>
                    <a:pt x="4324" y="4425"/>
                  </a:lnTo>
                  <a:lnTo>
                    <a:pt x="4343" y="4410"/>
                  </a:lnTo>
                  <a:lnTo>
                    <a:pt x="4361" y="4394"/>
                  </a:lnTo>
                  <a:lnTo>
                    <a:pt x="4380" y="4378"/>
                  </a:lnTo>
                  <a:lnTo>
                    <a:pt x="4396" y="4360"/>
                  </a:lnTo>
                  <a:lnTo>
                    <a:pt x="4412" y="4342"/>
                  </a:lnTo>
                  <a:lnTo>
                    <a:pt x="4427" y="4322"/>
                  </a:lnTo>
                  <a:lnTo>
                    <a:pt x="4441" y="4302"/>
                  </a:lnTo>
                  <a:lnTo>
                    <a:pt x="4454" y="4282"/>
                  </a:lnTo>
                  <a:lnTo>
                    <a:pt x="4466" y="4261"/>
                  </a:lnTo>
                  <a:lnTo>
                    <a:pt x="4477" y="4240"/>
                  </a:lnTo>
                  <a:lnTo>
                    <a:pt x="4487" y="4218"/>
                  </a:lnTo>
                  <a:lnTo>
                    <a:pt x="4496" y="4195"/>
                  </a:lnTo>
                  <a:lnTo>
                    <a:pt x="4504" y="4172"/>
                  </a:lnTo>
                  <a:lnTo>
                    <a:pt x="4510" y="4147"/>
                  </a:lnTo>
                  <a:lnTo>
                    <a:pt x="4516" y="4123"/>
                  </a:lnTo>
                  <a:lnTo>
                    <a:pt x="4520" y="4098"/>
                  </a:lnTo>
                  <a:lnTo>
                    <a:pt x="4523" y="4073"/>
                  </a:lnTo>
                  <a:lnTo>
                    <a:pt x="4525" y="4048"/>
                  </a:lnTo>
                  <a:lnTo>
                    <a:pt x="4526" y="4022"/>
                  </a:lnTo>
                  <a:lnTo>
                    <a:pt x="4526" y="503"/>
                  </a:lnTo>
                  <a:lnTo>
                    <a:pt x="4525" y="477"/>
                  </a:lnTo>
                  <a:lnTo>
                    <a:pt x="4523" y="452"/>
                  </a:lnTo>
                  <a:lnTo>
                    <a:pt x="4520" y="426"/>
                  </a:lnTo>
                  <a:lnTo>
                    <a:pt x="4516" y="401"/>
                  </a:lnTo>
                  <a:lnTo>
                    <a:pt x="4510" y="377"/>
                  </a:lnTo>
                  <a:lnTo>
                    <a:pt x="4504" y="353"/>
                  </a:lnTo>
                  <a:lnTo>
                    <a:pt x="4496" y="330"/>
                  </a:lnTo>
                  <a:lnTo>
                    <a:pt x="4487" y="308"/>
                  </a:lnTo>
                  <a:lnTo>
                    <a:pt x="4477" y="285"/>
                  </a:lnTo>
                  <a:lnTo>
                    <a:pt x="4466" y="263"/>
                  </a:lnTo>
                  <a:lnTo>
                    <a:pt x="4454" y="242"/>
                  </a:lnTo>
                  <a:lnTo>
                    <a:pt x="4441" y="222"/>
                  </a:lnTo>
                  <a:lnTo>
                    <a:pt x="4427" y="202"/>
                  </a:lnTo>
                  <a:lnTo>
                    <a:pt x="4412" y="183"/>
                  </a:lnTo>
                  <a:lnTo>
                    <a:pt x="4396" y="165"/>
                  </a:lnTo>
                  <a:lnTo>
                    <a:pt x="4380" y="148"/>
                  </a:lnTo>
                  <a:lnTo>
                    <a:pt x="4361" y="131"/>
                  </a:lnTo>
                  <a:lnTo>
                    <a:pt x="4343" y="115"/>
                  </a:lnTo>
                  <a:lnTo>
                    <a:pt x="4324" y="99"/>
                  </a:lnTo>
                  <a:lnTo>
                    <a:pt x="4305" y="85"/>
                  </a:lnTo>
                  <a:lnTo>
                    <a:pt x="4284" y="72"/>
                  </a:lnTo>
                  <a:lnTo>
                    <a:pt x="4263" y="60"/>
                  </a:lnTo>
                  <a:lnTo>
                    <a:pt x="4242" y="49"/>
                  </a:lnTo>
                  <a:lnTo>
                    <a:pt x="4220" y="39"/>
                  </a:lnTo>
                  <a:lnTo>
                    <a:pt x="4197" y="30"/>
                  </a:lnTo>
                  <a:lnTo>
                    <a:pt x="4173" y="22"/>
                  </a:lnTo>
                  <a:lnTo>
                    <a:pt x="4149" y="16"/>
                  </a:lnTo>
                  <a:lnTo>
                    <a:pt x="4125" y="10"/>
                  </a:lnTo>
                  <a:lnTo>
                    <a:pt x="4100" y="6"/>
                  </a:lnTo>
                  <a:lnTo>
                    <a:pt x="4075" y="3"/>
                  </a:lnTo>
                  <a:lnTo>
                    <a:pt x="4050" y="1"/>
                  </a:lnTo>
                  <a:lnTo>
                    <a:pt x="4024" y="0"/>
                  </a:lnTo>
                  <a:lnTo>
                    <a:pt x="503" y="0"/>
                  </a:lnTo>
                  <a:lnTo>
                    <a:pt x="477" y="1"/>
                  </a:lnTo>
                  <a:lnTo>
                    <a:pt x="451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4" y="49"/>
                  </a:lnTo>
                  <a:lnTo>
                    <a:pt x="262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8"/>
                  </a:lnTo>
                  <a:lnTo>
                    <a:pt x="131" y="165"/>
                  </a:lnTo>
                  <a:lnTo>
                    <a:pt x="114" y="183"/>
                  </a:lnTo>
                  <a:lnTo>
                    <a:pt x="99" y="202"/>
                  </a:lnTo>
                  <a:lnTo>
                    <a:pt x="85" y="222"/>
                  </a:lnTo>
                  <a:lnTo>
                    <a:pt x="72" y="242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8"/>
                  </a:lnTo>
                  <a:lnTo>
                    <a:pt x="30" y="330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0" y="4022"/>
                  </a:lnTo>
                  <a:lnTo>
                    <a:pt x="1" y="4048"/>
                  </a:lnTo>
                  <a:lnTo>
                    <a:pt x="3" y="4073"/>
                  </a:lnTo>
                  <a:lnTo>
                    <a:pt x="6" y="4098"/>
                  </a:lnTo>
                  <a:lnTo>
                    <a:pt x="10" y="4123"/>
                  </a:lnTo>
                  <a:lnTo>
                    <a:pt x="16" y="4147"/>
                  </a:lnTo>
                  <a:lnTo>
                    <a:pt x="22" y="4172"/>
                  </a:lnTo>
                  <a:lnTo>
                    <a:pt x="30" y="4195"/>
                  </a:lnTo>
                  <a:lnTo>
                    <a:pt x="39" y="4218"/>
                  </a:lnTo>
                  <a:lnTo>
                    <a:pt x="49" y="4240"/>
                  </a:lnTo>
                  <a:lnTo>
                    <a:pt x="60" y="4261"/>
                  </a:lnTo>
                  <a:lnTo>
                    <a:pt x="72" y="4282"/>
                  </a:lnTo>
                  <a:lnTo>
                    <a:pt x="85" y="4302"/>
                  </a:lnTo>
                  <a:lnTo>
                    <a:pt x="99" y="4322"/>
                  </a:lnTo>
                  <a:lnTo>
                    <a:pt x="114" y="4342"/>
                  </a:lnTo>
                  <a:lnTo>
                    <a:pt x="131" y="4360"/>
                  </a:lnTo>
                  <a:lnTo>
                    <a:pt x="147" y="4378"/>
                  </a:lnTo>
                  <a:lnTo>
                    <a:pt x="165" y="4394"/>
                  </a:lnTo>
                  <a:lnTo>
                    <a:pt x="183" y="4410"/>
                  </a:lnTo>
                  <a:lnTo>
                    <a:pt x="202" y="4425"/>
                  </a:lnTo>
                  <a:lnTo>
                    <a:pt x="221" y="4439"/>
                  </a:lnTo>
                  <a:lnTo>
                    <a:pt x="242" y="4452"/>
                  </a:lnTo>
                  <a:lnTo>
                    <a:pt x="262" y="4464"/>
                  </a:lnTo>
                  <a:lnTo>
                    <a:pt x="284" y="4475"/>
                  </a:lnTo>
                  <a:lnTo>
                    <a:pt x="307" y="4485"/>
                  </a:lnTo>
                  <a:lnTo>
                    <a:pt x="330" y="4494"/>
                  </a:lnTo>
                  <a:lnTo>
                    <a:pt x="353" y="4501"/>
                  </a:lnTo>
                  <a:lnTo>
                    <a:pt x="377" y="4508"/>
                  </a:lnTo>
                  <a:lnTo>
                    <a:pt x="401" y="4515"/>
                  </a:lnTo>
                  <a:lnTo>
                    <a:pt x="426" y="4519"/>
                  </a:lnTo>
                  <a:lnTo>
                    <a:pt x="451" y="4522"/>
                  </a:lnTo>
                  <a:lnTo>
                    <a:pt x="477" y="4524"/>
                  </a:lnTo>
                  <a:lnTo>
                    <a:pt x="503" y="45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81" name="íṩľídê">
              <a:extLst>
                <a:ext uri="{FF2B5EF4-FFF2-40B4-BE49-F238E27FC236}">
                  <a16:creationId xmlns:a16="http://schemas.microsoft.com/office/drawing/2014/main" id="{A8973634-31E4-4F5E-9679-6ECD92AAB4AE}"/>
                </a:ext>
              </a:extLst>
            </p:cNvPr>
            <p:cNvSpPr/>
            <p:nvPr/>
          </p:nvSpPr>
          <p:spPr bwMode="auto">
            <a:xfrm>
              <a:off x="4375644" y="1162276"/>
              <a:ext cx="613338" cy="401842"/>
            </a:xfrm>
            <a:custGeom>
              <a:avLst/>
              <a:gdLst>
                <a:gd name="T0" fmla="*/ 8477 w 16095"/>
                <a:gd name="T1" fmla="*/ 6935 h 10545"/>
                <a:gd name="T2" fmla="*/ 8249 w 16095"/>
                <a:gd name="T3" fmla="*/ 7011 h 10545"/>
                <a:gd name="T4" fmla="*/ 8006 w 16095"/>
                <a:gd name="T5" fmla="*/ 7030 h 10545"/>
                <a:gd name="T6" fmla="*/ 7768 w 16095"/>
                <a:gd name="T7" fmla="*/ 6992 h 10545"/>
                <a:gd name="T8" fmla="*/ 7547 w 16095"/>
                <a:gd name="T9" fmla="*/ 6897 h 10545"/>
                <a:gd name="T10" fmla="*/ 1006 w 16095"/>
                <a:gd name="T11" fmla="*/ 2010 h 10545"/>
                <a:gd name="T12" fmla="*/ 1038 w 16095"/>
                <a:gd name="T13" fmla="*/ 1758 h 10545"/>
                <a:gd name="T14" fmla="*/ 1152 w 16095"/>
                <a:gd name="T15" fmla="*/ 1488 h 10545"/>
                <a:gd name="T16" fmla="*/ 1336 w 16095"/>
                <a:gd name="T17" fmla="*/ 1265 h 10545"/>
                <a:gd name="T18" fmla="*/ 1576 w 16095"/>
                <a:gd name="T19" fmla="*/ 1104 h 10545"/>
                <a:gd name="T20" fmla="*/ 1859 w 16095"/>
                <a:gd name="T21" fmla="*/ 1016 h 10545"/>
                <a:gd name="T22" fmla="*/ 14186 w 16095"/>
                <a:gd name="T23" fmla="*/ 1009 h 10545"/>
                <a:gd name="T24" fmla="*/ 14474 w 16095"/>
                <a:gd name="T25" fmla="*/ 1084 h 10545"/>
                <a:gd name="T26" fmla="*/ 14723 w 16095"/>
                <a:gd name="T27" fmla="*/ 1234 h 10545"/>
                <a:gd name="T28" fmla="*/ 14917 w 16095"/>
                <a:gd name="T29" fmla="*/ 1447 h 10545"/>
                <a:gd name="T30" fmla="*/ 15044 w 16095"/>
                <a:gd name="T31" fmla="*/ 1710 h 10545"/>
                <a:gd name="T32" fmla="*/ 15089 w 16095"/>
                <a:gd name="T33" fmla="*/ 2009 h 10545"/>
                <a:gd name="T34" fmla="*/ 15089 w 16095"/>
                <a:gd name="T35" fmla="*/ 8535 h 10545"/>
                <a:gd name="T36" fmla="*/ 15044 w 16095"/>
                <a:gd name="T37" fmla="*/ 8835 h 10545"/>
                <a:gd name="T38" fmla="*/ 14917 w 16095"/>
                <a:gd name="T39" fmla="*/ 9097 h 10545"/>
                <a:gd name="T40" fmla="*/ 14723 w 16095"/>
                <a:gd name="T41" fmla="*/ 9311 h 10545"/>
                <a:gd name="T42" fmla="*/ 14474 w 16095"/>
                <a:gd name="T43" fmla="*/ 9461 h 10545"/>
                <a:gd name="T44" fmla="*/ 14186 w 16095"/>
                <a:gd name="T45" fmla="*/ 9535 h 10545"/>
                <a:gd name="T46" fmla="*/ 1859 w 16095"/>
                <a:gd name="T47" fmla="*/ 9529 h 10545"/>
                <a:gd name="T48" fmla="*/ 1576 w 16095"/>
                <a:gd name="T49" fmla="*/ 9441 h 10545"/>
                <a:gd name="T50" fmla="*/ 1336 w 16095"/>
                <a:gd name="T51" fmla="*/ 9280 h 10545"/>
                <a:gd name="T52" fmla="*/ 1152 w 16095"/>
                <a:gd name="T53" fmla="*/ 9057 h 10545"/>
                <a:gd name="T54" fmla="*/ 1038 w 16095"/>
                <a:gd name="T55" fmla="*/ 8786 h 10545"/>
                <a:gd name="T56" fmla="*/ 4945 w 16095"/>
                <a:gd name="T57" fmla="*/ 5587 h 10545"/>
                <a:gd name="T58" fmla="*/ 7271 w 16095"/>
                <a:gd name="T59" fmla="*/ 7318 h 10545"/>
                <a:gd name="T60" fmla="*/ 7435 w 16095"/>
                <a:gd name="T61" fmla="*/ 7403 h 10545"/>
                <a:gd name="T62" fmla="*/ 7605 w 16095"/>
                <a:gd name="T63" fmla="*/ 7466 h 10545"/>
                <a:gd name="T64" fmla="*/ 7780 w 16095"/>
                <a:gd name="T65" fmla="*/ 7509 h 10545"/>
                <a:gd name="T66" fmla="*/ 7958 w 16095"/>
                <a:gd name="T67" fmla="*/ 7530 h 10545"/>
                <a:gd name="T68" fmla="*/ 8137 w 16095"/>
                <a:gd name="T69" fmla="*/ 7530 h 10545"/>
                <a:gd name="T70" fmla="*/ 8315 w 16095"/>
                <a:gd name="T71" fmla="*/ 7509 h 10545"/>
                <a:gd name="T72" fmla="*/ 8490 w 16095"/>
                <a:gd name="T73" fmla="*/ 7466 h 10545"/>
                <a:gd name="T74" fmla="*/ 8660 w 16095"/>
                <a:gd name="T75" fmla="*/ 7403 h 10545"/>
                <a:gd name="T76" fmla="*/ 8823 w 16095"/>
                <a:gd name="T77" fmla="*/ 7318 h 10545"/>
                <a:gd name="T78" fmla="*/ 11150 w 16095"/>
                <a:gd name="T79" fmla="*/ 5587 h 10545"/>
                <a:gd name="T80" fmla="*/ 14083 w 16095"/>
                <a:gd name="T81" fmla="*/ 0 h 10545"/>
                <a:gd name="T82" fmla="*/ 1509 w 16095"/>
                <a:gd name="T83" fmla="*/ 63 h 10545"/>
                <a:gd name="T84" fmla="*/ 969 w 16095"/>
                <a:gd name="T85" fmla="*/ 291 h 10545"/>
                <a:gd name="T86" fmla="*/ 523 w 16095"/>
                <a:gd name="T87" fmla="*/ 658 h 10545"/>
                <a:gd name="T88" fmla="*/ 198 w 16095"/>
                <a:gd name="T89" fmla="*/ 1138 h 10545"/>
                <a:gd name="T90" fmla="*/ 23 w 16095"/>
                <a:gd name="T91" fmla="*/ 1702 h 10545"/>
                <a:gd name="T92" fmla="*/ 10 w 16095"/>
                <a:gd name="T93" fmla="*/ 8741 h 10545"/>
                <a:gd name="T94" fmla="*/ 158 w 16095"/>
                <a:gd name="T95" fmla="*/ 9318 h 10545"/>
                <a:gd name="T96" fmla="*/ 460 w 16095"/>
                <a:gd name="T97" fmla="*/ 9814 h 10545"/>
                <a:gd name="T98" fmla="*/ 887 w 16095"/>
                <a:gd name="T99" fmla="*/ 10202 h 10545"/>
                <a:gd name="T100" fmla="*/ 1413 w 16095"/>
                <a:gd name="T101" fmla="*/ 10455 h 10545"/>
                <a:gd name="T102" fmla="*/ 2012 w 16095"/>
                <a:gd name="T103" fmla="*/ 10545 h 10545"/>
                <a:gd name="T104" fmla="*/ 14586 w 16095"/>
                <a:gd name="T105" fmla="*/ 10482 h 10545"/>
                <a:gd name="T106" fmla="*/ 15126 w 16095"/>
                <a:gd name="T107" fmla="*/ 10254 h 10545"/>
                <a:gd name="T108" fmla="*/ 15572 w 16095"/>
                <a:gd name="T109" fmla="*/ 9886 h 10545"/>
                <a:gd name="T110" fmla="*/ 15897 w 16095"/>
                <a:gd name="T111" fmla="*/ 9407 h 10545"/>
                <a:gd name="T112" fmla="*/ 16072 w 16095"/>
                <a:gd name="T113" fmla="*/ 8842 h 10545"/>
                <a:gd name="T114" fmla="*/ 16085 w 16095"/>
                <a:gd name="T115" fmla="*/ 1803 h 10545"/>
                <a:gd name="T116" fmla="*/ 15937 w 16095"/>
                <a:gd name="T117" fmla="*/ 1227 h 10545"/>
                <a:gd name="T118" fmla="*/ 15635 w 16095"/>
                <a:gd name="T119" fmla="*/ 731 h 10545"/>
                <a:gd name="T120" fmla="*/ 15208 w 16095"/>
                <a:gd name="T121" fmla="*/ 343 h 10545"/>
                <a:gd name="T122" fmla="*/ 14682 w 16095"/>
                <a:gd name="T123" fmla="*/ 90 h 10545"/>
                <a:gd name="T124" fmla="*/ 14083 w 16095"/>
                <a:gd name="T125" fmla="*/ 0 h 10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95" h="10545">
                  <a:moveTo>
                    <a:pt x="8651" y="6830"/>
                  </a:moveTo>
                  <a:lnTo>
                    <a:pt x="8618" y="6853"/>
                  </a:lnTo>
                  <a:lnTo>
                    <a:pt x="8584" y="6876"/>
                  </a:lnTo>
                  <a:lnTo>
                    <a:pt x="8548" y="6897"/>
                  </a:lnTo>
                  <a:lnTo>
                    <a:pt x="8513" y="6917"/>
                  </a:lnTo>
                  <a:lnTo>
                    <a:pt x="8477" y="6935"/>
                  </a:lnTo>
                  <a:lnTo>
                    <a:pt x="8441" y="6951"/>
                  </a:lnTo>
                  <a:lnTo>
                    <a:pt x="8404" y="6966"/>
                  </a:lnTo>
                  <a:lnTo>
                    <a:pt x="8365" y="6980"/>
                  </a:lnTo>
                  <a:lnTo>
                    <a:pt x="8327" y="6992"/>
                  </a:lnTo>
                  <a:lnTo>
                    <a:pt x="8288" y="7002"/>
                  </a:lnTo>
                  <a:lnTo>
                    <a:pt x="8249" y="7011"/>
                  </a:lnTo>
                  <a:lnTo>
                    <a:pt x="8209" y="7018"/>
                  </a:lnTo>
                  <a:lnTo>
                    <a:pt x="8169" y="7023"/>
                  </a:lnTo>
                  <a:lnTo>
                    <a:pt x="8129" y="7027"/>
                  </a:lnTo>
                  <a:lnTo>
                    <a:pt x="8089" y="7030"/>
                  </a:lnTo>
                  <a:lnTo>
                    <a:pt x="8048" y="7031"/>
                  </a:lnTo>
                  <a:lnTo>
                    <a:pt x="8006" y="7030"/>
                  </a:lnTo>
                  <a:lnTo>
                    <a:pt x="7966" y="7027"/>
                  </a:lnTo>
                  <a:lnTo>
                    <a:pt x="7926" y="7023"/>
                  </a:lnTo>
                  <a:lnTo>
                    <a:pt x="7886" y="7018"/>
                  </a:lnTo>
                  <a:lnTo>
                    <a:pt x="7845" y="7011"/>
                  </a:lnTo>
                  <a:lnTo>
                    <a:pt x="7806" y="7002"/>
                  </a:lnTo>
                  <a:lnTo>
                    <a:pt x="7768" y="6992"/>
                  </a:lnTo>
                  <a:lnTo>
                    <a:pt x="7730" y="6980"/>
                  </a:lnTo>
                  <a:lnTo>
                    <a:pt x="7691" y="6966"/>
                  </a:lnTo>
                  <a:lnTo>
                    <a:pt x="7654" y="6951"/>
                  </a:lnTo>
                  <a:lnTo>
                    <a:pt x="7618" y="6935"/>
                  </a:lnTo>
                  <a:lnTo>
                    <a:pt x="7582" y="6917"/>
                  </a:lnTo>
                  <a:lnTo>
                    <a:pt x="7547" y="6897"/>
                  </a:lnTo>
                  <a:lnTo>
                    <a:pt x="7511" y="6876"/>
                  </a:lnTo>
                  <a:lnTo>
                    <a:pt x="7477" y="6853"/>
                  </a:lnTo>
                  <a:lnTo>
                    <a:pt x="7444" y="6830"/>
                  </a:lnTo>
                  <a:lnTo>
                    <a:pt x="5364" y="5273"/>
                  </a:lnTo>
                  <a:lnTo>
                    <a:pt x="4945" y="4958"/>
                  </a:lnTo>
                  <a:lnTo>
                    <a:pt x="1006" y="2010"/>
                  </a:lnTo>
                  <a:lnTo>
                    <a:pt x="1006" y="2009"/>
                  </a:lnTo>
                  <a:lnTo>
                    <a:pt x="1007" y="1957"/>
                  </a:lnTo>
                  <a:lnTo>
                    <a:pt x="1011" y="1906"/>
                  </a:lnTo>
                  <a:lnTo>
                    <a:pt x="1018" y="1856"/>
                  </a:lnTo>
                  <a:lnTo>
                    <a:pt x="1026" y="1807"/>
                  </a:lnTo>
                  <a:lnTo>
                    <a:pt x="1038" y="1758"/>
                  </a:lnTo>
                  <a:lnTo>
                    <a:pt x="1051" y="1710"/>
                  </a:lnTo>
                  <a:lnTo>
                    <a:pt x="1067" y="1663"/>
                  </a:lnTo>
                  <a:lnTo>
                    <a:pt x="1085" y="1618"/>
                  </a:lnTo>
                  <a:lnTo>
                    <a:pt x="1106" y="1574"/>
                  </a:lnTo>
                  <a:lnTo>
                    <a:pt x="1128" y="1531"/>
                  </a:lnTo>
                  <a:lnTo>
                    <a:pt x="1152" y="1488"/>
                  </a:lnTo>
                  <a:lnTo>
                    <a:pt x="1178" y="1447"/>
                  </a:lnTo>
                  <a:lnTo>
                    <a:pt x="1206" y="1408"/>
                  </a:lnTo>
                  <a:lnTo>
                    <a:pt x="1236" y="1370"/>
                  </a:lnTo>
                  <a:lnTo>
                    <a:pt x="1267" y="1334"/>
                  </a:lnTo>
                  <a:lnTo>
                    <a:pt x="1301" y="1299"/>
                  </a:lnTo>
                  <a:lnTo>
                    <a:pt x="1336" y="1265"/>
                  </a:lnTo>
                  <a:lnTo>
                    <a:pt x="1372" y="1234"/>
                  </a:lnTo>
                  <a:lnTo>
                    <a:pt x="1410" y="1204"/>
                  </a:lnTo>
                  <a:lnTo>
                    <a:pt x="1450" y="1176"/>
                  </a:lnTo>
                  <a:lnTo>
                    <a:pt x="1491" y="1150"/>
                  </a:lnTo>
                  <a:lnTo>
                    <a:pt x="1533" y="1126"/>
                  </a:lnTo>
                  <a:lnTo>
                    <a:pt x="1576" y="1104"/>
                  </a:lnTo>
                  <a:lnTo>
                    <a:pt x="1621" y="1084"/>
                  </a:lnTo>
                  <a:lnTo>
                    <a:pt x="1666" y="1066"/>
                  </a:lnTo>
                  <a:lnTo>
                    <a:pt x="1713" y="1049"/>
                  </a:lnTo>
                  <a:lnTo>
                    <a:pt x="1760" y="1036"/>
                  </a:lnTo>
                  <a:lnTo>
                    <a:pt x="1810" y="1024"/>
                  </a:lnTo>
                  <a:lnTo>
                    <a:pt x="1859" y="1016"/>
                  </a:lnTo>
                  <a:lnTo>
                    <a:pt x="1909" y="1009"/>
                  </a:lnTo>
                  <a:lnTo>
                    <a:pt x="1961" y="1005"/>
                  </a:lnTo>
                  <a:lnTo>
                    <a:pt x="2012" y="1004"/>
                  </a:lnTo>
                  <a:lnTo>
                    <a:pt x="14083" y="1004"/>
                  </a:lnTo>
                  <a:lnTo>
                    <a:pt x="14134" y="1005"/>
                  </a:lnTo>
                  <a:lnTo>
                    <a:pt x="14186" y="1009"/>
                  </a:lnTo>
                  <a:lnTo>
                    <a:pt x="14236" y="1016"/>
                  </a:lnTo>
                  <a:lnTo>
                    <a:pt x="14285" y="1024"/>
                  </a:lnTo>
                  <a:lnTo>
                    <a:pt x="14335" y="1036"/>
                  </a:lnTo>
                  <a:lnTo>
                    <a:pt x="14382" y="1049"/>
                  </a:lnTo>
                  <a:lnTo>
                    <a:pt x="14428" y="1066"/>
                  </a:lnTo>
                  <a:lnTo>
                    <a:pt x="14474" y="1084"/>
                  </a:lnTo>
                  <a:lnTo>
                    <a:pt x="14519" y="1104"/>
                  </a:lnTo>
                  <a:lnTo>
                    <a:pt x="14562" y="1126"/>
                  </a:lnTo>
                  <a:lnTo>
                    <a:pt x="14604" y="1150"/>
                  </a:lnTo>
                  <a:lnTo>
                    <a:pt x="14645" y="1176"/>
                  </a:lnTo>
                  <a:lnTo>
                    <a:pt x="14685" y="1204"/>
                  </a:lnTo>
                  <a:lnTo>
                    <a:pt x="14723" y="1234"/>
                  </a:lnTo>
                  <a:lnTo>
                    <a:pt x="14759" y="1265"/>
                  </a:lnTo>
                  <a:lnTo>
                    <a:pt x="14794" y="1299"/>
                  </a:lnTo>
                  <a:lnTo>
                    <a:pt x="14828" y="1334"/>
                  </a:lnTo>
                  <a:lnTo>
                    <a:pt x="14859" y="1370"/>
                  </a:lnTo>
                  <a:lnTo>
                    <a:pt x="14889" y="1408"/>
                  </a:lnTo>
                  <a:lnTo>
                    <a:pt x="14917" y="1447"/>
                  </a:lnTo>
                  <a:lnTo>
                    <a:pt x="14943" y="1488"/>
                  </a:lnTo>
                  <a:lnTo>
                    <a:pt x="14967" y="1531"/>
                  </a:lnTo>
                  <a:lnTo>
                    <a:pt x="14989" y="1574"/>
                  </a:lnTo>
                  <a:lnTo>
                    <a:pt x="15010" y="1618"/>
                  </a:lnTo>
                  <a:lnTo>
                    <a:pt x="15028" y="1663"/>
                  </a:lnTo>
                  <a:lnTo>
                    <a:pt x="15044" y="1710"/>
                  </a:lnTo>
                  <a:lnTo>
                    <a:pt x="15058" y="1758"/>
                  </a:lnTo>
                  <a:lnTo>
                    <a:pt x="15069" y="1807"/>
                  </a:lnTo>
                  <a:lnTo>
                    <a:pt x="15078" y="1856"/>
                  </a:lnTo>
                  <a:lnTo>
                    <a:pt x="15084" y="1906"/>
                  </a:lnTo>
                  <a:lnTo>
                    <a:pt x="15088" y="1957"/>
                  </a:lnTo>
                  <a:lnTo>
                    <a:pt x="15089" y="2009"/>
                  </a:lnTo>
                  <a:lnTo>
                    <a:pt x="8651" y="6830"/>
                  </a:lnTo>
                  <a:close/>
                  <a:moveTo>
                    <a:pt x="15089" y="7908"/>
                  </a:moveTo>
                  <a:lnTo>
                    <a:pt x="11569" y="5273"/>
                  </a:lnTo>
                  <a:lnTo>
                    <a:pt x="15089" y="2636"/>
                  </a:lnTo>
                  <a:lnTo>
                    <a:pt x="15089" y="7908"/>
                  </a:lnTo>
                  <a:close/>
                  <a:moveTo>
                    <a:pt x="15089" y="8535"/>
                  </a:moveTo>
                  <a:lnTo>
                    <a:pt x="15088" y="8588"/>
                  </a:lnTo>
                  <a:lnTo>
                    <a:pt x="15084" y="8639"/>
                  </a:lnTo>
                  <a:lnTo>
                    <a:pt x="15078" y="8689"/>
                  </a:lnTo>
                  <a:lnTo>
                    <a:pt x="15069" y="8738"/>
                  </a:lnTo>
                  <a:lnTo>
                    <a:pt x="15058" y="8786"/>
                  </a:lnTo>
                  <a:lnTo>
                    <a:pt x="15044" y="8835"/>
                  </a:lnTo>
                  <a:lnTo>
                    <a:pt x="15028" y="8881"/>
                  </a:lnTo>
                  <a:lnTo>
                    <a:pt x="15010" y="8927"/>
                  </a:lnTo>
                  <a:lnTo>
                    <a:pt x="14989" y="8971"/>
                  </a:lnTo>
                  <a:lnTo>
                    <a:pt x="14967" y="9014"/>
                  </a:lnTo>
                  <a:lnTo>
                    <a:pt x="14943" y="9057"/>
                  </a:lnTo>
                  <a:lnTo>
                    <a:pt x="14917" y="9097"/>
                  </a:lnTo>
                  <a:lnTo>
                    <a:pt x="14889" y="9137"/>
                  </a:lnTo>
                  <a:lnTo>
                    <a:pt x="14859" y="9174"/>
                  </a:lnTo>
                  <a:lnTo>
                    <a:pt x="14828" y="9211"/>
                  </a:lnTo>
                  <a:lnTo>
                    <a:pt x="14794" y="9246"/>
                  </a:lnTo>
                  <a:lnTo>
                    <a:pt x="14759" y="9280"/>
                  </a:lnTo>
                  <a:lnTo>
                    <a:pt x="14723" y="9311"/>
                  </a:lnTo>
                  <a:lnTo>
                    <a:pt x="14685" y="9341"/>
                  </a:lnTo>
                  <a:lnTo>
                    <a:pt x="14645" y="9369"/>
                  </a:lnTo>
                  <a:lnTo>
                    <a:pt x="14604" y="9395"/>
                  </a:lnTo>
                  <a:lnTo>
                    <a:pt x="14562" y="9419"/>
                  </a:lnTo>
                  <a:lnTo>
                    <a:pt x="14519" y="9441"/>
                  </a:lnTo>
                  <a:lnTo>
                    <a:pt x="14474" y="9461"/>
                  </a:lnTo>
                  <a:lnTo>
                    <a:pt x="14428" y="9479"/>
                  </a:lnTo>
                  <a:lnTo>
                    <a:pt x="14382" y="9496"/>
                  </a:lnTo>
                  <a:lnTo>
                    <a:pt x="14335" y="9509"/>
                  </a:lnTo>
                  <a:lnTo>
                    <a:pt x="14285" y="9520"/>
                  </a:lnTo>
                  <a:lnTo>
                    <a:pt x="14236" y="9529"/>
                  </a:lnTo>
                  <a:lnTo>
                    <a:pt x="14186" y="9535"/>
                  </a:lnTo>
                  <a:lnTo>
                    <a:pt x="14134" y="9539"/>
                  </a:lnTo>
                  <a:lnTo>
                    <a:pt x="14083" y="9540"/>
                  </a:lnTo>
                  <a:lnTo>
                    <a:pt x="2012" y="9540"/>
                  </a:lnTo>
                  <a:lnTo>
                    <a:pt x="1961" y="9539"/>
                  </a:lnTo>
                  <a:lnTo>
                    <a:pt x="1909" y="9535"/>
                  </a:lnTo>
                  <a:lnTo>
                    <a:pt x="1859" y="9529"/>
                  </a:lnTo>
                  <a:lnTo>
                    <a:pt x="1810" y="9520"/>
                  </a:lnTo>
                  <a:lnTo>
                    <a:pt x="1760" y="9509"/>
                  </a:lnTo>
                  <a:lnTo>
                    <a:pt x="1713" y="9496"/>
                  </a:lnTo>
                  <a:lnTo>
                    <a:pt x="1666" y="9479"/>
                  </a:lnTo>
                  <a:lnTo>
                    <a:pt x="1621" y="9461"/>
                  </a:lnTo>
                  <a:lnTo>
                    <a:pt x="1576" y="9441"/>
                  </a:lnTo>
                  <a:lnTo>
                    <a:pt x="1533" y="9419"/>
                  </a:lnTo>
                  <a:lnTo>
                    <a:pt x="1491" y="9395"/>
                  </a:lnTo>
                  <a:lnTo>
                    <a:pt x="1450" y="9369"/>
                  </a:lnTo>
                  <a:lnTo>
                    <a:pt x="1410" y="9341"/>
                  </a:lnTo>
                  <a:lnTo>
                    <a:pt x="1372" y="9311"/>
                  </a:lnTo>
                  <a:lnTo>
                    <a:pt x="1336" y="9280"/>
                  </a:lnTo>
                  <a:lnTo>
                    <a:pt x="1301" y="9246"/>
                  </a:lnTo>
                  <a:lnTo>
                    <a:pt x="1267" y="9211"/>
                  </a:lnTo>
                  <a:lnTo>
                    <a:pt x="1236" y="9174"/>
                  </a:lnTo>
                  <a:lnTo>
                    <a:pt x="1206" y="9137"/>
                  </a:lnTo>
                  <a:lnTo>
                    <a:pt x="1178" y="9097"/>
                  </a:lnTo>
                  <a:lnTo>
                    <a:pt x="1152" y="9057"/>
                  </a:lnTo>
                  <a:lnTo>
                    <a:pt x="1128" y="9014"/>
                  </a:lnTo>
                  <a:lnTo>
                    <a:pt x="1106" y="8971"/>
                  </a:lnTo>
                  <a:lnTo>
                    <a:pt x="1085" y="8927"/>
                  </a:lnTo>
                  <a:lnTo>
                    <a:pt x="1067" y="8881"/>
                  </a:lnTo>
                  <a:lnTo>
                    <a:pt x="1051" y="8835"/>
                  </a:lnTo>
                  <a:lnTo>
                    <a:pt x="1038" y="8786"/>
                  </a:lnTo>
                  <a:lnTo>
                    <a:pt x="1026" y="8738"/>
                  </a:lnTo>
                  <a:lnTo>
                    <a:pt x="1018" y="8689"/>
                  </a:lnTo>
                  <a:lnTo>
                    <a:pt x="1011" y="8639"/>
                  </a:lnTo>
                  <a:lnTo>
                    <a:pt x="1007" y="8588"/>
                  </a:lnTo>
                  <a:lnTo>
                    <a:pt x="1006" y="8535"/>
                  </a:lnTo>
                  <a:lnTo>
                    <a:pt x="4945" y="5587"/>
                  </a:lnTo>
                  <a:lnTo>
                    <a:pt x="7142" y="7232"/>
                  </a:lnTo>
                  <a:lnTo>
                    <a:pt x="7167" y="7250"/>
                  </a:lnTo>
                  <a:lnTo>
                    <a:pt x="7193" y="7268"/>
                  </a:lnTo>
                  <a:lnTo>
                    <a:pt x="7219" y="7285"/>
                  </a:lnTo>
                  <a:lnTo>
                    <a:pt x="7245" y="7302"/>
                  </a:lnTo>
                  <a:lnTo>
                    <a:pt x="7271" y="7318"/>
                  </a:lnTo>
                  <a:lnTo>
                    <a:pt x="7298" y="7333"/>
                  </a:lnTo>
                  <a:lnTo>
                    <a:pt x="7325" y="7348"/>
                  </a:lnTo>
                  <a:lnTo>
                    <a:pt x="7352" y="7363"/>
                  </a:lnTo>
                  <a:lnTo>
                    <a:pt x="7380" y="7376"/>
                  </a:lnTo>
                  <a:lnTo>
                    <a:pt x="7407" y="7391"/>
                  </a:lnTo>
                  <a:lnTo>
                    <a:pt x="7435" y="7403"/>
                  </a:lnTo>
                  <a:lnTo>
                    <a:pt x="7462" y="7415"/>
                  </a:lnTo>
                  <a:lnTo>
                    <a:pt x="7490" y="7427"/>
                  </a:lnTo>
                  <a:lnTo>
                    <a:pt x="7518" y="7437"/>
                  </a:lnTo>
                  <a:lnTo>
                    <a:pt x="7548" y="7448"/>
                  </a:lnTo>
                  <a:lnTo>
                    <a:pt x="7576" y="7457"/>
                  </a:lnTo>
                  <a:lnTo>
                    <a:pt x="7605" y="7466"/>
                  </a:lnTo>
                  <a:lnTo>
                    <a:pt x="7633" y="7475"/>
                  </a:lnTo>
                  <a:lnTo>
                    <a:pt x="7662" y="7483"/>
                  </a:lnTo>
                  <a:lnTo>
                    <a:pt x="7691" y="7490"/>
                  </a:lnTo>
                  <a:lnTo>
                    <a:pt x="7721" y="7497"/>
                  </a:lnTo>
                  <a:lnTo>
                    <a:pt x="7750" y="7503"/>
                  </a:lnTo>
                  <a:lnTo>
                    <a:pt x="7780" y="7509"/>
                  </a:lnTo>
                  <a:lnTo>
                    <a:pt x="7809" y="7514"/>
                  </a:lnTo>
                  <a:lnTo>
                    <a:pt x="7839" y="7518"/>
                  </a:lnTo>
                  <a:lnTo>
                    <a:pt x="7868" y="7522"/>
                  </a:lnTo>
                  <a:lnTo>
                    <a:pt x="7899" y="7525"/>
                  </a:lnTo>
                  <a:lnTo>
                    <a:pt x="7928" y="7528"/>
                  </a:lnTo>
                  <a:lnTo>
                    <a:pt x="7958" y="7530"/>
                  </a:lnTo>
                  <a:lnTo>
                    <a:pt x="7988" y="7531"/>
                  </a:lnTo>
                  <a:lnTo>
                    <a:pt x="8017" y="7532"/>
                  </a:lnTo>
                  <a:lnTo>
                    <a:pt x="8048" y="7532"/>
                  </a:lnTo>
                  <a:lnTo>
                    <a:pt x="8078" y="7532"/>
                  </a:lnTo>
                  <a:lnTo>
                    <a:pt x="8107" y="7531"/>
                  </a:lnTo>
                  <a:lnTo>
                    <a:pt x="8137" y="7530"/>
                  </a:lnTo>
                  <a:lnTo>
                    <a:pt x="8167" y="7528"/>
                  </a:lnTo>
                  <a:lnTo>
                    <a:pt x="8196" y="7525"/>
                  </a:lnTo>
                  <a:lnTo>
                    <a:pt x="8227" y="7522"/>
                  </a:lnTo>
                  <a:lnTo>
                    <a:pt x="8256" y="7518"/>
                  </a:lnTo>
                  <a:lnTo>
                    <a:pt x="8286" y="7514"/>
                  </a:lnTo>
                  <a:lnTo>
                    <a:pt x="8315" y="7509"/>
                  </a:lnTo>
                  <a:lnTo>
                    <a:pt x="8344" y="7503"/>
                  </a:lnTo>
                  <a:lnTo>
                    <a:pt x="8374" y="7497"/>
                  </a:lnTo>
                  <a:lnTo>
                    <a:pt x="8404" y="7490"/>
                  </a:lnTo>
                  <a:lnTo>
                    <a:pt x="8433" y="7483"/>
                  </a:lnTo>
                  <a:lnTo>
                    <a:pt x="8461" y="7475"/>
                  </a:lnTo>
                  <a:lnTo>
                    <a:pt x="8490" y="7466"/>
                  </a:lnTo>
                  <a:lnTo>
                    <a:pt x="8519" y="7457"/>
                  </a:lnTo>
                  <a:lnTo>
                    <a:pt x="8547" y="7448"/>
                  </a:lnTo>
                  <a:lnTo>
                    <a:pt x="8576" y="7437"/>
                  </a:lnTo>
                  <a:lnTo>
                    <a:pt x="8605" y="7427"/>
                  </a:lnTo>
                  <a:lnTo>
                    <a:pt x="8632" y="7415"/>
                  </a:lnTo>
                  <a:lnTo>
                    <a:pt x="8660" y="7403"/>
                  </a:lnTo>
                  <a:lnTo>
                    <a:pt x="8688" y="7391"/>
                  </a:lnTo>
                  <a:lnTo>
                    <a:pt x="8715" y="7376"/>
                  </a:lnTo>
                  <a:lnTo>
                    <a:pt x="8743" y="7363"/>
                  </a:lnTo>
                  <a:lnTo>
                    <a:pt x="8770" y="7348"/>
                  </a:lnTo>
                  <a:lnTo>
                    <a:pt x="8797" y="7333"/>
                  </a:lnTo>
                  <a:lnTo>
                    <a:pt x="8823" y="7318"/>
                  </a:lnTo>
                  <a:lnTo>
                    <a:pt x="8850" y="7302"/>
                  </a:lnTo>
                  <a:lnTo>
                    <a:pt x="8876" y="7285"/>
                  </a:lnTo>
                  <a:lnTo>
                    <a:pt x="8902" y="7268"/>
                  </a:lnTo>
                  <a:lnTo>
                    <a:pt x="8928" y="7250"/>
                  </a:lnTo>
                  <a:lnTo>
                    <a:pt x="8953" y="7232"/>
                  </a:lnTo>
                  <a:lnTo>
                    <a:pt x="11150" y="5587"/>
                  </a:lnTo>
                  <a:lnTo>
                    <a:pt x="15089" y="8535"/>
                  </a:lnTo>
                  <a:close/>
                  <a:moveTo>
                    <a:pt x="1006" y="2636"/>
                  </a:moveTo>
                  <a:lnTo>
                    <a:pt x="4527" y="5273"/>
                  </a:lnTo>
                  <a:lnTo>
                    <a:pt x="1006" y="7908"/>
                  </a:lnTo>
                  <a:lnTo>
                    <a:pt x="1006" y="2636"/>
                  </a:lnTo>
                  <a:close/>
                  <a:moveTo>
                    <a:pt x="14083" y="0"/>
                  </a:moveTo>
                  <a:lnTo>
                    <a:pt x="2012" y="0"/>
                  </a:lnTo>
                  <a:lnTo>
                    <a:pt x="1908" y="3"/>
                  </a:lnTo>
                  <a:lnTo>
                    <a:pt x="1806" y="10"/>
                  </a:lnTo>
                  <a:lnTo>
                    <a:pt x="1705" y="23"/>
                  </a:lnTo>
                  <a:lnTo>
                    <a:pt x="1606" y="41"/>
                  </a:lnTo>
                  <a:lnTo>
                    <a:pt x="1509" y="63"/>
                  </a:lnTo>
                  <a:lnTo>
                    <a:pt x="1413" y="90"/>
                  </a:lnTo>
                  <a:lnTo>
                    <a:pt x="1320" y="122"/>
                  </a:lnTo>
                  <a:lnTo>
                    <a:pt x="1229" y="158"/>
                  </a:lnTo>
                  <a:lnTo>
                    <a:pt x="1140" y="198"/>
                  </a:lnTo>
                  <a:lnTo>
                    <a:pt x="1053" y="242"/>
                  </a:lnTo>
                  <a:lnTo>
                    <a:pt x="969" y="291"/>
                  </a:lnTo>
                  <a:lnTo>
                    <a:pt x="887" y="343"/>
                  </a:lnTo>
                  <a:lnTo>
                    <a:pt x="808" y="399"/>
                  </a:lnTo>
                  <a:lnTo>
                    <a:pt x="732" y="459"/>
                  </a:lnTo>
                  <a:lnTo>
                    <a:pt x="659" y="522"/>
                  </a:lnTo>
                  <a:lnTo>
                    <a:pt x="589" y="589"/>
                  </a:lnTo>
                  <a:lnTo>
                    <a:pt x="523" y="658"/>
                  </a:lnTo>
                  <a:lnTo>
                    <a:pt x="460" y="731"/>
                  </a:lnTo>
                  <a:lnTo>
                    <a:pt x="399" y="806"/>
                  </a:lnTo>
                  <a:lnTo>
                    <a:pt x="344" y="886"/>
                  </a:lnTo>
                  <a:lnTo>
                    <a:pt x="292" y="967"/>
                  </a:lnTo>
                  <a:lnTo>
                    <a:pt x="242" y="1051"/>
                  </a:lnTo>
                  <a:lnTo>
                    <a:pt x="198" y="1138"/>
                  </a:lnTo>
                  <a:lnTo>
                    <a:pt x="158" y="1227"/>
                  </a:lnTo>
                  <a:lnTo>
                    <a:pt x="122" y="1318"/>
                  </a:lnTo>
                  <a:lnTo>
                    <a:pt x="91" y="1411"/>
                  </a:lnTo>
                  <a:lnTo>
                    <a:pt x="63" y="1506"/>
                  </a:lnTo>
                  <a:lnTo>
                    <a:pt x="41" y="1604"/>
                  </a:lnTo>
                  <a:lnTo>
                    <a:pt x="23" y="1702"/>
                  </a:lnTo>
                  <a:lnTo>
                    <a:pt x="10" y="1803"/>
                  </a:lnTo>
                  <a:lnTo>
                    <a:pt x="3" y="1905"/>
                  </a:lnTo>
                  <a:lnTo>
                    <a:pt x="0" y="2009"/>
                  </a:lnTo>
                  <a:lnTo>
                    <a:pt x="0" y="8535"/>
                  </a:lnTo>
                  <a:lnTo>
                    <a:pt x="3" y="8639"/>
                  </a:lnTo>
                  <a:lnTo>
                    <a:pt x="10" y="8741"/>
                  </a:lnTo>
                  <a:lnTo>
                    <a:pt x="23" y="8842"/>
                  </a:lnTo>
                  <a:lnTo>
                    <a:pt x="41" y="8941"/>
                  </a:lnTo>
                  <a:lnTo>
                    <a:pt x="63" y="9038"/>
                  </a:lnTo>
                  <a:lnTo>
                    <a:pt x="91" y="9133"/>
                  </a:lnTo>
                  <a:lnTo>
                    <a:pt x="122" y="9226"/>
                  </a:lnTo>
                  <a:lnTo>
                    <a:pt x="158" y="9318"/>
                  </a:lnTo>
                  <a:lnTo>
                    <a:pt x="198" y="9407"/>
                  </a:lnTo>
                  <a:lnTo>
                    <a:pt x="242" y="9494"/>
                  </a:lnTo>
                  <a:lnTo>
                    <a:pt x="292" y="9578"/>
                  </a:lnTo>
                  <a:lnTo>
                    <a:pt x="344" y="9659"/>
                  </a:lnTo>
                  <a:lnTo>
                    <a:pt x="399" y="9738"/>
                  </a:lnTo>
                  <a:lnTo>
                    <a:pt x="460" y="9814"/>
                  </a:lnTo>
                  <a:lnTo>
                    <a:pt x="523" y="9886"/>
                  </a:lnTo>
                  <a:lnTo>
                    <a:pt x="589" y="9956"/>
                  </a:lnTo>
                  <a:lnTo>
                    <a:pt x="659" y="10023"/>
                  </a:lnTo>
                  <a:lnTo>
                    <a:pt x="732" y="10086"/>
                  </a:lnTo>
                  <a:lnTo>
                    <a:pt x="808" y="10145"/>
                  </a:lnTo>
                  <a:lnTo>
                    <a:pt x="887" y="10202"/>
                  </a:lnTo>
                  <a:lnTo>
                    <a:pt x="969" y="10254"/>
                  </a:lnTo>
                  <a:lnTo>
                    <a:pt x="1053" y="10303"/>
                  </a:lnTo>
                  <a:lnTo>
                    <a:pt x="1140" y="10347"/>
                  </a:lnTo>
                  <a:lnTo>
                    <a:pt x="1229" y="10387"/>
                  </a:lnTo>
                  <a:lnTo>
                    <a:pt x="1320" y="10423"/>
                  </a:lnTo>
                  <a:lnTo>
                    <a:pt x="1413" y="10455"/>
                  </a:lnTo>
                  <a:lnTo>
                    <a:pt x="1509" y="10482"/>
                  </a:lnTo>
                  <a:lnTo>
                    <a:pt x="1606" y="10504"/>
                  </a:lnTo>
                  <a:lnTo>
                    <a:pt x="1705" y="10522"/>
                  </a:lnTo>
                  <a:lnTo>
                    <a:pt x="1806" y="10535"/>
                  </a:lnTo>
                  <a:lnTo>
                    <a:pt x="1908" y="10542"/>
                  </a:lnTo>
                  <a:lnTo>
                    <a:pt x="2012" y="10545"/>
                  </a:lnTo>
                  <a:lnTo>
                    <a:pt x="14083" y="10545"/>
                  </a:lnTo>
                  <a:lnTo>
                    <a:pt x="14187" y="10542"/>
                  </a:lnTo>
                  <a:lnTo>
                    <a:pt x="14289" y="10535"/>
                  </a:lnTo>
                  <a:lnTo>
                    <a:pt x="14390" y="10522"/>
                  </a:lnTo>
                  <a:lnTo>
                    <a:pt x="14489" y="10504"/>
                  </a:lnTo>
                  <a:lnTo>
                    <a:pt x="14586" y="10482"/>
                  </a:lnTo>
                  <a:lnTo>
                    <a:pt x="14682" y="10455"/>
                  </a:lnTo>
                  <a:lnTo>
                    <a:pt x="14775" y="10423"/>
                  </a:lnTo>
                  <a:lnTo>
                    <a:pt x="14867" y="10387"/>
                  </a:lnTo>
                  <a:lnTo>
                    <a:pt x="14955" y="10347"/>
                  </a:lnTo>
                  <a:lnTo>
                    <a:pt x="15042" y="10303"/>
                  </a:lnTo>
                  <a:lnTo>
                    <a:pt x="15126" y="10254"/>
                  </a:lnTo>
                  <a:lnTo>
                    <a:pt x="15208" y="10202"/>
                  </a:lnTo>
                  <a:lnTo>
                    <a:pt x="15287" y="10145"/>
                  </a:lnTo>
                  <a:lnTo>
                    <a:pt x="15363" y="10086"/>
                  </a:lnTo>
                  <a:lnTo>
                    <a:pt x="15436" y="10023"/>
                  </a:lnTo>
                  <a:lnTo>
                    <a:pt x="15506" y="9956"/>
                  </a:lnTo>
                  <a:lnTo>
                    <a:pt x="15572" y="9886"/>
                  </a:lnTo>
                  <a:lnTo>
                    <a:pt x="15635" y="9814"/>
                  </a:lnTo>
                  <a:lnTo>
                    <a:pt x="15696" y="9738"/>
                  </a:lnTo>
                  <a:lnTo>
                    <a:pt x="15751" y="9659"/>
                  </a:lnTo>
                  <a:lnTo>
                    <a:pt x="15803" y="9578"/>
                  </a:lnTo>
                  <a:lnTo>
                    <a:pt x="15853" y="9494"/>
                  </a:lnTo>
                  <a:lnTo>
                    <a:pt x="15897" y="9407"/>
                  </a:lnTo>
                  <a:lnTo>
                    <a:pt x="15937" y="9318"/>
                  </a:lnTo>
                  <a:lnTo>
                    <a:pt x="15973" y="9226"/>
                  </a:lnTo>
                  <a:lnTo>
                    <a:pt x="16004" y="9133"/>
                  </a:lnTo>
                  <a:lnTo>
                    <a:pt x="16032" y="9038"/>
                  </a:lnTo>
                  <a:lnTo>
                    <a:pt x="16054" y="8941"/>
                  </a:lnTo>
                  <a:lnTo>
                    <a:pt x="16072" y="8842"/>
                  </a:lnTo>
                  <a:lnTo>
                    <a:pt x="16085" y="8741"/>
                  </a:lnTo>
                  <a:lnTo>
                    <a:pt x="16092" y="8639"/>
                  </a:lnTo>
                  <a:lnTo>
                    <a:pt x="16095" y="8535"/>
                  </a:lnTo>
                  <a:lnTo>
                    <a:pt x="16095" y="2009"/>
                  </a:lnTo>
                  <a:lnTo>
                    <a:pt x="16092" y="1905"/>
                  </a:lnTo>
                  <a:lnTo>
                    <a:pt x="16085" y="1803"/>
                  </a:lnTo>
                  <a:lnTo>
                    <a:pt x="16072" y="1702"/>
                  </a:lnTo>
                  <a:lnTo>
                    <a:pt x="16054" y="1604"/>
                  </a:lnTo>
                  <a:lnTo>
                    <a:pt x="16032" y="1506"/>
                  </a:lnTo>
                  <a:lnTo>
                    <a:pt x="16004" y="1411"/>
                  </a:lnTo>
                  <a:lnTo>
                    <a:pt x="15973" y="1318"/>
                  </a:lnTo>
                  <a:lnTo>
                    <a:pt x="15937" y="1227"/>
                  </a:lnTo>
                  <a:lnTo>
                    <a:pt x="15897" y="1138"/>
                  </a:lnTo>
                  <a:lnTo>
                    <a:pt x="15853" y="1051"/>
                  </a:lnTo>
                  <a:lnTo>
                    <a:pt x="15803" y="967"/>
                  </a:lnTo>
                  <a:lnTo>
                    <a:pt x="15751" y="886"/>
                  </a:lnTo>
                  <a:lnTo>
                    <a:pt x="15696" y="806"/>
                  </a:lnTo>
                  <a:lnTo>
                    <a:pt x="15635" y="731"/>
                  </a:lnTo>
                  <a:lnTo>
                    <a:pt x="15572" y="658"/>
                  </a:lnTo>
                  <a:lnTo>
                    <a:pt x="15506" y="589"/>
                  </a:lnTo>
                  <a:lnTo>
                    <a:pt x="15436" y="522"/>
                  </a:lnTo>
                  <a:lnTo>
                    <a:pt x="15363" y="459"/>
                  </a:lnTo>
                  <a:lnTo>
                    <a:pt x="15287" y="399"/>
                  </a:lnTo>
                  <a:lnTo>
                    <a:pt x="15208" y="343"/>
                  </a:lnTo>
                  <a:lnTo>
                    <a:pt x="15126" y="291"/>
                  </a:lnTo>
                  <a:lnTo>
                    <a:pt x="15042" y="242"/>
                  </a:lnTo>
                  <a:lnTo>
                    <a:pt x="14955" y="198"/>
                  </a:lnTo>
                  <a:lnTo>
                    <a:pt x="14867" y="158"/>
                  </a:lnTo>
                  <a:lnTo>
                    <a:pt x="14775" y="122"/>
                  </a:lnTo>
                  <a:lnTo>
                    <a:pt x="14682" y="90"/>
                  </a:lnTo>
                  <a:lnTo>
                    <a:pt x="14586" y="63"/>
                  </a:lnTo>
                  <a:lnTo>
                    <a:pt x="14489" y="41"/>
                  </a:lnTo>
                  <a:lnTo>
                    <a:pt x="14390" y="23"/>
                  </a:lnTo>
                  <a:lnTo>
                    <a:pt x="14289" y="10"/>
                  </a:lnTo>
                  <a:lnTo>
                    <a:pt x="14187" y="3"/>
                  </a:lnTo>
                  <a:lnTo>
                    <a:pt x="1408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82" name="îs1îde">
              <a:extLst>
                <a:ext uri="{FF2B5EF4-FFF2-40B4-BE49-F238E27FC236}">
                  <a16:creationId xmlns:a16="http://schemas.microsoft.com/office/drawing/2014/main" id="{5189D732-C948-4EE8-8A7C-3952EDC7602E}"/>
                </a:ext>
              </a:extLst>
            </p:cNvPr>
            <p:cNvSpPr/>
            <p:nvPr/>
          </p:nvSpPr>
          <p:spPr bwMode="auto">
            <a:xfrm>
              <a:off x="3753344" y="27138"/>
              <a:ext cx="614748" cy="613337"/>
            </a:xfrm>
            <a:custGeom>
              <a:avLst/>
              <a:gdLst>
                <a:gd name="T0" fmla="*/ 14736 w 16132"/>
                <a:gd name="T1" fmla="*/ 7927 h 16095"/>
                <a:gd name="T2" fmla="*/ 12966 w 16132"/>
                <a:gd name="T3" fmla="*/ 8091 h 16095"/>
                <a:gd name="T4" fmla="*/ 12858 w 16132"/>
                <a:gd name="T5" fmla="*/ 8337 h 16095"/>
                <a:gd name="T6" fmla="*/ 13033 w 16132"/>
                <a:gd name="T7" fmla="*/ 8539 h 16095"/>
                <a:gd name="T8" fmla="*/ 14789 w 16132"/>
                <a:gd name="T9" fmla="*/ 8901 h 16095"/>
                <a:gd name="T10" fmla="*/ 14828 w 16132"/>
                <a:gd name="T11" fmla="*/ 9762 h 16095"/>
                <a:gd name="T12" fmla="*/ 13953 w 16132"/>
                <a:gd name="T13" fmla="*/ 10554 h 16095"/>
                <a:gd name="T14" fmla="*/ 12394 w 16132"/>
                <a:gd name="T15" fmla="*/ 10673 h 16095"/>
                <a:gd name="T16" fmla="*/ 12387 w 16132"/>
                <a:gd name="T17" fmla="*/ 10945 h 16095"/>
                <a:gd name="T18" fmla="*/ 13673 w 16132"/>
                <a:gd name="T19" fmla="*/ 11067 h 16095"/>
                <a:gd name="T20" fmla="*/ 14319 w 16132"/>
                <a:gd name="T21" fmla="*/ 11774 h 16095"/>
                <a:gd name="T22" fmla="*/ 13891 w 16132"/>
                <a:gd name="T23" fmla="*/ 12812 h 16095"/>
                <a:gd name="T24" fmla="*/ 12009 w 16132"/>
                <a:gd name="T25" fmla="*/ 13092 h 16095"/>
                <a:gd name="T26" fmla="*/ 11846 w 16132"/>
                <a:gd name="T27" fmla="*/ 13303 h 16095"/>
                <a:gd name="T28" fmla="*/ 11966 w 16132"/>
                <a:gd name="T29" fmla="*/ 13544 h 16095"/>
                <a:gd name="T30" fmla="*/ 13288 w 16132"/>
                <a:gd name="T31" fmla="*/ 13730 h 16095"/>
                <a:gd name="T32" fmla="*/ 13358 w 16132"/>
                <a:gd name="T33" fmla="*/ 14429 h 16095"/>
                <a:gd name="T34" fmla="*/ 12917 w 16132"/>
                <a:gd name="T35" fmla="*/ 14986 h 16095"/>
                <a:gd name="T36" fmla="*/ 8700 w 16132"/>
                <a:gd name="T37" fmla="*/ 15051 h 16095"/>
                <a:gd name="T38" fmla="*/ 5570 w 16132"/>
                <a:gd name="T39" fmla="*/ 14483 h 16095"/>
                <a:gd name="T40" fmla="*/ 4191 w 16132"/>
                <a:gd name="T41" fmla="*/ 14088 h 16095"/>
                <a:gd name="T42" fmla="*/ 4067 w 16132"/>
                <a:gd name="T43" fmla="*/ 6631 h 16095"/>
                <a:gd name="T44" fmla="*/ 4433 w 16132"/>
                <a:gd name="T45" fmla="*/ 6297 h 16095"/>
                <a:gd name="T46" fmla="*/ 7138 w 16132"/>
                <a:gd name="T47" fmla="*/ 3681 h 16095"/>
                <a:gd name="T48" fmla="*/ 7616 w 16132"/>
                <a:gd name="T49" fmla="*/ 1286 h 16095"/>
                <a:gd name="T50" fmla="*/ 8117 w 16132"/>
                <a:gd name="T51" fmla="*/ 1009 h 16095"/>
                <a:gd name="T52" fmla="*/ 9386 w 16132"/>
                <a:gd name="T53" fmla="*/ 2464 h 16095"/>
                <a:gd name="T54" fmla="*/ 9452 w 16132"/>
                <a:gd name="T55" fmla="*/ 4763 h 16095"/>
                <a:gd name="T56" fmla="*/ 12897 w 16132"/>
                <a:gd name="T57" fmla="*/ 6065 h 16095"/>
                <a:gd name="T58" fmla="*/ 14749 w 16132"/>
                <a:gd name="T59" fmla="*/ 6317 h 16095"/>
                <a:gd name="T60" fmla="*/ 15121 w 16132"/>
                <a:gd name="T61" fmla="*/ 6923 h 16095"/>
                <a:gd name="T62" fmla="*/ 3443 w 16132"/>
                <a:gd name="T63" fmla="*/ 14868 h 16095"/>
                <a:gd name="T64" fmla="*/ 1461 w 16132"/>
                <a:gd name="T65" fmla="*/ 15086 h 16095"/>
                <a:gd name="T66" fmla="*/ 1038 w 16132"/>
                <a:gd name="T67" fmla="*/ 14759 h 16095"/>
                <a:gd name="T68" fmla="*/ 1139 w 16132"/>
                <a:gd name="T69" fmla="*/ 6201 h 16095"/>
                <a:gd name="T70" fmla="*/ 3151 w 16132"/>
                <a:gd name="T71" fmla="*/ 6052 h 16095"/>
                <a:gd name="T72" fmla="*/ 3519 w 16132"/>
                <a:gd name="T73" fmla="*/ 6437 h 16095"/>
                <a:gd name="T74" fmla="*/ 12860 w 16132"/>
                <a:gd name="T75" fmla="*/ 5106 h 16095"/>
                <a:gd name="T76" fmla="*/ 10549 w 16132"/>
                <a:gd name="T77" fmla="*/ 3394 h 16095"/>
                <a:gd name="T78" fmla="*/ 9053 w 16132"/>
                <a:gd name="T79" fmla="*/ 347 h 16095"/>
                <a:gd name="T80" fmla="*/ 7112 w 16132"/>
                <a:gd name="T81" fmla="*/ 342 h 16095"/>
                <a:gd name="T82" fmla="*/ 6522 w 16132"/>
                <a:gd name="T83" fmla="*/ 2020 h 16095"/>
                <a:gd name="T84" fmla="*/ 5109 w 16132"/>
                <a:gd name="T85" fmla="*/ 4776 h 16095"/>
                <a:gd name="T86" fmla="*/ 3758 w 16132"/>
                <a:gd name="T87" fmla="*/ 5238 h 16095"/>
                <a:gd name="T88" fmla="*/ 1512 w 16132"/>
                <a:gd name="T89" fmla="*/ 5030 h 16095"/>
                <a:gd name="T90" fmla="*/ 149 w 16132"/>
                <a:gd name="T91" fmla="*/ 5885 h 16095"/>
                <a:gd name="T92" fmla="*/ 300 w 16132"/>
                <a:gd name="T93" fmla="*/ 15488 h 16095"/>
                <a:gd name="T94" fmla="*/ 3191 w 16132"/>
                <a:gd name="T95" fmla="*/ 16086 h 16095"/>
                <a:gd name="T96" fmla="*/ 4206 w 16132"/>
                <a:gd name="T97" fmla="*/ 15494 h 16095"/>
                <a:gd name="T98" fmla="*/ 5348 w 16132"/>
                <a:gd name="T99" fmla="*/ 15463 h 16095"/>
                <a:gd name="T100" fmla="*/ 8325 w 16132"/>
                <a:gd name="T101" fmla="*/ 16027 h 16095"/>
                <a:gd name="T102" fmla="*/ 13194 w 16132"/>
                <a:gd name="T103" fmla="*/ 15959 h 16095"/>
                <a:gd name="T104" fmla="*/ 14200 w 16132"/>
                <a:gd name="T105" fmla="*/ 15031 h 16095"/>
                <a:gd name="T106" fmla="*/ 14426 w 16132"/>
                <a:gd name="T107" fmla="*/ 13944 h 16095"/>
                <a:gd name="T108" fmla="*/ 14933 w 16132"/>
                <a:gd name="T109" fmla="*/ 13091 h 16095"/>
                <a:gd name="T110" fmla="*/ 15321 w 16132"/>
                <a:gd name="T111" fmla="*/ 11883 h 16095"/>
                <a:gd name="T112" fmla="*/ 15240 w 16132"/>
                <a:gd name="T113" fmla="*/ 11003 h 16095"/>
                <a:gd name="T114" fmla="*/ 15776 w 16132"/>
                <a:gd name="T115" fmla="*/ 10098 h 16095"/>
                <a:gd name="T116" fmla="*/ 15890 w 16132"/>
                <a:gd name="T117" fmla="*/ 9058 h 16095"/>
                <a:gd name="T118" fmla="*/ 15834 w 16132"/>
                <a:gd name="T119" fmla="*/ 8258 h 16095"/>
                <a:gd name="T120" fmla="*/ 16112 w 16132"/>
                <a:gd name="T121" fmla="*/ 7457 h 16095"/>
                <a:gd name="T122" fmla="*/ 15972 w 16132"/>
                <a:gd name="T123" fmla="*/ 6305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32" h="16095">
                  <a:moveTo>
                    <a:pt x="15113" y="7310"/>
                  </a:moveTo>
                  <a:lnTo>
                    <a:pt x="15112" y="7334"/>
                  </a:lnTo>
                  <a:lnTo>
                    <a:pt x="15110" y="7359"/>
                  </a:lnTo>
                  <a:lnTo>
                    <a:pt x="15107" y="7387"/>
                  </a:lnTo>
                  <a:lnTo>
                    <a:pt x="15103" y="7414"/>
                  </a:lnTo>
                  <a:lnTo>
                    <a:pt x="15099" y="7442"/>
                  </a:lnTo>
                  <a:lnTo>
                    <a:pt x="15092" y="7471"/>
                  </a:lnTo>
                  <a:lnTo>
                    <a:pt x="15085" y="7500"/>
                  </a:lnTo>
                  <a:lnTo>
                    <a:pt x="15076" y="7530"/>
                  </a:lnTo>
                  <a:lnTo>
                    <a:pt x="15066" y="7561"/>
                  </a:lnTo>
                  <a:lnTo>
                    <a:pt x="15054" y="7592"/>
                  </a:lnTo>
                  <a:lnTo>
                    <a:pt x="15041" y="7622"/>
                  </a:lnTo>
                  <a:lnTo>
                    <a:pt x="15025" y="7653"/>
                  </a:lnTo>
                  <a:lnTo>
                    <a:pt x="15008" y="7683"/>
                  </a:lnTo>
                  <a:lnTo>
                    <a:pt x="14988" y="7714"/>
                  </a:lnTo>
                  <a:lnTo>
                    <a:pt x="14965" y="7743"/>
                  </a:lnTo>
                  <a:lnTo>
                    <a:pt x="14941" y="7772"/>
                  </a:lnTo>
                  <a:lnTo>
                    <a:pt x="14914" y="7800"/>
                  </a:lnTo>
                  <a:lnTo>
                    <a:pt x="14884" y="7828"/>
                  </a:lnTo>
                  <a:lnTo>
                    <a:pt x="14852" y="7854"/>
                  </a:lnTo>
                  <a:lnTo>
                    <a:pt x="14816" y="7880"/>
                  </a:lnTo>
                  <a:lnTo>
                    <a:pt x="14777" y="7904"/>
                  </a:lnTo>
                  <a:lnTo>
                    <a:pt x="14736" y="7927"/>
                  </a:lnTo>
                  <a:lnTo>
                    <a:pt x="14690" y="7948"/>
                  </a:lnTo>
                  <a:lnTo>
                    <a:pt x="14642" y="7967"/>
                  </a:lnTo>
                  <a:lnTo>
                    <a:pt x="14589" y="7985"/>
                  </a:lnTo>
                  <a:lnTo>
                    <a:pt x="14534" y="8000"/>
                  </a:lnTo>
                  <a:lnTo>
                    <a:pt x="14474" y="8014"/>
                  </a:lnTo>
                  <a:lnTo>
                    <a:pt x="14411" y="8026"/>
                  </a:lnTo>
                  <a:lnTo>
                    <a:pt x="14343" y="8035"/>
                  </a:lnTo>
                  <a:lnTo>
                    <a:pt x="14272" y="8041"/>
                  </a:lnTo>
                  <a:lnTo>
                    <a:pt x="14196" y="8046"/>
                  </a:lnTo>
                  <a:lnTo>
                    <a:pt x="14116" y="8048"/>
                  </a:lnTo>
                  <a:lnTo>
                    <a:pt x="13107" y="8048"/>
                  </a:lnTo>
                  <a:lnTo>
                    <a:pt x="13094" y="8048"/>
                  </a:lnTo>
                  <a:lnTo>
                    <a:pt x="13081" y="8049"/>
                  </a:lnTo>
                  <a:lnTo>
                    <a:pt x="13069" y="8051"/>
                  </a:lnTo>
                  <a:lnTo>
                    <a:pt x="13057" y="8053"/>
                  </a:lnTo>
                  <a:lnTo>
                    <a:pt x="13044" y="8056"/>
                  </a:lnTo>
                  <a:lnTo>
                    <a:pt x="13033" y="8059"/>
                  </a:lnTo>
                  <a:lnTo>
                    <a:pt x="13021" y="8063"/>
                  </a:lnTo>
                  <a:lnTo>
                    <a:pt x="13009" y="8068"/>
                  </a:lnTo>
                  <a:lnTo>
                    <a:pt x="12998" y="8073"/>
                  </a:lnTo>
                  <a:lnTo>
                    <a:pt x="12987" y="8078"/>
                  </a:lnTo>
                  <a:lnTo>
                    <a:pt x="12976" y="8084"/>
                  </a:lnTo>
                  <a:lnTo>
                    <a:pt x="12966" y="8091"/>
                  </a:lnTo>
                  <a:lnTo>
                    <a:pt x="12956" y="8098"/>
                  </a:lnTo>
                  <a:lnTo>
                    <a:pt x="12947" y="8105"/>
                  </a:lnTo>
                  <a:lnTo>
                    <a:pt x="12938" y="8113"/>
                  </a:lnTo>
                  <a:lnTo>
                    <a:pt x="12929" y="8121"/>
                  </a:lnTo>
                  <a:lnTo>
                    <a:pt x="12921" y="8130"/>
                  </a:lnTo>
                  <a:lnTo>
                    <a:pt x="12913" y="8139"/>
                  </a:lnTo>
                  <a:lnTo>
                    <a:pt x="12906" y="8148"/>
                  </a:lnTo>
                  <a:lnTo>
                    <a:pt x="12899" y="8158"/>
                  </a:lnTo>
                  <a:lnTo>
                    <a:pt x="12891" y="8168"/>
                  </a:lnTo>
                  <a:lnTo>
                    <a:pt x="12885" y="8179"/>
                  </a:lnTo>
                  <a:lnTo>
                    <a:pt x="12880" y="8189"/>
                  </a:lnTo>
                  <a:lnTo>
                    <a:pt x="12875" y="8200"/>
                  </a:lnTo>
                  <a:lnTo>
                    <a:pt x="12870" y="8212"/>
                  </a:lnTo>
                  <a:lnTo>
                    <a:pt x="12866" y="8224"/>
                  </a:lnTo>
                  <a:lnTo>
                    <a:pt x="12863" y="8236"/>
                  </a:lnTo>
                  <a:lnTo>
                    <a:pt x="12860" y="8248"/>
                  </a:lnTo>
                  <a:lnTo>
                    <a:pt x="12858" y="8261"/>
                  </a:lnTo>
                  <a:lnTo>
                    <a:pt x="12856" y="8273"/>
                  </a:lnTo>
                  <a:lnTo>
                    <a:pt x="12855" y="8286"/>
                  </a:lnTo>
                  <a:lnTo>
                    <a:pt x="12855" y="8299"/>
                  </a:lnTo>
                  <a:lnTo>
                    <a:pt x="12855" y="8312"/>
                  </a:lnTo>
                  <a:lnTo>
                    <a:pt x="12856" y="8324"/>
                  </a:lnTo>
                  <a:lnTo>
                    <a:pt x="12858" y="8337"/>
                  </a:lnTo>
                  <a:lnTo>
                    <a:pt x="12860" y="8349"/>
                  </a:lnTo>
                  <a:lnTo>
                    <a:pt x="12863" y="8361"/>
                  </a:lnTo>
                  <a:lnTo>
                    <a:pt x="12866" y="8373"/>
                  </a:lnTo>
                  <a:lnTo>
                    <a:pt x="12870" y="8385"/>
                  </a:lnTo>
                  <a:lnTo>
                    <a:pt x="12875" y="8397"/>
                  </a:lnTo>
                  <a:lnTo>
                    <a:pt x="12880" y="8408"/>
                  </a:lnTo>
                  <a:lnTo>
                    <a:pt x="12885" y="8419"/>
                  </a:lnTo>
                  <a:lnTo>
                    <a:pt x="12891" y="8430"/>
                  </a:lnTo>
                  <a:lnTo>
                    <a:pt x="12899" y="8440"/>
                  </a:lnTo>
                  <a:lnTo>
                    <a:pt x="12906" y="8450"/>
                  </a:lnTo>
                  <a:lnTo>
                    <a:pt x="12913" y="8459"/>
                  </a:lnTo>
                  <a:lnTo>
                    <a:pt x="12921" y="8468"/>
                  </a:lnTo>
                  <a:lnTo>
                    <a:pt x="12929" y="8477"/>
                  </a:lnTo>
                  <a:lnTo>
                    <a:pt x="12938" y="8485"/>
                  </a:lnTo>
                  <a:lnTo>
                    <a:pt x="12947" y="8493"/>
                  </a:lnTo>
                  <a:lnTo>
                    <a:pt x="12956" y="8500"/>
                  </a:lnTo>
                  <a:lnTo>
                    <a:pt x="12966" y="8507"/>
                  </a:lnTo>
                  <a:lnTo>
                    <a:pt x="12976" y="8514"/>
                  </a:lnTo>
                  <a:lnTo>
                    <a:pt x="12987" y="8520"/>
                  </a:lnTo>
                  <a:lnTo>
                    <a:pt x="12998" y="8525"/>
                  </a:lnTo>
                  <a:lnTo>
                    <a:pt x="13009" y="8530"/>
                  </a:lnTo>
                  <a:lnTo>
                    <a:pt x="13021" y="8535"/>
                  </a:lnTo>
                  <a:lnTo>
                    <a:pt x="13033" y="8539"/>
                  </a:lnTo>
                  <a:lnTo>
                    <a:pt x="13044" y="8542"/>
                  </a:lnTo>
                  <a:lnTo>
                    <a:pt x="13057" y="8545"/>
                  </a:lnTo>
                  <a:lnTo>
                    <a:pt x="13069" y="8547"/>
                  </a:lnTo>
                  <a:lnTo>
                    <a:pt x="13081" y="8549"/>
                  </a:lnTo>
                  <a:lnTo>
                    <a:pt x="13094" y="8550"/>
                  </a:lnTo>
                  <a:lnTo>
                    <a:pt x="13107" y="8550"/>
                  </a:lnTo>
                  <a:lnTo>
                    <a:pt x="14084" y="8550"/>
                  </a:lnTo>
                  <a:lnTo>
                    <a:pt x="14153" y="8552"/>
                  </a:lnTo>
                  <a:lnTo>
                    <a:pt x="14218" y="8558"/>
                  </a:lnTo>
                  <a:lnTo>
                    <a:pt x="14280" y="8567"/>
                  </a:lnTo>
                  <a:lnTo>
                    <a:pt x="14338" y="8578"/>
                  </a:lnTo>
                  <a:lnTo>
                    <a:pt x="14393" y="8593"/>
                  </a:lnTo>
                  <a:lnTo>
                    <a:pt x="14443" y="8610"/>
                  </a:lnTo>
                  <a:lnTo>
                    <a:pt x="14492" y="8630"/>
                  </a:lnTo>
                  <a:lnTo>
                    <a:pt x="14536" y="8653"/>
                  </a:lnTo>
                  <a:lnTo>
                    <a:pt x="14577" y="8678"/>
                  </a:lnTo>
                  <a:lnTo>
                    <a:pt x="14617" y="8704"/>
                  </a:lnTo>
                  <a:lnTo>
                    <a:pt x="14652" y="8734"/>
                  </a:lnTo>
                  <a:lnTo>
                    <a:pt x="14684" y="8765"/>
                  </a:lnTo>
                  <a:lnTo>
                    <a:pt x="14714" y="8797"/>
                  </a:lnTo>
                  <a:lnTo>
                    <a:pt x="14742" y="8830"/>
                  </a:lnTo>
                  <a:lnTo>
                    <a:pt x="14767" y="8865"/>
                  </a:lnTo>
                  <a:lnTo>
                    <a:pt x="14789" y="8901"/>
                  </a:lnTo>
                  <a:lnTo>
                    <a:pt x="14809" y="8938"/>
                  </a:lnTo>
                  <a:lnTo>
                    <a:pt x="14827" y="8975"/>
                  </a:lnTo>
                  <a:lnTo>
                    <a:pt x="14842" y="9013"/>
                  </a:lnTo>
                  <a:lnTo>
                    <a:pt x="14857" y="9051"/>
                  </a:lnTo>
                  <a:lnTo>
                    <a:pt x="14868" y="9091"/>
                  </a:lnTo>
                  <a:lnTo>
                    <a:pt x="14878" y="9129"/>
                  </a:lnTo>
                  <a:lnTo>
                    <a:pt x="14886" y="9167"/>
                  </a:lnTo>
                  <a:lnTo>
                    <a:pt x="14892" y="9205"/>
                  </a:lnTo>
                  <a:lnTo>
                    <a:pt x="14896" y="9244"/>
                  </a:lnTo>
                  <a:lnTo>
                    <a:pt x="14899" y="9280"/>
                  </a:lnTo>
                  <a:lnTo>
                    <a:pt x="14901" y="9316"/>
                  </a:lnTo>
                  <a:lnTo>
                    <a:pt x="14901" y="9351"/>
                  </a:lnTo>
                  <a:lnTo>
                    <a:pt x="14900" y="9385"/>
                  </a:lnTo>
                  <a:lnTo>
                    <a:pt x="14898" y="9418"/>
                  </a:lnTo>
                  <a:lnTo>
                    <a:pt x="14895" y="9449"/>
                  </a:lnTo>
                  <a:lnTo>
                    <a:pt x="14891" y="9478"/>
                  </a:lnTo>
                  <a:lnTo>
                    <a:pt x="14885" y="9514"/>
                  </a:lnTo>
                  <a:lnTo>
                    <a:pt x="14878" y="9551"/>
                  </a:lnTo>
                  <a:lnTo>
                    <a:pt x="14870" y="9592"/>
                  </a:lnTo>
                  <a:lnTo>
                    <a:pt x="14862" y="9632"/>
                  </a:lnTo>
                  <a:lnTo>
                    <a:pt x="14852" y="9674"/>
                  </a:lnTo>
                  <a:lnTo>
                    <a:pt x="14840" y="9717"/>
                  </a:lnTo>
                  <a:lnTo>
                    <a:pt x="14828" y="9762"/>
                  </a:lnTo>
                  <a:lnTo>
                    <a:pt x="14814" y="9806"/>
                  </a:lnTo>
                  <a:lnTo>
                    <a:pt x="14799" y="9850"/>
                  </a:lnTo>
                  <a:lnTo>
                    <a:pt x="14782" y="9895"/>
                  </a:lnTo>
                  <a:lnTo>
                    <a:pt x="14764" y="9941"/>
                  </a:lnTo>
                  <a:lnTo>
                    <a:pt x="14744" y="9986"/>
                  </a:lnTo>
                  <a:lnTo>
                    <a:pt x="14721" y="10030"/>
                  </a:lnTo>
                  <a:lnTo>
                    <a:pt x="14697" y="10074"/>
                  </a:lnTo>
                  <a:lnTo>
                    <a:pt x="14671" y="10118"/>
                  </a:lnTo>
                  <a:lnTo>
                    <a:pt x="14642" y="10161"/>
                  </a:lnTo>
                  <a:lnTo>
                    <a:pt x="14612" y="10202"/>
                  </a:lnTo>
                  <a:lnTo>
                    <a:pt x="14578" y="10242"/>
                  </a:lnTo>
                  <a:lnTo>
                    <a:pt x="14542" y="10281"/>
                  </a:lnTo>
                  <a:lnTo>
                    <a:pt x="14504" y="10318"/>
                  </a:lnTo>
                  <a:lnTo>
                    <a:pt x="14462" y="10353"/>
                  </a:lnTo>
                  <a:lnTo>
                    <a:pt x="14419" y="10386"/>
                  </a:lnTo>
                  <a:lnTo>
                    <a:pt x="14372" y="10417"/>
                  </a:lnTo>
                  <a:lnTo>
                    <a:pt x="14322" y="10446"/>
                  </a:lnTo>
                  <a:lnTo>
                    <a:pt x="14269" y="10472"/>
                  </a:lnTo>
                  <a:lnTo>
                    <a:pt x="14212" y="10494"/>
                  </a:lnTo>
                  <a:lnTo>
                    <a:pt x="14153" y="10514"/>
                  </a:lnTo>
                  <a:lnTo>
                    <a:pt x="14089" y="10531"/>
                  </a:lnTo>
                  <a:lnTo>
                    <a:pt x="14023" y="10544"/>
                  </a:lnTo>
                  <a:lnTo>
                    <a:pt x="13953" y="10554"/>
                  </a:lnTo>
                  <a:lnTo>
                    <a:pt x="13879" y="10560"/>
                  </a:lnTo>
                  <a:lnTo>
                    <a:pt x="13801" y="10562"/>
                  </a:lnTo>
                  <a:lnTo>
                    <a:pt x="12603" y="10562"/>
                  </a:lnTo>
                  <a:lnTo>
                    <a:pt x="12590" y="10562"/>
                  </a:lnTo>
                  <a:lnTo>
                    <a:pt x="12577" y="10563"/>
                  </a:lnTo>
                  <a:lnTo>
                    <a:pt x="12565" y="10565"/>
                  </a:lnTo>
                  <a:lnTo>
                    <a:pt x="12553" y="10567"/>
                  </a:lnTo>
                  <a:lnTo>
                    <a:pt x="12540" y="10570"/>
                  </a:lnTo>
                  <a:lnTo>
                    <a:pt x="12529" y="10573"/>
                  </a:lnTo>
                  <a:lnTo>
                    <a:pt x="12516" y="10577"/>
                  </a:lnTo>
                  <a:lnTo>
                    <a:pt x="12505" y="10582"/>
                  </a:lnTo>
                  <a:lnTo>
                    <a:pt x="12494" y="10587"/>
                  </a:lnTo>
                  <a:lnTo>
                    <a:pt x="12483" y="10593"/>
                  </a:lnTo>
                  <a:lnTo>
                    <a:pt x="12472" y="10599"/>
                  </a:lnTo>
                  <a:lnTo>
                    <a:pt x="12462" y="10606"/>
                  </a:lnTo>
                  <a:lnTo>
                    <a:pt x="12452" y="10612"/>
                  </a:lnTo>
                  <a:lnTo>
                    <a:pt x="12443" y="10620"/>
                  </a:lnTo>
                  <a:lnTo>
                    <a:pt x="12434" y="10628"/>
                  </a:lnTo>
                  <a:lnTo>
                    <a:pt x="12425" y="10636"/>
                  </a:lnTo>
                  <a:lnTo>
                    <a:pt x="12417" y="10645"/>
                  </a:lnTo>
                  <a:lnTo>
                    <a:pt x="12409" y="10654"/>
                  </a:lnTo>
                  <a:lnTo>
                    <a:pt x="12401" y="10663"/>
                  </a:lnTo>
                  <a:lnTo>
                    <a:pt x="12394" y="10673"/>
                  </a:lnTo>
                  <a:lnTo>
                    <a:pt x="12387" y="10683"/>
                  </a:lnTo>
                  <a:lnTo>
                    <a:pt x="12381" y="10694"/>
                  </a:lnTo>
                  <a:lnTo>
                    <a:pt x="12376" y="10704"/>
                  </a:lnTo>
                  <a:lnTo>
                    <a:pt x="12371" y="10715"/>
                  </a:lnTo>
                  <a:lnTo>
                    <a:pt x="12366" y="10727"/>
                  </a:lnTo>
                  <a:lnTo>
                    <a:pt x="12362" y="10738"/>
                  </a:lnTo>
                  <a:lnTo>
                    <a:pt x="12359" y="10750"/>
                  </a:lnTo>
                  <a:lnTo>
                    <a:pt x="12356" y="10763"/>
                  </a:lnTo>
                  <a:lnTo>
                    <a:pt x="12354" y="10776"/>
                  </a:lnTo>
                  <a:lnTo>
                    <a:pt x="12352" y="10788"/>
                  </a:lnTo>
                  <a:lnTo>
                    <a:pt x="12351" y="10801"/>
                  </a:lnTo>
                  <a:lnTo>
                    <a:pt x="12351" y="10814"/>
                  </a:lnTo>
                  <a:lnTo>
                    <a:pt x="12351" y="10827"/>
                  </a:lnTo>
                  <a:lnTo>
                    <a:pt x="12352" y="10839"/>
                  </a:lnTo>
                  <a:lnTo>
                    <a:pt x="12354" y="10852"/>
                  </a:lnTo>
                  <a:lnTo>
                    <a:pt x="12356" y="10864"/>
                  </a:lnTo>
                  <a:lnTo>
                    <a:pt x="12359" y="10876"/>
                  </a:lnTo>
                  <a:lnTo>
                    <a:pt x="12362" y="10888"/>
                  </a:lnTo>
                  <a:lnTo>
                    <a:pt x="12366" y="10900"/>
                  </a:lnTo>
                  <a:lnTo>
                    <a:pt x="12371" y="10911"/>
                  </a:lnTo>
                  <a:lnTo>
                    <a:pt x="12376" y="10922"/>
                  </a:lnTo>
                  <a:lnTo>
                    <a:pt x="12381" y="10934"/>
                  </a:lnTo>
                  <a:lnTo>
                    <a:pt x="12387" y="10945"/>
                  </a:lnTo>
                  <a:lnTo>
                    <a:pt x="12394" y="10955"/>
                  </a:lnTo>
                  <a:lnTo>
                    <a:pt x="12401" y="10964"/>
                  </a:lnTo>
                  <a:lnTo>
                    <a:pt x="12409" y="10974"/>
                  </a:lnTo>
                  <a:lnTo>
                    <a:pt x="12417" y="10983"/>
                  </a:lnTo>
                  <a:lnTo>
                    <a:pt x="12425" y="10992"/>
                  </a:lnTo>
                  <a:lnTo>
                    <a:pt x="12434" y="11000"/>
                  </a:lnTo>
                  <a:lnTo>
                    <a:pt x="12443" y="11008"/>
                  </a:lnTo>
                  <a:lnTo>
                    <a:pt x="12452" y="11015"/>
                  </a:lnTo>
                  <a:lnTo>
                    <a:pt x="12462" y="11022"/>
                  </a:lnTo>
                  <a:lnTo>
                    <a:pt x="12472" y="11029"/>
                  </a:lnTo>
                  <a:lnTo>
                    <a:pt x="12483" y="11035"/>
                  </a:lnTo>
                  <a:lnTo>
                    <a:pt x="12494" y="11040"/>
                  </a:lnTo>
                  <a:lnTo>
                    <a:pt x="12505" y="11045"/>
                  </a:lnTo>
                  <a:lnTo>
                    <a:pt x="12516" y="11050"/>
                  </a:lnTo>
                  <a:lnTo>
                    <a:pt x="12529" y="11054"/>
                  </a:lnTo>
                  <a:lnTo>
                    <a:pt x="12540" y="11057"/>
                  </a:lnTo>
                  <a:lnTo>
                    <a:pt x="12553" y="11060"/>
                  </a:lnTo>
                  <a:lnTo>
                    <a:pt x="12565" y="11062"/>
                  </a:lnTo>
                  <a:lnTo>
                    <a:pt x="12577" y="11064"/>
                  </a:lnTo>
                  <a:lnTo>
                    <a:pt x="12590" y="11065"/>
                  </a:lnTo>
                  <a:lnTo>
                    <a:pt x="12603" y="11065"/>
                  </a:lnTo>
                  <a:lnTo>
                    <a:pt x="13595" y="11065"/>
                  </a:lnTo>
                  <a:lnTo>
                    <a:pt x="13673" y="11067"/>
                  </a:lnTo>
                  <a:lnTo>
                    <a:pt x="13744" y="11072"/>
                  </a:lnTo>
                  <a:lnTo>
                    <a:pt x="13811" y="11081"/>
                  </a:lnTo>
                  <a:lnTo>
                    <a:pt x="13874" y="11093"/>
                  </a:lnTo>
                  <a:lnTo>
                    <a:pt x="13930" y="11110"/>
                  </a:lnTo>
                  <a:lnTo>
                    <a:pt x="13982" y="11128"/>
                  </a:lnTo>
                  <a:lnTo>
                    <a:pt x="14031" y="11149"/>
                  </a:lnTo>
                  <a:lnTo>
                    <a:pt x="14074" y="11173"/>
                  </a:lnTo>
                  <a:lnTo>
                    <a:pt x="14113" y="11199"/>
                  </a:lnTo>
                  <a:lnTo>
                    <a:pt x="14149" y="11227"/>
                  </a:lnTo>
                  <a:lnTo>
                    <a:pt x="14181" y="11257"/>
                  </a:lnTo>
                  <a:lnTo>
                    <a:pt x="14209" y="11291"/>
                  </a:lnTo>
                  <a:lnTo>
                    <a:pt x="14233" y="11325"/>
                  </a:lnTo>
                  <a:lnTo>
                    <a:pt x="14255" y="11361"/>
                  </a:lnTo>
                  <a:lnTo>
                    <a:pt x="14273" y="11398"/>
                  </a:lnTo>
                  <a:lnTo>
                    <a:pt x="14288" y="11438"/>
                  </a:lnTo>
                  <a:lnTo>
                    <a:pt x="14300" y="11477"/>
                  </a:lnTo>
                  <a:lnTo>
                    <a:pt x="14309" y="11518"/>
                  </a:lnTo>
                  <a:lnTo>
                    <a:pt x="14316" y="11560"/>
                  </a:lnTo>
                  <a:lnTo>
                    <a:pt x="14321" y="11602"/>
                  </a:lnTo>
                  <a:lnTo>
                    <a:pt x="14323" y="11645"/>
                  </a:lnTo>
                  <a:lnTo>
                    <a:pt x="14323" y="11688"/>
                  </a:lnTo>
                  <a:lnTo>
                    <a:pt x="14322" y="11731"/>
                  </a:lnTo>
                  <a:lnTo>
                    <a:pt x="14319" y="11774"/>
                  </a:lnTo>
                  <a:lnTo>
                    <a:pt x="14314" y="11818"/>
                  </a:lnTo>
                  <a:lnTo>
                    <a:pt x="14308" y="11860"/>
                  </a:lnTo>
                  <a:lnTo>
                    <a:pt x="14300" y="11902"/>
                  </a:lnTo>
                  <a:lnTo>
                    <a:pt x="14292" y="11943"/>
                  </a:lnTo>
                  <a:lnTo>
                    <a:pt x="14282" y="11984"/>
                  </a:lnTo>
                  <a:lnTo>
                    <a:pt x="14272" y="12024"/>
                  </a:lnTo>
                  <a:lnTo>
                    <a:pt x="14261" y="12062"/>
                  </a:lnTo>
                  <a:lnTo>
                    <a:pt x="14250" y="12098"/>
                  </a:lnTo>
                  <a:lnTo>
                    <a:pt x="14220" y="12193"/>
                  </a:lnTo>
                  <a:lnTo>
                    <a:pt x="14190" y="12287"/>
                  </a:lnTo>
                  <a:lnTo>
                    <a:pt x="14175" y="12333"/>
                  </a:lnTo>
                  <a:lnTo>
                    <a:pt x="14159" y="12377"/>
                  </a:lnTo>
                  <a:lnTo>
                    <a:pt x="14143" y="12422"/>
                  </a:lnTo>
                  <a:lnTo>
                    <a:pt x="14125" y="12466"/>
                  </a:lnTo>
                  <a:lnTo>
                    <a:pt x="14105" y="12509"/>
                  </a:lnTo>
                  <a:lnTo>
                    <a:pt x="14086" y="12551"/>
                  </a:lnTo>
                  <a:lnTo>
                    <a:pt x="14064" y="12591"/>
                  </a:lnTo>
                  <a:lnTo>
                    <a:pt x="14041" y="12632"/>
                  </a:lnTo>
                  <a:lnTo>
                    <a:pt x="14016" y="12670"/>
                  </a:lnTo>
                  <a:lnTo>
                    <a:pt x="13987" y="12707"/>
                  </a:lnTo>
                  <a:lnTo>
                    <a:pt x="13958" y="12743"/>
                  </a:lnTo>
                  <a:lnTo>
                    <a:pt x="13926" y="12778"/>
                  </a:lnTo>
                  <a:lnTo>
                    <a:pt x="13891" y="12812"/>
                  </a:lnTo>
                  <a:lnTo>
                    <a:pt x="13853" y="12843"/>
                  </a:lnTo>
                  <a:lnTo>
                    <a:pt x="13812" y="12873"/>
                  </a:lnTo>
                  <a:lnTo>
                    <a:pt x="13769" y="12901"/>
                  </a:lnTo>
                  <a:lnTo>
                    <a:pt x="13721" y="12928"/>
                  </a:lnTo>
                  <a:lnTo>
                    <a:pt x="13670" y="12952"/>
                  </a:lnTo>
                  <a:lnTo>
                    <a:pt x="13615" y="12976"/>
                  </a:lnTo>
                  <a:lnTo>
                    <a:pt x="13556" y="12996"/>
                  </a:lnTo>
                  <a:lnTo>
                    <a:pt x="13493" y="13014"/>
                  </a:lnTo>
                  <a:lnTo>
                    <a:pt x="13426" y="13030"/>
                  </a:lnTo>
                  <a:lnTo>
                    <a:pt x="13354" y="13044"/>
                  </a:lnTo>
                  <a:lnTo>
                    <a:pt x="13277" y="13056"/>
                  </a:lnTo>
                  <a:lnTo>
                    <a:pt x="13195" y="13065"/>
                  </a:lnTo>
                  <a:lnTo>
                    <a:pt x="13108" y="13072"/>
                  </a:lnTo>
                  <a:lnTo>
                    <a:pt x="13017" y="13076"/>
                  </a:lnTo>
                  <a:lnTo>
                    <a:pt x="12919" y="13077"/>
                  </a:lnTo>
                  <a:lnTo>
                    <a:pt x="12097" y="13077"/>
                  </a:lnTo>
                  <a:lnTo>
                    <a:pt x="12084" y="13077"/>
                  </a:lnTo>
                  <a:lnTo>
                    <a:pt x="12071" y="13078"/>
                  </a:lnTo>
                  <a:lnTo>
                    <a:pt x="12058" y="13080"/>
                  </a:lnTo>
                  <a:lnTo>
                    <a:pt x="12046" y="13082"/>
                  </a:lnTo>
                  <a:lnTo>
                    <a:pt x="12033" y="13085"/>
                  </a:lnTo>
                  <a:lnTo>
                    <a:pt x="12021" y="13088"/>
                  </a:lnTo>
                  <a:lnTo>
                    <a:pt x="12009" y="13092"/>
                  </a:lnTo>
                  <a:lnTo>
                    <a:pt x="11998" y="13097"/>
                  </a:lnTo>
                  <a:lnTo>
                    <a:pt x="11987" y="13102"/>
                  </a:lnTo>
                  <a:lnTo>
                    <a:pt x="11976" y="13107"/>
                  </a:lnTo>
                  <a:lnTo>
                    <a:pt x="11966" y="13113"/>
                  </a:lnTo>
                  <a:lnTo>
                    <a:pt x="11956" y="13120"/>
                  </a:lnTo>
                  <a:lnTo>
                    <a:pt x="11946" y="13127"/>
                  </a:lnTo>
                  <a:lnTo>
                    <a:pt x="11936" y="13135"/>
                  </a:lnTo>
                  <a:lnTo>
                    <a:pt x="11927" y="13143"/>
                  </a:lnTo>
                  <a:lnTo>
                    <a:pt x="11919" y="13151"/>
                  </a:lnTo>
                  <a:lnTo>
                    <a:pt x="11909" y="13160"/>
                  </a:lnTo>
                  <a:lnTo>
                    <a:pt x="11901" y="13169"/>
                  </a:lnTo>
                  <a:lnTo>
                    <a:pt x="11894" y="13178"/>
                  </a:lnTo>
                  <a:lnTo>
                    <a:pt x="11887" y="13188"/>
                  </a:lnTo>
                  <a:lnTo>
                    <a:pt x="11881" y="13198"/>
                  </a:lnTo>
                  <a:lnTo>
                    <a:pt x="11875" y="13209"/>
                  </a:lnTo>
                  <a:lnTo>
                    <a:pt x="11869" y="13219"/>
                  </a:lnTo>
                  <a:lnTo>
                    <a:pt x="11864" y="13230"/>
                  </a:lnTo>
                  <a:lnTo>
                    <a:pt x="11860" y="13242"/>
                  </a:lnTo>
                  <a:lnTo>
                    <a:pt x="11856" y="13253"/>
                  </a:lnTo>
                  <a:lnTo>
                    <a:pt x="11852" y="13265"/>
                  </a:lnTo>
                  <a:lnTo>
                    <a:pt x="11850" y="13277"/>
                  </a:lnTo>
                  <a:lnTo>
                    <a:pt x="11847" y="13290"/>
                  </a:lnTo>
                  <a:lnTo>
                    <a:pt x="11846" y="13303"/>
                  </a:lnTo>
                  <a:lnTo>
                    <a:pt x="11845" y="13316"/>
                  </a:lnTo>
                  <a:lnTo>
                    <a:pt x="11845" y="13329"/>
                  </a:lnTo>
                  <a:lnTo>
                    <a:pt x="11845" y="13342"/>
                  </a:lnTo>
                  <a:lnTo>
                    <a:pt x="11846" y="13354"/>
                  </a:lnTo>
                  <a:lnTo>
                    <a:pt x="11847" y="13367"/>
                  </a:lnTo>
                  <a:lnTo>
                    <a:pt x="11850" y="13379"/>
                  </a:lnTo>
                  <a:lnTo>
                    <a:pt x="11852" y="13391"/>
                  </a:lnTo>
                  <a:lnTo>
                    <a:pt x="11856" y="13403"/>
                  </a:lnTo>
                  <a:lnTo>
                    <a:pt x="11860" y="13415"/>
                  </a:lnTo>
                  <a:lnTo>
                    <a:pt x="11864" y="13426"/>
                  </a:lnTo>
                  <a:lnTo>
                    <a:pt x="11869" y="13437"/>
                  </a:lnTo>
                  <a:lnTo>
                    <a:pt x="11875" y="13448"/>
                  </a:lnTo>
                  <a:lnTo>
                    <a:pt x="11881" y="13458"/>
                  </a:lnTo>
                  <a:lnTo>
                    <a:pt x="11887" y="13468"/>
                  </a:lnTo>
                  <a:lnTo>
                    <a:pt x="11894" y="13479"/>
                  </a:lnTo>
                  <a:lnTo>
                    <a:pt x="11901" y="13489"/>
                  </a:lnTo>
                  <a:lnTo>
                    <a:pt x="11909" y="13498"/>
                  </a:lnTo>
                  <a:lnTo>
                    <a:pt x="11919" y="13507"/>
                  </a:lnTo>
                  <a:lnTo>
                    <a:pt x="11927" y="13515"/>
                  </a:lnTo>
                  <a:lnTo>
                    <a:pt x="11936" y="13523"/>
                  </a:lnTo>
                  <a:lnTo>
                    <a:pt x="11946" y="13530"/>
                  </a:lnTo>
                  <a:lnTo>
                    <a:pt x="11956" y="13537"/>
                  </a:lnTo>
                  <a:lnTo>
                    <a:pt x="11966" y="13544"/>
                  </a:lnTo>
                  <a:lnTo>
                    <a:pt x="11976" y="13550"/>
                  </a:lnTo>
                  <a:lnTo>
                    <a:pt x="11987" y="13555"/>
                  </a:lnTo>
                  <a:lnTo>
                    <a:pt x="11998" y="13560"/>
                  </a:lnTo>
                  <a:lnTo>
                    <a:pt x="12009" y="13565"/>
                  </a:lnTo>
                  <a:lnTo>
                    <a:pt x="12021" y="13569"/>
                  </a:lnTo>
                  <a:lnTo>
                    <a:pt x="12033" y="13572"/>
                  </a:lnTo>
                  <a:lnTo>
                    <a:pt x="12046" y="13575"/>
                  </a:lnTo>
                  <a:lnTo>
                    <a:pt x="12058" y="13577"/>
                  </a:lnTo>
                  <a:lnTo>
                    <a:pt x="12071" y="13579"/>
                  </a:lnTo>
                  <a:lnTo>
                    <a:pt x="12084" y="13580"/>
                  </a:lnTo>
                  <a:lnTo>
                    <a:pt x="12097" y="13580"/>
                  </a:lnTo>
                  <a:lnTo>
                    <a:pt x="12886" y="13580"/>
                  </a:lnTo>
                  <a:lnTo>
                    <a:pt x="12937" y="13581"/>
                  </a:lnTo>
                  <a:lnTo>
                    <a:pt x="12984" y="13586"/>
                  </a:lnTo>
                  <a:lnTo>
                    <a:pt x="13029" y="13593"/>
                  </a:lnTo>
                  <a:lnTo>
                    <a:pt x="13070" y="13603"/>
                  </a:lnTo>
                  <a:lnTo>
                    <a:pt x="13108" y="13615"/>
                  </a:lnTo>
                  <a:lnTo>
                    <a:pt x="13145" y="13629"/>
                  </a:lnTo>
                  <a:lnTo>
                    <a:pt x="13178" y="13646"/>
                  </a:lnTo>
                  <a:lnTo>
                    <a:pt x="13209" y="13665"/>
                  </a:lnTo>
                  <a:lnTo>
                    <a:pt x="13237" y="13685"/>
                  </a:lnTo>
                  <a:lnTo>
                    <a:pt x="13264" y="13707"/>
                  </a:lnTo>
                  <a:lnTo>
                    <a:pt x="13288" y="13730"/>
                  </a:lnTo>
                  <a:lnTo>
                    <a:pt x="13309" y="13754"/>
                  </a:lnTo>
                  <a:lnTo>
                    <a:pt x="13328" y="13780"/>
                  </a:lnTo>
                  <a:lnTo>
                    <a:pt x="13346" y="13807"/>
                  </a:lnTo>
                  <a:lnTo>
                    <a:pt x="13361" y="13836"/>
                  </a:lnTo>
                  <a:lnTo>
                    <a:pt x="13375" y="13864"/>
                  </a:lnTo>
                  <a:lnTo>
                    <a:pt x="13388" y="13893"/>
                  </a:lnTo>
                  <a:lnTo>
                    <a:pt x="13398" y="13922"/>
                  </a:lnTo>
                  <a:lnTo>
                    <a:pt x="13406" y="13952"/>
                  </a:lnTo>
                  <a:lnTo>
                    <a:pt x="13413" y="13982"/>
                  </a:lnTo>
                  <a:lnTo>
                    <a:pt x="13419" y="14011"/>
                  </a:lnTo>
                  <a:lnTo>
                    <a:pt x="13423" y="14041"/>
                  </a:lnTo>
                  <a:lnTo>
                    <a:pt x="13426" y="14070"/>
                  </a:lnTo>
                  <a:lnTo>
                    <a:pt x="13427" y="14098"/>
                  </a:lnTo>
                  <a:lnTo>
                    <a:pt x="13428" y="14126"/>
                  </a:lnTo>
                  <a:lnTo>
                    <a:pt x="13427" y="14153"/>
                  </a:lnTo>
                  <a:lnTo>
                    <a:pt x="13426" y="14179"/>
                  </a:lnTo>
                  <a:lnTo>
                    <a:pt x="13424" y="14204"/>
                  </a:lnTo>
                  <a:lnTo>
                    <a:pt x="13420" y="14227"/>
                  </a:lnTo>
                  <a:lnTo>
                    <a:pt x="13417" y="14249"/>
                  </a:lnTo>
                  <a:lnTo>
                    <a:pt x="13412" y="14269"/>
                  </a:lnTo>
                  <a:lnTo>
                    <a:pt x="13407" y="14287"/>
                  </a:lnTo>
                  <a:lnTo>
                    <a:pt x="13383" y="14361"/>
                  </a:lnTo>
                  <a:lnTo>
                    <a:pt x="13358" y="14429"/>
                  </a:lnTo>
                  <a:lnTo>
                    <a:pt x="13335" y="14490"/>
                  </a:lnTo>
                  <a:lnTo>
                    <a:pt x="13314" y="14543"/>
                  </a:lnTo>
                  <a:lnTo>
                    <a:pt x="13296" y="14586"/>
                  </a:lnTo>
                  <a:lnTo>
                    <a:pt x="13281" y="14619"/>
                  </a:lnTo>
                  <a:lnTo>
                    <a:pt x="13271" y="14640"/>
                  </a:lnTo>
                  <a:lnTo>
                    <a:pt x="13266" y="14649"/>
                  </a:lnTo>
                  <a:lnTo>
                    <a:pt x="13251" y="14676"/>
                  </a:lnTo>
                  <a:lnTo>
                    <a:pt x="13236" y="14700"/>
                  </a:lnTo>
                  <a:lnTo>
                    <a:pt x="13220" y="14724"/>
                  </a:lnTo>
                  <a:lnTo>
                    <a:pt x="13204" y="14747"/>
                  </a:lnTo>
                  <a:lnTo>
                    <a:pt x="13187" y="14770"/>
                  </a:lnTo>
                  <a:lnTo>
                    <a:pt x="13169" y="14792"/>
                  </a:lnTo>
                  <a:lnTo>
                    <a:pt x="13151" y="14813"/>
                  </a:lnTo>
                  <a:lnTo>
                    <a:pt x="13131" y="14835"/>
                  </a:lnTo>
                  <a:lnTo>
                    <a:pt x="13111" y="14854"/>
                  </a:lnTo>
                  <a:lnTo>
                    <a:pt x="13090" y="14873"/>
                  </a:lnTo>
                  <a:lnTo>
                    <a:pt x="13068" y="14892"/>
                  </a:lnTo>
                  <a:lnTo>
                    <a:pt x="13046" y="14909"/>
                  </a:lnTo>
                  <a:lnTo>
                    <a:pt x="13022" y="14926"/>
                  </a:lnTo>
                  <a:lnTo>
                    <a:pt x="12997" y="14942"/>
                  </a:lnTo>
                  <a:lnTo>
                    <a:pt x="12971" y="14957"/>
                  </a:lnTo>
                  <a:lnTo>
                    <a:pt x="12945" y="14972"/>
                  </a:lnTo>
                  <a:lnTo>
                    <a:pt x="12917" y="14986"/>
                  </a:lnTo>
                  <a:lnTo>
                    <a:pt x="12888" y="14999"/>
                  </a:lnTo>
                  <a:lnTo>
                    <a:pt x="12858" y="15011"/>
                  </a:lnTo>
                  <a:lnTo>
                    <a:pt x="12827" y="15023"/>
                  </a:lnTo>
                  <a:lnTo>
                    <a:pt x="12795" y="15033"/>
                  </a:lnTo>
                  <a:lnTo>
                    <a:pt x="12760" y="15043"/>
                  </a:lnTo>
                  <a:lnTo>
                    <a:pt x="12726" y="15051"/>
                  </a:lnTo>
                  <a:lnTo>
                    <a:pt x="12690" y="15059"/>
                  </a:lnTo>
                  <a:lnTo>
                    <a:pt x="12653" y="15066"/>
                  </a:lnTo>
                  <a:lnTo>
                    <a:pt x="12613" y="15072"/>
                  </a:lnTo>
                  <a:lnTo>
                    <a:pt x="12573" y="15077"/>
                  </a:lnTo>
                  <a:lnTo>
                    <a:pt x="12531" y="15081"/>
                  </a:lnTo>
                  <a:lnTo>
                    <a:pt x="12487" y="15085"/>
                  </a:lnTo>
                  <a:lnTo>
                    <a:pt x="12443" y="15087"/>
                  </a:lnTo>
                  <a:lnTo>
                    <a:pt x="12396" y="15088"/>
                  </a:lnTo>
                  <a:lnTo>
                    <a:pt x="12349" y="15089"/>
                  </a:lnTo>
                  <a:lnTo>
                    <a:pt x="9592" y="15089"/>
                  </a:lnTo>
                  <a:lnTo>
                    <a:pt x="9463" y="15088"/>
                  </a:lnTo>
                  <a:lnTo>
                    <a:pt x="9333" y="15085"/>
                  </a:lnTo>
                  <a:lnTo>
                    <a:pt x="9205" y="15081"/>
                  </a:lnTo>
                  <a:lnTo>
                    <a:pt x="9077" y="15076"/>
                  </a:lnTo>
                  <a:lnTo>
                    <a:pt x="8950" y="15069"/>
                  </a:lnTo>
                  <a:lnTo>
                    <a:pt x="8824" y="15060"/>
                  </a:lnTo>
                  <a:lnTo>
                    <a:pt x="8700" y="15051"/>
                  </a:lnTo>
                  <a:lnTo>
                    <a:pt x="8577" y="15040"/>
                  </a:lnTo>
                  <a:lnTo>
                    <a:pt x="8457" y="15029"/>
                  </a:lnTo>
                  <a:lnTo>
                    <a:pt x="8338" y="15016"/>
                  </a:lnTo>
                  <a:lnTo>
                    <a:pt x="8223" y="15004"/>
                  </a:lnTo>
                  <a:lnTo>
                    <a:pt x="8110" y="14989"/>
                  </a:lnTo>
                  <a:lnTo>
                    <a:pt x="7999" y="14975"/>
                  </a:lnTo>
                  <a:lnTo>
                    <a:pt x="7893" y="14961"/>
                  </a:lnTo>
                  <a:lnTo>
                    <a:pt x="7790" y="14946"/>
                  </a:lnTo>
                  <a:lnTo>
                    <a:pt x="7690" y="14931"/>
                  </a:lnTo>
                  <a:lnTo>
                    <a:pt x="7594" y="14916"/>
                  </a:lnTo>
                  <a:lnTo>
                    <a:pt x="7503" y="14902"/>
                  </a:lnTo>
                  <a:lnTo>
                    <a:pt x="7416" y="14887"/>
                  </a:lnTo>
                  <a:lnTo>
                    <a:pt x="7334" y="14873"/>
                  </a:lnTo>
                  <a:lnTo>
                    <a:pt x="7184" y="14846"/>
                  </a:lnTo>
                  <a:lnTo>
                    <a:pt x="7056" y="14821"/>
                  </a:lnTo>
                  <a:lnTo>
                    <a:pt x="6952" y="14800"/>
                  </a:lnTo>
                  <a:lnTo>
                    <a:pt x="6873" y="14784"/>
                  </a:lnTo>
                  <a:lnTo>
                    <a:pt x="6822" y="14772"/>
                  </a:lnTo>
                  <a:lnTo>
                    <a:pt x="6800" y="14767"/>
                  </a:lnTo>
                  <a:lnTo>
                    <a:pt x="6430" y="14683"/>
                  </a:lnTo>
                  <a:lnTo>
                    <a:pt x="6103" y="14607"/>
                  </a:lnTo>
                  <a:lnTo>
                    <a:pt x="5818" y="14541"/>
                  </a:lnTo>
                  <a:lnTo>
                    <a:pt x="5570" y="14483"/>
                  </a:lnTo>
                  <a:lnTo>
                    <a:pt x="5356" y="14433"/>
                  </a:lnTo>
                  <a:lnTo>
                    <a:pt x="5174" y="14390"/>
                  </a:lnTo>
                  <a:lnTo>
                    <a:pt x="5022" y="14354"/>
                  </a:lnTo>
                  <a:lnTo>
                    <a:pt x="4895" y="14324"/>
                  </a:lnTo>
                  <a:lnTo>
                    <a:pt x="4791" y="14298"/>
                  </a:lnTo>
                  <a:lnTo>
                    <a:pt x="4709" y="14277"/>
                  </a:lnTo>
                  <a:lnTo>
                    <a:pt x="4642" y="14260"/>
                  </a:lnTo>
                  <a:lnTo>
                    <a:pt x="4590" y="14247"/>
                  </a:lnTo>
                  <a:lnTo>
                    <a:pt x="4548" y="14236"/>
                  </a:lnTo>
                  <a:lnTo>
                    <a:pt x="4516" y="14227"/>
                  </a:lnTo>
                  <a:lnTo>
                    <a:pt x="4489" y="14219"/>
                  </a:lnTo>
                  <a:lnTo>
                    <a:pt x="4464" y="14212"/>
                  </a:lnTo>
                  <a:lnTo>
                    <a:pt x="4445" y="14208"/>
                  </a:lnTo>
                  <a:lnTo>
                    <a:pt x="4397" y="14195"/>
                  </a:lnTo>
                  <a:lnTo>
                    <a:pt x="4365" y="14184"/>
                  </a:lnTo>
                  <a:lnTo>
                    <a:pt x="4328" y="14170"/>
                  </a:lnTo>
                  <a:lnTo>
                    <a:pt x="4309" y="14161"/>
                  </a:lnTo>
                  <a:lnTo>
                    <a:pt x="4290" y="14152"/>
                  </a:lnTo>
                  <a:lnTo>
                    <a:pt x="4270" y="14141"/>
                  </a:lnTo>
                  <a:lnTo>
                    <a:pt x="4250" y="14129"/>
                  </a:lnTo>
                  <a:lnTo>
                    <a:pt x="4231" y="14117"/>
                  </a:lnTo>
                  <a:lnTo>
                    <a:pt x="4210" y="14103"/>
                  </a:lnTo>
                  <a:lnTo>
                    <a:pt x="4191" y="14088"/>
                  </a:lnTo>
                  <a:lnTo>
                    <a:pt x="4172" y="14072"/>
                  </a:lnTo>
                  <a:lnTo>
                    <a:pt x="4154" y="14055"/>
                  </a:lnTo>
                  <a:lnTo>
                    <a:pt x="4136" y="14036"/>
                  </a:lnTo>
                  <a:lnTo>
                    <a:pt x="4119" y="14016"/>
                  </a:lnTo>
                  <a:lnTo>
                    <a:pt x="4104" y="13995"/>
                  </a:lnTo>
                  <a:lnTo>
                    <a:pt x="4089" y="13971"/>
                  </a:lnTo>
                  <a:lnTo>
                    <a:pt x="4076" y="13947"/>
                  </a:lnTo>
                  <a:lnTo>
                    <a:pt x="4065" y="13921"/>
                  </a:lnTo>
                  <a:lnTo>
                    <a:pt x="4055" y="13894"/>
                  </a:lnTo>
                  <a:lnTo>
                    <a:pt x="4047" y="13866"/>
                  </a:lnTo>
                  <a:lnTo>
                    <a:pt x="4042" y="13835"/>
                  </a:lnTo>
                  <a:lnTo>
                    <a:pt x="4038" y="13802"/>
                  </a:lnTo>
                  <a:lnTo>
                    <a:pt x="4037" y="13768"/>
                  </a:lnTo>
                  <a:lnTo>
                    <a:pt x="4033" y="6821"/>
                  </a:lnTo>
                  <a:lnTo>
                    <a:pt x="4033" y="6800"/>
                  </a:lnTo>
                  <a:lnTo>
                    <a:pt x="4035" y="6778"/>
                  </a:lnTo>
                  <a:lnTo>
                    <a:pt x="4037" y="6756"/>
                  </a:lnTo>
                  <a:lnTo>
                    <a:pt x="4040" y="6735"/>
                  </a:lnTo>
                  <a:lnTo>
                    <a:pt x="4044" y="6714"/>
                  </a:lnTo>
                  <a:lnTo>
                    <a:pt x="4048" y="6693"/>
                  </a:lnTo>
                  <a:lnTo>
                    <a:pt x="4054" y="6671"/>
                  </a:lnTo>
                  <a:lnTo>
                    <a:pt x="4060" y="6651"/>
                  </a:lnTo>
                  <a:lnTo>
                    <a:pt x="4067" y="6631"/>
                  </a:lnTo>
                  <a:lnTo>
                    <a:pt x="4075" y="6611"/>
                  </a:lnTo>
                  <a:lnTo>
                    <a:pt x="4084" y="6592"/>
                  </a:lnTo>
                  <a:lnTo>
                    <a:pt x="4093" y="6573"/>
                  </a:lnTo>
                  <a:lnTo>
                    <a:pt x="4105" y="6554"/>
                  </a:lnTo>
                  <a:lnTo>
                    <a:pt x="4115" y="6536"/>
                  </a:lnTo>
                  <a:lnTo>
                    <a:pt x="4127" y="6517"/>
                  </a:lnTo>
                  <a:lnTo>
                    <a:pt x="4140" y="6499"/>
                  </a:lnTo>
                  <a:lnTo>
                    <a:pt x="4153" y="6482"/>
                  </a:lnTo>
                  <a:lnTo>
                    <a:pt x="4167" y="6466"/>
                  </a:lnTo>
                  <a:lnTo>
                    <a:pt x="4181" y="6450"/>
                  </a:lnTo>
                  <a:lnTo>
                    <a:pt x="4197" y="6435"/>
                  </a:lnTo>
                  <a:lnTo>
                    <a:pt x="4213" y="6420"/>
                  </a:lnTo>
                  <a:lnTo>
                    <a:pt x="4230" y="6405"/>
                  </a:lnTo>
                  <a:lnTo>
                    <a:pt x="4248" y="6392"/>
                  </a:lnTo>
                  <a:lnTo>
                    <a:pt x="4266" y="6379"/>
                  </a:lnTo>
                  <a:lnTo>
                    <a:pt x="4284" y="6366"/>
                  </a:lnTo>
                  <a:lnTo>
                    <a:pt x="4303" y="6354"/>
                  </a:lnTo>
                  <a:lnTo>
                    <a:pt x="4323" y="6342"/>
                  </a:lnTo>
                  <a:lnTo>
                    <a:pt x="4345" y="6332"/>
                  </a:lnTo>
                  <a:lnTo>
                    <a:pt x="4366" y="6322"/>
                  </a:lnTo>
                  <a:lnTo>
                    <a:pt x="4388" y="6313"/>
                  </a:lnTo>
                  <a:lnTo>
                    <a:pt x="4410" y="6305"/>
                  </a:lnTo>
                  <a:lnTo>
                    <a:pt x="4433" y="6297"/>
                  </a:lnTo>
                  <a:lnTo>
                    <a:pt x="4458" y="6288"/>
                  </a:lnTo>
                  <a:lnTo>
                    <a:pt x="4486" y="6279"/>
                  </a:lnTo>
                  <a:lnTo>
                    <a:pt x="4513" y="6270"/>
                  </a:lnTo>
                  <a:lnTo>
                    <a:pt x="4537" y="6260"/>
                  </a:lnTo>
                  <a:lnTo>
                    <a:pt x="4749" y="6167"/>
                  </a:lnTo>
                  <a:lnTo>
                    <a:pt x="4951" y="6069"/>
                  </a:lnTo>
                  <a:lnTo>
                    <a:pt x="5143" y="5963"/>
                  </a:lnTo>
                  <a:lnTo>
                    <a:pt x="5328" y="5853"/>
                  </a:lnTo>
                  <a:lnTo>
                    <a:pt x="5503" y="5737"/>
                  </a:lnTo>
                  <a:lnTo>
                    <a:pt x="5669" y="5615"/>
                  </a:lnTo>
                  <a:lnTo>
                    <a:pt x="5829" y="5488"/>
                  </a:lnTo>
                  <a:lnTo>
                    <a:pt x="5979" y="5357"/>
                  </a:lnTo>
                  <a:lnTo>
                    <a:pt x="6121" y="5222"/>
                  </a:lnTo>
                  <a:lnTo>
                    <a:pt x="6255" y="5082"/>
                  </a:lnTo>
                  <a:lnTo>
                    <a:pt x="6382" y="4938"/>
                  </a:lnTo>
                  <a:lnTo>
                    <a:pt x="6501" y="4790"/>
                  </a:lnTo>
                  <a:lnTo>
                    <a:pt x="6613" y="4639"/>
                  </a:lnTo>
                  <a:lnTo>
                    <a:pt x="6717" y="4485"/>
                  </a:lnTo>
                  <a:lnTo>
                    <a:pt x="6815" y="4330"/>
                  </a:lnTo>
                  <a:lnTo>
                    <a:pt x="6906" y="4170"/>
                  </a:lnTo>
                  <a:lnTo>
                    <a:pt x="6989" y="4009"/>
                  </a:lnTo>
                  <a:lnTo>
                    <a:pt x="7067" y="3846"/>
                  </a:lnTo>
                  <a:lnTo>
                    <a:pt x="7138" y="3681"/>
                  </a:lnTo>
                  <a:lnTo>
                    <a:pt x="7203" y="3514"/>
                  </a:lnTo>
                  <a:lnTo>
                    <a:pt x="7262" y="3347"/>
                  </a:lnTo>
                  <a:lnTo>
                    <a:pt x="7315" y="3179"/>
                  </a:lnTo>
                  <a:lnTo>
                    <a:pt x="7362" y="3010"/>
                  </a:lnTo>
                  <a:lnTo>
                    <a:pt x="7405" y="2840"/>
                  </a:lnTo>
                  <a:lnTo>
                    <a:pt x="7441" y="2671"/>
                  </a:lnTo>
                  <a:lnTo>
                    <a:pt x="7472" y="2502"/>
                  </a:lnTo>
                  <a:lnTo>
                    <a:pt x="7498" y="2334"/>
                  </a:lnTo>
                  <a:lnTo>
                    <a:pt x="7521" y="2166"/>
                  </a:lnTo>
                  <a:lnTo>
                    <a:pt x="7538" y="2000"/>
                  </a:lnTo>
                  <a:lnTo>
                    <a:pt x="7550" y="1834"/>
                  </a:lnTo>
                  <a:lnTo>
                    <a:pt x="7558" y="1671"/>
                  </a:lnTo>
                  <a:lnTo>
                    <a:pt x="7562" y="1509"/>
                  </a:lnTo>
                  <a:lnTo>
                    <a:pt x="7563" y="1486"/>
                  </a:lnTo>
                  <a:lnTo>
                    <a:pt x="7565" y="1464"/>
                  </a:lnTo>
                  <a:lnTo>
                    <a:pt x="7568" y="1441"/>
                  </a:lnTo>
                  <a:lnTo>
                    <a:pt x="7571" y="1418"/>
                  </a:lnTo>
                  <a:lnTo>
                    <a:pt x="7576" y="1395"/>
                  </a:lnTo>
                  <a:lnTo>
                    <a:pt x="7582" y="1373"/>
                  </a:lnTo>
                  <a:lnTo>
                    <a:pt x="7589" y="1351"/>
                  </a:lnTo>
                  <a:lnTo>
                    <a:pt x="7597" y="1329"/>
                  </a:lnTo>
                  <a:lnTo>
                    <a:pt x="7606" y="1307"/>
                  </a:lnTo>
                  <a:lnTo>
                    <a:pt x="7616" y="1286"/>
                  </a:lnTo>
                  <a:lnTo>
                    <a:pt x="7627" y="1264"/>
                  </a:lnTo>
                  <a:lnTo>
                    <a:pt x="7640" y="1244"/>
                  </a:lnTo>
                  <a:lnTo>
                    <a:pt x="7653" y="1223"/>
                  </a:lnTo>
                  <a:lnTo>
                    <a:pt x="7667" y="1204"/>
                  </a:lnTo>
                  <a:lnTo>
                    <a:pt x="7681" y="1185"/>
                  </a:lnTo>
                  <a:lnTo>
                    <a:pt x="7697" y="1167"/>
                  </a:lnTo>
                  <a:lnTo>
                    <a:pt x="7713" y="1150"/>
                  </a:lnTo>
                  <a:lnTo>
                    <a:pt x="7731" y="1133"/>
                  </a:lnTo>
                  <a:lnTo>
                    <a:pt x="7749" y="1117"/>
                  </a:lnTo>
                  <a:lnTo>
                    <a:pt x="7769" y="1102"/>
                  </a:lnTo>
                  <a:lnTo>
                    <a:pt x="7789" y="1087"/>
                  </a:lnTo>
                  <a:lnTo>
                    <a:pt x="7810" y="1074"/>
                  </a:lnTo>
                  <a:lnTo>
                    <a:pt x="7832" y="1061"/>
                  </a:lnTo>
                  <a:lnTo>
                    <a:pt x="7854" y="1050"/>
                  </a:lnTo>
                  <a:lnTo>
                    <a:pt x="7878" y="1040"/>
                  </a:lnTo>
                  <a:lnTo>
                    <a:pt x="7903" y="1032"/>
                  </a:lnTo>
                  <a:lnTo>
                    <a:pt x="7928" y="1024"/>
                  </a:lnTo>
                  <a:lnTo>
                    <a:pt x="7954" y="1018"/>
                  </a:lnTo>
                  <a:lnTo>
                    <a:pt x="7980" y="1013"/>
                  </a:lnTo>
                  <a:lnTo>
                    <a:pt x="8009" y="1009"/>
                  </a:lnTo>
                  <a:lnTo>
                    <a:pt x="8037" y="1007"/>
                  </a:lnTo>
                  <a:lnTo>
                    <a:pt x="8066" y="1006"/>
                  </a:lnTo>
                  <a:lnTo>
                    <a:pt x="8117" y="1009"/>
                  </a:lnTo>
                  <a:lnTo>
                    <a:pt x="8171" y="1018"/>
                  </a:lnTo>
                  <a:lnTo>
                    <a:pt x="8225" y="1033"/>
                  </a:lnTo>
                  <a:lnTo>
                    <a:pt x="8283" y="1054"/>
                  </a:lnTo>
                  <a:lnTo>
                    <a:pt x="8340" y="1081"/>
                  </a:lnTo>
                  <a:lnTo>
                    <a:pt x="8400" y="1114"/>
                  </a:lnTo>
                  <a:lnTo>
                    <a:pt x="8460" y="1151"/>
                  </a:lnTo>
                  <a:lnTo>
                    <a:pt x="8522" y="1193"/>
                  </a:lnTo>
                  <a:lnTo>
                    <a:pt x="8583" y="1241"/>
                  </a:lnTo>
                  <a:lnTo>
                    <a:pt x="8645" y="1294"/>
                  </a:lnTo>
                  <a:lnTo>
                    <a:pt x="8706" y="1351"/>
                  </a:lnTo>
                  <a:lnTo>
                    <a:pt x="8767" y="1413"/>
                  </a:lnTo>
                  <a:lnTo>
                    <a:pt x="8827" y="1480"/>
                  </a:lnTo>
                  <a:lnTo>
                    <a:pt x="8888" y="1550"/>
                  </a:lnTo>
                  <a:lnTo>
                    <a:pt x="8946" y="1626"/>
                  </a:lnTo>
                  <a:lnTo>
                    <a:pt x="9004" y="1705"/>
                  </a:lnTo>
                  <a:lnTo>
                    <a:pt x="9059" y="1788"/>
                  </a:lnTo>
                  <a:lnTo>
                    <a:pt x="9114" y="1874"/>
                  </a:lnTo>
                  <a:lnTo>
                    <a:pt x="9165" y="1965"/>
                  </a:lnTo>
                  <a:lnTo>
                    <a:pt x="9215" y="2058"/>
                  </a:lnTo>
                  <a:lnTo>
                    <a:pt x="9262" y="2155"/>
                  </a:lnTo>
                  <a:lnTo>
                    <a:pt x="9306" y="2255"/>
                  </a:lnTo>
                  <a:lnTo>
                    <a:pt x="9347" y="2358"/>
                  </a:lnTo>
                  <a:lnTo>
                    <a:pt x="9386" y="2464"/>
                  </a:lnTo>
                  <a:lnTo>
                    <a:pt x="9420" y="2572"/>
                  </a:lnTo>
                  <a:lnTo>
                    <a:pt x="9450" y="2683"/>
                  </a:lnTo>
                  <a:lnTo>
                    <a:pt x="9478" y="2797"/>
                  </a:lnTo>
                  <a:lnTo>
                    <a:pt x="9500" y="2912"/>
                  </a:lnTo>
                  <a:lnTo>
                    <a:pt x="9517" y="3030"/>
                  </a:lnTo>
                  <a:lnTo>
                    <a:pt x="9530" y="3150"/>
                  </a:lnTo>
                  <a:lnTo>
                    <a:pt x="9538" y="3271"/>
                  </a:lnTo>
                  <a:lnTo>
                    <a:pt x="9541" y="3394"/>
                  </a:lnTo>
                  <a:lnTo>
                    <a:pt x="9540" y="3606"/>
                  </a:lnTo>
                  <a:lnTo>
                    <a:pt x="9538" y="3799"/>
                  </a:lnTo>
                  <a:lnTo>
                    <a:pt x="9536" y="3889"/>
                  </a:lnTo>
                  <a:lnTo>
                    <a:pt x="9534" y="3974"/>
                  </a:lnTo>
                  <a:lnTo>
                    <a:pt x="9531" y="4056"/>
                  </a:lnTo>
                  <a:lnTo>
                    <a:pt x="9527" y="4135"/>
                  </a:lnTo>
                  <a:lnTo>
                    <a:pt x="9523" y="4211"/>
                  </a:lnTo>
                  <a:lnTo>
                    <a:pt x="9517" y="4284"/>
                  </a:lnTo>
                  <a:lnTo>
                    <a:pt x="9511" y="4357"/>
                  </a:lnTo>
                  <a:lnTo>
                    <a:pt x="9504" y="4426"/>
                  </a:lnTo>
                  <a:lnTo>
                    <a:pt x="9496" y="4495"/>
                  </a:lnTo>
                  <a:lnTo>
                    <a:pt x="9487" y="4562"/>
                  </a:lnTo>
                  <a:lnTo>
                    <a:pt x="9477" y="4629"/>
                  </a:lnTo>
                  <a:lnTo>
                    <a:pt x="9464" y="4696"/>
                  </a:lnTo>
                  <a:lnTo>
                    <a:pt x="9452" y="4763"/>
                  </a:lnTo>
                  <a:lnTo>
                    <a:pt x="9438" y="4831"/>
                  </a:lnTo>
                  <a:lnTo>
                    <a:pt x="9423" y="4899"/>
                  </a:lnTo>
                  <a:lnTo>
                    <a:pt x="9406" y="4968"/>
                  </a:lnTo>
                  <a:lnTo>
                    <a:pt x="9388" y="5040"/>
                  </a:lnTo>
                  <a:lnTo>
                    <a:pt x="9369" y="5112"/>
                  </a:lnTo>
                  <a:lnTo>
                    <a:pt x="9347" y="5188"/>
                  </a:lnTo>
                  <a:lnTo>
                    <a:pt x="9324" y="5266"/>
                  </a:lnTo>
                  <a:lnTo>
                    <a:pt x="9299" y="5348"/>
                  </a:lnTo>
                  <a:lnTo>
                    <a:pt x="9273" y="5432"/>
                  </a:lnTo>
                  <a:lnTo>
                    <a:pt x="9245" y="5522"/>
                  </a:lnTo>
                  <a:lnTo>
                    <a:pt x="9214" y="5614"/>
                  </a:lnTo>
                  <a:lnTo>
                    <a:pt x="9149" y="5814"/>
                  </a:lnTo>
                  <a:lnTo>
                    <a:pt x="9074" y="6036"/>
                  </a:lnTo>
                  <a:lnTo>
                    <a:pt x="9962" y="6037"/>
                  </a:lnTo>
                  <a:lnTo>
                    <a:pt x="10738" y="6039"/>
                  </a:lnTo>
                  <a:lnTo>
                    <a:pt x="11087" y="6041"/>
                  </a:lnTo>
                  <a:lnTo>
                    <a:pt x="11411" y="6043"/>
                  </a:lnTo>
                  <a:lnTo>
                    <a:pt x="11712" y="6046"/>
                  </a:lnTo>
                  <a:lnTo>
                    <a:pt x="11990" y="6049"/>
                  </a:lnTo>
                  <a:lnTo>
                    <a:pt x="12247" y="6052"/>
                  </a:lnTo>
                  <a:lnTo>
                    <a:pt x="12483" y="6056"/>
                  </a:lnTo>
                  <a:lnTo>
                    <a:pt x="12699" y="6060"/>
                  </a:lnTo>
                  <a:lnTo>
                    <a:pt x="12897" y="6065"/>
                  </a:lnTo>
                  <a:lnTo>
                    <a:pt x="13077" y="6070"/>
                  </a:lnTo>
                  <a:lnTo>
                    <a:pt x="13241" y="6075"/>
                  </a:lnTo>
                  <a:lnTo>
                    <a:pt x="13390" y="6080"/>
                  </a:lnTo>
                  <a:lnTo>
                    <a:pt x="13524" y="6086"/>
                  </a:lnTo>
                  <a:lnTo>
                    <a:pt x="13644" y="6092"/>
                  </a:lnTo>
                  <a:lnTo>
                    <a:pt x="13752" y="6099"/>
                  </a:lnTo>
                  <a:lnTo>
                    <a:pt x="13848" y="6106"/>
                  </a:lnTo>
                  <a:lnTo>
                    <a:pt x="13934" y="6113"/>
                  </a:lnTo>
                  <a:lnTo>
                    <a:pt x="14011" y="6121"/>
                  </a:lnTo>
                  <a:lnTo>
                    <a:pt x="14079" y="6129"/>
                  </a:lnTo>
                  <a:lnTo>
                    <a:pt x="14140" y="6137"/>
                  </a:lnTo>
                  <a:lnTo>
                    <a:pt x="14195" y="6145"/>
                  </a:lnTo>
                  <a:lnTo>
                    <a:pt x="14245" y="6154"/>
                  </a:lnTo>
                  <a:lnTo>
                    <a:pt x="14289" y="6163"/>
                  </a:lnTo>
                  <a:lnTo>
                    <a:pt x="14330" y="6172"/>
                  </a:lnTo>
                  <a:lnTo>
                    <a:pt x="14371" y="6182"/>
                  </a:lnTo>
                  <a:lnTo>
                    <a:pt x="14446" y="6203"/>
                  </a:lnTo>
                  <a:lnTo>
                    <a:pt x="14526" y="6224"/>
                  </a:lnTo>
                  <a:lnTo>
                    <a:pt x="14575" y="6240"/>
                  </a:lnTo>
                  <a:lnTo>
                    <a:pt x="14623" y="6257"/>
                  </a:lnTo>
                  <a:lnTo>
                    <a:pt x="14668" y="6276"/>
                  </a:lnTo>
                  <a:lnTo>
                    <a:pt x="14709" y="6296"/>
                  </a:lnTo>
                  <a:lnTo>
                    <a:pt x="14749" y="6317"/>
                  </a:lnTo>
                  <a:lnTo>
                    <a:pt x="14785" y="6340"/>
                  </a:lnTo>
                  <a:lnTo>
                    <a:pt x="14819" y="6364"/>
                  </a:lnTo>
                  <a:lnTo>
                    <a:pt x="14852" y="6389"/>
                  </a:lnTo>
                  <a:lnTo>
                    <a:pt x="14881" y="6414"/>
                  </a:lnTo>
                  <a:lnTo>
                    <a:pt x="14909" y="6441"/>
                  </a:lnTo>
                  <a:lnTo>
                    <a:pt x="14934" y="6468"/>
                  </a:lnTo>
                  <a:lnTo>
                    <a:pt x="14957" y="6495"/>
                  </a:lnTo>
                  <a:lnTo>
                    <a:pt x="14979" y="6524"/>
                  </a:lnTo>
                  <a:lnTo>
                    <a:pt x="14998" y="6552"/>
                  </a:lnTo>
                  <a:lnTo>
                    <a:pt x="15016" y="6581"/>
                  </a:lnTo>
                  <a:lnTo>
                    <a:pt x="15031" y="6609"/>
                  </a:lnTo>
                  <a:lnTo>
                    <a:pt x="15046" y="6638"/>
                  </a:lnTo>
                  <a:lnTo>
                    <a:pt x="15058" y="6666"/>
                  </a:lnTo>
                  <a:lnTo>
                    <a:pt x="15070" y="6695"/>
                  </a:lnTo>
                  <a:lnTo>
                    <a:pt x="15079" y="6723"/>
                  </a:lnTo>
                  <a:lnTo>
                    <a:pt x="15088" y="6751"/>
                  </a:lnTo>
                  <a:lnTo>
                    <a:pt x="15097" y="6778"/>
                  </a:lnTo>
                  <a:lnTo>
                    <a:pt x="15103" y="6804"/>
                  </a:lnTo>
                  <a:lnTo>
                    <a:pt x="15108" y="6829"/>
                  </a:lnTo>
                  <a:lnTo>
                    <a:pt x="15113" y="6854"/>
                  </a:lnTo>
                  <a:lnTo>
                    <a:pt x="15116" y="6879"/>
                  </a:lnTo>
                  <a:lnTo>
                    <a:pt x="15119" y="6901"/>
                  </a:lnTo>
                  <a:lnTo>
                    <a:pt x="15121" y="6923"/>
                  </a:lnTo>
                  <a:lnTo>
                    <a:pt x="15123" y="6961"/>
                  </a:lnTo>
                  <a:lnTo>
                    <a:pt x="15124" y="6994"/>
                  </a:lnTo>
                  <a:lnTo>
                    <a:pt x="15124" y="7051"/>
                  </a:lnTo>
                  <a:lnTo>
                    <a:pt x="15123" y="7093"/>
                  </a:lnTo>
                  <a:lnTo>
                    <a:pt x="15122" y="7126"/>
                  </a:lnTo>
                  <a:lnTo>
                    <a:pt x="15121" y="7153"/>
                  </a:lnTo>
                  <a:lnTo>
                    <a:pt x="15119" y="7181"/>
                  </a:lnTo>
                  <a:lnTo>
                    <a:pt x="15117" y="7215"/>
                  </a:lnTo>
                  <a:lnTo>
                    <a:pt x="15115" y="7256"/>
                  </a:lnTo>
                  <a:lnTo>
                    <a:pt x="15113" y="7310"/>
                  </a:lnTo>
                  <a:close/>
                  <a:moveTo>
                    <a:pt x="3529" y="14586"/>
                  </a:moveTo>
                  <a:lnTo>
                    <a:pt x="3528" y="14612"/>
                  </a:lnTo>
                  <a:lnTo>
                    <a:pt x="3526" y="14637"/>
                  </a:lnTo>
                  <a:lnTo>
                    <a:pt x="3523" y="14663"/>
                  </a:lnTo>
                  <a:lnTo>
                    <a:pt x="3519" y="14688"/>
                  </a:lnTo>
                  <a:lnTo>
                    <a:pt x="3513" y="14712"/>
                  </a:lnTo>
                  <a:lnTo>
                    <a:pt x="3507" y="14736"/>
                  </a:lnTo>
                  <a:lnTo>
                    <a:pt x="3499" y="14759"/>
                  </a:lnTo>
                  <a:lnTo>
                    <a:pt x="3490" y="14782"/>
                  </a:lnTo>
                  <a:lnTo>
                    <a:pt x="3479" y="14804"/>
                  </a:lnTo>
                  <a:lnTo>
                    <a:pt x="3468" y="14826"/>
                  </a:lnTo>
                  <a:lnTo>
                    <a:pt x="3456" y="14847"/>
                  </a:lnTo>
                  <a:lnTo>
                    <a:pt x="3443" y="14868"/>
                  </a:lnTo>
                  <a:lnTo>
                    <a:pt x="3429" y="14887"/>
                  </a:lnTo>
                  <a:lnTo>
                    <a:pt x="3414" y="14906"/>
                  </a:lnTo>
                  <a:lnTo>
                    <a:pt x="3398" y="14924"/>
                  </a:lnTo>
                  <a:lnTo>
                    <a:pt x="3382" y="14942"/>
                  </a:lnTo>
                  <a:lnTo>
                    <a:pt x="3364" y="14958"/>
                  </a:lnTo>
                  <a:lnTo>
                    <a:pt x="3345" y="14974"/>
                  </a:lnTo>
                  <a:lnTo>
                    <a:pt x="3326" y="14989"/>
                  </a:lnTo>
                  <a:lnTo>
                    <a:pt x="3307" y="15004"/>
                  </a:lnTo>
                  <a:lnTo>
                    <a:pt x="3286" y="15017"/>
                  </a:lnTo>
                  <a:lnTo>
                    <a:pt x="3265" y="15029"/>
                  </a:lnTo>
                  <a:lnTo>
                    <a:pt x="3244" y="15040"/>
                  </a:lnTo>
                  <a:lnTo>
                    <a:pt x="3221" y="15050"/>
                  </a:lnTo>
                  <a:lnTo>
                    <a:pt x="3198" y="15059"/>
                  </a:lnTo>
                  <a:lnTo>
                    <a:pt x="3175" y="15067"/>
                  </a:lnTo>
                  <a:lnTo>
                    <a:pt x="3151" y="15073"/>
                  </a:lnTo>
                  <a:lnTo>
                    <a:pt x="3127" y="15079"/>
                  </a:lnTo>
                  <a:lnTo>
                    <a:pt x="3101" y="15083"/>
                  </a:lnTo>
                  <a:lnTo>
                    <a:pt x="3076" y="15086"/>
                  </a:lnTo>
                  <a:lnTo>
                    <a:pt x="3051" y="15088"/>
                  </a:lnTo>
                  <a:lnTo>
                    <a:pt x="3025" y="15089"/>
                  </a:lnTo>
                  <a:lnTo>
                    <a:pt x="1512" y="15089"/>
                  </a:lnTo>
                  <a:lnTo>
                    <a:pt x="1486" y="15088"/>
                  </a:lnTo>
                  <a:lnTo>
                    <a:pt x="1461" y="15086"/>
                  </a:lnTo>
                  <a:lnTo>
                    <a:pt x="1436" y="15083"/>
                  </a:lnTo>
                  <a:lnTo>
                    <a:pt x="1411" y="15079"/>
                  </a:lnTo>
                  <a:lnTo>
                    <a:pt x="1386" y="15073"/>
                  </a:lnTo>
                  <a:lnTo>
                    <a:pt x="1362" y="15067"/>
                  </a:lnTo>
                  <a:lnTo>
                    <a:pt x="1339" y="15059"/>
                  </a:lnTo>
                  <a:lnTo>
                    <a:pt x="1316" y="15050"/>
                  </a:lnTo>
                  <a:lnTo>
                    <a:pt x="1294" y="15040"/>
                  </a:lnTo>
                  <a:lnTo>
                    <a:pt x="1272" y="15029"/>
                  </a:lnTo>
                  <a:lnTo>
                    <a:pt x="1251" y="15017"/>
                  </a:lnTo>
                  <a:lnTo>
                    <a:pt x="1230" y="15004"/>
                  </a:lnTo>
                  <a:lnTo>
                    <a:pt x="1211" y="14989"/>
                  </a:lnTo>
                  <a:lnTo>
                    <a:pt x="1192" y="14974"/>
                  </a:lnTo>
                  <a:lnTo>
                    <a:pt x="1174" y="14958"/>
                  </a:lnTo>
                  <a:lnTo>
                    <a:pt x="1155" y="14942"/>
                  </a:lnTo>
                  <a:lnTo>
                    <a:pt x="1139" y="14924"/>
                  </a:lnTo>
                  <a:lnTo>
                    <a:pt x="1123" y="14906"/>
                  </a:lnTo>
                  <a:lnTo>
                    <a:pt x="1108" y="14887"/>
                  </a:lnTo>
                  <a:lnTo>
                    <a:pt x="1094" y="14868"/>
                  </a:lnTo>
                  <a:lnTo>
                    <a:pt x="1081" y="14847"/>
                  </a:lnTo>
                  <a:lnTo>
                    <a:pt x="1069" y="14826"/>
                  </a:lnTo>
                  <a:lnTo>
                    <a:pt x="1058" y="14804"/>
                  </a:lnTo>
                  <a:lnTo>
                    <a:pt x="1048" y="14782"/>
                  </a:lnTo>
                  <a:lnTo>
                    <a:pt x="1038" y="14759"/>
                  </a:lnTo>
                  <a:lnTo>
                    <a:pt x="1030" y="14736"/>
                  </a:lnTo>
                  <a:lnTo>
                    <a:pt x="1024" y="14712"/>
                  </a:lnTo>
                  <a:lnTo>
                    <a:pt x="1018" y="14688"/>
                  </a:lnTo>
                  <a:lnTo>
                    <a:pt x="1014" y="14663"/>
                  </a:lnTo>
                  <a:lnTo>
                    <a:pt x="1011" y="14637"/>
                  </a:lnTo>
                  <a:lnTo>
                    <a:pt x="1009" y="14612"/>
                  </a:lnTo>
                  <a:lnTo>
                    <a:pt x="1008" y="14586"/>
                  </a:lnTo>
                  <a:lnTo>
                    <a:pt x="1008" y="6539"/>
                  </a:lnTo>
                  <a:lnTo>
                    <a:pt x="1009" y="6512"/>
                  </a:lnTo>
                  <a:lnTo>
                    <a:pt x="1011" y="6487"/>
                  </a:lnTo>
                  <a:lnTo>
                    <a:pt x="1014" y="6462"/>
                  </a:lnTo>
                  <a:lnTo>
                    <a:pt x="1018" y="6437"/>
                  </a:lnTo>
                  <a:lnTo>
                    <a:pt x="1024" y="6413"/>
                  </a:lnTo>
                  <a:lnTo>
                    <a:pt x="1030" y="6389"/>
                  </a:lnTo>
                  <a:lnTo>
                    <a:pt x="1038" y="6366"/>
                  </a:lnTo>
                  <a:lnTo>
                    <a:pt x="1048" y="6342"/>
                  </a:lnTo>
                  <a:lnTo>
                    <a:pt x="1058" y="6320"/>
                  </a:lnTo>
                  <a:lnTo>
                    <a:pt x="1069" y="6298"/>
                  </a:lnTo>
                  <a:lnTo>
                    <a:pt x="1081" y="6278"/>
                  </a:lnTo>
                  <a:lnTo>
                    <a:pt x="1094" y="6257"/>
                  </a:lnTo>
                  <a:lnTo>
                    <a:pt x="1108" y="6238"/>
                  </a:lnTo>
                  <a:lnTo>
                    <a:pt x="1123" y="6219"/>
                  </a:lnTo>
                  <a:lnTo>
                    <a:pt x="1139" y="6201"/>
                  </a:lnTo>
                  <a:lnTo>
                    <a:pt x="1155" y="6182"/>
                  </a:lnTo>
                  <a:lnTo>
                    <a:pt x="1174" y="6166"/>
                  </a:lnTo>
                  <a:lnTo>
                    <a:pt x="1192" y="6150"/>
                  </a:lnTo>
                  <a:lnTo>
                    <a:pt x="1211" y="6135"/>
                  </a:lnTo>
                  <a:lnTo>
                    <a:pt x="1230" y="6121"/>
                  </a:lnTo>
                  <a:lnTo>
                    <a:pt x="1251" y="6108"/>
                  </a:lnTo>
                  <a:lnTo>
                    <a:pt x="1272" y="6096"/>
                  </a:lnTo>
                  <a:lnTo>
                    <a:pt x="1294" y="6085"/>
                  </a:lnTo>
                  <a:lnTo>
                    <a:pt x="1316" y="6075"/>
                  </a:lnTo>
                  <a:lnTo>
                    <a:pt x="1339" y="6066"/>
                  </a:lnTo>
                  <a:lnTo>
                    <a:pt x="1362" y="6058"/>
                  </a:lnTo>
                  <a:lnTo>
                    <a:pt x="1386" y="6052"/>
                  </a:lnTo>
                  <a:lnTo>
                    <a:pt x="1411" y="6046"/>
                  </a:lnTo>
                  <a:lnTo>
                    <a:pt x="1436" y="6042"/>
                  </a:lnTo>
                  <a:lnTo>
                    <a:pt x="1461" y="6039"/>
                  </a:lnTo>
                  <a:lnTo>
                    <a:pt x="1486" y="6037"/>
                  </a:lnTo>
                  <a:lnTo>
                    <a:pt x="1512" y="6036"/>
                  </a:lnTo>
                  <a:lnTo>
                    <a:pt x="3025" y="6036"/>
                  </a:lnTo>
                  <a:lnTo>
                    <a:pt x="3051" y="6037"/>
                  </a:lnTo>
                  <a:lnTo>
                    <a:pt x="3076" y="6039"/>
                  </a:lnTo>
                  <a:lnTo>
                    <a:pt x="3101" y="6042"/>
                  </a:lnTo>
                  <a:lnTo>
                    <a:pt x="3127" y="6046"/>
                  </a:lnTo>
                  <a:lnTo>
                    <a:pt x="3151" y="6052"/>
                  </a:lnTo>
                  <a:lnTo>
                    <a:pt x="3175" y="6058"/>
                  </a:lnTo>
                  <a:lnTo>
                    <a:pt x="3198" y="6066"/>
                  </a:lnTo>
                  <a:lnTo>
                    <a:pt x="3221" y="6075"/>
                  </a:lnTo>
                  <a:lnTo>
                    <a:pt x="3244" y="6085"/>
                  </a:lnTo>
                  <a:lnTo>
                    <a:pt x="3265" y="6096"/>
                  </a:lnTo>
                  <a:lnTo>
                    <a:pt x="3286" y="6108"/>
                  </a:lnTo>
                  <a:lnTo>
                    <a:pt x="3307" y="6121"/>
                  </a:lnTo>
                  <a:lnTo>
                    <a:pt x="3326" y="6135"/>
                  </a:lnTo>
                  <a:lnTo>
                    <a:pt x="3345" y="6150"/>
                  </a:lnTo>
                  <a:lnTo>
                    <a:pt x="3364" y="6166"/>
                  </a:lnTo>
                  <a:lnTo>
                    <a:pt x="3382" y="6182"/>
                  </a:lnTo>
                  <a:lnTo>
                    <a:pt x="3398" y="6201"/>
                  </a:lnTo>
                  <a:lnTo>
                    <a:pt x="3414" y="6219"/>
                  </a:lnTo>
                  <a:lnTo>
                    <a:pt x="3429" y="6238"/>
                  </a:lnTo>
                  <a:lnTo>
                    <a:pt x="3443" y="6257"/>
                  </a:lnTo>
                  <a:lnTo>
                    <a:pt x="3456" y="6278"/>
                  </a:lnTo>
                  <a:lnTo>
                    <a:pt x="3468" y="6298"/>
                  </a:lnTo>
                  <a:lnTo>
                    <a:pt x="3479" y="6320"/>
                  </a:lnTo>
                  <a:lnTo>
                    <a:pt x="3490" y="6342"/>
                  </a:lnTo>
                  <a:lnTo>
                    <a:pt x="3499" y="6366"/>
                  </a:lnTo>
                  <a:lnTo>
                    <a:pt x="3507" y="6389"/>
                  </a:lnTo>
                  <a:lnTo>
                    <a:pt x="3513" y="6413"/>
                  </a:lnTo>
                  <a:lnTo>
                    <a:pt x="3519" y="6437"/>
                  </a:lnTo>
                  <a:lnTo>
                    <a:pt x="3523" y="6462"/>
                  </a:lnTo>
                  <a:lnTo>
                    <a:pt x="3526" y="6487"/>
                  </a:lnTo>
                  <a:lnTo>
                    <a:pt x="3528" y="6512"/>
                  </a:lnTo>
                  <a:lnTo>
                    <a:pt x="3529" y="6539"/>
                  </a:lnTo>
                  <a:lnTo>
                    <a:pt x="3529" y="14586"/>
                  </a:lnTo>
                  <a:close/>
                  <a:moveTo>
                    <a:pt x="14702" y="5267"/>
                  </a:moveTo>
                  <a:lnTo>
                    <a:pt x="14641" y="5252"/>
                  </a:lnTo>
                  <a:lnTo>
                    <a:pt x="14574" y="5238"/>
                  </a:lnTo>
                  <a:lnTo>
                    <a:pt x="14504" y="5225"/>
                  </a:lnTo>
                  <a:lnTo>
                    <a:pt x="14427" y="5213"/>
                  </a:lnTo>
                  <a:lnTo>
                    <a:pt x="14345" y="5201"/>
                  </a:lnTo>
                  <a:lnTo>
                    <a:pt x="14260" y="5190"/>
                  </a:lnTo>
                  <a:lnTo>
                    <a:pt x="14169" y="5181"/>
                  </a:lnTo>
                  <a:lnTo>
                    <a:pt x="14073" y="5171"/>
                  </a:lnTo>
                  <a:lnTo>
                    <a:pt x="13972" y="5162"/>
                  </a:lnTo>
                  <a:lnTo>
                    <a:pt x="13867" y="5154"/>
                  </a:lnTo>
                  <a:lnTo>
                    <a:pt x="13758" y="5146"/>
                  </a:lnTo>
                  <a:lnTo>
                    <a:pt x="13644" y="5139"/>
                  </a:lnTo>
                  <a:lnTo>
                    <a:pt x="13524" y="5133"/>
                  </a:lnTo>
                  <a:lnTo>
                    <a:pt x="13401" y="5127"/>
                  </a:lnTo>
                  <a:lnTo>
                    <a:pt x="13273" y="5121"/>
                  </a:lnTo>
                  <a:lnTo>
                    <a:pt x="13140" y="5116"/>
                  </a:lnTo>
                  <a:lnTo>
                    <a:pt x="12860" y="5106"/>
                  </a:lnTo>
                  <a:lnTo>
                    <a:pt x="12564" y="5098"/>
                  </a:lnTo>
                  <a:lnTo>
                    <a:pt x="12249" y="5090"/>
                  </a:lnTo>
                  <a:lnTo>
                    <a:pt x="11918" y="5082"/>
                  </a:lnTo>
                  <a:lnTo>
                    <a:pt x="11569" y="5074"/>
                  </a:lnTo>
                  <a:lnTo>
                    <a:pt x="11204" y="5066"/>
                  </a:lnTo>
                  <a:lnTo>
                    <a:pt x="10822" y="5057"/>
                  </a:lnTo>
                  <a:lnTo>
                    <a:pt x="10423" y="5047"/>
                  </a:lnTo>
                  <a:lnTo>
                    <a:pt x="10441" y="4958"/>
                  </a:lnTo>
                  <a:lnTo>
                    <a:pt x="10459" y="4871"/>
                  </a:lnTo>
                  <a:lnTo>
                    <a:pt x="10473" y="4783"/>
                  </a:lnTo>
                  <a:lnTo>
                    <a:pt x="10487" y="4696"/>
                  </a:lnTo>
                  <a:lnTo>
                    <a:pt x="10498" y="4606"/>
                  </a:lnTo>
                  <a:lnTo>
                    <a:pt x="10508" y="4516"/>
                  </a:lnTo>
                  <a:lnTo>
                    <a:pt x="10517" y="4422"/>
                  </a:lnTo>
                  <a:lnTo>
                    <a:pt x="10525" y="4327"/>
                  </a:lnTo>
                  <a:lnTo>
                    <a:pt x="10531" y="4228"/>
                  </a:lnTo>
                  <a:lnTo>
                    <a:pt x="10536" y="4124"/>
                  </a:lnTo>
                  <a:lnTo>
                    <a:pt x="10541" y="4017"/>
                  </a:lnTo>
                  <a:lnTo>
                    <a:pt x="10544" y="3905"/>
                  </a:lnTo>
                  <a:lnTo>
                    <a:pt x="10546" y="3786"/>
                  </a:lnTo>
                  <a:lnTo>
                    <a:pt x="10548" y="3663"/>
                  </a:lnTo>
                  <a:lnTo>
                    <a:pt x="10549" y="3532"/>
                  </a:lnTo>
                  <a:lnTo>
                    <a:pt x="10549" y="3394"/>
                  </a:lnTo>
                  <a:lnTo>
                    <a:pt x="10545" y="3225"/>
                  </a:lnTo>
                  <a:lnTo>
                    <a:pt x="10534" y="3058"/>
                  </a:lnTo>
                  <a:lnTo>
                    <a:pt x="10516" y="2893"/>
                  </a:lnTo>
                  <a:lnTo>
                    <a:pt x="10491" y="2730"/>
                  </a:lnTo>
                  <a:lnTo>
                    <a:pt x="10459" y="2569"/>
                  </a:lnTo>
                  <a:lnTo>
                    <a:pt x="10420" y="2410"/>
                  </a:lnTo>
                  <a:lnTo>
                    <a:pt x="10376" y="2255"/>
                  </a:lnTo>
                  <a:lnTo>
                    <a:pt x="10325" y="2102"/>
                  </a:lnTo>
                  <a:lnTo>
                    <a:pt x="10269" y="1953"/>
                  </a:lnTo>
                  <a:lnTo>
                    <a:pt x="10209" y="1807"/>
                  </a:lnTo>
                  <a:lnTo>
                    <a:pt x="10142" y="1665"/>
                  </a:lnTo>
                  <a:lnTo>
                    <a:pt x="10071" y="1527"/>
                  </a:lnTo>
                  <a:lnTo>
                    <a:pt x="9996" y="1393"/>
                  </a:lnTo>
                  <a:lnTo>
                    <a:pt x="9916" y="1264"/>
                  </a:lnTo>
                  <a:lnTo>
                    <a:pt x="9832" y="1140"/>
                  </a:lnTo>
                  <a:lnTo>
                    <a:pt x="9745" y="1020"/>
                  </a:lnTo>
                  <a:lnTo>
                    <a:pt x="9654" y="906"/>
                  </a:lnTo>
                  <a:lnTo>
                    <a:pt x="9560" y="798"/>
                  </a:lnTo>
                  <a:lnTo>
                    <a:pt x="9463" y="695"/>
                  </a:lnTo>
                  <a:lnTo>
                    <a:pt x="9365" y="599"/>
                  </a:lnTo>
                  <a:lnTo>
                    <a:pt x="9263" y="508"/>
                  </a:lnTo>
                  <a:lnTo>
                    <a:pt x="9159" y="423"/>
                  </a:lnTo>
                  <a:lnTo>
                    <a:pt x="9053" y="347"/>
                  </a:lnTo>
                  <a:lnTo>
                    <a:pt x="8946" y="277"/>
                  </a:lnTo>
                  <a:lnTo>
                    <a:pt x="8837" y="214"/>
                  </a:lnTo>
                  <a:lnTo>
                    <a:pt x="8728" y="159"/>
                  </a:lnTo>
                  <a:lnTo>
                    <a:pt x="8619" y="112"/>
                  </a:lnTo>
                  <a:lnTo>
                    <a:pt x="8508" y="71"/>
                  </a:lnTo>
                  <a:lnTo>
                    <a:pt x="8397" y="41"/>
                  </a:lnTo>
                  <a:lnTo>
                    <a:pt x="8286" y="18"/>
                  </a:lnTo>
                  <a:lnTo>
                    <a:pt x="8176" y="5"/>
                  </a:lnTo>
                  <a:lnTo>
                    <a:pt x="8066" y="0"/>
                  </a:lnTo>
                  <a:lnTo>
                    <a:pt x="7989" y="2"/>
                  </a:lnTo>
                  <a:lnTo>
                    <a:pt x="7914" y="8"/>
                  </a:lnTo>
                  <a:lnTo>
                    <a:pt x="7839" y="17"/>
                  </a:lnTo>
                  <a:lnTo>
                    <a:pt x="7766" y="30"/>
                  </a:lnTo>
                  <a:lnTo>
                    <a:pt x="7693" y="47"/>
                  </a:lnTo>
                  <a:lnTo>
                    <a:pt x="7621" y="67"/>
                  </a:lnTo>
                  <a:lnTo>
                    <a:pt x="7552" y="91"/>
                  </a:lnTo>
                  <a:lnTo>
                    <a:pt x="7484" y="118"/>
                  </a:lnTo>
                  <a:lnTo>
                    <a:pt x="7418" y="148"/>
                  </a:lnTo>
                  <a:lnTo>
                    <a:pt x="7353" y="181"/>
                  </a:lnTo>
                  <a:lnTo>
                    <a:pt x="7290" y="217"/>
                  </a:lnTo>
                  <a:lnTo>
                    <a:pt x="7229" y="256"/>
                  </a:lnTo>
                  <a:lnTo>
                    <a:pt x="7170" y="298"/>
                  </a:lnTo>
                  <a:lnTo>
                    <a:pt x="7112" y="342"/>
                  </a:lnTo>
                  <a:lnTo>
                    <a:pt x="7058" y="389"/>
                  </a:lnTo>
                  <a:lnTo>
                    <a:pt x="7005" y="439"/>
                  </a:lnTo>
                  <a:lnTo>
                    <a:pt x="6955" y="491"/>
                  </a:lnTo>
                  <a:lnTo>
                    <a:pt x="6908" y="545"/>
                  </a:lnTo>
                  <a:lnTo>
                    <a:pt x="6862" y="602"/>
                  </a:lnTo>
                  <a:lnTo>
                    <a:pt x="6820" y="661"/>
                  </a:lnTo>
                  <a:lnTo>
                    <a:pt x="6780" y="721"/>
                  </a:lnTo>
                  <a:lnTo>
                    <a:pt x="6743" y="784"/>
                  </a:lnTo>
                  <a:lnTo>
                    <a:pt x="6710" y="848"/>
                  </a:lnTo>
                  <a:lnTo>
                    <a:pt x="6679" y="914"/>
                  </a:lnTo>
                  <a:lnTo>
                    <a:pt x="6651" y="983"/>
                  </a:lnTo>
                  <a:lnTo>
                    <a:pt x="6626" y="1052"/>
                  </a:lnTo>
                  <a:lnTo>
                    <a:pt x="6605" y="1123"/>
                  </a:lnTo>
                  <a:lnTo>
                    <a:pt x="6588" y="1195"/>
                  </a:lnTo>
                  <a:lnTo>
                    <a:pt x="6574" y="1269"/>
                  </a:lnTo>
                  <a:lnTo>
                    <a:pt x="6564" y="1344"/>
                  </a:lnTo>
                  <a:lnTo>
                    <a:pt x="6557" y="1419"/>
                  </a:lnTo>
                  <a:lnTo>
                    <a:pt x="6554" y="1497"/>
                  </a:lnTo>
                  <a:lnTo>
                    <a:pt x="6552" y="1593"/>
                  </a:lnTo>
                  <a:lnTo>
                    <a:pt x="6548" y="1695"/>
                  </a:lnTo>
                  <a:lnTo>
                    <a:pt x="6542" y="1800"/>
                  </a:lnTo>
                  <a:lnTo>
                    <a:pt x="6533" y="1908"/>
                  </a:lnTo>
                  <a:lnTo>
                    <a:pt x="6522" y="2020"/>
                  </a:lnTo>
                  <a:lnTo>
                    <a:pt x="6508" y="2134"/>
                  </a:lnTo>
                  <a:lnTo>
                    <a:pt x="6492" y="2250"/>
                  </a:lnTo>
                  <a:lnTo>
                    <a:pt x="6472" y="2370"/>
                  </a:lnTo>
                  <a:lnTo>
                    <a:pt x="6449" y="2491"/>
                  </a:lnTo>
                  <a:lnTo>
                    <a:pt x="6422" y="2613"/>
                  </a:lnTo>
                  <a:lnTo>
                    <a:pt x="6391" y="2737"/>
                  </a:lnTo>
                  <a:lnTo>
                    <a:pt x="6357" y="2863"/>
                  </a:lnTo>
                  <a:lnTo>
                    <a:pt x="6318" y="2989"/>
                  </a:lnTo>
                  <a:lnTo>
                    <a:pt x="6275" y="3115"/>
                  </a:lnTo>
                  <a:lnTo>
                    <a:pt x="6228" y="3242"/>
                  </a:lnTo>
                  <a:lnTo>
                    <a:pt x="6176" y="3369"/>
                  </a:lnTo>
                  <a:lnTo>
                    <a:pt x="6118" y="3496"/>
                  </a:lnTo>
                  <a:lnTo>
                    <a:pt x="6057" y="3620"/>
                  </a:lnTo>
                  <a:lnTo>
                    <a:pt x="5989" y="3745"/>
                  </a:lnTo>
                  <a:lnTo>
                    <a:pt x="5915" y="3869"/>
                  </a:lnTo>
                  <a:lnTo>
                    <a:pt x="5837" y="3991"/>
                  </a:lnTo>
                  <a:lnTo>
                    <a:pt x="5752" y="4111"/>
                  </a:lnTo>
                  <a:lnTo>
                    <a:pt x="5661" y="4229"/>
                  </a:lnTo>
                  <a:lnTo>
                    <a:pt x="5565" y="4345"/>
                  </a:lnTo>
                  <a:lnTo>
                    <a:pt x="5461" y="4457"/>
                  </a:lnTo>
                  <a:lnTo>
                    <a:pt x="5351" y="4567"/>
                  </a:lnTo>
                  <a:lnTo>
                    <a:pt x="5233" y="4674"/>
                  </a:lnTo>
                  <a:lnTo>
                    <a:pt x="5109" y="4776"/>
                  </a:lnTo>
                  <a:lnTo>
                    <a:pt x="4978" y="4876"/>
                  </a:lnTo>
                  <a:lnTo>
                    <a:pt x="4839" y="4970"/>
                  </a:lnTo>
                  <a:lnTo>
                    <a:pt x="4691" y="5061"/>
                  </a:lnTo>
                  <a:lnTo>
                    <a:pt x="4537" y="5146"/>
                  </a:lnTo>
                  <a:lnTo>
                    <a:pt x="4481" y="5176"/>
                  </a:lnTo>
                  <a:lnTo>
                    <a:pt x="4409" y="5212"/>
                  </a:lnTo>
                  <a:lnTo>
                    <a:pt x="4328" y="5252"/>
                  </a:lnTo>
                  <a:lnTo>
                    <a:pt x="4245" y="5294"/>
                  </a:lnTo>
                  <a:lnTo>
                    <a:pt x="4164" y="5333"/>
                  </a:lnTo>
                  <a:lnTo>
                    <a:pt x="4093" y="5368"/>
                  </a:lnTo>
                  <a:lnTo>
                    <a:pt x="4039" y="5394"/>
                  </a:lnTo>
                  <a:lnTo>
                    <a:pt x="4007" y="5409"/>
                  </a:lnTo>
                  <a:lnTo>
                    <a:pt x="4033" y="5432"/>
                  </a:lnTo>
                  <a:lnTo>
                    <a:pt x="4008" y="5411"/>
                  </a:lnTo>
                  <a:lnTo>
                    <a:pt x="3983" y="5390"/>
                  </a:lnTo>
                  <a:lnTo>
                    <a:pt x="3956" y="5370"/>
                  </a:lnTo>
                  <a:lnTo>
                    <a:pt x="3929" y="5350"/>
                  </a:lnTo>
                  <a:lnTo>
                    <a:pt x="3902" y="5329"/>
                  </a:lnTo>
                  <a:lnTo>
                    <a:pt x="3874" y="5310"/>
                  </a:lnTo>
                  <a:lnTo>
                    <a:pt x="3845" y="5291"/>
                  </a:lnTo>
                  <a:lnTo>
                    <a:pt x="3817" y="5273"/>
                  </a:lnTo>
                  <a:lnTo>
                    <a:pt x="3787" y="5255"/>
                  </a:lnTo>
                  <a:lnTo>
                    <a:pt x="3758" y="5238"/>
                  </a:lnTo>
                  <a:lnTo>
                    <a:pt x="3728" y="5221"/>
                  </a:lnTo>
                  <a:lnTo>
                    <a:pt x="3697" y="5205"/>
                  </a:lnTo>
                  <a:lnTo>
                    <a:pt x="3666" y="5189"/>
                  </a:lnTo>
                  <a:lnTo>
                    <a:pt x="3635" y="5174"/>
                  </a:lnTo>
                  <a:lnTo>
                    <a:pt x="3603" y="5159"/>
                  </a:lnTo>
                  <a:lnTo>
                    <a:pt x="3571" y="5145"/>
                  </a:lnTo>
                  <a:lnTo>
                    <a:pt x="3539" y="5132"/>
                  </a:lnTo>
                  <a:lnTo>
                    <a:pt x="3506" y="5120"/>
                  </a:lnTo>
                  <a:lnTo>
                    <a:pt x="3472" y="5108"/>
                  </a:lnTo>
                  <a:lnTo>
                    <a:pt x="3439" y="5097"/>
                  </a:lnTo>
                  <a:lnTo>
                    <a:pt x="3406" y="5087"/>
                  </a:lnTo>
                  <a:lnTo>
                    <a:pt x="3373" y="5077"/>
                  </a:lnTo>
                  <a:lnTo>
                    <a:pt x="3338" y="5068"/>
                  </a:lnTo>
                  <a:lnTo>
                    <a:pt x="3304" y="5061"/>
                  </a:lnTo>
                  <a:lnTo>
                    <a:pt x="3270" y="5054"/>
                  </a:lnTo>
                  <a:lnTo>
                    <a:pt x="3235" y="5048"/>
                  </a:lnTo>
                  <a:lnTo>
                    <a:pt x="3200" y="5042"/>
                  </a:lnTo>
                  <a:lnTo>
                    <a:pt x="3165" y="5038"/>
                  </a:lnTo>
                  <a:lnTo>
                    <a:pt x="3131" y="5034"/>
                  </a:lnTo>
                  <a:lnTo>
                    <a:pt x="3095" y="5032"/>
                  </a:lnTo>
                  <a:lnTo>
                    <a:pt x="3060" y="5030"/>
                  </a:lnTo>
                  <a:lnTo>
                    <a:pt x="3025" y="5030"/>
                  </a:lnTo>
                  <a:lnTo>
                    <a:pt x="1512" y="5030"/>
                  </a:lnTo>
                  <a:lnTo>
                    <a:pt x="1435" y="5032"/>
                  </a:lnTo>
                  <a:lnTo>
                    <a:pt x="1358" y="5038"/>
                  </a:lnTo>
                  <a:lnTo>
                    <a:pt x="1282" y="5047"/>
                  </a:lnTo>
                  <a:lnTo>
                    <a:pt x="1208" y="5061"/>
                  </a:lnTo>
                  <a:lnTo>
                    <a:pt x="1135" y="5077"/>
                  </a:lnTo>
                  <a:lnTo>
                    <a:pt x="1063" y="5098"/>
                  </a:lnTo>
                  <a:lnTo>
                    <a:pt x="993" y="5121"/>
                  </a:lnTo>
                  <a:lnTo>
                    <a:pt x="925" y="5148"/>
                  </a:lnTo>
                  <a:lnTo>
                    <a:pt x="857" y="5179"/>
                  </a:lnTo>
                  <a:lnTo>
                    <a:pt x="792" y="5212"/>
                  </a:lnTo>
                  <a:lnTo>
                    <a:pt x="729" y="5248"/>
                  </a:lnTo>
                  <a:lnTo>
                    <a:pt x="667" y="5288"/>
                  </a:lnTo>
                  <a:lnTo>
                    <a:pt x="608" y="5329"/>
                  </a:lnTo>
                  <a:lnTo>
                    <a:pt x="551" y="5375"/>
                  </a:lnTo>
                  <a:lnTo>
                    <a:pt x="496" y="5422"/>
                  </a:lnTo>
                  <a:lnTo>
                    <a:pt x="444" y="5472"/>
                  </a:lnTo>
                  <a:lnTo>
                    <a:pt x="393" y="5525"/>
                  </a:lnTo>
                  <a:lnTo>
                    <a:pt x="346" y="5579"/>
                  </a:lnTo>
                  <a:lnTo>
                    <a:pt x="300" y="5636"/>
                  </a:lnTo>
                  <a:lnTo>
                    <a:pt x="259" y="5696"/>
                  </a:lnTo>
                  <a:lnTo>
                    <a:pt x="219" y="5757"/>
                  </a:lnTo>
                  <a:lnTo>
                    <a:pt x="182" y="5820"/>
                  </a:lnTo>
                  <a:lnTo>
                    <a:pt x="149" y="5885"/>
                  </a:lnTo>
                  <a:lnTo>
                    <a:pt x="119" y="5952"/>
                  </a:lnTo>
                  <a:lnTo>
                    <a:pt x="92" y="6021"/>
                  </a:lnTo>
                  <a:lnTo>
                    <a:pt x="69" y="6090"/>
                  </a:lnTo>
                  <a:lnTo>
                    <a:pt x="47" y="6162"/>
                  </a:lnTo>
                  <a:lnTo>
                    <a:pt x="31" y="6235"/>
                  </a:lnTo>
                  <a:lnTo>
                    <a:pt x="17" y="6309"/>
                  </a:lnTo>
                  <a:lnTo>
                    <a:pt x="8" y="6385"/>
                  </a:lnTo>
                  <a:lnTo>
                    <a:pt x="2" y="6461"/>
                  </a:lnTo>
                  <a:lnTo>
                    <a:pt x="0" y="6539"/>
                  </a:lnTo>
                  <a:lnTo>
                    <a:pt x="0" y="14586"/>
                  </a:lnTo>
                  <a:lnTo>
                    <a:pt x="2" y="14664"/>
                  </a:lnTo>
                  <a:lnTo>
                    <a:pt x="8" y="14740"/>
                  </a:lnTo>
                  <a:lnTo>
                    <a:pt x="17" y="14815"/>
                  </a:lnTo>
                  <a:lnTo>
                    <a:pt x="31" y="14890"/>
                  </a:lnTo>
                  <a:lnTo>
                    <a:pt x="47" y="14962"/>
                  </a:lnTo>
                  <a:lnTo>
                    <a:pt x="69" y="15034"/>
                  </a:lnTo>
                  <a:lnTo>
                    <a:pt x="92" y="15104"/>
                  </a:lnTo>
                  <a:lnTo>
                    <a:pt x="119" y="15173"/>
                  </a:lnTo>
                  <a:lnTo>
                    <a:pt x="149" y="15240"/>
                  </a:lnTo>
                  <a:lnTo>
                    <a:pt x="182" y="15304"/>
                  </a:lnTo>
                  <a:lnTo>
                    <a:pt x="219" y="15368"/>
                  </a:lnTo>
                  <a:lnTo>
                    <a:pt x="259" y="15429"/>
                  </a:lnTo>
                  <a:lnTo>
                    <a:pt x="300" y="15488"/>
                  </a:lnTo>
                  <a:lnTo>
                    <a:pt x="346" y="15545"/>
                  </a:lnTo>
                  <a:lnTo>
                    <a:pt x="393" y="15600"/>
                  </a:lnTo>
                  <a:lnTo>
                    <a:pt x="444" y="15652"/>
                  </a:lnTo>
                  <a:lnTo>
                    <a:pt x="496" y="15703"/>
                  </a:lnTo>
                  <a:lnTo>
                    <a:pt x="551" y="15750"/>
                  </a:lnTo>
                  <a:lnTo>
                    <a:pt x="608" y="15795"/>
                  </a:lnTo>
                  <a:lnTo>
                    <a:pt x="667" y="15836"/>
                  </a:lnTo>
                  <a:lnTo>
                    <a:pt x="729" y="15876"/>
                  </a:lnTo>
                  <a:lnTo>
                    <a:pt x="792" y="15913"/>
                  </a:lnTo>
                  <a:lnTo>
                    <a:pt x="857" y="15946"/>
                  </a:lnTo>
                  <a:lnTo>
                    <a:pt x="925" y="15976"/>
                  </a:lnTo>
                  <a:lnTo>
                    <a:pt x="993" y="16003"/>
                  </a:lnTo>
                  <a:lnTo>
                    <a:pt x="1063" y="16027"/>
                  </a:lnTo>
                  <a:lnTo>
                    <a:pt x="1135" y="16048"/>
                  </a:lnTo>
                  <a:lnTo>
                    <a:pt x="1208" y="16064"/>
                  </a:lnTo>
                  <a:lnTo>
                    <a:pt x="1282" y="16078"/>
                  </a:lnTo>
                  <a:lnTo>
                    <a:pt x="1358" y="16087"/>
                  </a:lnTo>
                  <a:lnTo>
                    <a:pt x="1435" y="16093"/>
                  </a:lnTo>
                  <a:lnTo>
                    <a:pt x="1512" y="16095"/>
                  </a:lnTo>
                  <a:lnTo>
                    <a:pt x="3025" y="16095"/>
                  </a:lnTo>
                  <a:lnTo>
                    <a:pt x="3080" y="16094"/>
                  </a:lnTo>
                  <a:lnTo>
                    <a:pt x="3136" y="16091"/>
                  </a:lnTo>
                  <a:lnTo>
                    <a:pt x="3191" y="16086"/>
                  </a:lnTo>
                  <a:lnTo>
                    <a:pt x="3245" y="16079"/>
                  </a:lnTo>
                  <a:lnTo>
                    <a:pt x="3298" y="16069"/>
                  </a:lnTo>
                  <a:lnTo>
                    <a:pt x="3351" y="16058"/>
                  </a:lnTo>
                  <a:lnTo>
                    <a:pt x="3403" y="16046"/>
                  </a:lnTo>
                  <a:lnTo>
                    <a:pt x="3454" y="16031"/>
                  </a:lnTo>
                  <a:lnTo>
                    <a:pt x="3505" y="16015"/>
                  </a:lnTo>
                  <a:lnTo>
                    <a:pt x="3554" y="15995"/>
                  </a:lnTo>
                  <a:lnTo>
                    <a:pt x="3602" y="15975"/>
                  </a:lnTo>
                  <a:lnTo>
                    <a:pt x="3650" y="15954"/>
                  </a:lnTo>
                  <a:lnTo>
                    <a:pt x="3697" y="15930"/>
                  </a:lnTo>
                  <a:lnTo>
                    <a:pt x="3743" y="15906"/>
                  </a:lnTo>
                  <a:lnTo>
                    <a:pt x="3787" y="15879"/>
                  </a:lnTo>
                  <a:lnTo>
                    <a:pt x="3831" y="15851"/>
                  </a:lnTo>
                  <a:lnTo>
                    <a:pt x="3874" y="15821"/>
                  </a:lnTo>
                  <a:lnTo>
                    <a:pt x="3916" y="15790"/>
                  </a:lnTo>
                  <a:lnTo>
                    <a:pt x="3956" y="15758"/>
                  </a:lnTo>
                  <a:lnTo>
                    <a:pt x="3996" y="15724"/>
                  </a:lnTo>
                  <a:lnTo>
                    <a:pt x="4034" y="15689"/>
                  </a:lnTo>
                  <a:lnTo>
                    <a:pt x="4071" y="15652"/>
                  </a:lnTo>
                  <a:lnTo>
                    <a:pt x="4107" y="15615"/>
                  </a:lnTo>
                  <a:lnTo>
                    <a:pt x="4142" y="15576"/>
                  </a:lnTo>
                  <a:lnTo>
                    <a:pt x="4175" y="15536"/>
                  </a:lnTo>
                  <a:lnTo>
                    <a:pt x="4206" y="15494"/>
                  </a:lnTo>
                  <a:lnTo>
                    <a:pt x="4238" y="15452"/>
                  </a:lnTo>
                  <a:lnTo>
                    <a:pt x="4267" y="15409"/>
                  </a:lnTo>
                  <a:lnTo>
                    <a:pt x="4294" y="15365"/>
                  </a:lnTo>
                  <a:lnTo>
                    <a:pt x="4321" y="15319"/>
                  </a:lnTo>
                  <a:lnTo>
                    <a:pt x="4347" y="15273"/>
                  </a:lnTo>
                  <a:lnTo>
                    <a:pt x="4370" y="15226"/>
                  </a:lnTo>
                  <a:lnTo>
                    <a:pt x="4381" y="15230"/>
                  </a:lnTo>
                  <a:lnTo>
                    <a:pt x="4393" y="15233"/>
                  </a:lnTo>
                  <a:lnTo>
                    <a:pt x="4420" y="15239"/>
                  </a:lnTo>
                  <a:lnTo>
                    <a:pt x="4448" y="15247"/>
                  </a:lnTo>
                  <a:lnTo>
                    <a:pt x="4480" y="15255"/>
                  </a:lnTo>
                  <a:lnTo>
                    <a:pt x="4514" y="15264"/>
                  </a:lnTo>
                  <a:lnTo>
                    <a:pt x="4525" y="15266"/>
                  </a:lnTo>
                  <a:lnTo>
                    <a:pt x="4537" y="15270"/>
                  </a:lnTo>
                  <a:lnTo>
                    <a:pt x="4595" y="15284"/>
                  </a:lnTo>
                  <a:lnTo>
                    <a:pt x="4659" y="15299"/>
                  </a:lnTo>
                  <a:lnTo>
                    <a:pt x="4732" y="15317"/>
                  </a:lnTo>
                  <a:lnTo>
                    <a:pt x="4811" y="15337"/>
                  </a:lnTo>
                  <a:lnTo>
                    <a:pt x="4899" y="15358"/>
                  </a:lnTo>
                  <a:lnTo>
                    <a:pt x="4997" y="15381"/>
                  </a:lnTo>
                  <a:lnTo>
                    <a:pt x="5104" y="15406"/>
                  </a:lnTo>
                  <a:lnTo>
                    <a:pt x="5221" y="15433"/>
                  </a:lnTo>
                  <a:lnTo>
                    <a:pt x="5348" y="15463"/>
                  </a:lnTo>
                  <a:lnTo>
                    <a:pt x="5486" y="15495"/>
                  </a:lnTo>
                  <a:lnTo>
                    <a:pt x="5636" y="15531"/>
                  </a:lnTo>
                  <a:lnTo>
                    <a:pt x="5798" y="15569"/>
                  </a:lnTo>
                  <a:lnTo>
                    <a:pt x="5974" y="15609"/>
                  </a:lnTo>
                  <a:lnTo>
                    <a:pt x="6162" y="15652"/>
                  </a:lnTo>
                  <a:lnTo>
                    <a:pt x="6365" y="15700"/>
                  </a:lnTo>
                  <a:lnTo>
                    <a:pt x="6581" y="15749"/>
                  </a:lnTo>
                  <a:lnTo>
                    <a:pt x="6642" y="15762"/>
                  </a:lnTo>
                  <a:lnTo>
                    <a:pt x="6727" y="15780"/>
                  </a:lnTo>
                  <a:lnTo>
                    <a:pt x="6834" y="15802"/>
                  </a:lnTo>
                  <a:lnTo>
                    <a:pt x="6963" y="15827"/>
                  </a:lnTo>
                  <a:lnTo>
                    <a:pt x="7111" y="15855"/>
                  </a:lnTo>
                  <a:lnTo>
                    <a:pt x="7278" y="15884"/>
                  </a:lnTo>
                  <a:lnTo>
                    <a:pt x="7366" y="15899"/>
                  </a:lnTo>
                  <a:lnTo>
                    <a:pt x="7460" y="15914"/>
                  </a:lnTo>
                  <a:lnTo>
                    <a:pt x="7557" y="15929"/>
                  </a:lnTo>
                  <a:lnTo>
                    <a:pt x="7658" y="15944"/>
                  </a:lnTo>
                  <a:lnTo>
                    <a:pt x="7762" y="15958"/>
                  </a:lnTo>
                  <a:lnTo>
                    <a:pt x="7868" y="15973"/>
                  </a:lnTo>
                  <a:lnTo>
                    <a:pt x="7978" y="15987"/>
                  </a:lnTo>
                  <a:lnTo>
                    <a:pt x="8091" y="16000"/>
                  </a:lnTo>
                  <a:lnTo>
                    <a:pt x="8207" y="16015"/>
                  </a:lnTo>
                  <a:lnTo>
                    <a:pt x="8325" y="16027"/>
                  </a:lnTo>
                  <a:lnTo>
                    <a:pt x="8445" y="16039"/>
                  </a:lnTo>
                  <a:lnTo>
                    <a:pt x="8567" y="16049"/>
                  </a:lnTo>
                  <a:lnTo>
                    <a:pt x="8691" y="16059"/>
                  </a:lnTo>
                  <a:lnTo>
                    <a:pt x="8816" y="16068"/>
                  </a:lnTo>
                  <a:lnTo>
                    <a:pt x="8943" y="16076"/>
                  </a:lnTo>
                  <a:lnTo>
                    <a:pt x="9071" y="16083"/>
                  </a:lnTo>
                  <a:lnTo>
                    <a:pt x="9200" y="16088"/>
                  </a:lnTo>
                  <a:lnTo>
                    <a:pt x="9330" y="16092"/>
                  </a:lnTo>
                  <a:lnTo>
                    <a:pt x="9461" y="16094"/>
                  </a:lnTo>
                  <a:lnTo>
                    <a:pt x="9592" y="16095"/>
                  </a:lnTo>
                  <a:lnTo>
                    <a:pt x="12349" y="16095"/>
                  </a:lnTo>
                  <a:lnTo>
                    <a:pt x="12427" y="16094"/>
                  </a:lnTo>
                  <a:lnTo>
                    <a:pt x="12503" y="16091"/>
                  </a:lnTo>
                  <a:lnTo>
                    <a:pt x="12579" y="16087"/>
                  </a:lnTo>
                  <a:lnTo>
                    <a:pt x="12653" y="16080"/>
                  </a:lnTo>
                  <a:lnTo>
                    <a:pt x="12725" y="16071"/>
                  </a:lnTo>
                  <a:lnTo>
                    <a:pt x="12797" y="16061"/>
                  </a:lnTo>
                  <a:lnTo>
                    <a:pt x="12866" y="16049"/>
                  </a:lnTo>
                  <a:lnTo>
                    <a:pt x="12935" y="16035"/>
                  </a:lnTo>
                  <a:lnTo>
                    <a:pt x="13001" y="16019"/>
                  </a:lnTo>
                  <a:lnTo>
                    <a:pt x="13067" y="16000"/>
                  </a:lnTo>
                  <a:lnTo>
                    <a:pt x="13131" y="15980"/>
                  </a:lnTo>
                  <a:lnTo>
                    <a:pt x="13194" y="15959"/>
                  </a:lnTo>
                  <a:lnTo>
                    <a:pt x="13255" y="15935"/>
                  </a:lnTo>
                  <a:lnTo>
                    <a:pt x="13316" y="15910"/>
                  </a:lnTo>
                  <a:lnTo>
                    <a:pt x="13374" y="15882"/>
                  </a:lnTo>
                  <a:lnTo>
                    <a:pt x="13431" y="15853"/>
                  </a:lnTo>
                  <a:lnTo>
                    <a:pt x="13487" y="15821"/>
                  </a:lnTo>
                  <a:lnTo>
                    <a:pt x="13542" y="15788"/>
                  </a:lnTo>
                  <a:lnTo>
                    <a:pt x="13594" y="15753"/>
                  </a:lnTo>
                  <a:lnTo>
                    <a:pt x="13646" y="15717"/>
                  </a:lnTo>
                  <a:lnTo>
                    <a:pt x="13696" y="15678"/>
                  </a:lnTo>
                  <a:lnTo>
                    <a:pt x="13745" y="15637"/>
                  </a:lnTo>
                  <a:lnTo>
                    <a:pt x="13792" y="15594"/>
                  </a:lnTo>
                  <a:lnTo>
                    <a:pt x="13838" y="15550"/>
                  </a:lnTo>
                  <a:lnTo>
                    <a:pt x="13883" y="15504"/>
                  </a:lnTo>
                  <a:lnTo>
                    <a:pt x="13926" y="15455"/>
                  </a:lnTo>
                  <a:lnTo>
                    <a:pt x="13967" y="15405"/>
                  </a:lnTo>
                  <a:lnTo>
                    <a:pt x="14008" y="15353"/>
                  </a:lnTo>
                  <a:lnTo>
                    <a:pt x="14046" y="15298"/>
                  </a:lnTo>
                  <a:lnTo>
                    <a:pt x="14084" y="15243"/>
                  </a:lnTo>
                  <a:lnTo>
                    <a:pt x="14120" y="15185"/>
                  </a:lnTo>
                  <a:lnTo>
                    <a:pt x="14154" y="15125"/>
                  </a:lnTo>
                  <a:lnTo>
                    <a:pt x="14161" y="15112"/>
                  </a:lnTo>
                  <a:lnTo>
                    <a:pt x="14177" y="15080"/>
                  </a:lnTo>
                  <a:lnTo>
                    <a:pt x="14200" y="15031"/>
                  </a:lnTo>
                  <a:lnTo>
                    <a:pt x="14228" y="14965"/>
                  </a:lnTo>
                  <a:lnTo>
                    <a:pt x="14245" y="14928"/>
                  </a:lnTo>
                  <a:lnTo>
                    <a:pt x="14262" y="14887"/>
                  </a:lnTo>
                  <a:lnTo>
                    <a:pt x="14279" y="14843"/>
                  </a:lnTo>
                  <a:lnTo>
                    <a:pt x="14297" y="14796"/>
                  </a:lnTo>
                  <a:lnTo>
                    <a:pt x="14315" y="14746"/>
                  </a:lnTo>
                  <a:lnTo>
                    <a:pt x="14334" y="14695"/>
                  </a:lnTo>
                  <a:lnTo>
                    <a:pt x="14352" y="14640"/>
                  </a:lnTo>
                  <a:lnTo>
                    <a:pt x="14370" y="14584"/>
                  </a:lnTo>
                  <a:lnTo>
                    <a:pt x="14383" y="14540"/>
                  </a:lnTo>
                  <a:lnTo>
                    <a:pt x="14395" y="14494"/>
                  </a:lnTo>
                  <a:lnTo>
                    <a:pt x="14405" y="14445"/>
                  </a:lnTo>
                  <a:lnTo>
                    <a:pt x="14414" y="14395"/>
                  </a:lnTo>
                  <a:lnTo>
                    <a:pt x="14422" y="14344"/>
                  </a:lnTo>
                  <a:lnTo>
                    <a:pt x="14428" y="14290"/>
                  </a:lnTo>
                  <a:lnTo>
                    <a:pt x="14432" y="14235"/>
                  </a:lnTo>
                  <a:lnTo>
                    <a:pt x="14435" y="14179"/>
                  </a:lnTo>
                  <a:lnTo>
                    <a:pt x="14436" y="14121"/>
                  </a:lnTo>
                  <a:lnTo>
                    <a:pt x="14435" y="14063"/>
                  </a:lnTo>
                  <a:lnTo>
                    <a:pt x="14433" y="14034"/>
                  </a:lnTo>
                  <a:lnTo>
                    <a:pt x="14432" y="14004"/>
                  </a:lnTo>
                  <a:lnTo>
                    <a:pt x="14429" y="13974"/>
                  </a:lnTo>
                  <a:lnTo>
                    <a:pt x="14426" y="13944"/>
                  </a:lnTo>
                  <a:lnTo>
                    <a:pt x="14423" y="13914"/>
                  </a:lnTo>
                  <a:lnTo>
                    <a:pt x="14419" y="13883"/>
                  </a:lnTo>
                  <a:lnTo>
                    <a:pt x="14414" y="13853"/>
                  </a:lnTo>
                  <a:lnTo>
                    <a:pt x="14409" y="13823"/>
                  </a:lnTo>
                  <a:lnTo>
                    <a:pt x="14404" y="13791"/>
                  </a:lnTo>
                  <a:lnTo>
                    <a:pt x="14397" y="13760"/>
                  </a:lnTo>
                  <a:lnTo>
                    <a:pt x="14390" y="13730"/>
                  </a:lnTo>
                  <a:lnTo>
                    <a:pt x="14382" y="13699"/>
                  </a:lnTo>
                  <a:lnTo>
                    <a:pt x="14432" y="13664"/>
                  </a:lnTo>
                  <a:lnTo>
                    <a:pt x="14479" y="13627"/>
                  </a:lnTo>
                  <a:lnTo>
                    <a:pt x="14525" y="13589"/>
                  </a:lnTo>
                  <a:lnTo>
                    <a:pt x="14568" y="13551"/>
                  </a:lnTo>
                  <a:lnTo>
                    <a:pt x="14610" y="13513"/>
                  </a:lnTo>
                  <a:lnTo>
                    <a:pt x="14650" y="13473"/>
                  </a:lnTo>
                  <a:lnTo>
                    <a:pt x="14688" y="13432"/>
                  </a:lnTo>
                  <a:lnTo>
                    <a:pt x="14723" y="13391"/>
                  </a:lnTo>
                  <a:lnTo>
                    <a:pt x="14759" y="13349"/>
                  </a:lnTo>
                  <a:lnTo>
                    <a:pt x="14791" y="13307"/>
                  </a:lnTo>
                  <a:lnTo>
                    <a:pt x="14822" y="13264"/>
                  </a:lnTo>
                  <a:lnTo>
                    <a:pt x="14853" y="13222"/>
                  </a:lnTo>
                  <a:lnTo>
                    <a:pt x="14881" y="13179"/>
                  </a:lnTo>
                  <a:lnTo>
                    <a:pt x="14907" y="13135"/>
                  </a:lnTo>
                  <a:lnTo>
                    <a:pt x="14933" y="13091"/>
                  </a:lnTo>
                  <a:lnTo>
                    <a:pt x="14956" y="13048"/>
                  </a:lnTo>
                  <a:lnTo>
                    <a:pt x="14980" y="13005"/>
                  </a:lnTo>
                  <a:lnTo>
                    <a:pt x="15002" y="12962"/>
                  </a:lnTo>
                  <a:lnTo>
                    <a:pt x="15022" y="12917"/>
                  </a:lnTo>
                  <a:lnTo>
                    <a:pt x="15041" y="12875"/>
                  </a:lnTo>
                  <a:lnTo>
                    <a:pt x="15060" y="12832"/>
                  </a:lnTo>
                  <a:lnTo>
                    <a:pt x="15077" y="12789"/>
                  </a:lnTo>
                  <a:lnTo>
                    <a:pt x="15094" y="12747"/>
                  </a:lnTo>
                  <a:lnTo>
                    <a:pt x="15110" y="12706"/>
                  </a:lnTo>
                  <a:lnTo>
                    <a:pt x="15139" y="12626"/>
                  </a:lnTo>
                  <a:lnTo>
                    <a:pt x="15165" y="12547"/>
                  </a:lnTo>
                  <a:lnTo>
                    <a:pt x="15189" y="12473"/>
                  </a:lnTo>
                  <a:lnTo>
                    <a:pt x="15210" y="12401"/>
                  </a:lnTo>
                  <a:lnTo>
                    <a:pt x="15228" y="12346"/>
                  </a:lnTo>
                  <a:lnTo>
                    <a:pt x="15244" y="12291"/>
                  </a:lnTo>
                  <a:lnTo>
                    <a:pt x="15258" y="12237"/>
                  </a:lnTo>
                  <a:lnTo>
                    <a:pt x="15271" y="12184"/>
                  </a:lnTo>
                  <a:lnTo>
                    <a:pt x="15282" y="12132"/>
                  </a:lnTo>
                  <a:lnTo>
                    <a:pt x="15293" y="12080"/>
                  </a:lnTo>
                  <a:lnTo>
                    <a:pt x="15301" y="12029"/>
                  </a:lnTo>
                  <a:lnTo>
                    <a:pt x="15309" y="11980"/>
                  </a:lnTo>
                  <a:lnTo>
                    <a:pt x="15316" y="11930"/>
                  </a:lnTo>
                  <a:lnTo>
                    <a:pt x="15321" y="11883"/>
                  </a:lnTo>
                  <a:lnTo>
                    <a:pt x="15326" y="11836"/>
                  </a:lnTo>
                  <a:lnTo>
                    <a:pt x="15329" y="11790"/>
                  </a:lnTo>
                  <a:lnTo>
                    <a:pt x="15331" y="11743"/>
                  </a:lnTo>
                  <a:lnTo>
                    <a:pt x="15332" y="11699"/>
                  </a:lnTo>
                  <a:lnTo>
                    <a:pt x="15332" y="11655"/>
                  </a:lnTo>
                  <a:lnTo>
                    <a:pt x="15331" y="11612"/>
                  </a:lnTo>
                  <a:lnTo>
                    <a:pt x="15330" y="11569"/>
                  </a:lnTo>
                  <a:lnTo>
                    <a:pt x="15327" y="11528"/>
                  </a:lnTo>
                  <a:lnTo>
                    <a:pt x="15323" y="11488"/>
                  </a:lnTo>
                  <a:lnTo>
                    <a:pt x="15319" y="11448"/>
                  </a:lnTo>
                  <a:lnTo>
                    <a:pt x="15314" y="11408"/>
                  </a:lnTo>
                  <a:lnTo>
                    <a:pt x="15308" y="11370"/>
                  </a:lnTo>
                  <a:lnTo>
                    <a:pt x="15301" y="11333"/>
                  </a:lnTo>
                  <a:lnTo>
                    <a:pt x="15294" y="11296"/>
                  </a:lnTo>
                  <a:lnTo>
                    <a:pt x="15285" y="11260"/>
                  </a:lnTo>
                  <a:lnTo>
                    <a:pt x="15277" y="11225"/>
                  </a:lnTo>
                  <a:lnTo>
                    <a:pt x="15267" y="11191"/>
                  </a:lnTo>
                  <a:lnTo>
                    <a:pt x="15257" y="11157"/>
                  </a:lnTo>
                  <a:lnTo>
                    <a:pt x="15247" y="11124"/>
                  </a:lnTo>
                  <a:lnTo>
                    <a:pt x="15236" y="11092"/>
                  </a:lnTo>
                  <a:lnTo>
                    <a:pt x="15224" y="11060"/>
                  </a:lnTo>
                  <a:lnTo>
                    <a:pt x="15211" y="11030"/>
                  </a:lnTo>
                  <a:lnTo>
                    <a:pt x="15240" y="11003"/>
                  </a:lnTo>
                  <a:lnTo>
                    <a:pt x="15268" y="10975"/>
                  </a:lnTo>
                  <a:lnTo>
                    <a:pt x="15296" y="10946"/>
                  </a:lnTo>
                  <a:lnTo>
                    <a:pt x="15323" y="10915"/>
                  </a:lnTo>
                  <a:lnTo>
                    <a:pt x="15351" y="10884"/>
                  </a:lnTo>
                  <a:lnTo>
                    <a:pt x="15377" y="10852"/>
                  </a:lnTo>
                  <a:lnTo>
                    <a:pt x="15404" y="10820"/>
                  </a:lnTo>
                  <a:lnTo>
                    <a:pt x="15430" y="10786"/>
                  </a:lnTo>
                  <a:lnTo>
                    <a:pt x="15455" y="10750"/>
                  </a:lnTo>
                  <a:lnTo>
                    <a:pt x="15481" y="10715"/>
                  </a:lnTo>
                  <a:lnTo>
                    <a:pt x="15505" y="10678"/>
                  </a:lnTo>
                  <a:lnTo>
                    <a:pt x="15529" y="10640"/>
                  </a:lnTo>
                  <a:lnTo>
                    <a:pt x="15553" y="10601"/>
                  </a:lnTo>
                  <a:lnTo>
                    <a:pt x="15576" y="10560"/>
                  </a:lnTo>
                  <a:lnTo>
                    <a:pt x="15600" y="10519"/>
                  </a:lnTo>
                  <a:lnTo>
                    <a:pt x="15622" y="10477"/>
                  </a:lnTo>
                  <a:lnTo>
                    <a:pt x="15643" y="10434"/>
                  </a:lnTo>
                  <a:lnTo>
                    <a:pt x="15664" y="10389"/>
                  </a:lnTo>
                  <a:lnTo>
                    <a:pt x="15684" y="10344"/>
                  </a:lnTo>
                  <a:lnTo>
                    <a:pt x="15705" y="10297"/>
                  </a:lnTo>
                  <a:lnTo>
                    <a:pt x="15724" y="10248"/>
                  </a:lnTo>
                  <a:lnTo>
                    <a:pt x="15742" y="10199"/>
                  </a:lnTo>
                  <a:lnTo>
                    <a:pt x="15760" y="10149"/>
                  </a:lnTo>
                  <a:lnTo>
                    <a:pt x="15776" y="10098"/>
                  </a:lnTo>
                  <a:lnTo>
                    <a:pt x="15793" y="10044"/>
                  </a:lnTo>
                  <a:lnTo>
                    <a:pt x="15808" y="9991"/>
                  </a:lnTo>
                  <a:lnTo>
                    <a:pt x="15823" y="9936"/>
                  </a:lnTo>
                  <a:lnTo>
                    <a:pt x="15838" y="9878"/>
                  </a:lnTo>
                  <a:lnTo>
                    <a:pt x="15851" y="9821"/>
                  </a:lnTo>
                  <a:lnTo>
                    <a:pt x="15863" y="9762"/>
                  </a:lnTo>
                  <a:lnTo>
                    <a:pt x="15875" y="9701"/>
                  </a:lnTo>
                  <a:lnTo>
                    <a:pt x="15885" y="9639"/>
                  </a:lnTo>
                  <a:lnTo>
                    <a:pt x="15891" y="9600"/>
                  </a:lnTo>
                  <a:lnTo>
                    <a:pt x="15896" y="9561"/>
                  </a:lnTo>
                  <a:lnTo>
                    <a:pt x="15901" y="9522"/>
                  </a:lnTo>
                  <a:lnTo>
                    <a:pt x="15904" y="9483"/>
                  </a:lnTo>
                  <a:lnTo>
                    <a:pt x="15907" y="9445"/>
                  </a:lnTo>
                  <a:lnTo>
                    <a:pt x="15909" y="9406"/>
                  </a:lnTo>
                  <a:lnTo>
                    <a:pt x="15910" y="9366"/>
                  </a:lnTo>
                  <a:lnTo>
                    <a:pt x="15910" y="9328"/>
                  </a:lnTo>
                  <a:lnTo>
                    <a:pt x="15910" y="9289"/>
                  </a:lnTo>
                  <a:lnTo>
                    <a:pt x="15908" y="9251"/>
                  </a:lnTo>
                  <a:lnTo>
                    <a:pt x="15906" y="9211"/>
                  </a:lnTo>
                  <a:lnTo>
                    <a:pt x="15904" y="9173"/>
                  </a:lnTo>
                  <a:lnTo>
                    <a:pt x="15900" y="9135"/>
                  </a:lnTo>
                  <a:lnTo>
                    <a:pt x="15896" y="9097"/>
                  </a:lnTo>
                  <a:lnTo>
                    <a:pt x="15890" y="9058"/>
                  </a:lnTo>
                  <a:lnTo>
                    <a:pt x="15885" y="9020"/>
                  </a:lnTo>
                  <a:lnTo>
                    <a:pt x="15878" y="8982"/>
                  </a:lnTo>
                  <a:lnTo>
                    <a:pt x="15871" y="8945"/>
                  </a:lnTo>
                  <a:lnTo>
                    <a:pt x="15862" y="8907"/>
                  </a:lnTo>
                  <a:lnTo>
                    <a:pt x="15854" y="8870"/>
                  </a:lnTo>
                  <a:lnTo>
                    <a:pt x="15844" y="8833"/>
                  </a:lnTo>
                  <a:lnTo>
                    <a:pt x="15834" y="8796"/>
                  </a:lnTo>
                  <a:lnTo>
                    <a:pt x="15822" y="8760"/>
                  </a:lnTo>
                  <a:lnTo>
                    <a:pt x="15810" y="8723"/>
                  </a:lnTo>
                  <a:lnTo>
                    <a:pt x="15797" y="8687"/>
                  </a:lnTo>
                  <a:lnTo>
                    <a:pt x="15784" y="8652"/>
                  </a:lnTo>
                  <a:lnTo>
                    <a:pt x="15770" y="8617"/>
                  </a:lnTo>
                  <a:lnTo>
                    <a:pt x="15755" y="8582"/>
                  </a:lnTo>
                  <a:lnTo>
                    <a:pt x="15740" y="8547"/>
                  </a:lnTo>
                  <a:lnTo>
                    <a:pt x="15724" y="8513"/>
                  </a:lnTo>
                  <a:lnTo>
                    <a:pt x="15707" y="8479"/>
                  </a:lnTo>
                  <a:lnTo>
                    <a:pt x="15689" y="8446"/>
                  </a:lnTo>
                  <a:lnTo>
                    <a:pt x="15716" y="8416"/>
                  </a:lnTo>
                  <a:lnTo>
                    <a:pt x="15741" y="8384"/>
                  </a:lnTo>
                  <a:lnTo>
                    <a:pt x="15766" y="8353"/>
                  </a:lnTo>
                  <a:lnTo>
                    <a:pt x="15789" y="8322"/>
                  </a:lnTo>
                  <a:lnTo>
                    <a:pt x="15812" y="8290"/>
                  </a:lnTo>
                  <a:lnTo>
                    <a:pt x="15834" y="8258"/>
                  </a:lnTo>
                  <a:lnTo>
                    <a:pt x="15855" y="8226"/>
                  </a:lnTo>
                  <a:lnTo>
                    <a:pt x="15875" y="8192"/>
                  </a:lnTo>
                  <a:lnTo>
                    <a:pt x="15894" y="8159"/>
                  </a:lnTo>
                  <a:lnTo>
                    <a:pt x="15913" y="8125"/>
                  </a:lnTo>
                  <a:lnTo>
                    <a:pt x="15930" y="8092"/>
                  </a:lnTo>
                  <a:lnTo>
                    <a:pt x="15947" y="8058"/>
                  </a:lnTo>
                  <a:lnTo>
                    <a:pt x="15963" y="8022"/>
                  </a:lnTo>
                  <a:lnTo>
                    <a:pt x="15979" y="7988"/>
                  </a:lnTo>
                  <a:lnTo>
                    <a:pt x="15993" y="7953"/>
                  </a:lnTo>
                  <a:lnTo>
                    <a:pt x="16006" y="7918"/>
                  </a:lnTo>
                  <a:lnTo>
                    <a:pt x="16019" y="7884"/>
                  </a:lnTo>
                  <a:lnTo>
                    <a:pt x="16031" y="7847"/>
                  </a:lnTo>
                  <a:lnTo>
                    <a:pt x="16042" y="7812"/>
                  </a:lnTo>
                  <a:lnTo>
                    <a:pt x="16052" y="7777"/>
                  </a:lnTo>
                  <a:lnTo>
                    <a:pt x="16062" y="7742"/>
                  </a:lnTo>
                  <a:lnTo>
                    <a:pt x="16070" y="7705"/>
                  </a:lnTo>
                  <a:lnTo>
                    <a:pt x="16079" y="7670"/>
                  </a:lnTo>
                  <a:lnTo>
                    <a:pt x="16087" y="7634"/>
                  </a:lnTo>
                  <a:lnTo>
                    <a:pt x="16093" y="7599"/>
                  </a:lnTo>
                  <a:lnTo>
                    <a:pt x="16099" y="7564"/>
                  </a:lnTo>
                  <a:lnTo>
                    <a:pt x="16104" y="7527"/>
                  </a:lnTo>
                  <a:lnTo>
                    <a:pt x="16109" y="7492"/>
                  </a:lnTo>
                  <a:lnTo>
                    <a:pt x="16112" y="7457"/>
                  </a:lnTo>
                  <a:lnTo>
                    <a:pt x="16115" y="7422"/>
                  </a:lnTo>
                  <a:lnTo>
                    <a:pt x="16118" y="7387"/>
                  </a:lnTo>
                  <a:lnTo>
                    <a:pt x="16119" y="7351"/>
                  </a:lnTo>
                  <a:lnTo>
                    <a:pt x="16125" y="7246"/>
                  </a:lnTo>
                  <a:lnTo>
                    <a:pt x="16127" y="7223"/>
                  </a:lnTo>
                  <a:lnTo>
                    <a:pt x="16128" y="7199"/>
                  </a:lnTo>
                  <a:lnTo>
                    <a:pt x="16129" y="7175"/>
                  </a:lnTo>
                  <a:lnTo>
                    <a:pt x="16130" y="7149"/>
                  </a:lnTo>
                  <a:lnTo>
                    <a:pt x="16131" y="7120"/>
                  </a:lnTo>
                  <a:lnTo>
                    <a:pt x="16132" y="7086"/>
                  </a:lnTo>
                  <a:lnTo>
                    <a:pt x="16132" y="7044"/>
                  </a:lnTo>
                  <a:lnTo>
                    <a:pt x="16132" y="6994"/>
                  </a:lnTo>
                  <a:lnTo>
                    <a:pt x="16131" y="6934"/>
                  </a:lnTo>
                  <a:lnTo>
                    <a:pt x="16127" y="6874"/>
                  </a:lnTo>
                  <a:lnTo>
                    <a:pt x="16120" y="6811"/>
                  </a:lnTo>
                  <a:lnTo>
                    <a:pt x="16111" y="6749"/>
                  </a:lnTo>
                  <a:lnTo>
                    <a:pt x="16100" y="6686"/>
                  </a:lnTo>
                  <a:lnTo>
                    <a:pt x="16085" y="6623"/>
                  </a:lnTo>
                  <a:lnTo>
                    <a:pt x="16067" y="6560"/>
                  </a:lnTo>
                  <a:lnTo>
                    <a:pt x="16047" y="6495"/>
                  </a:lnTo>
                  <a:lnTo>
                    <a:pt x="16025" y="6432"/>
                  </a:lnTo>
                  <a:lnTo>
                    <a:pt x="16000" y="6369"/>
                  </a:lnTo>
                  <a:lnTo>
                    <a:pt x="15972" y="6305"/>
                  </a:lnTo>
                  <a:lnTo>
                    <a:pt x="15940" y="6243"/>
                  </a:lnTo>
                  <a:lnTo>
                    <a:pt x="15906" y="6180"/>
                  </a:lnTo>
                  <a:lnTo>
                    <a:pt x="15870" y="6119"/>
                  </a:lnTo>
                  <a:lnTo>
                    <a:pt x="15831" y="6058"/>
                  </a:lnTo>
                  <a:lnTo>
                    <a:pt x="15788" y="5997"/>
                  </a:lnTo>
                  <a:lnTo>
                    <a:pt x="15743" y="5939"/>
                  </a:lnTo>
                  <a:lnTo>
                    <a:pt x="15694" y="5881"/>
                  </a:lnTo>
                  <a:lnTo>
                    <a:pt x="15643" y="5824"/>
                  </a:lnTo>
                  <a:lnTo>
                    <a:pt x="15590" y="5770"/>
                  </a:lnTo>
                  <a:lnTo>
                    <a:pt x="15532" y="5716"/>
                  </a:lnTo>
                  <a:lnTo>
                    <a:pt x="15473" y="5664"/>
                  </a:lnTo>
                  <a:lnTo>
                    <a:pt x="15409" y="5614"/>
                  </a:lnTo>
                  <a:lnTo>
                    <a:pt x="15344" y="5566"/>
                  </a:lnTo>
                  <a:lnTo>
                    <a:pt x="15274" y="5521"/>
                  </a:lnTo>
                  <a:lnTo>
                    <a:pt x="15201" y="5476"/>
                  </a:lnTo>
                  <a:lnTo>
                    <a:pt x="15127" y="5435"/>
                  </a:lnTo>
                  <a:lnTo>
                    <a:pt x="15048" y="5396"/>
                  </a:lnTo>
                  <a:lnTo>
                    <a:pt x="14966" y="5360"/>
                  </a:lnTo>
                  <a:lnTo>
                    <a:pt x="14882" y="5325"/>
                  </a:lnTo>
                  <a:lnTo>
                    <a:pt x="14794" y="5295"/>
                  </a:lnTo>
                  <a:lnTo>
                    <a:pt x="14702" y="52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83" name="iṥliďé">
              <a:extLst>
                <a:ext uri="{FF2B5EF4-FFF2-40B4-BE49-F238E27FC236}">
                  <a16:creationId xmlns:a16="http://schemas.microsoft.com/office/drawing/2014/main" id="{64FE632A-037C-491F-980B-CC0B0B01507F}"/>
                </a:ext>
              </a:extLst>
            </p:cNvPr>
            <p:cNvSpPr/>
            <p:nvPr/>
          </p:nvSpPr>
          <p:spPr bwMode="auto">
            <a:xfrm>
              <a:off x="3811153" y="524857"/>
              <a:ext cx="57809" cy="57808"/>
            </a:xfrm>
            <a:custGeom>
              <a:avLst/>
              <a:gdLst>
                <a:gd name="T0" fmla="*/ 706 w 1513"/>
                <a:gd name="T1" fmla="*/ 1001 h 1509"/>
                <a:gd name="T2" fmla="*/ 648 w 1513"/>
                <a:gd name="T3" fmla="*/ 981 h 1509"/>
                <a:gd name="T4" fmla="*/ 596 w 1513"/>
                <a:gd name="T5" fmla="*/ 949 h 1509"/>
                <a:gd name="T6" fmla="*/ 555 w 1513"/>
                <a:gd name="T7" fmla="*/ 905 h 1509"/>
                <a:gd name="T8" fmla="*/ 525 w 1513"/>
                <a:gd name="T9" fmla="*/ 852 h 1509"/>
                <a:gd name="T10" fmla="*/ 508 w 1513"/>
                <a:gd name="T11" fmla="*/ 793 h 1509"/>
                <a:gd name="T12" fmla="*/ 507 w 1513"/>
                <a:gd name="T13" fmla="*/ 728 h 1509"/>
                <a:gd name="T14" fmla="*/ 520 w 1513"/>
                <a:gd name="T15" fmla="*/ 668 h 1509"/>
                <a:gd name="T16" fmla="*/ 548 w 1513"/>
                <a:gd name="T17" fmla="*/ 614 h 1509"/>
                <a:gd name="T18" fmla="*/ 587 w 1513"/>
                <a:gd name="T19" fmla="*/ 569 h 1509"/>
                <a:gd name="T20" fmla="*/ 637 w 1513"/>
                <a:gd name="T21" fmla="*/ 533 h 1509"/>
                <a:gd name="T22" fmla="*/ 694 w 1513"/>
                <a:gd name="T23" fmla="*/ 511 h 1509"/>
                <a:gd name="T24" fmla="*/ 757 w 1513"/>
                <a:gd name="T25" fmla="*/ 503 h 1509"/>
                <a:gd name="T26" fmla="*/ 819 w 1513"/>
                <a:gd name="T27" fmla="*/ 511 h 1509"/>
                <a:gd name="T28" fmla="*/ 877 w 1513"/>
                <a:gd name="T29" fmla="*/ 533 h 1509"/>
                <a:gd name="T30" fmla="*/ 926 w 1513"/>
                <a:gd name="T31" fmla="*/ 569 h 1509"/>
                <a:gd name="T32" fmla="*/ 965 w 1513"/>
                <a:gd name="T33" fmla="*/ 614 h 1509"/>
                <a:gd name="T34" fmla="*/ 994 w 1513"/>
                <a:gd name="T35" fmla="*/ 668 h 1509"/>
                <a:gd name="T36" fmla="*/ 1008 w 1513"/>
                <a:gd name="T37" fmla="*/ 728 h 1509"/>
                <a:gd name="T38" fmla="*/ 1006 w 1513"/>
                <a:gd name="T39" fmla="*/ 793 h 1509"/>
                <a:gd name="T40" fmla="*/ 988 w 1513"/>
                <a:gd name="T41" fmla="*/ 852 h 1509"/>
                <a:gd name="T42" fmla="*/ 958 w 1513"/>
                <a:gd name="T43" fmla="*/ 905 h 1509"/>
                <a:gd name="T44" fmla="*/ 917 w 1513"/>
                <a:gd name="T45" fmla="*/ 949 h 1509"/>
                <a:gd name="T46" fmla="*/ 865 w 1513"/>
                <a:gd name="T47" fmla="*/ 981 h 1509"/>
                <a:gd name="T48" fmla="*/ 807 w 1513"/>
                <a:gd name="T49" fmla="*/ 1001 h 1509"/>
                <a:gd name="T50" fmla="*/ 757 w 1513"/>
                <a:gd name="T51" fmla="*/ 0 h 1509"/>
                <a:gd name="T52" fmla="*/ 568 w 1513"/>
                <a:gd name="T53" fmla="*/ 23 h 1509"/>
                <a:gd name="T54" fmla="*/ 397 w 1513"/>
                <a:gd name="T55" fmla="*/ 91 h 1509"/>
                <a:gd name="T56" fmla="*/ 248 w 1513"/>
                <a:gd name="T57" fmla="*/ 196 h 1509"/>
                <a:gd name="T58" fmla="*/ 129 w 1513"/>
                <a:gd name="T59" fmla="*/ 333 h 1509"/>
                <a:gd name="T60" fmla="*/ 47 w 1513"/>
                <a:gd name="T61" fmla="*/ 495 h 1509"/>
                <a:gd name="T62" fmla="*/ 4 w 1513"/>
                <a:gd name="T63" fmla="*/ 677 h 1509"/>
                <a:gd name="T64" fmla="*/ 9 w 1513"/>
                <a:gd name="T65" fmla="*/ 869 h 1509"/>
                <a:gd name="T66" fmla="*/ 60 w 1513"/>
                <a:gd name="T67" fmla="*/ 1048 h 1509"/>
                <a:gd name="T68" fmla="*/ 151 w 1513"/>
                <a:gd name="T69" fmla="*/ 1206 h 1509"/>
                <a:gd name="T70" fmla="*/ 276 w 1513"/>
                <a:gd name="T71" fmla="*/ 1337 h 1509"/>
                <a:gd name="T72" fmla="*/ 429 w 1513"/>
                <a:gd name="T73" fmla="*/ 1435 h 1509"/>
                <a:gd name="T74" fmla="*/ 604 w 1513"/>
                <a:gd name="T75" fmla="*/ 1494 h 1509"/>
                <a:gd name="T76" fmla="*/ 796 w 1513"/>
                <a:gd name="T77" fmla="*/ 1508 h 1509"/>
                <a:gd name="T78" fmla="*/ 981 w 1513"/>
                <a:gd name="T79" fmla="*/ 1475 h 1509"/>
                <a:gd name="T80" fmla="*/ 1149 w 1513"/>
                <a:gd name="T81" fmla="*/ 1399 h 1509"/>
                <a:gd name="T82" fmla="*/ 1291 w 1513"/>
                <a:gd name="T83" fmla="*/ 1288 h 1509"/>
                <a:gd name="T84" fmla="*/ 1404 w 1513"/>
                <a:gd name="T85" fmla="*/ 1146 h 1509"/>
                <a:gd name="T86" fmla="*/ 1478 w 1513"/>
                <a:gd name="T87" fmla="*/ 979 h 1509"/>
                <a:gd name="T88" fmla="*/ 1512 w 1513"/>
                <a:gd name="T89" fmla="*/ 793 h 1509"/>
                <a:gd name="T90" fmla="*/ 1498 w 1513"/>
                <a:gd name="T91" fmla="*/ 603 h 1509"/>
                <a:gd name="T92" fmla="*/ 1438 w 1513"/>
                <a:gd name="T93" fmla="*/ 428 h 1509"/>
                <a:gd name="T94" fmla="*/ 1340 w 1513"/>
                <a:gd name="T95" fmla="*/ 275 h 1509"/>
                <a:gd name="T96" fmla="*/ 1209 w 1513"/>
                <a:gd name="T97" fmla="*/ 150 h 1509"/>
                <a:gd name="T98" fmla="*/ 1051 w 1513"/>
                <a:gd name="T99" fmla="*/ 60 h 1509"/>
                <a:gd name="T100" fmla="*/ 872 w 1513"/>
                <a:gd name="T101" fmla="*/ 8 h 1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13" h="1509">
                  <a:moveTo>
                    <a:pt x="757" y="1006"/>
                  </a:moveTo>
                  <a:lnTo>
                    <a:pt x="743" y="1006"/>
                  </a:lnTo>
                  <a:lnTo>
                    <a:pt x="731" y="1005"/>
                  </a:lnTo>
                  <a:lnTo>
                    <a:pt x="718" y="1003"/>
                  </a:lnTo>
                  <a:lnTo>
                    <a:pt x="706" y="1001"/>
                  </a:lnTo>
                  <a:lnTo>
                    <a:pt x="694" y="998"/>
                  </a:lnTo>
                  <a:lnTo>
                    <a:pt x="682" y="995"/>
                  </a:lnTo>
                  <a:lnTo>
                    <a:pt x="670" y="991"/>
                  </a:lnTo>
                  <a:lnTo>
                    <a:pt x="659" y="986"/>
                  </a:lnTo>
                  <a:lnTo>
                    <a:pt x="648" y="981"/>
                  </a:lnTo>
                  <a:lnTo>
                    <a:pt x="637" y="976"/>
                  </a:lnTo>
                  <a:lnTo>
                    <a:pt x="626" y="970"/>
                  </a:lnTo>
                  <a:lnTo>
                    <a:pt x="616" y="963"/>
                  </a:lnTo>
                  <a:lnTo>
                    <a:pt x="606" y="956"/>
                  </a:lnTo>
                  <a:lnTo>
                    <a:pt x="596" y="949"/>
                  </a:lnTo>
                  <a:lnTo>
                    <a:pt x="587" y="941"/>
                  </a:lnTo>
                  <a:lnTo>
                    <a:pt x="579" y="932"/>
                  </a:lnTo>
                  <a:lnTo>
                    <a:pt x="570" y="924"/>
                  </a:lnTo>
                  <a:lnTo>
                    <a:pt x="563" y="915"/>
                  </a:lnTo>
                  <a:lnTo>
                    <a:pt x="555" y="905"/>
                  </a:lnTo>
                  <a:lnTo>
                    <a:pt x="548" y="894"/>
                  </a:lnTo>
                  <a:lnTo>
                    <a:pt x="542" y="884"/>
                  </a:lnTo>
                  <a:lnTo>
                    <a:pt x="536" y="874"/>
                  </a:lnTo>
                  <a:lnTo>
                    <a:pt x="530" y="863"/>
                  </a:lnTo>
                  <a:lnTo>
                    <a:pt x="525" y="852"/>
                  </a:lnTo>
                  <a:lnTo>
                    <a:pt x="520" y="841"/>
                  </a:lnTo>
                  <a:lnTo>
                    <a:pt x="517" y="829"/>
                  </a:lnTo>
                  <a:lnTo>
                    <a:pt x="513" y="817"/>
                  </a:lnTo>
                  <a:lnTo>
                    <a:pt x="510" y="805"/>
                  </a:lnTo>
                  <a:lnTo>
                    <a:pt x="508" y="793"/>
                  </a:lnTo>
                  <a:lnTo>
                    <a:pt x="507" y="780"/>
                  </a:lnTo>
                  <a:lnTo>
                    <a:pt x="506" y="768"/>
                  </a:lnTo>
                  <a:lnTo>
                    <a:pt x="505" y="755"/>
                  </a:lnTo>
                  <a:lnTo>
                    <a:pt x="506" y="742"/>
                  </a:lnTo>
                  <a:lnTo>
                    <a:pt x="507" y="728"/>
                  </a:lnTo>
                  <a:lnTo>
                    <a:pt x="508" y="716"/>
                  </a:lnTo>
                  <a:lnTo>
                    <a:pt x="510" y="704"/>
                  </a:lnTo>
                  <a:lnTo>
                    <a:pt x="513" y="692"/>
                  </a:lnTo>
                  <a:lnTo>
                    <a:pt x="517" y="680"/>
                  </a:lnTo>
                  <a:lnTo>
                    <a:pt x="520" y="668"/>
                  </a:lnTo>
                  <a:lnTo>
                    <a:pt x="525" y="657"/>
                  </a:lnTo>
                  <a:lnTo>
                    <a:pt x="530" y="646"/>
                  </a:lnTo>
                  <a:lnTo>
                    <a:pt x="536" y="635"/>
                  </a:lnTo>
                  <a:lnTo>
                    <a:pt x="542" y="624"/>
                  </a:lnTo>
                  <a:lnTo>
                    <a:pt x="548" y="614"/>
                  </a:lnTo>
                  <a:lnTo>
                    <a:pt x="555" y="605"/>
                  </a:lnTo>
                  <a:lnTo>
                    <a:pt x="563" y="595"/>
                  </a:lnTo>
                  <a:lnTo>
                    <a:pt x="570" y="586"/>
                  </a:lnTo>
                  <a:lnTo>
                    <a:pt x="579" y="577"/>
                  </a:lnTo>
                  <a:lnTo>
                    <a:pt x="587" y="569"/>
                  </a:lnTo>
                  <a:lnTo>
                    <a:pt x="596" y="560"/>
                  </a:lnTo>
                  <a:lnTo>
                    <a:pt x="606" y="553"/>
                  </a:lnTo>
                  <a:lnTo>
                    <a:pt x="616" y="546"/>
                  </a:lnTo>
                  <a:lnTo>
                    <a:pt x="626" y="539"/>
                  </a:lnTo>
                  <a:lnTo>
                    <a:pt x="637" y="533"/>
                  </a:lnTo>
                  <a:lnTo>
                    <a:pt x="648" y="528"/>
                  </a:lnTo>
                  <a:lnTo>
                    <a:pt x="659" y="523"/>
                  </a:lnTo>
                  <a:lnTo>
                    <a:pt x="670" y="518"/>
                  </a:lnTo>
                  <a:lnTo>
                    <a:pt x="682" y="514"/>
                  </a:lnTo>
                  <a:lnTo>
                    <a:pt x="694" y="511"/>
                  </a:lnTo>
                  <a:lnTo>
                    <a:pt x="706" y="508"/>
                  </a:lnTo>
                  <a:lnTo>
                    <a:pt x="718" y="506"/>
                  </a:lnTo>
                  <a:lnTo>
                    <a:pt x="731" y="504"/>
                  </a:lnTo>
                  <a:lnTo>
                    <a:pt x="743" y="503"/>
                  </a:lnTo>
                  <a:lnTo>
                    <a:pt x="757" y="503"/>
                  </a:lnTo>
                  <a:lnTo>
                    <a:pt x="770" y="503"/>
                  </a:lnTo>
                  <a:lnTo>
                    <a:pt x="783" y="504"/>
                  </a:lnTo>
                  <a:lnTo>
                    <a:pt x="795" y="506"/>
                  </a:lnTo>
                  <a:lnTo>
                    <a:pt x="807" y="508"/>
                  </a:lnTo>
                  <a:lnTo>
                    <a:pt x="819" y="511"/>
                  </a:lnTo>
                  <a:lnTo>
                    <a:pt x="831" y="514"/>
                  </a:lnTo>
                  <a:lnTo>
                    <a:pt x="843" y="518"/>
                  </a:lnTo>
                  <a:lnTo>
                    <a:pt x="854" y="523"/>
                  </a:lnTo>
                  <a:lnTo>
                    <a:pt x="865" y="528"/>
                  </a:lnTo>
                  <a:lnTo>
                    <a:pt x="877" y="533"/>
                  </a:lnTo>
                  <a:lnTo>
                    <a:pt x="888" y="539"/>
                  </a:lnTo>
                  <a:lnTo>
                    <a:pt x="898" y="546"/>
                  </a:lnTo>
                  <a:lnTo>
                    <a:pt x="908" y="553"/>
                  </a:lnTo>
                  <a:lnTo>
                    <a:pt x="917" y="560"/>
                  </a:lnTo>
                  <a:lnTo>
                    <a:pt x="926" y="569"/>
                  </a:lnTo>
                  <a:lnTo>
                    <a:pt x="935" y="577"/>
                  </a:lnTo>
                  <a:lnTo>
                    <a:pt x="943" y="586"/>
                  </a:lnTo>
                  <a:lnTo>
                    <a:pt x="951" y="595"/>
                  </a:lnTo>
                  <a:lnTo>
                    <a:pt x="958" y="605"/>
                  </a:lnTo>
                  <a:lnTo>
                    <a:pt x="965" y="614"/>
                  </a:lnTo>
                  <a:lnTo>
                    <a:pt x="972" y="624"/>
                  </a:lnTo>
                  <a:lnTo>
                    <a:pt x="978" y="635"/>
                  </a:lnTo>
                  <a:lnTo>
                    <a:pt x="983" y="646"/>
                  </a:lnTo>
                  <a:lnTo>
                    <a:pt x="988" y="657"/>
                  </a:lnTo>
                  <a:lnTo>
                    <a:pt x="994" y="668"/>
                  </a:lnTo>
                  <a:lnTo>
                    <a:pt x="998" y="680"/>
                  </a:lnTo>
                  <a:lnTo>
                    <a:pt x="1001" y="692"/>
                  </a:lnTo>
                  <a:lnTo>
                    <a:pt x="1004" y="704"/>
                  </a:lnTo>
                  <a:lnTo>
                    <a:pt x="1006" y="716"/>
                  </a:lnTo>
                  <a:lnTo>
                    <a:pt x="1008" y="728"/>
                  </a:lnTo>
                  <a:lnTo>
                    <a:pt x="1009" y="742"/>
                  </a:lnTo>
                  <a:lnTo>
                    <a:pt x="1009" y="755"/>
                  </a:lnTo>
                  <a:lnTo>
                    <a:pt x="1009" y="768"/>
                  </a:lnTo>
                  <a:lnTo>
                    <a:pt x="1008" y="780"/>
                  </a:lnTo>
                  <a:lnTo>
                    <a:pt x="1006" y="793"/>
                  </a:lnTo>
                  <a:lnTo>
                    <a:pt x="1004" y="805"/>
                  </a:lnTo>
                  <a:lnTo>
                    <a:pt x="1001" y="817"/>
                  </a:lnTo>
                  <a:lnTo>
                    <a:pt x="998" y="829"/>
                  </a:lnTo>
                  <a:lnTo>
                    <a:pt x="994" y="841"/>
                  </a:lnTo>
                  <a:lnTo>
                    <a:pt x="988" y="852"/>
                  </a:lnTo>
                  <a:lnTo>
                    <a:pt x="983" y="863"/>
                  </a:lnTo>
                  <a:lnTo>
                    <a:pt x="978" y="874"/>
                  </a:lnTo>
                  <a:lnTo>
                    <a:pt x="972" y="884"/>
                  </a:lnTo>
                  <a:lnTo>
                    <a:pt x="965" y="894"/>
                  </a:lnTo>
                  <a:lnTo>
                    <a:pt x="958" y="905"/>
                  </a:lnTo>
                  <a:lnTo>
                    <a:pt x="951" y="915"/>
                  </a:lnTo>
                  <a:lnTo>
                    <a:pt x="943" y="924"/>
                  </a:lnTo>
                  <a:lnTo>
                    <a:pt x="935" y="932"/>
                  </a:lnTo>
                  <a:lnTo>
                    <a:pt x="926" y="941"/>
                  </a:lnTo>
                  <a:lnTo>
                    <a:pt x="917" y="949"/>
                  </a:lnTo>
                  <a:lnTo>
                    <a:pt x="908" y="956"/>
                  </a:lnTo>
                  <a:lnTo>
                    <a:pt x="898" y="963"/>
                  </a:lnTo>
                  <a:lnTo>
                    <a:pt x="888" y="970"/>
                  </a:lnTo>
                  <a:lnTo>
                    <a:pt x="877" y="976"/>
                  </a:lnTo>
                  <a:lnTo>
                    <a:pt x="865" y="981"/>
                  </a:lnTo>
                  <a:lnTo>
                    <a:pt x="854" y="986"/>
                  </a:lnTo>
                  <a:lnTo>
                    <a:pt x="843" y="991"/>
                  </a:lnTo>
                  <a:lnTo>
                    <a:pt x="831" y="995"/>
                  </a:lnTo>
                  <a:lnTo>
                    <a:pt x="819" y="998"/>
                  </a:lnTo>
                  <a:lnTo>
                    <a:pt x="807" y="1001"/>
                  </a:lnTo>
                  <a:lnTo>
                    <a:pt x="795" y="1003"/>
                  </a:lnTo>
                  <a:lnTo>
                    <a:pt x="783" y="1005"/>
                  </a:lnTo>
                  <a:lnTo>
                    <a:pt x="770" y="1006"/>
                  </a:lnTo>
                  <a:lnTo>
                    <a:pt x="757" y="1006"/>
                  </a:lnTo>
                  <a:close/>
                  <a:moveTo>
                    <a:pt x="757" y="0"/>
                  </a:moveTo>
                  <a:lnTo>
                    <a:pt x="718" y="1"/>
                  </a:lnTo>
                  <a:lnTo>
                    <a:pt x="679" y="4"/>
                  </a:lnTo>
                  <a:lnTo>
                    <a:pt x="642" y="8"/>
                  </a:lnTo>
                  <a:lnTo>
                    <a:pt x="604" y="15"/>
                  </a:lnTo>
                  <a:lnTo>
                    <a:pt x="568" y="23"/>
                  </a:lnTo>
                  <a:lnTo>
                    <a:pt x="532" y="34"/>
                  </a:lnTo>
                  <a:lnTo>
                    <a:pt x="496" y="45"/>
                  </a:lnTo>
                  <a:lnTo>
                    <a:pt x="462" y="60"/>
                  </a:lnTo>
                  <a:lnTo>
                    <a:pt x="429" y="75"/>
                  </a:lnTo>
                  <a:lnTo>
                    <a:pt x="397" y="91"/>
                  </a:lnTo>
                  <a:lnTo>
                    <a:pt x="364" y="109"/>
                  </a:lnTo>
                  <a:lnTo>
                    <a:pt x="334" y="129"/>
                  </a:lnTo>
                  <a:lnTo>
                    <a:pt x="304" y="150"/>
                  </a:lnTo>
                  <a:lnTo>
                    <a:pt x="276" y="172"/>
                  </a:lnTo>
                  <a:lnTo>
                    <a:pt x="248" y="196"/>
                  </a:lnTo>
                  <a:lnTo>
                    <a:pt x="222" y="221"/>
                  </a:lnTo>
                  <a:lnTo>
                    <a:pt x="197" y="248"/>
                  </a:lnTo>
                  <a:lnTo>
                    <a:pt x="174" y="275"/>
                  </a:lnTo>
                  <a:lnTo>
                    <a:pt x="151" y="303"/>
                  </a:lnTo>
                  <a:lnTo>
                    <a:pt x="129" y="333"/>
                  </a:lnTo>
                  <a:lnTo>
                    <a:pt x="110" y="363"/>
                  </a:lnTo>
                  <a:lnTo>
                    <a:pt x="92" y="395"/>
                  </a:lnTo>
                  <a:lnTo>
                    <a:pt x="75" y="428"/>
                  </a:lnTo>
                  <a:lnTo>
                    <a:pt x="60" y="461"/>
                  </a:lnTo>
                  <a:lnTo>
                    <a:pt x="47" y="495"/>
                  </a:lnTo>
                  <a:lnTo>
                    <a:pt x="35" y="530"/>
                  </a:lnTo>
                  <a:lnTo>
                    <a:pt x="25" y="567"/>
                  </a:lnTo>
                  <a:lnTo>
                    <a:pt x="17" y="603"/>
                  </a:lnTo>
                  <a:lnTo>
                    <a:pt x="9" y="640"/>
                  </a:lnTo>
                  <a:lnTo>
                    <a:pt x="4" y="677"/>
                  </a:lnTo>
                  <a:lnTo>
                    <a:pt x="1" y="715"/>
                  </a:lnTo>
                  <a:lnTo>
                    <a:pt x="0" y="755"/>
                  </a:lnTo>
                  <a:lnTo>
                    <a:pt x="1" y="793"/>
                  </a:lnTo>
                  <a:lnTo>
                    <a:pt x="4" y="832"/>
                  </a:lnTo>
                  <a:lnTo>
                    <a:pt x="9" y="869"/>
                  </a:lnTo>
                  <a:lnTo>
                    <a:pt x="17" y="907"/>
                  </a:lnTo>
                  <a:lnTo>
                    <a:pt x="25" y="943"/>
                  </a:lnTo>
                  <a:lnTo>
                    <a:pt x="35" y="979"/>
                  </a:lnTo>
                  <a:lnTo>
                    <a:pt x="47" y="1014"/>
                  </a:lnTo>
                  <a:lnTo>
                    <a:pt x="60" y="1048"/>
                  </a:lnTo>
                  <a:lnTo>
                    <a:pt x="75" y="1082"/>
                  </a:lnTo>
                  <a:lnTo>
                    <a:pt x="92" y="1114"/>
                  </a:lnTo>
                  <a:lnTo>
                    <a:pt x="110" y="1146"/>
                  </a:lnTo>
                  <a:lnTo>
                    <a:pt x="129" y="1176"/>
                  </a:lnTo>
                  <a:lnTo>
                    <a:pt x="151" y="1206"/>
                  </a:lnTo>
                  <a:lnTo>
                    <a:pt x="174" y="1234"/>
                  </a:lnTo>
                  <a:lnTo>
                    <a:pt x="197" y="1262"/>
                  </a:lnTo>
                  <a:lnTo>
                    <a:pt x="222" y="1288"/>
                  </a:lnTo>
                  <a:lnTo>
                    <a:pt x="248" y="1313"/>
                  </a:lnTo>
                  <a:lnTo>
                    <a:pt x="276" y="1337"/>
                  </a:lnTo>
                  <a:lnTo>
                    <a:pt x="304" y="1359"/>
                  </a:lnTo>
                  <a:lnTo>
                    <a:pt x="334" y="1380"/>
                  </a:lnTo>
                  <a:lnTo>
                    <a:pt x="364" y="1399"/>
                  </a:lnTo>
                  <a:lnTo>
                    <a:pt x="397" y="1418"/>
                  </a:lnTo>
                  <a:lnTo>
                    <a:pt x="429" y="1435"/>
                  </a:lnTo>
                  <a:lnTo>
                    <a:pt x="462" y="1450"/>
                  </a:lnTo>
                  <a:lnTo>
                    <a:pt x="496" y="1463"/>
                  </a:lnTo>
                  <a:lnTo>
                    <a:pt x="532" y="1475"/>
                  </a:lnTo>
                  <a:lnTo>
                    <a:pt x="568" y="1485"/>
                  </a:lnTo>
                  <a:lnTo>
                    <a:pt x="604" y="1494"/>
                  </a:lnTo>
                  <a:lnTo>
                    <a:pt x="642" y="1500"/>
                  </a:lnTo>
                  <a:lnTo>
                    <a:pt x="679" y="1505"/>
                  </a:lnTo>
                  <a:lnTo>
                    <a:pt x="718" y="1508"/>
                  </a:lnTo>
                  <a:lnTo>
                    <a:pt x="757" y="1509"/>
                  </a:lnTo>
                  <a:lnTo>
                    <a:pt x="796" y="1508"/>
                  </a:lnTo>
                  <a:lnTo>
                    <a:pt x="834" y="1505"/>
                  </a:lnTo>
                  <a:lnTo>
                    <a:pt x="872" y="1500"/>
                  </a:lnTo>
                  <a:lnTo>
                    <a:pt x="909" y="1494"/>
                  </a:lnTo>
                  <a:lnTo>
                    <a:pt x="945" y="1485"/>
                  </a:lnTo>
                  <a:lnTo>
                    <a:pt x="981" y="1475"/>
                  </a:lnTo>
                  <a:lnTo>
                    <a:pt x="1017" y="1463"/>
                  </a:lnTo>
                  <a:lnTo>
                    <a:pt x="1051" y="1450"/>
                  </a:lnTo>
                  <a:lnTo>
                    <a:pt x="1084" y="1435"/>
                  </a:lnTo>
                  <a:lnTo>
                    <a:pt x="1118" y="1418"/>
                  </a:lnTo>
                  <a:lnTo>
                    <a:pt x="1149" y="1399"/>
                  </a:lnTo>
                  <a:lnTo>
                    <a:pt x="1179" y="1380"/>
                  </a:lnTo>
                  <a:lnTo>
                    <a:pt x="1209" y="1359"/>
                  </a:lnTo>
                  <a:lnTo>
                    <a:pt x="1237" y="1337"/>
                  </a:lnTo>
                  <a:lnTo>
                    <a:pt x="1265" y="1313"/>
                  </a:lnTo>
                  <a:lnTo>
                    <a:pt x="1291" y="1288"/>
                  </a:lnTo>
                  <a:lnTo>
                    <a:pt x="1316" y="1262"/>
                  </a:lnTo>
                  <a:lnTo>
                    <a:pt x="1340" y="1234"/>
                  </a:lnTo>
                  <a:lnTo>
                    <a:pt x="1363" y="1206"/>
                  </a:lnTo>
                  <a:lnTo>
                    <a:pt x="1384" y="1176"/>
                  </a:lnTo>
                  <a:lnTo>
                    <a:pt x="1404" y="1146"/>
                  </a:lnTo>
                  <a:lnTo>
                    <a:pt x="1422" y="1114"/>
                  </a:lnTo>
                  <a:lnTo>
                    <a:pt x="1438" y="1082"/>
                  </a:lnTo>
                  <a:lnTo>
                    <a:pt x="1453" y="1048"/>
                  </a:lnTo>
                  <a:lnTo>
                    <a:pt x="1467" y="1014"/>
                  </a:lnTo>
                  <a:lnTo>
                    <a:pt x="1478" y="979"/>
                  </a:lnTo>
                  <a:lnTo>
                    <a:pt x="1490" y="943"/>
                  </a:lnTo>
                  <a:lnTo>
                    <a:pt x="1498" y="907"/>
                  </a:lnTo>
                  <a:lnTo>
                    <a:pt x="1505" y="869"/>
                  </a:lnTo>
                  <a:lnTo>
                    <a:pt x="1509" y="832"/>
                  </a:lnTo>
                  <a:lnTo>
                    <a:pt x="1512" y="793"/>
                  </a:lnTo>
                  <a:lnTo>
                    <a:pt x="1513" y="755"/>
                  </a:lnTo>
                  <a:lnTo>
                    <a:pt x="1512" y="715"/>
                  </a:lnTo>
                  <a:lnTo>
                    <a:pt x="1509" y="677"/>
                  </a:lnTo>
                  <a:lnTo>
                    <a:pt x="1505" y="640"/>
                  </a:lnTo>
                  <a:lnTo>
                    <a:pt x="1498" y="603"/>
                  </a:lnTo>
                  <a:lnTo>
                    <a:pt x="1490" y="567"/>
                  </a:lnTo>
                  <a:lnTo>
                    <a:pt x="1478" y="530"/>
                  </a:lnTo>
                  <a:lnTo>
                    <a:pt x="1467" y="495"/>
                  </a:lnTo>
                  <a:lnTo>
                    <a:pt x="1453" y="461"/>
                  </a:lnTo>
                  <a:lnTo>
                    <a:pt x="1438" y="428"/>
                  </a:lnTo>
                  <a:lnTo>
                    <a:pt x="1422" y="395"/>
                  </a:lnTo>
                  <a:lnTo>
                    <a:pt x="1404" y="363"/>
                  </a:lnTo>
                  <a:lnTo>
                    <a:pt x="1384" y="333"/>
                  </a:lnTo>
                  <a:lnTo>
                    <a:pt x="1363" y="303"/>
                  </a:lnTo>
                  <a:lnTo>
                    <a:pt x="1340" y="275"/>
                  </a:lnTo>
                  <a:lnTo>
                    <a:pt x="1316" y="248"/>
                  </a:lnTo>
                  <a:lnTo>
                    <a:pt x="1291" y="221"/>
                  </a:lnTo>
                  <a:lnTo>
                    <a:pt x="1265" y="196"/>
                  </a:lnTo>
                  <a:lnTo>
                    <a:pt x="1237" y="172"/>
                  </a:lnTo>
                  <a:lnTo>
                    <a:pt x="1209" y="150"/>
                  </a:lnTo>
                  <a:lnTo>
                    <a:pt x="1179" y="129"/>
                  </a:lnTo>
                  <a:lnTo>
                    <a:pt x="1149" y="109"/>
                  </a:lnTo>
                  <a:lnTo>
                    <a:pt x="1118" y="91"/>
                  </a:lnTo>
                  <a:lnTo>
                    <a:pt x="1084" y="75"/>
                  </a:lnTo>
                  <a:lnTo>
                    <a:pt x="1051" y="60"/>
                  </a:lnTo>
                  <a:lnTo>
                    <a:pt x="1017" y="45"/>
                  </a:lnTo>
                  <a:lnTo>
                    <a:pt x="981" y="34"/>
                  </a:lnTo>
                  <a:lnTo>
                    <a:pt x="945" y="23"/>
                  </a:lnTo>
                  <a:lnTo>
                    <a:pt x="909" y="15"/>
                  </a:lnTo>
                  <a:lnTo>
                    <a:pt x="872" y="8"/>
                  </a:lnTo>
                  <a:lnTo>
                    <a:pt x="834" y="4"/>
                  </a:lnTo>
                  <a:lnTo>
                    <a:pt x="796" y="1"/>
                  </a:lnTo>
                  <a:lnTo>
                    <a:pt x="7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84" name="ï$lïḋé">
              <a:extLst>
                <a:ext uri="{FF2B5EF4-FFF2-40B4-BE49-F238E27FC236}">
                  <a16:creationId xmlns:a16="http://schemas.microsoft.com/office/drawing/2014/main" id="{4D96A89B-388E-435B-8DEF-B263E9C25679}"/>
                </a:ext>
              </a:extLst>
            </p:cNvPr>
            <p:cNvSpPr/>
            <p:nvPr/>
          </p:nvSpPr>
          <p:spPr bwMode="auto">
            <a:xfrm>
              <a:off x="3645957" y="689771"/>
              <a:ext cx="373600" cy="398323"/>
            </a:xfrm>
            <a:custGeom>
              <a:avLst/>
              <a:gdLst>
                <a:gd name="T0" fmla="*/ 14069 w 15096"/>
                <a:gd name="T1" fmla="*/ 14285 h 16095"/>
                <a:gd name="T2" fmla="*/ 13990 w 15096"/>
                <a:gd name="T3" fmla="*/ 14519 h 16095"/>
                <a:gd name="T4" fmla="*/ 13859 w 15096"/>
                <a:gd name="T5" fmla="*/ 14723 h 16095"/>
                <a:gd name="T6" fmla="*/ 13685 w 15096"/>
                <a:gd name="T7" fmla="*/ 14889 h 16095"/>
                <a:gd name="T8" fmla="*/ 13475 w 15096"/>
                <a:gd name="T9" fmla="*/ 15010 h 16095"/>
                <a:gd name="T10" fmla="*/ 13236 w 15096"/>
                <a:gd name="T11" fmla="*/ 15077 h 16095"/>
                <a:gd name="T12" fmla="*/ 1961 w 15096"/>
                <a:gd name="T13" fmla="*/ 15088 h 16095"/>
                <a:gd name="T14" fmla="*/ 1714 w 15096"/>
                <a:gd name="T15" fmla="*/ 15044 h 16095"/>
                <a:gd name="T16" fmla="*/ 1491 w 15096"/>
                <a:gd name="T17" fmla="*/ 14943 h 16095"/>
                <a:gd name="T18" fmla="*/ 1301 w 15096"/>
                <a:gd name="T19" fmla="*/ 14794 h 16095"/>
                <a:gd name="T20" fmla="*/ 1152 w 15096"/>
                <a:gd name="T21" fmla="*/ 14604 h 16095"/>
                <a:gd name="T22" fmla="*/ 1052 w 15096"/>
                <a:gd name="T23" fmla="*/ 14382 h 16095"/>
                <a:gd name="T24" fmla="*/ 1007 w 15096"/>
                <a:gd name="T25" fmla="*/ 14134 h 16095"/>
                <a:gd name="T26" fmla="*/ 1018 w 15096"/>
                <a:gd name="T27" fmla="*/ 1859 h 16095"/>
                <a:gd name="T28" fmla="*/ 1086 w 15096"/>
                <a:gd name="T29" fmla="*/ 1621 h 16095"/>
                <a:gd name="T30" fmla="*/ 1207 w 15096"/>
                <a:gd name="T31" fmla="*/ 1410 h 16095"/>
                <a:gd name="T32" fmla="*/ 1373 w 15096"/>
                <a:gd name="T33" fmla="*/ 1236 h 16095"/>
                <a:gd name="T34" fmla="*/ 1577 w 15096"/>
                <a:gd name="T35" fmla="*/ 1106 h 16095"/>
                <a:gd name="T36" fmla="*/ 1811 w 15096"/>
                <a:gd name="T37" fmla="*/ 1026 h 16095"/>
                <a:gd name="T38" fmla="*/ 13083 w 15096"/>
                <a:gd name="T39" fmla="*/ 1006 h 16095"/>
                <a:gd name="T40" fmla="*/ 13335 w 15096"/>
                <a:gd name="T41" fmla="*/ 1038 h 16095"/>
                <a:gd name="T42" fmla="*/ 13562 w 15096"/>
                <a:gd name="T43" fmla="*/ 1128 h 16095"/>
                <a:gd name="T44" fmla="*/ 13760 w 15096"/>
                <a:gd name="T45" fmla="*/ 1267 h 16095"/>
                <a:gd name="T46" fmla="*/ 13918 w 15096"/>
                <a:gd name="T47" fmla="*/ 1450 h 16095"/>
                <a:gd name="T48" fmla="*/ 14028 w 15096"/>
                <a:gd name="T49" fmla="*/ 1667 h 16095"/>
                <a:gd name="T50" fmla="*/ 14085 w 15096"/>
                <a:gd name="T51" fmla="*/ 1909 h 16095"/>
                <a:gd name="T52" fmla="*/ 2013 w 15096"/>
                <a:gd name="T53" fmla="*/ 0 h 16095"/>
                <a:gd name="T54" fmla="*/ 1510 w 15096"/>
                <a:gd name="T55" fmla="*/ 63 h 16095"/>
                <a:gd name="T56" fmla="*/ 1054 w 15096"/>
                <a:gd name="T57" fmla="*/ 242 h 16095"/>
                <a:gd name="T58" fmla="*/ 659 w 15096"/>
                <a:gd name="T59" fmla="*/ 523 h 16095"/>
                <a:gd name="T60" fmla="*/ 344 w 15096"/>
                <a:gd name="T61" fmla="*/ 887 h 16095"/>
                <a:gd name="T62" fmla="*/ 122 w 15096"/>
                <a:gd name="T63" fmla="*/ 1320 h 16095"/>
                <a:gd name="T64" fmla="*/ 10 w 15096"/>
                <a:gd name="T65" fmla="*/ 1807 h 16095"/>
                <a:gd name="T66" fmla="*/ 10 w 15096"/>
                <a:gd name="T67" fmla="*/ 14289 h 16095"/>
                <a:gd name="T68" fmla="*/ 122 w 15096"/>
                <a:gd name="T69" fmla="*/ 14775 h 16095"/>
                <a:gd name="T70" fmla="*/ 344 w 15096"/>
                <a:gd name="T71" fmla="*/ 15208 h 16095"/>
                <a:gd name="T72" fmla="*/ 659 w 15096"/>
                <a:gd name="T73" fmla="*/ 15572 h 16095"/>
                <a:gd name="T74" fmla="*/ 1054 w 15096"/>
                <a:gd name="T75" fmla="*/ 15853 h 16095"/>
                <a:gd name="T76" fmla="*/ 1510 w 15096"/>
                <a:gd name="T77" fmla="*/ 16032 h 16095"/>
                <a:gd name="T78" fmla="*/ 2013 w 15096"/>
                <a:gd name="T79" fmla="*/ 16095 h 16095"/>
                <a:gd name="T80" fmla="*/ 13489 w 15096"/>
                <a:gd name="T81" fmla="*/ 16054 h 16095"/>
                <a:gd name="T82" fmla="*/ 13956 w 15096"/>
                <a:gd name="T83" fmla="*/ 15897 h 16095"/>
                <a:gd name="T84" fmla="*/ 14363 w 15096"/>
                <a:gd name="T85" fmla="*/ 15635 h 16095"/>
                <a:gd name="T86" fmla="*/ 14696 w 15096"/>
                <a:gd name="T87" fmla="*/ 15287 h 16095"/>
                <a:gd name="T88" fmla="*/ 14938 w 15096"/>
                <a:gd name="T89" fmla="*/ 14867 h 16095"/>
                <a:gd name="T90" fmla="*/ 15073 w 15096"/>
                <a:gd name="T91" fmla="*/ 14390 h 16095"/>
                <a:gd name="T92" fmla="*/ 15093 w 15096"/>
                <a:gd name="T93" fmla="*/ 1908 h 16095"/>
                <a:gd name="T94" fmla="*/ 15005 w 15096"/>
                <a:gd name="T95" fmla="*/ 1413 h 16095"/>
                <a:gd name="T96" fmla="*/ 14804 w 15096"/>
                <a:gd name="T97" fmla="*/ 969 h 16095"/>
                <a:gd name="T98" fmla="*/ 14506 w 15096"/>
                <a:gd name="T99" fmla="*/ 589 h 16095"/>
                <a:gd name="T100" fmla="*/ 14127 w 15096"/>
                <a:gd name="T101" fmla="*/ 292 h 16095"/>
                <a:gd name="T102" fmla="*/ 13682 w 15096"/>
                <a:gd name="T103" fmla="*/ 91 h 16095"/>
                <a:gd name="T104" fmla="*/ 13187 w 15096"/>
                <a:gd name="T105" fmla="*/ 3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096" h="16095">
                  <a:moveTo>
                    <a:pt x="14090" y="14083"/>
                  </a:moveTo>
                  <a:lnTo>
                    <a:pt x="14089" y="14134"/>
                  </a:lnTo>
                  <a:lnTo>
                    <a:pt x="14085" y="14186"/>
                  </a:lnTo>
                  <a:lnTo>
                    <a:pt x="14079" y="14236"/>
                  </a:lnTo>
                  <a:lnTo>
                    <a:pt x="14069" y="14285"/>
                  </a:lnTo>
                  <a:lnTo>
                    <a:pt x="14058" y="14334"/>
                  </a:lnTo>
                  <a:lnTo>
                    <a:pt x="14044" y="14382"/>
                  </a:lnTo>
                  <a:lnTo>
                    <a:pt x="14028" y="14428"/>
                  </a:lnTo>
                  <a:lnTo>
                    <a:pt x="14010" y="14474"/>
                  </a:lnTo>
                  <a:lnTo>
                    <a:pt x="13990" y="14519"/>
                  </a:lnTo>
                  <a:lnTo>
                    <a:pt x="13968" y="14562"/>
                  </a:lnTo>
                  <a:lnTo>
                    <a:pt x="13944" y="14604"/>
                  </a:lnTo>
                  <a:lnTo>
                    <a:pt x="13918" y="14645"/>
                  </a:lnTo>
                  <a:lnTo>
                    <a:pt x="13889" y="14685"/>
                  </a:lnTo>
                  <a:lnTo>
                    <a:pt x="13859" y="14723"/>
                  </a:lnTo>
                  <a:lnTo>
                    <a:pt x="13828" y="14759"/>
                  </a:lnTo>
                  <a:lnTo>
                    <a:pt x="13795" y="14794"/>
                  </a:lnTo>
                  <a:lnTo>
                    <a:pt x="13760" y="14828"/>
                  </a:lnTo>
                  <a:lnTo>
                    <a:pt x="13723" y="14859"/>
                  </a:lnTo>
                  <a:lnTo>
                    <a:pt x="13685" y="14889"/>
                  </a:lnTo>
                  <a:lnTo>
                    <a:pt x="13646" y="14917"/>
                  </a:lnTo>
                  <a:lnTo>
                    <a:pt x="13605" y="14943"/>
                  </a:lnTo>
                  <a:lnTo>
                    <a:pt x="13562" y="14967"/>
                  </a:lnTo>
                  <a:lnTo>
                    <a:pt x="13519" y="14989"/>
                  </a:lnTo>
                  <a:lnTo>
                    <a:pt x="13475" y="15010"/>
                  </a:lnTo>
                  <a:lnTo>
                    <a:pt x="13428" y="15028"/>
                  </a:lnTo>
                  <a:lnTo>
                    <a:pt x="13382" y="15044"/>
                  </a:lnTo>
                  <a:lnTo>
                    <a:pt x="13335" y="15057"/>
                  </a:lnTo>
                  <a:lnTo>
                    <a:pt x="13285" y="15069"/>
                  </a:lnTo>
                  <a:lnTo>
                    <a:pt x="13236" y="15077"/>
                  </a:lnTo>
                  <a:lnTo>
                    <a:pt x="13186" y="15084"/>
                  </a:lnTo>
                  <a:lnTo>
                    <a:pt x="13135" y="15088"/>
                  </a:lnTo>
                  <a:lnTo>
                    <a:pt x="13083" y="15089"/>
                  </a:lnTo>
                  <a:lnTo>
                    <a:pt x="2013" y="15089"/>
                  </a:lnTo>
                  <a:lnTo>
                    <a:pt x="1961" y="15088"/>
                  </a:lnTo>
                  <a:lnTo>
                    <a:pt x="1910" y="15084"/>
                  </a:lnTo>
                  <a:lnTo>
                    <a:pt x="1860" y="15077"/>
                  </a:lnTo>
                  <a:lnTo>
                    <a:pt x="1811" y="15069"/>
                  </a:lnTo>
                  <a:lnTo>
                    <a:pt x="1761" y="15057"/>
                  </a:lnTo>
                  <a:lnTo>
                    <a:pt x="1714" y="15044"/>
                  </a:lnTo>
                  <a:lnTo>
                    <a:pt x="1667" y="15028"/>
                  </a:lnTo>
                  <a:lnTo>
                    <a:pt x="1621" y="15010"/>
                  </a:lnTo>
                  <a:lnTo>
                    <a:pt x="1577" y="14989"/>
                  </a:lnTo>
                  <a:lnTo>
                    <a:pt x="1534" y="14967"/>
                  </a:lnTo>
                  <a:lnTo>
                    <a:pt x="1491" y="14943"/>
                  </a:lnTo>
                  <a:lnTo>
                    <a:pt x="1450" y="14917"/>
                  </a:lnTo>
                  <a:lnTo>
                    <a:pt x="1411" y="14889"/>
                  </a:lnTo>
                  <a:lnTo>
                    <a:pt x="1373" y="14859"/>
                  </a:lnTo>
                  <a:lnTo>
                    <a:pt x="1336" y="14828"/>
                  </a:lnTo>
                  <a:lnTo>
                    <a:pt x="1301" y="14794"/>
                  </a:lnTo>
                  <a:lnTo>
                    <a:pt x="1268" y="14759"/>
                  </a:lnTo>
                  <a:lnTo>
                    <a:pt x="1237" y="14723"/>
                  </a:lnTo>
                  <a:lnTo>
                    <a:pt x="1207" y="14685"/>
                  </a:lnTo>
                  <a:lnTo>
                    <a:pt x="1178" y="14645"/>
                  </a:lnTo>
                  <a:lnTo>
                    <a:pt x="1152" y="14604"/>
                  </a:lnTo>
                  <a:lnTo>
                    <a:pt x="1128" y="14562"/>
                  </a:lnTo>
                  <a:lnTo>
                    <a:pt x="1106" y="14519"/>
                  </a:lnTo>
                  <a:lnTo>
                    <a:pt x="1086" y="14474"/>
                  </a:lnTo>
                  <a:lnTo>
                    <a:pt x="1068" y="14428"/>
                  </a:lnTo>
                  <a:lnTo>
                    <a:pt x="1052" y="14382"/>
                  </a:lnTo>
                  <a:lnTo>
                    <a:pt x="1039" y="14334"/>
                  </a:lnTo>
                  <a:lnTo>
                    <a:pt x="1027" y="14285"/>
                  </a:lnTo>
                  <a:lnTo>
                    <a:pt x="1018" y="14236"/>
                  </a:lnTo>
                  <a:lnTo>
                    <a:pt x="1011" y="14186"/>
                  </a:lnTo>
                  <a:lnTo>
                    <a:pt x="1007" y="14134"/>
                  </a:lnTo>
                  <a:lnTo>
                    <a:pt x="1006" y="14083"/>
                  </a:lnTo>
                  <a:lnTo>
                    <a:pt x="1006" y="2012"/>
                  </a:lnTo>
                  <a:lnTo>
                    <a:pt x="1007" y="1961"/>
                  </a:lnTo>
                  <a:lnTo>
                    <a:pt x="1011" y="1909"/>
                  </a:lnTo>
                  <a:lnTo>
                    <a:pt x="1018" y="1859"/>
                  </a:lnTo>
                  <a:lnTo>
                    <a:pt x="1027" y="1810"/>
                  </a:lnTo>
                  <a:lnTo>
                    <a:pt x="1039" y="1760"/>
                  </a:lnTo>
                  <a:lnTo>
                    <a:pt x="1052" y="1713"/>
                  </a:lnTo>
                  <a:lnTo>
                    <a:pt x="1068" y="1667"/>
                  </a:lnTo>
                  <a:lnTo>
                    <a:pt x="1086" y="1621"/>
                  </a:lnTo>
                  <a:lnTo>
                    <a:pt x="1106" y="1576"/>
                  </a:lnTo>
                  <a:lnTo>
                    <a:pt x="1128" y="1533"/>
                  </a:lnTo>
                  <a:lnTo>
                    <a:pt x="1152" y="1491"/>
                  </a:lnTo>
                  <a:lnTo>
                    <a:pt x="1178" y="1450"/>
                  </a:lnTo>
                  <a:lnTo>
                    <a:pt x="1207" y="1410"/>
                  </a:lnTo>
                  <a:lnTo>
                    <a:pt x="1237" y="1372"/>
                  </a:lnTo>
                  <a:lnTo>
                    <a:pt x="1268" y="1336"/>
                  </a:lnTo>
                  <a:lnTo>
                    <a:pt x="1301" y="1301"/>
                  </a:lnTo>
                  <a:lnTo>
                    <a:pt x="1336" y="1267"/>
                  </a:lnTo>
                  <a:lnTo>
                    <a:pt x="1373" y="1236"/>
                  </a:lnTo>
                  <a:lnTo>
                    <a:pt x="1411" y="1206"/>
                  </a:lnTo>
                  <a:lnTo>
                    <a:pt x="1450" y="1178"/>
                  </a:lnTo>
                  <a:lnTo>
                    <a:pt x="1491" y="1152"/>
                  </a:lnTo>
                  <a:lnTo>
                    <a:pt x="1534" y="1128"/>
                  </a:lnTo>
                  <a:lnTo>
                    <a:pt x="1577" y="1106"/>
                  </a:lnTo>
                  <a:lnTo>
                    <a:pt x="1621" y="1085"/>
                  </a:lnTo>
                  <a:lnTo>
                    <a:pt x="1667" y="1067"/>
                  </a:lnTo>
                  <a:lnTo>
                    <a:pt x="1714" y="1051"/>
                  </a:lnTo>
                  <a:lnTo>
                    <a:pt x="1761" y="1038"/>
                  </a:lnTo>
                  <a:lnTo>
                    <a:pt x="1811" y="1026"/>
                  </a:lnTo>
                  <a:lnTo>
                    <a:pt x="1860" y="1018"/>
                  </a:lnTo>
                  <a:lnTo>
                    <a:pt x="1910" y="1011"/>
                  </a:lnTo>
                  <a:lnTo>
                    <a:pt x="1961" y="1007"/>
                  </a:lnTo>
                  <a:lnTo>
                    <a:pt x="2013" y="1006"/>
                  </a:lnTo>
                  <a:lnTo>
                    <a:pt x="13083" y="1006"/>
                  </a:lnTo>
                  <a:lnTo>
                    <a:pt x="13135" y="1007"/>
                  </a:lnTo>
                  <a:lnTo>
                    <a:pt x="13186" y="1011"/>
                  </a:lnTo>
                  <a:lnTo>
                    <a:pt x="13236" y="1018"/>
                  </a:lnTo>
                  <a:lnTo>
                    <a:pt x="13285" y="1026"/>
                  </a:lnTo>
                  <a:lnTo>
                    <a:pt x="13335" y="1038"/>
                  </a:lnTo>
                  <a:lnTo>
                    <a:pt x="13382" y="1051"/>
                  </a:lnTo>
                  <a:lnTo>
                    <a:pt x="13428" y="1067"/>
                  </a:lnTo>
                  <a:lnTo>
                    <a:pt x="13475" y="1085"/>
                  </a:lnTo>
                  <a:lnTo>
                    <a:pt x="13519" y="1106"/>
                  </a:lnTo>
                  <a:lnTo>
                    <a:pt x="13562" y="1128"/>
                  </a:lnTo>
                  <a:lnTo>
                    <a:pt x="13605" y="1152"/>
                  </a:lnTo>
                  <a:lnTo>
                    <a:pt x="13646" y="1178"/>
                  </a:lnTo>
                  <a:lnTo>
                    <a:pt x="13685" y="1206"/>
                  </a:lnTo>
                  <a:lnTo>
                    <a:pt x="13723" y="1236"/>
                  </a:lnTo>
                  <a:lnTo>
                    <a:pt x="13760" y="1267"/>
                  </a:lnTo>
                  <a:lnTo>
                    <a:pt x="13795" y="1301"/>
                  </a:lnTo>
                  <a:lnTo>
                    <a:pt x="13828" y="1336"/>
                  </a:lnTo>
                  <a:lnTo>
                    <a:pt x="13859" y="1372"/>
                  </a:lnTo>
                  <a:lnTo>
                    <a:pt x="13889" y="1410"/>
                  </a:lnTo>
                  <a:lnTo>
                    <a:pt x="13918" y="1450"/>
                  </a:lnTo>
                  <a:lnTo>
                    <a:pt x="13944" y="1491"/>
                  </a:lnTo>
                  <a:lnTo>
                    <a:pt x="13968" y="1533"/>
                  </a:lnTo>
                  <a:lnTo>
                    <a:pt x="13990" y="1576"/>
                  </a:lnTo>
                  <a:lnTo>
                    <a:pt x="14010" y="1621"/>
                  </a:lnTo>
                  <a:lnTo>
                    <a:pt x="14028" y="1667"/>
                  </a:lnTo>
                  <a:lnTo>
                    <a:pt x="14044" y="1713"/>
                  </a:lnTo>
                  <a:lnTo>
                    <a:pt x="14058" y="1760"/>
                  </a:lnTo>
                  <a:lnTo>
                    <a:pt x="14069" y="1810"/>
                  </a:lnTo>
                  <a:lnTo>
                    <a:pt x="14079" y="1859"/>
                  </a:lnTo>
                  <a:lnTo>
                    <a:pt x="14085" y="1909"/>
                  </a:lnTo>
                  <a:lnTo>
                    <a:pt x="14089" y="1961"/>
                  </a:lnTo>
                  <a:lnTo>
                    <a:pt x="14090" y="2012"/>
                  </a:lnTo>
                  <a:lnTo>
                    <a:pt x="14090" y="14083"/>
                  </a:lnTo>
                  <a:close/>
                  <a:moveTo>
                    <a:pt x="13083" y="0"/>
                  </a:moveTo>
                  <a:lnTo>
                    <a:pt x="2013" y="0"/>
                  </a:lnTo>
                  <a:lnTo>
                    <a:pt x="1909" y="3"/>
                  </a:lnTo>
                  <a:lnTo>
                    <a:pt x="1806" y="10"/>
                  </a:lnTo>
                  <a:lnTo>
                    <a:pt x="1706" y="23"/>
                  </a:lnTo>
                  <a:lnTo>
                    <a:pt x="1607" y="41"/>
                  </a:lnTo>
                  <a:lnTo>
                    <a:pt x="1510" y="63"/>
                  </a:lnTo>
                  <a:lnTo>
                    <a:pt x="1414" y="91"/>
                  </a:lnTo>
                  <a:lnTo>
                    <a:pt x="1320" y="122"/>
                  </a:lnTo>
                  <a:lnTo>
                    <a:pt x="1229" y="158"/>
                  </a:lnTo>
                  <a:lnTo>
                    <a:pt x="1140" y="198"/>
                  </a:lnTo>
                  <a:lnTo>
                    <a:pt x="1054" y="242"/>
                  </a:lnTo>
                  <a:lnTo>
                    <a:pt x="969" y="292"/>
                  </a:lnTo>
                  <a:lnTo>
                    <a:pt x="888" y="344"/>
                  </a:lnTo>
                  <a:lnTo>
                    <a:pt x="808" y="399"/>
                  </a:lnTo>
                  <a:lnTo>
                    <a:pt x="733" y="460"/>
                  </a:lnTo>
                  <a:lnTo>
                    <a:pt x="659" y="523"/>
                  </a:lnTo>
                  <a:lnTo>
                    <a:pt x="590" y="589"/>
                  </a:lnTo>
                  <a:lnTo>
                    <a:pt x="523" y="659"/>
                  </a:lnTo>
                  <a:lnTo>
                    <a:pt x="460" y="732"/>
                  </a:lnTo>
                  <a:lnTo>
                    <a:pt x="400" y="808"/>
                  </a:lnTo>
                  <a:lnTo>
                    <a:pt x="344" y="887"/>
                  </a:lnTo>
                  <a:lnTo>
                    <a:pt x="292" y="969"/>
                  </a:lnTo>
                  <a:lnTo>
                    <a:pt x="243" y="1053"/>
                  </a:lnTo>
                  <a:lnTo>
                    <a:pt x="198" y="1140"/>
                  </a:lnTo>
                  <a:lnTo>
                    <a:pt x="158" y="1229"/>
                  </a:lnTo>
                  <a:lnTo>
                    <a:pt x="122" y="1320"/>
                  </a:lnTo>
                  <a:lnTo>
                    <a:pt x="91" y="1413"/>
                  </a:lnTo>
                  <a:lnTo>
                    <a:pt x="63" y="1509"/>
                  </a:lnTo>
                  <a:lnTo>
                    <a:pt x="41" y="1606"/>
                  </a:lnTo>
                  <a:lnTo>
                    <a:pt x="23" y="1705"/>
                  </a:lnTo>
                  <a:lnTo>
                    <a:pt x="10" y="1807"/>
                  </a:lnTo>
                  <a:lnTo>
                    <a:pt x="3" y="1908"/>
                  </a:lnTo>
                  <a:lnTo>
                    <a:pt x="0" y="2012"/>
                  </a:lnTo>
                  <a:lnTo>
                    <a:pt x="0" y="14083"/>
                  </a:lnTo>
                  <a:lnTo>
                    <a:pt x="3" y="14187"/>
                  </a:lnTo>
                  <a:lnTo>
                    <a:pt x="10" y="14289"/>
                  </a:lnTo>
                  <a:lnTo>
                    <a:pt x="23" y="14390"/>
                  </a:lnTo>
                  <a:lnTo>
                    <a:pt x="41" y="14489"/>
                  </a:lnTo>
                  <a:lnTo>
                    <a:pt x="63" y="14586"/>
                  </a:lnTo>
                  <a:lnTo>
                    <a:pt x="91" y="14682"/>
                  </a:lnTo>
                  <a:lnTo>
                    <a:pt x="122" y="14775"/>
                  </a:lnTo>
                  <a:lnTo>
                    <a:pt x="158" y="14867"/>
                  </a:lnTo>
                  <a:lnTo>
                    <a:pt x="198" y="14955"/>
                  </a:lnTo>
                  <a:lnTo>
                    <a:pt x="243" y="15042"/>
                  </a:lnTo>
                  <a:lnTo>
                    <a:pt x="292" y="15126"/>
                  </a:lnTo>
                  <a:lnTo>
                    <a:pt x="344" y="15208"/>
                  </a:lnTo>
                  <a:lnTo>
                    <a:pt x="400" y="15287"/>
                  </a:lnTo>
                  <a:lnTo>
                    <a:pt x="460" y="15363"/>
                  </a:lnTo>
                  <a:lnTo>
                    <a:pt x="523" y="15436"/>
                  </a:lnTo>
                  <a:lnTo>
                    <a:pt x="590" y="15506"/>
                  </a:lnTo>
                  <a:lnTo>
                    <a:pt x="659" y="15572"/>
                  </a:lnTo>
                  <a:lnTo>
                    <a:pt x="733" y="15635"/>
                  </a:lnTo>
                  <a:lnTo>
                    <a:pt x="808" y="15696"/>
                  </a:lnTo>
                  <a:lnTo>
                    <a:pt x="888" y="15751"/>
                  </a:lnTo>
                  <a:lnTo>
                    <a:pt x="969" y="15803"/>
                  </a:lnTo>
                  <a:lnTo>
                    <a:pt x="1054" y="15853"/>
                  </a:lnTo>
                  <a:lnTo>
                    <a:pt x="1140" y="15897"/>
                  </a:lnTo>
                  <a:lnTo>
                    <a:pt x="1229" y="15937"/>
                  </a:lnTo>
                  <a:lnTo>
                    <a:pt x="1320" y="15973"/>
                  </a:lnTo>
                  <a:lnTo>
                    <a:pt x="1414" y="16004"/>
                  </a:lnTo>
                  <a:lnTo>
                    <a:pt x="1510" y="16032"/>
                  </a:lnTo>
                  <a:lnTo>
                    <a:pt x="1607" y="16054"/>
                  </a:lnTo>
                  <a:lnTo>
                    <a:pt x="1706" y="16072"/>
                  </a:lnTo>
                  <a:lnTo>
                    <a:pt x="1806" y="16085"/>
                  </a:lnTo>
                  <a:lnTo>
                    <a:pt x="1909" y="16092"/>
                  </a:lnTo>
                  <a:lnTo>
                    <a:pt x="2013" y="16095"/>
                  </a:lnTo>
                  <a:lnTo>
                    <a:pt x="13083" y="16095"/>
                  </a:lnTo>
                  <a:lnTo>
                    <a:pt x="13187" y="16092"/>
                  </a:lnTo>
                  <a:lnTo>
                    <a:pt x="13289" y="16085"/>
                  </a:lnTo>
                  <a:lnTo>
                    <a:pt x="13390" y="16072"/>
                  </a:lnTo>
                  <a:lnTo>
                    <a:pt x="13489" y="16054"/>
                  </a:lnTo>
                  <a:lnTo>
                    <a:pt x="13586" y="16032"/>
                  </a:lnTo>
                  <a:lnTo>
                    <a:pt x="13682" y="16004"/>
                  </a:lnTo>
                  <a:lnTo>
                    <a:pt x="13776" y="15973"/>
                  </a:lnTo>
                  <a:lnTo>
                    <a:pt x="13866" y="15937"/>
                  </a:lnTo>
                  <a:lnTo>
                    <a:pt x="13956" y="15897"/>
                  </a:lnTo>
                  <a:lnTo>
                    <a:pt x="14042" y="15853"/>
                  </a:lnTo>
                  <a:lnTo>
                    <a:pt x="14127" y="15803"/>
                  </a:lnTo>
                  <a:lnTo>
                    <a:pt x="14208" y="15751"/>
                  </a:lnTo>
                  <a:lnTo>
                    <a:pt x="14288" y="15696"/>
                  </a:lnTo>
                  <a:lnTo>
                    <a:pt x="14363" y="15635"/>
                  </a:lnTo>
                  <a:lnTo>
                    <a:pt x="14437" y="15572"/>
                  </a:lnTo>
                  <a:lnTo>
                    <a:pt x="14506" y="15506"/>
                  </a:lnTo>
                  <a:lnTo>
                    <a:pt x="14573" y="15436"/>
                  </a:lnTo>
                  <a:lnTo>
                    <a:pt x="14636" y="15363"/>
                  </a:lnTo>
                  <a:lnTo>
                    <a:pt x="14696" y="15287"/>
                  </a:lnTo>
                  <a:lnTo>
                    <a:pt x="14752" y="15208"/>
                  </a:lnTo>
                  <a:lnTo>
                    <a:pt x="14804" y="15126"/>
                  </a:lnTo>
                  <a:lnTo>
                    <a:pt x="14853" y="15042"/>
                  </a:lnTo>
                  <a:lnTo>
                    <a:pt x="14898" y="14955"/>
                  </a:lnTo>
                  <a:lnTo>
                    <a:pt x="14938" y="14867"/>
                  </a:lnTo>
                  <a:lnTo>
                    <a:pt x="14974" y="14775"/>
                  </a:lnTo>
                  <a:lnTo>
                    <a:pt x="15005" y="14682"/>
                  </a:lnTo>
                  <a:lnTo>
                    <a:pt x="15033" y="14586"/>
                  </a:lnTo>
                  <a:lnTo>
                    <a:pt x="15055" y="14489"/>
                  </a:lnTo>
                  <a:lnTo>
                    <a:pt x="15073" y="14390"/>
                  </a:lnTo>
                  <a:lnTo>
                    <a:pt x="15086" y="14289"/>
                  </a:lnTo>
                  <a:lnTo>
                    <a:pt x="15093" y="14187"/>
                  </a:lnTo>
                  <a:lnTo>
                    <a:pt x="15096" y="14083"/>
                  </a:lnTo>
                  <a:lnTo>
                    <a:pt x="15096" y="2012"/>
                  </a:lnTo>
                  <a:lnTo>
                    <a:pt x="15093" y="1908"/>
                  </a:lnTo>
                  <a:lnTo>
                    <a:pt x="15086" y="1807"/>
                  </a:lnTo>
                  <a:lnTo>
                    <a:pt x="15073" y="1705"/>
                  </a:lnTo>
                  <a:lnTo>
                    <a:pt x="15055" y="1606"/>
                  </a:lnTo>
                  <a:lnTo>
                    <a:pt x="15033" y="1509"/>
                  </a:lnTo>
                  <a:lnTo>
                    <a:pt x="15005" y="1413"/>
                  </a:lnTo>
                  <a:lnTo>
                    <a:pt x="14974" y="1320"/>
                  </a:lnTo>
                  <a:lnTo>
                    <a:pt x="14938" y="1229"/>
                  </a:lnTo>
                  <a:lnTo>
                    <a:pt x="14898" y="1140"/>
                  </a:lnTo>
                  <a:lnTo>
                    <a:pt x="14853" y="1053"/>
                  </a:lnTo>
                  <a:lnTo>
                    <a:pt x="14804" y="969"/>
                  </a:lnTo>
                  <a:lnTo>
                    <a:pt x="14752" y="887"/>
                  </a:lnTo>
                  <a:lnTo>
                    <a:pt x="14696" y="808"/>
                  </a:lnTo>
                  <a:lnTo>
                    <a:pt x="14636" y="732"/>
                  </a:lnTo>
                  <a:lnTo>
                    <a:pt x="14573" y="659"/>
                  </a:lnTo>
                  <a:lnTo>
                    <a:pt x="14506" y="589"/>
                  </a:lnTo>
                  <a:lnTo>
                    <a:pt x="14437" y="523"/>
                  </a:lnTo>
                  <a:lnTo>
                    <a:pt x="14363" y="460"/>
                  </a:lnTo>
                  <a:lnTo>
                    <a:pt x="14288" y="399"/>
                  </a:lnTo>
                  <a:lnTo>
                    <a:pt x="14208" y="344"/>
                  </a:lnTo>
                  <a:lnTo>
                    <a:pt x="14127" y="292"/>
                  </a:lnTo>
                  <a:lnTo>
                    <a:pt x="14042" y="242"/>
                  </a:lnTo>
                  <a:lnTo>
                    <a:pt x="13956" y="198"/>
                  </a:lnTo>
                  <a:lnTo>
                    <a:pt x="13866" y="158"/>
                  </a:lnTo>
                  <a:lnTo>
                    <a:pt x="13776" y="122"/>
                  </a:lnTo>
                  <a:lnTo>
                    <a:pt x="13682" y="91"/>
                  </a:lnTo>
                  <a:lnTo>
                    <a:pt x="13586" y="63"/>
                  </a:lnTo>
                  <a:lnTo>
                    <a:pt x="13489" y="41"/>
                  </a:lnTo>
                  <a:lnTo>
                    <a:pt x="13390" y="23"/>
                  </a:lnTo>
                  <a:lnTo>
                    <a:pt x="13289" y="10"/>
                  </a:lnTo>
                  <a:lnTo>
                    <a:pt x="13187" y="3"/>
                  </a:lnTo>
                  <a:lnTo>
                    <a:pt x="1308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85" name="ïSlîḓê">
              <a:extLst>
                <a:ext uri="{FF2B5EF4-FFF2-40B4-BE49-F238E27FC236}">
                  <a16:creationId xmlns:a16="http://schemas.microsoft.com/office/drawing/2014/main" id="{5F5C34BD-D651-408E-9E9C-03F254BCE325}"/>
                </a:ext>
              </a:extLst>
            </p:cNvPr>
            <p:cNvSpPr/>
            <p:nvPr/>
          </p:nvSpPr>
          <p:spPr bwMode="auto">
            <a:xfrm>
              <a:off x="3695404" y="739218"/>
              <a:ext cx="274706" cy="249066"/>
            </a:xfrm>
            <a:custGeom>
              <a:avLst/>
              <a:gdLst>
                <a:gd name="T0" fmla="*/ 10567 w 11070"/>
                <a:gd name="T1" fmla="*/ 8239 h 10059"/>
                <a:gd name="T2" fmla="*/ 2516 w 11070"/>
                <a:gd name="T3" fmla="*/ 3018 h 10059"/>
                <a:gd name="T4" fmla="*/ 503 w 11070"/>
                <a:gd name="T5" fmla="*/ 9556 h 10059"/>
                <a:gd name="T6" fmla="*/ 8932 w 11070"/>
                <a:gd name="T7" fmla="*/ 5703 h 10059"/>
                <a:gd name="T8" fmla="*/ 8852 w 11070"/>
                <a:gd name="T9" fmla="*/ 5630 h 10059"/>
                <a:gd name="T10" fmla="*/ 8762 w 11070"/>
                <a:gd name="T11" fmla="*/ 5577 h 10059"/>
                <a:gd name="T12" fmla="*/ 8661 w 11070"/>
                <a:gd name="T13" fmla="*/ 5544 h 10059"/>
                <a:gd name="T14" fmla="*/ 8554 w 11070"/>
                <a:gd name="T15" fmla="*/ 5533 h 10059"/>
                <a:gd name="T16" fmla="*/ 8448 w 11070"/>
                <a:gd name="T17" fmla="*/ 5544 h 10059"/>
                <a:gd name="T18" fmla="*/ 8347 w 11070"/>
                <a:gd name="T19" fmla="*/ 5577 h 10059"/>
                <a:gd name="T20" fmla="*/ 8256 w 11070"/>
                <a:gd name="T21" fmla="*/ 5630 h 10059"/>
                <a:gd name="T22" fmla="*/ 8177 w 11070"/>
                <a:gd name="T23" fmla="*/ 5703 h 10059"/>
                <a:gd name="T24" fmla="*/ 2856 w 11070"/>
                <a:gd name="T25" fmla="*/ 2646 h 10059"/>
                <a:gd name="T26" fmla="*/ 2769 w 11070"/>
                <a:gd name="T27" fmla="*/ 2583 h 10059"/>
                <a:gd name="T28" fmla="*/ 2674 w 11070"/>
                <a:gd name="T29" fmla="*/ 2540 h 10059"/>
                <a:gd name="T30" fmla="*/ 2570 w 11070"/>
                <a:gd name="T31" fmla="*/ 2518 h 10059"/>
                <a:gd name="T32" fmla="*/ 2462 w 11070"/>
                <a:gd name="T33" fmla="*/ 2518 h 10059"/>
                <a:gd name="T34" fmla="*/ 2358 w 11070"/>
                <a:gd name="T35" fmla="*/ 2540 h 10059"/>
                <a:gd name="T36" fmla="*/ 2262 w 11070"/>
                <a:gd name="T37" fmla="*/ 2583 h 10059"/>
                <a:gd name="T38" fmla="*/ 2177 w 11070"/>
                <a:gd name="T39" fmla="*/ 2646 h 10059"/>
                <a:gd name="T40" fmla="*/ 503 w 11070"/>
                <a:gd name="T41" fmla="*/ 503 h 10059"/>
                <a:gd name="T42" fmla="*/ 477 w 11070"/>
                <a:gd name="T43" fmla="*/ 1 h 10059"/>
                <a:gd name="T44" fmla="*/ 377 w 11070"/>
                <a:gd name="T45" fmla="*/ 16 h 10059"/>
                <a:gd name="T46" fmla="*/ 285 w 11070"/>
                <a:gd name="T47" fmla="*/ 49 h 10059"/>
                <a:gd name="T48" fmla="*/ 202 w 11070"/>
                <a:gd name="T49" fmla="*/ 99 h 10059"/>
                <a:gd name="T50" fmla="*/ 131 w 11070"/>
                <a:gd name="T51" fmla="*/ 165 h 10059"/>
                <a:gd name="T52" fmla="*/ 72 w 11070"/>
                <a:gd name="T53" fmla="*/ 242 h 10059"/>
                <a:gd name="T54" fmla="*/ 30 w 11070"/>
                <a:gd name="T55" fmla="*/ 330 h 10059"/>
                <a:gd name="T56" fmla="*/ 6 w 11070"/>
                <a:gd name="T57" fmla="*/ 426 h 10059"/>
                <a:gd name="T58" fmla="*/ 0 w 11070"/>
                <a:gd name="T59" fmla="*/ 9556 h 10059"/>
                <a:gd name="T60" fmla="*/ 10 w 11070"/>
                <a:gd name="T61" fmla="*/ 9658 h 10059"/>
                <a:gd name="T62" fmla="*/ 39 w 11070"/>
                <a:gd name="T63" fmla="*/ 9752 h 10059"/>
                <a:gd name="T64" fmla="*/ 85 w 11070"/>
                <a:gd name="T65" fmla="*/ 9838 h 10059"/>
                <a:gd name="T66" fmla="*/ 147 w 11070"/>
                <a:gd name="T67" fmla="*/ 9912 h 10059"/>
                <a:gd name="T68" fmla="*/ 221 w 11070"/>
                <a:gd name="T69" fmla="*/ 9974 h 10059"/>
                <a:gd name="T70" fmla="*/ 307 w 11070"/>
                <a:gd name="T71" fmla="*/ 10020 h 10059"/>
                <a:gd name="T72" fmla="*/ 401 w 11070"/>
                <a:gd name="T73" fmla="*/ 10049 h 10059"/>
                <a:gd name="T74" fmla="*/ 503 w 11070"/>
                <a:gd name="T75" fmla="*/ 10059 h 10059"/>
                <a:gd name="T76" fmla="*/ 10643 w 11070"/>
                <a:gd name="T77" fmla="*/ 10053 h 10059"/>
                <a:gd name="T78" fmla="*/ 10740 w 11070"/>
                <a:gd name="T79" fmla="*/ 10029 h 10059"/>
                <a:gd name="T80" fmla="*/ 10829 w 11070"/>
                <a:gd name="T81" fmla="*/ 9987 h 10059"/>
                <a:gd name="T82" fmla="*/ 10905 w 11070"/>
                <a:gd name="T83" fmla="*/ 9928 h 10059"/>
                <a:gd name="T84" fmla="*/ 10971 w 11070"/>
                <a:gd name="T85" fmla="*/ 9857 h 10059"/>
                <a:gd name="T86" fmla="*/ 11021 w 11070"/>
                <a:gd name="T87" fmla="*/ 9775 h 10059"/>
                <a:gd name="T88" fmla="*/ 11054 w 11070"/>
                <a:gd name="T89" fmla="*/ 9682 h 10059"/>
                <a:gd name="T90" fmla="*/ 11069 w 11070"/>
                <a:gd name="T91" fmla="*/ 9582 h 10059"/>
                <a:gd name="T92" fmla="*/ 11068 w 11070"/>
                <a:gd name="T93" fmla="*/ 452 h 10059"/>
                <a:gd name="T94" fmla="*/ 11048 w 11070"/>
                <a:gd name="T95" fmla="*/ 353 h 10059"/>
                <a:gd name="T96" fmla="*/ 11010 w 11070"/>
                <a:gd name="T97" fmla="*/ 263 h 10059"/>
                <a:gd name="T98" fmla="*/ 10955 w 11070"/>
                <a:gd name="T99" fmla="*/ 183 h 10059"/>
                <a:gd name="T100" fmla="*/ 10887 w 11070"/>
                <a:gd name="T101" fmla="*/ 115 h 10059"/>
                <a:gd name="T102" fmla="*/ 10808 w 11070"/>
                <a:gd name="T103" fmla="*/ 60 h 10059"/>
                <a:gd name="T104" fmla="*/ 10717 w 11070"/>
                <a:gd name="T105" fmla="*/ 22 h 10059"/>
                <a:gd name="T106" fmla="*/ 10618 w 11070"/>
                <a:gd name="T107" fmla="*/ 3 h 10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070" h="10059">
                  <a:moveTo>
                    <a:pt x="8928" y="9556"/>
                  </a:moveTo>
                  <a:lnTo>
                    <a:pt x="7203" y="7568"/>
                  </a:lnTo>
                  <a:lnTo>
                    <a:pt x="8554" y="6036"/>
                  </a:lnTo>
                  <a:lnTo>
                    <a:pt x="10567" y="8239"/>
                  </a:lnTo>
                  <a:lnTo>
                    <a:pt x="10567" y="9556"/>
                  </a:lnTo>
                  <a:lnTo>
                    <a:pt x="8928" y="9556"/>
                  </a:lnTo>
                  <a:close/>
                  <a:moveTo>
                    <a:pt x="503" y="5330"/>
                  </a:moveTo>
                  <a:lnTo>
                    <a:pt x="2516" y="3018"/>
                  </a:lnTo>
                  <a:lnTo>
                    <a:pt x="6575" y="7616"/>
                  </a:lnTo>
                  <a:lnTo>
                    <a:pt x="6866" y="7948"/>
                  </a:lnTo>
                  <a:lnTo>
                    <a:pt x="8256" y="9556"/>
                  </a:lnTo>
                  <a:lnTo>
                    <a:pt x="503" y="9556"/>
                  </a:lnTo>
                  <a:lnTo>
                    <a:pt x="503" y="5330"/>
                  </a:lnTo>
                  <a:close/>
                  <a:moveTo>
                    <a:pt x="10567" y="503"/>
                  </a:moveTo>
                  <a:lnTo>
                    <a:pt x="10567" y="7479"/>
                  </a:lnTo>
                  <a:lnTo>
                    <a:pt x="8932" y="5703"/>
                  </a:lnTo>
                  <a:lnTo>
                    <a:pt x="8913" y="5682"/>
                  </a:lnTo>
                  <a:lnTo>
                    <a:pt x="8894" y="5664"/>
                  </a:lnTo>
                  <a:lnTo>
                    <a:pt x="8873" y="5647"/>
                  </a:lnTo>
                  <a:lnTo>
                    <a:pt x="8852" y="5630"/>
                  </a:lnTo>
                  <a:lnTo>
                    <a:pt x="8831" y="5615"/>
                  </a:lnTo>
                  <a:lnTo>
                    <a:pt x="8808" y="5601"/>
                  </a:lnTo>
                  <a:lnTo>
                    <a:pt x="8785" y="5589"/>
                  </a:lnTo>
                  <a:lnTo>
                    <a:pt x="8762" y="5577"/>
                  </a:lnTo>
                  <a:lnTo>
                    <a:pt x="8736" y="5567"/>
                  </a:lnTo>
                  <a:lnTo>
                    <a:pt x="8712" y="5558"/>
                  </a:lnTo>
                  <a:lnTo>
                    <a:pt x="8686" y="5551"/>
                  </a:lnTo>
                  <a:lnTo>
                    <a:pt x="8661" y="5544"/>
                  </a:lnTo>
                  <a:lnTo>
                    <a:pt x="8635" y="5539"/>
                  </a:lnTo>
                  <a:lnTo>
                    <a:pt x="8608" y="5536"/>
                  </a:lnTo>
                  <a:lnTo>
                    <a:pt x="8581" y="5534"/>
                  </a:lnTo>
                  <a:lnTo>
                    <a:pt x="8554" y="5533"/>
                  </a:lnTo>
                  <a:lnTo>
                    <a:pt x="8527" y="5534"/>
                  </a:lnTo>
                  <a:lnTo>
                    <a:pt x="8501" y="5536"/>
                  </a:lnTo>
                  <a:lnTo>
                    <a:pt x="8474" y="5539"/>
                  </a:lnTo>
                  <a:lnTo>
                    <a:pt x="8448" y="5544"/>
                  </a:lnTo>
                  <a:lnTo>
                    <a:pt x="8422" y="5551"/>
                  </a:lnTo>
                  <a:lnTo>
                    <a:pt x="8396" y="5558"/>
                  </a:lnTo>
                  <a:lnTo>
                    <a:pt x="8372" y="5567"/>
                  </a:lnTo>
                  <a:lnTo>
                    <a:pt x="8347" y="5577"/>
                  </a:lnTo>
                  <a:lnTo>
                    <a:pt x="8324" y="5589"/>
                  </a:lnTo>
                  <a:lnTo>
                    <a:pt x="8301" y="5601"/>
                  </a:lnTo>
                  <a:lnTo>
                    <a:pt x="8277" y="5615"/>
                  </a:lnTo>
                  <a:lnTo>
                    <a:pt x="8256" y="5630"/>
                  </a:lnTo>
                  <a:lnTo>
                    <a:pt x="8235" y="5647"/>
                  </a:lnTo>
                  <a:lnTo>
                    <a:pt x="8215" y="5664"/>
                  </a:lnTo>
                  <a:lnTo>
                    <a:pt x="8195" y="5682"/>
                  </a:lnTo>
                  <a:lnTo>
                    <a:pt x="8177" y="5703"/>
                  </a:lnTo>
                  <a:lnTo>
                    <a:pt x="6867" y="7187"/>
                  </a:lnTo>
                  <a:lnTo>
                    <a:pt x="2893" y="2685"/>
                  </a:lnTo>
                  <a:lnTo>
                    <a:pt x="2875" y="2665"/>
                  </a:lnTo>
                  <a:lnTo>
                    <a:pt x="2856" y="2646"/>
                  </a:lnTo>
                  <a:lnTo>
                    <a:pt x="2835" y="2629"/>
                  </a:lnTo>
                  <a:lnTo>
                    <a:pt x="2814" y="2612"/>
                  </a:lnTo>
                  <a:lnTo>
                    <a:pt x="2793" y="2597"/>
                  </a:lnTo>
                  <a:lnTo>
                    <a:pt x="2769" y="2583"/>
                  </a:lnTo>
                  <a:lnTo>
                    <a:pt x="2746" y="2571"/>
                  </a:lnTo>
                  <a:lnTo>
                    <a:pt x="2723" y="2559"/>
                  </a:lnTo>
                  <a:lnTo>
                    <a:pt x="2698" y="2549"/>
                  </a:lnTo>
                  <a:lnTo>
                    <a:pt x="2674" y="2540"/>
                  </a:lnTo>
                  <a:lnTo>
                    <a:pt x="2648" y="2533"/>
                  </a:lnTo>
                  <a:lnTo>
                    <a:pt x="2622" y="2526"/>
                  </a:lnTo>
                  <a:lnTo>
                    <a:pt x="2596" y="2521"/>
                  </a:lnTo>
                  <a:lnTo>
                    <a:pt x="2570" y="2518"/>
                  </a:lnTo>
                  <a:lnTo>
                    <a:pt x="2543" y="2516"/>
                  </a:lnTo>
                  <a:lnTo>
                    <a:pt x="2516" y="2515"/>
                  </a:lnTo>
                  <a:lnTo>
                    <a:pt x="2489" y="2516"/>
                  </a:lnTo>
                  <a:lnTo>
                    <a:pt x="2462" y="2518"/>
                  </a:lnTo>
                  <a:lnTo>
                    <a:pt x="2435" y="2521"/>
                  </a:lnTo>
                  <a:lnTo>
                    <a:pt x="2409" y="2526"/>
                  </a:lnTo>
                  <a:lnTo>
                    <a:pt x="2384" y="2533"/>
                  </a:lnTo>
                  <a:lnTo>
                    <a:pt x="2358" y="2540"/>
                  </a:lnTo>
                  <a:lnTo>
                    <a:pt x="2334" y="2549"/>
                  </a:lnTo>
                  <a:lnTo>
                    <a:pt x="2308" y="2559"/>
                  </a:lnTo>
                  <a:lnTo>
                    <a:pt x="2285" y="2571"/>
                  </a:lnTo>
                  <a:lnTo>
                    <a:pt x="2262" y="2583"/>
                  </a:lnTo>
                  <a:lnTo>
                    <a:pt x="2239" y="2597"/>
                  </a:lnTo>
                  <a:lnTo>
                    <a:pt x="2218" y="2612"/>
                  </a:lnTo>
                  <a:lnTo>
                    <a:pt x="2197" y="2629"/>
                  </a:lnTo>
                  <a:lnTo>
                    <a:pt x="2177" y="2646"/>
                  </a:lnTo>
                  <a:lnTo>
                    <a:pt x="2157" y="2665"/>
                  </a:lnTo>
                  <a:lnTo>
                    <a:pt x="2138" y="2685"/>
                  </a:lnTo>
                  <a:lnTo>
                    <a:pt x="503" y="4570"/>
                  </a:lnTo>
                  <a:lnTo>
                    <a:pt x="503" y="503"/>
                  </a:lnTo>
                  <a:lnTo>
                    <a:pt x="10567" y="503"/>
                  </a:lnTo>
                  <a:close/>
                  <a:moveTo>
                    <a:pt x="10567" y="0"/>
                  </a:moveTo>
                  <a:lnTo>
                    <a:pt x="503" y="0"/>
                  </a:lnTo>
                  <a:lnTo>
                    <a:pt x="477" y="1"/>
                  </a:lnTo>
                  <a:lnTo>
                    <a:pt x="452" y="3"/>
                  </a:lnTo>
                  <a:lnTo>
                    <a:pt x="427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5" y="49"/>
                  </a:lnTo>
                  <a:lnTo>
                    <a:pt x="263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99" y="202"/>
                  </a:lnTo>
                  <a:lnTo>
                    <a:pt x="85" y="221"/>
                  </a:lnTo>
                  <a:lnTo>
                    <a:pt x="72" y="242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3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0" y="9556"/>
                  </a:lnTo>
                  <a:lnTo>
                    <a:pt x="1" y="9582"/>
                  </a:lnTo>
                  <a:lnTo>
                    <a:pt x="3" y="9608"/>
                  </a:lnTo>
                  <a:lnTo>
                    <a:pt x="6" y="9633"/>
                  </a:lnTo>
                  <a:lnTo>
                    <a:pt x="10" y="9658"/>
                  </a:lnTo>
                  <a:lnTo>
                    <a:pt x="16" y="9682"/>
                  </a:lnTo>
                  <a:lnTo>
                    <a:pt x="23" y="9706"/>
                  </a:lnTo>
                  <a:lnTo>
                    <a:pt x="30" y="9729"/>
                  </a:lnTo>
                  <a:lnTo>
                    <a:pt x="39" y="9752"/>
                  </a:lnTo>
                  <a:lnTo>
                    <a:pt x="49" y="9775"/>
                  </a:lnTo>
                  <a:lnTo>
                    <a:pt x="60" y="9797"/>
                  </a:lnTo>
                  <a:lnTo>
                    <a:pt x="72" y="9817"/>
                  </a:lnTo>
                  <a:lnTo>
                    <a:pt x="85" y="9838"/>
                  </a:lnTo>
                  <a:lnTo>
                    <a:pt x="99" y="9857"/>
                  </a:lnTo>
                  <a:lnTo>
                    <a:pt x="115" y="9876"/>
                  </a:lnTo>
                  <a:lnTo>
                    <a:pt x="131" y="9894"/>
                  </a:lnTo>
                  <a:lnTo>
                    <a:pt x="147" y="9912"/>
                  </a:lnTo>
                  <a:lnTo>
                    <a:pt x="165" y="9928"/>
                  </a:lnTo>
                  <a:lnTo>
                    <a:pt x="183" y="9945"/>
                  </a:lnTo>
                  <a:lnTo>
                    <a:pt x="202" y="9960"/>
                  </a:lnTo>
                  <a:lnTo>
                    <a:pt x="221" y="9974"/>
                  </a:lnTo>
                  <a:lnTo>
                    <a:pt x="242" y="9987"/>
                  </a:lnTo>
                  <a:lnTo>
                    <a:pt x="263" y="9999"/>
                  </a:lnTo>
                  <a:lnTo>
                    <a:pt x="285" y="10010"/>
                  </a:lnTo>
                  <a:lnTo>
                    <a:pt x="307" y="10020"/>
                  </a:lnTo>
                  <a:lnTo>
                    <a:pt x="330" y="10029"/>
                  </a:lnTo>
                  <a:lnTo>
                    <a:pt x="353" y="10037"/>
                  </a:lnTo>
                  <a:lnTo>
                    <a:pt x="377" y="10043"/>
                  </a:lnTo>
                  <a:lnTo>
                    <a:pt x="401" y="10049"/>
                  </a:lnTo>
                  <a:lnTo>
                    <a:pt x="427" y="10053"/>
                  </a:lnTo>
                  <a:lnTo>
                    <a:pt x="452" y="10056"/>
                  </a:lnTo>
                  <a:lnTo>
                    <a:pt x="477" y="10058"/>
                  </a:lnTo>
                  <a:lnTo>
                    <a:pt x="503" y="10059"/>
                  </a:lnTo>
                  <a:lnTo>
                    <a:pt x="10567" y="10059"/>
                  </a:lnTo>
                  <a:lnTo>
                    <a:pt x="10593" y="10058"/>
                  </a:lnTo>
                  <a:lnTo>
                    <a:pt x="10618" y="10056"/>
                  </a:lnTo>
                  <a:lnTo>
                    <a:pt x="10643" y="10053"/>
                  </a:lnTo>
                  <a:lnTo>
                    <a:pt x="10669" y="10049"/>
                  </a:lnTo>
                  <a:lnTo>
                    <a:pt x="10693" y="10043"/>
                  </a:lnTo>
                  <a:lnTo>
                    <a:pt x="10717" y="10037"/>
                  </a:lnTo>
                  <a:lnTo>
                    <a:pt x="10740" y="10029"/>
                  </a:lnTo>
                  <a:lnTo>
                    <a:pt x="10763" y="10020"/>
                  </a:lnTo>
                  <a:lnTo>
                    <a:pt x="10785" y="10010"/>
                  </a:lnTo>
                  <a:lnTo>
                    <a:pt x="10808" y="9999"/>
                  </a:lnTo>
                  <a:lnTo>
                    <a:pt x="10829" y="9987"/>
                  </a:lnTo>
                  <a:lnTo>
                    <a:pt x="10849" y="9974"/>
                  </a:lnTo>
                  <a:lnTo>
                    <a:pt x="10868" y="9960"/>
                  </a:lnTo>
                  <a:lnTo>
                    <a:pt x="10887" y="9945"/>
                  </a:lnTo>
                  <a:lnTo>
                    <a:pt x="10905" y="9928"/>
                  </a:lnTo>
                  <a:lnTo>
                    <a:pt x="10923" y="9912"/>
                  </a:lnTo>
                  <a:lnTo>
                    <a:pt x="10939" y="9894"/>
                  </a:lnTo>
                  <a:lnTo>
                    <a:pt x="10955" y="9876"/>
                  </a:lnTo>
                  <a:lnTo>
                    <a:pt x="10971" y="9857"/>
                  </a:lnTo>
                  <a:lnTo>
                    <a:pt x="10985" y="9838"/>
                  </a:lnTo>
                  <a:lnTo>
                    <a:pt x="10998" y="9817"/>
                  </a:lnTo>
                  <a:lnTo>
                    <a:pt x="11010" y="9797"/>
                  </a:lnTo>
                  <a:lnTo>
                    <a:pt x="11021" y="9775"/>
                  </a:lnTo>
                  <a:lnTo>
                    <a:pt x="11031" y="9752"/>
                  </a:lnTo>
                  <a:lnTo>
                    <a:pt x="11040" y="9729"/>
                  </a:lnTo>
                  <a:lnTo>
                    <a:pt x="11048" y="9706"/>
                  </a:lnTo>
                  <a:lnTo>
                    <a:pt x="11054" y="9682"/>
                  </a:lnTo>
                  <a:lnTo>
                    <a:pt x="11060" y="9658"/>
                  </a:lnTo>
                  <a:lnTo>
                    <a:pt x="11064" y="9633"/>
                  </a:lnTo>
                  <a:lnTo>
                    <a:pt x="11068" y="9608"/>
                  </a:lnTo>
                  <a:lnTo>
                    <a:pt x="11069" y="9582"/>
                  </a:lnTo>
                  <a:lnTo>
                    <a:pt x="11070" y="9556"/>
                  </a:lnTo>
                  <a:lnTo>
                    <a:pt x="11070" y="503"/>
                  </a:lnTo>
                  <a:lnTo>
                    <a:pt x="11069" y="477"/>
                  </a:lnTo>
                  <a:lnTo>
                    <a:pt x="11068" y="452"/>
                  </a:lnTo>
                  <a:lnTo>
                    <a:pt x="11064" y="426"/>
                  </a:lnTo>
                  <a:lnTo>
                    <a:pt x="11060" y="401"/>
                  </a:lnTo>
                  <a:lnTo>
                    <a:pt x="11054" y="377"/>
                  </a:lnTo>
                  <a:lnTo>
                    <a:pt x="11048" y="353"/>
                  </a:lnTo>
                  <a:lnTo>
                    <a:pt x="11040" y="330"/>
                  </a:lnTo>
                  <a:lnTo>
                    <a:pt x="11031" y="307"/>
                  </a:lnTo>
                  <a:lnTo>
                    <a:pt x="11021" y="285"/>
                  </a:lnTo>
                  <a:lnTo>
                    <a:pt x="11010" y="263"/>
                  </a:lnTo>
                  <a:lnTo>
                    <a:pt x="10998" y="242"/>
                  </a:lnTo>
                  <a:lnTo>
                    <a:pt x="10985" y="221"/>
                  </a:lnTo>
                  <a:lnTo>
                    <a:pt x="10971" y="202"/>
                  </a:lnTo>
                  <a:lnTo>
                    <a:pt x="10955" y="183"/>
                  </a:lnTo>
                  <a:lnTo>
                    <a:pt x="10939" y="165"/>
                  </a:lnTo>
                  <a:lnTo>
                    <a:pt x="10923" y="147"/>
                  </a:lnTo>
                  <a:lnTo>
                    <a:pt x="10905" y="131"/>
                  </a:lnTo>
                  <a:lnTo>
                    <a:pt x="10887" y="115"/>
                  </a:lnTo>
                  <a:lnTo>
                    <a:pt x="10868" y="99"/>
                  </a:lnTo>
                  <a:lnTo>
                    <a:pt x="10849" y="85"/>
                  </a:lnTo>
                  <a:lnTo>
                    <a:pt x="10829" y="72"/>
                  </a:lnTo>
                  <a:lnTo>
                    <a:pt x="10808" y="60"/>
                  </a:lnTo>
                  <a:lnTo>
                    <a:pt x="10785" y="49"/>
                  </a:lnTo>
                  <a:lnTo>
                    <a:pt x="10763" y="39"/>
                  </a:lnTo>
                  <a:lnTo>
                    <a:pt x="10740" y="30"/>
                  </a:lnTo>
                  <a:lnTo>
                    <a:pt x="10717" y="22"/>
                  </a:lnTo>
                  <a:lnTo>
                    <a:pt x="10693" y="16"/>
                  </a:lnTo>
                  <a:lnTo>
                    <a:pt x="10669" y="10"/>
                  </a:lnTo>
                  <a:lnTo>
                    <a:pt x="10643" y="6"/>
                  </a:lnTo>
                  <a:lnTo>
                    <a:pt x="10618" y="3"/>
                  </a:lnTo>
                  <a:lnTo>
                    <a:pt x="10593" y="1"/>
                  </a:lnTo>
                  <a:lnTo>
                    <a:pt x="105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86" name="îś1îḑê">
              <a:extLst>
                <a:ext uri="{FF2B5EF4-FFF2-40B4-BE49-F238E27FC236}">
                  <a16:creationId xmlns:a16="http://schemas.microsoft.com/office/drawing/2014/main" id="{0CF97F8E-B69C-48CB-9B9B-B1473D4B5F96}"/>
                </a:ext>
              </a:extLst>
            </p:cNvPr>
            <p:cNvSpPr/>
            <p:nvPr/>
          </p:nvSpPr>
          <p:spPr bwMode="auto">
            <a:xfrm>
              <a:off x="3845577" y="776761"/>
              <a:ext cx="74171" cy="75086"/>
            </a:xfrm>
            <a:custGeom>
              <a:avLst/>
              <a:gdLst>
                <a:gd name="T0" fmla="*/ 1712 w 3019"/>
                <a:gd name="T1" fmla="*/ 523 h 3018"/>
                <a:gd name="T2" fmla="*/ 1946 w 3019"/>
                <a:gd name="T3" fmla="*/ 602 h 3018"/>
                <a:gd name="T4" fmla="*/ 2150 w 3019"/>
                <a:gd name="T5" fmla="*/ 732 h 3018"/>
                <a:gd name="T6" fmla="*/ 2316 w 3019"/>
                <a:gd name="T7" fmla="*/ 907 h 3018"/>
                <a:gd name="T8" fmla="*/ 2437 w 3019"/>
                <a:gd name="T9" fmla="*/ 1117 h 3018"/>
                <a:gd name="T10" fmla="*/ 2504 w 3019"/>
                <a:gd name="T11" fmla="*/ 1356 h 3018"/>
                <a:gd name="T12" fmla="*/ 2511 w 3019"/>
                <a:gd name="T13" fmla="*/ 1611 h 3018"/>
                <a:gd name="T14" fmla="*/ 2455 w 3019"/>
                <a:gd name="T15" fmla="*/ 1854 h 3018"/>
                <a:gd name="T16" fmla="*/ 2344 w 3019"/>
                <a:gd name="T17" fmla="*/ 2071 h 3018"/>
                <a:gd name="T18" fmla="*/ 2186 w 3019"/>
                <a:gd name="T19" fmla="*/ 2253 h 3018"/>
                <a:gd name="T20" fmla="*/ 1989 w 3019"/>
                <a:gd name="T21" fmla="*/ 2393 h 3018"/>
                <a:gd name="T22" fmla="*/ 1761 w 3019"/>
                <a:gd name="T23" fmla="*/ 2482 h 3018"/>
                <a:gd name="T24" fmla="*/ 1510 w 3019"/>
                <a:gd name="T25" fmla="*/ 2515 h 3018"/>
                <a:gd name="T26" fmla="*/ 1258 w 3019"/>
                <a:gd name="T27" fmla="*/ 2482 h 3018"/>
                <a:gd name="T28" fmla="*/ 1031 w 3019"/>
                <a:gd name="T29" fmla="*/ 2393 h 3018"/>
                <a:gd name="T30" fmla="*/ 833 w 3019"/>
                <a:gd name="T31" fmla="*/ 2253 h 3018"/>
                <a:gd name="T32" fmla="*/ 675 w 3019"/>
                <a:gd name="T33" fmla="*/ 2071 h 3018"/>
                <a:gd name="T34" fmla="*/ 565 w 3019"/>
                <a:gd name="T35" fmla="*/ 1854 h 3018"/>
                <a:gd name="T36" fmla="*/ 508 w 3019"/>
                <a:gd name="T37" fmla="*/ 1611 h 3018"/>
                <a:gd name="T38" fmla="*/ 514 w 3019"/>
                <a:gd name="T39" fmla="*/ 1356 h 3018"/>
                <a:gd name="T40" fmla="*/ 583 w 3019"/>
                <a:gd name="T41" fmla="*/ 1117 h 3018"/>
                <a:gd name="T42" fmla="*/ 704 w 3019"/>
                <a:gd name="T43" fmla="*/ 907 h 3018"/>
                <a:gd name="T44" fmla="*/ 870 w 3019"/>
                <a:gd name="T45" fmla="*/ 732 h 3018"/>
                <a:gd name="T46" fmla="*/ 1074 w 3019"/>
                <a:gd name="T47" fmla="*/ 602 h 3018"/>
                <a:gd name="T48" fmla="*/ 1308 w 3019"/>
                <a:gd name="T49" fmla="*/ 523 h 3018"/>
                <a:gd name="T50" fmla="*/ 1510 w 3019"/>
                <a:gd name="T51" fmla="*/ 3018 h 3018"/>
                <a:gd name="T52" fmla="*/ 1887 w 3019"/>
                <a:gd name="T53" fmla="*/ 2969 h 3018"/>
                <a:gd name="T54" fmla="*/ 2229 w 3019"/>
                <a:gd name="T55" fmla="*/ 2836 h 3018"/>
                <a:gd name="T56" fmla="*/ 2525 w 3019"/>
                <a:gd name="T57" fmla="*/ 2625 h 3018"/>
                <a:gd name="T58" fmla="*/ 2762 w 3019"/>
                <a:gd name="T59" fmla="*/ 2352 h 3018"/>
                <a:gd name="T60" fmla="*/ 2928 w 3019"/>
                <a:gd name="T61" fmla="*/ 2028 h 3018"/>
                <a:gd name="T62" fmla="*/ 3011 w 3019"/>
                <a:gd name="T63" fmla="*/ 1663 h 3018"/>
                <a:gd name="T64" fmla="*/ 3002 w 3019"/>
                <a:gd name="T65" fmla="*/ 1278 h 3018"/>
                <a:gd name="T66" fmla="*/ 2901 w 3019"/>
                <a:gd name="T67" fmla="*/ 921 h 3018"/>
                <a:gd name="T68" fmla="*/ 2719 w 3019"/>
                <a:gd name="T69" fmla="*/ 605 h 3018"/>
                <a:gd name="T70" fmla="*/ 2470 w 3019"/>
                <a:gd name="T71" fmla="*/ 344 h 3018"/>
                <a:gd name="T72" fmla="*/ 2164 w 3019"/>
                <a:gd name="T73" fmla="*/ 149 h 3018"/>
                <a:gd name="T74" fmla="*/ 1814 w 3019"/>
                <a:gd name="T75" fmla="*/ 30 h 3018"/>
                <a:gd name="T76" fmla="*/ 1432 w 3019"/>
                <a:gd name="T77" fmla="*/ 2 h 3018"/>
                <a:gd name="T78" fmla="*/ 1061 w 3019"/>
                <a:gd name="T79" fmla="*/ 67 h 3018"/>
                <a:gd name="T80" fmla="*/ 727 w 3019"/>
                <a:gd name="T81" fmla="*/ 218 h 3018"/>
                <a:gd name="T82" fmla="*/ 442 w 3019"/>
                <a:gd name="T83" fmla="*/ 441 h 3018"/>
                <a:gd name="T84" fmla="*/ 219 w 3019"/>
                <a:gd name="T85" fmla="*/ 726 h 3018"/>
                <a:gd name="T86" fmla="*/ 68 w 3019"/>
                <a:gd name="T87" fmla="*/ 1060 h 3018"/>
                <a:gd name="T88" fmla="*/ 2 w 3019"/>
                <a:gd name="T89" fmla="*/ 1431 h 3018"/>
                <a:gd name="T90" fmla="*/ 30 w 3019"/>
                <a:gd name="T91" fmla="*/ 1812 h 3018"/>
                <a:gd name="T92" fmla="*/ 149 w 3019"/>
                <a:gd name="T93" fmla="*/ 2163 h 3018"/>
                <a:gd name="T94" fmla="*/ 344 w 3019"/>
                <a:gd name="T95" fmla="*/ 2468 h 3018"/>
                <a:gd name="T96" fmla="*/ 606 w 3019"/>
                <a:gd name="T97" fmla="*/ 2718 h 3018"/>
                <a:gd name="T98" fmla="*/ 922 w 3019"/>
                <a:gd name="T99" fmla="*/ 2899 h 3018"/>
                <a:gd name="T100" fmla="*/ 1280 w 3019"/>
                <a:gd name="T101" fmla="*/ 2999 h 30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019" h="3018">
                  <a:moveTo>
                    <a:pt x="1510" y="503"/>
                  </a:moveTo>
                  <a:lnTo>
                    <a:pt x="1561" y="504"/>
                  </a:lnTo>
                  <a:lnTo>
                    <a:pt x="1612" y="508"/>
                  </a:lnTo>
                  <a:lnTo>
                    <a:pt x="1663" y="514"/>
                  </a:lnTo>
                  <a:lnTo>
                    <a:pt x="1712" y="523"/>
                  </a:lnTo>
                  <a:lnTo>
                    <a:pt x="1761" y="534"/>
                  </a:lnTo>
                  <a:lnTo>
                    <a:pt x="1809" y="548"/>
                  </a:lnTo>
                  <a:lnTo>
                    <a:pt x="1856" y="564"/>
                  </a:lnTo>
                  <a:lnTo>
                    <a:pt x="1901" y="581"/>
                  </a:lnTo>
                  <a:lnTo>
                    <a:pt x="1946" y="602"/>
                  </a:lnTo>
                  <a:lnTo>
                    <a:pt x="1989" y="624"/>
                  </a:lnTo>
                  <a:lnTo>
                    <a:pt x="2031" y="649"/>
                  </a:lnTo>
                  <a:lnTo>
                    <a:pt x="2072" y="675"/>
                  </a:lnTo>
                  <a:lnTo>
                    <a:pt x="2112" y="703"/>
                  </a:lnTo>
                  <a:lnTo>
                    <a:pt x="2150" y="732"/>
                  </a:lnTo>
                  <a:lnTo>
                    <a:pt x="2186" y="764"/>
                  </a:lnTo>
                  <a:lnTo>
                    <a:pt x="2221" y="797"/>
                  </a:lnTo>
                  <a:lnTo>
                    <a:pt x="2255" y="833"/>
                  </a:lnTo>
                  <a:lnTo>
                    <a:pt x="2286" y="869"/>
                  </a:lnTo>
                  <a:lnTo>
                    <a:pt x="2316" y="907"/>
                  </a:lnTo>
                  <a:lnTo>
                    <a:pt x="2344" y="946"/>
                  </a:lnTo>
                  <a:lnTo>
                    <a:pt x="2370" y="988"/>
                  </a:lnTo>
                  <a:lnTo>
                    <a:pt x="2394" y="1029"/>
                  </a:lnTo>
                  <a:lnTo>
                    <a:pt x="2417" y="1073"/>
                  </a:lnTo>
                  <a:lnTo>
                    <a:pt x="2437" y="1117"/>
                  </a:lnTo>
                  <a:lnTo>
                    <a:pt x="2455" y="1163"/>
                  </a:lnTo>
                  <a:lnTo>
                    <a:pt x="2471" y="1210"/>
                  </a:lnTo>
                  <a:lnTo>
                    <a:pt x="2484" y="1257"/>
                  </a:lnTo>
                  <a:lnTo>
                    <a:pt x="2496" y="1305"/>
                  </a:lnTo>
                  <a:lnTo>
                    <a:pt x="2504" y="1356"/>
                  </a:lnTo>
                  <a:lnTo>
                    <a:pt x="2511" y="1406"/>
                  </a:lnTo>
                  <a:lnTo>
                    <a:pt x="2515" y="1456"/>
                  </a:lnTo>
                  <a:lnTo>
                    <a:pt x="2516" y="1509"/>
                  </a:lnTo>
                  <a:lnTo>
                    <a:pt x="2515" y="1560"/>
                  </a:lnTo>
                  <a:lnTo>
                    <a:pt x="2511" y="1611"/>
                  </a:lnTo>
                  <a:lnTo>
                    <a:pt x="2504" y="1662"/>
                  </a:lnTo>
                  <a:lnTo>
                    <a:pt x="2496" y="1711"/>
                  </a:lnTo>
                  <a:lnTo>
                    <a:pt x="2484" y="1759"/>
                  </a:lnTo>
                  <a:lnTo>
                    <a:pt x="2471" y="1807"/>
                  </a:lnTo>
                  <a:lnTo>
                    <a:pt x="2455" y="1854"/>
                  </a:lnTo>
                  <a:lnTo>
                    <a:pt x="2437" y="1900"/>
                  </a:lnTo>
                  <a:lnTo>
                    <a:pt x="2417" y="1944"/>
                  </a:lnTo>
                  <a:lnTo>
                    <a:pt x="2394" y="1988"/>
                  </a:lnTo>
                  <a:lnTo>
                    <a:pt x="2370" y="2030"/>
                  </a:lnTo>
                  <a:lnTo>
                    <a:pt x="2344" y="2071"/>
                  </a:lnTo>
                  <a:lnTo>
                    <a:pt x="2316" y="2110"/>
                  </a:lnTo>
                  <a:lnTo>
                    <a:pt x="2286" y="2148"/>
                  </a:lnTo>
                  <a:lnTo>
                    <a:pt x="2255" y="2185"/>
                  </a:lnTo>
                  <a:lnTo>
                    <a:pt x="2221" y="2220"/>
                  </a:lnTo>
                  <a:lnTo>
                    <a:pt x="2186" y="2253"/>
                  </a:lnTo>
                  <a:lnTo>
                    <a:pt x="2150" y="2284"/>
                  </a:lnTo>
                  <a:lnTo>
                    <a:pt x="2112" y="2314"/>
                  </a:lnTo>
                  <a:lnTo>
                    <a:pt x="2072" y="2343"/>
                  </a:lnTo>
                  <a:lnTo>
                    <a:pt x="2031" y="2369"/>
                  </a:lnTo>
                  <a:lnTo>
                    <a:pt x="1989" y="2393"/>
                  </a:lnTo>
                  <a:lnTo>
                    <a:pt x="1946" y="2415"/>
                  </a:lnTo>
                  <a:lnTo>
                    <a:pt x="1901" y="2435"/>
                  </a:lnTo>
                  <a:lnTo>
                    <a:pt x="1856" y="2453"/>
                  </a:lnTo>
                  <a:lnTo>
                    <a:pt x="1809" y="2469"/>
                  </a:lnTo>
                  <a:lnTo>
                    <a:pt x="1761" y="2482"/>
                  </a:lnTo>
                  <a:lnTo>
                    <a:pt x="1712" y="2494"/>
                  </a:lnTo>
                  <a:lnTo>
                    <a:pt x="1663" y="2503"/>
                  </a:lnTo>
                  <a:lnTo>
                    <a:pt x="1612" y="2510"/>
                  </a:lnTo>
                  <a:lnTo>
                    <a:pt x="1561" y="2514"/>
                  </a:lnTo>
                  <a:lnTo>
                    <a:pt x="1510" y="2515"/>
                  </a:lnTo>
                  <a:lnTo>
                    <a:pt x="1458" y="2514"/>
                  </a:lnTo>
                  <a:lnTo>
                    <a:pt x="1407" y="2510"/>
                  </a:lnTo>
                  <a:lnTo>
                    <a:pt x="1357" y="2503"/>
                  </a:lnTo>
                  <a:lnTo>
                    <a:pt x="1308" y="2494"/>
                  </a:lnTo>
                  <a:lnTo>
                    <a:pt x="1258" y="2482"/>
                  </a:lnTo>
                  <a:lnTo>
                    <a:pt x="1211" y="2469"/>
                  </a:lnTo>
                  <a:lnTo>
                    <a:pt x="1165" y="2453"/>
                  </a:lnTo>
                  <a:lnTo>
                    <a:pt x="1118" y="2435"/>
                  </a:lnTo>
                  <a:lnTo>
                    <a:pt x="1074" y="2415"/>
                  </a:lnTo>
                  <a:lnTo>
                    <a:pt x="1031" y="2393"/>
                  </a:lnTo>
                  <a:lnTo>
                    <a:pt x="988" y="2369"/>
                  </a:lnTo>
                  <a:lnTo>
                    <a:pt x="947" y="2343"/>
                  </a:lnTo>
                  <a:lnTo>
                    <a:pt x="908" y="2314"/>
                  </a:lnTo>
                  <a:lnTo>
                    <a:pt x="870" y="2284"/>
                  </a:lnTo>
                  <a:lnTo>
                    <a:pt x="833" y="2253"/>
                  </a:lnTo>
                  <a:lnTo>
                    <a:pt x="798" y="2220"/>
                  </a:lnTo>
                  <a:lnTo>
                    <a:pt x="765" y="2185"/>
                  </a:lnTo>
                  <a:lnTo>
                    <a:pt x="734" y="2148"/>
                  </a:lnTo>
                  <a:lnTo>
                    <a:pt x="704" y="2110"/>
                  </a:lnTo>
                  <a:lnTo>
                    <a:pt x="675" y="2071"/>
                  </a:lnTo>
                  <a:lnTo>
                    <a:pt x="649" y="2030"/>
                  </a:lnTo>
                  <a:lnTo>
                    <a:pt x="625" y="1988"/>
                  </a:lnTo>
                  <a:lnTo>
                    <a:pt x="603" y="1944"/>
                  </a:lnTo>
                  <a:lnTo>
                    <a:pt x="583" y="1900"/>
                  </a:lnTo>
                  <a:lnTo>
                    <a:pt x="565" y="1854"/>
                  </a:lnTo>
                  <a:lnTo>
                    <a:pt x="549" y="1807"/>
                  </a:lnTo>
                  <a:lnTo>
                    <a:pt x="536" y="1759"/>
                  </a:lnTo>
                  <a:lnTo>
                    <a:pt x="524" y="1711"/>
                  </a:lnTo>
                  <a:lnTo>
                    <a:pt x="514" y="1662"/>
                  </a:lnTo>
                  <a:lnTo>
                    <a:pt x="508" y="1611"/>
                  </a:lnTo>
                  <a:lnTo>
                    <a:pt x="504" y="1560"/>
                  </a:lnTo>
                  <a:lnTo>
                    <a:pt x="503" y="1509"/>
                  </a:lnTo>
                  <a:lnTo>
                    <a:pt x="504" y="1456"/>
                  </a:lnTo>
                  <a:lnTo>
                    <a:pt x="508" y="1406"/>
                  </a:lnTo>
                  <a:lnTo>
                    <a:pt x="514" y="1356"/>
                  </a:lnTo>
                  <a:lnTo>
                    <a:pt x="524" y="1305"/>
                  </a:lnTo>
                  <a:lnTo>
                    <a:pt x="536" y="1257"/>
                  </a:lnTo>
                  <a:lnTo>
                    <a:pt x="549" y="1210"/>
                  </a:lnTo>
                  <a:lnTo>
                    <a:pt x="565" y="1163"/>
                  </a:lnTo>
                  <a:lnTo>
                    <a:pt x="583" y="1117"/>
                  </a:lnTo>
                  <a:lnTo>
                    <a:pt x="603" y="1073"/>
                  </a:lnTo>
                  <a:lnTo>
                    <a:pt x="625" y="1029"/>
                  </a:lnTo>
                  <a:lnTo>
                    <a:pt x="649" y="988"/>
                  </a:lnTo>
                  <a:lnTo>
                    <a:pt x="675" y="946"/>
                  </a:lnTo>
                  <a:lnTo>
                    <a:pt x="704" y="907"/>
                  </a:lnTo>
                  <a:lnTo>
                    <a:pt x="734" y="869"/>
                  </a:lnTo>
                  <a:lnTo>
                    <a:pt x="765" y="833"/>
                  </a:lnTo>
                  <a:lnTo>
                    <a:pt x="798" y="797"/>
                  </a:lnTo>
                  <a:lnTo>
                    <a:pt x="833" y="764"/>
                  </a:lnTo>
                  <a:lnTo>
                    <a:pt x="870" y="732"/>
                  </a:lnTo>
                  <a:lnTo>
                    <a:pt x="908" y="703"/>
                  </a:lnTo>
                  <a:lnTo>
                    <a:pt x="947" y="675"/>
                  </a:lnTo>
                  <a:lnTo>
                    <a:pt x="988" y="649"/>
                  </a:lnTo>
                  <a:lnTo>
                    <a:pt x="1031" y="624"/>
                  </a:lnTo>
                  <a:lnTo>
                    <a:pt x="1074" y="602"/>
                  </a:lnTo>
                  <a:lnTo>
                    <a:pt x="1118" y="581"/>
                  </a:lnTo>
                  <a:lnTo>
                    <a:pt x="1165" y="564"/>
                  </a:lnTo>
                  <a:lnTo>
                    <a:pt x="1211" y="548"/>
                  </a:lnTo>
                  <a:lnTo>
                    <a:pt x="1258" y="534"/>
                  </a:lnTo>
                  <a:lnTo>
                    <a:pt x="1308" y="523"/>
                  </a:lnTo>
                  <a:lnTo>
                    <a:pt x="1357" y="514"/>
                  </a:lnTo>
                  <a:lnTo>
                    <a:pt x="1407" y="508"/>
                  </a:lnTo>
                  <a:lnTo>
                    <a:pt x="1458" y="504"/>
                  </a:lnTo>
                  <a:lnTo>
                    <a:pt x="1510" y="503"/>
                  </a:lnTo>
                  <a:close/>
                  <a:moveTo>
                    <a:pt x="1510" y="3018"/>
                  </a:moveTo>
                  <a:lnTo>
                    <a:pt x="1587" y="3016"/>
                  </a:lnTo>
                  <a:lnTo>
                    <a:pt x="1664" y="3010"/>
                  </a:lnTo>
                  <a:lnTo>
                    <a:pt x="1739" y="2999"/>
                  </a:lnTo>
                  <a:lnTo>
                    <a:pt x="1814" y="2986"/>
                  </a:lnTo>
                  <a:lnTo>
                    <a:pt x="1887" y="2969"/>
                  </a:lnTo>
                  <a:lnTo>
                    <a:pt x="1959" y="2949"/>
                  </a:lnTo>
                  <a:lnTo>
                    <a:pt x="2029" y="2926"/>
                  </a:lnTo>
                  <a:lnTo>
                    <a:pt x="2098" y="2899"/>
                  </a:lnTo>
                  <a:lnTo>
                    <a:pt x="2164" y="2869"/>
                  </a:lnTo>
                  <a:lnTo>
                    <a:pt x="2229" y="2836"/>
                  </a:lnTo>
                  <a:lnTo>
                    <a:pt x="2293" y="2799"/>
                  </a:lnTo>
                  <a:lnTo>
                    <a:pt x="2354" y="2760"/>
                  </a:lnTo>
                  <a:lnTo>
                    <a:pt x="2413" y="2718"/>
                  </a:lnTo>
                  <a:lnTo>
                    <a:pt x="2470" y="2673"/>
                  </a:lnTo>
                  <a:lnTo>
                    <a:pt x="2525" y="2625"/>
                  </a:lnTo>
                  <a:lnTo>
                    <a:pt x="2578" y="2575"/>
                  </a:lnTo>
                  <a:lnTo>
                    <a:pt x="2627" y="2523"/>
                  </a:lnTo>
                  <a:lnTo>
                    <a:pt x="2675" y="2468"/>
                  </a:lnTo>
                  <a:lnTo>
                    <a:pt x="2719" y="2411"/>
                  </a:lnTo>
                  <a:lnTo>
                    <a:pt x="2762" y="2352"/>
                  </a:lnTo>
                  <a:lnTo>
                    <a:pt x="2801" y="2291"/>
                  </a:lnTo>
                  <a:lnTo>
                    <a:pt x="2837" y="2228"/>
                  </a:lnTo>
                  <a:lnTo>
                    <a:pt x="2870" y="2163"/>
                  </a:lnTo>
                  <a:lnTo>
                    <a:pt x="2901" y="2096"/>
                  </a:lnTo>
                  <a:lnTo>
                    <a:pt x="2928" y="2028"/>
                  </a:lnTo>
                  <a:lnTo>
                    <a:pt x="2952" y="1957"/>
                  </a:lnTo>
                  <a:lnTo>
                    <a:pt x="2972" y="1886"/>
                  </a:lnTo>
                  <a:lnTo>
                    <a:pt x="2989" y="1812"/>
                  </a:lnTo>
                  <a:lnTo>
                    <a:pt x="3002" y="1738"/>
                  </a:lnTo>
                  <a:lnTo>
                    <a:pt x="3011" y="1663"/>
                  </a:lnTo>
                  <a:lnTo>
                    <a:pt x="3017" y="1586"/>
                  </a:lnTo>
                  <a:lnTo>
                    <a:pt x="3019" y="1509"/>
                  </a:lnTo>
                  <a:lnTo>
                    <a:pt x="3017" y="1431"/>
                  </a:lnTo>
                  <a:lnTo>
                    <a:pt x="3011" y="1354"/>
                  </a:lnTo>
                  <a:lnTo>
                    <a:pt x="3002" y="1278"/>
                  </a:lnTo>
                  <a:lnTo>
                    <a:pt x="2989" y="1204"/>
                  </a:lnTo>
                  <a:lnTo>
                    <a:pt x="2972" y="1131"/>
                  </a:lnTo>
                  <a:lnTo>
                    <a:pt x="2952" y="1060"/>
                  </a:lnTo>
                  <a:lnTo>
                    <a:pt x="2928" y="990"/>
                  </a:lnTo>
                  <a:lnTo>
                    <a:pt x="2901" y="921"/>
                  </a:lnTo>
                  <a:lnTo>
                    <a:pt x="2870" y="854"/>
                  </a:lnTo>
                  <a:lnTo>
                    <a:pt x="2837" y="789"/>
                  </a:lnTo>
                  <a:lnTo>
                    <a:pt x="2801" y="726"/>
                  </a:lnTo>
                  <a:lnTo>
                    <a:pt x="2762" y="665"/>
                  </a:lnTo>
                  <a:lnTo>
                    <a:pt x="2719" y="605"/>
                  </a:lnTo>
                  <a:lnTo>
                    <a:pt x="2675" y="549"/>
                  </a:lnTo>
                  <a:lnTo>
                    <a:pt x="2627" y="494"/>
                  </a:lnTo>
                  <a:lnTo>
                    <a:pt x="2578" y="441"/>
                  </a:lnTo>
                  <a:lnTo>
                    <a:pt x="2525" y="391"/>
                  </a:lnTo>
                  <a:lnTo>
                    <a:pt x="2470" y="344"/>
                  </a:lnTo>
                  <a:lnTo>
                    <a:pt x="2413" y="300"/>
                  </a:lnTo>
                  <a:lnTo>
                    <a:pt x="2354" y="257"/>
                  </a:lnTo>
                  <a:lnTo>
                    <a:pt x="2293" y="218"/>
                  </a:lnTo>
                  <a:lnTo>
                    <a:pt x="2229" y="182"/>
                  </a:lnTo>
                  <a:lnTo>
                    <a:pt x="2164" y="149"/>
                  </a:lnTo>
                  <a:lnTo>
                    <a:pt x="2098" y="118"/>
                  </a:lnTo>
                  <a:lnTo>
                    <a:pt x="2029" y="91"/>
                  </a:lnTo>
                  <a:lnTo>
                    <a:pt x="1959" y="67"/>
                  </a:lnTo>
                  <a:lnTo>
                    <a:pt x="1887" y="47"/>
                  </a:lnTo>
                  <a:lnTo>
                    <a:pt x="1814" y="30"/>
                  </a:lnTo>
                  <a:lnTo>
                    <a:pt x="1739" y="17"/>
                  </a:lnTo>
                  <a:lnTo>
                    <a:pt x="1664" y="8"/>
                  </a:lnTo>
                  <a:lnTo>
                    <a:pt x="1587" y="2"/>
                  </a:lnTo>
                  <a:lnTo>
                    <a:pt x="1510" y="0"/>
                  </a:lnTo>
                  <a:lnTo>
                    <a:pt x="1432" y="2"/>
                  </a:lnTo>
                  <a:lnTo>
                    <a:pt x="1356" y="8"/>
                  </a:lnTo>
                  <a:lnTo>
                    <a:pt x="1280" y="17"/>
                  </a:lnTo>
                  <a:lnTo>
                    <a:pt x="1206" y="30"/>
                  </a:lnTo>
                  <a:lnTo>
                    <a:pt x="1132" y="47"/>
                  </a:lnTo>
                  <a:lnTo>
                    <a:pt x="1061" y="67"/>
                  </a:lnTo>
                  <a:lnTo>
                    <a:pt x="990" y="91"/>
                  </a:lnTo>
                  <a:lnTo>
                    <a:pt x="922" y="118"/>
                  </a:lnTo>
                  <a:lnTo>
                    <a:pt x="856" y="149"/>
                  </a:lnTo>
                  <a:lnTo>
                    <a:pt x="790" y="182"/>
                  </a:lnTo>
                  <a:lnTo>
                    <a:pt x="727" y="218"/>
                  </a:lnTo>
                  <a:lnTo>
                    <a:pt x="665" y="257"/>
                  </a:lnTo>
                  <a:lnTo>
                    <a:pt x="606" y="300"/>
                  </a:lnTo>
                  <a:lnTo>
                    <a:pt x="550" y="344"/>
                  </a:lnTo>
                  <a:lnTo>
                    <a:pt x="494" y="391"/>
                  </a:lnTo>
                  <a:lnTo>
                    <a:pt x="442" y="441"/>
                  </a:lnTo>
                  <a:lnTo>
                    <a:pt x="393" y="494"/>
                  </a:lnTo>
                  <a:lnTo>
                    <a:pt x="344" y="549"/>
                  </a:lnTo>
                  <a:lnTo>
                    <a:pt x="300" y="605"/>
                  </a:lnTo>
                  <a:lnTo>
                    <a:pt x="258" y="665"/>
                  </a:lnTo>
                  <a:lnTo>
                    <a:pt x="219" y="726"/>
                  </a:lnTo>
                  <a:lnTo>
                    <a:pt x="182" y="789"/>
                  </a:lnTo>
                  <a:lnTo>
                    <a:pt x="149" y="854"/>
                  </a:lnTo>
                  <a:lnTo>
                    <a:pt x="119" y="921"/>
                  </a:lnTo>
                  <a:lnTo>
                    <a:pt x="92" y="990"/>
                  </a:lnTo>
                  <a:lnTo>
                    <a:pt x="68" y="1060"/>
                  </a:lnTo>
                  <a:lnTo>
                    <a:pt x="48" y="1131"/>
                  </a:lnTo>
                  <a:lnTo>
                    <a:pt x="30" y="1204"/>
                  </a:lnTo>
                  <a:lnTo>
                    <a:pt x="17" y="1278"/>
                  </a:lnTo>
                  <a:lnTo>
                    <a:pt x="8" y="1354"/>
                  </a:lnTo>
                  <a:lnTo>
                    <a:pt x="2" y="1431"/>
                  </a:lnTo>
                  <a:lnTo>
                    <a:pt x="0" y="1509"/>
                  </a:lnTo>
                  <a:lnTo>
                    <a:pt x="2" y="1586"/>
                  </a:lnTo>
                  <a:lnTo>
                    <a:pt x="8" y="1663"/>
                  </a:lnTo>
                  <a:lnTo>
                    <a:pt x="17" y="1738"/>
                  </a:lnTo>
                  <a:lnTo>
                    <a:pt x="30" y="1812"/>
                  </a:lnTo>
                  <a:lnTo>
                    <a:pt x="48" y="1886"/>
                  </a:lnTo>
                  <a:lnTo>
                    <a:pt x="68" y="1957"/>
                  </a:lnTo>
                  <a:lnTo>
                    <a:pt x="92" y="2028"/>
                  </a:lnTo>
                  <a:lnTo>
                    <a:pt x="119" y="2096"/>
                  </a:lnTo>
                  <a:lnTo>
                    <a:pt x="149" y="2163"/>
                  </a:lnTo>
                  <a:lnTo>
                    <a:pt x="182" y="2228"/>
                  </a:lnTo>
                  <a:lnTo>
                    <a:pt x="219" y="2291"/>
                  </a:lnTo>
                  <a:lnTo>
                    <a:pt x="258" y="2352"/>
                  </a:lnTo>
                  <a:lnTo>
                    <a:pt x="300" y="2411"/>
                  </a:lnTo>
                  <a:lnTo>
                    <a:pt x="344" y="2468"/>
                  </a:lnTo>
                  <a:lnTo>
                    <a:pt x="393" y="2523"/>
                  </a:lnTo>
                  <a:lnTo>
                    <a:pt x="442" y="2575"/>
                  </a:lnTo>
                  <a:lnTo>
                    <a:pt x="494" y="2625"/>
                  </a:lnTo>
                  <a:lnTo>
                    <a:pt x="550" y="2673"/>
                  </a:lnTo>
                  <a:lnTo>
                    <a:pt x="606" y="2718"/>
                  </a:lnTo>
                  <a:lnTo>
                    <a:pt x="665" y="2760"/>
                  </a:lnTo>
                  <a:lnTo>
                    <a:pt x="727" y="2799"/>
                  </a:lnTo>
                  <a:lnTo>
                    <a:pt x="790" y="2836"/>
                  </a:lnTo>
                  <a:lnTo>
                    <a:pt x="856" y="2869"/>
                  </a:lnTo>
                  <a:lnTo>
                    <a:pt x="922" y="2899"/>
                  </a:lnTo>
                  <a:lnTo>
                    <a:pt x="990" y="2926"/>
                  </a:lnTo>
                  <a:lnTo>
                    <a:pt x="1061" y="2949"/>
                  </a:lnTo>
                  <a:lnTo>
                    <a:pt x="1132" y="2969"/>
                  </a:lnTo>
                  <a:lnTo>
                    <a:pt x="1206" y="2986"/>
                  </a:lnTo>
                  <a:lnTo>
                    <a:pt x="1280" y="2999"/>
                  </a:lnTo>
                  <a:lnTo>
                    <a:pt x="1356" y="3010"/>
                  </a:lnTo>
                  <a:lnTo>
                    <a:pt x="1432" y="3016"/>
                  </a:lnTo>
                  <a:lnTo>
                    <a:pt x="1510" y="30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87" name="ïšļiḑe">
              <a:extLst>
                <a:ext uri="{FF2B5EF4-FFF2-40B4-BE49-F238E27FC236}">
                  <a16:creationId xmlns:a16="http://schemas.microsoft.com/office/drawing/2014/main" id="{A0D28386-FF33-4D78-8B5E-05957FEB040A}"/>
                </a:ext>
              </a:extLst>
            </p:cNvPr>
            <p:cNvSpPr/>
            <p:nvPr/>
          </p:nvSpPr>
          <p:spPr bwMode="auto">
            <a:xfrm>
              <a:off x="3388314" y="34270"/>
              <a:ext cx="305223" cy="286279"/>
            </a:xfrm>
            <a:custGeom>
              <a:avLst/>
              <a:gdLst>
                <a:gd name="T0" fmla="*/ 12874 w 16095"/>
                <a:gd name="T1" fmla="*/ 4005 h 15096"/>
                <a:gd name="T2" fmla="*/ 12597 w 16095"/>
                <a:gd name="T3" fmla="*/ 3904 h 15096"/>
                <a:gd name="T4" fmla="*/ 12366 w 16095"/>
                <a:gd name="T5" fmla="*/ 3731 h 15096"/>
                <a:gd name="T6" fmla="*/ 12192 w 16095"/>
                <a:gd name="T7" fmla="*/ 3498 h 15096"/>
                <a:gd name="T8" fmla="*/ 12090 w 16095"/>
                <a:gd name="T9" fmla="*/ 3221 h 15096"/>
                <a:gd name="T10" fmla="*/ 12071 w 16095"/>
                <a:gd name="T11" fmla="*/ 1006 h 15096"/>
                <a:gd name="T12" fmla="*/ 15083 w 16095"/>
                <a:gd name="T13" fmla="*/ 13663 h 15096"/>
                <a:gd name="T14" fmla="*/ 15040 w 16095"/>
                <a:gd name="T15" fmla="*/ 13805 h 15096"/>
                <a:gd name="T16" fmla="*/ 14958 w 16095"/>
                <a:gd name="T17" fmla="*/ 13925 h 15096"/>
                <a:gd name="T18" fmla="*/ 14848 w 16095"/>
                <a:gd name="T19" fmla="*/ 14017 h 15096"/>
                <a:gd name="T20" fmla="*/ 14712 w 16095"/>
                <a:gd name="T21" fmla="*/ 14073 h 15096"/>
                <a:gd name="T22" fmla="*/ 1509 w 16095"/>
                <a:gd name="T23" fmla="*/ 14090 h 15096"/>
                <a:gd name="T24" fmla="*/ 1359 w 16095"/>
                <a:gd name="T25" fmla="*/ 14067 h 15096"/>
                <a:gd name="T26" fmla="*/ 1227 w 16095"/>
                <a:gd name="T27" fmla="*/ 14004 h 15096"/>
                <a:gd name="T28" fmla="*/ 1121 w 16095"/>
                <a:gd name="T29" fmla="*/ 13906 h 15096"/>
                <a:gd name="T30" fmla="*/ 1045 w 16095"/>
                <a:gd name="T31" fmla="*/ 13783 h 15096"/>
                <a:gd name="T32" fmla="*/ 1009 w 16095"/>
                <a:gd name="T33" fmla="*/ 13638 h 15096"/>
                <a:gd name="T34" fmla="*/ 1012 w 16095"/>
                <a:gd name="T35" fmla="*/ 1433 h 15096"/>
                <a:gd name="T36" fmla="*/ 1055 w 16095"/>
                <a:gd name="T37" fmla="*/ 1291 h 15096"/>
                <a:gd name="T38" fmla="*/ 1137 w 16095"/>
                <a:gd name="T39" fmla="*/ 1171 h 15096"/>
                <a:gd name="T40" fmla="*/ 1248 w 16095"/>
                <a:gd name="T41" fmla="*/ 1079 h 15096"/>
                <a:gd name="T42" fmla="*/ 1383 w 16095"/>
                <a:gd name="T43" fmla="*/ 1023 h 15096"/>
                <a:gd name="T44" fmla="*/ 11568 w 16095"/>
                <a:gd name="T45" fmla="*/ 1006 h 15096"/>
                <a:gd name="T46" fmla="*/ 11598 w 16095"/>
                <a:gd name="T47" fmla="*/ 3323 h 15096"/>
                <a:gd name="T48" fmla="*/ 11749 w 16095"/>
                <a:gd name="T49" fmla="*/ 3739 h 15096"/>
                <a:gd name="T50" fmla="*/ 12010 w 16095"/>
                <a:gd name="T51" fmla="*/ 4087 h 15096"/>
                <a:gd name="T52" fmla="*/ 12357 w 16095"/>
                <a:gd name="T53" fmla="*/ 4347 h 15096"/>
                <a:gd name="T54" fmla="*/ 12772 w 16095"/>
                <a:gd name="T55" fmla="*/ 4499 h 15096"/>
                <a:gd name="T56" fmla="*/ 15089 w 16095"/>
                <a:gd name="T57" fmla="*/ 4529 h 15096"/>
                <a:gd name="T58" fmla="*/ 12728 w 16095"/>
                <a:gd name="T59" fmla="*/ 244 h 15096"/>
                <a:gd name="T60" fmla="*/ 12608 w 16095"/>
                <a:gd name="T61" fmla="*/ 156 h 15096"/>
                <a:gd name="T62" fmla="*/ 12479 w 16095"/>
                <a:gd name="T63" fmla="*/ 87 h 15096"/>
                <a:gd name="T64" fmla="*/ 12340 w 16095"/>
                <a:gd name="T65" fmla="*/ 36 h 15096"/>
                <a:gd name="T66" fmla="*/ 12195 w 16095"/>
                <a:gd name="T67" fmla="*/ 8 h 15096"/>
                <a:gd name="T68" fmla="*/ 1509 w 16095"/>
                <a:gd name="T69" fmla="*/ 0 h 15096"/>
                <a:gd name="T70" fmla="*/ 1060 w 16095"/>
                <a:gd name="T71" fmla="*/ 68 h 15096"/>
                <a:gd name="T72" fmla="*/ 666 w 16095"/>
                <a:gd name="T73" fmla="*/ 259 h 15096"/>
                <a:gd name="T74" fmla="*/ 345 w 16095"/>
                <a:gd name="T75" fmla="*/ 549 h 15096"/>
                <a:gd name="T76" fmla="*/ 119 w 16095"/>
                <a:gd name="T77" fmla="*/ 923 h 15096"/>
                <a:gd name="T78" fmla="*/ 8 w 16095"/>
                <a:gd name="T79" fmla="*/ 1356 h 15096"/>
                <a:gd name="T80" fmla="*/ 17 w 16095"/>
                <a:gd name="T81" fmla="*/ 13816 h 15096"/>
                <a:gd name="T82" fmla="*/ 149 w 16095"/>
                <a:gd name="T83" fmla="*/ 14241 h 15096"/>
                <a:gd name="T84" fmla="*/ 392 w 16095"/>
                <a:gd name="T85" fmla="*/ 14601 h 15096"/>
                <a:gd name="T86" fmla="*/ 727 w 16095"/>
                <a:gd name="T87" fmla="*/ 14878 h 15096"/>
                <a:gd name="T88" fmla="*/ 1133 w 16095"/>
                <a:gd name="T89" fmla="*/ 15049 h 15096"/>
                <a:gd name="T90" fmla="*/ 14586 w 16095"/>
                <a:gd name="T91" fmla="*/ 15096 h 15096"/>
                <a:gd name="T92" fmla="*/ 15035 w 16095"/>
                <a:gd name="T93" fmla="*/ 15028 h 15096"/>
                <a:gd name="T94" fmla="*/ 15429 w 16095"/>
                <a:gd name="T95" fmla="*/ 14837 h 15096"/>
                <a:gd name="T96" fmla="*/ 15750 w 16095"/>
                <a:gd name="T97" fmla="*/ 14547 h 15096"/>
                <a:gd name="T98" fmla="*/ 15976 w 16095"/>
                <a:gd name="T99" fmla="*/ 14173 h 15096"/>
                <a:gd name="T100" fmla="*/ 16087 w 16095"/>
                <a:gd name="T101" fmla="*/ 13740 h 15096"/>
                <a:gd name="T102" fmla="*/ 16092 w 16095"/>
                <a:gd name="T103" fmla="*/ 3951 h 15096"/>
                <a:gd name="T104" fmla="*/ 16070 w 16095"/>
                <a:gd name="T105" fmla="*/ 3804 h 15096"/>
                <a:gd name="T106" fmla="*/ 16028 w 16095"/>
                <a:gd name="T107" fmla="*/ 3663 h 15096"/>
                <a:gd name="T108" fmla="*/ 15964 w 16095"/>
                <a:gd name="T109" fmla="*/ 3530 h 15096"/>
                <a:gd name="T110" fmla="*/ 15883 w 16095"/>
                <a:gd name="T111" fmla="*/ 3408 h 15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095" h="15096">
                  <a:moveTo>
                    <a:pt x="13579" y="4026"/>
                  </a:moveTo>
                  <a:lnTo>
                    <a:pt x="13076" y="4026"/>
                  </a:lnTo>
                  <a:lnTo>
                    <a:pt x="13025" y="4025"/>
                  </a:lnTo>
                  <a:lnTo>
                    <a:pt x="12974" y="4021"/>
                  </a:lnTo>
                  <a:lnTo>
                    <a:pt x="12923" y="4014"/>
                  </a:lnTo>
                  <a:lnTo>
                    <a:pt x="12874" y="4005"/>
                  </a:lnTo>
                  <a:lnTo>
                    <a:pt x="12826" y="3993"/>
                  </a:lnTo>
                  <a:lnTo>
                    <a:pt x="12777" y="3980"/>
                  </a:lnTo>
                  <a:lnTo>
                    <a:pt x="12731" y="3964"/>
                  </a:lnTo>
                  <a:lnTo>
                    <a:pt x="12685" y="3946"/>
                  </a:lnTo>
                  <a:lnTo>
                    <a:pt x="12641" y="3926"/>
                  </a:lnTo>
                  <a:lnTo>
                    <a:pt x="12597" y="3904"/>
                  </a:lnTo>
                  <a:lnTo>
                    <a:pt x="12555" y="3880"/>
                  </a:lnTo>
                  <a:lnTo>
                    <a:pt x="12515" y="3854"/>
                  </a:lnTo>
                  <a:lnTo>
                    <a:pt x="12475" y="3825"/>
                  </a:lnTo>
                  <a:lnTo>
                    <a:pt x="12437" y="3795"/>
                  </a:lnTo>
                  <a:lnTo>
                    <a:pt x="12400" y="3764"/>
                  </a:lnTo>
                  <a:lnTo>
                    <a:pt x="12366" y="3731"/>
                  </a:lnTo>
                  <a:lnTo>
                    <a:pt x="12332" y="3696"/>
                  </a:lnTo>
                  <a:lnTo>
                    <a:pt x="12301" y="3659"/>
                  </a:lnTo>
                  <a:lnTo>
                    <a:pt x="12270" y="3621"/>
                  </a:lnTo>
                  <a:lnTo>
                    <a:pt x="12242" y="3582"/>
                  </a:lnTo>
                  <a:lnTo>
                    <a:pt x="12216" y="3541"/>
                  </a:lnTo>
                  <a:lnTo>
                    <a:pt x="12192" y="3498"/>
                  </a:lnTo>
                  <a:lnTo>
                    <a:pt x="12170" y="3455"/>
                  </a:lnTo>
                  <a:lnTo>
                    <a:pt x="12150" y="3411"/>
                  </a:lnTo>
                  <a:lnTo>
                    <a:pt x="12132" y="3365"/>
                  </a:lnTo>
                  <a:lnTo>
                    <a:pt x="12116" y="3318"/>
                  </a:lnTo>
                  <a:lnTo>
                    <a:pt x="12102" y="3271"/>
                  </a:lnTo>
                  <a:lnTo>
                    <a:pt x="12090" y="3221"/>
                  </a:lnTo>
                  <a:lnTo>
                    <a:pt x="12082" y="3172"/>
                  </a:lnTo>
                  <a:lnTo>
                    <a:pt x="12075" y="3122"/>
                  </a:lnTo>
                  <a:lnTo>
                    <a:pt x="12071" y="3071"/>
                  </a:lnTo>
                  <a:lnTo>
                    <a:pt x="12070" y="3019"/>
                  </a:lnTo>
                  <a:lnTo>
                    <a:pt x="12071" y="3019"/>
                  </a:lnTo>
                  <a:lnTo>
                    <a:pt x="12071" y="1006"/>
                  </a:lnTo>
                  <a:lnTo>
                    <a:pt x="15089" y="4026"/>
                  </a:lnTo>
                  <a:lnTo>
                    <a:pt x="13579" y="4026"/>
                  </a:lnTo>
                  <a:close/>
                  <a:moveTo>
                    <a:pt x="15089" y="13586"/>
                  </a:moveTo>
                  <a:lnTo>
                    <a:pt x="15088" y="13613"/>
                  </a:lnTo>
                  <a:lnTo>
                    <a:pt x="15087" y="13638"/>
                  </a:lnTo>
                  <a:lnTo>
                    <a:pt x="15083" y="13663"/>
                  </a:lnTo>
                  <a:lnTo>
                    <a:pt x="15079" y="13688"/>
                  </a:lnTo>
                  <a:lnTo>
                    <a:pt x="15073" y="13712"/>
                  </a:lnTo>
                  <a:lnTo>
                    <a:pt x="15067" y="13736"/>
                  </a:lnTo>
                  <a:lnTo>
                    <a:pt x="15059" y="13760"/>
                  </a:lnTo>
                  <a:lnTo>
                    <a:pt x="15050" y="13783"/>
                  </a:lnTo>
                  <a:lnTo>
                    <a:pt x="15040" y="13805"/>
                  </a:lnTo>
                  <a:lnTo>
                    <a:pt x="15029" y="13827"/>
                  </a:lnTo>
                  <a:lnTo>
                    <a:pt x="15017" y="13847"/>
                  </a:lnTo>
                  <a:lnTo>
                    <a:pt x="15004" y="13868"/>
                  </a:lnTo>
                  <a:lnTo>
                    <a:pt x="14989" y="13887"/>
                  </a:lnTo>
                  <a:lnTo>
                    <a:pt x="14974" y="13906"/>
                  </a:lnTo>
                  <a:lnTo>
                    <a:pt x="14958" y="13925"/>
                  </a:lnTo>
                  <a:lnTo>
                    <a:pt x="14942" y="13943"/>
                  </a:lnTo>
                  <a:lnTo>
                    <a:pt x="14924" y="13959"/>
                  </a:lnTo>
                  <a:lnTo>
                    <a:pt x="14906" y="13975"/>
                  </a:lnTo>
                  <a:lnTo>
                    <a:pt x="14887" y="13990"/>
                  </a:lnTo>
                  <a:lnTo>
                    <a:pt x="14868" y="14004"/>
                  </a:lnTo>
                  <a:lnTo>
                    <a:pt x="14848" y="14017"/>
                  </a:lnTo>
                  <a:lnTo>
                    <a:pt x="14827" y="14029"/>
                  </a:lnTo>
                  <a:lnTo>
                    <a:pt x="14804" y="14040"/>
                  </a:lnTo>
                  <a:lnTo>
                    <a:pt x="14782" y="14050"/>
                  </a:lnTo>
                  <a:lnTo>
                    <a:pt x="14759" y="14059"/>
                  </a:lnTo>
                  <a:lnTo>
                    <a:pt x="14736" y="14067"/>
                  </a:lnTo>
                  <a:lnTo>
                    <a:pt x="14712" y="14073"/>
                  </a:lnTo>
                  <a:lnTo>
                    <a:pt x="14688" y="14080"/>
                  </a:lnTo>
                  <a:lnTo>
                    <a:pt x="14663" y="14084"/>
                  </a:lnTo>
                  <a:lnTo>
                    <a:pt x="14637" y="14087"/>
                  </a:lnTo>
                  <a:lnTo>
                    <a:pt x="14612" y="14089"/>
                  </a:lnTo>
                  <a:lnTo>
                    <a:pt x="14586" y="14090"/>
                  </a:lnTo>
                  <a:lnTo>
                    <a:pt x="1509" y="14090"/>
                  </a:lnTo>
                  <a:lnTo>
                    <a:pt x="1483" y="14089"/>
                  </a:lnTo>
                  <a:lnTo>
                    <a:pt x="1458" y="14087"/>
                  </a:lnTo>
                  <a:lnTo>
                    <a:pt x="1432" y="14084"/>
                  </a:lnTo>
                  <a:lnTo>
                    <a:pt x="1407" y="14080"/>
                  </a:lnTo>
                  <a:lnTo>
                    <a:pt x="1383" y="14073"/>
                  </a:lnTo>
                  <a:lnTo>
                    <a:pt x="1359" y="14067"/>
                  </a:lnTo>
                  <a:lnTo>
                    <a:pt x="1336" y="14059"/>
                  </a:lnTo>
                  <a:lnTo>
                    <a:pt x="1313" y="14050"/>
                  </a:lnTo>
                  <a:lnTo>
                    <a:pt x="1291" y="14040"/>
                  </a:lnTo>
                  <a:lnTo>
                    <a:pt x="1268" y="14029"/>
                  </a:lnTo>
                  <a:lnTo>
                    <a:pt x="1248" y="14017"/>
                  </a:lnTo>
                  <a:lnTo>
                    <a:pt x="1227" y="14004"/>
                  </a:lnTo>
                  <a:lnTo>
                    <a:pt x="1208" y="13990"/>
                  </a:lnTo>
                  <a:lnTo>
                    <a:pt x="1189" y="13975"/>
                  </a:lnTo>
                  <a:lnTo>
                    <a:pt x="1171" y="13959"/>
                  </a:lnTo>
                  <a:lnTo>
                    <a:pt x="1153" y="13943"/>
                  </a:lnTo>
                  <a:lnTo>
                    <a:pt x="1137" y="13925"/>
                  </a:lnTo>
                  <a:lnTo>
                    <a:pt x="1121" y="13906"/>
                  </a:lnTo>
                  <a:lnTo>
                    <a:pt x="1106" y="13887"/>
                  </a:lnTo>
                  <a:lnTo>
                    <a:pt x="1091" y="13868"/>
                  </a:lnTo>
                  <a:lnTo>
                    <a:pt x="1078" y="13847"/>
                  </a:lnTo>
                  <a:lnTo>
                    <a:pt x="1066" y="13827"/>
                  </a:lnTo>
                  <a:lnTo>
                    <a:pt x="1055" y="13805"/>
                  </a:lnTo>
                  <a:lnTo>
                    <a:pt x="1045" y="13783"/>
                  </a:lnTo>
                  <a:lnTo>
                    <a:pt x="1036" y="13760"/>
                  </a:lnTo>
                  <a:lnTo>
                    <a:pt x="1029" y="13736"/>
                  </a:lnTo>
                  <a:lnTo>
                    <a:pt x="1022" y="13712"/>
                  </a:lnTo>
                  <a:lnTo>
                    <a:pt x="1016" y="13688"/>
                  </a:lnTo>
                  <a:lnTo>
                    <a:pt x="1012" y="13663"/>
                  </a:lnTo>
                  <a:lnTo>
                    <a:pt x="1009" y="13638"/>
                  </a:lnTo>
                  <a:lnTo>
                    <a:pt x="1007" y="13613"/>
                  </a:lnTo>
                  <a:lnTo>
                    <a:pt x="1006" y="13586"/>
                  </a:lnTo>
                  <a:lnTo>
                    <a:pt x="1006" y="1510"/>
                  </a:lnTo>
                  <a:lnTo>
                    <a:pt x="1007" y="1483"/>
                  </a:lnTo>
                  <a:lnTo>
                    <a:pt x="1009" y="1458"/>
                  </a:lnTo>
                  <a:lnTo>
                    <a:pt x="1012" y="1433"/>
                  </a:lnTo>
                  <a:lnTo>
                    <a:pt x="1016" y="1408"/>
                  </a:lnTo>
                  <a:lnTo>
                    <a:pt x="1022" y="1384"/>
                  </a:lnTo>
                  <a:lnTo>
                    <a:pt x="1029" y="1360"/>
                  </a:lnTo>
                  <a:lnTo>
                    <a:pt x="1036" y="1336"/>
                  </a:lnTo>
                  <a:lnTo>
                    <a:pt x="1045" y="1313"/>
                  </a:lnTo>
                  <a:lnTo>
                    <a:pt x="1055" y="1291"/>
                  </a:lnTo>
                  <a:lnTo>
                    <a:pt x="1066" y="1270"/>
                  </a:lnTo>
                  <a:lnTo>
                    <a:pt x="1078" y="1249"/>
                  </a:lnTo>
                  <a:lnTo>
                    <a:pt x="1091" y="1228"/>
                  </a:lnTo>
                  <a:lnTo>
                    <a:pt x="1106" y="1209"/>
                  </a:lnTo>
                  <a:lnTo>
                    <a:pt x="1121" y="1190"/>
                  </a:lnTo>
                  <a:lnTo>
                    <a:pt x="1137" y="1171"/>
                  </a:lnTo>
                  <a:lnTo>
                    <a:pt x="1153" y="1153"/>
                  </a:lnTo>
                  <a:lnTo>
                    <a:pt x="1171" y="1137"/>
                  </a:lnTo>
                  <a:lnTo>
                    <a:pt x="1189" y="1121"/>
                  </a:lnTo>
                  <a:lnTo>
                    <a:pt x="1208" y="1106"/>
                  </a:lnTo>
                  <a:lnTo>
                    <a:pt x="1227" y="1092"/>
                  </a:lnTo>
                  <a:lnTo>
                    <a:pt x="1248" y="1079"/>
                  </a:lnTo>
                  <a:lnTo>
                    <a:pt x="1268" y="1067"/>
                  </a:lnTo>
                  <a:lnTo>
                    <a:pt x="1291" y="1056"/>
                  </a:lnTo>
                  <a:lnTo>
                    <a:pt x="1313" y="1046"/>
                  </a:lnTo>
                  <a:lnTo>
                    <a:pt x="1336" y="1037"/>
                  </a:lnTo>
                  <a:lnTo>
                    <a:pt x="1359" y="1030"/>
                  </a:lnTo>
                  <a:lnTo>
                    <a:pt x="1383" y="1023"/>
                  </a:lnTo>
                  <a:lnTo>
                    <a:pt x="1407" y="1016"/>
                  </a:lnTo>
                  <a:lnTo>
                    <a:pt x="1432" y="1012"/>
                  </a:lnTo>
                  <a:lnTo>
                    <a:pt x="1458" y="1009"/>
                  </a:lnTo>
                  <a:lnTo>
                    <a:pt x="1483" y="1007"/>
                  </a:lnTo>
                  <a:lnTo>
                    <a:pt x="1509" y="1006"/>
                  </a:lnTo>
                  <a:lnTo>
                    <a:pt x="11568" y="1006"/>
                  </a:lnTo>
                  <a:lnTo>
                    <a:pt x="11568" y="3019"/>
                  </a:lnTo>
                  <a:lnTo>
                    <a:pt x="11567" y="3019"/>
                  </a:lnTo>
                  <a:lnTo>
                    <a:pt x="11569" y="3097"/>
                  </a:lnTo>
                  <a:lnTo>
                    <a:pt x="11575" y="3173"/>
                  </a:lnTo>
                  <a:lnTo>
                    <a:pt x="11584" y="3249"/>
                  </a:lnTo>
                  <a:lnTo>
                    <a:pt x="11598" y="3323"/>
                  </a:lnTo>
                  <a:lnTo>
                    <a:pt x="11615" y="3397"/>
                  </a:lnTo>
                  <a:lnTo>
                    <a:pt x="11636" y="3468"/>
                  </a:lnTo>
                  <a:lnTo>
                    <a:pt x="11659" y="3539"/>
                  </a:lnTo>
                  <a:lnTo>
                    <a:pt x="11686" y="3607"/>
                  </a:lnTo>
                  <a:lnTo>
                    <a:pt x="11716" y="3673"/>
                  </a:lnTo>
                  <a:lnTo>
                    <a:pt x="11749" y="3739"/>
                  </a:lnTo>
                  <a:lnTo>
                    <a:pt x="11786" y="3802"/>
                  </a:lnTo>
                  <a:lnTo>
                    <a:pt x="11825" y="3864"/>
                  </a:lnTo>
                  <a:lnTo>
                    <a:pt x="11867" y="3922"/>
                  </a:lnTo>
                  <a:lnTo>
                    <a:pt x="11912" y="3979"/>
                  </a:lnTo>
                  <a:lnTo>
                    <a:pt x="11960" y="4035"/>
                  </a:lnTo>
                  <a:lnTo>
                    <a:pt x="12010" y="4087"/>
                  </a:lnTo>
                  <a:lnTo>
                    <a:pt x="12062" y="4136"/>
                  </a:lnTo>
                  <a:lnTo>
                    <a:pt x="12117" y="4184"/>
                  </a:lnTo>
                  <a:lnTo>
                    <a:pt x="12174" y="4229"/>
                  </a:lnTo>
                  <a:lnTo>
                    <a:pt x="12233" y="4271"/>
                  </a:lnTo>
                  <a:lnTo>
                    <a:pt x="12295" y="4310"/>
                  </a:lnTo>
                  <a:lnTo>
                    <a:pt x="12357" y="4347"/>
                  </a:lnTo>
                  <a:lnTo>
                    <a:pt x="12422" y="4380"/>
                  </a:lnTo>
                  <a:lnTo>
                    <a:pt x="12490" y="4410"/>
                  </a:lnTo>
                  <a:lnTo>
                    <a:pt x="12558" y="4437"/>
                  </a:lnTo>
                  <a:lnTo>
                    <a:pt x="12628" y="4461"/>
                  </a:lnTo>
                  <a:lnTo>
                    <a:pt x="12700" y="4481"/>
                  </a:lnTo>
                  <a:lnTo>
                    <a:pt x="12772" y="4499"/>
                  </a:lnTo>
                  <a:lnTo>
                    <a:pt x="12847" y="4512"/>
                  </a:lnTo>
                  <a:lnTo>
                    <a:pt x="12922" y="4521"/>
                  </a:lnTo>
                  <a:lnTo>
                    <a:pt x="12999" y="4527"/>
                  </a:lnTo>
                  <a:lnTo>
                    <a:pt x="13076" y="4529"/>
                  </a:lnTo>
                  <a:lnTo>
                    <a:pt x="13579" y="4529"/>
                  </a:lnTo>
                  <a:lnTo>
                    <a:pt x="15089" y="4529"/>
                  </a:lnTo>
                  <a:lnTo>
                    <a:pt x="15089" y="13586"/>
                  </a:lnTo>
                  <a:close/>
                  <a:moveTo>
                    <a:pt x="15800" y="3314"/>
                  </a:moveTo>
                  <a:lnTo>
                    <a:pt x="12782" y="295"/>
                  </a:lnTo>
                  <a:lnTo>
                    <a:pt x="12764" y="278"/>
                  </a:lnTo>
                  <a:lnTo>
                    <a:pt x="12746" y="261"/>
                  </a:lnTo>
                  <a:lnTo>
                    <a:pt x="12728" y="244"/>
                  </a:lnTo>
                  <a:lnTo>
                    <a:pt x="12709" y="228"/>
                  </a:lnTo>
                  <a:lnTo>
                    <a:pt x="12690" y="212"/>
                  </a:lnTo>
                  <a:lnTo>
                    <a:pt x="12670" y="197"/>
                  </a:lnTo>
                  <a:lnTo>
                    <a:pt x="12650" y="183"/>
                  </a:lnTo>
                  <a:lnTo>
                    <a:pt x="12630" y="169"/>
                  </a:lnTo>
                  <a:lnTo>
                    <a:pt x="12608" y="156"/>
                  </a:lnTo>
                  <a:lnTo>
                    <a:pt x="12587" y="143"/>
                  </a:lnTo>
                  <a:lnTo>
                    <a:pt x="12566" y="131"/>
                  </a:lnTo>
                  <a:lnTo>
                    <a:pt x="12545" y="119"/>
                  </a:lnTo>
                  <a:lnTo>
                    <a:pt x="12523" y="108"/>
                  </a:lnTo>
                  <a:lnTo>
                    <a:pt x="12501" y="97"/>
                  </a:lnTo>
                  <a:lnTo>
                    <a:pt x="12479" y="87"/>
                  </a:lnTo>
                  <a:lnTo>
                    <a:pt x="12457" y="76"/>
                  </a:lnTo>
                  <a:lnTo>
                    <a:pt x="12433" y="67"/>
                  </a:lnTo>
                  <a:lnTo>
                    <a:pt x="12410" y="59"/>
                  </a:lnTo>
                  <a:lnTo>
                    <a:pt x="12387" y="51"/>
                  </a:lnTo>
                  <a:lnTo>
                    <a:pt x="12364" y="43"/>
                  </a:lnTo>
                  <a:lnTo>
                    <a:pt x="12340" y="36"/>
                  </a:lnTo>
                  <a:lnTo>
                    <a:pt x="12317" y="30"/>
                  </a:lnTo>
                  <a:lnTo>
                    <a:pt x="12293" y="25"/>
                  </a:lnTo>
                  <a:lnTo>
                    <a:pt x="12268" y="19"/>
                  </a:lnTo>
                  <a:lnTo>
                    <a:pt x="12244" y="15"/>
                  </a:lnTo>
                  <a:lnTo>
                    <a:pt x="12220" y="11"/>
                  </a:lnTo>
                  <a:lnTo>
                    <a:pt x="12195" y="8"/>
                  </a:lnTo>
                  <a:lnTo>
                    <a:pt x="12171" y="5"/>
                  </a:lnTo>
                  <a:lnTo>
                    <a:pt x="12146" y="3"/>
                  </a:lnTo>
                  <a:lnTo>
                    <a:pt x="12122" y="1"/>
                  </a:lnTo>
                  <a:lnTo>
                    <a:pt x="12096" y="0"/>
                  </a:lnTo>
                  <a:lnTo>
                    <a:pt x="12071" y="0"/>
                  </a:lnTo>
                  <a:lnTo>
                    <a:pt x="1509" y="0"/>
                  </a:lnTo>
                  <a:lnTo>
                    <a:pt x="1431" y="2"/>
                  </a:lnTo>
                  <a:lnTo>
                    <a:pt x="1355" y="8"/>
                  </a:lnTo>
                  <a:lnTo>
                    <a:pt x="1280" y="17"/>
                  </a:lnTo>
                  <a:lnTo>
                    <a:pt x="1205" y="31"/>
                  </a:lnTo>
                  <a:lnTo>
                    <a:pt x="1133" y="47"/>
                  </a:lnTo>
                  <a:lnTo>
                    <a:pt x="1060" y="68"/>
                  </a:lnTo>
                  <a:lnTo>
                    <a:pt x="991" y="92"/>
                  </a:lnTo>
                  <a:lnTo>
                    <a:pt x="922" y="119"/>
                  </a:lnTo>
                  <a:lnTo>
                    <a:pt x="855" y="149"/>
                  </a:lnTo>
                  <a:lnTo>
                    <a:pt x="791" y="182"/>
                  </a:lnTo>
                  <a:lnTo>
                    <a:pt x="727" y="218"/>
                  </a:lnTo>
                  <a:lnTo>
                    <a:pt x="666" y="259"/>
                  </a:lnTo>
                  <a:lnTo>
                    <a:pt x="607" y="300"/>
                  </a:lnTo>
                  <a:lnTo>
                    <a:pt x="549" y="345"/>
                  </a:lnTo>
                  <a:lnTo>
                    <a:pt x="495" y="392"/>
                  </a:lnTo>
                  <a:lnTo>
                    <a:pt x="443" y="443"/>
                  </a:lnTo>
                  <a:lnTo>
                    <a:pt x="392" y="495"/>
                  </a:lnTo>
                  <a:lnTo>
                    <a:pt x="345" y="549"/>
                  </a:lnTo>
                  <a:lnTo>
                    <a:pt x="300" y="607"/>
                  </a:lnTo>
                  <a:lnTo>
                    <a:pt x="259" y="666"/>
                  </a:lnTo>
                  <a:lnTo>
                    <a:pt x="218" y="728"/>
                  </a:lnTo>
                  <a:lnTo>
                    <a:pt x="182" y="791"/>
                  </a:lnTo>
                  <a:lnTo>
                    <a:pt x="149" y="855"/>
                  </a:lnTo>
                  <a:lnTo>
                    <a:pt x="119" y="923"/>
                  </a:lnTo>
                  <a:lnTo>
                    <a:pt x="92" y="991"/>
                  </a:lnTo>
                  <a:lnTo>
                    <a:pt x="68" y="1061"/>
                  </a:lnTo>
                  <a:lnTo>
                    <a:pt x="47" y="1133"/>
                  </a:lnTo>
                  <a:lnTo>
                    <a:pt x="31" y="1206"/>
                  </a:lnTo>
                  <a:lnTo>
                    <a:pt x="17" y="1280"/>
                  </a:lnTo>
                  <a:lnTo>
                    <a:pt x="8" y="1356"/>
                  </a:lnTo>
                  <a:lnTo>
                    <a:pt x="2" y="1432"/>
                  </a:lnTo>
                  <a:lnTo>
                    <a:pt x="0" y="1510"/>
                  </a:lnTo>
                  <a:lnTo>
                    <a:pt x="0" y="13586"/>
                  </a:lnTo>
                  <a:lnTo>
                    <a:pt x="2" y="13664"/>
                  </a:lnTo>
                  <a:lnTo>
                    <a:pt x="8" y="13740"/>
                  </a:lnTo>
                  <a:lnTo>
                    <a:pt x="17" y="13816"/>
                  </a:lnTo>
                  <a:lnTo>
                    <a:pt x="31" y="13890"/>
                  </a:lnTo>
                  <a:lnTo>
                    <a:pt x="47" y="13963"/>
                  </a:lnTo>
                  <a:lnTo>
                    <a:pt x="68" y="14035"/>
                  </a:lnTo>
                  <a:lnTo>
                    <a:pt x="92" y="14105"/>
                  </a:lnTo>
                  <a:lnTo>
                    <a:pt x="119" y="14173"/>
                  </a:lnTo>
                  <a:lnTo>
                    <a:pt x="149" y="14241"/>
                  </a:lnTo>
                  <a:lnTo>
                    <a:pt x="182" y="14305"/>
                  </a:lnTo>
                  <a:lnTo>
                    <a:pt x="218" y="14368"/>
                  </a:lnTo>
                  <a:lnTo>
                    <a:pt x="259" y="14430"/>
                  </a:lnTo>
                  <a:lnTo>
                    <a:pt x="300" y="14489"/>
                  </a:lnTo>
                  <a:lnTo>
                    <a:pt x="345" y="14547"/>
                  </a:lnTo>
                  <a:lnTo>
                    <a:pt x="392" y="14601"/>
                  </a:lnTo>
                  <a:lnTo>
                    <a:pt x="443" y="14653"/>
                  </a:lnTo>
                  <a:lnTo>
                    <a:pt x="495" y="14704"/>
                  </a:lnTo>
                  <a:lnTo>
                    <a:pt x="549" y="14751"/>
                  </a:lnTo>
                  <a:lnTo>
                    <a:pt x="607" y="14796"/>
                  </a:lnTo>
                  <a:lnTo>
                    <a:pt x="666" y="14837"/>
                  </a:lnTo>
                  <a:lnTo>
                    <a:pt x="727" y="14878"/>
                  </a:lnTo>
                  <a:lnTo>
                    <a:pt x="791" y="14914"/>
                  </a:lnTo>
                  <a:lnTo>
                    <a:pt x="855" y="14947"/>
                  </a:lnTo>
                  <a:lnTo>
                    <a:pt x="922" y="14977"/>
                  </a:lnTo>
                  <a:lnTo>
                    <a:pt x="991" y="15004"/>
                  </a:lnTo>
                  <a:lnTo>
                    <a:pt x="1060" y="15028"/>
                  </a:lnTo>
                  <a:lnTo>
                    <a:pt x="1133" y="15049"/>
                  </a:lnTo>
                  <a:lnTo>
                    <a:pt x="1205" y="15065"/>
                  </a:lnTo>
                  <a:lnTo>
                    <a:pt x="1280" y="15079"/>
                  </a:lnTo>
                  <a:lnTo>
                    <a:pt x="1355" y="15088"/>
                  </a:lnTo>
                  <a:lnTo>
                    <a:pt x="1431" y="15094"/>
                  </a:lnTo>
                  <a:lnTo>
                    <a:pt x="1509" y="15096"/>
                  </a:lnTo>
                  <a:lnTo>
                    <a:pt x="14586" y="15096"/>
                  </a:lnTo>
                  <a:lnTo>
                    <a:pt x="14664" y="15094"/>
                  </a:lnTo>
                  <a:lnTo>
                    <a:pt x="14740" y="15088"/>
                  </a:lnTo>
                  <a:lnTo>
                    <a:pt x="14815" y="15079"/>
                  </a:lnTo>
                  <a:lnTo>
                    <a:pt x="14890" y="15065"/>
                  </a:lnTo>
                  <a:lnTo>
                    <a:pt x="14962" y="15049"/>
                  </a:lnTo>
                  <a:lnTo>
                    <a:pt x="15035" y="15028"/>
                  </a:lnTo>
                  <a:lnTo>
                    <a:pt x="15104" y="15004"/>
                  </a:lnTo>
                  <a:lnTo>
                    <a:pt x="15173" y="14977"/>
                  </a:lnTo>
                  <a:lnTo>
                    <a:pt x="15240" y="14947"/>
                  </a:lnTo>
                  <a:lnTo>
                    <a:pt x="15304" y="14914"/>
                  </a:lnTo>
                  <a:lnTo>
                    <a:pt x="15368" y="14878"/>
                  </a:lnTo>
                  <a:lnTo>
                    <a:pt x="15429" y="14837"/>
                  </a:lnTo>
                  <a:lnTo>
                    <a:pt x="15488" y="14796"/>
                  </a:lnTo>
                  <a:lnTo>
                    <a:pt x="15546" y="14751"/>
                  </a:lnTo>
                  <a:lnTo>
                    <a:pt x="15600" y="14704"/>
                  </a:lnTo>
                  <a:lnTo>
                    <a:pt x="15652" y="14653"/>
                  </a:lnTo>
                  <a:lnTo>
                    <a:pt x="15703" y="14601"/>
                  </a:lnTo>
                  <a:lnTo>
                    <a:pt x="15750" y="14547"/>
                  </a:lnTo>
                  <a:lnTo>
                    <a:pt x="15795" y="14489"/>
                  </a:lnTo>
                  <a:lnTo>
                    <a:pt x="15836" y="14430"/>
                  </a:lnTo>
                  <a:lnTo>
                    <a:pt x="15877" y="14368"/>
                  </a:lnTo>
                  <a:lnTo>
                    <a:pt x="15913" y="14305"/>
                  </a:lnTo>
                  <a:lnTo>
                    <a:pt x="15946" y="14241"/>
                  </a:lnTo>
                  <a:lnTo>
                    <a:pt x="15976" y="14173"/>
                  </a:lnTo>
                  <a:lnTo>
                    <a:pt x="16003" y="14105"/>
                  </a:lnTo>
                  <a:lnTo>
                    <a:pt x="16027" y="14035"/>
                  </a:lnTo>
                  <a:lnTo>
                    <a:pt x="16048" y="13963"/>
                  </a:lnTo>
                  <a:lnTo>
                    <a:pt x="16064" y="13890"/>
                  </a:lnTo>
                  <a:lnTo>
                    <a:pt x="16078" y="13816"/>
                  </a:lnTo>
                  <a:lnTo>
                    <a:pt x="16087" y="13740"/>
                  </a:lnTo>
                  <a:lnTo>
                    <a:pt x="16093" y="13664"/>
                  </a:lnTo>
                  <a:lnTo>
                    <a:pt x="16095" y="13586"/>
                  </a:lnTo>
                  <a:lnTo>
                    <a:pt x="16095" y="4026"/>
                  </a:lnTo>
                  <a:lnTo>
                    <a:pt x="16095" y="4000"/>
                  </a:lnTo>
                  <a:lnTo>
                    <a:pt x="16094" y="3975"/>
                  </a:lnTo>
                  <a:lnTo>
                    <a:pt x="16092" y="3951"/>
                  </a:lnTo>
                  <a:lnTo>
                    <a:pt x="16090" y="3926"/>
                  </a:lnTo>
                  <a:lnTo>
                    <a:pt x="16087" y="3902"/>
                  </a:lnTo>
                  <a:lnTo>
                    <a:pt x="16084" y="3877"/>
                  </a:lnTo>
                  <a:lnTo>
                    <a:pt x="16080" y="3852"/>
                  </a:lnTo>
                  <a:lnTo>
                    <a:pt x="16076" y="3828"/>
                  </a:lnTo>
                  <a:lnTo>
                    <a:pt x="16070" y="3804"/>
                  </a:lnTo>
                  <a:lnTo>
                    <a:pt x="16065" y="3780"/>
                  </a:lnTo>
                  <a:lnTo>
                    <a:pt x="16059" y="3757"/>
                  </a:lnTo>
                  <a:lnTo>
                    <a:pt x="16052" y="3733"/>
                  </a:lnTo>
                  <a:lnTo>
                    <a:pt x="16044" y="3710"/>
                  </a:lnTo>
                  <a:lnTo>
                    <a:pt x="16036" y="3686"/>
                  </a:lnTo>
                  <a:lnTo>
                    <a:pt x="16028" y="3663"/>
                  </a:lnTo>
                  <a:lnTo>
                    <a:pt x="16019" y="3641"/>
                  </a:lnTo>
                  <a:lnTo>
                    <a:pt x="16008" y="3618"/>
                  </a:lnTo>
                  <a:lnTo>
                    <a:pt x="15998" y="3596"/>
                  </a:lnTo>
                  <a:lnTo>
                    <a:pt x="15987" y="3574"/>
                  </a:lnTo>
                  <a:lnTo>
                    <a:pt x="15976" y="3552"/>
                  </a:lnTo>
                  <a:lnTo>
                    <a:pt x="15964" y="3530"/>
                  </a:lnTo>
                  <a:lnTo>
                    <a:pt x="15952" y="3509"/>
                  </a:lnTo>
                  <a:lnTo>
                    <a:pt x="15939" y="3488"/>
                  </a:lnTo>
                  <a:lnTo>
                    <a:pt x="15926" y="3467"/>
                  </a:lnTo>
                  <a:lnTo>
                    <a:pt x="15912" y="3447"/>
                  </a:lnTo>
                  <a:lnTo>
                    <a:pt x="15898" y="3427"/>
                  </a:lnTo>
                  <a:lnTo>
                    <a:pt x="15883" y="3408"/>
                  </a:lnTo>
                  <a:lnTo>
                    <a:pt x="15867" y="3388"/>
                  </a:lnTo>
                  <a:lnTo>
                    <a:pt x="15852" y="3368"/>
                  </a:lnTo>
                  <a:lnTo>
                    <a:pt x="15834" y="3350"/>
                  </a:lnTo>
                  <a:lnTo>
                    <a:pt x="15817" y="3332"/>
                  </a:lnTo>
                  <a:lnTo>
                    <a:pt x="15800" y="33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88" name="i$ļíďè">
              <a:extLst>
                <a:ext uri="{FF2B5EF4-FFF2-40B4-BE49-F238E27FC236}">
                  <a16:creationId xmlns:a16="http://schemas.microsoft.com/office/drawing/2014/main" id="{5148362C-27D5-46F1-8007-D6B6CA15F1FC}"/>
                </a:ext>
              </a:extLst>
            </p:cNvPr>
            <p:cNvSpPr/>
            <p:nvPr/>
          </p:nvSpPr>
          <p:spPr bwMode="auto">
            <a:xfrm>
              <a:off x="3531453" y="91806"/>
              <a:ext cx="56834" cy="9122"/>
            </a:xfrm>
            <a:custGeom>
              <a:avLst/>
              <a:gdLst>
                <a:gd name="T0" fmla="*/ 2779 w 3017"/>
                <a:gd name="T1" fmla="*/ 503 h 503"/>
                <a:gd name="T2" fmla="*/ 2816 w 3017"/>
                <a:gd name="T3" fmla="*/ 498 h 503"/>
                <a:gd name="T4" fmla="*/ 2852 w 3017"/>
                <a:gd name="T5" fmla="*/ 488 h 503"/>
                <a:gd name="T6" fmla="*/ 2886 w 3017"/>
                <a:gd name="T7" fmla="*/ 473 h 503"/>
                <a:gd name="T8" fmla="*/ 2917 w 3017"/>
                <a:gd name="T9" fmla="*/ 453 h 503"/>
                <a:gd name="T10" fmla="*/ 2944 w 3017"/>
                <a:gd name="T11" fmla="*/ 430 h 503"/>
                <a:gd name="T12" fmla="*/ 2967 w 3017"/>
                <a:gd name="T13" fmla="*/ 403 h 503"/>
                <a:gd name="T14" fmla="*/ 2987 w 3017"/>
                <a:gd name="T15" fmla="*/ 372 h 503"/>
                <a:gd name="T16" fmla="*/ 3002 w 3017"/>
                <a:gd name="T17" fmla="*/ 338 h 503"/>
                <a:gd name="T18" fmla="*/ 3012 w 3017"/>
                <a:gd name="T19" fmla="*/ 302 h 503"/>
                <a:gd name="T20" fmla="*/ 3017 w 3017"/>
                <a:gd name="T21" fmla="*/ 265 h 503"/>
                <a:gd name="T22" fmla="*/ 3016 w 3017"/>
                <a:gd name="T23" fmla="*/ 227 h 503"/>
                <a:gd name="T24" fmla="*/ 3009 w 3017"/>
                <a:gd name="T25" fmla="*/ 189 h 503"/>
                <a:gd name="T26" fmla="*/ 2997 w 3017"/>
                <a:gd name="T27" fmla="*/ 154 h 503"/>
                <a:gd name="T28" fmla="*/ 2981 w 3017"/>
                <a:gd name="T29" fmla="*/ 121 h 503"/>
                <a:gd name="T30" fmla="*/ 2960 w 3017"/>
                <a:gd name="T31" fmla="*/ 92 h 503"/>
                <a:gd name="T32" fmla="*/ 2935 w 3017"/>
                <a:gd name="T33" fmla="*/ 66 h 503"/>
                <a:gd name="T34" fmla="*/ 2907 w 3017"/>
                <a:gd name="T35" fmla="*/ 43 h 503"/>
                <a:gd name="T36" fmla="*/ 2875 w 3017"/>
                <a:gd name="T37" fmla="*/ 25 h 503"/>
                <a:gd name="T38" fmla="*/ 2840 w 3017"/>
                <a:gd name="T39" fmla="*/ 11 h 503"/>
                <a:gd name="T40" fmla="*/ 2804 w 3017"/>
                <a:gd name="T41" fmla="*/ 3 h 503"/>
                <a:gd name="T42" fmla="*/ 2766 w 3017"/>
                <a:gd name="T43" fmla="*/ 0 h 503"/>
                <a:gd name="T44" fmla="*/ 226 w 3017"/>
                <a:gd name="T45" fmla="*/ 1 h 503"/>
                <a:gd name="T46" fmla="*/ 189 w 3017"/>
                <a:gd name="T47" fmla="*/ 8 h 503"/>
                <a:gd name="T48" fmla="*/ 153 w 3017"/>
                <a:gd name="T49" fmla="*/ 20 h 503"/>
                <a:gd name="T50" fmla="*/ 121 w 3017"/>
                <a:gd name="T51" fmla="*/ 36 h 503"/>
                <a:gd name="T52" fmla="*/ 91 w 3017"/>
                <a:gd name="T53" fmla="*/ 58 h 503"/>
                <a:gd name="T54" fmla="*/ 65 w 3017"/>
                <a:gd name="T55" fmla="*/ 83 h 503"/>
                <a:gd name="T56" fmla="*/ 43 w 3017"/>
                <a:gd name="T57" fmla="*/ 111 h 503"/>
                <a:gd name="T58" fmla="*/ 25 w 3017"/>
                <a:gd name="T59" fmla="*/ 143 h 503"/>
                <a:gd name="T60" fmla="*/ 11 w 3017"/>
                <a:gd name="T61" fmla="*/ 177 h 503"/>
                <a:gd name="T62" fmla="*/ 3 w 3017"/>
                <a:gd name="T63" fmla="*/ 214 h 503"/>
                <a:gd name="T64" fmla="*/ 0 w 3017"/>
                <a:gd name="T65" fmla="*/ 252 h 503"/>
                <a:gd name="T66" fmla="*/ 3 w 3017"/>
                <a:gd name="T67" fmla="*/ 290 h 503"/>
                <a:gd name="T68" fmla="*/ 11 w 3017"/>
                <a:gd name="T69" fmla="*/ 326 h 503"/>
                <a:gd name="T70" fmla="*/ 25 w 3017"/>
                <a:gd name="T71" fmla="*/ 360 h 503"/>
                <a:gd name="T72" fmla="*/ 43 w 3017"/>
                <a:gd name="T73" fmla="*/ 393 h 503"/>
                <a:gd name="T74" fmla="*/ 65 w 3017"/>
                <a:gd name="T75" fmla="*/ 421 h 503"/>
                <a:gd name="T76" fmla="*/ 91 w 3017"/>
                <a:gd name="T77" fmla="*/ 446 h 503"/>
                <a:gd name="T78" fmla="*/ 121 w 3017"/>
                <a:gd name="T79" fmla="*/ 467 h 503"/>
                <a:gd name="T80" fmla="*/ 153 w 3017"/>
                <a:gd name="T81" fmla="*/ 483 h 503"/>
                <a:gd name="T82" fmla="*/ 189 w 3017"/>
                <a:gd name="T83" fmla="*/ 495 h 503"/>
                <a:gd name="T84" fmla="*/ 226 w 3017"/>
                <a:gd name="T85" fmla="*/ 50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17" h="503">
                  <a:moveTo>
                    <a:pt x="251" y="503"/>
                  </a:moveTo>
                  <a:lnTo>
                    <a:pt x="2766" y="503"/>
                  </a:lnTo>
                  <a:lnTo>
                    <a:pt x="2779" y="503"/>
                  </a:lnTo>
                  <a:lnTo>
                    <a:pt x="2792" y="502"/>
                  </a:lnTo>
                  <a:lnTo>
                    <a:pt x="2804" y="500"/>
                  </a:lnTo>
                  <a:lnTo>
                    <a:pt x="2816" y="498"/>
                  </a:lnTo>
                  <a:lnTo>
                    <a:pt x="2829" y="495"/>
                  </a:lnTo>
                  <a:lnTo>
                    <a:pt x="2840" y="492"/>
                  </a:lnTo>
                  <a:lnTo>
                    <a:pt x="2852" y="488"/>
                  </a:lnTo>
                  <a:lnTo>
                    <a:pt x="2863" y="483"/>
                  </a:lnTo>
                  <a:lnTo>
                    <a:pt x="2875" y="478"/>
                  </a:lnTo>
                  <a:lnTo>
                    <a:pt x="2886" y="473"/>
                  </a:lnTo>
                  <a:lnTo>
                    <a:pt x="2897" y="467"/>
                  </a:lnTo>
                  <a:lnTo>
                    <a:pt x="2907" y="460"/>
                  </a:lnTo>
                  <a:lnTo>
                    <a:pt x="2917" y="453"/>
                  </a:lnTo>
                  <a:lnTo>
                    <a:pt x="2926" y="446"/>
                  </a:lnTo>
                  <a:lnTo>
                    <a:pt x="2935" y="438"/>
                  </a:lnTo>
                  <a:lnTo>
                    <a:pt x="2944" y="430"/>
                  </a:lnTo>
                  <a:lnTo>
                    <a:pt x="2952" y="421"/>
                  </a:lnTo>
                  <a:lnTo>
                    <a:pt x="2960" y="412"/>
                  </a:lnTo>
                  <a:lnTo>
                    <a:pt x="2967" y="403"/>
                  </a:lnTo>
                  <a:lnTo>
                    <a:pt x="2974" y="393"/>
                  </a:lnTo>
                  <a:lnTo>
                    <a:pt x="2981" y="383"/>
                  </a:lnTo>
                  <a:lnTo>
                    <a:pt x="2987" y="372"/>
                  </a:lnTo>
                  <a:lnTo>
                    <a:pt x="2992" y="360"/>
                  </a:lnTo>
                  <a:lnTo>
                    <a:pt x="2997" y="349"/>
                  </a:lnTo>
                  <a:lnTo>
                    <a:pt x="3002" y="338"/>
                  </a:lnTo>
                  <a:lnTo>
                    <a:pt x="3006" y="326"/>
                  </a:lnTo>
                  <a:lnTo>
                    <a:pt x="3009" y="314"/>
                  </a:lnTo>
                  <a:lnTo>
                    <a:pt x="3012" y="302"/>
                  </a:lnTo>
                  <a:lnTo>
                    <a:pt x="3014" y="290"/>
                  </a:lnTo>
                  <a:lnTo>
                    <a:pt x="3016" y="278"/>
                  </a:lnTo>
                  <a:lnTo>
                    <a:pt x="3017" y="265"/>
                  </a:lnTo>
                  <a:lnTo>
                    <a:pt x="3017" y="252"/>
                  </a:lnTo>
                  <a:lnTo>
                    <a:pt x="3017" y="239"/>
                  </a:lnTo>
                  <a:lnTo>
                    <a:pt x="3016" y="227"/>
                  </a:lnTo>
                  <a:lnTo>
                    <a:pt x="3014" y="214"/>
                  </a:lnTo>
                  <a:lnTo>
                    <a:pt x="3012" y="201"/>
                  </a:lnTo>
                  <a:lnTo>
                    <a:pt x="3009" y="189"/>
                  </a:lnTo>
                  <a:lnTo>
                    <a:pt x="3006" y="177"/>
                  </a:lnTo>
                  <a:lnTo>
                    <a:pt x="3002" y="165"/>
                  </a:lnTo>
                  <a:lnTo>
                    <a:pt x="2997" y="154"/>
                  </a:lnTo>
                  <a:lnTo>
                    <a:pt x="2992" y="143"/>
                  </a:lnTo>
                  <a:lnTo>
                    <a:pt x="2987" y="132"/>
                  </a:lnTo>
                  <a:lnTo>
                    <a:pt x="2981" y="121"/>
                  </a:lnTo>
                  <a:lnTo>
                    <a:pt x="2974" y="111"/>
                  </a:lnTo>
                  <a:lnTo>
                    <a:pt x="2967" y="101"/>
                  </a:lnTo>
                  <a:lnTo>
                    <a:pt x="2960" y="92"/>
                  </a:lnTo>
                  <a:lnTo>
                    <a:pt x="2952" y="83"/>
                  </a:lnTo>
                  <a:lnTo>
                    <a:pt x="2944" y="74"/>
                  </a:lnTo>
                  <a:lnTo>
                    <a:pt x="2935" y="66"/>
                  </a:lnTo>
                  <a:lnTo>
                    <a:pt x="2926" y="58"/>
                  </a:lnTo>
                  <a:lnTo>
                    <a:pt x="2917" y="51"/>
                  </a:lnTo>
                  <a:lnTo>
                    <a:pt x="2907" y="43"/>
                  </a:lnTo>
                  <a:lnTo>
                    <a:pt x="2897" y="36"/>
                  </a:lnTo>
                  <a:lnTo>
                    <a:pt x="2886" y="30"/>
                  </a:lnTo>
                  <a:lnTo>
                    <a:pt x="2875" y="25"/>
                  </a:lnTo>
                  <a:lnTo>
                    <a:pt x="2863" y="20"/>
                  </a:lnTo>
                  <a:lnTo>
                    <a:pt x="2852" y="15"/>
                  </a:lnTo>
                  <a:lnTo>
                    <a:pt x="2840" y="11"/>
                  </a:lnTo>
                  <a:lnTo>
                    <a:pt x="2829" y="8"/>
                  </a:lnTo>
                  <a:lnTo>
                    <a:pt x="2816" y="5"/>
                  </a:lnTo>
                  <a:lnTo>
                    <a:pt x="2804" y="3"/>
                  </a:lnTo>
                  <a:lnTo>
                    <a:pt x="2792" y="1"/>
                  </a:lnTo>
                  <a:lnTo>
                    <a:pt x="2779" y="0"/>
                  </a:lnTo>
                  <a:lnTo>
                    <a:pt x="2766" y="0"/>
                  </a:lnTo>
                  <a:lnTo>
                    <a:pt x="251" y="0"/>
                  </a:lnTo>
                  <a:lnTo>
                    <a:pt x="238" y="0"/>
                  </a:lnTo>
                  <a:lnTo>
                    <a:pt x="226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3" y="20"/>
                  </a:lnTo>
                  <a:lnTo>
                    <a:pt x="142" y="25"/>
                  </a:lnTo>
                  <a:lnTo>
                    <a:pt x="131" y="30"/>
                  </a:lnTo>
                  <a:lnTo>
                    <a:pt x="121" y="36"/>
                  </a:lnTo>
                  <a:lnTo>
                    <a:pt x="110" y="43"/>
                  </a:lnTo>
                  <a:lnTo>
                    <a:pt x="101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1"/>
                  </a:lnTo>
                  <a:lnTo>
                    <a:pt x="43" y="111"/>
                  </a:lnTo>
                  <a:lnTo>
                    <a:pt x="36" y="121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4"/>
                  </a:lnTo>
                  <a:lnTo>
                    <a:pt x="2" y="227"/>
                  </a:lnTo>
                  <a:lnTo>
                    <a:pt x="1" y="239"/>
                  </a:lnTo>
                  <a:lnTo>
                    <a:pt x="0" y="252"/>
                  </a:lnTo>
                  <a:lnTo>
                    <a:pt x="1" y="265"/>
                  </a:lnTo>
                  <a:lnTo>
                    <a:pt x="2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4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1" y="453"/>
                  </a:lnTo>
                  <a:lnTo>
                    <a:pt x="110" y="460"/>
                  </a:lnTo>
                  <a:lnTo>
                    <a:pt x="121" y="467"/>
                  </a:lnTo>
                  <a:lnTo>
                    <a:pt x="131" y="473"/>
                  </a:lnTo>
                  <a:lnTo>
                    <a:pt x="142" y="478"/>
                  </a:lnTo>
                  <a:lnTo>
                    <a:pt x="153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6" y="502"/>
                  </a:lnTo>
                  <a:lnTo>
                    <a:pt x="238" y="503"/>
                  </a:lnTo>
                  <a:lnTo>
                    <a:pt x="251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89" name="îś1íďê">
              <a:extLst>
                <a:ext uri="{FF2B5EF4-FFF2-40B4-BE49-F238E27FC236}">
                  <a16:creationId xmlns:a16="http://schemas.microsoft.com/office/drawing/2014/main" id="{F0D5C306-38B5-421D-AAC5-3DCC5B0B34F1}"/>
                </a:ext>
              </a:extLst>
            </p:cNvPr>
            <p:cNvSpPr/>
            <p:nvPr/>
          </p:nvSpPr>
          <p:spPr bwMode="auto">
            <a:xfrm>
              <a:off x="3531453" y="119873"/>
              <a:ext cx="56834" cy="9823"/>
            </a:xfrm>
            <a:custGeom>
              <a:avLst/>
              <a:gdLst>
                <a:gd name="T0" fmla="*/ 2779 w 3017"/>
                <a:gd name="T1" fmla="*/ 503 h 503"/>
                <a:gd name="T2" fmla="*/ 2816 w 3017"/>
                <a:gd name="T3" fmla="*/ 498 h 503"/>
                <a:gd name="T4" fmla="*/ 2852 w 3017"/>
                <a:gd name="T5" fmla="*/ 488 h 503"/>
                <a:gd name="T6" fmla="*/ 2886 w 3017"/>
                <a:gd name="T7" fmla="*/ 473 h 503"/>
                <a:gd name="T8" fmla="*/ 2917 w 3017"/>
                <a:gd name="T9" fmla="*/ 453 h 503"/>
                <a:gd name="T10" fmla="*/ 2944 w 3017"/>
                <a:gd name="T11" fmla="*/ 430 h 503"/>
                <a:gd name="T12" fmla="*/ 2967 w 3017"/>
                <a:gd name="T13" fmla="*/ 402 h 503"/>
                <a:gd name="T14" fmla="*/ 2987 w 3017"/>
                <a:gd name="T15" fmla="*/ 371 h 503"/>
                <a:gd name="T16" fmla="*/ 3002 w 3017"/>
                <a:gd name="T17" fmla="*/ 338 h 503"/>
                <a:gd name="T18" fmla="*/ 3012 w 3017"/>
                <a:gd name="T19" fmla="*/ 302 h 503"/>
                <a:gd name="T20" fmla="*/ 3017 w 3017"/>
                <a:gd name="T21" fmla="*/ 264 h 503"/>
                <a:gd name="T22" fmla="*/ 3016 w 3017"/>
                <a:gd name="T23" fmla="*/ 225 h 503"/>
                <a:gd name="T24" fmla="*/ 3009 w 3017"/>
                <a:gd name="T25" fmla="*/ 189 h 503"/>
                <a:gd name="T26" fmla="*/ 2997 w 3017"/>
                <a:gd name="T27" fmla="*/ 154 h 503"/>
                <a:gd name="T28" fmla="*/ 2981 w 3017"/>
                <a:gd name="T29" fmla="*/ 121 h 503"/>
                <a:gd name="T30" fmla="*/ 2960 w 3017"/>
                <a:gd name="T31" fmla="*/ 91 h 503"/>
                <a:gd name="T32" fmla="*/ 2935 w 3017"/>
                <a:gd name="T33" fmla="*/ 65 h 503"/>
                <a:gd name="T34" fmla="*/ 2907 w 3017"/>
                <a:gd name="T35" fmla="*/ 43 h 503"/>
                <a:gd name="T36" fmla="*/ 2875 w 3017"/>
                <a:gd name="T37" fmla="*/ 25 h 503"/>
                <a:gd name="T38" fmla="*/ 2840 w 3017"/>
                <a:gd name="T39" fmla="*/ 11 h 503"/>
                <a:gd name="T40" fmla="*/ 2804 w 3017"/>
                <a:gd name="T41" fmla="*/ 3 h 503"/>
                <a:gd name="T42" fmla="*/ 2766 w 3017"/>
                <a:gd name="T43" fmla="*/ 0 h 503"/>
                <a:gd name="T44" fmla="*/ 226 w 3017"/>
                <a:gd name="T45" fmla="*/ 1 h 503"/>
                <a:gd name="T46" fmla="*/ 189 w 3017"/>
                <a:gd name="T47" fmla="*/ 8 h 503"/>
                <a:gd name="T48" fmla="*/ 153 w 3017"/>
                <a:gd name="T49" fmla="*/ 20 h 503"/>
                <a:gd name="T50" fmla="*/ 121 w 3017"/>
                <a:gd name="T51" fmla="*/ 36 h 503"/>
                <a:gd name="T52" fmla="*/ 91 w 3017"/>
                <a:gd name="T53" fmla="*/ 57 h 503"/>
                <a:gd name="T54" fmla="*/ 65 w 3017"/>
                <a:gd name="T55" fmla="*/ 82 h 503"/>
                <a:gd name="T56" fmla="*/ 43 w 3017"/>
                <a:gd name="T57" fmla="*/ 111 h 503"/>
                <a:gd name="T58" fmla="*/ 25 w 3017"/>
                <a:gd name="T59" fmla="*/ 143 h 503"/>
                <a:gd name="T60" fmla="*/ 11 w 3017"/>
                <a:gd name="T61" fmla="*/ 177 h 503"/>
                <a:gd name="T62" fmla="*/ 3 w 3017"/>
                <a:gd name="T63" fmla="*/ 213 h 503"/>
                <a:gd name="T64" fmla="*/ 0 w 3017"/>
                <a:gd name="T65" fmla="*/ 251 h 503"/>
                <a:gd name="T66" fmla="*/ 3 w 3017"/>
                <a:gd name="T67" fmla="*/ 290 h 503"/>
                <a:gd name="T68" fmla="*/ 11 w 3017"/>
                <a:gd name="T69" fmla="*/ 326 h 503"/>
                <a:gd name="T70" fmla="*/ 25 w 3017"/>
                <a:gd name="T71" fmla="*/ 360 h 503"/>
                <a:gd name="T72" fmla="*/ 43 w 3017"/>
                <a:gd name="T73" fmla="*/ 392 h 503"/>
                <a:gd name="T74" fmla="*/ 65 w 3017"/>
                <a:gd name="T75" fmla="*/ 420 h 503"/>
                <a:gd name="T76" fmla="*/ 91 w 3017"/>
                <a:gd name="T77" fmla="*/ 446 h 503"/>
                <a:gd name="T78" fmla="*/ 121 w 3017"/>
                <a:gd name="T79" fmla="*/ 467 h 503"/>
                <a:gd name="T80" fmla="*/ 153 w 3017"/>
                <a:gd name="T81" fmla="*/ 483 h 503"/>
                <a:gd name="T82" fmla="*/ 189 w 3017"/>
                <a:gd name="T83" fmla="*/ 495 h 503"/>
                <a:gd name="T84" fmla="*/ 226 w 3017"/>
                <a:gd name="T85" fmla="*/ 50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17" h="503">
                  <a:moveTo>
                    <a:pt x="251" y="503"/>
                  </a:moveTo>
                  <a:lnTo>
                    <a:pt x="2766" y="503"/>
                  </a:lnTo>
                  <a:lnTo>
                    <a:pt x="2779" y="503"/>
                  </a:lnTo>
                  <a:lnTo>
                    <a:pt x="2792" y="502"/>
                  </a:lnTo>
                  <a:lnTo>
                    <a:pt x="2804" y="500"/>
                  </a:lnTo>
                  <a:lnTo>
                    <a:pt x="2816" y="498"/>
                  </a:lnTo>
                  <a:lnTo>
                    <a:pt x="2829" y="495"/>
                  </a:lnTo>
                  <a:lnTo>
                    <a:pt x="2840" y="492"/>
                  </a:lnTo>
                  <a:lnTo>
                    <a:pt x="2852" y="488"/>
                  </a:lnTo>
                  <a:lnTo>
                    <a:pt x="2863" y="483"/>
                  </a:lnTo>
                  <a:lnTo>
                    <a:pt x="2875" y="478"/>
                  </a:lnTo>
                  <a:lnTo>
                    <a:pt x="2886" y="473"/>
                  </a:lnTo>
                  <a:lnTo>
                    <a:pt x="2897" y="467"/>
                  </a:lnTo>
                  <a:lnTo>
                    <a:pt x="2907" y="460"/>
                  </a:lnTo>
                  <a:lnTo>
                    <a:pt x="2917" y="453"/>
                  </a:lnTo>
                  <a:lnTo>
                    <a:pt x="2926" y="446"/>
                  </a:lnTo>
                  <a:lnTo>
                    <a:pt x="2935" y="438"/>
                  </a:lnTo>
                  <a:lnTo>
                    <a:pt x="2944" y="430"/>
                  </a:lnTo>
                  <a:lnTo>
                    <a:pt x="2952" y="420"/>
                  </a:lnTo>
                  <a:lnTo>
                    <a:pt x="2960" y="411"/>
                  </a:lnTo>
                  <a:lnTo>
                    <a:pt x="2967" y="402"/>
                  </a:lnTo>
                  <a:lnTo>
                    <a:pt x="2974" y="392"/>
                  </a:lnTo>
                  <a:lnTo>
                    <a:pt x="2981" y="382"/>
                  </a:lnTo>
                  <a:lnTo>
                    <a:pt x="2987" y="371"/>
                  </a:lnTo>
                  <a:lnTo>
                    <a:pt x="2992" y="360"/>
                  </a:lnTo>
                  <a:lnTo>
                    <a:pt x="2997" y="349"/>
                  </a:lnTo>
                  <a:lnTo>
                    <a:pt x="3002" y="338"/>
                  </a:lnTo>
                  <a:lnTo>
                    <a:pt x="3006" y="326"/>
                  </a:lnTo>
                  <a:lnTo>
                    <a:pt x="3009" y="314"/>
                  </a:lnTo>
                  <a:lnTo>
                    <a:pt x="3012" y="302"/>
                  </a:lnTo>
                  <a:lnTo>
                    <a:pt x="3014" y="290"/>
                  </a:lnTo>
                  <a:lnTo>
                    <a:pt x="3016" y="278"/>
                  </a:lnTo>
                  <a:lnTo>
                    <a:pt x="3017" y="264"/>
                  </a:lnTo>
                  <a:lnTo>
                    <a:pt x="3017" y="251"/>
                  </a:lnTo>
                  <a:lnTo>
                    <a:pt x="3017" y="238"/>
                  </a:lnTo>
                  <a:lnTo>
                    <a:pt x="3016" y="225"/>
                  </a:lnTo>
                  <a:lnTo>
                    <a:pt x="3014" y="213"/>
                  </a:lnTo>
                  <a:lnTo>
                    <a:pt x="3012" y="201"/>
                  </a:lnTo>
                  <a:lnTo>
                    <a:pt x="3009" y="189"/>
                  </a:lnTo>
                  <a:lnTo>
                    <a:pt x="3006" y="177"/>
                  </a:lnTo>
                  <a:lnTo>
                    <a:pt x="3002" y="165"/>
                  </a:lnTo>
                  <a:lnTo>
                    <a:pt x="2997" y="154"/>
                  </a:lnTo>
                  <a:lnTo>
                    <a:pt x="2992" y="143"/>
                  </a:lnTo>
                  <a:lnTo>
                    <a:pt x="2987" y="132"/>
                  </a:lnTo>
                  <a:lnTo>
                    <a:pt x="2981" y="121"/>
                  </a:lnTo>
                  <a:lnTo>
                    <a:pt x="2974" y="111"/>
                  </a:lnTo>
                  <a:lnTo>
                    <a:pt x="2967" y="100"/>
                  </a:lnTo>
                  <a:lnTo>
                    <a:pt x="2960" y="91"/>
                  </a:lnTo>
                  <a:lnTo>
                    <a:pt x="2952" y="82"/>
                  </a:lnTo>
                  <a:lnTo>
                    <a:pt x="2944" y="73"/>
                  </a:lnTo>
                  <a:lnTo>
                    <a:pt x="2935" y="65"/>
                  </a:lnTo>
                  <a:lnTo>
                    <a:pt x="2926" y="57"/>
                  </a:lnTo>
                  <a:lnTo>
                    <a:pt x="2917" y="50"/>
                  </a:lnTo>
                  <a:lnTo>
                    <a:pt x="2907" y="43"/>
                  </a:lnTo>
                  <a:lnTo>
                    <a:pt x="2897" y="36"/>
                  </a:lnTo>
                  <a:lnTo>
                    <a:pt x="2886" y="30"/>
                  </a:lnTo>
                  <a:lnTo>
                    <a:pt x="2875" y="25"/>
                  </a:lnTo>
                  <a:lnTo>
                    <a:pt x="2863" y="20"/>
                  </a:lnTo>
                  <a:lnTo>
                    <a:pt x="2852" y="15"/>
                  </a:lnTo>
                  <a:lnTo>
                    <a:pt x="2840" y="11"/>
                  </a:lnTo>
                  <a:lnTo>
                    <a:pt x="2829" y="8"/>
                  </a:lnTo>
                  <a:lnTo>
                    <a:pt x="2816" y="5"/>
                  </a:lnTo>
                  <a:lnTo>
                    <a:pt x="2804" y="3"/>
                  </a:lnTo>
                  <a:lnTo>
                    <a:pt x="2792" y="1"/>
                  </a:lnTo>
                  <a:lnTo>
                    <a:pt x="2779" y="0"/>
                  </a:lnTo>
                  <a:lnTo>
                    <a:pt x="2766" y="0"/>
                  </a:lnTo>
                  <a:lnTo>
                    <a:pt x="251" y="0"/>
                  </a:lnTo>
                  <a:lnTo>
                    <a:pt x="238" y="0"/>
                  </a:lnTo>
                  <a:lnTo>
                    <a:pt x="226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3" y="20"/>
                  </a:lnTo>
                  <a:lnTo>
                    <a:pt x="142" y="25"/>
                  </a:lnTo>
                  <a:lnTo>
                    <a:pt x="131" y="30"/>
                  </a:lnTo>
                  <a:lnTo>
                    <a:pt x="121" y="36"/>
                  </a:lnTo>
                  <a:lnTo>
                    <a:pt x="110" y="43"/>
                  </a:lnTo>
                  <a:lnTo>
                    <a:pt x="101" y="50"/>
                  </a:lnTo>
                  <a:lnTo>
                    <a:pt x="91" y="57"/>
                  </a:lnTo>
                  <a:lnTo>
                    <a:pt x="82" y="65"/>
                  </a:lnTo>
                  <a:lnTo>
                    <a:pt x="73" y="73"/>
                  </a:lnTo>
                  <a:lnTo>
                    <a:pt x="65" y="82"/>
                  </a:lnTo>
                  <a:lnTo>
                    <a:pt x="57" y="91"/>
                  </a:lnTo>
                  <a:lnTo>
                    <a:pt x="50" y="100"/>
                  </a:lnTo>
                  <a:lnTo>
                    <a:pt x="43" y="111"/>
                  </a:lnTo>
                  <a:lnTo>
                    <a:pt x="36" y="121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4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2"/>
                  </a:lnTo>
                  <a:lnTo>
                    <a:pt x="57" y="411"/>
                  </a:lnTo>
                  <a:lnTo>
                    <a:pt x="65" y="420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1" y="453"/>
                  </a:lnTo>
                  <a:lnTo>
                    <a:pt x="110" y="460"/>
                  </a:lnTo>
                  <a:lnTo>
                    <a:pt x="121" y="467"/>
                  </a:lnTo>
                  <a:lnTo>
                    <a:pt x="131" y="473"/>
                  </a:lnTo>
                  <a:lnTo>
                    <a:pt x="142" y="478"/>
                  </a:lnTo>
                  <a:lnTo>
                    <a:pt x="153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6" y="502"/>
                  </a:lnTo>
                  <a:lnTo>
                    <a:pt x="238" y="503"/>
                  </a:lnTo>
                  <a:lnTo>
                    <a:pt x="251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90" name="íṡ1ïḑe">
              <a:extLst>
                <a:ext uri="{FF2B5EF4-FFF2-40B4-BE49-F238E27FC236}">
                  <a16:creationId xmlns:a16="http://schemas.microsoft.com/office/drawing/2014/main" id="{DD2B0E85-2C2A-426C-9DC4-93C93FCC13A2}"/>
                </a:ext>
              </a:extLst>
            </p:cNvPr>
            <p:cNvSpPr/>
            <p:nvPr/>
          </p:nvSpPr>
          <p:spPr bwMode="auto">
            <a:xfrm>
              <a:off x="3531453" y="148641"/>
              <a:ext cx="124194" cy="9823"/>
            </a:xfrm>
            <a:custGeom>
              <a:avLst/>
              <a:gdLst>
                <a:gd name="T0" fmla="*/ 2 w 6538"/>
                <a:gd name="T1" fmla="*/ 278 h 504"/>
                <a:gd name="T2" fmla="*/ 8 w 6538"/>
                <a:gd name="T3" fmla="*/ 315 h 504"/>
                <a:gd name="T4" fmla="*/ 20 w 6538"/>
                <a:gd name="T5" fmla="*/ 350 h 504"/>
                <a:gd name="T6" fmla="*/ 36 w 6538"/>
                <a:gd name="T7" fmla="*/ 383 h 504"/>
                <a:gd name="T8" fmla="*/ 57 w 6538"/>
                <a:gd name="T9" fmla="*/ 412 h 504"/>
                <a:gd name="T10" fmla="*/ 82 w 6538"/>
                <a:gd name="T11" fmla="*/ 438 h 504"/>
                <a:gd name="T12" fmla="*/ 110 w 6538"/>
                <a:gd name="T13" fmla="*/ 460 h 504"/>
                <a:gd name="T14" fmla="*/ 142 w 6538"/>
                <a:gd name="T15" fmla="*/ 478 h 504"/>
                <a:gd name="T16" fmla="*/ 177 w 6538"/>
                <a:gd name="T17" fmla="*/ 493 h 504"/>
                <a:gd name="T18" fmla="*/ 213 w 6538"/>
                <a:gd name="T19" fmla="*/ 501 h 504"/>
                <a:gd name="T20" fmla="*/ 251 w 6538"/>
                <a:gd name="T21" fmla="*/ 504 h 504"/>
                <a:gd name="T22" fmla="*/ 6313 w 6538"/>
                <a:gd name="T23" fmla="*/ 503 h 504"/>
                <a:gd name="T24" fmla="*/ 6349 w 6538"/>
                <a:gd name="T25" fmla="*/ 496 h 504"/>
                <a:gd name="T26" fmla="*/ 6384 w 6538"/>
                <a:gd name="T27" fmla="*/ 483 h 504"/>
                <a:gd name="T28" fmla="*/ 6416 w 6538"/>
                <a:gd name="T29" fmla="*/ 467 h 504"/>
                <a:gd name="T30" fmla="*/ 6447 w 6538"/>
                <a:gd name="T31" fmla="*/ 446 h 504"/>
                <a:gd name="T32" fmla="*/ 6473 w 6538"/>
                <a:gd name="T33" fmla="*/ 421 h 504"/>
                <a:gd name="T34" fmla="*/ 6495 w 6538"/>
                <a:gd name="T35" fmla="*/ 393 h 504"/>
                <a:gd name="T36" fmla="*/ 6513 w 6538"/>
                <a:gd name="T37" fmla="*/ 361 h 504"/>
                <a:gd name="T38" fmla="*/ 6527 w 6538"/>
                <a:gd name="T39" fmla="*/ 326 h 504"/>
                <a:gd name="T40" fmla="*/ 6535 w 6538"/>
                <a:gd name="T41" fmla="*/ 290 h 504"/>
                <a:gd name="T42" fmla="*/ 6538 w 6538"/>
                <a:gd name="T43" fmla="*/ 252 h 504"/>
                <a:gd name="T44" fmla="*/ 6535 w 6538"/>
                <a:gd name="T45" fmla="*/ 214 h 504"/>
                <a:gd name="T46" fmla="*/ 6527 w 6538"/>
                <a:gd name="T47" fmla="*/ 178 h 504"/>
                <a:gd name="T48" fmla="*/ 6513 w 6538"/>
                <a:gd name="T49" fmla="*/ 143 h 504"/>
                <a:gd name="T50" fmla="*/ 6495 w 6538"/>
                <a:gd name="T51" fmla="*/ 111 h 504"/>
                <a:gd name="T52" fmla="*/ 6473 w 6538"/>
                <a:gd name="T53" fmla="*/ 83 h 504"/>
                <a:gd name="T54" fmla="*/ 6447 w 6538"/>
                <a:gd name="T55" fmla="*/ 58 h 504"/>
                <a:gd name="T56" fmla="*/ 6416 w 6538"/>
                <a:gd name="T57" fmla="*/ 37 h 504"/>
                <a:gd name="T58" fmla="*/ 6384 w 6538"/>
                <a:gd name="T59" fmla="*/ 21 h 504"/>
                <a:gd name="T60" fmla="*/ 6349 w 6538"/>
                <a:gd name="T61" fmla="*/ 8 h 504"/>
                <a:gd name="T62" fmla="*/ 6313 w 6538"/>
                <a:gd name="T63" fmla="*/ 1 h 504"/>
                <a:gd name="T64" fmla="*/ 251 w 6538"/>
                <a:gd name="T65" fmla="*/ 0 h 504"/>
                <a:gd name="T66" fmla="*/ 213 w 6538"/>
                <a:gd name="T67" fmla="*/ 3 h 504"/>
                <a:gd name="T68" fmla="*/ 177 w 6538"/>
                <a:gd name="T69" fmla="*/ 11 h 504"/>
                <a:gd name="T70" fmla="*/ 142 w 6538"/>
                <a:gd name="T71" fmla="*/ 26 h 504"/>
                <a:gd name="T72" fmla="*/ 110 w 6538"/>
                <a:gd name="T73" fmla="*/ 44 h 504"/>
                <a:gd name="T74" fmla="*/ 82 w 6538"/>
                <a:gd name="T75" fmla="*/ 66 h 504"/>
                <a:gd name="T76" fmla="*/ 57 w 6538"/>
                <a:gd name="T77" fmla="*/ 92 h 504"/>
                <a:gd name="T78" fmla="*/ 36 w 6538"/>
                <a:gd name="T79" fmla="*/ 121 h 504"/>
                <a:gd name="T80" fmla="*/ 20 w 6538"/>
                <a:gd name="T81" fmla="*/ 154 h 504"/>
                <a:gd name="T82" fmla="*/ 8 w 6538"/>
                <a:gd name="T83" fmla="*/ 190 h 504"/>
                <a:gd name="T84" fmla="*/ 2 w 6538"/>
                <a:gd name="T85" fmla="*/ 226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538" h="504">
                  <a:moveTo>
                    <a:pt x="0" y="252"/>
                  </a:moveTo>
                  <a:lnTo>
                    <a:pt x="1" y="265"/>
                  </a:lnTo>
                  <a:lnTo>
                    <a:pt x="2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9"/>
                  </a:lnTo>
                  <a:lnTo>
                    <a:pt x="20" y="350"/>
                  </a:lnTo>
                  <a:lnTo>
                    <a:pt x="25" y="361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1" y="453"/>
                  </a:lnTo>
                  <a:lnTo>
                    <a:pt x="110" y="460"/>
                  </a:lnTo>
                  <a:lnTo>
                    <a:pt x="121" y="467"/>
                  </a:lnTo>
                  <a:lnTo>
                    <a:pt x="131" y="473"/>
                  </a:lnTo>
                  <a:lnTo>
                    <a:pt x="142" y="478"/>
                  </a:lnTo>
                  <a:lnTo>
                    <a:pt x="153" y="483"/>
                  </a:lnTo>
                  <a:lnTo>
                    <a:pt x="165" y="489"/>
                  </a:lnTo>
                  <a:lnTo>
                    <a:pt x="177" y="493"/>
                  </a:lnTo>
                  <a:lnTo>
                    <a:pt x="189" y="496"/>
                  </a:lnTo>
                  <a:lnTo>
                    <a:pt x="201" y="499"/>
                  </a:lnTo>
                  <a:lnTo>
                    <a:pt x="213" y="501"/>
                  </a:lnTo>
                  <a:lnTo>
                    <a:pt x="226" y="503"/>
                  </a:lnTo>
                  <a:lnTo>
                    <a:pt x="238" y="504"/>
                  </a:lnTo>
                  <a:lnTo>
                    <a:pt x="251" y="504"/>
                  </a:lnTo>
                  <a:lnTo>
                    <a:pt x="6287" y="504"/>
                  </a:lnTo>
                  <a:lnTo>
                    <a:pt x="6300" y="504"/>
                  </a:lnTo>
                  <a:lnTo>
                    <a:pt x="6313" y="503"/>
                  </a:lnTo>
                  <a:lnTo>
                    <a:pt x="6325" y="501"/>
                  </a:lnTo>
                  <a:lnTo>
                    <a:pt x="6337" y="499"/>
                  </a:lnTo>
                  <a:lnTo>
                    <a:pt x="6349" y="496"/>
                  </a:lnTo>
                  <a:lnTo>
                    <a:pt x="6361" y="493"/>
                  </a:lnTo>
                  <a:lnTo>
                    <a:pt x="6373" y="489"/>
                  </a:lnTo>
                  <a:lnTo>
                    <a:pt x="6384" y="483"/>
                  </a:lnTo>
                  <a:lnTo>
                    <a:pt x="6395" y="478"/>
                  </a:lnTo>
                  <a:lnTo>
                    <a:pt x="6406" y="473"/>
                  </a:lnTo>
                  <a:lnTo>
                    <a:pt x="6416" y="467"/>
                  </a:lnTo>
                  <a:lnTo>
                    <a:pt x="6427" y="460"/>
                  </a:lnTo>
                  <a:lnTo>
                    <a:pt x="6437" y="453"/>
                  </a:lnTo>
                  <a:lnTo>
                    <a:pt x="6447" y="446"/>
                  </a:lnTo>
                  <a:lnTo>
                    <a:pt x="6456" y="438"/>
                  </a:lnTo>
                  <a:lnTo>
                    <a:pt x="6465" y="430"/>
                  </a:lnTo>
                  <a:lnTo>
                    <a:pt x="6473" y="421"/>
                  </a:lnTo>
                  <a:lnTo>
                    <a:pt x="6481" y="412"/>
                  </a:lnTo>
                  <a:lnTo>
                    <a:pt x="6488" y="403"/>
                  </a:lnTo>
                  <a:lnTo>
                    <a:pt x="6495" y="393"/>
                  </a:lnTo>
                  <a:lnTo>
                    <a:pt x="6502" y="383"/>
                  </a:lnTo>
                  <a:lnTo>
                    <a:pt x="6508" y="372"/>
                  </a:lnTo>
                  <a:lnTo>
                    <a:pt x="6513" y="361"/>
                  </a:lnTo>
                  <a:lnTo>
                    <a:pt x="6518" y="350"/>
                  </a:lnTo>
                  <a:lnTo>
                    <a:pt x="6523" y="339"/>
                  </a:lnTo>
                  <a:lnTo>
                    <a:pt x="6527" y="326"/>
                  </a:lnTo>
                  <a:lnTo>
                    <a:pt x="6530" y="315"/>
                  </a:lnTo>
                  <a:lnTo>
                    <a:pt x="6533" y="302"/>
                  </a:lnTo>
                  <a:lnTo>
                    <a:pt x="6535" y="290"/>
                  </a:lnTo>
                  <a:lnTo>
                    <a:pt x="6537" y="278"/>
                  </a:lnTo>
                  <a:lnTo>
                    <a:pt x="6538" y="265"/>
                  </a:lnTo>
                  <a:lnTo>
                    <a:pt x="6538" y="252"/>
                  </a:lnTo>
                  <a:lnTo>
                    <a:pt x="6538" y="239"/>
                  </a:lnTo>
                  <a:lnTo>
                    <a:pt x="6537" y="226"/>
                  </a:lnTo>
                  <a:lnTo>
                    <a:pt x="6535" y="214"/>
                  </a:lnTo>
                  <a:lnTo>
                    <a:pt x="6533" y="202"/>
                  </a:lnTo>
                  <a:lnTo>
                    <a:pt x="6530" y="190"/>
                  </a:lnTo>
                  <a:lnTo>
                    <a:pt x="6527" y="178"/>
                  </a:lnTo>
                  <a:lnTo>
                    <a:pt x="6523" y="165"/>
                  </a:lnTo>
                  <a:lnTo>
                    <a:pt x="6518" y="154"/>
                  </a:lnTo>
                  <a:lnTo>
                    <a:pt x="6513" y="143"/>
                  </a:lnTo>
                  <a:lnTo>
                    <a:pt x="6508" y="132"/>
                  </a:lnTo>
                  <a:lnTo>
                    <a:pt x="6502" y="121"/>
                  </a:lnTo>
                  <a:lnTo>
                    <a:pt x="6495" y="111"/>
                  </a:lnTo>
                  <a:lnTo>
                    <a:pt x="6488" y="101"/>
                  </a:lnTo>
                  <a:lnTo>
                    <a:pt x="6481" y="92"/>
                  </a:lnTo>
                  <a:lnTo>
                    <a:pt x="6473" y="83"/>
                  </a:lnTo>
                  <a:lnTo>
                    <a:pt x="6465" y="74"/>
                  </a:lnTo>
                  <a:lnTo>
                    <a:pt x="6456" y="66"/>
                  </a:lnTo>
                  <a:lnTo>
                    <a:pt x="6447" y="58"/>
                  </a:lnTo>
                  <a:lnTo>
                    <a:pt x="6437" y="51"/>
                  </a:lnTo>
                  <a:lnTo>
                    <a:pt x="6427" y="44"/>
                  </a:lnTo>
                  <a:lnTo>
                    <a:pt x="6416" y="37"/>
                  </a:lnTo>
                  <a:lnTo>
                    <a:pt x="6406" y="31"/>
                  </a:lnTo>
                  <a:lnTo>
                    <a:pt x="6395" y="26"/>
                  </a:lnTo>
                  <a:lnTo>
                    <a:pt x="6384" y="21"/>
                  </a:lnTo>
                  <a:lnTo>
                    <a:pt x="6373" y="15"/>
                  </a:lnTo>
                  <a:lnTo>
                    <a:pt x="6361" y="11"/>
                  </a:lnTo>
                  <a:lnTo>
                    <a:pt x="6349" y="8"/>
                  </a:lnTo>
                  <a:lnTo>
                    <a:pt x="6337" y="5"/>
                  </a:lnTo>
                  <a:lnTo>
                    <a:pt x="6325" y="3"/>
                  </a:lnTo>
                  <a:lnTo>
                    <a:pt x="6313" y="1"/>
                  </a:lnTo>
                  <a:lnTo>
                    <a:pt x="6300" y="0"/>
                  </a:lnTo>
                  <a:lnTo>
                    <a:pt x="6287" y="0"/>
                  </a:lnTo>
                  <a:lnTo>
                    <a:pt x="251" y="0"/>
                  </a:lnTo>
                  <a:lnTo>
                    <a:pt x="238" y="0"/>
                  </a:lnTo>
                  <a:lnTo>
                    <a:pt x="226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3" y="21"/>
                  </a:lnTo>
                  <a:lnTo>
                    <a:pt x="142" y="26"/>
                  </a:lnTo>
                  <a:lnTo>
                    <a:pt x="131" y="31"/>
                  </a:lnTo>
                  <a:lnTo>
                    <a:pt x="121" y="37"/>
                  </a:lnTo>
                  <a:lnTo>
                    <a:pt x="110" y="44"/>
                  </a:lnTo>
                  <a:lnTo>
                    <a:pt x="101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1"/>
                  </a:lnTo>
                  <a:lnTo>
                    <a:pt x="43" y="111"/>
                  </a:lnTo>
                  <a:lnTo>
                    <a:pt x="36" y="121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8"/>
                  </a:lnTo>
                  <a:lnTo>
                    <a:pt x="8" y="190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2" y="226"/>
                  </a:lnTo>
                  <a:lnTo>
                    <a:pt x="1" y="239"/>
                  </a:lnTo>
                  <a:lnTo>
                    <a:pt x="0" y="2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91" name="îSľídê">
              <a:extLst>
                <a:ext uri="{FF2B5EF4-FFF2-40B4-BE49-F238E27FC236}">
                  <a16:creationId xmlns:a16="http://schemas.microsoft.com/office/drawing/2014/main" id="{2E915177-EAE0-4A42-BFC6-5106A90144FF}"/>
                </a:ext>
              </a:extLst>
            </p:cNvPr>
            <p:cNvSpPr/>
            <p:nvPr/>
          </p:nvSpPr>
          <p:spPr bwMode="auto">
            <a:xfrm>
              <a:off x="3426204" y="206178"/>
              <a:ext cx="229443" cy="9122"/>
            </a:xfrm>
            <a:custGeom>
              <a:avLst/>
              <a:gdLst>
                <a:gd name="T0" fmla="*/ 238 w 12071"/>
                <a:gd name="T1" fmla="*/ 1 h 503"/>
                <a:gd name="T2" fmla="*/ 201 w 12071"/>
                <a:gd name="T3" fmla="*/ 5 h 503"/>
                <a:gd name="T4" fmla="*/ 165 w 12071"/>
                <a:gd name="T5" fmla="*/ 15 h 503"/>
                <a:gd name="T6" fmla="*/ 132 w 12071"/>
                <a:gd name="T7" fmla="*/ 30 h 503"/>
                <a:gd name="T8" fmla="*/ 100 w 12071"/>
                <a:gd name="T9" fmla="*/ 50 h 503"/>
                <a:gd name="T10" fmla="*/ 73 w 12071"/>
                <a:gd name="T11" fmla="*/ 73 h 503"/>
                <a:gd name="T12" fmla="*/ 50 w 12071"/>
                <a:gd name="T13" fmla="*/ 101 h 503"/>
                <a:gd name="T14" fmla="*/ 30 w 12071"/>
                <a:gd name="T15" fmla="*/ 131 h 503"/>
                <a:gd name="T16" fmla="*/ 15 w 12071"/>
                <a:gd name="T17" fmla="*/ 165 h 503"/>
                <a:gd name="T18" fmla="*/ 5 w 12071"/>
                <a:gd name="T19" fmla="*/ 201 h 503"/>
                <a:gd name="T20" fmla="*/ 0 w 12071"/>
                <a:gd name="T21" fmla="*/ 238 h 503"/>
                <a:gd name="T22" fmla="*/ 1 w 12071"/>
                <a:gd name="T23" fmla="*/ 277 h 503"/>
                <a:gd name="T24" fmla="*/ 8 w 12071"/>
                <a:gd name="T25" fmla="*/ 315 h 503"/>
                <a:gd name="T26" fmla="*/ 20 w 12071"/>
                <a:gd name="T27" fmla="*/ 349 h 503"/>
                <a:gd name="T28" fmla="*/ 36 w 12071"/>
                <a:gd name="T29" fmla="*/ 382 h 503"/>
                <a:gd name="T30" fmla="*/ 57 w 12071"/>
                <a:gd name="T31" fmla="*/ 411 h 503"/>
                <a:gd name="T32" fmla="*/ 82 w 12071"/>
                <a:gd name="T33" fmla="*/ 437 h 503"/>
                <a:gd name="T34" fmla="*/ 111 w 12071"/>
                <a:gd name="T35" fmla="*/ 460 h 503"/>
                <a:gd name="T36" fmla="*/ 143 w 12071"/>
                <a:gd name="T37" fmla="*/ 479 h 503"/>
                <a:gd name="T38" fmla="*/ 177 w 12071"/>
                <a:gd name="T39" fmla="*/ 492 h 503"/>
                <a:gd name="T40" fmla="*/ 213 w 12071"/>
                <a:gd name="T41" fmla="*/ 500 h 503"/>
                <a:gd name="T42" fmla="*/ 251 w 12071"/>
                <a:gd name="T43" fmla="*/ 503 h 503"/>
                <a:gd name="T44" fmla="*/ 11846 w 12071"/>
                <a:gd name="T45" fmla="*/ 502 h 503"/>
                <a:gd name="T46" fmla="*/ 11882 w 12071"/>
                <a:gd name="T47" fmla="*/ 495 h 503"/>
                <a:gd name="T48" fmla="*/ 11917 w 12071"/>
                <a:gd name="T49" fmla="*/ 484 h 503"/>
                <a:gd name="T50" fmla="*/ 11949 w 12071"/>
                <a:gd name="T51" fmla="*/ 467 h 503"/>
                <a:gd name="T52" fmla="*/ 11980 w 12071"/>
                <a:gd name="T53" fmla="*/ 445 h 503"/>
                <a:gd name="T54" fmla="*/ 12006 w 12071"/>
                <a:gd name="T55" fmla="*/ 420 h 503"/>
                <a:gd name="T56" fmla="*/ 12028 w 12071"/>
                <a:gd name="T57" fmla="*/ 392 h 503"/>
                <a:gd name="T58" fmla="*/ 12046 w 12071"/>
                <a:gd name="T59" fmla="*/ 360 h 503"/>
                <a:gd name="T60" fmla="*/ 12060 w 12071"/>
                <a:gd name="T61" fmla="*/ 326 h 503"/>
                <a:gd name="T62" fmla="*/ 12068 w 12071"/>
                <a:gd name="T63" fmla="*/ 289 h 503"/>
                <a:gd name="T64" fmla="*/ 12071 w 12071"/>
                <a:gd name="T65" fmla="*/ 251 h 503"/>
                <a:gd name="T66" fmla="*/ 12068 w 12071"/>
                <a:gd name="T67" fmla="*/ 213 h 503"/>
                <a:gd name="T68" fmla="*/ 12060 w 12071"/>
                <a:gd name="T69" fmla="*/ 177 h 503"/>
                <a:gd name="T70" fmla="*/ 12046 w 12071"/>
                <a:gd name="T71" fmla="*/ 143 h 503"/>
                <a:gd name="T72" fmla="*/ 12028 w 12071"/>
                <a:gd name="T73" fmla="*/ 110 h 503"/>
                <a:gd name="T74" fmla="*/ 12006 w 12071"/>
                <a:gd name="T75" fmla="*/ 82 h 503"/>
                <a:gd name="T76" fmla="*/ 11980 w 12071"/>
                <a:gd name="T77" fmla="*/ 57 h 503"/>
                <a:gd name="T78" fmla="*/ 11949 w 12071"/>
                <a:gd name="T79" fmla="*/ 36 h 503"/>
                <a:gd name="T80" fmla="*/ 11917 w 12071"/>
                <a:gd name="T81" fmla="*/ 20 h 503"/>
                <a:gd name="T82" fmla="*/ 11882 w 12071"/>
                <a:gd name="T83" fmla="*/ 8 h 503"/>
                <a:gd name="T84" fmla="*/ 11846 w 12071"/>
                <a:gd name="T85" fmla="*/ 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071" h="503">
                  <a:moveTo>
                    <a:pt x="11820" y="0"/>
                  </a:moveTo>
                  <a:lnTo>
                    <a:pt x="251" y="0"/>
                  </a:lnTo>
                  <a:lnTo>
                    <a:pt x="238" y="1"/>
                  </a:lnTo>
                  <a:lnTo>
                    <a:pt x="225" y="2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8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3"/>
                  </a:lnTo>
                  <a:lnTo>
                    <a:pt x="100" y="50"/>
                  </a:lnTo>
                  <a:lnTo>
                    <a:pt x="91" y="57"/>
                  </a:lnTo>
                  <a:lnTo>
                    <a:pt x="82" y="65"/>
                  </a:lnTo>
                  <a:lnTo>
                    <a:pt x="73" y="73"/>
                  </a:lnTo>
                  <a:lnTo>
                    <a:pt x="65" y="82"/>
                  </a:lnTo>
                  <a:lnTo>
                    <a:pt x="57" y="91"/>
                  </a:lnTo>
                  <a:lnTo>
                    <a:pt x="50" y="101"/>
                  </a:lnTo>
                  <a:lnTo>
                    <a:pt x="43" y="110"/>
                  </a:lnTo>
                  <a:lnTo>
                    <a:pt x="36" y="121"/>
                  </a:lnTo>
                  <a:lnTo>
                    <a:pt x="30" y="131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6"/>
                  </a:lnTo>
                  <a:lnTo>
                    <a:pt x="0" y="238"/>
                  </a:lnTo>
                  <a:lnTo>
                    <a:pt x="0" y="251"/>
                  </a:lnTo>
                  <a:lnTo>
                    <a:pt x="0" y="264"/>
                  </a:lnTo>
                  <a:lnTo>
                    <a:pt x="1" y="277"/>
                  </a:lnTo>
                  <a:lnTo>
                    <a:pt x="3" y="289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2"/>
                  </a:lnTo>
                  <a:lnTo>
                    <a:pt x="57" y="411"/>
                  </a:lnTo>
                  <a:lnTo>
                    <a:pt x="65" y="420"/>
                  </a:lnTo>
                  <a:lnTo>
                    <a:pt x="73" y="429"/>
                  </a:lnTo>
                  <a:lnTo>
                    <a:pt x="82" y="437"/>
                  </a:lnTo>
                  <a:lnTo>
                    <a:pt x="91" y="445"/>
                  </a:lnTo>
                  <a:lnTo>
                    <a:pt x="100" y="452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9"/>
                  </a:lnTo>
                  <a:lnTo>
                    <a:pt x="154" y="484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8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11820" y="503"/>
                  </a:lnTo>
                  <a:lnTo>
                    <a:pt x="11833" y="503"/>
                  </a:lnTo>
                  <a:lnTo>
                    <a:pt x="11846" y="502"/>
                  </a:lnTo>
                  <a:lnTo>
                    <a:pt x="11858" y="500"/>
                  </a:lnTo>
                  <a:lnTo>
                    <a:pt x="11870" y="498"/>
                  </a:lnTo>
                  <a:lnTo>
                    <a:pt x="11882" y="495"/>
                  </a:lnTo>
                  <a:lnTo>
                    <a:pt x="11894" y="492"/>
                  </a:lnTo>
                  <a:lnTo>
                    <a:pt x="11906" y="488"/>
                  </a:lnTo>
                  <a:lnTo>
                    <a:pt x="11917" y="484"/>
                  </a:lnTo>
                  <a:lnTo>
                    <a:pt x="11928" y="479"/>
                  </a:lnTo>
                  <a:lnTo>
                    <a:pt x="11939" y="473"/>
                  </a:lnTo>
                  <a:lnTo>
                    <a:pt x="11949" y="467"/>
                  </a:lnTo>
                  <a:lnTo>
                    <a:pt x="11960" y="460"/>
                  </a:lnTo>
                  <a:lnTo>
                    <a:pt x="11970" y="452"/>
                  </a:lnTo>
                  <a:lnTo>
                    <a:pt x="11980" y="445"/>
                  </a:lnTo>
                  <a:lnTo>
                    <a:pt x="11989" y="437"/>
                  </a:lnTo>
                  <a:lnTo>
                    <a:pt x="11998" y="429"/>
                  </a:lnTo>
                  <a:lnTo>
                    <a:pt x="12006" y="420"/>
                  </a:lnTo>
                  <a:lnTo>
                    <a:pt x="12014" y="411"/>
                  </a:lnTo>
                  <a:lnTo>
                    <a:pt x="12021" y="402"/>
                  </a:lnTo>
                  <a:lnTo>
                    <a:pt x="12028" y="392"/>
                  </a:lnTo>
                  <a:lnTo>
                    <a:pt x="12035" y="382"/>
                  </a:lnTo>
                  <a:lnTo>
                    <a:pt x="12041" y="371"/>
                  </a:lnTo>
                  <a:lnTo>
                    <a:pt x="12046" y="360"/>
                  </a:lnTo>
                  <a:lnTo>
                    <a:pt x="12051" y="349"/>
                  </a:lnTo>
                  <a:lnTo>
                    <a:pt x="12056" y="338"/>
                  </a:lnTo>
                  <a:lnTo>
                    <a:pt x="12060" y="326"/>
                  </a:lnTo>
                  <a:lnTo>
                    <a:pt x="12063" y="315"/>
                  </a:lnTo>
                  <a:lnTo>
                    <a:pt x="12066" y="303"/>
                  </a:lnTo>
                  <a:lnTo>
                    <a:pt x="12068" y="289"/>
                  </a:lnTo>
                  <a:lnTo>
                    <a:pt x="12070" y="277"/>
                  </a:lnTo>
                  <a:lnTo>
                    <a:pt x="12071" y="264"/>
                  </a:lnTo>
                  <a:lnTo>
                    <a:pt x="12071" y="251"/>
                  </a:lnTo>
                  <a:lnTo>
                    <a:pt x="12071" y="238"/>
                  </a:lnTo>
                  <a:lnTo>
                    <a:pt x="12070" y="226"/>
                  </a:lnTo>
                  <a:lnTo>
                    <a:pt x="12068" y="213"/>
                  </a:lnTo>
                  <a:lnTo>
                    <a:pt x="12066" y="201"/>
                  </a:lnTo>
                  <a:lnTo>
                    <a:pt x="12063" y="189"/>
                  </a:lnTo>
                  <a:lnTo>
                    <a:pt x="12060" y="177"/>
                  </a:lnTo>
                  <a:lnTo>
                    <a:pt x="12056" y="165"/>
                  </a:lnTo>
                  <a:lnTo>
                    <a:pt x="12051" y="154"/>
                  </a:lnTo>
                  <a:lnTo>
                    <a:pt x="12046" y="143"/>
                  </a:lnTo>
                  <a:lnTo>
                    <a:pt x="12041" y="131"/>
                  </a:lnTo>
                  <a:lnTo>
                    <a:pt x="12035" y="121"/>
                  </a:lnTo>
                  <a:lnTo>
                    <a:pt x="12028" y="110"/>
                  </a:lnTo>
                  <a:lnTo>
                    <a:pt x="12021" y="101"/>
                  </a:lnTo>
                  <a:lnTo>
                    <a:pt x="12014" y="91"/>
                  </a:lnTo>
                  <a:lnTo>
                    <a:pt x="12006" y="82"/>
                  </a:lnTo>
                  <a:lnTo>
                    <a:pt x="11998" y="73"/>
                  </a:lnTo>
                  <a:lnTo>
                    <a:pt x="11989" y="65"/>
                  </a:lnTo>
                  <a:lnTo>
                    <a:pt x="11980" y="57"/>
                  </a:lnTo>
                  <a:lnTo>
                    <a:pt x="11970" y="50"/>
                  </a:lnTo>
                  <a:lnTo>
                    <a:pt x="11960" y="43"/>
                  </a:lnTo>
                  <a:lnTo>
                    <a:pt x="11949" y="36"/>
                  </a:lnTo>
                  <a:lnTo>
                    <a:pt x="11939" y="30"/>
                  </a:lnTo>
                  <a:lnTo>
                    <a:pt x="11928" y="25"/>
                  </a:lnTo>
                  <a:lnTo>
                    <a:pt x="11917" y="20"/>
                  </a:lnTo>
                  <a:lnTo>
                    <a:pt x="11906" y="15"/>
                  </a:lnTo>
                  <a:lnTo>
                    <a:pt x="11894" y="11"/>
                  </a:lnTo>
                  <a:lnTo>
                    <a:pt x="11882" y="8"/>
                  </a:lnTo>
                  <a:lnTo>
                    <a:pt x="11870" y="5"/>
                  </a:lnTo>
                  <a:lnTo>
                    <a:pt x="11858" y="3"/>
                  </a:lnTo>
                  <a:lnTo>
                    <a:pt x="11846" y="2"/>
                  </a:lnTo>
                  <a:lnTo>
                    <a:pt x="11833" y="1"/>
                  </a:lnTo>
                  <a:lnTo>
                    <a:pt x="118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92" name="iṥḻíḍê">
              <a:extLst>
                <a:ext uri="{FF2B5EF4-FFF2-40B4-BE49-F238E27FC236}">
                  <a16:creationId xmlns:a16="http://schemas.microsoft.com/office/drawing/2014/main" id="{A5772D9E-1967-495E-A1A6-802980BE4F36}"/>
                </a:ext>
              </a:extLst>
            </p:cNvPr>
            <p:cNvSpPr/>
            <p:nvPr/>
          </p:nvSpPr>
          <p:spPr bwMode="auto">
            <a:xfrm>
              <a:off x="3426204" y="234946"/>
              <a:ext cx="229443" cy="9122"/>
            </a:xfrm>
            <a:custGeom>
              <a:avLst/>
              <a:gdLst>
                <a:gd name="T0" fmla="*/ 238 w 12071"/>
                <a:gd name="T1" fmla="*/ 1 h 503"/>
                <a:gd name="T2" fmla="*/ 201 w 12071"/>
                <a:gd name="T3" fmla="*/ 5 h 503"/>
                <a:gd name="T4" fmla="*/ 165 w 12071"/>
                <a:gd name="T5" fmla="*/ 15 h 503"/>
                <a:gd name="T6" fmla="*/ 132 w 12071"/>
                <a:gd name="T7" fmla="*/ 30 h 503"/>
                <a:gd name="T8" fmla="*/ 100 w 12071"/>
                <a:gd name="T9" fmla="*/ 51 h 503"/>
                <a:gd name="T10" fmla="*/ 73 w 12071"/>
                <a:gd name="T11" fmla="*/ 74 h 503"/>
                <a:gd name="T12" fmla="*/ 50 w 12071"/>
                <a:gd name="T13" fmla="*/ 102 h 503"/>
                <a:gd name="T14" fmla="*/ 30 w 12071"/>
                <a:gd name="T15" fmla="*/ 132 h 503"/>
                <a:gd name="T16" fmla="*/ 15 w 12071"/>
                <a:gd name="T17" fmla="*/ 165 h 503"/>
                <a:gd name="T18" fmla="*/ 5 w 12071"/>
                <a:gd name="T19" fmla="*/ 201 h 503"/>
                <a:gd name="T20" fmla="*/ 0 w 12071"/>
                <a:gd name="T21" fmla="*/ 239 h 503"/>
                <a:gd name="T22" fmla="*/ 1 w 12071"/>
                <a:gd name="T23" fmla="*/ 278 h 503"/>
                <a:gd name="T24" fmla="*/ 8 w 12071"/>
                <a:gd name="T25" fmla="*/ 315 h 503"/>
                <a:gd name="T26" fmla="*/ 20 w 12071"/>
                <a:gd name="T27" fmla="*/ 349 h 503"/>
                <a:gd name="T28" fmla="*/ 36 w 12071"/>
                <a:gd name="T29" fmla="*/ 383 h 503"/>
                <a:gd name="T30" fmla="*/ 57 w 12071"/>
                <a:gd name="T31" fmla="*/ 412 h 503"/>
                <a:gd name="T32" fmla="*/ 82 w 12071"/>
                <a:gd name="T33" fmla="*/ 438 h 503"/>
                <a:gd name="T34" fmla="*/ 111 w 12071"/>
                <a:gd name="T35" fmla="*/ 460 h 503"/>
                <a:gd name="T36" fmla="*/ 143 w 12071"/>
                <a:gd name="T37" fmla="*/ 478 h 503"/>
                <a:gd name="T38" fmla="*/ 177 w 12071"/>
                <a:gd name="T39" fmla="*/ 492 h 503"/>
                <a:gd name="T40" fmla="*/ 213 w 12071"/>
                <a:gd name="T41" fmla="*/ 500 h 503"/>
                <a:gd name="T42" fmla="*/ 251 w 12071"/>
                <a:gd name="T43" fmla="*/ 503 h 503"/>
                <a:gd name="T44" fmla="*/ 11846 w 12071"/>
                <a:gd name="T45" fmla="*/ 502 h 503"/>
                <a:gd name="T46" fmla="*/ 11882 w 12071"/>
                <a:gd name="T47" fmla="*/ 495 h 503"/>
                <a:gd name="T48" fmla="*/ 11917 w 12071"/>
                <a:gd name="T49" fmla="*/ 483 h 503"/>
                <a:gd name="T50" fmla="*/ 11949 w 12071"/>
                <a:gd name="T51" fmla="*/ 467 h 503"/>
                <a:gd name="T52" fmla="*/ 11980 w 12071"/>
                <a:gd name="T53" fmla="*/ 446 h 503"/>
                <a:gd name="T54" fmla="*/ 12006 w 12071"/>
                <a:gd name="T55" fmla="*/ 421 h 503"/>
                <a:gd name="T56" fmla="*/ 12028 w 12071"/>
                <a:gd name="T57" fmla="*/ 393 h 503"/>
                <a:gd name="T58" fmla="*/ 12046 w 12071"/>
                <a:gd name="T59" fmla="*/ 360 h 503"/>
                <a:gd name="T60" fmla="*/ 12060 w 12071"/>
                <a:gd name="T61" fmla="*/ 326 h 503"/>
                <a:gd name="T62" fmla="*/ 12068 w 12071"/>
                <a:gd name="T63" fmla="*/ 290 h 503"/>
                <a:gd name="T64" fmla="*/ 12071 w 12071"/>
                <a:gd name="T65" fmla="*/ 252 h 503"/>
                <a:gd name="T66" fmla="*/ 12068 w 12071"/>
                <a:gd name="T67" fmla="*/ 214 h 503"/>
                <a:gd name="T68" fmla="*/ 12060 w 12071"/>
                <a:gd name="T69" fmla="*/ 177 h 503"/>
                <a:gd name="T70" fmla="*/ 12046 w 12071"/>
                <a:gd name="T71" fmla="*/ 143 h 503"/>
                <a:gd name="T72" fmla="*/ 12028 w 12071"/>
                <a:gd name="T73" fmla="*/ 111 h 503"/>
                <a:gd name="T74" fmla="*/ 12006 w 12071"/>
                <a:gd name="T75" fmla="*/ 83 h 503"/>
                <a:gd name="T76" fmla="*/ 11980 w 12071"/>
                <a:gd name="T77" fmla="*/ 58 h 503"/>
                <a:gd name="T78" fmla="*/ 11949 w 12071"/>
                <a:gd name="T79" fmla="*/ 36 h 503"/>
                <a:gd name="T80" fmla="*/ 11917 w 12071"/>
                <a:gd name="T81" fmla="*/ 20 h 503"/>
                <a:gd name="T82" fmla="*/ 11882 w 12071"/>
                <a:gd name="T83" fmla="*/ 8 h 503"/>
                <a:gd name="T84" fmla="*/ 11846 w 12071"/>
                <a:gd name="T85" fmla="*/ 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071" h="503">
                  <a:moveTo>
                    <a:pt x="11820" y="0"/>
                  </a:moveTo>
                  <a:lnTo>
                    <a:pt x="251" y="0"/>
                  </a:lnTo>
                  <a:lnTo>
                    <a:pt x="238" y="1"/>
                  </a:lnTo>
                  <a:lnTo>
                    <a:pt x="225" y="2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8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3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1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8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11820" y="503"/>
                  </a:lnTo>
                  <a:lnTo>
                    <a:pt x="11833" y="503"/>
                  </a:lnTo>
                  <a:lnTo>
                    <a:pt x="11846" y="502"/>
                  </a:lnTo>
                  <a:lnTo>
                    <a:pt x="11858" y="500"/>
                  </a:lnTo>
                  <a:lnTo>
                    <a:pt x="11870" y="498"/>
                  </a:lnTo>
                  <a:lnTo>
                    <a:pt x="11882" y="495"/>
                  </a:lnTo>
                  <a:lnTo>
                    <a:pt x="11894" y="492"/>
                  </a:lnTo>
                  <a:lnTo>
                    <a:pt x="11906" y="488"/>
                  </a:lnTo>
                  <a:lnTo>
                    <a:pt x="11917" y="483"/>
                  </a:lnTo>
                  <a:lnTo>
                    <a:pt x="11928" y="478"/>
                  </a:lnTo>
                  <a:lnTo>
                    <a:pt x="11939" y="473"/>
                  </a:lnTo>
                  <a:lnTo>
                    <a:pt x="11949" y="467"/>
                  </a:lnTo>
                  <a:lnTo>
                    <a:pt x="11960" y="460"/>
                  </a:lnTo>
                  <a:lnTo>
                    <a:pt x="11970" y="453"/>
                  </a:lnTo>
                  <a:lnTo>
                    <a:pt x="11980" y="446"/>
                  </a:lnTo>
                  <a:lnTo>
                    <a:pt x="11989" y="438"/>
                  </a:lnTo>
                  <a:lnTo>
                    <a:pt x="11998" y="430"/>
                  </a:lnTo>
                  <a:lnTo>
                    <a:pt x="12006" y="421"/>
                  </a:lnTo>
                  <a:lnTo>
                    <a:pt x="12014" y="412"/>
                  </a:lnTo>
                  <a:lnTo>
                    <a:pt x="12021" y="403"/>
                  </a:lnTo>
                  <a:lnTo>
                    <a:pt x="12028" y="393"/>
                  </a:lnTo>
                  <a:lnTo>
                    <a:pt x="12035" y="383"/>
                  </a:lnTo>
                  <a:lnTo>
                    <a:pt x="12041" y="372"/>
                  </a:lnTo>
                  <a:lnTo>
                    <a:pt x="12046" y="360"/>
                  </a:lnTo>
                  <a:lnTo>
                    <a:pt x="12051" y="349"/>
                  </a:lnTo>
                  <a:lnTo>
                    <a:pt x="12056" y="338"/>
                  </a:lnTo>
                  <a:lnTo>
                    <a:pt x="12060" y="326"/>
                  </a:lnTo>
                  <a:lnTo>
                    <a:pt x="12063" y="315"/>
                  </a:lnTo>
                  <a:lnTo>
                    <a:pt x="12066" y="302"/>
                  </a:lnTo>
                  <a:lnTo>
                    <a:pt x="12068" y="290"/>
                  </a:lnTo>
                  <a:lnTo>
                    <a:pt x="12070" y="278"/>
                  </a:lnTo>
                  <a:lnTo>
                    <a:pt x="12071" y="265"/>
                  </a:lnTo>
                  <a:lnTo>
                    <a:pt x="12071" y="252"/>
                  </a:lnTo>
                  <a:lnTo>
                    <a:pt x="12071" y="239"/>
                  </a:lnTo>
                  <a:lnTo>
                    <a:pt x="12070" y="227"/>
                  </a:lnTo>
                  <a:lnTo>
                    <a:pt x="12068" y="214"/>
                  </a:lnTo>
                  <a:lnTo>
                    <a:pt x="12066" y="201"/>
                  </a:lnTo>
                  <a:lnTo>
                    <a:pt x="12063" y="189"/>
                  </a:lnTo>
                  <a:lnTo>
                    <a:pt x="12060" y="177"/>
                  </a:lnTo>
                  <a:lnTo>
                    <a:pt x="12056" y="165"/>
                  </a:lnTo>
                  <a:lnTo>
                    <a:pt x="12051" y="154"/>
                  </a:lnTo>
                  <a:lnTo>
                    <a:pt x="12046" y="143"/>
                  </a:lnTo>
                  <a:lnTo>
                    <a:pt x="12041" y="132"/>
                  </a:lnTo>
                  <a:lnTo>
                    <a:pt x="12035" y="121"/>
                  </a:lnTo>
                  <a:lnTo>
                    <a:pt x="12028" y="111"/>
                  </a:lnTo>
                  <a:lnTo>
                    <a:pt x="12021" y="102"/>
                  </a:lnTo>
                  <a:lnTo>
                    <a:pt x="12014" y="92"/>
                  </a:lnTo>
                  <a:lnTo>
                    <a:pt x="12006" y="83"/>
                  </a:lnTo>
                  <a:lnTo>
                    <a:pt x="11998" y="74"/>
                  </a:lnTo>
                  <a:lnTo>
                    <a:pt x="11989" y="66"/>
                  </a:lnTo>
                  <a:lnTo>
                    <a:pt x="11980" y="58"/>
                  </a:lnTo>
                  <a:lnTo>
                    <a:pt x="11970" y="51"/>
                  </a:lnTo>
                  <a:lnTo>
                    <a:pt x="11960" y="43"/>
                  </a:lnTo>
                  <a:lnTo>
                    <a:pt x="11949" y="36"/>
                  </a:lnTo>
                  <a:lnTo>
                    <a:pt x="11939" y="30"/>
                  </a:lnTo>
                  <a:lnTo>
                    <a:pt x="11928" y="25"/>
                  </a:lnTo>
                  <a:lnTo>
                    <a:pt x="11917" y="20"/>
                  </a:lnTo>
                  <a:lnTo>
                    <a:pt x="11906" y="15"/>
                  </a:lnTo>
                  <a:lnTo>
                    <a:pt x="11894" y="11"/>
                  </a:lnTo>
                  <a:lnTo>
                    <a:pt x="11882" y="8"/>
                  </a:lnTo>
                  <a:lnTo>
                    <a:pt x="11870" y="5"/>
                  </a:lnTo>
                  <a:lnTo>
                    <a:pt x="11858" y="3"/>
                  </a:lnTo>
                  <a:lnTo>
                    <a:pt x="11846" y="2"/>
                  </a:lnTo>
                  <a:lnTo>
                    <a:pt x="11833" y="1"/>
                  </a:lnTo>
                  <a:lnTo>
                    <a:pt x="118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93" name="iṧḷiḓe">
              <a:extLst>
                <a:ext uri="{FF2B5EF4-FFF2-40B4-BE49-F238E27FC236}">
                  <a16:creationId xmlns:a16="http://schemas.microsoft.com/office/drawing/2014/main" id="{8CF5BE9E-558C-403B-A1BE-A907FBFF19F9}"/>
                </a:ext>
              </a:extLst>
            </p:cNvPr>
            <p:cNvSpPr/>
            <p:nvPr/>
          </p:nvSpPr>
          <p:spPr bwMode="auto">
            <a:xfrm>
              <a:off x="3426204" y="263013"/>
              <a:ext cx="229443" cy="9823"/>
            </a:xfrm>
            <a:custGeom>
              <a:avLst/>
              <a:gdLst>
                <a:gd name="T0" fmla="*/ 238 w 12071"/>
                <a:gd name="T1" fmla="*/ 1 h 503"/>
                <a:gd name="T2" fmla="*/ 201 w 12071"/>
                <a:gd name="T3" fmla="*/ 5 h 503"/>
                <a:gd name="T4" fmla="*/ 165 w 12071"/>
                <a:gd name="T5" fmla="*/ 15 h 503"/>
                <a:gd name="T6" fmla="*/ 132 w 12071"/>
                <a:gd name="T7" fmla="*/ 30 h 503"/>
                <a:gd name="T8" fmla="*/ 100 w 12071"/>
                <a:gd name="T9" fmla="*/ 50 h 503"/>
                <a:gd name="T10" fmla="*/ 73 w 12071"/>
                <a:gd name="T11" fmla="*/ 73 h 503"/>
                <a:gd name="T12" fmla="*/ 50 w 12071"/>
                <a:gd name="T13" fmla="*/ 100 h 503"/>
                <a:gd name="T14" fmla="*/ 30 w 12071"/>
                <a:gd name="T15" fmla="*/ 132 h 503"/>
                <a:gd name="T16" fmla="*/ 15 w 12071"/>
                <a:gd name="T17" fmla="*/ 165 h 503"/>
                <a:gd name="T18" fmla="*/ 5 w 12071"/>
                <a:gd name="T19" fmla="*/ 201 h 503"/>
                <a:gd name="T20" fmla="*/ 0 w 12071"/>
                <a:gd name="T21" fmla="*/ 238 h 503"/>
                <a:gd name="T22" fmla="*/ 1 w 12071"/>
                <a:gd name="T23" fmla="*/ 278 h 503"/>
                <a:gd name="T24" fmla="*/ 8 w 12071"/>
                <a:gd name="T25" fmla="*/ 315 h 503"/>
                <a:gd name="T26" fmla="*/ 20 w 12071"/>
                <a:gd name="T27" fmla="*/ 349 h 503"/>
                <a:gd name="T28" fmla="*/ 36 w 12071"/>
                <a:gd name="T29" fmla="*/ 382 h 503"/>
                <a:gd name="T30" fmla="*/ 57 w 12071"/>
                <a:gd name="T31" fmla="*/ 411 h 503"/>
                <a:gd name="T32" fmla="*/ 82 w 12071"/>
                <a:gd name="T33" fmla="*/ 438 h 503"/>
                <a:gd name="T34" fmla="*/ 111 w 12071"/>
                <a:gd name="T35" fmla="*/ 460 h 503"/>
                <a:gd name="T36" fmla="*/ 143 w 12071"/>
                <a:gd name="T37" fmla="*/ 479 h 503"/>
                <a:gd name="T38" fmla="*/ 177 w 12071"/>
                <a:gd name="T39" fmla="*/ 492 h 503"/>
                <a:gd name="T40" fmla="*/ 213 w 12071"/>
                <a:gd name="T41" fmla="*/ 500 h 503"/>
                <a:gd name="T42" fmla="*/ 251 w 12071"/>
                <a:gd name="T43" fmla="*/ 503 h 503"/>
                <a:gd name="T44" fmla="*/ 11846 w 12071"/>
                <a:gd name="T45" fmla="*/ 502 h 503"/>
                <a:gd name="T46" fmla="*/ 11882 w 12071"/>
                <a:gd name="T47" fmla="*/ 495 h 503"/>
                <a:gd name="T48" fmla="*/ 11917 w 12071"/>
                <a:gd name="T49" fmla="*/ 484 h 503"/>
                <a:gd name="T50" fmla="*/ 11949 w 12071"/>
                <a:gd name="T51" fmla="*/ 467 h 503"/>
                <a:gd name="T52" fmla="*/ 11980 w 12071"/>
                <a:gd name="T53" fmla="*/ 446 h 503"/>
                <a:gd name="T54" fmla="*/ 12006 w 12071"/>
                <a:gd name="T55" fmla="*/ 420 h 503"/>
                <a:gd name="T56" fmla="*/ 12028 w 12071"/>
                <a:gd name="T57" fmla="*/ 392 h 503"/>
                <a:gd name="T58" fmla="*/ 12046 w 12071"/>
                <a:gd name="T59" fmla="*/ 360 h 503"/>
                <a:gd name="T60" fmla="*/ 12060 w 12071"/>
                <a:gd name="T61" fmla="*/ 326 h 503"/>
                <a:gd name="T62" fmla="*/ 12068 w 12071"/>
                <a:gd name="T63" fmla="*/ 290 h 503"/>
                <a:gd name="T64" fmla="*/ 12071 w 12071"/>
                <a:gd name="T65" fmla="*/ 251 h 503"/>
                <a:gd name="T66" fmla="*/ 12068 w 12071"/>
                <a:gd name="T67" fmla="*/ 213 h 503"/>
                <a:gd name="T68" fmla="*/ 12060 w 12071"/>
                <a:gd name="T69" fmla="*/ 177 h 503"/>
                <a:gd name="T70" fmla="*/ 12046 w 12071"/>
                <a:gd name="T71" fmla="*/ 143 h 503"/>
                <a:gd name="T72" fmla="*/ 12028 w 12071"/>
                <a:gd name="T73" fmla="*/ 111 h 503"/>
                <a:gd name="T74" fmla="*/ 12006 w 12071"/>
                <a:gd name="T75" fmla="*/ 82 h 503"/>
                <a:gd name="T76" fmla="*/ 11980 w 12071"/>
                <a:gd name="T77" fmla="*/ 57 h 503"/>
                <a:gd name="T78" fmla="*/ 11949 w 12071"/>
                <a:gd name="T79" fmla="*/ 36 h 503"/>
                <a:gd name="T80" fmla="*/ 11917 w 12071"/>
                <a:gd name="T81" fmla="*/ 20 h 503"/>
                <a:gd name="T82" fmla="*/ 11882 w 12071"/>
                <a:gd name="T83" fmla="*/ 8 h 503"/>
                <a:gd name="T84" fmla="*/ 11846 w 12071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071" h="503">
                  <a:moveTo>
                    <a:pt x="11820" y="0"/>
                  </a:moveTo>
                  <a:lnTo>
                    <a:pt x="251" y="0"/>
                  </a:lnTo>
                  <a:lnTo>
                    <a:pt x="238" y="1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8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3"/>
                  </a:lnTo>
                  <a:lnTo>
                    <a:pt x="100" y="50"/>
                  </a:lnTo>
                  <a:lnTo>
                    <a:pt x="91" y="57"/>
                  </a:lnTo>
                  <a:lnTo>
                    <a:pt x="82" y="65"/>
                  </a:lnTo>
                  <a:lnTo>
                    <a:pt x="73" y="73"/>
                  </a:lnTo>
                  <a:lnTo>
                    <a:pt x="65" y="82"/>
                  </a:lnTo>
                  <a:lnTo>
                    <a:pt x="57" y="91"/>
                  </a:lnTo>
                  <a:lnTo>
                    <a:pt x="50" y="100"/>
                  </a:lnTo>
                  <a:lnTo>
                    <a:pt x="43" y="111"/>
                  </a:lnTo>
                  <a:lnTo>
                    <a:pt x="36" y="121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6"/>
                  </a:lnTo>
                  <a:lnTo>
                    <a:pt x="0" y="238"/>
                  </a:lnTo>
                  <a:lnTo>
                    <a:pt x="0" y="251"/>
                  </a:lnTo>
                  <a:lnTo>
                    <a:pt x="0" y="264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2"/>
                  </a:lnTo>
                  <a:lnTo>
                    <a:pt x="57" y="411"/>
                  </a:lnTo>
                  <a:lnTo>
                    <a:pt x="65" y="420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9"/>
                  </a:lnTo>
                  <a:lnTo>
                    <a:pt x="154" y="484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8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11820" y="503"/>
                  </a:lnTo>
                  <a:lnTo>
                    <a:pt x="11833" y="503"/>
                  </a:lnTo>
                  <a:lnTo>
                    <a:pt x="11846" y="502"/>
                  </a:lnTo>
                  <a:lnTo>
                    <a:pt x="11858" y="500"/>
                  </a:lnTo>
                  <a:lnTo>
                    <a:pt x="11870" y="498"/>
                  </a:lnTo>
                  <a:lnTo>
                    <a:pt x="11882" y="495"/>
                  </a:lnTo>
                  <a:lnTo>
                    <a:pt x="11894" y="492"/>
                  </a:lnTo>
                  <a:lnTo>
                    <a:pt x="11906" y="488"/>
                  </a:lnTo>
                  <a:lnTo>
                    <a:pt x="11917" y="484"/>
                  </a:lnTo>
                  <a:lnTo>
                    <a:pt x="11928" y="479"/>
                  </a:lnTo>
                  <a:lnTo>
                    <a:pt x="11939" y="473"/>
                  </a:lnTo>
                  <a:lnTo>
                    <a:pt x="11949" y="467"/>
                  </a:lnTo>
                  <a:lnTo>
                    <a:pt x="11960" y="460"/>
                  </a:lnTo>
                  <a:lnTo>
                    <a:pt x="11970" y="453"/>
                  </a:lnTo>
                  <a:lnTo>
                    <a:pt x="11980" y="446"/>
                  </a:lnTo>
                  <a:lnTo>
                    <a:pt x="11989" y="438"/>
                  </a:lnTo>
                  <a:lnTo>
                    <a:pt x="11998" y="430"/>
                  </a:lnTo>
                  <a:lnTo>
                    <a:pt x="12006" y="420"/>
                  </a:lnTo>
                  <a:lnTo>
                    <a:pt x="12014" y="411"/>
                  </a:lnTo>
                  <a:lnTo>
                    <a:pt x="12021" y="402"/>
                  </a:lnTo>
                  <a:lnTo>
                    <a:pt x="12028" y="392"/>
                  </a:lnTo>
                  <a:lnTo>
                    <a:pt x="12035" y="382"/>
                  </a:lnTo>
                  <a:lnTo>
                    <a:pt x="12041" y="371"/>
                  </a:lnTo>
                  <a:lnTo>
                    <a:pt x="12046" y="360"/>
                  </a:lnTo>
                  <a:lnTo>
                    <a:pt x="12051" y="349"/>
                  </a:lnTo>
                  <a:lnTo>
                    <a:pt x="12056" y="338"/>
                  </a:lnTo>
                  <a:lnTo>
                    <a:pt x="12060" y="326"/>
                  </a:lnTo>
                  <a:lnTo>
                    <a:pt x="12063" y="315"/>
                  </a:lnTo>
                  <a:lnTo>
                    <a:pt x="12066" y="303"/>
                  </a:lnTo>
                  <a:lnTo>
                    <a:pt x="12068" y="290"/>
                  </a:lnTo>
                  <a:lnTo>
                    <a:pt x="12070" y="278"/>
                  </a:lnTo>
                  <a:lnTo>
                    <a:pt x="12071" y="264"/>
                  </a:lnTo>
                  <a:lnTo>
                    <a:pt x="12071" y="251"/>
                  </a:lnTo>
                  <a:lnTo>
                    <a:pt x="12071" y="238"/>
                  </a:lnTo>
                  <a:lnTo>
                    <a:pt x="12070" y="226"/>
                  </a:lnTo>
                  <a:lnTo>
                    <a:pt x="12068" y="213"/>
                  </a:lnTo>
                  <a:lnTo>
                    <a:pt x="12066" y="201"/>
                  </a:lnTo>
                  <a:lnTo>
                    <a:pt x="12063" y="189"/>
                  </a:lnTo>
                  <a:lnTo>
                    <a:pt x="12060" y="177"/>
                  </a:lnTo>
                  <a:lnTo>
                    <a:pt x="12056" y="165"/>
                  </a:lnTo>
                  <a:lnTo>
                    <a:pt x="12051" y="154"/>
                  </a:lnTo>
                  <a:lnTo>
                    <a:pt x="12046" y="143"/>
                  </a:lnTo>
                  <a:lnTo>
                    <a:pt x="12041" y="132"/>
                  </a:lnTo>
                  <a:lnTo>
                    <a:pt x="12035" y="121"/>
                  </a:lnTo>
                  <a:lnTo>
                    <a:pt x="12028" y="111"/>
                  </a:lnTo>
                  <a:lnTo>
                    <a:pt x="12021" y="100"/>
                  </a:lnTo>
                  <a:lnTo>
                    <a:pt x="12014" y="91"/>
                  </a:lnTo>
                  <a:lnTo>
                    <a:pt x="12006" y="82"/>
                  </a:lnTo>
                  <a:lnTo>
                    <a:pt x="11998" y="73"/>
                  </a:lnTo>
                  <a:lnTo>
                    <a:pt x="11989" y="65"/>
                  </a:lnTo>
                  <a:lnTo>
                    <a:pt x="11980" y="57"/>
                  </a:lnTo>
                  <a:lnTo>
                    <a:pt x="11970" y="50"/>
                  </a:lnTo>
                  <a:lnTo>
                    <a:pt x="11960" y="43"/>
                  </a:lnTo>
                  <a:lnTo>
                    <a:pt x="11949" y="36"/>
                  </a:lnTo>
                  <a:lnTo>
                    <a:pt x="11939" y="30"/>
                  </a:lnTo>
                  <a:lnTo>
                    <a:pt x="11928" y="25"/>
                  </a:lnTo>
                  <a:lnTo>
                    <a:pt x="11917" y="20"/>
                  </a:lnTo>
                  <a:lnTo>
                    <a:pt x="11906" y="15"/>
                  </a:lnTo>
                  <a:lnTo>
                    <a:pt x="11894" y="11"/>
                  </a:lnTo>
                  <a:lnTo>
                    <a:pt x="11882" y="8"/>
                  </a:lnTo>
                  <a:lnTo>
                    <a:pt x="11870" y="5"/>
                  </a:lnTo>
                  <a:lnTo>
                    <a:pt x="11858" y="3"/>
                  </a:lnTo>
                  <a:lnTo>
                    <a:pt x="11846" y="1"/>
                  </a:lnTo>
                  <a:lnTo>
                    <a:pt x="11833" y="1"/>
                  </a:lnTo>
                  <a:lnTo>
                    <a:pt x="118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94" name="ïṣ1ïďè">
              <a:extLst>
                <a:ext uri="{FF2B5EF4-FFF2-40B4-BE49-F238E27FC236}">
                  <a16:creationId xmlns:a16="http://schemas.microsoft.com/office/drawing/2014/main" id="{97CD5BC1-B2F8-4518-A621-36BED9FFBC3B}"/>
                </a:ext>
              </a:extLst>
            </p:cNvPr>
            <p:cNvSpPr/>
            <p:nvPr/>
          </p:nvSpPr>
          <p:spPr bwMode="auto">
            <a:xfrm>
              <a:off x="3426204" y="177409"/>
              <a:ext cx="229443" cy="9823"/>
            </a:xfrm>
            <a:custGeom>
              <a:avLst/>
              <a:gdLst>
                <a:gd name="T0" fmla="*/ 238 w 12071"/>
                <a:gd name="T1" fmla="*/ 0 h 503"/>
                <a:gd name="T2" fmla="*/ 201 w 12071"/>
                <a:gd name="T3" fmla="*/ 5 h 503"/>
                <a:gd name="T4" fmla="*/ 165 w 12071"/>
                <a:gd name="T5" fmla="*/ 15 h 503"/>
                <a:gd name="T6" fmla="*/ 132 w 12071"/>
                <a:gd name="T7" fmla="*/ 30 h 503"/>
                <a:gd name="T8" fmla="*/ 100 w 12071"/>
                <a:gd name="T9" fmla="*/ 50 h 503"/>
                <a:gd name="T10" fmla="*/ 73 w 12071"/>
                <a:gd name="T11" fmla="*/ 73 h 503"/>
                <a:gd name="T12" fmla="*/ 50 w 12071"/>
                <a:gd name="T13" fmla="*/ 101 h 503"/>
                <a:gd name="T14" fmla="*/ 30 w 12071"/>
                <a:gd name="T15" fmla="*/ 132 h 503"/>
                <a:gd name="T16" fmla="*/ 15 w 12071"/>
                <a:gd name="T17" fmla="*/ 165 h 503"/>
                <a:gd name="T18" fmla="*/ 5 w 12071"/>
                <a:gd name="T19" fmla="*/ 201 h 503"/>
                <a:gd name="T20" fmla="*/ 0 w 12071"/>
                <a:gd name="T21" fmla="*/ 239 h 503"/>
                <a:gd name="T22" fmla="*/ 1 w 12071"/>
                <a:gd name="T23" fmla="*/ 278 h 503"/>
                <a:gd name="T24" fmla="*/ 8 w 12071"/>
                <a:gd name="T25" fmla="*/ 315 h 503"/>
                <a:gd name="T26" fmla="*/ 20 w 12071"/>
                <a:gd name="T27" fmla="*/ 349 h 503"/>
                <a:gd name="T28" fmla="*/ 36 w 12071"/>
                <a:gd name="T29" fmla="*/ 382 h 503"/>
                <a:gd name="T30" fmla="*/ 57 w 12071"/>
                <a:gd name="T31" fmla="*/ 412 h 503"/>
                <a:gd name="T32" fmla="*/ 82 w 12071"/>
                <a:gd name="T33" fmla="*/ 438 h 503"/>
                <a:gd name="T34" fmla="*/ 111 w 12071"/>
                <a:gd name="T35" fmla="*/ 460 h 503"/>
                <a:gd name="T36" fmla="*/ 143 w 12071"/>
                <a:gd name="T37" fmla="*/ 478 h 503"/>
                <a:gd name="T38" fmla="*/ 177 w 12071"/>
                <a:gd name="T39" fmla="*/ 492 h 503"/>
                <a:gd name="T40" fmla="*/ 213 w 12071"/>
                <a:gd name="T41" fmla="*/ 500 h 503"/>
                <a:gd name="T42" fmla="*/ 251 w 12071"/>
                <a:gd name="T43" fmla="*/ 503 h 503"/>
                <a:gd name="T44" fmla="*/ 11846 w 12071"/>
                <a:gd name="T45" fmla="*/ 502 h 503"/>
                <a:gd name="T46" fmla="*/ 11882 w 12071"/>
                <a:gd name="T47" fmla="*/ 495 h 503"/>
                <a:gd name="T48" fmla="*/ 11917 w 12071"/>
                <a:gd name="T49" fmla="*/ 483 h 503"/>
                <a:gd name="T50" fmla="*/ 11949 w 12071"/>
                <a:gd name="T51" fmla="*/ 467 h 503"/>
                <a:gd name="T52" fmla="*/ 11980 w 12071"/>
                <a:gd name="T53" fmla="*/ 446 h 503"/>
                <a:gd name="T54" fmla="*/ 12006 w 12071"/>
                <a:gd name="T55" fmla="*/ 421 h 503"/>
                <a:gd name="T56" fmla="*/ 12028 w 12071"/>
                <a:gd name="T57" fmla="*/ 392 h 503"/>
                <a:gd name="T58" fmla="*/ 12046 w 12071"/>
                <a:gd name="T59" fmla="*/ 360 h 503"/>
                <a:gd name="T60" fmla="*/ 12060 w 12071"/>
                <a:gd name="T61" fmla="*/ 326 h 503"/>
                <a:gd name="T62" fmla="*/ 12068 w 12071"/>
                <a:gd name="T63" fmla="*/ 290 h 503"/>
                <a:gd name="T64" fmla="*/ 12071 w 12071"/>
                <a:gd name="T65" fmla="*/ 252 h 503"/>
                <a:gd name="T66" fmla="*/ 12068 w 12071"/>
                <a:gd name="T67" fmla="*/ 213 h 503"/>
                <a:gd name="T68" fmla="*/ 12060 w 12071"/>
                <a:gd name="T69" fmla="*/ 177 h 503"/>
                <a:gd name="T70" fmla="*/ 12046 w 12071"/>
                <a:gd name="T71" fmla="*/ 143 h 503"/>
                <a:gd name="T72" fmla="*/ 12028 w 12071"/>
                <a:gd name="T73" fmla="*/ 111 h 503"/>
                <a:gd name="T74" fmla="*/ 12006 w 12071"/>
                <a:gd name="T75" fmla="*/ 83 h 503"/>
                <a:gd name="T76" fmla="*/ 11980 w 12071"/>
                <a:gd name="T77" fmla="*/ 57 h 503"/>
                <a:gd name="T78" fmla="*/ 11949 w 12071"/>
                <a:gd name="T79" fmla="*/ 36 h 503"/>
                <a:gd name="T80" fmla="*/ 11917 w 12071"/>
                <a:gd name="T81" fmla="*/ 20 h 503"/>
                <a:gd name="T82" fmla="*/ 11882 w 12071"/>
                <a:gd name="T83" fmla="*/ 8 h 503"/>
                <a:gd name="T84" fmla="*/ 11846 w 12071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071" h="503">
                  <a:moveTo>
                    <a:pt x="11820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8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3"/>
                  </a:lnTo>
                  <a:lnTo>
                    <a:pt x="100" y="50"/>
                  </a:lnTo>
                  <a:lnTo>
                    <a:pt x="91" y="57"/>
                  </a:lnTo>
                  <a:lnTo>
                    <a:pt x="82" y="65"/>
                  </a:lnTo>
                  <a:lnTo>
                    <a:pt x="73" y="73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1"/>
                  </a:lnTo>
                  <a:lnTo>
                    <a:pt x="43" y="111"/>
                  </a:lnTo>
                  <a:lnTo>
                    <a:pt x="36" y="121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6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8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11820" y="503"/>
                  </a:lnTo>
                  <a:lnTo>
                    <a:pt x="11833" y="503"/>
                  </a:lnTo>
                  <a:lnTo>
                    <a:pt x="11846" y="502"/>
                  </a:lnTo>
                  <a:lnTo>
                    <a:pt x="11858" y="500"/>
                  </a:lnTo>
                  <a:lnTo>
                    <a:pt x="11870" y="498"/>
                  </a:lnTo>
                  <a:lnTo>
                    <a:pt x="11882" y="495"/>
                  </a:lnTo>
                  <a:lnTo>
                    <a:pt x="11894" y="492"/>
                  </a:lnTo>
                  <a:lnTo>
                    <a:pt x="11906" y="488"/>
                  </a:lnTo>
                  <a:lnTo>
                    <a:pt x="11917" y="483"/>
                  </a:lnTo>
                  <a:lnTo>
                    <a:pt x="11928" y="478"/>
                  </a:lnTo>
                  <a:lnTo>
                    <a:pt x="11939" y="473"/>
                  </a:lnTo>
                  <a:lnTo>
                    <a:pt x="11949" y="467"/>
                  </a:lnTo>
                  <a:lnTo>
                    <a:pt x="11960" y="460"/>
                  </a:lnTo>
                  <a:lnTo>
                    <a:pt x="11970" y="453"/>
                  </a:lnTo>
                  <a:lnTo>
                    <a:pt x="11980" y="446"/>
                  </a:lnTo>
                  <a:lnTo>
                    <a:pt x="11989" y="438"/>
                  </a:lnTo>
                  <a:lnTo>
                    <a:pt x="11998" y="430"/>
                  </a:lnTo>
                  <a:lnTo>
                    <a:pt x="12006" y="421"/>
                  </a:lnTo>
                  <a:lnTo>
                    <a:pt x="12014" y="412"/>
                  </a:lnTo>
                  <a:lnTo>
                    <a:pt x="12021" y="403"/>
                  </a:lnTo>
                  <a:lnTo>
                    <a:pt x="12028" y="392"/>
                  </a:lnTo>
                  <a:lnTo>
                    <a:pt x="12035" y="382"/>
                  </a:lnTo>
                  <a:lnTo>
                    <a:pt x="12041" y="371"/>
                  </a:lnTo>
                  <a:lnTo>
                    <a:pt x="12046" y="360"/>
                  </a:lnTo>
                  <a:lnTo>
                    <a:pt x="12051" y="349"/>
                  </a:lnTo>
                  <a:lnTo>
                    <a:pt x="12056" y="338"/>
                  </a:lnTo>
                  <a:lnTo>
                    <a:pt x="12060" y="326"/>
                  </a:lnTo>
                  <a:lnTo>
                    <a:pt x="12063" y="315"/>
                  </a:lnTo>
                  <a:lnTo>
                    <a:pt x="12066" y="302"/>
                  </a:lnTo>
                  <a:lnTo>
                    <a:pt x="12068" y="290"/>
                  </a:lnTo>
                  <a:lnTo>
                    <a:pt x="12070" y="278"/>
                  </a:lnTo>
                  <a:lnTo>
                    <a:pt x="12071" y="265"/>
                  </a:lnTo>
                  <a:lnTo>
                    <a:pt x="12071" y="252"/>
                  </a:lnTo>
                  <a:lnTo>
                    <a:pt x="12071" y="239"/>
                  </a:lnTo>
                  <a:lnTo>
                    <a:pt x="12070" y="226"/>
                  </a:lnTo>
                  <a:lnTo>
                    <a:pt x="12068" y="213"/>
                  </a:lnTo>
                  <a:lnTo>
                    <a:pt x="12066" y="201"/>
                  </a:lnTo>
                  <a:lnTo>
                    <a:pt x="12063" y="189"/>
                  </a:lnTo>
                  <a:lnTo>
                    <a:pt x="12060" y="177"/>
                  </a:lnTo>
                  <a:lnTo>
                    <a:pt x="12056" y="165"/>
                  </a:lnTo>
                  <a:lnTo>
                    <a:pt x="12051" y="154"/>
                  </a:lnTo>
                  <a:lnTo>
                    <a:pt x="12046" y="143"/>
                  </a:lnTo>
                  <a:lnTo>
                    <a:pt x="12041" y="132"/>
                  </a:lnTo>
                  <a:lnTo>
                    <a:pt x="12035" y="121"/>
                  </a:lnTo>
                  <a:lnTo>
                    <a:pt x="12028" y="111"/>
                  </a:lnTo>
                  <a:lnTo>
                    <a:pt x="12021" y="101"/>
                  </a:lnTo>
                  <a:lnTo>
                    <a:pt x="12014" y="92"/>
                  </a:lnTo>
                  <a:lnTo>
                    <a:pt x="12006" y="83"/>
                  </a:lnTo>
                  <a:lnTo>
                    <a:pt x="11998" y="73"/>
                  </a:lnTo>
                  <a:lnTo>
                    <a:pt x="11989" y="65"/>
                  </a:lnTo>
                  <a:lnTo>
                    <a:pt x="11980" y="57"/>
                  </a:lnTo>
                  <a:lnTo>
                    <a:pt x="11970" y="50"/>
                  </a:lnTo>
                  <a:lnTo>
                    <a:pt x="11960" y="43"/>
                  </a:lnTo>
                  <a:lnTo>
                    <a:pt x="11949" y="36"/>
                  </a:lnTo>
                  <a:lnTo>
                    <a:pt x="11939" y="30"/>
                  </a:lnTo>
                  <a:lnTo>
                    <a:pt x="11928" y="25"/>
                  </a:lnTo>
                  <a:lnTo>
                    <a:pt x="11917" y="20"/>
                  </a:lnTo>
                  <a:lnTo>
                    <a:pt x="11906" y="15"/>
                  </a:lnTo>
                  <a:lnTo>
                    <a:pt x="11894" y="11"/>
                  </a:lnTo>
                  <a:lnTo>
                    <a:pt x="11882" y="8"/>
                  </a:lnTo>
                  <a:lnTo>
                    <a:pt x="11870" y="5"/>
                  </a:lnTo>
                  <a:lnTo>
                    <a:pt x="11858" y="3"/>
                  </a:lnTo>
                  <a:lnTo>
                    <a:pt x="11846" y="1"/>
                  </a:lnTo>
                  <a:lnTo>
                    <a:pt x="11833" y="0"/>
                  </a:lnTo>
                  <a:lnTo>
                    <a:pt x="118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95" name="îsľiḋe">
              <a:extLst>
                <a:ext uri="{FF2B5EF4-FFF2-40B4-BE49-F238E27FC236}">
                  <a16:creationId xmlns:a16="http://schemas.microsoft.com/office/drawing/2014/main" id="{670AF43C-8D12-4476-8C90-D7453F880105}"/>
                </a:ext>
              </a:extLst>
            </p:cNvPr>
            <p:cNvSpPr/>
            <p:nvPr/>
          </p:nvSpPr>
          <p:spPr bwMode="auto">
            <a:xfrm>
              <a:off x="3426204" y="81983"/>
              <a:ext cx="86304" cy="76482"/>
            </a:xfrm>
            <a:custGeom>
              <a:avLst/>
              <a:gdLst>
                <a:gd name="T0" fmla="*/ 3521 w 4527"/>
                <a:gd name="T1" fmla="*/ 3019 h 4026"/>
                <a:gd name="T2" fmla="*/ 503 w 4527"/>
                <a:gd name="T3" fmla="*/ 4026 h 4026"/>
                <a:gd name="T4" fmla="*/ 4076 w 4527"/>
                <a:gd name="T5" fmla="*/ 4023 h 4026"/>
                <a:gd name="T6" fmla="*/ 4149 w 4527"/>
                <a:gd name="T7" fmla="*/ 4009 h 4026"/>
                <a:gd name="T8" fmla="*/ 4220 w 4527"/>
                <a:gd name="T9" fmla="*/ 3986 h 4026"/>
                <a:gd name="T10" fmla="*/ 4285 w 4527"/>
                <a:gd name="T11" fmla="*/ 3953 h 4026"/>
                <a:gd name="T12" fmla="*/ 4345 w 4527"/>
                <a:gd name="T13" fmla="*/ 3911 h 4026"/>
                <a:gd name="T14" fmla="*/ 4397 w 4527"/>
                <a:gd name="T15" fmla="*/ 3861 h 4026"/>
                <a:gd name="T16" fmla="*/ 4441 w 4527"/>
                <a:gd name="T17" fmla="*/ 3804 h 4026"/>
                <a:gd name="T18" fmla="*/ 4477 w 4527"/>
                <a:gd name="T19" fmla="*/ 3741 h 4026"/>
                <a:gd name="T20" fmla="*/ 4504 w 4527"/>
                <a:gd name="T21" fmla="*/ 3672 h 4026"/>
                <a:gd name="T22" fmla="*/ 4522 w 4527"/>
                <a:gd name="T23" fmla="*/ 3599 h 4026"/>
                <a:gd name="T24" fmla="*/ 4527 w 4527"/>
                <a:gd name="T25" fmla="*/ 3522 h 4026"/>
                <a:gd name="T26" fmla="*/ 4525 w 4527"/>
                <a:gd name="T27" fmla="*/ 452 h 4026"/>
                <a:gd name="T28" fmla="*/ 4512 w 4527"/>
                <a:gd name="T29" fmla="*/ 377 h 4026"/>
                <a:gd name="T30" fmla="*/ 4487 w 4527"/>
                <a:gd name="T31" fmla="*/ 307 h 4026"/>
                <a:gd name="T32" fmla="*/ 4454 w 4527"/>
                <a:gd name="T33" fmla="*/ 243 h 4026"/>
                <a:gd name="T34" fmla="*/ 4412 w 4527"/>
                <a:gd name="T35" fmla="*/ 183 h 4026"/>
                <a:gd name="T36" fmla="*/ 4363 w 4527"/>
                <a:gd name="T37" fmla="*/ 131 h 4026"/>
                <a:gd name="T38" fmla="*/ 4305 w 4527"/>
                <a:gd name="T39" fmla="*/ 86 h 4026"/>
                <a:gd name="T40" fmla="*/ 4242 w 4527"/>
                <a:gd name="T41" fmla="*/ 49 h 4026"/>
                <a:gd name="T42" fmla="*/ 4174 w 4527"/>
                <a:gd name="T43" fmla="*/ 22 h 4026"/>
                <a:gd name="T44" fmla="*/ 4101 w 4527"/>
                <a:gd name="T45" fmla="*/ 6 h 4026"/>
                <a:gd name="T46" fmla="*/ 4024 w 4527"/>
                <a:gd name="T47" fmla="*/ 0 h 4026"/>
                <a:gd name="T48" fmla="*/ 452 w 4527"/>
                <a:gd name="T49" fmla="*/ 3 h 4026"/>
                <a:gd name="T50" fmla="*/ 377 w 4527"/>
                <a:gd name="T51" fmla="*/ 16 h 4026"/>
                <a:gd name="T52" fmla="*/ 307 w 4527"/>
                <a:gd name="T53" fmla="*/ 39 h 4026"/>
                <a:gd name="T54" fmla="*/ 242 w 4527"/>
                <a:gd name="T55" fmla="*/ 72 h 4026"/>
                <a:gd name="T56" fmla="*/ 183 w 4527"/>
                <a:gd name="T57" fmla="*/ 115 h 4026"/>
                <a:gd name="T58" fmla="*/ 131 w 4527"/>
                <a:gd name="T59" fmla="*/ 165 h 4026"/>
                <a:gd name="T60" fmla="*/ 85 w 4527"/>
                <a:gd name="T61" fmla="*/ 221 h 4026"/>
                <a:gd name="T62" fmla="*/ 49 w 4527"/>
                <a:gd name="T63" fmla="*/ 285 h 4026"/>
                <a:gd name="T64" fmla="*/ 22 w 4527"/>
                <a:gd name="T65" fmla="*/ 353 h 4026"/>
                <a:gd name="T66" fmla="*/ 6 w 4527"/>
                <a:gd name="T67" fmla="*/ 427 h 4026"/>
                <a:gd name="T68" fmla="*/ 0 w 4527"/>
                <a:gd name="T69" fmla="*/ 503 h 4026"/>
                <a:gd name="T70" fmla="*/ 3 w 4527"/>
                <a:gd name="T71" fmla="*/ 3574 h 4026"/>
                <a:gd name="T72" fmla="*/ 16 w 4527"/>
                <a:gd name="T73" fmla="*/ 3648 h 4026"/>
                <a:gd name="T74" fmla="*/ 39 w 4527"/>
                <a:gd name="T75" fmla="*/ 3719 h 4026"/>
                <a:gd name="T76" fmla="*/ 72 w 4527"/>
                <a:gd name="T77" fmla="*/ 3783 h 4026"/>
                <a:gd name="T78" fmla="*/ 115 w 4527"/>
                <a:gd name="T79" fmla="*/ 3842 h 4026"/>
                <a:gd name="T80" fmla="*/ 165 w 4527"/>
                <a:gd name="T81" fmla="*/ 3895 h 4026"/>
                <a:gd name="T82" fmla="*/ 221 w 4527"/>
                <a:gd name="T83" fmla="*/ 3940 h 4026"/>
                <a:gd name="T84" fmla="*/ 285 w 4527"/>
                <a:gd name="T85" fmla="*/ 3976 h 4026"/>
                <a:gd name="T86" fmla="*/ 353 w 4527"/>
                <a:gd name="T87" fmla="*/ 4003 h 4026"/>
                <a:gd name="T88" fmla="*/ 426 w 4527"/>
                <a:gd name="T89" fmla="*/ 4020 h 4026"/>
                <a:gd name="T90" fmla="*/ 503 w 4527"/>
                <a:gd name="T91" fmla="*/ 4026 h 40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527" h="4026">
                  <a:moveTo>
                    <a:pt x="1006" y="1006"/>
                  </a:moveTo>
                  <a:lnTo>
                    <a:pt x="3521" y="1006"/>
                  </a:lnTo>
                  <a:lnTo>
                    <a:pt x="3521" y="3019"/>
                  </a:lnTo>
                  <a:lnTo>
                    <a:pt x="1006" y="3019"/>
                  </a:lnTo>
                  <a:lnTo>
                    <a:pt x="1006" y="1006"/>
                  </a:lnTo>
                  <a:close/>
                  <a:moveTo>
                    <a:pt x="503" y="4026"/>
                  </a:moveTo>
                  <a:lnTo>
                    <a:pt x="4024" y="4026"/>
                  </a:lnTo>
                  <a:lnTo>
                    <a:pt x="4050" y="4025"/>
                  </a:lnTo>
                  <a:lnTo>
                    <a:pt x="4076" y="4023"/>
                  </a:lnTo>
                  <a:lnTo>
                    <a:pt x="4101" y="4020"/>
                  </a:lnTo>
                  <a:lnTo>
                    <a:pt x="4125" y="4016"/>
                  </a:lnTo>
                  <a:lnTo>
                    <a:pt x="4149" y="4009"/>
                  </a:lnTo>
                  <a:lnTo>
                    <a:pt x="4174" y="4003"/>
                  </a:lnTo>
                  <a:lnTo>
                    <a:pt x="4197" y="3995"/>
                  </a:lnTo>
                  <a:lnTo>
                    <a:pt x="4220" y="3986"/>
                  </a:lnTo>
                  <a:lnTo>
                    <a:pt x="4242" y="3976"/>
                  </a:lnTo>
                  <a:lnTo>
                    <a:pt x="4264" y="3965"/>
                  </a:lnTo>
                  <a:lnTo>
                    <a:pt x="4285" y="3953"/>
                  </a:lnTo>
                  <a:lnTo>
                    <a:pt x="4305" y="3940"/>
                  </a:lnTo>
                  <a:lnTo>
                    <a:pt x="4325" y="3926"/>
                  </a:lnTo>
                  <a:lnTo>
                    <a:pt x="4345" y="3911"/>
                  </a:lnTo>
                  <a:lnTo>
                    <a:pt x="4363" y="3895"/>
                  </a:lnTo>
                  <a:lnTo>
                    <a:pt x="4380" y="3879"/>
                  </a:lnTo>
                  <a:lnTo>
                    <a:pt x="4397" y="3861"/>
                  </a:lnTo>
                  <a:lnTo>
                    <a:pt x="4412" y="3842"/>
                  </a:lnTo>
                  <a:lnTo>
                    <a:pt x="4427" y="3823"/>
                  </a:lnTo>
                  <a:lnTo>
                    <a:pt x="4441" y="3804"/>
                  </a:lnTo>
                  <a:lnTo>
                    <a:pt x="4454" y="3783"/>
                  </a:lnTo>
                  <a:lnTo>
                    <a:pt x="4466" y="3762"/>
                  </a:lnTo>
                  <a:lnTo>
                    <a:pt x="4477" y="3741"/>
                  </a:lnTo>
                  <a:lnTo>
                    <a:pt x="4487" y="3719"/>
                  </a:lnTo>
                  <a:lnTo>
                    <a:pt x="4496" y="3696"/>
                  </a:lnTo>
                  <a:lnTo>
                    <a:pt x="4504" y="3672"/>
                  </a:lnTo>
                  <a:lnTo>
                    <a:pt x="4512" y="3648"/>
                  </a:lnTo>
                  <a:lnTo>
                    <a:pt x="4517" y="3624"/>
                  </a:lnTo>
                  <a:lnTo>
                    <a:pt x="4522" y="3599"/>
                  </a:lnTo>
                  <a:lnTo>
                    <a:pt x="4525" y="3574"/>
                  </a:lnTo>
                  <a:lnTo>
                    <a:pt x="4527" y="3549"/>
                  </a:lnTo>
                  <a:lnTo>
                    <a:pt x="4527" y="3522"/>
                  </a:lnTo>
                  <a:lnTo>
                    <a:pt x="4527" y="503"/>
                  </a:lnTo>
                  <a:lnTo>
                    <a:pt x="4527" y="477"/>
                  </a:lnTo>
                  <a:lnTo>
                    <a:pt x="4525" y="452"/>
                  </a:lnTo>
                  <a:lnTo>
                    <a:pt x="4522" y="427"/>
                  </a:lnTo>
                  <a:lnTo>
                    <a:pt x="4517" y="402"/>
                  </a:lnTo>
                  <a:lnTo>
                    <a:pt x="4512" y="377"/>
                  </a:lnTo>
                  <a:lnTo>
                    <a:pt x="4504" y="353"/>
                  </a:lnTo>
                  <a:lnTo>
                    <a:pt x="4496" y="330"/>
                  </a:lnTo>
                  <a:lnTo>
                    <a:pt x="4487" y="307"/>
                  </a:lnTo>
                  <a:lnTo>
                    <a:pt x="4477" y="285"/>
                  </a:lnTo>
                  <a:lnTo>
                    <a:pt x="4466" y="264"/>
                  </a:lnTo>
                  <a:lnTo>
                    <a:pt x="4454" y="243"/>
                  </a:lnTo>
                  <a:lnTo>
                    <a:pt x="4441" y="221"/>
                  </a:lnTo>
                  <a:lnTo>
                    <a:pt x="4427" y="202"/>
                  </a:lnTo>
                  <a:lnTo>
                    <a:pt x="4412" y="183"/>
                  </a:lnTo>
                  <a:lnTo>
                    <a:pt x="4397" y="165"/>
                  </a:lnTo>
                  <a:lnTo>
                    <a:pt x="4380" y="147"/>
                  </a:lnTo>
                  <a:lnTo>
                    <a:pt x="4363" y="131"/>
                  </a:lnTo>
                  <a:lnTo>
                    <a:pt x="4345" y="115"/>
                  </a:lnTo>
                  <a:lnTo>
                    <a:pt x="4325" y="100"/>
                  </a:lnTo>
                  <a:lnTo>
                    <a:pt x="4305" y="86"/>
                  </a:lnTo>
                  <a:lnTo>
                    <a:pt x="4285" y="72"/>
                  </a:lnTo>
                  <a:lnTo>
                    <a:pt x="4264" y="60"/>
                  </a:lnTo>
                  <a:lnTo>
                    <a:pt x="4242" y="49"/>
                  </a:lnTo>
                  <a:lnTo>
                    <a:pt x="4220" y="39"/>
                  </a:lnTo>
                  <a:lnTo>
                    <a:pt x="4197" y="30"/>
                  </a:lnTo>
                  <a:lnTo>
                    <a:pt x="4174" y="22"/>
                  </a:lnTo>
                  <a:lnTo>
                    <a:pt x="4149" y="16"/>
                  </a:lnTo>
                  <a:lnTo>
                    <a:pt x="4125" y="10"/>
                  </a:lnTo>
                  <a:lnTo>
                    <a:pt x="4101" y="6"/>
                  </a:lnTo>
                  <a:lnTo>
                    <a:pt x="4076" y="3"/>
                  </a:lnTo>
                  <a:lnTo>
                    <a:pt x="4050" y="1"/>
                  </a:lnTo>
                  <a:lnTo>
                    <a:pt x="4024" y="0"/>
                  </a:lnTo>
                  <a:lnTo>
                    <a:pt x="503" y="0"/>
                  </a:lnTo>
                  <a:lnTo>
                    <a:pt x="477" y="1"/>
                  </a:lnTo>
                  <a:lnTo>
                    <a:pt x="452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5" y="49"/>
                  </a:lnTo>
                  <a:lnTo>
                    <a:pt x="262" y="60"/>
                  </a:lnTo>
                  <a:lnTo>
                    <a:pt x="242" y="72"/>
                  </a:lnTo>
                  <a:lnTo>
                    <a:pt x="221" y="86"/>
                  </a:lnTo>
                  <a:lnTo>
                    <a:pt x="202" y="100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99" y="202"/>
                  </a:lnTo>
                  <a:lnTo>
                    <a:pt x="85" y="221"/>
                  </a:lnTo>
                  <a:lnTo>
                    <a:pt x="72" y="243"/>
                  </a:lnTo>
                  <a:lnTo>
                    <a:pt x="60" y="264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2"/>
                  </a:lnTo>
                  <a:lnTo>
                    <a:pt x="6" y="427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0" y="3522"/>
                  </a:lnTo>
                  <a:lnTo>
                    <a:pt x="1" y="3549"/>
                  </a:lnTo>
                  <a:lnTo>
                    <a:pt x="3" y="3574"/>
                  </a:lnTo>
                  <a:lnTo>
                    <a:pt x="6" y="3599"/>
                  </a:lnTo>
                  <a:lnTo>
                    <a:pt x="10" y="3624"/>
                  </a:lnTo>
                  <a:lnTo>
                    <a:pt x="16" y="3648"/>
                  </a:lnTo>
                  <a:lnTo>
                    <a:pt x="22" y="3672"/>
                  </a:lnTo>
                  <a:lnTo>
                    <a:pt x="30" y="3696"/>
                  </a:lnTo>
                  <a:lnTo>
                    <a:pt x="39" y="3719"/>
                  </a:lnTo>
                  <a:lnTo>
                    <a:pt x="49" y="3741"/>
                  </a:lnTo>
                  <a:lnTo>
                    <a:pt x="60" y="3762"/>
                  </a:lnTo>
                  <a:lnTo>
                    <a:pt x="72" y="3783"/>
                  </a:lnTo>
                  <a:lnTo>
                    <a:pt x="85" y="3804"/>
                  </a:lnTo>
                  <a:lnTo>
                    <a:pt x="99" y="3823"/>
                  </a:lnTo>
                  <a:lnTo>
                    <a:pt x="115" y="3842"/>
                  </a:lnTo>
                  <a:lnTo>
                    <a:pt x="131" y="3861"/>
                  </a:lnTo>
                  <a:lnTo>
                    <a:pt x="147" y="3879"/>
                  </a:lnTo>
                  <a:lnTo>
                    <a:pt x="165" y="3895"/>
                  </a:lnTo>
                  <a:lnTo>
                    <a:pt x="183" y="3911"/>
                  </a:lnTo>
                  <a:lnTo>
                    <a:pt x="202" y="3926"/>
                  </a:lnTo>
                  <a:lnTo>
                    <a:pt x="221" y="3940"/>
                  </a:lnTo>
                  <a:lnTo>
                    <a:pt x="242" y="3953"/>
                  </a:lnTo>
                  <a:lnTo>
                    <a:pt x="262" y="3965"/>
                  </a:lnTo>
                  <a:lnTo>
                    <a:pt x="285" y="3976"/>
                  </a:lnTo>
                  <a:lnTo>
                    <a:pt x="307" y="3986"/>
                  </a:lnTo>
                  <a:lnTo>
                    <a:pt x="330" y="3995"/>
                  </a:lnTo>
                  <a:lnTo>
                    <a:pt x="353" y="4003"/>
                  </a:lnTo>
                  <a:lnTo>
                    <a:pt x="377" y="4009"/>
                  </a:lnTo>
                  <a:lnTo>
                    <a:pt x="401" y="4016"/>
                  </a:lnTo>
                  <a:lnTo>
                    <a:pt x="426" y="4020"/>
                  </a:lnTo>
                  <a:lnTo>
                    <a:pt x="452" y="4023"/>
                  </a:lnTo>
                  <a:lnTo>
                    <a:pt x="477" y="4025"/>
                  </a:lnTo>
                  <a:lnTo>
                    <a:pt x="503" y="40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96" name="ïşľîḑè">
              <a:extLst>
                <a:ext uri="{FF2B5EF4-FFF2-40B4-BE49-F238E27FC236}">
                  <a16:creationId xmlns:a16="http://schemas.microsoft.com/office/drawing/2014/main" id="{BD3019AD-AE3B-4AAB-A3EF-22ADFEACB060}"/>
                </a:ext>
              </a:extLst>
            </p:cNvPr>
            <p:cNvSpPr/>
            <p:nvPr/>
          </p:nvSpPr>
          <p:spPr bwMode="auto">
            <a:xfrm>
              <a:off x="2348575" y="1122194"/>
              <a:ext cx="39479" cy="39479"/>
            </a:xfrm>
            <a:custGeom>
              <a:avLst/>
              <a:gdLst>
                <a:gd name="T0" fmla="*/ 554 w 1006"/>
                <a:gd name="T1" fmla="*/ 1003 h 1006"/>
                <a:gd name="T2" fmla="*/ 628 w 1006"/>
                <a:gd name="T3" fmla="*/ 990 h 1006"/>
                <a:gd name="T4" fmla="*/ 699 w 1006"/>
                <a:gd name="T5" fmla="*/ 966 h 1006"/>
                <a:gd name="T6" fmla="*/ 763 w 1006"/>
                <a:gd name="T7" fmla="*/ 932 h 1006"/>
                <a:gd name="T8" fmla="*/ 822 w 1006"/>
                <a:gd name="T9" fmla="*/ 891 h 1006"/>
                <a:gd name="T10" fmla="*/ 875 w 1006"/>
                <a:gd name="T11" fmla="*/ 841 h 1006"/>
                <a:gd name="T12" fmla="*/ 920 w 1006"/>
                <a:gd name="T13" fmla="*/ 783 h 1006"/>
                <a:gd name="T14" fmla="*/ 956 w 1006"/>
                <a:gd name="T15" fmla="*/ 721 h 1006"/>
                <a:gd name="T16" fmla="*/ 983 w 1006"/>
                <a:gd name="T17" fmla="*/ 653 h 1006"/>
                <a:gd name="T18" fmla="*/ 999 w 1006"/>
                <a:gd name="T19" fmla="*/ 579 h 1006"/>
                <a:gd name="T20" fmla="*/ 1006 w 1006"/>
                <a:gd name="T21" fmla="*/ 503 h 1006"/>
                <a:gd name="T22" fmla="*/ 999 w 1006"/>
                <a:gd name="T23" fmla="*/ 426 h 1006"/>
                <a:gd name="T24" fmla="*/ 983 w 1006"/>
                <a:gd name="T25" fmla="*/ 353 h 1006"/>
                <a:gd name="T26" fmla="*/ 956 w 1006"/>
                <a:gd name="T27" fmla="*/ 284 h 1006"/>
                <a:gd name="T28" fmla="*/ 920 w 1006"/>
                <a:gd name="T29" fmla="*/ 221 h 1006"/>
                <a:gd name="T30" fmla="*/ 875 w 1006"/>
                <a:gd name="T31" fmla="*/ 164 h 1006"/>
                <a:gd name="T32" fmla="*/ 822 w 1006"/>
                <a:gd name="T33" fmla="*/ 114 h 1006"/>
                <a:gd name="T34" fmla="*/ 763 w 1006"/>
                <a:gd name="T35" fmla="*/ 72 h 1006"/>
                <a:gd name="T36" fmla="*/ 699 w 1006"/>
                <a:gd name="T37" fmla="*/ 39 h 1006"/>
                <a:gd name="T38" fmla="*/ 628 w 1006"/>
                <a:gd name="T39" fmla="*/ 15 h 1006"/>
                <a:gd name="T40" fmla="*/ 554 w 1006"/>
                <a:gd name="T41" fmla="*/ 2 h 1006"/>
                <a:gd name="T42" fmla="*/ 476 w 1006"/>
                <a:gd name="T43" fmla="*/ 0 h 1006"/>
                <a:gd name="T44" fmla="*/ 401 w 1006"/>
                <a:gd name="T45" fmla="*/ 10 h 1006"/>
                <a:gd name="T46" fmla="*/ 330 w 1006"/>
                <a:gd name="T47" fmla="*/ 30 h 1006"/>
                <a:gd name="T48" fmla="*/ 263 w 1006"/>
                <a:gd name="T49" fmla="*/ 60 h 1006"/>
                <a:gd name="T50" fmla="*/ 202 w 1006"/>
                <a:gd name="T51" fmla="*/ 99 h 1006"/>
                <a:gd name="T52" fmla="*/ 147 w 1006"/>
                <a:gd name="T53" fmla="*/ 147 h 1006"/>
                <a:gd name="T54" fmla="*/ 99 w 1006"/>
                <a:gd name="T55" fmla="*/ 201 h 1006"/>
                <a:gd name="T56" fmla="*/ 60 w 1006"/>
                <a:gd name="T57" fmla="*/ 262 h 1006"/>
                <a:gd name="T58" fmla="*/ 30 w 1006"/>
                <a:gd name="T59" fmla="*/ 330 h 1006"/>
                <a:gd name="T60" fmla="*/ 10 w 1006"/>
                <a:gd name="T61" fmla="*/ 401 h 1006"/>
                <a:gd name="T62" fmla="*/ 1 w 1006"/>
                <a:gd name="T63" fmla="*/ 477 h 1006"/>
                <a:gd name="T64" fmla="*/ 3 w 1006"/>
                <a:gd name="T65" fmla="*/ 554 h 1006"/>
                <a:gd name="T66" fmla="*/ 16 w 1006"/>
                <a:gd name="T67" fmla="*/ 628 h 1006"/>
                <a:gd name="T68" fmla="*/ 39 w 1006"/>
                <a:gd name="T69" fmla="*/ 699 h 1006"/>
                <a:gd name="T70" fmla="*/ 72 w 1006"/>
                <a:gd name="T71" fmla="*/ 763 h 1006"/>
                <a:gd name="T72" fmla="*/ 114 w 1006"/>
                <a:gd name="T73" fmla="*/ 823 h 1006"/>
                <a:gd name="T74" fmla="*/ 165 w 1006"/>
                <a:gd name="T75" fmla="*/ 875 h 1006"/>
                <a:gd name="T76" fmla="*/ 221 w 1006"/>
                <a:gd name="T77" fmla="*/ 919 h 1006"/>
                <a:gd name="T78" fmla="*/ 284 w 1006"/>
                <a:gd name="T79" fmla="*/ 956 h 1006"/>
                <a:gd name="T80" fmla="*/ 353 w 1006"/>
                <a:gd name="T81" fmla="*/ 983 h 1006"/>
                <a:gd name="T82" fmla="*/ 426 w 1006"/>
                <a:gd name="T83" fmla="*/ 1000 h 1006"/>
                <a:gd name="T84" fmla="*/ 503 w 1006"/>
                <a:gd name="T85" fmla="*/ 10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" h="1006">
                  <a:moveTo>
                    <a:pt x="503" y="1006"/>
                  </a:moveTo>
                  <a:lnTo>
                    <a:pt x="529" y="1005"/>
                  </a:lnTo>
                  <a:lnTo>
                    <a:pt x="554" y="1003"/>
                  </a:lnTo>
                  <a:lnTo>
                    <a:pt x="579" y="1000"/>
                  </a:lnTo>
                  <a:lnTo>
                    <a:pt x="604" y="996"/>
                  </a:lnTo>
                  <a:lnTo>
                    <a:pt x="628" y="990"/>
                  </a:lnTo>
                  <a:lnTo>
                    <a:pt x="652" y="983"/>
                  </a:lnTo>
                  <a:lnTo>
                    <a:pt x="676" y="974"/>
                  </a:lnTo>
                  <a:lnTo>
                    <a:pt x="699" y="966"/>
                  </a:lnTo>
                  <a:lnTo>
                    <a:pt x="721" y="956"/>
                  </a:lnTo>
                  <a:lnTo>
                    <a:pt x="742" y="944"/>
                  </a:lnTo>
                  <a:lnTo>
                    <a:pt x="763" y="932"/>
                  </a:lnTo>
                  <a:lnTo>
                    <a:pt x="784" y="919"/>
                  </a:lnTo>
                  <a:lnTo>
                    <a:pt x="803" y="906"/>
                  </a:lnTo>
                  <a:lnTo>
                    <a:pt x="822" y="891"/>
                  </a:lnTo>
                  <a:lnTo>
                    <a:pt x="841" y="875"/>
                  </a:lnTo>
                  <a:lnTo>
                    <a:pt x="859" y="858"/>
                  </a:lnTo>
                  <a:lnTo>
                    <a:pt x="875" y="841"/>
                  </a:lnTo>
                  <a:lnTo>
                    <a:pt x="891" y="823"/>
                  </a:lnTo>
                  <a:lnTo>
                    <a:pt x="906" y="803"/>
                  </a:lnTo>
                  <a:lnTo>
                    <a:pt x="920" y="783"/>
                  </a:lnTo>
                  <a:lnTo>
                    <a:pt x="933" y="763"/>
                  </a:lnTo>
                  <a:lnTo>
                    <a:pt x="945" y="742"/>
                  </a:lnTo>
                  <a:lnTo>
                    <a:pt x="956" y="721"/>
                  </a:lnTo>
                  <a:lnTo>
                    <a:pt x="966" y="699"/>
                  </a:lnTo>
                  <a:lnTo>
                    <a:pt x="975" y="676"/>
                  </a:lnTo>
                  <a:lnTo>
                    <a:pt x="983" y="653"/>
                  </a:lnTo>
                  <a:lnTo>
                    <a:pt x="989" y="628"/>
                  </a:lnTo>
                  <a:lnTo>
                    <a:pt x="995" y="604"/>
                  </a:lnTo>
                  <a:lnTo>
                    <a:pt x="999" y="579"/>
                  </a:lnTo>
                  <a:lnTo>
                    <a:pt x="1002" y="554"/>
                  </a:lnTo>
                  <a:lnTo>
                    <a:pt x="1004" y="529"/>
                  </a:lnTo>
                  <a:lnTo>
                    <a:pt x="1006" y="503"/>
                  </a:lnTo>
                  <a:lnTo>
                    <a:pt x="1004" y="477"/>
                  </a:lnTo>
                  <a:lnTo>
                    <a:pt x="1002" y="451"/>
                  </a:lnTo>
                  <a:lnTo>
                    <a:pt x="999" y="426"/>
                  </a:lnTo>
                  <a:lnTo>
                    <a:pt x="995" y="401"/>
                  </a:lnTo>
                  <a:lnTo>
                    <a:pt x="989" y="377"/>
                  </a:lnTo>
                  <a:lnTo>
                    <a:pt x="983" y="353"/>
                  </a:lnTo>
                  <a:lnTo>
                    <a:pt x="975" y="330"/>
                  </a:lnTo>
                  <a:lnTo>
                    <a:pt x="966" y="307"/>
                  </a:lnTo>
                  <a:lnTo>
                    <a:pt x="956" y="284"/>
                  </a:lnTo>
                  <a:lnTo>
                    <a:pt x="945" y="262"/>
                  </a:lnTo>
                  <a:lnTo>
                    <a:pt x="933" y="241"/>
                  </a:lnTo>
                  <a:lnTo>
                    <a:pt x="920" y="221"/>
                  </a:lnTo>
                  <a:lnTo>
                    <a:pt x="906" y="201"/>
                  </a:lnTo>
                  <a:lnTo>
                    <a:pt x="891" y="183"/>
                  </a:lnTo>
                  <a:lnTo>
                    <a:pt x="875" y="164"/>
                  </a:lnTo>
                  <a:lnTo>
                    <a:pt x="859" y="147"/>
                  </a:lnTo>
                  <a:lnTo>
                    <a:pt x="841" y="130"/>
                  </a:lnTo>
                  <a:lnTo>
                    <a:pt x="822" y="114"/>
                  </a:lnTo>
                  <a:lnTo>
                    <a:pt x="803" y="99"/>
                  </a:lnTo>
                  <a:lnTo>
                    <a:pt x="784" y="85"/>
                  </a:lnTo>
                  <a:lnTo>
                    <a:pt x="763" y="72"/>
                  </a:lnTo>
                  <a:lnTo>
                    <a:pt x="742" y="60"/>
                  </a:lnTo>
                  <a:lnTo>
                    <a:pt x="721" y="49"/>
                  </a:lnTo>
                  <a:lnTo>
                    <a:pt x="699" y="39"/>
                  </a:lnTo>
                  <a:lnTo>
                    <a:pt x="676" y="30"/>
                  </a:lnTo>
                  <a:lnTo>
                    <a:pt x="652" y="22"/>
                  </a:lnTo>
                  <a:lnTo>
                    <a:pt x="628" y="15"/>
                  </a:lnTo>
                  <a:lnTo>
                    <a:pt x="604" y="10"/>
                  </a:lnTo>
                  <a:lnTo>
                    <a:pt x="579" y="5"/>
                  </a:lnTo>
                  <a:lnTo>
                    <a:pt x="554" y="2"/>
                  </a:lnTo>
                  <a:lnTo>
                    <a:pt x="529" y="0"/>
                  </a:lnTo>
                  <a:lnTo>
                    <a:pt x="503" y="0"/>
                  </a:lnTo>
                  <a:lnTo>
                    <a:pt x="476" y="0"/>
                  </a:lnTo>
                  <a:lnTo>
                    <a:pt x="451" y="2"/>
                  </a:lnTo>
                  <a:lnTo>
                    <a:pt x="426" y="5"/>
                  </a:lnTo>
                  <a:lnTo>
                    <a:pt x="401" y="10"/>
                  </a:lnTo>
                  <a:lnTo>
                    <a:pt x="377" y="15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4" y="49"/>
                  </a:lnTo>
                  <a:lnTo>
                    <a:pt x="263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4"/>
                  </a:lnTo>
                  <a:lnTo>
                    <a:pt x="165" y="130"/>
                  </a:lnTo>
                  <a:lnTo>
                    <a:pt x="147" y="147"/>
                  </a:lnTo>
                  <a:lnTo>
                    <a:pt x="131" y="164"/>
                  </a:lnTo>
                  <a:lnTo>
                    <a:pt x="114" y="183"/>
                  </a:lnTo>
                  <a:lnTo>
                    <a:pt x="99" y="201"/>
                  </a:lnTo>
                  <a:lnTo>
                    <a:pt x="85" y="221"/>
                  </a:lnTo>
                  <a:lnTo>
                    <a:pt x="72" y="241"/>
                  </a:lnTo>
                  <a:lnTo>
                    <a:pt x="60" y="262"/>
                  </a:lnTo>
                  <a:lnTo>
                    <a:pt x="49" y="284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1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1" y="529"/>
                  </a:lnTo>
                  <a:lnTo>
                    <a:pt x="3" y="554"/>
                  </a:lnTo>
                  <a:lnTo>
                    <a:pt x="6" y="579"/>
                  </a:lnTo>
                  <a:lnTo>
                    <a:pt x="10" y="604"/>
                  </a:lnTo>
                  <a:lnTo>
                    <a:pt x="16" y="628"/>
                  </a:lnTo>
                  <a:lnTo>
                    <a:pt x="22" y="653"/>
                  </a:lnTo>
                  <a:lnTo>
                    <a:pt x="30" y="676"/>
                  </a:lnTo>
                  <a:lnTo>
                    <a:pt x="39" y="699"/>
                  </a:lnTo>
                  <a:lnTo>
                    <a:pt x="49" y="721"/>
                  </a:lnTo>
                  <a:lnTo>
                    <a:pt x="60" y="742"/>
                  </a:lnTo>
                  <a:lnTo>
                    <a:pt x="72" y="763"/>
                  </a:lnTo>
                  <a:lnTo>
                    <a:pt x="85" y="783"/>
                  </a:lnTo>
                  <a:lnTo>
                    <a:pt x="99" y="803"/>
                  </a:lnTo>
                  <a:lnTo>
                    <a:pt x="114" y="823"/>
                  </a:lnTo>
                  <a:lnTo>
                    <a:pt x="131" y="841"/>
                  </a:lnTo>
                  <a:lnTo>
                    <a:pt x="147" y="858"/>
                  </a:lnTo>
                  <a:lnTo>
                    <a:pt x="165" y="875"/>
                  </a:lnTo>
                  <a:lnTo>
                    <a:pt x="183" y="891"/>
                  </a:lnTo>
                  <a:lnTo>
                    <a:pt x="202" y="906"/>
                  </a:lnTo>
                  <a:lnTo>
                    <a:pt x="221" y="919"/>
                  </a:lnTo>
                  <a:lnTo>
                    <a:pt x="242" y="932"/>
                  </a:lnTo>
                  <a:lnTo>
                    <a:pt x="263" y="944"/>
                  </a:lnTo>
                  <a:lnTo>
                    <a:pt x="284" y="956"/>
                  </a:lnTo>
                  <a:lnTo>
                    <a:pt x="307" y="966"/>
                  </a:lnTo>
                  <a:lnTo>
                    <a:pt x="330" y="974"/>
                  </a:lnTo>
                  <a:lnTo>
                    <a:pt x="353" y="983"/>
                  </a:lnTo>
                  <a:lnTo>
                    <a:pt x="377" y="990"/>
                  </a:lnTo>
                  <a:lnTo>
                    <a:pt x="401" y="996"/>
                  </a:lnTo>
                  <a:lnTo>
                    <a:pt x="426" y="1000"/>
                  </a:lnTo>
                  <a:lnTo>
                    <a:pt x="451" y="1003"/>
                  </a:lnTo>
                  <a:lnTo>
                    <a:pt x="476" y="1005"/>
                  </a:lnTo>
                  <a:lnTo>
                    <a:pt x="503" y="10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97" name="îṧ1ïdè">
              <a:extLst>
                <a:ext uri="{FF2B5EF4-FFF2-40B4-BE49-F238E27FC236}">
                  <a16:creationId xmlns:a16="http://schemas.microsoft.com/office/drawing/2014/main" id="{243FD7FD-1547-4020-A73D-34240E9179D7}"/>
                </a:ext>
              </a:extLst>
            </p:cNvPr>
            <p:cNvSpPr/>
            <p:nvPr/>
          </p:nvSpPr>
          <p:spPr bwMode="auto">
            <a:xfrm>
              <a:off x="2348575" y="1352017"/>
              <a:ext cx="39479" cy="39479"/>
            </a:xfrm>
            <a:custGeom>
              <a:avLst/>
              <a:gdLst>
                <a:gd name="T0" fmla="*/ 451 w 1006"/>
                <a:gd name="T1" fmla="*/ 3 h 1006"/>
                <a:gd name="T2" fmla="*/ 377 w 1006"/>
                <a:gd name="T3" fmla="*/ 16 h 1006"/>
                <a:gd name="T4" fmla="*/ 307 w 1006"/>
                <a:gd name="T5" fmla="*/ 40 h 1006"/>
                <a:gd name="T6" fmla="*/ 242 w 1006"/>
                <a:gd name="T7" fmla="*/ 73 h 1006"/>
                <a:gd name="T8" fmla="*/ 183 w 1006"/>
                <a:gd name="T9" fmla="*/ 115 h 1006"/>
                <a:gd name="T10" fmla="*/ 131 w 1006"/>
                <a:gd name="T11" fmla="*/ 165 h 1006"/>
                <a:gd name="T12" fmla="*/ 85 w 1006"/>
                <a:gd name="T13" fmla="*/ 222 h 1006"/>
                <a:gd name="T14" fmla="*/ 49 w 1006"/>
                <a:gd name="T15" fmla="*/ 285 h 1006"/>
                <a:gd name="T16" fmla="*/ 22 w 1006"/>
                <a:gd name="T17" fmla="*/ 353 h 1006"/>
                <a:gd name="T18" fmla="*/ 6 w 1006"/>
                <a:gd name="T19" fmla="*/ 427 h 1006"/>
                <a:gd name="T20" fmla="*/ 0 w 1006"/>
                <a:gd name="T21" fmla="*/ 503 h 1006"/>
                <a:gd name="T22" fmla="*/ 6 w 1006"/>
                <a:gd name="T23" fmla="*/ 580 h 1006"/>
                <a:gd name="T24" fmla="*/ 22 w 1006"/>
                <a:gd name="T25" fmla="*/ 653 h 1006"/>
                <a:gd name="T26" fmla="*/ 49 w 1006"/>
                <a:gd name="T27" fmla="*/ 722 h 1006"/>
                <a:gd name="T28" fmla="*/ 85 w 1006"/>
                <a:gd name="T29" fmla="*/ 785 h 1006"/>
                <a:gd name="T30" fmla="*/ 131 w 1006"/>
                <a:gd name="T31" fmla="*/ 841 h 1006"/>
                <a:gd name="T32" fmla="*/ 183 w 1006"/>
                <a:gd name="T33" fmla="*/ 892 h 1006"/>
                <a:gd name="T34" fmla="*/ 242 w 1006"/>
                <a:gd name="T35" fmla="*/ 934 h 1006"/>
                <a:gd name="T36" fmla="*/ 307 w 1006"/>
                <a:gd name="T37" fmla="*/ 967 h 1006"/>
                <a:gd name="T38" fmla="*/ 377 w 1006"/>
                <a:gd name="T39" fmla="*/ 990 h 1006"/>
                <a:gd name="T40" fmla="*/ 451 w 1006"/>
                <a:gd name="T41" fmla="*/ 1003 h 1006"/>
                <a:gd name="T42" fmla="*/ 529 w 1006"/>
                <a:gd name="T43" fmla="*/ 1005 h 1006"/>
                <a:gd name="T44" fmla="*/ 604 w 1006"/>
                <a:gd name="T45" fmla="*/ 996 h 1006"/>
                <a:gd name="T46" fmla="*/ 676 w 1006"/>
                <a:gd name="T47" fmla="*/ 976 h 1006"/>
                <a:gd name="T48" fmla="*/ 742 w 1006"/>
                <a:gd name="T49" fmla="*/ 946 h 1006"/>
                <a:gd name="T50" fmla="*/ 803 w 1006"/>
                <a:gd name="T51" fmla="*/ 907 h 1006"/>
                <a:gd name="T52" fmla="*/ 859 w 1006"/>
                <a:gd name="T53" fmla="*/ 859 h 1006"/>
                <a:gd name="T54" fmla="*/ 906 w 1006"/>
                <a:gd name="T55" fmla="*/ 804 h 1006"/>
                <a:gd name="T56" fmla="*/ 945 w 1006"/>
                <a:gd name="T57" fmla="*/ 743 h 1006"/>
                <a:gd name="T58" fmla="*/ 975 w 1006"/>
                <a:gd name="T59" fmla="*/ 676 h 1006"/>
                <a:gd name="T60" fmla="*/ 995 w 1006"/>
                <a:gd name="T61" fmla="*/ 605 h 1006"/>
                <a:gd name="T62" fmla="*/ 1004 w 1006"/>
                <a:gd name="T63" fmla="*/ 529 h 1006"/>
                <a:gd name="T64" fmla="*/ 1002 w 1006"/>
                <a:gd name="T65" fmla="*/ 452 h 1006"/>
                <a:gd name="T66" fmla="*/ 989 w 1006"/>
                <a:gd name="T67" fmla="*/ 378 h 1006"/>
                <a:gd name="T68" fmla="*/ 966 w 1006"/>
                <a:gd name="T69" fmla="*/ 307 h 1006"/>
                <a:gd name="T70" fmla="*/ 933 w 1006"/>
                <a:gd name="T71" fmla="*/ 243 h 1006"/>
                <a:gd name="T72" fmla="*/ 891 w 1006"/>
                <a:gd name="T73" fmla="*/ 183 h 1006"/>
                <a:gd name="T74" fmla="*/ 841 w 1006"/>
                <a:gd name="T75" fmla="*/ 131 h 1006"/>
                <a:gd name="T76" fmla="*/ 784 w 1006"/>
                <a:gd name="T77" fmla="*/ 86 h 1006"/>
                <a:gd name="T78" fmla="*/ 721 w 1006"/>
                <a:gd name="T79" fmla="*/ 50 h 1006"/>
                <a:gd name="T80" fmla="*/ 652 w 1006"/>
                <a:gd name="T81" fmla="*/ 22 h 1006"/>
                <a:gd name="T82" fmla="*/ 579 w 1006"/>
                <a:gd name="T83" fmla="*/ 6 h 1006"/>
                <a:gd name="T84" fmla="*/ 503 w 1006"/>
                <a:gd name="T85" fmla="*/ 0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" h="1006">
                  <a:moveTo>
                    <a:pt x="503" y="0"/>
                  </a:moveTo>
                  <a:lnTo>
                    <a:pt x="476" y="1"/>
                  </a:lnTo>
                  <a:lnTo>
                    <a:pt x="451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1"/>
                  </a:lnTo>
                  <a:lnTo>
                    <a:pt x="307" y="40"/>
                  </a:lnTo>
                  <a:lnTo>
                    <a:pt x="284" y="50"/>
                  </a:lnTo>
                  <a:lnTo>
                    <a:pt x="263" y="61"/>
                  </a:lnTo>
                  <a:lnTo>
                    <a:pt x="242" y="73"/>
                  </a:lnTo>
                  <a:lnTo>
                    <a:pt x="221" y="86"/>
                  </a:lnTo>
                  <a:lnTo>
                    <a:pt x="202" y="100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1" y="165"/>
                  </a:lnTo>
                  <a:lnTo>
                    <a:pt x="114" y="183"/>
                  </a:lnTo>
                  <a:lnTo>
                    <a:pt x="99" y="203"/>
                  </a:lnTo>
                  <a:lnTo>
                    <a:pt x="85" y="222"/>
                  </a:lnTo>
                  <a:lnTo>
                    <a:pt x="72" y="243"/>
                  </a:lnTo>
                  <a:lnTo>
                    <a:pt x="60" y="264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2" y="353"/>
                  </a:lnTo>
                  <a:lnTo>
                    <a:pt x="16" y="378"/>
                  </a:lnTo>
                  <a:lnTo>
                    <a:pt x="10" y="402"/>
                  </a:lnTo>
                  <a:lnTo>
                    <a:pt x="6" y="427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1" y="529"/>
                  </a:lnTo>
                  <a:lnTo>
                    <a:pt x="3" y="555"/>
                  </a:lnTo>
                  <a:lnTo>
                    <a:pt x="6" y="580"/>
                  </a:lnTo>
                  <a:lnTo>
                    <a:pt x="10" y="605"/>
                  </a:lnTo>
                  <a:lnTo>
                    <a:pt x="16" y="629"/>
                  </a:lnTo>
                  <a:lnTo>
                    <a:pt x="22" y="653"/>
                  </a:lnTo>
                  <a:lnTo>
                    <a:pt x="30" y="676"/>
                  </a:lnTo>
                  <a:lnTo>
                    <a:pt x="39" y="699"/>
                  </a:lnTo>
                  <a:lnTo>
                    <a:pt x="49" y="722"/>
                  </a:lnTo>
                  <a:lnTo>
                    <a:pt x="60" y="743"/>
                  </a:lnTo>
                  <a:lnTo>
                    <a:pt x="72" y="764"/>
                  </a:lnTo>
                  <a:lnTo>
                    <a:pt x="85" y="785"/>
                  </a:lnTo>
                  <a:lnTo>
                    <a:pt x="99" y="804"/>
                  </a:lnTo>
                  <a:lnTo>
                    <a:pt x="114" y="823"/>
                  </a:lnTo>
                  <a:lnTo>
                    <a:pt x="131" y="841"/>
                  </a:lnTo>
                  <a:lnTo>
                    <a:pt x="147" y="859"/>
                  </a:lnTo>
                  <a:lnTo>
                    <a:pt x="165" y="876"/>
                  </a:lnTo>
                  <a:lnTo>
                    <a:pt x="183" y="892"/>
                  </a:lnTo>
                  <a:lnTo>
                    <a:pt x="202" y="907"/>
                  </a:lnTo>
                  <a:lnTo>
                    <a:pt x="221" y="921"/>
                  </a:lnTo>
                  <a:lnTo>
                    <a:pt x="242" y="934"/>
                  </a:lnTo>
                  <a:lnTo>
                    <a:pt x="263" y="946"/>
                  </a:lnTo>
                  <a:lnTo>
                    <a:pt x="284" y="957"/>
                  </a:lnTo>
                  <a:lnTo>
                    <a:pt x="307" y="967"/>
                  </a:lnTo>
                  <a:lnTo>
                    <a:pt x="330" y="976"/>
                  </a:lnTo>
                  <a:lnTo>
                    <a:pt x="353" y="984"/>
                  </a:lnTo>
                  <a:lnTo>
                    <a:pt x="377" y="990"/>
                  </a:lnTo>
                  <a:lnTo>
                    <a:pt x="401" y="996"/>
                  </a:lnTo>
                  <a:lnTo>
                    <a:pt x="426" y="1000"/>
                  </a:lnTo>
                  <a:lnTo>
                    <a:pt x="451" y="1003"/>
                  </a:lnTo>
                  <a:lnTo>
                    <a:pt x="476" y="1005"/>
                  </a:lnTo>
                  <a:lnTo>
                    <a:pt x="503" y="1006"/>
                  </a:lnTo>
                  <a:lnTo>
                    <a:pt x="529" y="1005"/>
                  </a:lnTo>
                  <a:lnTo>
                    <a:pt x="554" y="1003"/>
                  </a:lnTo>
                  <a:lnTo>
                    <a:pt x="579" y="1000"/>
                  </a:lnTo>
                  <a:lnTo>
                    <a:pt x="604" y="996"/>
                  </a:lnTo>
                  <a:lnTo>
                    <a:pt x="628" y="990"/>
                  </a:lnTo>
                  <a:lnTo>
                    <a:pt x="652" y="984"/>
                  </a:lnTo>
                  <a:lnTo>
                    <a:pt x="676" y="976"/>
                  </a:lnTo>
                  <a:lnTo>
                    <a:pt x="699" y="967"/>
                  </a:lnTo>
                  <a:lnTo>
                    <a:pt x="721" y="957"/>
                  </a:lnTo>
                  <a:lnTo>
                    <a:pt x="742" y="946"/>
                  </a:lnTo>
                  <a:lnTo>
                    <a:pt x="763" y="934"/>
                  </a:lnTo>
                  <a:lnTo>
                    <a:pt x="784" y="921"/>
                  </a:lnTo>
                  <a:lnTo>
                    <a:pt x="803" y="907"/>
                  </a:lnTo>
                  <a:lnTo>
                    <a:pt x="822" y="892"/>
                  </a:lnTo>
                  <a:lnTo>
                    <a:pt x="841" y="876"/>
                  </a:lnTo>
                  <a:lnTo>
                    <a:pt x="859" y="859"/>
                  </a:lnTo>
                  <a:lnTo>
                    <a:pt x="875" y="841"/>
                  </a:lnTo>
                  <a:lnTo>
                    <a:pt x="891" y="823"/>
                  </a:lnTo>
                  <a:lnTo>
                    <a:pt x="906" y="804"/>
                  </a:lnTo>
                  <a:lnTo>
                    <a:pt x="920" y="785"/>
                  </a:lnTo>
                  <a:lnTo>
                    <a:pt x="933" y="764"/>
                  </a:lnTo>
                  <a:lnTo>
                    <a:pt x="945" y="743"/>
                  </a:lnTo>
                  <a:lnTo>
                    <a:pt x="956" y="722"/>
                  </a:lnTo>
                  <a:lnTo>
                    <a:pt x="966" y="699"/>
                  </a:lnTo>
                  <a:lnTo>
                    <a:pt x="975" y="676"/>
                  </a:lnTo>
                  <a:lnTo>
                    <a:pt x="983" y="653"/>
                  </a:lnTo>
                  <a:lnTo>
                    <a:pt x="989" y="629"/>
                  </a:lnTo>
                  <a:lnTo>
                    <a:pt x="995" y="605"/>
                  </a:lnTo>
                  <a:lnTo>
                    <a:pt x="999" y="580"/>
                  </a:lnTo>
                  <a:lnTo>
                    <a:pt x="1002" y="555"/>
                  </a:lnTo>
                  <a:lnTo>
                    <a:pt x="1004" y="529"/>
                  </a:lnTo>
                  <a:lnTo>
                    <a:pt x="1006" y="503"/>
                  </a:lnTo>
                  <a:lnTo>
                    <a:pt x="1004" y="477"/>
                  </a:lnTo>
                  <a:lnTo>
                    <a:pt x="1002" y="452"/>
                  </a:lnTo>
                  <a:lnTo>
                    <a:pt x="999" y="427"/>
                  </a:lnTo>
                  <a:lnTo>
                    <a:pt x="995" y="402"/>
                  </a:lnTo>
                  <a:lnTo>
                    <a:pt x="989" y="378"/>
                  </a:lnTo>
                  <a:lnTo>
                    <a:pt x="983" y="353"/>
                  </a:lnTo>
                  <a:lnTo>
                    <a:pt x="975" y="330"/>
                  </a:lnTo>
                  <a:lnTo>
                    <a:pt x="966" y="307"/>
                  </a:lnTo>
                  <a:lnTo>
                    <a:pt x="956" y="285"/>
                  </a:lnTo>
                  <a:lnTo>
                    <a:pt x="945" y="264"/>
                  </a:lnTo>
                  <a:lnTo>
                    <a:pt x="933" y="243"/>
                  </a:lnTo>
                  <a:lnTo>
                    <a:pt x="920" y="222"/>
                  </a:lnTo>
                  <a:lnTo>
                    <a:pt x="906" y="203"/>
                  </a:lnTo>
                  <a:lnTo>
                    <a:pt x="891" y="183"/>
                  </a:lnTo>
                  <a:lnTo>
                    <a:pt x="875" y="165"/>
                  </a:lnTo>
                  <a:lnTo>
                    <a:pt x="859" y="147"/>
                  </a:lnTo>
                  <a:lnTo>
                    <a:pt x="841" y="131"/>
                  </a:lnTo>
                  <a:lnTo>
                    <a:pt x="822" y="115"/>
                  </a:lnTo>
                  <a:lnTo>
                    <a:pt x="803" y="100"/>
                  </a:lnTo>
                  <a:lnTo>
                    <a:pt x="784" y="86"/>
                  </a:lnTo>
                  <a:lnTo>
                    <a:pt x="763" y="73"/>
                  </a:lnTo>
                  <a:lnTo>
                    <a:pt x="742" y="61"/>
                  </a:lnTo>
                  <a:lnTo>
                    <a:pt x="721" y="50"/>
                  </a:lnTo>
                  <a:lnTo>
                    <a:pt x="699" y="40"/>
                  </a:lnTo>
                  <a:lnTo>
                    <a:pt x="676" y="31"/>
                  </a:lnTo>
                  <a:lnTo>
                    <a:pt x="652" y="22"/>
                  </a:lnTo>
                  <a:lnTo>
                    <a:pt x="628" y="16"/>
                  </a:lnTo>
                  <a:lnTo>
                    <a:pt x="604" y="10"/>
                  </a:lnTo>
                  <a:lnTo>
                    <a:pt x="579" y="6"/>
                  </a:lnTo>
                  <a:lnTo>
                    <a:pt x="554" y="3"/>
                  </a:lnTo>
                  <a:lnTo>
                    <a:pt x="529" y="1"/>
                  </a:lnTo>
                  <a:lnTo>
                    <a:pt x="50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98" name="íṡḻiḍe">
              <a:extLst>
                <a:ext uri="{FF2B5EF4-FFF2-40B4-BE49-F238E27FC236}">
                  <a16:creationId xmlns:a16="http://schemas.microsoft.com/office/drawing/2014/main" id="{7841193A-7A37-4B85-B7FB-66EBD6BA04C1}"/>
                </a:ext>
              </a:extLst>
            </p:cNvPr>
            <p:cNvSpPr/>
            <p:nvPr/>
          </p:nvSpPr>
          <p:spPr bwMode="auto">
            <a:xfrm>
              <a:off x="2234368" y="1237810"/>
              <a:ext cx="38068" cy="38069"/>
            </a:xfrm>
            <a:custGeom>
              <a:avLst/>
              <a:gdLst>
                <a:gd name="T0" fmla="*/ 451 w 1005"/>
                <a:gd name="T1" fmla="*/ 2 h 1005"/>
                <a:gd name="T2" fmla="*/ 377 w 1005"/>
                <a:gd name="T3" fmla="*/ 15 h 1005"/>
                <a:gd name="T4" fmla="*/ 306 w 1005"/>
                <a:gd name="T5" fmla="*/ 39 h 1005"/>
                <a:gd name="T6" fmla="*/ 242 w 1005"/>
                <a:gd name="T7" fmla="*/ 72 h 1005"/>
                <a:gd name="T8" fmla="*/ 183 w 1005"/>
                <a:gd name="T9" fmla="*/ 114 h 1005"/>
                <a:gd name="T10" fmla="*/ 130 w 1005"/>
                <a:gd name="T11" fmla="*/ 163 h 1005"/>
                <a:gd name="T12" fmla="*/ 85 w 1005"/>
                <a:gd name="T13" fmla="*/ 221 h 1005"/>
                <a:gd name="T14" fmla="*/ 49 w 1005"/>
                <a:gd name="T15" fmla="*/ 284 h 1005"/>
                <a:gd name="T16" fmla="*/ 23 w 1005"/>
                <a:gd name="T17" fmla="*/ 353 h 1005"/>
                <a:gd name="T18" fmla="*/ 6 w 1005"/>
                <a:gd name="T19" fmla="*/ 426 h 1005"/>
                <a:gd name="T20" fmla="*/ 0 w 1005"/>
                <a:gd name="T21" fmla="*/ 503 h 1005"/>
                <a:gd name="T22" fmla="*/ 6 w 1005"/>
                <a:gd name="T23" fmla="*/ 579 h 1005"/>
                <a:gd name="T24" fmla="*/ 23 w 1005"/>
                <a:gd name="T25" fmla="*/ 652 h 1005"/>
                <a:gd name="T26" fmla="*/ 49 w 1005"/>
                <a:gd name="T27" fmla="*/ 721 h 1005"/>
                <a:gd name="T28" fmla="*/ 85 w 1005"/>
                <a:gd name="T29" fmla="*/ 783 h 1005"/>
                <a:gd name="T30" fmla="*/ 130 w 1005"/>
                <a:gd name="T31" fmla="*/ 840 h 1005"/>
                <a:gd name="T32" fmla="*/ 183 w 1005"/>
                <a:gd name="T33" fmla="*/ 891 h 1005"/>
                <a:gd name="T34" fmla="*/ 242 w 1005"/>
                <a:gd name="T35" fmla="*/ 932 h 1005"/>
                <a:gd name="T36" fmla="*/ 306 w 1005"/>
                <a:gd name="T37" fmla="*/ 966 h 1005"/>
                <a:gd name="T38" fmla="*/ 377 w 1005"/>
                <a:gd name="T39" fmla="*/ 989 h 1005"/>
                <a:gd name="T40" fmla="*/ 451 w 1005"/>
                <a:gd name="T41" fmla="*/ 1002 h 1005"/>
                <a:gd name="T42" fmla="*/ 529 w 1005"/>
                <a:gd name="T43" fmla="*/ 1004 h 1005"/>
                <a:gd name="T44" fmla="*/ 604 w 1005"/>
                <a:gd name="T45" fmla="*/ 995 h 1005"/>
                <a:gd name="T46" fmla="*/ 675 w 1005"/>
                <a:gd name="T47" fmla="*/ 975 h 1005"/>
                <a:gd name="T48" fmla="*/ 743 w 1005"/>
                <a:gd name="T49" fmla="*/ 944 h 1005"/>
                <a:gd name="T50" fmla="*/ 803 w 1005"/>
                <a:gd name="T51" fmla="*/ 906 h 1005"/>
                <a:gd name="T52" fmla="*/ 858 w 1005"/>
                <a:gd name="T53" fmla="*/ 858 h 1005"/>
                <a:gd name="T54" fmla="*/ 906 w 1005"/>
                <a:gd name="T55" fmla="*/ 803 h 1005"/>
                <a:gd name="T56" fmla="*/ 945 w 1005"/>
                <a:gd name="T57" fmla="*/ 742 h 1005"/>
                <a:gd name="T58" fmla="*/ 975 w 1005"/>
                <a:gd name="T59" fmla="*/ 676 h 1005"/>
                <a:gd name="T60" fmla="*/ 995 w 1005"/>
                <a:gd name="T61" fmla="*/ 604 h 1005"/>
                <a:gd name="T62" fmla="*/ 1004 w 1005"/>
                <a:gd name="T63" fmla="*/ 529 h 1005"/>
                <a:gd name="T64" fmla="*/ 1002 w 1005"/>
                <a:gd name="T65" fmla="*/ 451 h 1005"/>
                <a:gd name="T66" fmla="*/ 989 w 1005"/>
                <a:gd name="T67" fmla="*/ 377 h 1005"/>
                <a:gd name="T68" fmla="*/ 966 w 1005"/>
                <a:gd name="T69" fmla="*/ 306 h 1005"/>
                <a:gd name="T70" fmla="*/ 933 w 1005"/>
                <a:gd name="T71" fmla="*/ 241 h 1005"/>
                <a:gd name="T72" fmla="*/ 891 w 1005"/>
                <a:gd name="T73" fmla="*/ 183 h 1005"/>
                <a:gd name="T74" fmla="*/ 840 w 1005"/>
                <a:gd name="T75" fmla="*/ 130 h 1005"/>
                <a:gd name="T76" fmla="*/ 784 w 1005"/>
                <a:gd name="T77" fmla="*/ 85 h 1005"/>
                <a:gd name="T78" fmla="*/ 721 w 1005"/>
                <a:gd name="T79" fmla="*/ 49 h 1005"/>
                <a:gd name="T80" fmla="*/ 652 w 1005"/>
                <a:gd name="T81" fmla="*/ 22 h 1005"/>
                <a:gd name="T82" fmla="*/ 579 w 1005"/>
                <a:gd name="T83" fmla="*/ 6 h 1005"/>
                <a:gd name="T84" fmla="*/ 502 w 1005"/>
                <a:gd name="T85" fmla="*/ 0 h 10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5" h="1005">
                  <a:moveTo>
                    <a:pt x="502" y="0"/>
                  </a:moveTo>
                  <a:lnTo>
                    <a:pt x="476" y="0"/>
                  </a:lnTo>
                  <a:lnTo>
                    <a:pt x="451" y="2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5"/>
                  </a:lnTo>
                  <a:lnTo>
                    <a:pt x="353" y="22"/>
                  </a:lnTo>
                  <a:lnTo>
                    <a:pt x="329" y="30"/>
                  </a:lnTo>
                  <a:lnTo>
                    <a:pt x="306" y="39"/>
                  </a:lnTo>
                  <a:lnTo>
                    <a:pt x="284" y="49"/>
                  </a:lnTo>
                  <a:lnTo>
                    <a:pt x="263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4"/>
                  </a:lnTo>
                  <a:lnTo>
                    <a:pt x="165" y="130"/>
                  </a:lnTo>
                  <a:lnTo>
                    <a:pt x="146" y="146"/>
                  </a:lnTo>
                  <a:lnTo>
                    <a:pt x="130" y="163"/>
                  </a:lnTo>
                  <a:lnTo>
                    <a:pt x="114" y="183"/>
                  </a:lnTo>
                  <a:lnTo>
                    <a:pt x="99" y="201"/>
                  </a:lnTo>
                  <a:lnTo>
                    <a:pt x="85" y="221"/>
                  </a:lnTo>
                  <a:lnTo>
                    <a:pt x="72" y="241"/>
                  </a:lnTo>
                  <a:lnTo>
                    <a:pt x="60" y="262"/>
                  </a:lnTo>
                  <a:lnTo>
                    <a:pt x="49" y="284"/>
                  </a:lnTo>
                  <a:lnTo>
                    <a:pt x="39" y="306"/>
                  </a:lnTo>
                  <a:lnTo>
                    <a:pt x="30" y="329"/>
                  </a:lnTo>
                  <a:lnTo>
                    <a:pt x="23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1"/>
                  </a:lnTo>
                  <a:lnTo>
                    <a:pt x="1" y="476"/>
                  </a:lnTo>
                  <a:lnTo>
                    <a:pt x="0" y="503"/>
                  </a:lnTo>
                  <a:lnTo>
                    <a:pt x="1" y="529"/>
                  </a:lnTo>
                  <a:lnTo>
                    <a:pt x="3" y="554"/>
                  </a:lnTo>
                  <a:lnTo>
                    <a:pt x="6" y="579"/>
                  </a:lnTo>
                  <a:lnTo>
                    <a:pt x="10" y="604"/>
                  </a:lnTo>
                  <a:lnTo>
                    <a:pt x="16" y="628"/>
                  </a:lnTo>
                  <a:lnTo>
                    <a:pt x="23" y="652"/>
                  </a:lnTo>
                  <a:lnTo>
                    <a:pt x="30" y="676"/>
                  </a:lnTo>
                  <a:lnTo>
                    <a:pt x="39" y="699"/>
                  </a:lnTo>
                  <a:lnTo>
                    <a:pt x="49" y="721"/>
                  </a:lnTo>
                  <a:lnTo>
                    <a:pt x="60" y="742"/>
                  </a:lnTo>
                  <a:lnTo>
                    <a:pt x="72" y="763"/>
                  </a:lnTo>
                  <a:lnTo>
                    <a:pt x="85" y="783"/>
                  </a:lnTo>
                  <a:lnTo>
                    <a:pt x="99" y="803"/>
                  </a:lnTo>
                  <a:lnTo>
                    <a:pt x="114" y="822"/>
                  </a:lnTo>
                  <a:lnTo>
                    <a:pt x="130" y="840"/>
                  </a:lnTo>
                  <a:lnTo>
                    <a:pt x="146" y="858"/>
                  </a:lnTo>
                  <a:lnTo>
                    <a:pt x="165" y="875"/>
                  </a:lnTo>
                  <a:lnTo>
                    <a:pt x="183" y="891"/>
                  </a:lnTo>
                  <a:lnTo>
                    <a:pt x="202" y="906"/>
                  </a:lnTo>
                  <a:lnTo>
                    <a:pt x="221" y="920"/>
                  </a:lnTo>
                  <a:lnTo>
                    <a:pt x="242" y="932"/>
                  </a:lnTo>
                  <a:lnTo>
                    <a:pt x="263" y="944"/>
                  </a:lnTo>
                  <a:lnTo>
                    <a:pt x="284" y="956"/>
                  </a:lnTo>
                  <a:lnTo>
                    <a:pt x="306" y="966"/>
                  </a:lnTo>
                  <a:lnTo>
                    <a:pt x="329" y="975"/>
                  </a:lnTo>
                  <a:lnTo>
                    <a:pt x="353" y="982"/>
                  </a:lnTo>
                  <a:lnTo>
                    <a:pt x="377" y="989"/>
                  </a:lnTo>
                  <a:lnTo>
                    <a:pt x="401" y="995"/>
                  </a:lnTo>
                  <a:lnTo>
                    <a:pt x="426" y="999"/>
                  </a:lnTo>
                  <a:lnTo>
                    <a:pt x="451" y="1002"/>
                  </a:lnTo>
                  <a:lnTo>
                    <a:pt x="476" y="1004"/>
                  </a:lnTo>
                  <a:lnTo>
                    <a:pt x="502" y="1005"/>
                  </a:lnTo>
                  <a:lnTo>
                    <a:pt x="529" y="1004"/>
                  </a:lnTo>
                  <a:lnTo>
                    <a:pt x="554" y="1002"/>
                  </a:lnTo>
                  <a:lnTo>
                    <a:pt x="579" y="999"/>
                  </a:lnTo>
                  <a:lnTo>
                    <a:pt x="604" y="995"/>
                  </a:lnTo>
                  <a:lnTo>
                    <a:pt x="628" y="989"/>
                  </a:lnTo>
                  <a:lnTo>
                    <a:pt x="652" y="982"/>
                  </a:lnTo>
                  <a:lnTo>
                    <a:pt x="675" y="975"/>
                  </a:lnTo>
                  <a:lnTo>
                    <a:pt x="699" y="966"/>
                  </a:lnTo>
                  <a:lnTo>
                    <a:pt x="721" y="956"/>
                  </a:lnTo>
                  <a:lnTo>
                    <a:pt x="743" y="944"/>
                  </a:lnTo>
                  <a:lnTo>
                    <a:pt x="764" y="932"/>
                  </a:lnTo>
                  <a:lnTo>
                    <a:pt x="784" y="920"/>
                  </a:lnTo>
                  <a:lnTo>
                    <a:pt x="803" y="906"/>
                  </a:lnTo>
                  <a:lnTo>
                    <a:pt x="822" y="891"/>
                  </a:lnTo>
                  <a:lnTo>
                    <a:pt x="840" y="875"/>
                  </a:lnTo>
                  <a:lnTo>
                    <a:pt x="858" y="858"/>
                  </a:lnTo>
                  <a:lnTo>
                    <a:pt x="875" y="840"/>
                  </a:lnTo>
                  <a:lnTo>
                    <a:pt x="891" y="822"/>
                  </a:lnTo>
                  <a:lnTo>
                    <a:pt x="906" y="803"/>
                  </a:lnTo>
                  <a:lnTo>
                    <a:pt x="920" y="783"/>
                  </a:lnTo>
                  <a:lnTo>
                    <a:pt x="933" y="763"/>
                  </a:lnTo>
                  <a:lnTo>
                    <a:pt x="945" y="742"/>
                  </a:lnTo>
                  <a:lnTo>
                    <a:pt x="956" y="721"/>
                  </a:lnTo>
                  <a:lnTo>
                    <a:pt x="966" y="699"/>
                  </a:lnTo>
                  <a:lnTo>
                    <a:pt x="975" y="676"/>
                  </a:lnTo>
                  <a:lnTo>
                    <a:pt x="983" y="652"/>
                  </a:lnTo>
                  <a:lnTo>
                    <a:pt x="989" y="628"/>
                  </a:lnTo>
                  <a:lnTo>
                    <a:pt x="995" y="604"/>
                  </a:lnTo>
                  <a:lnTo>
                    <a:pt x="999" y="579"/>
                  </a:lnTo>
                  <a:lnTo>
                    <a:pt x="1002" y="554"/>
                  </a:lnTo>
                  <a:lnTo>
                    <a:pt x="1004" y="529"/>
                  </a:lnTo>
                  <a:lnTo>
                    <a:pt x="1005" y="503"/>
                  </a:lnTo>
                  <a:lnTo>
                    <a:pt x="1004" y="476"/>
                  </a:lnTo>
                  <a:lnTo>
                    <a:pt x="1002" y="451"/>
                  </a:lnTo>
                  <a:lnTo>
                    <a:pt x="999" y="426"/>
                  </a:lnTo>
                  <a:lnTo>
                    <a:pt x="995" y="401"/>
                  </a:lnTo>
                  <a:lnTo>
                    <a:pt x="989" y="377"/>
                  </a:lnTo>
                  <a:lnTo>
                    <a:pt x="983" y="353"/>
                  </a:lnTo>
                  <a:lnTo>
                    <a:pt x="975" y="329"/>
                  </a:lnTo>
                  <a:lnTo>
                    <a:pt x="966" y="306"/>
                  </a:lnTo>
                  <a:lnTo>
                    <a:pt x="956" y="284"/>
                  </a:lnTo>
                  <a:lnTo>
                    <a:pt x="945" y="262"/>
                  </a:lnTo>
                  <a:lnTo>
                    <a:pt x="933" y="241"/>
                  </a:lnTo>
                  <a:lnTo>
                    <a:pt x="920" y="221"/>
                  </a:lnTo>
                  <a:lnTo>
                    <a:pt x="906" y="201"/>
                  </a:lnTo>
                  <a:lnTo>
                    <a:pt x="891" y="183"/>
                  </a:lnTo>
                  <a:lnTo>
                    <a:pt x="875" y="163"/>
                  </a:lnTo>
                  <a:lnTo>
                    <a:pt x="858" y="146"/>
                  </a:lnTo>
                  <a:lnTo>
                    <a:pt x="840" y="130"/>
                  </a:lnTo>
                  <a:lnTo>
                    <a:pt x="822" y="114"/>
                  </a:lnTo>
                  <a:lnTo>
                    <a:pt x="803" y="99"/>
                  </a:lnTo>
                  <a:lnTo>
                    <a:pt x="784" y="85"/>
                  </a:lnTo>
                  <a:lnTo>
                    <a:pt x="764" y="72"/>
                  </a:lnTo>
                  <a:lnTo>
                    <a:pt x="743" y="60"/>
                  </a:lnTo>
                  <a:lnTo>
                    <a:pt x="721" y="49"/>
                  </a:lnTo>
                  <a:lnTo>
                    <a:pt x="699" y="39"/>
                  </a:lnTo>
                  <a:lnTo>
                    <a:pt x="675" y="30"/>
                  </a:lnTo>
                  <a:lnTo>
                    <a:pt x="652" y="22"/>
                  </a:lnTo>
                  <a:lnTo>
                    <a:pt x="628" y="15"/>
                  </a:lnTo>
                  <a:lnTo>
                    <a:pt x="604" y="10"/>
                  </a:lnTo>
                  <a:lnTo>
                    <a:pt x="579" y="6"/>
                  </a:lnTo>
                  <a:lnTo>
                    <a:pt x="554" y="2"/>
                  </a:lnTo>
                  <a:lnTo>
                    <a:pt x="529" y="0"/>
                  </a:lnTo>
                  <a:lnTo>
                    <a:pt x="50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99" name="í$ļïďê">
              <a:extLst>
                <a:ext uri="{FF2B5EF4-FFF2-40B4-BE49-F238E27FC236}">
                  <a16:creationId xmlns:a16="http://schemas.microsoft.com/office/drawing/2014/main" id="{2286516B-084A-4F24-A566-05FCCC2E1E71}"/>
                </a:ext>
              </a:extLst>
            </p:cNvPr>
            <p:cNvSpPr/>
            <p:nvPr/>
          </p:nvSpPr>
          <p:spPr bwMode="auto">
            <a:xfrm>
              <a:off x="2464191" y="1237810"/>
              <a:ext cx="38068" cy="38069"/>
            </a:xfrm>
            <a:custGeom>
              <a:avLst/>
              <a:gdLst>
                <a:gd name="T0" fmla="*/ 3 w 1006"/>
                <a:gd name="T1" fmla="*/ 554 h 1005"/>
                <a:gd name="T2" fmla="*/ 16 w 1006"/>
                <a:gd name="T3" fmla="*/ 628 h 1005"/>
                <a:gd name="T4" fmla="*/ 39 w 1006"/>
                <a:gd name="T5" fmla="*/ 699 h 1005"/>
                <a:gd name="T6" fmla="*/ 72 w 1006"/>
                <a:gd name="T7" fmla="*/ 763 h 1005"/>
                <a:gd name="T8" fmla="*/ 115 w 1006"/>
                <a:gd name="T9" fmla="*/ 822 h 1005"/>
                <a:gd name="T10" fmla="*/ 165 w 1006"/>
                <a:gd name="T11" fmla="*/ 875 h 1005"/>
                <a:gd name="T12" fmla="*/ 221 w 1006"/>
                <a:gd name="T13" fmla="*/ 920 h 1005"/>
                <a:gd name="T14" fmla="*/ 285 w 1006"/>
                <a:gd name="T15" fmla="*/ 956 h 1005"/>
                <a:gd name="T16" fmla="*/ 353 w 1006"/>
                <a:gd name="T17" fmla="*/ 982 h 1005"/>
                <a:gd name="T18" fmla="*/ 426 w 1006"/>
                <a:gd name="T19" fmla="*/ 999 h 1005"/>
                <a:gd name="T20" fmla="*/ 503 w 1006"/>
                <a:gd name="T21" fmla="*/ 1005 h 1005"/>
                <a:gd name="T22" fmla="*/ 579 w 1006"/>
                <a:gd name="T23" fmla="*/ 999 h 1005"/>
                <a:gd name="T24" fmla="*/ 653 w 1006"/>
                <a:gd name="T25" fmla="*/ 982 h 1005"/>
                <a:gd name="T26" fmla="*/ 721 w 1006"/>
                <a:gd name="T27" fmla="*/ 956 h 1005"/>
                <a:gd name="T28" fmla="*/ 784 w 1006"/>
                <a:gd name="T29" fmla="*/ 920 h 1005"/>
                <a:gd name="T30" fmla="*/ 841 w 1006"/>
                <a:gd name="T31" fmla="*/ 875 h 1005"/>
                <a:gd name="T32" fmla="*/ 891 w 1006"/>
                <a:gd name="T33" fmla="*/ 822 h 1005"/>
                <a:gd name="T34" fmla="*/ 933 w 1006"/>
                <a:gd name="T35" fmla="*/ 763 h 1005"/>
                <a:gd name="T36" fmla="*/ 966 w 1006"/>
                <a:gd name="T37" fmla="*/ 699 h 1005"/>
                <a:gd name="T38" fmla="*/ 990 w 1006"/>
                <a:gd name="T39" fmla="*/ 628 h 1005"/>
                <a:gd name="T40" fmla="*/ 1003 w 1006"/>
                <a:gd name="T41" fmla="*/ 554 h 1005"/>
                <a:gd name="T42" fmla="*/ 1005 w 1006"/>
                <a:gd name="T43" fmla="*/ 476 h 1005"/>
                <a:gd name="T44" fmla="*/ 996 w 1006"/>
                <a:gd name="T45" fmla="*/ 401 h 1005"/>
                <a:gd name="T46" fmla="*/ 976 w 1006"/>
                <a:gd name="T47" fmla="*/ 329 h 1005"/>
                <a:gd name="T48" fmla="*/ 945 w 1006"/>
                <a:gd name="T49" fmla="*/ 262 h 1005"/>
                <a:gd name="T50" fmla="*/ 906 w 1006"/>
                <a:gd name="T51" fmla="*/ 201 h 1005"/>
                <a:gd name="T52" fmla="*/ 859 w 1006"/>
                <a:gd name="T53" fmla="*/ 146 h 1005"/>
                <a:gd name="T54" fmla="*/ 804 w 1006"/>
                <a:gd name="T55" fmla="*/ 99 h 1005"/>
                <a:gd name="T56" fmla="*/ 742 w 1006"/>
                <a:gd name="T57" fmla="*/ 60 h 1005"/>
                <a:gd name="T58" fmla="*/ 676 w 1006"/>
                <a:gd name="T59" fmla="*/ 30 h 1005"/>
                <a:gd name="T60" fmla="*/ 604 w 1006"/>
                <a:gd name="T61" fmla="*/ 10 h 1005"/>
                <a:gd name="T62" fmla="*/ 529 w 1006"/>
                <a:gd name="T63" fmla="*/ 0 h 1005"/>
                <a:gd name="T64" fmla="*/ 452 w 1006"/>
                <a:gd name="T65" fmla="*/ 2 h 1005"/>
                <a:gd name="T66" fmla="*/ 377 w 1006"/>
                <a:gd name="T67" fmla="*/ 15 h 1005"/>
                <a:gd name="T68" fmla="*/ 307 w 1006"/>
                <a:gd name="T69" fmla="*/ 39 h 1005"/>
                <a:gd name="T70" fmla="*/ 242 w 1006"/>
                <a:gd name="T71" fmla="*/ 72 h 1005"/>
                <a:gd name="T72" fmla="*/ 183 w 1006"/>
                <a:gd name="T73" fmla="*/ 114 h 1005"/>
                <a:gd name="T74" fmla="*/ 131 w 1006"/>
                <a:gd name="T75" fmla="*/ 163 h 1005"/>
                <a:gd name="T76" fmla="*/ 85 w 1006"/>
                <a:gd name="T77" fmla="*/ 221 h 1005"/>
                <a:gd name="T78" fmla="*/ 49 w 1006"/>
                <a:gd name="T79" fmla="*/ 284 h 1005"/>
                <a:gd name="T80" fmla="*/ 22 w 1006"/>
                <a:gd name="T81" fmla="*/ 353 h 1005"/>
                <a:gd name="T82" fmla="*/ 6 w 1006"/>
                <a:gd name="T83" fmla="*/ 426 h 1005"/>
                <a:gd name="T84" fmla="*/ 0 w 1006"/>
                <a:gd name="T85" fmla="*/ 503 h 10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" h="1005">
                  <a:moveTo>
                    <a:pt x="0" y="503"/>
                  </a:moveTo>
                  <a:lnTo>
                    <a:pt x="1" y="529"/>
                  </a:lnTo>
                  <a:lnTo>
                    <a:pt x="3" y="554"/>
                  </a:lnTo>
                  <a:lnTo>
                    <a:pt x="6" y="579"/>
                  </a:lnTo>
                  <a:lnTo>
                    <a:pt x="10" y="604"/>
                  </a:lnTo>
                  <a:lnTo>
                    <a:pt x="16" y="628"/>
                  </a:lnTo>
                  <a:lnTo>
                    <a:pt x="22" y="652"/>
                  </a:lnTo>
                  <a:lnTo>
                    <a:pt x="30" y="676"/>
                  </a:lnTo>
                  <a:lnTo>
                    <a:pt x="39" y="699"/>
                  </a:lnTo>
                  <a:lnTo>
                    <a:pt x="49" y="721"/>
                  </a:lnTo>
                  <a:lnTo>
                    <a:pt x="60" y="742"/>
                  </a:lnTo>
                  <a:lnTo>
                    <a:pt x="72" y="763"/>
                  </a:lnTo>
                  <a:lnTo>
                    <a:pt x="85" y="783"/>
                  </a:lnTo>
                  <a:lnTo>
                    <a:pt x="100" y="803"/>
                  </a:lnTo>
                  <a:lnTo>
                    <a:pt x="115" y="822"/>
                  </a:lnTo>
                  <a:lnTo>
                    <a:pt x="131" y="840"/>
                  </a:lnTo>
                  <a:lnTo>
                    <a:pt x="147" y="858"/>
                  </a:lnTo>
                  <a:lnTo>
                    <a:pt x="165" y="875"/>
                  </a:lnTo>
                  <a:lnTo>
                    <a:pt x="183" y="891"/>
                  </a:lnTo>
                  <a:lnTo>
                    <a:pt x="202" y="906"/>
                  </a:lnTo>
                  <a:lnTo>
                    <a:pt x="221" y="920"/>
                  </a:lnTo>
                  <a:lnTo>
                    <a:pt x="242" y="932"/>
                  </a:lnTo>
                  <a:lnTo>
                    <a:pt x="263" y="944"/>
                  </a:lnTo>
                  <a:lnTo>
                    <a:pt x="285" y="956"/>
                  </a:lnTo>
                  <a:lnTo>
                    <a:pt x="307" y="966"/>
                  </a:lnTo>
                  <a:lnTo>
                    <a:pt x="330" y="975"/>
                  </a:lnTo>
                  <a:lnTo>
                    <a:pt x="353" y="982"/>
                  </a:lnTo>
                  <a:lnTo>
                    <a:pt x="377" y="989"/>
                  </a:lnTo>
                  <a:lnTo>
                    <a:pt x="401" y="995"/>
                  </a:lnTo>
                  <a:lnTo>
                    <a:pt x="426" y="999"/>
                  </a:lnTo>
                  <a:lnTo>
                    <a:pt x="452" y="1002"/>
                  </a:lnTo>
                  <a:lnTo>
                    <a:pt x="477" y="1004"/>
                  </a:lnTo>
                  <a:lnTo>
                    <a:pt x="503" y="1005"/>
                  </a:lnTo>
                  <a:lnTo>
                    <a:pt x="529" y="1004"/>
                  </a:lnTo>
                  <a:lnTo>
                    <a:pt x="554" y="1002"/>
                  </a:lnTo>
                  <a:lnTo>
                    <a:pt x="579" y="999"/>
                  </a:lnTo>
                  <a:lnTo>
                    <a:pt x="604" y="995"/>
                  </a:lnTo>
                  <a:lnTo>
                    <a:pt x="629" y="989"/>
                  </a:lnTo>
                  <a:lnTo>
                    <a:pt x="653" y="982"/>
                  </a:lnTo>
                  <a:lnTo>
                    <a:pt x="676" y="975"/>
                  </a:lnTo>
                  <a:lnTo>
                    <a:pt x="699" y="966"/>
                  </a:lnTo>
                  <a:lnTo>
                    <a:pt x="721" y="956"/>
                  </a:lnTo>
                  <a:lnTo>
                    <a:pt x="742" y="944"/>
                  </a:lnTo>
                  <a:lnTo>
                    <a:pt x="763" y="932"/>
                  </a:lnTo>
                  <a:lnTo>
                    <a:pt x="784" y="920"/>
                  </a:lnTo>
                  <a:lnTo>
                    <a:pt x="804" y="906"/>
                  </a:lnTo>
                  <a:lnTo>
                    <a:pt x="823" y="891"/>
                  </a:lnTo>
                  <a:lnTo>
                    <a:pt x="841" y="875"/>
                  </a:lnTo>
                  <a:lnTo>
                    <a:pt x="859" y="858"/>
                  </a:lnTo>
                  <a:lnTo>
                    <a:pt x="875" y="840"/>
                  </a:lnTo>
                  <a:lnTo>
                    <a:pt x="891" y="822"/>
                  </a:lnTo>
                  <a:lnTo>
                    <a:pt x="906" y="803"/>
                  </a:lnTo>
                  <a:lnTo>
                    <a:pt x="920" y="783"/>
                  </a:lnTo>
                  <a:lnTo>
                    <a:pt x="933" y="763"/>
                  </a:lnTo>
                  <a:lnTo>
                    <a:pt x="945" y="742"/>
                  </a:lnTo>
                  <a:lnTo>
                    <a:pt x="956" y="721"/>
                  </a:lnTo>
                  <a:lnTo>
                    <a:pt x="966" y="699"/>
                  </a:lnTo>
                  <a:lnTo>
                    <a:pt x="976" y="676"/>
                  </a:lnTo>
                  <a:lnTo>
                    <a:pt x="984" y="652"/>
                  </a:lnTo>
                  <a:lnTo>
                    <a:pt x="990" y="628"/>
                  </a:lnTo>
                  <a:lnTo>
                    <a:pt x="996" y="604"/>
                  </a:lnTo>
                  <a:lnTo>
                    <a:pt x="1000" y="579"/>
                  </a:lnTo>
                  <a:lnTo>
                    <a:pt x="1003" y="554"/>
                  </a:lnTo>
                  <a:lnTo>
                    <a:pt x="1005" y="529"/>
                  </a:lnTo>
                  <a:lnTo>
                    <a:pt x="1006" y="503"/>
                  </a:lnTo>
                  <a:lnTo>
                    <a:pt x="1005" y="476"/>
                  </a:lnTo>
                  <a:lnTo>
                    <a:pt x="1003" y="451"/>
                  </a:lnTo>
                  <a:lnTo>
                    <a:pt x="1000" y="426"/>
                  </a:lnTo>
                  <a:lnTo>
                    <a:pt x="996" y="401"/>
                  </a:lnTo>
                  <a:lnTo>
                    <a:pt x="990" y="377"/>
                  </a:lnTo>
                  <a:lnTo>
                    <a:pt x="984" y="353"/>
                  </a:lnTo>
                  <a:lnTo>
                    <a:pt x="976" y="329"/>
                  </a:lnTo>
                  <a:lnTo>
                    <a:pt x="966" y="306"/>
                  </a:lnTo>
                  <a:lnTo>
                    <a:pt x="956" y="284"/>
                  </a:lnTo>
                  <a:lnTo>
                    <a:pt x="945" y="262"/>
                  </a:lnTo>
                  <a:lnTo>
                    <a:pt x="933" y="241"/>
                  </a:lnTo>
                  <a:lnTo>
                    <a:pt x="920" y="221"/>
                  </a:lnTo>
                  <a:lnTo>
                    <a:pt x="906" y="201"/>
                  </a:lnTo>
                  <a:lnTo>
                    <a:pt x="891" y="183"/>
                  </a:lnTo>
                  <a:lnTo>
                    <a:pt x="875" y="163"/>
                  </a:lnTo>
                  <a:lnTo>
                    <a:pt x="859" y="146"/>
                  </a:lnTo>
                  <a:lnTo>
                    <a:pt x="841" y="130"/>
                  </a:lnTo>
                  <a:lnTo>
                    <a:pt x="823" y="114"/>
                  </a:lnTo>
                  <a:lnTo>
                    <a:pt x="804" y="99"/>
                  </a:lnTo>
                  <a:lnTo>
                    <a:pt x="784" y="85"/>
                  </a:lnTo>
                  <a:lnTo>
                    <a:pt x="763" y="72"/>
                  </a:lnTo>
                  <a:lnTo>
                    <a:pt x="742" y="60"/>
                  </a:lnTo>
                  <a:lnTo>
                    <a:pt x="721" y="49"/>
                  </a:lnTo>
                  <a:lnTo>
                    <a:pt x="699" y="39"/>
                  </a:lnTo>
                  <a:lnTo>
                    <a:pt x="676" y="30"/>
                  </a:lnTo>
                  <a:lnTo>
                    <a:pt x="653" y="22"/>
                  </a:lnTo>
                  <a:lnTo>
                    <a:pt x="629" y="15"/>
                  </a:lnTo>
                  <a:lnTo>
                    <a:pt x="604" y="10"/>
                  </a:lnTo>
                  <a:lnTo>
                    <a:pt x="579" y="6"/>
                  </a:lnTo>
                  <a:lnTo>
                    <a:pt x="554" y="2"/>
                  </a:lnTo>
                  <a:lnTo>
                    <a:pt x="529" y="0"/>
                  </a:lnTo>
                  <a:lnTo>
                    <a:pt x="503" y="0"/>
                  </a:lnTo>
                  <a:lnTo>
                    <a:pt x="477" y="0"/>
                  </a:lnTo>
                  <a:lnTo>
                    <a:pt x="452" y="2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5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5" y="49"/>
                  </a:lnTo>
                  <a:lnTo>
                    <a:pt x="263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4"/>
                  </a:lnTo>
                  <a:lnTo>
                    <a:pt x="165" y="130"/>
                  </a:lnTo>
                  <a:lnTo>
                    <a:pt x="147" y="146"/>
                  </a:lnTo>
                  <a:lnTo>
                    <a:pt x="131" y="163"/>
                  </a:lnTo>
                  <a:lnTo>
                    <a:pt x="115" y="183"/>
                  </a:lnTo>
                  <a:lnTo>
                    <a:pt x="100" y="201"/>
                  </a:lnTo>
                  <a:lnTo>
                    <a:pt x="85" y="221"/>
                  </a:lnTo>
                  <a:lnTo>
                    <a:pt x="72" y="241"/>
                  </a:lnTo>
                  <a:lnTo>
                    <a:pt x="60" y="262"/>
                  </a:lnTo>
                  <a:lnTo>
                    <a:pt x="49" y="284"/>
                  </a:lnTo>
                  <a:lnTo>
                    <a:pt x="39" y="306"/>
                  </a:lnTo>
                  <a:lnTo>
                    <a:pt x="30" y="329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1"/>
                  </a:lnTo>
                  <a:lnTo>
                    <a:pt x="1" y="476"/>
                  </a:lnTo>
                  <a:lnTo>
                    <a:pt x="0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00" name="ïŝ1ïḑê">
              <a:extLst>
                <a:ext uri="{FF2B5EF4-FFF2-40B4-BE49-F238E27FC236}">
                  <a16:creationId xmlns:a16="http://schemas.microsoft.com/office/drawing/2014/main" id="{A15ECB7F-BFB1-4356-B5E4-F5C8B9D0213F}"/>
                </a:ext>
              </a:extLst>
            </p:cNvPr>
            <p:cNvSpPr/>
            <p:nvPr/>
          </p:nvSpPr>
          <p:spPr bwMode="auto">
            <a:xfrm>
              <a:off x="2268207" y="1319588"/>
              <a:ext cx="38068" cy="38069"/>
            </a:xfrm>
            <a:custGeom>
              <a:avLst/>
              <a:gdLst>
                <a:gd name="T0" fmla="*/ 113 w 1006"/>
                <a:gd name="T1" fmla="*/ 186 h 1006"/>
                <a:gd name="T2" fmla="*/ 70 w 1006"/>
                <a:gd name="T3" fmla="*/ 248 h 1006"/>
                <a:gd name="T4" fmla="*/ 37 w 1006"/>
                <a:gd name="T5" fmla="*/ 314 h 1006"/>
                <a:gd name="T6" fmla="*/ 14 w 1006"/>
                <a:gd name="T7" fmla="*/ 383 h 1006"/>
                <a:gd name="T8" fmla="*/ 2 w 1006"/>
                <a:gd name="T9" fmla="*/ 455 h 1006"/>
                <a:gd name="T10" fmla="*/ 1 w 1006"/>
                <a:gd name="T11" fmla="*/ 527 h 1006"/>
                <a:gd name="T12" fmla="*/ 9 w 1006"/>
                <a:gd name="T13" fmla="*/ 600 h 1006"/>
                <a:gd name="T14" fmla="*/ 28 w 1006"/>
                <a:gd name="T15" fmla="*/ 669 h 1006"/>
                <a:gd name="T16" fmla="*/ 58 w 1006"/>
                <a:gd name="T17" fmla="*/ 737 h 1006"/>
                <a:gd name="T18" fmla="*/ 97 w 1006"/>
                <a:gd name="T19" fmla="*/ 801 h 1006"/>
                <a:gd name="T20" fmla="*/ 148 w 1006"/>
                <a:gd name="T21" fmla="*/ 859 h 1006"/>
                <a:gd name="T22" fmla="*/ 206 w 1006"/>
                <a:gd name="T23" fmla="*/ 908 h 1006"/>
                <a:gd name="T24" fmla="*/ 269 w 1006"/>
                <a:gd name="T25" fmla="*/ 949 h 1006"/>
                <a:gd name="T26" fmla="*/ 337 w 1006"/>
                <a:gd name="T27" fmla="*/ 978 h 1006"/>
                <a:gd name="T28" fmla="*/ 407 w 1006"/>
                <a:gd name="T29" fmla="*/ 997 h 1006"/>
                <a:gd name="T30" fmla="*/ 479 w 1006"/>
                <a:gd name="T31" fmla="*/ 1006 h 1006"/>
                <a:gd name="T32" fmla="*/ 551 w 1006"/>
                <a:gd name="T33" fmla="*/ 1004 h 1006"/>
                <a:gd name="T34" fmla="*/ 622 w 1006"/>
                <a:gd name="T35" fmla="*/ 992 h 1006"/>
                <a:gd name="T36" fmla="*/ 693 w 1006"/>
                <a:gd name="T37" fmla="*/ 970 h 1006"/>
                <a:gd name="T38" fmla="*/ 759 w 1006"/>
                <a:gd name="T39" fmla="*/ 937 h 1006"/>
                <a:gd name="T40" fmla="*/ 820 w 1006"/>
                <a:gd name="T41" fmla="*/ 893 h 1006"/>
                <a:gd name="T42" fmla="*/ 877 w 1006"/>
                <a:gd name="T43" fmla="*/ 840 h 1006"/>
                <a:gd name="T44" fmla="*/ 924 w 1006"/>
                <a:gd name="T45" fmla="*/ 780 h 1006"/>
                <a:gd name="T46" fmla="*/ 960 w 1006"/>
                <a:gd name="T47" fmla="*/ 714 h 1006"/>
                <a:gd name="T48" fmla="*/ 985 w 1006"/>
                <a:gd name="T49" fmla="*/ 646 h 1006"/>
                <a:gd name="T50" fmla="*/ 1001 w 1006"/>
                <a:gd name="T51" fmla="*/ 576 h 1006"/>
                <a:gd name="T52" fmla="*/ 1006 w 1006"/>
                <a:gd name="T53" fmla="*/ 503 h 1006"/>
                <a:gd name="T54" fmla="*/ 1001 w 1006"/>
                <a:gd name="T55" fmla="*/ 431 h 1006"/>
                <a:gd name="T56" fmla="*/ 985 w 1006"/>
                <a:gd name="T57" fmla="*/ 360 h 1006"/>
                <a:gd name="T58" fmla="*/ 960 w 1006"/>
                <a:gd name="T59" fmla="*/ 292 h 1006"/>
                <a:gd name="T60" fmla="*/ 924 w 1006"/>
                <a:gd name="T61" fmla="*/ 226 h 1006"/>
                <a:gd name="T62" fmla="*/ 877 w 1006"/>
                <a:gd name="T63" fmla="*/ 166 h 1006"/>
                <a:gd name="T64" fmla="*/ 820 w 1006"/>
                <a:gd name="T65" fmla="*/ 113 h 1006"/>
                <a:gd name="T66" fmla="*/ 759 w 1006"/>
                <a:gd name="T67" fmla="*/ 70 h 1006"/>
                <a:gd name="T68" fmla="*/ 693 w 1006"/>
                <a:gd name="T69" fmla="*/ 37 h 1006"/>
                <a:gd name="T70" fmla="*/ 622 w 1006"/>
                <a:gd name="T71" fmla="*/ 14 h 1006"/>
                <a:gd name="T72" fmla="*/ 551 w 1006"/>
                <a:gd name="T73" fmla="*/ 2 h 1006"/>
                <a:gd name="T74" fmla="*/ 479 w 1006"/>
                <a:gd name="T75" fmla="*/ 1 h 1006"/>
                <a:gd name="T76" fmla="*/ 407 w 1006"/>
                <a:gd name="T77" fmla="*/ 9 h 1006"/>
                <a:gd name="T78" fmla="*/ 337 w 1006"/>
                <a:gd name="T79" fmla="*/ 28 h 1006"/>
                <a:gd name="T80" fmla="*/ 269 w 1006"/>
                <a:gd name="T81" fmla="*/ 57 h 1006"/>
                <a:gd name="T82" fmla="*/ 206 w 1006"/>
                <a:gd name="T83" fmla="*/ 98 h 1006"/>
                <a:gd name="T84" fmla="*/ 148 w 1006"/>
                <a:gd name="T85" fmla="*/ 148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" h="1006">
                  <a:moveTo>
                    <a:pt x="148" y="148"/>
                  </a:moveTo>
                  <a:lnTo>
                    <a:pt x="130" y="166"/>
                  </a:lnTo>
                  <a:lnTo>
                    <a:pt x="113" y="186"/>
                  </a:lnTo>
                  <a:lnTo>
                    <a:pt x="97" y="206"/>
                  </a:lnTo>
                  <a:lnTo>
                    <a:pt x="83" y="226"/>
                  </a:lnTo>
                  <a:lnTo>
                    <a:pt x="70" y="248"/>
                  </a:lnTo>
                  <a:lnTo>
                    <a:pt x="58" y="270"/>
                  </a:lnTo>
                  <a:lnTo>
                    <a:pt x="47" y="292"/>
                  </a:lnTo>
                  <a:lnTo>
                    <a:pt x="37" y="314"/>
                  </a:lnTo>
                  <a:lnTo>
                    <a:pt x="28" y="337"/>
                  </a:lnTo>
                  <a:lnTo>
                    <a:pt x="21" y="360"/>
                  </a:lnTo>
                  <a:lnTo>
                    <a:pt x="14" y="383"/>
                  </a:lnTo>
                  <a:lnTo>
                    <a:pt x="9" y="408"/>
                  </a:lnTo>
                  <a:lnTo>
                    <a:pt x="5" y="431"/>
                  </a:lnTo>
                  <a:lnTo>
                    <a:pt x="2" y="455"/>
                  </a:lnTo>
                  <a:lnTo>
                    <a:pt x="1" y="479"/>
                  </a:lnTo>
                  <a:lnTo>
                    <a:pt x="0" y="503"/>
                  </a:lnTo>
                  <a:lnTo>
                    <a:pt x="1" y="527"/>
                  </a:lnTo>
                  <a:lnTo>
                    <a:pt x="2" y="551"/>
                  </a:lnTo>
                  <a:lnTo>
                    <a:pt x="5" y="576"/>
                  </a:lnTo>
                  <a:lnTo>
                    <a:pt x="9" y="600"/>
                  </a:lnTo>
                  <a:lnTo>
                    <a:pt x="14" y="623"/>
                  </a:lnTo>
                  <a:lnTo>
                    <a:pt x="21" y="646"/>
                  </a:lnTo>
                  <a:lnTo>
                    <a:pt x="28" y="669"/>
                  </a:lnTo>
                  <a:lnTo>
                    <a:pt x="37" y="692"/>
                  </a:lnTo>
                  <a:lnTo>
                    <a:pt x="47" y="714"/>
                  </a:lnTo>
                  <a:lnTo>
                    <a:pt x="58" y="737"/>
                  </a:lnTo>
                  <a:lnTo>
                    <a:pt x="70" y="759"/>
                  </a:lnTo>
                  <a:lnTo>
                    <a:pt x="83" y="780"/>
                  </a:lnTo>
                  <a:lnTo>
                    <a:pt x="97" y="801"/>
                  </a:lnTo>
                  <a:lnTo>
                    <a:pt x="113" y="821"/>
                  </a:lnTo>
                  <a:lnTo>
                    <a:pt x="130" y="840"/>
                  </a:lnTo>
                  <a:lnTo>
                    <a:pt x="148" y="859"/>
                  </a:lnTo>
                  <a:lnTo>
                    <a:pt x="167" y="876"/>
                  </a:lnTo>
                  <a:lnTo>
                    <a:pt x="186" y="893"/>
                  </a:lnTo>
                  <a:lnTo>
                    <a:pt x="206" y="908"/>
                  </a:lnTo>
                  <a:lnTo>
                    <a:pt x="227" y="924"/>
                  </a:lnTo>
                  <a:lnTo>
                    <a:pt x="248" y="937"/>
                  </a:lnTo>
                  <a:lnTo>
                    <a:pt x="269" y="949"/>
                  </a:lnTo>
                  <a:lnTo>
                    <a:pt x="291" y="960"/>
                  </a:lnTo>
                  <a:lnTo>
                    <a:pt x="314" y="970"/>
                  </a:lnTo>
                  <a:lnTo>
                    <a:pt x="337" y="978"/>
                  </a:lnTo>
                  <a:lnTo>
                    <a:pt x="360" y="986"/>
                  </a:lnTo>
                  <a:lnTo>
                    <a:pt x="384" y="992"/>
                  </a:lnTo>
                  <a:lnTo>
                    <a:pt x="407" y="997"/>
                  </a:lnTo>
                  <a:lnTo>
                    <a:pt x="431" y="1001"/>
                  </a:lnTo>
                  <a:lnTo>
                    <a:pt x="455" y="1004"/>
                  </a:lnTo>
                  <a:lnTo>
                    <a:pt x="479" y="1006"/>
                  </a:lnTo>
                  <a:lnTo>
                    <a:pt x="503" y="1006"/>
                  </a:lnTo>
                  <a:lnTo>
                    <a:pt x="527" y="1006"/>
                  </a:lnTo>
                  <a:lnTo>
                    <a:pt x="551" y="1004"/>
                  </a:lnTo>
                  <a:lnTo>
                    <a:pt x="575" y="1001"/>
                  </a:lnTo>
                  <a:lnTo>
                    <a:pt x="599" y="997"/>
                  </a:lnTo>
                  <a:lnTo>
                    <a:pt x="622" y="992"/>
                  </a:lnTo>
                  <a:lnTo>
                    <a:pt x="646" y="986"/>
                  </a:lnTo>
                  <a:lnTo>
                    <a:pt x="669" y="978"/>
                  </a:lnTo>
                  <a:lnTo>
                    <a:pt x="693" y="970"/>
                  </a:lnTo>
                  <a:lnTo>
                    <a:pt x="715" y="960"/>
                  </a:lnTo>
                  <a:lnTo>
                    <a:pt x="737" y="949"/>
                  </a:lnTo>
                  <a:lnTo>
                    <a:pt x="759" y="937"/>
                  </a:lnTo>
                  <a:lnTo>
                    <a:pt x="780" y="924"/>
                  </a:lnTo>
                  <a:lnTo>
                    <a:pt x="800" y="908"/>
                  </a:lnTo>
                  <a:lnTo>
                    <a:pt x="820" y="893"/>
                  </a:lnTo>
                  <a:lnTo>
                    <a:pt x="840" y="876"/>
                  </a:lnTo>
                  <a:lnTo>
                    <a:pt x="859" y="859"/>
                  </a:lnTo>
                  <a:lnTo>
                    <a:pt x="877" y="840"/>
                  </a:lnTo>
                  <a:lnTo>
                    <a:pt x="894" y="821"/>
                  </a:lnTo>
                  <a:lnTo>
                    <a:pt x="909" y="801"/>
                  </a:lnTo>
                  <a:lnTo>
                    <a:pt x="924" y="780"/>
                  </a:lnTo>
                  <a:lnTo>
                    <a:pt x="937" y="759"/>
                  </a:lnTo>
                  <a:lnTo>
                    <a:pt x="949" y="737"/>
                  </a:lnTo>
                  <a:lnTo>
                    <a:pt x="960" y="714"/>
                  </a:lnTo>
                  <a:lnTo>
                    <a:pt x="969" y="692"/>
                  </a:lnTo>
                  <a:lnTo>
                    <a:pt x="978" y="669"/>
                  </a:lnTo>
                  <a:lnTo>
                    <a:pt x="985" y="646"/>
                  </a:lnTo>
                  <a:lnTo>
                    <a:pt x="992" y="623"/>
                  </a:lnTo>
                  <a:lnTo>
                    <a:pt x="997" y="600"/>
                  </a:lnTo>
                  <a:lnTo>
                    <a:pt x="1001" y="576"/>
                  </a:lnTo>
                  <a:lnTo>
                    <a:pt x="1004" y="551"/>
                  </a:lnTo>
                  <a:lnTo>
                    <a:pt x="1005" y="527"/>
                  </a:lnTo>
                  <a:lnTo>
                    <a:pt x="1006" y="503"/>
                  </a:lnTo>
                  <a:lnTo>
                    <a:pt x="1005" y="479"/>
                  </a:lnTo>
                  <a:lnTo>
                    <a:pt x="1004" y="455"/>
                  </a:lnTo>
                  <a:lnTo>
                    <a:pt x="1001" y="431"/>
                  </a:lnTo>
                  <a:lnTo>
                    <a:pt x="997" y="408"/>
                  </a:lnTo>
                  <a:lnTo>
                    <a:pt x="992" y="383"/>
                  </a:lnTo>
                  <a:lnTo>
                    <a:pt x="985" y="360"/>
                  </a:lnTo>
                  <a:lnTo>
                    <a:pt x="978" y="337"/>
                  </a:lnTo>
                  <a:lnTo>
                    <a:pt x="969" y="314"/>
                  </a:lnTo>
                  <a:lnTo>
                    <a:pt x="960" y="292"/>
                  </a:lnTo>
                  <a:lnTo>
                    <a:pt x="949" y="270"/>
                  </a:lnTo>
                  <a:lnTo>
                    <a:pt x="937" y="248"/>
                  </a:lnTo>
                  <a:lnTo>
                    <a:pt x="924" y="226"/>
                  </a:lnTo>
                  <a:lnTo>
                    <a:pt x="909" y="206"/>
                  </a:lnTo>
                  <a:lnTo>
                    <a:pt x="894" y="186"/>
                  </a:lnTo>
                  <a:lnTo>
                    <a:pt x="877" y="166"/>
                  </a:lnTo>
                  <a:lnTo>
                    <a:pt x="859" y="148"/>
                  </a:lnTo>
                  <a:lnTo>
                    <a:pt x="840" y="130"/>
                  </a:lnTo>
                  <a:lnTo>
                    <a:pt x="820" y="113"/>
                  </a:lnTo>
                  <a:lnTo>
                    <a:pt x="800" y="98"/>
                  </a:lnTo>
                  <a:lnTo>
                    <a:pt x="780" y="84"/>
                  </a:lnTo>
                  <a:lnTo>
                    <a:pt x="759" y="70"/>
                  </a:lnTo>
                  <a:lnTo>
                    <a:pt x="737" y="57"/>
                  </a:lnTo>
                  <a:lnTo>
                    <a:pt x="715" y="46"/>
                  </a:lnTo>
                  <a:lnTo>
                    <a:pt x="693" y="37"/>
                  </a:lnTo>
                  <a:lnTo>
                    <a:pt x="669" y="28"/>
                  </a:lnTo>
                  <a:lnTo>
                    <a:pt x="646" y="21"/>
                  </a:lnTo>
                  <a:lnTo>
                    <a:pt x="622" y="14"/>
                  </a:lnTo>
                  <a:lnTo>
                    <a:pt x="599" y="9"/>
                  </a:lnTo>
                  <a:lnTo>
                    <a:pt x="575" y="5"/>
                  </a:lnTo>
                  <a:lnTo>
                    <a:pt x="551" y="2"/>
                  </a:lnTo>
                  <a:lnTo>
                    <a:pt x="527" y="1"/>
                  </a:lnTo>
                  <a:lnTo>
                    <a:pt x="503" y="0"/>
                  </a:lnTo>
                  <a:lnTo>
                    <a:pt x="479" y="1"/>
                  </a:lnTo>
                  <a:lnTo>
                    <a:pt x="455" y="2"/>
                  </a:lnTo>
                  <a:lnTo>
                    <a:pt x="431" y="5"/>
                  </a:lnTo>
                  <a:lnTo>
                    <a:pt x="407" y="9"/>
                  </a:lnTo>
                  <a:lnTo>
                    <a:pt x="384" y="14"/>
                  </a:lnTo>
                  <a:lnTo>
                    <a:pt x="360" y="21"/>
                  </a:lnTo>
                  <a:lnTo>
                    <a:pt x="337" y="28"/>
                  </a:lnTo>
                  <a:lnTo>
                    <a:pt x="314" y="37"/>
                  </a:lnTo>
                  <a:lnTo>
                    <a:pt x="291" y="46"/>
                  </a:lnTo>
                  <a:lnTo>
                    <a:pt x="269" y="57"/>
                  </a:lnTo>
                  <a:lnTo>
                    <a:pt x="248" y="70"/>
                  </a:lnTo>
                  <a:lnTo>
                    <a:pt x="227" y="84"/>
                  </a:lnTo>
                  <a:lnTo>
                    <a:pt x="206" y="98"/>
                  </a:lnTo>
                  <a:lnTo>
                    <a:pt x="186" y="113"/>
                  </a:lnTo>
                  <a:lnTo>
                    <a:pt x="167" y="130"/>
                  </a:lnTo>
                  <a:lnTo>
                    <a:pt x="148" y="1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01" name="íSlîḍè">
              <a:extLst>
                <a:ext uri="{FF2B5EF4-FFF2-40B4-BE49-F238E27FC236}">
                  <a16:creationId xmlns:a16="http://schemas.microsoft.com/office/drawing/2014/main" id="{E47EF0E5-2320-4C1A-BDA7-09BC572CBE5A}"/>
                </a:ext>
              </a:extLst>
            </p:cNvPr>
            <p:cNvSpPr/>
            <p:nvPr/>
          </p:nvSpPr>
          <p:spPr bwMode="auto">
            <a:xfrm>
              <a:off x="2268207" y="1156033"/>
              <a:ext cx="38068" cy="38069"/>
            </a:xfrm>
            <a:custGeom>
              <a:avLst/>
              <a:gdLst>
                <a:gd name="T0" fmla="*/ 113 w 1006"/>
                <a:gd name="T1" fmla="*/ 186 h 1007"/>
                <a:gd name="T2" fmla="*/ 70 w 1006"/>
                <a:gd name="T3" fmla="*/ 248 h 1007"/>
                <a:gd name="T4" fmla="*/ 37 w 1006"/>
                <a:gd name="T5" fmla="*/ 315 h 1007"/>
                <a:gd name="T6" fmla="*/ 14 w 1006"/>
                <a:gd name="T7" fmla="*/ 384 h 1007"/>
                <a:gd name="T8" fmla="*/ 2 w 1006"/>
                <a:gd name="T9" fmla="*/ 456 h 1007"/>
                <a:gd name="T10" fmla="*/ 0 w 1006"/>
                <a:gd name="T11" fmla="*/ 527 h 1007"/>
                <a:gd name="T12" fmla="*/ 9 w 1006"/>
                <a:gd name="T13" fmla="*/ 599 h 1007"/>
                <a:gd name="T14" fmla="*/ 28 w 1006"/>
                <a:gd name="T15" fmla="*/ 670 h 1007"/>
                <a:gd name="T16" fmla="*/ 57 w 1006"/>
                <a:gd name="T17" fmla="*/ 737 h 1007"/>
                <a:gd name="T18" fmla="*/ 97 w 1006"/>
                <a:gd name="T19" fmla="*/ 801 h 1007"/>
                <a:gd name="T20" fmla="*/ 146 w 1006"/>
                <a:gd name="T21" fmla="*/ 859 h 1007"/>
                <a:gd name="T22" fmla="*/ 206 w 1006"/>
                <a:gd name="T23" fmla="*/ 909 h 1007"/>
                <a:gd name="T24" fmla="*/ 269 w 1006"/>
                <a:gd name="T25" fmla="*/ 950 h 1007"/>
                <a:gd name="T26" fmla="*/ 337 w 1006"/>
                <a:gd name="T27" fmla="*/ 979 h 1007"/>
                <a:gd name="T28" fmla="*/ 407 w 1006"/>
                <a:gd name="T29" fmla="*/ 998 h 1007"/>
                <a:gd name="T30" fmla="*/ 478 w 1006"/>
                <a:gd name="T31" fmla="*/ 1006 h 1007"/>
                <a:gd name="T32" fmla="*/ 551 w 1006"/>
                <a:gd name="T33" fmla="*/ 1004 h 1007"/>
                <a:gd name="T34" fmla="*/ 622 w 1006"/>
                <a:gd name="T35" fmla="*/ 992 h 1007"/>
                <a:gd name="T36" fmla="*/ 693 w 1006"/>
                <a:gd name="T37" fmla="*/ 970 h 1007"/>
                <a:gd name="T38" fmla="*/ 759 w 1006"/>
                <a:gd name="T39" fmla="*/ 936 h 1007"/>
                <a:gd name="T40" fmla="*/ 820 w 1006"/>
                <a:gd name="T41" fmla="*/ 893 h 1007"/>
                <a:gd name="T42" fmla="*/ 877 w 1006"/>
                <a:gd name="T43" fmla="*/ 840 h 1007"/>
                <a:gd name="T44" fmla="*/ 924 w 1006"/>
                <a:gd name="T45" fmla="*/ 780 h 1007"/>
                <a:gd name="T46" fmla="*/ 960 w 1006"/>
                <a:gd name="T47" fmla="*/ 715 h 1007"/>
                <a:gd name="T48" fmla="*/ 985 w 1006"/>
                <a:gd name="T49" fmla="*/ 647 h 1007"/>
                <a:gd name="T50" fmla="*/ 1001 w 1006"/>
                <a:gd name="T51" fmla="*/ 575 h 1007"/>
                <a:gd name="T52" fmla="*/ 1006 w 1006"/>
                <a:gd name="T53" fmla="*/ 503 h 1007"/>
                <a:gd name="T54" fmla="*/ 1001 w 1006"/>
                <a:gd name="T55" fmla="*/ 431 h 1007"/>
                <a:gd name="T56" fmla="*/ 985 w 1006"/>
                <a:gd name="T57" fmla="*/ 360 h 1007"/>
                <a:gd name="T58" fmla="*/ 960 w 1006"/>
                <a:gd name="T59" fmla="*/ 292 h 1007"/>
                <a:gd name="T60" fmla="*/ 924 w 1006"/>
                <a:gd name="T61" fmla="*/ 227 h 1007"/>
                <a:gd name="T62" fmla="*/ 877 w 1006"/>
                <a:gd name="T63" fmla="*/ 167 h 1007"/>
                <a:gd name="T64" fmla="*/ 820 w 1006"/>
                <a:gd name="T65" fmla="*/ 114 h 1007"/>
                <a:gd name="T66" fmla="*/ 759 w 1006"/>
                <a:gd name="T67" fmla="*/ 70 h 1007"/>
                <a:gd name="T68" fmla="*/ 693 w 1006"/>
                <a:gd name="T69" fmla="*/ 37 h 1007"/>
                <a:gd name="T70" fmla="*/ 622 w 1006"/>
                <a:gd name="T71" fmla="*/ 15 h 1007"/>
                <a:gd name="T72" fmla="*/ 551 w 1006"/>
                <a:gd name="T73" fmla="*/ 2 h 1007"/>
                <a:gd name="T74" fmla="*/ 479 w 1006"/>
                <a:gd name="T75" fmla="*/ 1 h 1007"/>
                <a:gd name="T76" fmla="*/ 407 w 1006"/>
                <a:gd name="T77" fmla="*/ 9 h 1007"/>
                <a:gd name="T78" fmla="*/ 337 w 1006"/>
                <a:gd name="T79" fmla="*/ 28 h 1007"/>
                <a:gd name="T80" fmla="*/ 269 w 1006"/>
                <a:gd name="T81" fmla="*/ 58 h 1007"/>
                <a:gd name="T82" fmla="*/ 206 w 1006"/>
                <a:gd name="T83" fmla="*/ 98 h 1007"/>
                <a:gd name="T84" fmla="*/ 148 w 1006"/>
                <a:gd name="T85" fmla="*/ 148 h 10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" h="1007">
                  <a:moveTo>
                    <a:pt x="148" y="148"/>
                  </a:moveTo>
                  <a:lnTo>
                    <a:pt x="130" y="167"/>
                  </a:lnTo>
                  <a:lnTo>
                    <a:pt x="113" y="186"/>
                  </a:lnTo>
                  <a:lnTo>
                    <a:pt x="97" y="206"/>
                  </a:lnTo>
                  <a:lnTo>
                    <a:pt x="83" y="227"/>
                  </a:lnTo>
                  <a:lnTo>
                    <a:pt x="70" y="248"/>
                  </a:lnTo>
                  <a:lnTo>
                    <a:pt x="58" y="270"/>
                  </a:lnTo>
                  <a:lnTo>
                    <a:pt x="47" y="292"/>
                  </a:lnTo>
                  <a:lnTo>
                    <a:pt x="37" y="315"/>
                  </a:lnTo>
                  <a:lnTo>
                    <a:pt x="28" y="337"/>
                  </a:lnTo>
                  <a:lnTo>
                    <a:pt x="21" y="360"/>
                  </a:lnTo>
                  <a:lnTo>
                    <a:pt x="14" y="384"/>
                  </a:lnTo>
                  <a:lnTo>
                    <a:pt x="9" y="407"/>
                  </a:lnTo>
                  <a:lnTo>
                    <a:pt x="5" y="431"/>
                  </a:lnTo>
                  <a:lnTo>
                    <a:pt x="2" y="456"/>
                  </a:lnTo>
                  <a:lnTo>
                    <a:pt x="1" y="480"/>
                  </a:lnTo>
                  <a:lnTo>
                    <a:pt x="0" y="503"/>
                  </a:lnTo>
                  <a:lnTo>
                    <a:pt x="0" y="527"/>
                  </a:lnTo>
                  <a:lnTo>
                    <a:pt x="2" y="551"/>
                  </a:lnTo>
                  <a:lnTo>
                    <a:pt x="5" y="575"/>
                  </a:lnTo>
                  <a:lnTo>
                    <a:pt x="9" y="599"/>
                  </a:lnTo>
                  <a:lnTo>
                    <a:pt x="14" y="623"/>
                  </a:lnTo>
                  <a:lnTo>
                    <a:pt x="20" y="647"/>
                  </a:lnTo>
                  <a:lnTo>
                    <a:pt x="28" y="670"/>
                  </a:lnTo>
                  <a:lnTo>
                    <a:pt x="36" y="692"/>
                  </a:lnTo>
                  <a:lnTo>
                    <a:pt x="46" y="715"/>
                  </a:lnTo>
                  <a:lnTo>
                    <a:pt x="57" y="737"/>
                  </a:lnTo>
                  <a:lnTo>
                    <a:pt x="69" y="758"/>
                  </a:lnTo>
                  <a:lnTo>
                    <a:pt x="82" y="780"/>
                  </a:lnTo>
                  <a:lnTo>
                    <a:pt x="97" y="801"/>
                  </a:lnTo>
                  <a:lnTo>
                    <a:pt x="112" y="821"/>
                  </a:lnTo>
                  <a:lnTo>
                    <a:pt x="129" y="840"/>
                  </a:lnTo>
                  <a:lnTo>
                    <a:pt x="146" y="859"/>
                  </a:lnTo>
                  <a:lnTo>
                    <a:pt x="166" y="877"/>
                  </a:lnTo>
                  <a:lnTo>
                    <a:pt x="186" y="893"/>
                  </a:lnTo>
                  <a:lnTo>
                    <a:pt x="206" y="909"/>
                  </a:lnTo>
                  <a:lnTo>
                    <a:pt x="226" y="923"/>
                  </a:lnTo>
                  <a:lnTo>
                    <a:pt x="247" y="936"/>
                  </a:lnTo>
                  <a:lnTo>
                    <a:pt x="269" y="950"/>
                  </a:lnTo>
                  <a:lnTo>
                    <a:pt x="291" y="960"/>
                  </a:lnTo>
                  <a:lnTo>
                    <a:pt x="313" y="970"/>
                  </a:lnTo>
                  <a:lnTo>
                    <a:pt x="337" y="979"/>
                  </a:lnTo>
                  <a:lnTo>
                    <a:pt x="360" y="986"/>
                  </a:lnTo>
                  <a:lnTo>
                    <a:pt x="383" y="992"/>
                  </a:lnTo>
                  <a:lnTo>
                    <a:pt x="407" y="998"/>
                  </a:lnTo>
                  <a:lnTo>
                    <a:pt x="431" y="1002"/>
                  </a:lnTo>
                  <a:lnTo>
                    <a:pt x="454" y="1004"/>
                  </a:lnTo>
                  <a:lnTo>
                    <a:pt x="478" y="1006"/>
                  </a:lnTo>
                  <a:lnTo>
                    <a:pt x="502" y="1007"/>
                  </a:lnTo>
                  <a:lnTo>
                    <a:pt x="527" y="1006"/>
                  </a:lnTo>
                  <a:lnTo>
                    <a:pt x="551" y="1004"/>
                  </a:lnTo>
                  <a:lnTo>
                    <a:pt x="575" y="1002"/>
                  </a:lnTo>
                  <a:lnTo>
                    <a:pt x="599" y="998"/>
                  </a:lnTo>
                  <a:lnTo>
                    <a:pt x="622" y="992"/>
                  </a:lnTo>
                  <a:lnTo>
                    <a:pt x="646" y="986"/>
                  </a:lnTo>
                  <a:lnTo>
                    <a:pt x="669" y="979"/>
                  </a:lnTo>
                  <a:lnTo>
                    <a:pt x="693" y="970"/>
                  </a:lnTo>
                  <a:lnTo>
                    <a:pt x="715" y="960"/>
                  </a:lnTo>
                  <a:lnTo>
                    <a:pt x="737" y="950"/>
                  </a:lnTo>
                  <a:lnTo>
                    <a:pt x="759" y="936"/>
                  </a:lnTo>
                  <a:lnTo>
                    <a:pt x="780" y="923"/>
                  </a:lnTo>
                  <a:lnTo>
                    <a:pt x="800" y="909"/>
                  </a:lnTo>
                  <a:lnTo>
                    <a:pt x="820" y="893"/>
                  </a:lnTo>
                  <a:lnTo>
                    <a:pt x="840" y="877"/>
                  </a:lnTo>
                  <a:lnTo>
                    <a:pt x="859" y="859"/>
                  </a:lnTo>
                  <a:lnTo>
                    <a:pt x="877" y="840"/>
                  </a:lnTo>
                  <a:lnTo>
                    <a:pt x="894" y="821"/>
                  </a:lnTo>
                  <a:lnTo>
                    <a:pt x="909" y="801"/>
                  </a:lnTo>
                  <a:lnTo>
                    <a:pt x="924" y="780"/>
                  </a:lnTo>
                  <a:lnTo>
                    <a:pt x="937" y="758"/>
                  </a:lnTo>
                  <a:lnTo>
                    <a:pt x="949" y="737"/>
                  </a:lnTo>
                  <a:lnTo>
                    <a:pt x="960" y="715"/>
                  </a:lnTo>
                  <a:lnTo>
                    <a:pt x="969" y="692"/>
                  </a:lnTo>
                  <a:lnTo>
                    <a:pt x="978" y="670"/>
                  </a:lnTo>
                  <a:lnTo>
                    <a:pt x="985" y="647"/>
                  </a:lnTo>
                  <a:lnTo>
                    <a:pt x="992" y="623"/>
                  </a:lnTo>
                  <a:lnTo>
                    <a:pt x="997" y="599"/>
                  </a:lnTo>
                  <a:lnTo>
                    <a:pt x="1001" y="575"/>
                  </a:lnTo>
                  <a:lnTo>
                    <a:pt x="1004" y="551"/>
                  </a:lnTo>
                  <a:lnTo>
                    <a:pt x="1005" y="527"/>
                  </a:lnTo>
                  <a:lnTo>
                    <a:pt x="1006" y="503"/>
                  </a:lnTo>
                  <a:lnTo>
                    <a:pt x="1005" y="480"/>
                  </a:lnTo>
                  <a:lnTo>
                    <a:pt x="1004" y="456"/>
                  </a:lnTo>
                  <a:lnTo>
                    <a:pt x="1001" y="431"/>
                  </a:lnTo>
                  <a:lnTo>
                    <a:pt x="997" y="407"/>
                  </a:lnTo>
                  <a:lnTo>
                    <a:pt x="992" y="384"/>
                  </a:lnTo>
                  <a:lnTo>
                    <a:pt x="985" y="360"/>
                  </a:lnTo>
                  <a:lnTo>
                    <a:pt x="978" y="337"/>
                  </a:lnTo>
                  <a:lnTo>
                    <a:pt x="969" y="315"/>
                  </a:lnTo>
                  <a:lnTo>
                    <a:pt x="960" y="292"/>
                  </a:lnTo>
                  <a:lnTo>
                    <a:pt x="949" y="270"/>
                  </a:lnTo>
                  <a:lnTo>
                    <a:pt x="937" y="248"/>
                  </a:lnTo>
                  <a:lnTo>
                    <a:pt x="924" y="227"/>
                  </a:lnTo>
                  <a:lnTo>
                    <a:pt x="909" y="206"/>
                  </a:lnTo>
                  <a:lnTo>
                    <a:pt x="894" y="186"/>
                  </a:lnTo>
                  <a:lnTo>
                    <a:pt x="877" y="167"/>
                  </a:lnTo>
                  <a:lnTo>
                    <a:pt x="859" y="148"/>
                  </a:lnTo>
                  <a:lnTo>
                    <a:pt x="840" y="130"/>
                  </a:lnTo>
                  <a:lnTo>
                    <a:pt x="820" y="114"/>
                  </a:lnTo>
                  <a:lnTo>
                    <a:pt x="800" y="98"/>
                  </a:lnTo>
                  <a:lnTo>
                    <a:pt x="780" y="83"/>
                  </a:lnTo>
                  <a:lnTo>
                    <a:pt x="759" y="70"/>
                  </a:lnTo>
                  <a:lnTo>
                    <a:pt x="737" y="58"/>
                  </a:lnTo>
                  <a:lnTo>
                    <a:pt x="715" y="47"/>
                  </a:lnTo>
                  <a:lnTo>
                    <a:pt x="693" y="37"/>
                  </a:lnTo>
                  <a:lnTo>
                    <a:pt x="669" y="28"/>
                  </a:lnTo>
                  <a:lnTo>
                    <a:pt x="646" y="21"/>
                  </a:lnTo>
                  <a:lnTo>
                    <a:pt x="622" y="15"/>
                  </a:lnTo>
                  <a:lnTo>
                    <a:pt x="599" y="9"/>
                  </a:lnTo>
                  <a:lnTo>
                    <a:pt x="575" y="5"/>
                  </a:lnTo>
                  <a:lnTo>
                    <a:pt x="551" y="2"/>
                  </a:lnTo>
                  <a:lnTo>
                    <a:pt x="527" y="1"/>
                  </a:lnTo>
                  <a:lnTo>
                    <a:pt x="503" y="0"/>
                  </a:lnTo>
                  <a:lnTo>
                    <a:pt x="479" y="1"/>
                  </a:lnTo>
                  <a:lnTo>
                    <a:pt x="455" y="2"/>
                  </a:lnTo>
                  <a:lnTo>
                    <a:pt x="431" y="5"/>
                  </a:lnTo>
                  <a:lnTo>
                    <a:pt x="407" y="9"/>
                  </a:lnTo>
                  <a:lnTo>
                    <a:pt x="384" y="15"/>
                  </a:lnTo>
                  <a:lnTo>
                    <a:pt x="360" y="21"/>
                  </a:lnTo>
                  <a:lnTo>
                    <a:pt x="337" y="28"/>
                  </a:lnTo>
                  <a:lnTo>
                    <a:pt x="314" y="37"/>
                  </a:lnTo>
                  <a:lnTo>
                    <a:pt x="291" y="47"/>
                  </a:lnTo>
                  <a:lnTo>
                    <a:pt x="269" y="58"/>
                  </a:lnTo>
                  <a:lnTo>
                    <a:pt x="248" y="70"/>
                  </a:lnTo>
                  <a:lnTo>
                    <a:pt x="227" y="83"/>
                  </a:lnTo>
                  <a:lnTo>
                    <a:pt x="206" y="98"/>
                  </a:lnTo>
                  <a:lnTo>
                    <a:pt x="186" y="114"/>
                  </a:lnTo>
                  <a:lnTo>
                    <a:pt x="167" y="130"/>
                  </a:lnTo>
                  <a:lnTo>
                    <a:pt x="148" y="1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02" name="îṣliḑê">
              <a:extLst>
                <a:ext uri="{FF2B5EF4-FFF2-40B4-BE49-F238E27FC236}">
                  <a16:creationId xmlns:a16="http://schemas.microsoft.com/office/drawing/2014/main" id="{173EEE11-D37C-4D95-90AA-5C3B6687EE17}"/>
                </a:ext>
              </a:extLst>
            </p:cNvPr>
            <p:cNvSpPr/>
            <p:nvPr/>
          </p:nvSpPr>
          <p:spPr bwMode="auto">
            <a:xfrm>
              <a:off x="2430352" y="1319588"/>
              <a:ext cx="38068" cy="38069"/>
            </a:xfrm>
            <a:custGeom>
              <a:avLst/>
              <a:gdLst>
                <a:gd name="T0" fmla="*/ 113 w 1006"/>
                <a:gd name="T1" fmla="*/ 186 h 1006"/>
                <a:gd name="T2" fmla="*/ 69 w 1006"/>
                <a:gd name="T3" fmla="*/ 248 h 1006"/>
                <a:gd name="T4" fmla="*/ 37 w 1006"/>
                <a:gd name="T5" fmla="*/ 314 h 1006"/>
                <a:gd name="T6" fmla="*/ 14 w 1006"/>
                <a:gd name="T7" fmla="*/ 383 h 1006"/>
                <a:gd name="T8" fmla="*/ 2 w 1006"/>
                <a:gd name="T9" fmla="*/ 455 h 1006"/>
                <a:gd name="T10" fmla="*/ 1 w 1006"/>
                <a:gd name="T11" fmla="*/ 527 h 1006"/>
                <a:gd name="T12" fmla="*/ 9 w 1006"/>
                <a:gd name="T13" fmla="*/ 600 h 1006"/>
                <a:gd name="T14" fmla="*/ 28 w 1006"/>
                <a:gd name="T15" fmla="*/ 669 h 1006"/>
                <a:gd name="T16" fmla="*/ 57 w 1006"/>
                <a:gd name="T17" fmla="*/ 737 h 1006"/>
                <a:gd name="T18" fmla="*/ 97 w 1006"/>
                <a:gd name="T19" fmla="*/ 801 h 1006"/>
                <a:gd name="T20" fmla="*/ 148 w 1006"/>
                <a:gd name="T21" fmla="*/ 859 h 1006"/>
                <a:gd name="T22" fmla="*/ 206 w 1006"/>
                <a:gd name="T23" fmla="*/ 908 h 1006"/>
                <a:gd name="T24" fmla="*/ 269 w 1006"/>
                <a:gd name="T25" fmla="*/ 949 h 1006"/>
                <a:gd name="T26" fmla="*/ 337 w 1006"/>
                <a:gd name="T27" fmla="*/ 978 h 1006"/>
                <a:gd name="T28" fmla="*/ 407 w 1006"/>
                <a:gd name="T29" fmla="*/ 997 h 1006"/>
                <a:gd name="T30" fmla="*/ 479 w 1006"/>
                <a:gd name="T31" fmla="*/ 1006 h 1006"/>
                <a:gd name="T32" fmla="*/ 551 w 1006"/>
                <a:gd name="T33" fmla="*/ 1004 h 1006"/>
                <a:gd name="T34" fmla="*/ 622 w 1006"/>
                <a:gd name="T35" fmla="*/ 992 h 1006"/>
                <a:gd name="T36" fmla="*/ 692 w 1006"/>
                <a:gd name="T37" fmla="*/ 970 h 1006"/>
                <a:gd name="T38" fmla="*/ 758 w 1006"/>
                <a:gd name="T39" fmla="*/ 937 h 1006"/>
                <a:gd name="T40" fmla="*/ 821 w 1006"/>
                <a:gd name="T41" fmla="*/ 893 h 1006"/>
                <a:gd name="T42" fmla="*/ 876 w 1006"/>
                <a:gd name="T43" fmla="*/ 840 h 1006"/>
                <a:gd name="T44" fmla="*/ 923 w 1006"/>
                <a:gd name="T45" fmla="*/ 780 h 1006"/>
                <a:gd name="T46" fmla="*/ 959 w 1006"/>
                <a:gd name="T47" fmla="*/ 714 h 1006"/>
                <a:gd name="T48" fmla="*/ 986 w 1006"/>
                <a:gd name="T49" fmla="*/ 646 h 1006"/>
                <a:gd name="T50" fmla="*/ 1001 w 1006"/>
                <a:gd name="T51" fmla="*/ 576 h 1006"/>
                <a:gd name="T52" fmla="*/ 1006 w 1006"/>
                <a:gd name="T53" fmla="*/ 503 h 1006"/>
                <a:gd name="T54" fmla="*/ 1001 w 1006"/>
                <a:gd name="T55" fmla="*/ 431 h 1006"/>
                <a:gd name="T56" fmla="*/ 986 w 1006"/>
                <a:gd name="T57" fmla="*/ 360 h 1006"/>
                <a:gd name="T58" fmla="*/ 959 w 1006"/>
                <a:gd name="T59" fmla="*/ 292 h 1006"/>
                <a:gd name="T60" fmla="*/ 923 w 1006"/>
                <a:gd name="T61" fmla="*/ 226 h 1006"/>
                <a:gd name="T62" fmla="*/ 876 w 1006"/>
                <a:gd name="T63" fmla="*/ 166 h 1006"/>
                <a:gd name="T64" fmla="*/ 821 w 1006"/>
                <a:gd name="T65" fmla="*/ 113 h 1006"/>
                <a:gd name="T66" fmla="*/ 758 w 1006"/>
                <a:gd name="T67" fmla="*/ 70 h 1006"/>
                <a:gd name="T68" fmla="*/ 692 w 1006"/>
                <a:gd name="T69" fmla="*/ 37 h 1006"/>
                <a:gd name="T70" fmla="*/ 622 w 1006"/>
                <a:gd name="T71" fmla="*/ 14 h 1006"/>
                <a:gd name="T72" fmla="*/ 551 w 1006"/>
                <a:gd name="T73" fmla="*/ 2 h 1006"/>
                <a:gd name="T74" fmla="*/ 479 w 1006"/>
                <a:gd name="T75" fmla="*/ 1 h 1006"/>
                <a:gd name="T76" fmla="*/ 407 w 1006"/>
                <a:gd name="T77" fmla="*/ 9 h 1006"/>
                <a:gd name="T78" fmla="*/ 337 w 1006"/>
                <a:gd name="T79" fmla="*/ 28 h 1006"/>
                <a:gd name="T80" fmla="*/ 269 w 1006"/>
                <a:gd name="T81" fmla="*/ 57 h 1006"/>
                <a:gd name="T82" fmla="*/ 206 w 1006"/>
                <a:gd name="T83" fmla="*/ 98 h 1006"/>
                <a:gd name="T84" fmla="*/ 148 w 1006"/>
                <a:gd name="T85" fmla="*/ 148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" h="1006">
                  <a:moveTo>
                    <a:pt x="148" y="148"/>
                  </a:moveTo>
                  <a:lnTo>
                    <a:pt x="130" y="166"/>
                  </a:lnTo>
                  <a:lnTo>
                    <a:pt x="113" y="186"/>
                  </a:lnTo>
                  <a:lnTo>
                    <a:pt x="97" y="206"/>
                  </a:lnTo>
                  <a:lnTo>
                    <a:pt x="83" y="226"/>
                  </a:lnTo>
                  <a:lnTo>
                    <a:pt x="69" y="248"/>
                  </a:lnTo>
                  <a:lnTo>
                    <a:pt x="57" y="270"/>
                  </a:lnTo>
                  <a:lnTo>
                    <a:pt x="46" y="292"/>
                  </a:lnTo>
                  <a:lnTo>
                    <a:pt x="37" y="314"/>
                  </a:lnTo>
                  <a:lnTo>
                    <a:pt x="28" y="337"/>
                  </a:lnTo>
                  <a:lnTo>
                    <a:pt x="21" y="360"/>
                  </a:lnTo>
                  <a:lnTo>
                    <a:pt x="14" y="383"/>
                  </a:lnTo>
                  <a:lnTo>
                    <a:pt x="9" y="408"/>
                  </a:lnTo>
                  <a:lnTo>
                    <a:pt x="5" y="431"/>
                  </a:lnTo>
                  <a:lnTo>
                    <a:pt x="2" y="455"/>
                  </a:lnTo>
                  <a:lnTo>
                    <a:pt x="1" y="479"/>
                  </a:lnTo>
                  <a:lnTo>
                    <a:pt x="0" y="503"/>
                  </a:lnTo>
                  <a:lnTo>
                    <a:pt x="1" y="527"/>
                  </a:lnTo>
                  <a:lnTo>
                    <a:pt x="2" y="551"/>
                  </a:lnTo>
                  <a:lnTo>
                    <a:pt x="5" y="576"/>
                  </a:lnTo>
                  <a:lnTo>
                    <a:pt x="9" y="600"/>
                  </a:lnTo>
                  <a:lnTo>
                    <a:pt x="14" y="623"/>
                  </a:lnTo>
                  <a:lnTo>
                    <a:pt x="21" y="646"/>
                  </a:lnTo>
                  <a:lnTo>
                    <a:pt x="28" y="669"/>
                  </a:lnTo>
                  <a:lnTo>
                    <a:pt x="37" y="692"/>
                  </a:lnTo>
                  <a:lnTo>
                    <a:pt x="46" y="714"/>
                  </a:lnTo>
                  <a:lnTo>
                    <a:pt x="57" y="737"/>
                  </a:lnTo>
                  <a:lnTo>
                    <a:pt x="69" y="759"/>
                  </a:lnTo>
                  <a:lnTo>
                    <a:pt x="83" y="780"/>
                  </a:lnTo>
                  <a:lnTo>
                    <a:pt x="97" y="801"/>
                  </a:lnTo>
                  <a:lnTo>
                    <a:pt x="113" y="821"/>
                  </a:lnTo>
                  <a:lnTo>
                    <a:pt x="130" y="840"/>
                  </a:lnTo>
                  <a:lnTo>
                    <a:pt x="148" y="859"/>
                  </a:lnTo>
                  <a:lnTo>
                    <a:pt x="166" y="876"/>
                  </a:lnTo>
                  <a:lnTo>
                    <a:pt x="186" y="893"/>
                  </a:lnTo>
                  <a:lnTo>
                    <a:pt x="206" y="908"/>
                  </a:lnTo>
                  <a:lnTo>
                    <a:pt x="226" y="924"/>
                  </a:lnTo>
                  <a:lnTo>
                    <a:pt x="247" y="937"/>
                  </a:lnTo>
                  <a:lnTo>
                    <a:pt x="269" y="949"/>
                  </a:lnTo>
                  <a:lnTo>
                    <a:pt x="292" y="960"/>
                  </a:lnTo>
                  <a:lnTo>
                    <a:pt x="314" y="970"/>
                  </a:lnTo>
                  <a:lnTo>
                    <a:pt x="337" y="978"/>
                  </a:lnTo>
                  <a:lnTo>
                    <a:pt x="360" y="986"/>
                  </a:lnTo>
                  <a:lnTo>
                    <a:pt x="383" y="992"/>
                  </a:lnTo>
                  <a:lnTo>
                    <a:pt x="407" y="997"/>
                  </a:lnTo>
                  <a:lnTo>
                    <a:pt x="430" y="1001"/>
                  </a:lnTo>
                  <a:lnTo>
                    <a:pt x="455" y="1004"/>
                  </a:lnTo>
                  <a:lnTo>
                    <a:pt x="479" y="1006"/>
                  </a:lnTo>
                  <a:lnTo>
                    <a:pt x="503" y="1006"/>
                  </a:lnTo>
                  <a:lnTo>
                    <a:pt x="527" y="1006"/>
                  </a:lnTo>
                  <a:lnTo>
                    <a:pt x="551" y="1004"/>
                  </a:lnTo>
                  <a:lnTo>
                    <a:pt x="575" y="1001"/>
                  </a:lnTo>
                  <a:lnTo>
                    <a:pt x="599" y="997"/>
                  </a:lnTo>
                  <a:lnTo>
                    <a:pt x="622" y="992"/>
                  </a:lnTo>
                  <a:lnTo>
                    <a:pt x="646" y="986"/>
                  </a:lnTo>
                  <a:lnTo>
                    <a:pt x="669" y="978"/>
                  </a:lnTo>
                  <a:lnTo>
                    <a:pt x="692" y="970"/>
                  </a:lnTo>
                  <a:lnTo>
                    <a:pt x="714" y="960"/>
                  </a:lnTo>
                  <a:lnTo>
                    <a:pt x="737" y="949"/>
                  </a:lnTo>
                  <a:lnTo>
                    <a:pt x="758" y="937"/>
                  </a:lnTo>
                  <a:lnTo>
                    <a:pt x="779" y="924"/>
                  </a:lnTo>
                  <a:lnTo>
                    <a:pt x="800" y="908"/>
                  </a:lnTo>
                  <a:lnTo>
                    <a:pt x="821" y="893"/>
                  </a:lnTo>
                  <a:lnTo>
                    <a:pt x="840" y="876"/>
                  </a:lnTo>
                  <a:lnTo>
                    <a:pt x="859" y="859"/>
                  </a:lnTo>
                  <a:lnTo>
                    <a:pt x="876" y="840"/>
                  </a:lnTo>
                  <a:lnTo>
                    <a:pt x="893" y="821"/>
                  </a:lnTo>
                  <a:lnTo>
                    <a:pt x="908" y="801"/>
                  </a:lnTo>
                  <a:lnTo>
                    <a:pt x="923" y="780"/>
                  </a:lnTo>
                  <a:lnTo>
                    <a:pt x="936" y="759"/>
                  </a:lnTo>
                  <a:lnTo>
                    <a:pt x="948" y="737"/>
                  </a:lnTo>
                  <a:lnTo>
                    <a:pt x="959" y="714"/>
                  </a:lnTo>
                  <a:lnTo>
                    <a:pt x="969" y="692"/>
                  </a:lnTo>
                  <a:lnTo>
                    <a:pt x="977" y="669"/>
                  </a:lnTo>
                  <a:lnTo>
                    <a:pt x="986" y="646"/>
                  </a:lnTo>
                  <a:lnTo>
                    <a:pt x="992" y="623"/>
                  </a:lnTo>
                  <a:lnTo>
                    <a:pt x="997" y="600"/>
                  </a:lnTo>
                  <a:lnTo>
                    <a:pt x="1001" y="576"/>
                  </a:lnTo>
                  <a:lnTo>
                    <a:pt x="1004" y="551"/>
                  </a:lnTo>
                  <a:lnTo>
                    <a:pt x="1006" y="527"/>
                  </a:lnTo>
                  <a:lnTo>
                    <a:pt x="1006" y="503"/>
                  </a:lnTo>
                  <a:lnTo>
                    <a:pt x="1006" y="479"/>
                  </a:lnTo>
                  <a:lnTo>
                    <a:pt x="1004" y="455"/>
                  </a:lnTo>
                  <a:lnTo>
                    <a:pt x="1001" y="431"/>
                  </a:lnTo>
                  <a:lnTo>
                    <a:pt x="997" y="408"/>
                  </a:lnTo>
                  <a:lnTo>
                    <a:pt x="992" y="383"/>
                  </a:lnTo>
                  <a:lnTo>
                    <a:pt x="986" y="360"/>
                  </a:lnTo>
                  <a:lnTo>
                    <a:pt x="977" y="337"/>
                  </a:lnTo>
                  <a:lnTo>
                    <a:pt x="969" y="314"/>
                  </a:lnTo>
                  <a:lnTo>
                    <a:pt x="959" y="292"/>
                  </a:lnTo>
                  <a:lnTo>
                    <a:pt x="948" y="270"/>
                  </a:lnTo>
                  <a:lnTo>
                    <a:pt x="936" y="248"/>
                  </a:lnTo>
                  <a:lnTo>
                    <a:pt x="923" y="226"/>
                  </a:lnTo>
                  <a:lnTo>
                    <a:pt x="908" y="206"/>
                  </a:lnTo>
                  <a:lnTo>
                    <a:pt x="893" y="186"/>
                  </a:lnTo>
                  <a:lnTo>
                    <a:pt x="876" y="166"/>
                  </a:lnTo>
                  <a:lnTo>
                    <a:pt x="859" y="148"/>
                  </a:lnTo>
                  <a:lnTo>
                    <a:pt x="840" y="130"/>
                  </a:lnTo>
                  <a:lnTo>
                    <a:pt x="821" y="113"/>
                  </a:lnTo>
                  <a:lnTo>
                    <a:pt x="800" y="98"/>
                  </a:lnTo>
                  <a:lnTo>
                    <a:pt x="779" y="84"/>
                  </a:lnTo>
                  <a:lnTo>
                    <a:pt x="758" y="70"/>
                  </a:lnTo>
                  <a:lnTo>
                    <a:pt x="737" y="57"/>
                  </a:lnTo>
                  <a:lnTo>
                    <a:pt x="714" y="46"/>
                  </a:lnTo>
                  <a:lnTo>
                    <a:pt x="692" y="37"/>
                  </a:lnTo>
                  <a:lnTo>
                    <a:pt x="669" y="28"/>
                  </a:lnTo>
                  <a:lnTo>
                    <a:pt x="646" y="21"/>
                  </a:lnTo>
                  <a:lnTo>
                    <a:pt x="622" y="14"/>
                  </a:lnTo>
                  <a:lnTo>
                    <a:pt x="599" y="9"/>
                  </a:lnTo>
                  <a:lnTo>
                    <a:pt x="575" y="5"/>
                  </a:lnTo>
                  <a:lnTo>
                    <a:pt x="551" y="2"/>
                  </a:lnTo>
                  <a:lnTo>
                    <a:pt x="527" y="1"/>
                  </a:lnTo>
                  <a:lnTo>
                    <a:pt x="503" y="0"/>
                  </a:lnTo>
                  <a:lnTo>
                    <a:pt x="479" y="1"/>
                  </a:lnTo>
                  <a:lnTo>
                    <a:pt x="455" y="2"/>
                  </a:lnTo>
                  <a:lnTo>
                    <a:pt x="430" y="5"/>
                  </a:lnTo>
                  <a:lnTo>
                    <a:pt x="407" y="9"/>
                  </a:lnTo>
                  <a:lnTo>
                    <a:pt x="383" y="14"/>
                  </a:lnTo>
                  <a:lnTo>
                    <a:pt x="360" y="21"/>
                  </a:lnTo>
                  <a:lnTo>
                    <a:pt x="337" y="28"/>
                  </a:lnTo>
                  <a:lnTo>
                    <a:pt x="314" y="37"/>
                  </a:lnTo>
                  <a:lnTo>
                    <a:pt x="292" y="46"/>
                  </a:lnTo>
                  <a:lnTo>
                    <a:pt x="269" y="57"/>
                  </a:lnTo>
                  <a:lnTo>
                    <a:pt x="247" y="70"/>
                  </a:lnTo>
                  <a:lnTo>
                    <a:pt x="226" y="84"/>
                  </a:lnTo>
                  <a:lnTo>
                    <a:pt x="206" y="98"/>
                  </a:lnTo>
                  <a:lnTo>
                    <a:pt x="186" y="113"/>
                  </a:lnTo>
                  <a:lnTo>
                    <a:pt x="166" y="130"/>
                  </a:lnTo>
                  <a:lnTo>
                    <a:pt x="148" y="1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03" name="ïsļîḍé">
              <a:extLst>
                <a:ext uri="{FF2B5EF4-FFF2-40B4-BE49-F238E27FC236}">
                  <a16:creationId xmlns:a16="http://schemas.microsoft.com/office/drawing/2014/main" id="{3B23FF90-A6C4-4478-A9A2-9817BB4ECF56}"/>
                </a:ext>
              </a:extLst>
            </p:cNvPr>
            <p:cNvSpPr/>
            <p:nvPr/>
          </p:nvSpPr>
          <p:spPr bwMode="auto">
            <a:xfrm>
              <a:off x="2176560" y="950179"/>
              <a:ext cx="421577" cy="613332"/>
            </a:xfrm>
            <a:custGeom>
              <a:avLst/>
              <a:gdLst>
                <a:gd name="T0" fmla="*/ 3286 w 11063"/>
                <a:gd name="T1" fmla="*/ 11674 h 16095"/>
                <a:gd name="T2" fmla="*/ 1806 w 11063"/>
                <a:gd name="T3" fmla="*/ 10454 h 16095"/>
                <a:gd name="T4" fmla="*/ 1052 w 11063"/>
                <a:gd name="T5" fmla="*/ 8659 h 16095"/>
                <a:gd name="T6" fmla="*/ 1250 w 11063"/>
                <a:gd name="T7" fmla="*/ 6665 h 16095"/>
                <a:gd name="T8" fmla="*/ 2325 w 11063"/>
                <a:gd name="T9" fmla="*/ 5070 h 16095"/>
                <a:gd name="T10" fmla="*/ 4024 w 11063"/>
                <a:gd name="T11" fmla="*/ 4150 h 16095"/>
                <a:gd name="T12" fmla="*/ 6032 w 11063"/>
                <a:gd name="T13" fmla="*/ 4150 h 16095"/>
                <a:gd name="T14" fmla="*/ 7732 w 11063"/>
                <a:gd name="T15" fmla="*/ 5070 h 16095"/>
                <a:gd name="T16" fmla="*/ 8807 w 11063"/>
                <a:gd name="T17" fmla="*/ 6665 h 16095"/>
                <a:gd name="T18" fmla="*/ 9005 w 11063"/>
                <a:gd name="T19" fmla="*/ 8659 h 16095"/>
                <a:gd name="T20" fmla="*/ 8251 w 11063"/>
                <a:gd name="T21" fmla="*/ 10454 h 16095"/>
                <a:gd name="T22" fmla="*/ 6771 w 11063"/>
                <a:gd name="T23" fmla="*/ 11674 h 16095"/>
                <a:gd name="T24" fmla="*/ 7040 w 11063"/>
                <a:gd name="T25" fmla="*/ 15089 h 16095"/>
                <a:gd name="T26" fmla="*/ 3091 w 11063"/>
                <a:gd name="T27" fmla="*/ 12671 h 16095"/>
                <a:gd name="T28" fmla="*/ 3863 w 11063"/>
                <a:gd name="T29" fmla="*/ 12932 h 16095"/>
                <a:gd name="T30" fmla="*/ 4687 w 11063"/>
                <a:gd name="T31" fmla="*/ 13065 h 16095"/>
                <a:gd name="T32" fmla="*/ 5539 w 11063"/>
                <a:gd name="T33" fmla="*/ 13050 h 16095"/>
                <a:gd name="T34" fmla="*/ 6352 w 11063"/>
                <a:gd name="T35" fmla="*/ 12890 h 16095"/>
                <a:gd name="T36" fmla="*/ 7114 w 11063"/>
                <a:gd name="T37" fmla="*/ 12604 h 16095"/>
                <a:gd name="T38" fmla="*/ 7595 w 11063"/>
                <a:gd name="T39" fmla="*/ 3715 h 16095"/>
                <a:gd name="T40" fmla="*/ 6868 w 11063"/>
                <a:gd name="T41" fmla="*/ 3362 h 16095"/>
                <a:gd name="T42" fmla="*/ 6086 w 11063"/>
                <a:gd name="T43" fmla="*/ 3124 h 16095"/>
                <a:gd name="T44" fmla="*/ 5253 w 11063"/>
                <a:gd name="T45" fmla="*/ 3021 h 16095"/>
                <a:gd name="T46" fmla="*/ 4404 w 11063"/>
                <a:gd name="T47" fmla="*/ 3066 h 16095"/>
                <a:gd name="T48" fmla="*/ 3601 w 11063"/>
                <a:gd name="T49" fmla="*/ 3252 h 16095"/>
                <a:gd name="T50" fmla="*/ 2850 w 11063"/>
                <a:gd name="T51" fmla="*/ 3561 h 16095"/>
                <a:gd name="T52" fmla="*/ 10007 w 11063"/>
                <a:gd name="T53" fmla="*/ 7051 h 16095"/>
                <a:gd name="T54" fmla="*/ 9835 w 11063"/>
                <a:gd name="T55" fmla="*/ 6578 h 16095"/>
                <a:gd name="T56" fmla="*/ 9527 w 11063"/>
                <a:gd name="T57" fmla="*/ 5820 h 16095"/>
                <a:gd name="T58" fmla="*/ 9105 w 11063"/>
                <a:gd name="T59" fmla="*/ 5129 h 16095"/>
                <a:gd name="T60" fmla="*/ 8048 w 11063"/>
                <a:gd name="T61" fmla="*/ 691 h 16095"/>
                <a:gd name="T62" fmla="*/ 7829 w 11063"/>
                <a:gd name="T63" fmla="*/ 321 h 16095"/>
                <a:gd name="T64" fmla="*/ 7480 w 11063"/>
                <a:gd name="T65" fmla="*/ 77 h 16095"/>
                <a:gd name="T66" fmla="*/ 3069 w 11063"/>
                <a:gd name="T67" fmla="*/ 0 h 16095"/>
                <a:gd name="T68" fmla="*/ 2643 w 11063"/>
                <a:gd name="T69" fmla="*/ 95 h 16095"/>
                <a:gd name="T70" fmla="*/ 2305 w 11063"/>
                <a:gd name="T71" fmla="*/ 352 h 16095"/>
                <a:gd name="T72" fmla="*/ 2101 w 11063"/>
                <a:gd name="T73" fmla="*/ 734 h 16095"/>
                <a:gd name="T74" fmla="*/ 869 w 11063"/>
                <a:gd name="T75" fmla="*/ 5250 h 16095"/>
                <a:gd name="T76" fmla="*/ 328 w 11063"/>
                <a:gd name="T77" fmla="*/ 6280 h 16095"/>
                <a:gd name="T78" fmla="*/ 38 w 11063"/>
                <a:gd name="T79" fmla="*/ 7434 h 16095"/>
                <a:gd name="T80" fmla="*/ 36 w 11063"/>
                <a:gd name="T81" fmla="*/ 8646 h 16095"/>
                <a:gd name="T82" fmla="*/ 315 w 11063"/>
                <a:gd name="T83" fmla="*/ 9773 h 16095"/>
                <a:gd name="T84" fmla="*/ 833 w 11063"/>
                <a:gd name="T85" fmla="*/ 10783 h 16095"/>
                <a:gd name="T86" fmla="*/ 2049 w 11063"/>
                <a:gd name="T87" fmla="*/ 15361 h 16095"/>
                <a:gd name="T88" fmla="*/ 2252 w 11063"/>
                <a:gd name="T89" fmla="*/ 15742 h 16095"/>
                <a:gd name="T90" fmla="*/ 2591 w 11063"/>
                <a:gd name="T91" fmla="*/ 16000 h 16095"/>
                <a:gd name="T92" fmla="*/ 3017 w 11063"/>
                <a:gd name="T93" fmla="*/ 16095 h 16095"/>
                <a:gd name="T94" fmla="*/ 7426 w 11063"/>
                <a:gd name="T95" fmla="*/ 16018 h 16095"/>
                <a:gd name="T96" fmla="*/ 7776 w 11063"/>
                <a:gd name="T97" fmla="*/ 15774 h 16095"/>
                <a:gd name="T98" fmla="*/ 7996 w 11063"/>
                <a:gd name="T99" fmla="*/ 15403 h 16095"/>
                <a:gd name="T100" fmla="*/ 9064 w 11063"/>
                <a:gd name="T101" fmla="*/ 11023 h 16095"/>
                <a:gd name="T102" fmla="*/ 9508 w 11063"/>
                <a:gd name="T103" fmla="*/ 10314 h 16095"/>
                <a:gd name="T104" fmla="*/ 9830 w 11063"/>
                <a:gd name="T105" fmla="*/ 9532 h 16095"/>
                <a:gd name="T106" fmla="*/ 10007 w 11063"/>
                <a:gd name="T107" fmla="*/ 9044 h 16095"/>
                <a:gd name="T108" fmla="*/ 10356 w 11063"/>
                <a:gd name="T109" fmla="*/ 9008 h 16095"/>
                <a:gd name="T110" fmla="*/ 10768 w 11063"/>
                <a:gd name="T111" fmla="*/ 8759 h 16095"/>
                <a:gd name="T112" fmla="*/ 11018 w 11063"/>
                <a:gd name="T113" fmla="*/ 8346 h 16095"/>
                <a:gd name="T114" fmla="*/ 11043 w 11063"/>
                <a:gd name="T115" fmla="*/ 7845 h 16095"/>
                <a:gd name="T116" fmla="*/ 10834 w 11063"/>
                <a:gd name="T117" fmla="*/ 7408 h 16095"/>
                <a:gd name="T118" fmla="*/ 10449 w 11063"/>
                <a:gd name="T119" fmla="*/ 7121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063" h="16095">
                  <a:moveTo>
                    <a:pt x="5029" y="12071"/>
                  </a:moveTo>
                  <a:lnTo>
                    <a:pt x="4821" y="12066"/>
                  </a:lnTo>
                  <a:lnTo>
                    <a:pt x="4618" y="12050"/>
                  </a:lnTo>
                  <a:lnTo>
                    <a:pt x="4417" y="12025"/>
                  </a:lnTo>
                  <a:lnTo>
                    <a:pt x="4219" y="11990"/>
                  </a:lnTo>
                  <a:lnTo>
                    <a:pt x="4024" y="11945"/>
                  </a:lnTo>
                  <a:lnTo>
                    <a:pt x="3834" y="11890"/>
                  </a:lnTo>
                  <a:lnTo>
                    <a:pt x="3647" y="11827"/>
                  </a:lnTo>
                  <a:lnTo>
                    <a:pt x="3464" y="11754"/>
                  </a:lnTo>
                  <a:lnTo>
                    <a:pt x="3286" y="11674"/>
                  </a:lnTo>
                  <a:lnTo>
                    <a:pt x="3113" y="11584"/>
                  </a:lnTo>
                  <a:lnTo>
                    <a:pt x="2944" y="11488"/>
                  </a:lnTo>
                  <a:lnTo>
                    <a:pt x="2781" y="11383"/>
                  </a:lnTo>
                  <a:lnTo>
                    <a:pt x="2623" y="11271"/>
                  </a:lnTo>
                  <a:lnTo>
                    <a:pt x="2471" y="11151"/>
                  </a:lnTo>
                  <a:lnTo>
                    <a:pt x="2325" y="11024"/>
                  </a:lnTo>
                  <a:lnTo>
                    <a:pt x="2185" y="10891"/>
                  </a:lnTo>
                  <a:lnTo>
                    <a:pt x="2052" y="10751"/>
                  </a:lnTo>
                  <a:lnTo>
                    <a:pt x="1925" y="10606"/>
                  </a:lnTo>
                  <a:lnTo>
                    <a:pt x="1806" y="10454"/>
                  </a:lnTo>
                  <a:lnTo>
                    <a:pt x="1694" y="10296"/>
                  </a:lnTo>
                  <a:lnTo>
                    <a:pt x="1589" y="10132"/>
                  </a:lnTo>
                  <a:lnTo>
                    <a:pt x="1491" y="9964"/>
                  </a:lnTo>
                  <a:lnTo>
                    <a:pt x="1403" y="9790"/>
                  </a:lnTo>
                  <a:lnTo>
                    <a:pt x="1323" y="9612"/>
                  </a:lnTo>
                  <a:lnTo>
                    <a:pt x="1250" y="9430"/>
                  </a:lnTo>
                  <a:lnTo>
                    <a:pt x="1187" y="9243"/>
                  </a:lnTo>
                  <a:lnTo>
                    <a:pt x="1132" y="9051"/>
                  </a:lnTo>
                  <a:lnTo>
                    <a:pt x="1087" y="8857"/>
                  </a:lnTo>
                  <a:lnTo>
                    <a:pt x="1052" y="8659"/>
                  </a:lnTo>
                  <a:lnTo>
                    <a:pt x="1027" y="8458"/>
                  </a:lnTo>
                  <a:lnTo>
                    <a:pt x="1011" y="8255"/>
                  </a:lnTo>
                  <a:lnTo>
                    <a:pt x="1006" y="8048"/>
                  </a:lnTo>
                  <a:lnTo>
                    <a:pt x="1011" y="7841"/>
                  </a:lnTo>
                  <a:lnTo>
                    <a:pt x="1027" y="7637"/>
                  </a:lnTo>
                  <a:lnTo>
                    <a:pt x="1052" y="7436"/>
                  </a:lnTo>
                  <a:lnTo>
                    <a:pt x="1087" y="7238"/>
                  </a:lnTo>
                  <a:lnTo>
                    <a:pt x="1132" y="7043"/>
                  </a:lnTo>
                  <a:lnTo>
                    <a:pt x="1187" y="6852"/>
                  </a:lnTo>
                  <a:lnTo>
                    <a:pt x="1250" y="6665"/>
                  </a:lnTo>
                  <a:lnTo>
                    <a:pt x="1323" y="6482"/>
                  </a:lnTo>
                  <a:lnTo>
                    <a:pt x="1403" y="6304"/>
                  </a:lnTo>
                  <a:lnTo>
                    <a:pt x="1491" y="6131"/>
                  </a:lnTo>
                  <a:lnTo>
                    <a:pt x="1589" y="5962"/>
                  </a:lnTo>
                  <a:lnTo>
                    <a:pt x="1694" y="5799"/>
                  </a:lnTo>
                  <a:lnTo>
                    <a:pt x="1806" y="5641"/>
                  </a:lnTo>
                  <a:lnTo>
                    <a:pt x="1925" y="5489"/>
                  </a:lnTo>
                  <a:lnTo>
                    <a:pt x="2052" y="5344"/>
                  </a:lnTo>
                  <a:lnTo>
                    <a:pt x="2185" y="5204"/>
                  </a:lnTo>
                  <a:lnTo>
                    <a:pt x="2325" y="5070"/>
                  </a:lnTo>
                  <a:lnTo>
                    <a:pt x="2471" y="4943"/>
                  </a:lnTo>
                  <a:lnTo>
                    <a:pt x="2623" y="4824"/>
                  </a:lnTo>
                  <a:lnTo>
                    <a:pt x="2781" y="4712"/>
                  </a:lnTo>
                  <a:lnTo>
                    <a:pt x="2944" y="4607"/>
                  </a:lnTo>
                  <a:lnTo>
                    <a:pt x="3113" y="4510"/>
                  </a:lnTo>
                  <a:lnTo>
                    <a:pt x="3286" y="4421"/>
                  </a:lnTo>
                  <a:lnTo>
                    <a:pt x="3464" y="4341"/>
                  </a:lnTo>
                  <a:lnTo>
                    <a:pt x="3647" y="4268"/>
                  </a:lnTo>
                  <a:lnTo>
                    <a:pt x="3834" y="4205"/>
                  </a:lnTo>
                  <a:lnTo>
                    <a:pt x="4024" y="4150"/>
                  </a:lnTo>
                  <a:lnTo>
                    <a:pt x="4219" y="4105"/>
                  </a:lnTo>
                  <a:lnTo>
                    <a:pt x="4417" y="4070"/>
                  </a:lnTo>
                  <a:lnTo>
                    <a:pt x="4618" y="4045"/>
                  </a:lnTo>
                  <a:lnTo>
                    <a:pt x="4821" y="4029"/>
                  </a:lnTo>
                  <a:lnTo>
                    <a:pt x="5029" y="4024"/>
                  </a:lnTo>
                  <a:lnTo>
                    <a:pt x="5235" y="4029"/>
                  </a:lnTo>
                  <a:lnTo>
                    <a:pt x="5439" y="4045"/>
                  </a:lnTo>
                  <a:lnTo>
                    <a:pt x="5640" y="4070"/>
                  </a:lnTo>
                  <a:lnTo>
                    <a:pt x="5838" y="4105"/>
                  </a:lnTo>
                  <a:lnTo>
                    <a:pt x="6032" y="4150"/>
                  </a:lnTo>
                  <a:lnTo>
                    <a:pt x="6223" y="4205"/>
                  </a:lnTo>
                  <a:lnTo>
                    <a:pt x="6411" y="4268"/>
                  </a:lnTo>
                  <a:lnTo>
                    <a:pt x="6593" y="4341"/>
                  </a:lnTo>
                  <a:lnTo>
                    <a:pt x="6771" y="4421"/>
                  </a:lnTo>
                  <a:lnTo>
                    <a:pt x="6945" y="4510"/>
                  </a:lnTo>
                  <a:lnTo>
                    <a:pt x="7113" y="4607"/>
                  </a:lnTo>
                  <a:lnTo>
                    <a:pt x="7276" y="4712"/>
                  </a:lnTo>
                  <a:lnTo>
                    <a:pt x="7433" y="4824"/>
                  </a:lnTo>
                  <a:lnTo>
                    <a:pt x="7586" y="4943"/>
                  </a:lnTo>
                  <a:lnTo>
                    <a:pt x="7732" y="5070"/>
                  </a:lnTo>
                  <a:lnTo>
                    <a:pt x="7872" y="5204"/>
                  </a:lnTo>
                  <a:lnTo>
                    <a:pt x="8005" y="5344"/>
                  </a:lnTo>
                  <a:lnTo>
                    <a:pt x="8131" y="5489"/>
                  </a:lnTo>
                  <a:lnTo>
                    <a:pt x="8251" y="5641"/>
                  </a:lnTo>
                  <a:lnTo>
                    <a:pt x="8364" y="5799"/>
                  </a:lnTo>
                  <a:lnTo>
                    <a:pt x="8468" y="5962"/>
                  </a:lnTo>
                  <a:lnTo>
                    <a:pt x="8565" y="6131"/>
                  </a:lnTo>
                  <a:lnTo>
                    <a:pt x="8654" y="6304"/>
                  </a:lnTo>
                  <a:lnTo>
                    <a:pt x="8735" y="6482"/>
                  </a:lnTo>
                  <a:lnTo>
                    <a:pt x="8807" y="6665"/>
                  </a:lnTo>
                  <a:lnTo>
                    <a:pt x="8871" y="6852"/>
                  </a:lnTo>
                  <a:lnTo>
                    <a:pt x="8925" y="7043"/>
                  </a:lnTo>
                  <a:lnTo>
                    <a:pt x="8970" y="7238"/>
                  </a:lnTo>
                  <a:lnTo>
                    <a:pt x="9005" y="7436"/>
                  </a:lnTo>
                  <a:lnTo>
                    <a:pt x="9030" y="7637"/>
                  </a:lnTo>
                  <a:lnTo>
                    <a:pt x="9047" y="7841"/>
                  </a:lnTo>
                  <a:lnTo>
                    <a:pt x="9052" y="8048"/>
                  </a:lnTo>
                  <a:lnTo>
                    <a:pt x="9047" y="8255"/>
                  </a:lnTo>
                  <a:lnTo>
                    <a:pt x="9030" y="8458"/>
                  </a:lnTo>
                  <a:lnTo>
                    <a:pt x="9005" y="8659"/>
                  </a:lnTo>
                  <a:lnTo>
                    <a:pt x="8970" y="8857"/>
                  </a:lnTo>
                  <a:lnTo>
                    <a:pt x="8925" y="9051"/>
                  </a:lnTo>
                  <a:lnTo>
                    <a:pt x="8871" y="9243"/>
                  </a:lnTo>
                  <a:lnTo>
                    <a:pt x="8807" y="9430"/>
                  </a:lnTo>
                  <a:lnTo>
                    <a:pt x="8735" y="9612"/>
                  </a:lnTo>
                  <a:lnTo>
                    <a:pt x="8654" y="9790"/>
                  </a:lnTo>
                  <a:lnTo>
                    <a:pt x="8565" y="9964"/>
                  </a:lnTo>
                  <a:lnTo>
                    <a:pt x="8468" y="10132"/>
                  </a:lnTo>
                  <a:lnTo>
                    <a:pt x="8364" y="10296"/>
                  </a:lnTo>
                  <a:lnTo>
                    <a:pt x="8251" y="10454"/>
                  </a:lnTo>
                  <a:lnTo>
                    <a:pt x="8131" y="10606"/>
                  </a:lnTo>
                  <a:lnTo>
                    <a:pt x="8005" y="10751"/>
                  </a:lnTo>
                  <a:lnTo>
                    <a:pt x="7872" y="10891"/>
                  </a:lnTo>
                  <a:lnTo>
                    <a:pt x="7732" y="11024"/>
                  </a:lnTo>
                  <a:lnTo>
                    <a:pt x="7586" y="11151"/>
                  </a:lnTo>
                  <a:lnTo>
                    <a:pt x="7433" y="11271"/>
                  </a:lnTo>
                  <a:lnTo>
                    <a:pt x="7276" y="11383"/>
                  </a:lnTo>
                  <a:lnTo>
                    <a:pt x="7113" y="11488"/>
                  </a:lnTo>
                  <a:lnTo>
                    <a:pt x="6945" y="11584"/>
                  </a:lnTo>
                  <a:lnTo>
                    <a:pt x="6771" y="11674"/>
                  </a:lnTo>
                  <a:lnTo>
                    <a:pt x="6593" y="11754"/>
                  </a:lnTo>
                  <a:lnTo>
                    <a:pt x="6411" y="11827"/>
                  </a:lnTo>
                  <a:lnTo>
                    <a:pt x="6223" y="11890"/>
                  </a:lnTo>
                  <a:lnTo>
                    <a:pt x="6032" y="11945"/>
                  </a:lnTo>
                  <a:lnTo>
                    <a:pt x="5838" y="11990"/>
                  </a:lnTo>
                  <a:lnTo>
                    <a:pt x="5640" y="12025"/>
                  </a:lnTo>
                  <a:lnTo>
                    <a:pt x="5439" y="12050"/>
                  </a:lnTo>
                  <a:lnTo>
                    <a:pt x="5235" y="12066"/>
                  </a:lnTo>
                  <a:lnTo>
                    <a:pt x="5029" y="12071"/>
                  </a:lnTo>
                  <a:close/>
                  <a:moveTo>
                    <a:pt x="7040" y="15089"/>
                  </a:moveTo>
                  <a:lnTo>
                    <a:pt x="3017" y="15089"/>
                  </a:lnTo>
                  <a:lnTo>
                    <a:pt x="2514" y="12379"/>
                  </a:lnTo>
                  <a:lnTo>
                    <a:pt x="2585" y="12419"/>
                  </a:lnTo>
                  <a:lnTo>
                    <a:pt x="2655" y="12459"/>
                  </a:lnTo>
                  <a:lnTo>
                    <a:pt x="2727" y="12497"/>
                  </a:lnTo>
                  <a:lnTo>
                    <a:pt x="2798" y="12533"/>
                  </a:lnTo>
                  <a:lnTo>
                    <a:pt x="2870" y="12569"/>
                  </a:lnTo>
                  <a:lnTo>
                    <a:pt x="2944" y="12604"/>
                  </a:lnTo>
                  <a:lnTo>
                    <a:pt x="3017" y="12638"/>
                  </a:lnTo>
                  <a:lnTo>
                    <a:pt x="3091" y="12671"/>
                  </a:lnTo>
                  <a:lnTo>
                    <a:pt x="3166" y="12702"/>
                  </a:lnTo>
                  <a:lnTo>
                    <a:pt x="3241" y="12732"/>
                  </a:lnTo>
                  <a:lnTo>
                    <a:pt x="3317" y="12762"/>
                  </a:lnTo>
                  <a:lnTo>
                    <a:pt x="3393" y="12789"/>
                  </a:lnTo>
                  <a:lnTo>
                    <a:pt x="3471" y="12817"/>
                  </a:lnTo>
                  <a:lnTo>
                    <a:pt x="3548" y="12843"/>
                  </a:lnTo>
                  <a:lnTo>
                    <a:pt x="3626" y="12867"/>
                  </a:lnTo>
                  <a:lnTo>
                    <a:pt x="3704" y="12890"/>
                  </a:lnTo>
                  <a:lnTo>
                    <a:pt x="3784" y="12912"/>
                  </a:lnTo>
                  <a:lnTo>
                    <a:pt x="3863" y="12932"/>
                  </a:lnTo>
                  <a:lnTo>
                    <a:pt x="3943" y="12952"/>
                  </a:lnTo>
                  <a:lnTo>
                    <a:pt x="4024" y="12971"/>
                  </a:lnTo>
                  <a:lnTo>
                    <a:pt x="4105" y="12987"/>
                  </a:lnTo>
                  <a:lnTo>
                    <a:pt x="4187" y="13003"/>
                  </a:lnTo>
                  <a:lnTo>
                    <a:pt x="4269" y="13016"/>
                  </a:lnTo>
                  <a:lnTo>
                    <a:pt x="4352" y="13029"/>
                  </a:lnTo>
                  <a:lnTo>
                    <a:pt x="4434" y="13040"/>
                  </a:lnTo>
                  <a:lnTo>
                    <a:pt x="4518" y="13050"/>
                  </a:lnTo>
                  <a:lnTo>
                    <a:pt x="4602" y="13058"/>
                  </a:lnTo>
                  <a:lnTo>
                    <a:pt x="4687" y="13065"/>
                  </a:lnTo>
                  <a:lnTo>
                    <a:pt x="4771" y="13070"/>
                  </a:lnTo>
                  <a:lnTo>
                    <a:pt x="4857" y="13074"/>
                  </a:lnTo>
                  <a:lnTo>
                    <a:pt x="4942" y="13076"/>
                  </a:lnTo>
                  <a:lnTo>
                    <a:pt x="5029" y="13077"/>
                  </a:lnTo>
                  <a:lnTo>
                    <a:pt x="5115" y="13076"/>
                  </a:lnTo>
                  <a:lnTo>
                    <a:pt x="5201" y="13074"/>
                  </a:lnTo>
                  <a:lnTo>
                    <a:pt x="5286" y="13070"/>
                  </a:lnTo>
                  <a:lnTo>
                    <a:pt x="5371" y="13065"/>
                  </a:lnTo>
                  <a:lnTo>
                    <a:pt x="5455" y="13058"/>
                  </a:lnTo>
                  <a:lnTo>
                    <a:pt x="5539" y="13050"/>
                  </a:lnTo>
                  <a:lnTo>
                    <a:pt x="5622" y="13040"/>
                  </a:lnTo>
                  <a:lnTo>
                    <a:pt x="5705" y="13029"/>
                  </a:lnTo>
                  <a:lnTo>
                    <a:pt x="5788" y="13016"/>
                  </a:lnTo>
                  <a:lnTo>
                    <a:pt x="5870" y="13003"/>
                  </a:lnTo>
                  <a:lnTo>
                    <a:pt x="5952" y="12987"/>
                  </a:lnTo>
                  <a:lnTo>
                    <a:pt x="6032" y="12971"/>
                  </a:lnTo>
                  <a:lnTo>
                    <a:pt x="6114" y="12952"/>
                  </a:lnTo>
                  <a:lnTo>
                    <a:pt x="6193" y="12932"/>
                  </a:lnTo>
                  <a:lnTo>
                    <a:pt x="6273" y="12912"/>
                  </a:lnTo>
                  <a:lnTo>
                    <a:pt x="6352" y="12890"/>
                  </a:lnTo>
                  <a:lnTo>
                    <a:pt x="6431" y="12867"/>
                  </a:lnTo>
                  <a:lnTo>
                    <a:pt x="6509" y="12843"/>
                  </a:lnTo>
                  <a:lnTo>
                    <a:pt x="6587" y="12817"/>
                  </a:lnTo>
                  <a:lnTo>
                    <a:pt x="6664" y="12789"/>
                  </a:lnTo>
                  <a:lnTo>
                    <a:pt x="6740" y="12762"/>
                  </a:lnTo>
                  <a:lnTo>
                    <a:pt x="6816" y="12732"/>
                  </a:lnTo>
                  <a:lnTo>
                    <a:pt x="6891" y="12702"/>
                  </a:lnTo>
                  <a:lnTo>
                    <a:pt x="6967" y="12671"/>
                  </a:lnTo>
                  <a:lnTo>
                    <a:pt x="7040" y="12638"/>
                  </a:lnTo>
                  <a:lnTo>
                    <a:pt x="7114" y="12604"/>
                  </a:lnTo>
                  <a:lnTo>
                    <a:pt x="7187" y="12569"/>
                  </a:lnTo>
                  <a:lnTo>
                    <a:pt x="7259" y="12533"/>
                  </a:lnTo>
                  <a:lnTo>
                    <a:pt x="7331" y="12497"/>
                  </a:lnTo>
                  <a:lnTo>
                    <a:pt x="7402" y="12459"/>
                  </a:lnTo>
                  <a:lnTo>
                    <a:pt x="7473" y="12419"/>
                  </a:lnTo>
                  <a:lnTo>
                    <a:pt x="7543" y="12379"/>
                  </a:lnTo>
                  <a:lnTo>
                    <a:pt x="7040" y="15089"/>
                  </a:lnTo>
                  <a:close/>
                  <a:moveTo>
                    <a:pt x="3069" y="1006"/>
                  </a:moveTo>
                  <a:lnTo>
                    <a:pt x="7092" y="1006"/>
                  </a:lnTo>
                  <a:lnTo>
                    <a:pt x="7595" y="3715"/>
                  </a:lnTo>
                  <a:lnTo>
                    <a:pt x="7525" y="3675"/>
                  </a:lnTo>
                  <a:lnTo>
                    <a:pt x="7454" y="3636"/>
                  </a:lnTo>
                  <a:lnTo>
                    <a:pt x="7383" y="3598"/>
                  </a:lnTo>
                  <a:lnTo>
                    <a:pt x="7312" y="3561"/>
                  </a:lnTo>
                  <a:lnTo>
                    <a:pt x="7239" y="3525"/>
                  </a:lnTo>
                  <a:lnTo>
                    <a:pt x="7166" y="3491"/>
                  </a:lnTo>
                  <a:lnTo>
                    <a:pt x="7092" y="3456"/>
                  </a:lnTo>
                  <a:lnTo>
                    <a:pt x="7019" y="3424"/>
                  </a:lnTo>
                  <a:lnTo>
                    <a:pt x="6944" y="3392"/>
                  </a:lnTo>
                  <a:lnTo>
                    <a:pt x="6868" y="3362"/>
                  </a:lnTo>
                  <a:lnTo>
                    <a:pt x="6793" y="3333"/>
                  </a:lnTo>
                  <a:lnTo>
                    <a:pt x="6716" y="3305"/>
                  </a:lnTo>
                  <a:lnTo>
                    <a:pt x="6639" y="3277"/>
                  </a:lnTo>
                  <a:lnTo>
                    <a:pt x="6561" y="3252"/>
                  </a:lnTo>
                  <a:lnTo>
                    <a:pt x="6484" y="3228"/>
                  </a:lnTo>
                  <a:lnTo>
                    <a:pt x="6405" y="3205"/>
                  </a:lnTo>
                  <a:lnTo>
                    <a:pt x="6326" y="3183"/>
                  </a:lnTo>
                  <a:lnTo>
                    <a:pt x="6247" y="3162"/>
                  </a:lnTo>
                  <a:lnTo>
                    <a:pt x="6166" y="3143"/>
                  </a:lnTo>
                  <a:lnTo>
                    <a:pt x="6086" y="3124"/>
                  </a:lnTo>
                  <a:lnTo>
                    <a:pt x="6004" y="3108"/>
                  </a:lnTo>
                  <a:lnTo>
                    <a:pt x="5923" y="3092"/>
                  </a:lnTo>
                  <a:lnTo>
                    <a:pt x="5840" y="3078"/>
                  </a:lnTo>
                  <a:lnTo>
                    <a:pt x="5758" y="3066"/>
                  </a:lnTo>
                  <a:lnTo>
                    <a:pt x="5675" y="3055"/>
                  </a:lnTo>
                  <a:lnTo>
                    <a:pt x="5592" y="3045"/>
                  </a:lnTo>
                  <a:lnTo>
                    <a:pt x="5507" y="3037"/>
                  </a:lnTo>
                  <a:lnTo>
                    <a:pt x="5423" y="3030"/>
                  </a:lnTo>
                  <a:lnTo>
                    <a:pt x="5338" y="3025"/>
                  </a:lnTo>
                  <a:lnTo>
                    <a:pt x="5253" y="3021"/>
                  </a:lnTo>
                  <a:lnTo>
                    <a:pt x="5167" y="3019"/>
                  </a:lnTo>
                  <a:lnTo>
                    <a:pt x="5081" y="3018"/>
                  </a:lnTo>
                  <a:lnTo>
                    <a:pt x="4994" y="3019"/>
                  </a:lnTo>
                  <a:lnTo>
                    <a:pt x="4909" y="3021"/>
                  </a:lnTo>
                  <a:lnTo>
                    <a:pt x="4823" y="3025"/>
                  </a:lnTo>
                  <a:lnTo>
                    <a:pt x="4739" y="3030"/>
                  </a:lnTo>
                  <a:lnTo>
                    <a:pt x="4655" y="3037"/>
                  </a:lnTo>
                  <a:lnTo>
                    <a:pt x="4571" y="3045"/>
                  </a:lnTo>
                  <a:lnTo>
                    <a:pt x="4488" y="3055"/>
                  </a:lnTo>
                  <a:lnTo>
                    <a:pt x="4404" y="3066"/>
                  </a:lnTo>
                  <a:lnTo>
                    <a:pt x="4322" y="3078"/>
                  </a:lnTo>
                  <a:lnTo>
                    <a:pt x="4239" y="3092"/>
                  </a:lnTo>
                  <a:lnTo>
                    <a:pt x="4158" y="3108"/>
                  </a:lnTo>
                  <a:lnTo>
                    <a:pt x="4076" y="3124"/>
                  </a:lnTo>
                  <a:lnTo>
                    <a:pt x="3996" y="3143"/>
                  </a:lnTo>
                  <a:lnTo>
                    <a:pt x="3915" y="3162"/>
                  </a:lnTo>
                  <a:lnTo>
                    <a:pt x="3836" y="3183"/>
                  </a:lnTo>
                  <a:lnTo>
                    <a:pt x="3756" y="3205"/>
                  </a:lnTo>
                  <a:lnTo>
                    <a:pt x="3678" y="3228"/>
                  </a:lnTo>
                  <a:lnTo>
                    <a:pt x="3601" y="3252"/>
                  </a:lnTo>
                  <a:lnTo>
                    <a:pt x="3523" y="3277"/>
                  </a:lnTo>
                  <a:lnTo>
                    <a:pt x="3446" y="3305"/>
                  </a:lnTo>
                  <a:lnTo>
                    <a:pt x="3369" y="3333"/>
                  </a:lnTo>
                  <a:lnTo>
                    <a:pt x="3294" y="3362"/>
                  </a:lnTo>
                  <a:lnTo>
                    <a:pt x="3218" y="3392"/>
                  </a:lnTo>
                  <a:lnTo>
                    <a:pt x="3143" y="3424"/>
                  </a:lnTo>
                  <a:lnTo>
                    <a:pt x="3069" y="3456"/>
                  </a:lnTo>
                  <a:lnTo>
                    <a:pt x="2995" y="3491"/>
                  </a:lnTo>
                  <a:lnTo>
                    <a:pt x="2923" y="3525"/>
                  </a:lnTo>
                  <a:lnTo>
                    <a:pt x="2850" y="3561"/>
                  </a:lnTo>
                  <a:lnTo>
                    <a:pt x="2778" y="3598"/>
                  </a:lnTo>
                  <a:lnTo>
                    <a:pt x="2707" y="3636"/>
                  </a:lnTo>
                  <a:lnTo>
                    <a:pt x="2637" y="3675"/>
                  </a:lnTo>
                  <a:lnTo>
                    <a:pt x="2567" y="3715"/>
                  </a:lnTo>
                  <a:lnTo>
                    <a:pt x="3069" y="1006"/>
                  </a:lnTo>
                  <a:close/>
                  <a:moveTo>
                    <a:pt x="10057" y="7042"/>
                  </a:moveTo>
                  <a:lnTo>
                    <a:pt x="10044" y="7043"/>
                  </a:lnTo>
                  <a:lnTo>
                    <a:pt x="10032" y="7045"/>
                  </a:lnTo>
                  <a:lnTo>
                    <a:pt x="10019" y="7047"/>
                  </a:lnTo>
                  <a:lnTo>
                    <a:pt x="10007" y="7051"/>
                  </a:lnTo>
                  <a:lnTo>
                    <a:pt x="9995" y="7054"/>
                  </a:lnTo>
                  <a:lnTo>
                    <a:pt x="9983" y="7057"/>
                  </a:lnTo>
                  <a:lnTo>
                    <a:pt x="9971" y="7060"/>
                  </a:lnTo>
                  <a:lnTo>
                    <a:pt x="9958" y="7062"/>
                  </a:lnTo>
                  <a:lnTo>
                    <a:pt x="9941" y="6979"/>
                  </a:lnTo>
                  <a:lnTo>
                    <a:pt x="9923" y="6898"/>
                  </a:lnTo>
                  <a:lnTo>
                    <a:pt x="9902" y="6817"/>
                  </a:lnTo>
                  <a:lnTo>
                    <a:pt x="9881" y="6737"/>
                  </a:lnTo>
                  <a:lnTo>
                    <a:pt x="9859" y="6657"/>
                  </a:lnTo>
                  <a:lnTo>
                    <a:pt x="9835" y="6578"/>
                  </a:lnTo>
                  <a:lnTo>
                    <a:pt x="9810" y="6499"/>
                  </a:lnTo>
                  <a:lnTo>
                    <a:pt x="9784" y="6421"/>
                  </a:lnTo>
                  <a:lnTo>
                    <a:pt x="9756" y="6343"/>
                  </a:lnTo>
                  <a:lnTo>
                    <a:pt x="9726" y="6267"/>
                  </a:lnTo>
                  <a:lnTo>
                    <a:pt x="9696" y="6192"/>
                  </a:lnTo>
                  <a:lnTo>
                    <a:pt x="9665" y="6115"/>
                  </a:lnTo>
                  <a:lnTo>
                    <a:pt x="9633" y="6041"/>
                  </a:lnTo>
                  <a:lnTo>
                    <a:pt x="9599" y="5966"/>
                  </a:lnTo>
                  <a:lnTo>
                    <a:pt x="9563" y="5893"/>
                  </a:lnTo>
                  <a:lnTo>
                    <a:pt x="9527" y="5820"/>
                  </a:lnTo>
                  <a:lnTo>
                    <a:pt x="9490" y="5748"/>
                  </a:lnTo>
                  <a:lnTo>
                    <a:pt x="9452" y="5677"/>
                  </a:lnTo>
                  <a:lnTo>
                    <a:pt x="9413" y="5605"/>
                  </a:lnTo>
                  <a:lnTo>
                    <a:pt x="9371" y="5536"/>
                  </a:lnTo>
                  <a:lnTo>
                    <a:pt x="9330" y="5466"/>
                  </a:lnTo>
                  <a:lnTo>
                    <a:pt x="9287" y="5397"/>
                  </a:lnTo>
                  <a:lnTo>
                    <a:pt x="9243" y="5329"/>
                  </a:lnTo>
                  <a:lnTo>
                    <a:pt x="9198" y="5262"/>
                  </a:lnTo>
                  <a:lnTo>
                    <a:pt x="9152" y="5196"/>
                  </a:lnTo>
                  <a:lnTo>
                    <a:pt x="9105" y="5129"/>
                  </a:lnTo>
                  <a:lnTo>
                    <a:pt x="9058" y="5065"/>
                  </a:lnTo>
                  <a:lnTo>
                    <a:pt x="9008" y="5001"/>
                  </a:lnTo>
                  <a:lnTo>
                    <a:pt x="8958" y="4937"/>
                  </a:lnTo>
                  <a:lnTo>
                    <a:pt x="8908" y="4874"/>
                  </a:lnTo>
                  <a:lnTo>
                    <a:pt x="8855" y="4812"/>
                  </a:lnTo>
                  <a:lnTo>
                    <a:pt x="8803" y="4751"/>
                  </a:lnTo>
                  <a:lnTo>
                    <a:pt x="8081" y="822"/>
                  </a:lnTo>
                  <a:lnTo>
                    <a:pt x="8072" y="778"/>
                  </a:lnTo>
                  <a:lnTo>
                    <a:pt x="8061" y="734"/>
                  </a:lnTo>
                  <a:lnTo>
                    <a:pt x="8048" y="691"/>
                  </a:lnTo>
                  <a:lnTo>
                    <a:pt x="8033" y="650"/>
                  </a:lnTo>
                  <a:lnTo>
                    <a:pt x="8017" y="609"/>
                  </a:lnTo>
                  <a:lnTo>
                    <a:pt x="7999" y="569"/>
                  </a:lnTo>
                  <a:lnTo>
                    <a:pt x="7978" y="530"/>
                  </a:lnTo>
                  <a:lnTo>
                    <a:pt x="7957" y="493"/>
                  </a:lnTo>
                  <a:lnTo>
                    <a:pt x="7935" y="456"/>
                  </a:lnTo>
                  <a:lnTo>
                    <a:pt x="7910" y="420"/>
                  </a:lnTo>
                  <a:lnTo>
                    <a:pt x="7885" y="385"/>
                  </a:lnTo>
                  <a:lnTo>
                    <a:pt x="7858" y="352"/>
                  </a:lnTo>
                  <a:lnTo>
                    <a:pt x="7829" y="321"/>
                  </a:lnTo>
                  <a:lnTo>
                    <a:pt x="7799" y="290"/>
                  </a:lnTo>
                  <a:lnTo>
                    <a:pt x="7768" y="261"/>
                  </a:lnTo>
                  <a:lnTo>
                    <a:pt x="7735" y="232"/>
                  </a:lnTo>
                  <a:lnTo>
                    <a:pt x="7702" y="205"/>
                  </a:lnTo>
                  <a:lnTo>
                    <a:pt x="7668" y="180"/>
                  </a:lnTo>
                  <a:lnTo>
                    <a:pt x="7631" y="157"/>
                  </a:lnTo>
                  <a:lnTo>
                    <a:pt x="7595" y="135"/>
                  </a:lnTo>
                  <a:lnTo>
                    <a:pt x="7557" y="114"/>
                  </a:lnTo>
                  <a:lnTo>
                    <a:pt x="7519" y="95"/>
                  </a:lnTo>
                  <a:lnTo>
                    <a:pt x="7480" y="77"/>
                  </a:lnTo>
                  <a:lnTo>
                    <a:pt x="7439" y="61"/>
                  </a:lnTo>
                  <a:lnTo>
                    <a:pt x="7398" y="47"/>
                  </a:lnTo>
                  <a:lnTo>
                    <a:pt x="7356" y="35"/>
                  </a:lnTo>
                  <a:lnTo>
                    <a:pt x="7314" y="24"/>
                  </a:lnTo>
                  <a:lnTo>
                    <a:pt x="7270" y="16"/>
                  </a:lnTo>
                  <a:lnTo>
                    <a:pt x="7227" y="9"/>
                  </a:lnTo>
                  <a:lnTo>
                    <a:pt x="7182" y="4"/>
                  </a:lnTo>
                  <a:lnTo>
                    <a:pt x="7138" y="1"/>
                  </a:lnTo>
                  <a:lnTo>
                    <a:pt x="7092" y="0"/>
                  </a:lnTo>
                  <a:lnTo>
                    <a:pt x="3069" y="0"/>
                  </a:lnTo>
                  <a:lnTo>
                    <a:pt x="3024" y="1"/>
                  </a:lnTo>
                  <a:lnTo>
                    <a:pt x="2980" y="4"/>
                  </a:lnTo>
                  <a:lnTo>
                    <a:pt x="2936" y="9"/>
                  </a:lnTo>
                  <a:lnTo>
                    <a:pt x="2891" y="16"/>
                  </a:lnTo>
                  <a:lnTo>
                    <a:pt x="2848" y="24"/>
                  </a:lnTo>
                  <a:lnTo>
                    <a:pt x="2806" y="35"/>
                  </a:lnTo>
                  <a:lnTo>
                    <a:pt x="2764" y="47"/>
                  </a:lnTo>
                  <a:lnTo>
                    <a:pt x="2724" y="61"/>
                  </a:lnTo>
                  <a:lnTo>
                    <a:pt x="2683" y="77"/>
                  </a:lnTo>
                  <a:lnTo>
                    <a:pt x="2643" y="95"/>
                  </a:lnTo>
                  <a:lnTo>
                    <a:pt x="2605" y="114"/>
                  </a:lnTo>
                  <a:lnTo>
                    <a:pt x="2568" y="135"/>
                  </a:lnTo>
                  <a:lnTo>
                    <a:pt x="2530" y="157"/>
                  </a:lnTo>
                  <a:lnTo>
                    <a:pt x="2495" y="180"/>
                  </a:lnTo>
                  <a:lnTo>
                    <a:pt x="2460" y="205"/>
                  </a:lnTo>
                  <a:lnTo>
                    <a:pt x="2427" y="232"/>
                  </a:lnTo>
                  <a:lnTo>
                    <a:pt x="2395" y="261"/>
                  </a:lnTo>
                  <a:lnTo>
                    <a:pt x="2363" y="290"/>
                  </a:lnTo>
                  <a:lnTo>
                    <a:pt x="2333" y="321"/>
                  </a:lnTo>
                  <a:lnTo>
                    <a:pt x="2305" y="352"/>
                  </a:lnTo>
                  <a:lnTo>
                    <a:pt x="2278" y="385"/>
                  </a:lnTo>
                  <a:lnTo>
                    <a:pt x="2252" y="420"/>
                  </a:lnTo>
                  <a:lnTo>
                    <a:pt x="2228" y="456"/>
                  </a:lnTo>
                  <a:lnTo>
                    <a:pt x="2205" y="493"/>
                  </a:lnTo>
                  <a:lnTo>
                    <a:pt x="2183" y="530"/>
                  </a:lnTo>
                  <a:lnTo>
                    <a:pt x="2163" y="569"/>
                  </a:lnTo>
                  <a:lnTo>
                    <a:pt x="2145" y="609"/>
                  </a:lnTo>
                  <a:lnTo>
                    <a:pt x="2128" y="650"/>
                  </a:lnTo>
                  <a:lnTo>
                    <a:pt x="2114" y="691"/>
                  </a:lnTo>
                  <a:lnTo>
                    <a:pt x="2101" y="734"/>
                  </a:lnTo>
                  <a:lnTo>
                    <a:pt x="2090" y="778"/>
                  </a:lnTo>
                  <a:lnTo>
                    <a:pt x="2081" y="822"/>
                  </a:lnTo>
                  <a:lnTo>
                    <a:pt x="1376" y="4619"/>
                  </a:lnTo>
                  <a:lnTo>
                    <a:pt x="1297" y="4704"/>
                  </a:lnTo>
                  <a:lnTo>
                    <a:pt x="1221" y="4791"/>
                  </a:lnTo>
                  <a:lnTo>
                    <a:pt x="1147" y="4880"/>
                  </a:lnTo>
                  <a:lnTo>
                    <a:pt x="1074" y="4969"/>
                  </a:lnTo>
                  <a:lnTo>
                    <a:pt x="1004" y="5062"/>
                  </a:lnTo>
                  <a:lnTo>
                    <a:pt x="935" y="5155"/>
                  </a:lnTo>
                  <a:lnTo>
                    <a:pt x="869" y="5250"/>
                  </a:lnTo>
                  <a:lnTo>
                    <a:pt x="805" y="5347"/>
                  </a:lnTo>
                  <a:lnTo>
                    <a:pt x="742" y="5445"/>
                  </a:lnTo>
                  <a:lnTo>
                    <a:pt x="683" y="5545"/>
                  </a:lnTo>
                  <a:lnTo>
                    <a:pt x="625" y="5645"/>
                  </a:lnTo>
                  <a:lnTo>
                    <a:pt x="569" y="5748"/>
                  </a:lnTo>
                  <a:lnTo>
                    <a:pt x="516" y="5852"/>
                  </a:lnTo>
                  <a:lnTo>
                    <a:pt x="466" y="5957"/>
                  </a:lnTo>
                  <a:lnTo>
                    <a:pt x="417" y="6063"/>
                  </a:lnTo>
                  <a:lnTo>
                    <a:pt x="371" y="6171"/>
                  </a:lnTo>
                  <a:lnTo>
                    <a:pt x="328" y="6280"/>
                  </a:lnTo>
                  <a:lnTo>
                    <a:pt x="287" y="6391"/>
                  </a:lnTo>
                  <a:lnTo>
                    <a:pt x="248" y="6501"/>
                  </a:lnTo>
                  <a:lnTo>
                    <a:pt x="212" y="6614"/>
                  </a:lnTo>
                  <a:lnTo>
                    <a:pt x="180" y="6729"/>
                  </a:lnTo>
                  <a:lnTo>
                    <a:pt x="149" y="6843"/>
                  </a:lnTo>
                  <a:lnTo>
                    <a:pt x="122" y="6959"/>
                  </a:lnTo>
                  <a:lnTo>
                    <a:pt x="97" y="7077"/>
                  </a:lnTo>
                  <a:lnTo>
                    <a:pt x="74" y="7194"/>
                  </a:lnTo>
                  <a:lnTo>
                    <a:pt x="54" y="7313"/>
                  </a:lnTo>
                  <a:lnTo>
                    <a:pt x="38" y="7434"/>
                  </a:lnTo>
                  <a:lnTo>
                    <a:pt x="24" y="7555"/>
                  </a:lnTo>
                  <a:lnTo>
                    <a:pt x="14" y="7676"/>
                  </a:lnTo>
                  <a:lnTo>
                    <a:pt x="6" y="7799"/>
                  </a:lnTo>
                  <a:lnTo>
                    <a:pt x="2" y="7923"/>
                  </a:lnTo>
                  <a:lnTo>
                    <a:pt x="0" y="8048"/>
                  </a:lnTo>
                  <a:lnTo>
                    <a:pt x="2" y="8169"/>
                  </a:lnTo>
                  <a:lnTo>
                    <a:pt x="6" y="8290"/>
                  </a:lnTo>
                  <a:lnTo>
                    <a:pt x="13" y="8410"/>
                  </a:lnTo>
                  <a:lnTo>
                    <a:pt x="23" y="8528"/>
                  </a:lnTo>
                  <a:lnTo>
                    <a:pt x="36" y="8646"/>
                  </a:lnTo>
                  <a:lnTo>
                    <a:pt x="52" y="8764"/>
                  </a:lnTo>
                  <a:lnTo>
                    <a:pt x="71" y="8879"/>
                  </a:lnTo>
                  <a:lnTo>
                    <a:pt x="93" y="8995"/>
                  </a:lnTo>
                  <a:lnTo>
                    <a:pt x="117" y="9109"/>
                  </a:lnTo>
                  <a:lnTo>
                    <a:pt x="143" y="9222"/>
                  </a:lnTo>
                  <a:lnTo>
                    <a:pt x="172" y="9334"/>
                  </a:lnTo>
                  <a:lnTo>
                    <a:pt x="204" y="9446"/>
                  </a:lnTo>
                  <a:lnTo>
                    <a:pt x="238" y="9555"/>
                  </a:lnTo>
                  <a:lnTo>
                    <a:pt x="276" y="9665"/>
                  </a:lnTo>
                  <a:lnTo>
                    <a:pt x="315" y="9773"/>
                  </a:lnTo>
                  <a:lnTo>
                    <a:pt x="356" y="9879"/>
                  </a:lnTo>
                  <a:lnTo>
                    <a:pt x="400" y="9985"/>
                  </a:lnTo>
                  <a:lnTo>
                    <a:pt x="447" y="10090"/>
                  </a:lnTo>
                  <a:lnTo>
                    <a:pt x="495" y="10192"/>
                  </a:lnTo>
                  <a:lnTo>
                    <a:pt x="546" y="10294"/>
                  </a:lnTo>
                  <a:lnTo>
                    <a:pt x="599" y="10394"/>
                  </a:lnTo>
                  <a:lnTo>
                    <a:pt x="655" y="10494"/>
                  </a:lnTo>
                  <a:lnTo>
                    <a:pt x="712" y="10592"/>
                  </a:lnTo>
                  <a:lnTo>
                    <a:pt x="771" y="10688"/>
                  </a:lnTo>
                  <a:lnTo>
                    <a:pt x="833" y="10783"/>
                  </a:lnTo>
                  <a:lnTo>
                    <a:pt x="896" y="10876"/>
                  </a:lnTo>
                  <a:lnTo>
                    <a:pt x="962" y="10969"/>
                  </a:lnTo>
                  <a:lnTo>
                    <a:pt x="1030" y="11059"/>
                  </a:lnTo>
                  <a:lnTo>
                    <a:pt x="1099" y="11148"/>
                  </a:lnTo>
                  <a:lnTo>
                    <a:pt x="1170" y="11236"/>
                  </a:lnTo>
                  <a:lnTo>
                    <a:pt x="1243" y="11322"/>
                  </a:lnTo>
                  <a:lnTo>
                    <a:pt x="1319" y="11406"/>
                  </a:lnTo>
                  <a:lnTo>
                    <a:pt x="2029" y="15273"/>
                  </a:lnTo>
                  <a:lnTo>
                    <a:pt x="2038" y="15317"/>
                  </a:lnTo>
                  <a:lnTo>
                    <a:pt x="2049" y="15361"/>
                  </a:lnTo>
                  <a:lnTo>
                    <a:pt x="2062" y="15403"/>
                  </a:lnTo>
                  <a:lnTo>
                    <a:pt x="2076" y="15445"/>
                  </a:lnTo>
                  <a:lnTo>
                    <a:pt x="2093" y="15485"/>
                  </a:lnTo>
                  <a:lnTo>
                    <a:pt x="2111" y="15526"/>
                  </a:lnTo>
                  <a:lnTo>
                    <a:pt x="2130" y="15564"/>
                  </a:lnTo>
                  <a:lnTo>
                    <a:pt x="2152" y="15602"/>
                  </a:lnTo>
                  <a:lnTo>
                    <a:pt x="2174" y="15639"/>
                  </a:lnTo>
                  <a:lnTo>
                    <a:pt x="2200" y="15675"/>
                  </a:lnTo>
                  <a:lnTo>
                    <a:pt x="2225" y="15709"/>
                  </a:lnTo>
                  <a:lnTo>
                    <a:pt x="2252" y="15742"/>
                  </a:lnTo>
                  <a:lnTo>
                    <a:pt x="2281" y="15774"/>
                  </a:lnTo>
                  <a:lnTo>
                    <a:pt x="2310" y="15805"/>
                  </a:lnTo>
                  <a:lnTo>
                    <a:pt x="2341" y="15834"/>
                  </a:lnTo>
                  <a:lnTo>
                    <a:pt x="2374" y="15863"/>
                  </a:lnTo>
                  <a:lnTo>
                    <a:pt x="2408" y="15889"/>
                  </a:lnTo>
                  <a:lnTo>
                    <a:pt x="2442" y="15914"/>
                  </a:lnTo>
                  <a:lnTo>
                    <a:pt x="2478" y="15938"/>
                  </a:lnTo>
                  <a:lnTo>
                    <a:pt x="2514" y="15960"/>
                  </a:lnTo>
                  <a:lnTo>
                    <a:pt x="2553" y="15981"/>
                  </a:lnTo>
                  <a:lnTo>
                    <a:pt x="2591" y="16000"/>
                  </a:lnTo>
                  <a:lnTo>
                    <a:pt x="2630" y="16018"/>
                  </a:lnTo>
                  <a:lnTo>
                    <a:pt x="2670" y="16034"/>
                  </a:lnTo>
                  <a:lnTo>
                    <a:pt x="2711" y="16048"/>
                  </a:lnTo>
                  <a:lnTo>
                    <a:pt x="2754" y="16060"/>
                  </a:lnTo>
                  <a:lnTo>
                    <a:pt x="2796" y="16071"/>
                  </a:lnTo>
                  <a:lnTo>
                    <a:pt x="2839" y="16079"/>
                  </a:lnTo>
                  <a:lnTo>
                    <a:pt x="2882" y="16086"/>
                  </a:lnTo>
                  <a:lnTo>
                    <a:pt x="2927" y="16091"/>
                  </a:lnTo>
                  <a:lnTo>
                    <a:pt x="2972" y="16094"/>
                  </a:lnTo>
                  <a:lnTo>
                    <a:pt x="3017" y="16095"/>
                  </a:lnTo>
                  <a:lnTo>
                    <a:pt x="7040" y="16095"/>
                  </a:lnTo>
                  <a:lnTo>
                    <a:pt x="7085" y="16094"/>
                  </a:lnTo>
                  <a:lnTo>
                    <a:pt x="7130" y="16091"/>
                  </a:lnTo>
                  <a:lnTo>
                    <a:pt x="7174" y="16086"/>
                  </a:lnTo>
                  <a:lnTo>
                    <a:pt x="7218" y="16079"/>
                  </a:lnTo>
                  <a:lnTo>
                    <a:pt x="7261" y="16071"/>
                  </a:lnTo>
                  <a:lnTo>
                    <a:pt x="7304" y="16060"/>
                  </a:lnTo>
                  <a:lnTo>
                    <a:pt x="7345" y="16048"/>
                  </a:lnTo>
                  <a:lnTo>
                    <a:pt x="7386" y="16034"/>
                  </a:lnTo>
                  <a:lnTo>
                    <a:pt x="7426" y="16018"/>
                  </a:lnTo>
                  <a:lnTo>
                    <a:pt x="7467" y="16000"/>
                  </a:lnTo>
                  <a:lnTo>
                    <a:pt x="7505" y="15981"/>
                  </a:lnTo>
                  <a:lnTo>
                    <a:pt x="7542" y="15960"/>
                  </a:lnTo>
                  <a:lnTo>
                    <a:pt x="7579" y="15938"/>
                  </a:lnTo>
                  <a:lnTo>
                    <a:pt x="7614" y="15914"/>
                  </a:lnTo>
                  <a:lnTo>
                    <a:pt x="7650" y="15889"/>
                  </a:lnTo>
                  <a:lnTo>
                    <a:pt x="7683" y="15863"/>
                  </a:lnTo>
                  <a:lnTo>
                    <a:pt x="7715" y="15834"/>
                  </a:lnTo>
                  <a:lnTo>
                    <a:pt x="7746" y="15805"/>
                  </a:lnTo>
                  <a:lnTo>
                    <a:pt x="7776" y="15774"/>
                  </a:lnTo>
                  <a:lnTo>
                    <a:pt x="7804" y="15742"/>
                  </a:lnTo>
                  <a:lnTo>
                    <a:pt x="7832" y="15709"/>
                  </a:lnTo>
                  <a:lnTo>
                    <a:pt x="7858" y="15675"/>
                  </a:lnTo>
                  <a:lnTo>
                    <a:pt x="7882" y="15639"/>
                  </a:lnTo>
                  <a:lnTo>
                    <a:pt x="7905" y="15602"/>
                  </a:lnTo>
                  <a:lnTo>
                    <a:pt x="7926" y="15564"/>
                  </a:lnTo>
                  <a:lnTo>
                    <a:pt x="7946" y="15526"/>
                  </a:lnTo>
                  <a:lnTo>
                    <a:pt x="7964" y="15485"/>
                  </a:lnTo>
                  <a:lnTo>
                    <a:pt x="7980" y="15445"/>
                  </a:lnTo>
                  <a:lnTo>
                    <a:pt x="7996" y="15403"/>
                  </a:lnTo>
                  <a:lnTo>
                    <a:pt x="8009" y="15361"/>
                  </a:lnTo>
                  <a:lnTo>
                    <a:pt x="8020" y="15317"/>
                  </a:lnTo>
                  <a:lnTo>
                    <a:pt x="8029" y="15273"/>
                  </a:lnTo>
                  <a:lnTo>
                    <a:pt x="8745" y="11409"/>
                  </a:lnTo>
                  <a:lnTo>
                    <a:pt x="8801" y="11347"/>
                  </a:lnTo>
                  <a:lnTo>
                    <a:pt x="8855" y="11284"/>
                  </a:lnTo>
                  <a:lnTo>
                    <a:pt x="8909" y="11220"/>
                  </a:lnTo>
                  <a:lnTo>
                    <a:pt x="8962" y="11155"/>
                  </a:lnTo>
                  <a:lnTo>
                    <a:pt x="9013" y="11089"/>
                  </a:lnTo>
                  <a:lnTo>
                    <a:pt x="9064" y="11023"/>
                  </a:lnTo>
                  <a:lnTo>
                    <a:pt x="9113" y="10956"/>
                  </a:lnTo>
                  <a:lnTo>
                    <a:pt x="9161" y="10887"/>
                  </a:lnTo>
                  <a:lnTo>
                    <a:pt x="9208" y="10819"/>
                  </a:lnTo>
                  <a:lnTo>
                    <a:pt x="9255" y="10748"/>
                  </a:lnTo>
                  <a:lnTo>
                    <a:pt x="9300" y="10678"/>
                  </a:lnTo>
                  <a:lnTo>
                    <a:pt x="9344" y="10607"/>
                  </a:lnTo>
                  <a:lnTo>
                    <a:pt x="9386" y="10535"/>
                  </a:lnTo>
                  <a:lnTo>
                    <a:pt x="9429" y="10462"/>
                  </a:lnTo>
                  <a:lnTo>
                    <a:pt x="9469" y="10388"/>
                  </a:lnTo>
                  <a:lnTo>
                    <a:pt x="9508" y="10314"/>
                  </a:lnTo>
                  <a:lnTo>
                    <a:pt x="9546" y="10239"/>
                  </a:lnTo>
                  <a:lnTo>
                    <a:pt x="9583" y="10164"/>
                  </a:lnTo>
                  <a:lnTo>
                    <a:pt x="9618" y="10088"/>
                  </a:lnTo>
                  <a:lnTo>
                    <a:pt x="9653" y="10010"/>
                  </a:lnTo>
                  <a:lnTo>
                    <a:pt x="9685" y="9932"/>
                  </a:lnTo>
                  <a:lnTo>
                    <a:pt x="9717" y="9853"/>
                  </a:lnTo>
                  <a:lnTo>
                    <a:pt x="9748" y="9775"/>
                  </a:lnTo>
                  <a:lnTo>
                    <a:pt x="9777" y="9694"/>
                  </a:lnTo>
                  <a:lnTo>
                    <a:pt x="9804" y="9614"/>
                  </a:lnTo>
                  <a:lnTo>
                    <a:pt x="9830" y="9532"/>
                  </a:lnTo>
                  <a:lnTo>
                    <a:pt x="9855" y="9451"/>
                  </a:lnTo>
                  <a:lnTo>
                    <a:pt x="9878" y="9368"/>
                  </a:lnTo>
                  <a:lnTo>
                    <a:pt x="9900" y="9286"/>
                  </a:lnTo>
                  <a:lnTo>
                    <a:pt x="9921" y="9202"/>
                  </a:lnTo>
                  <a:lnTo>
                    <a:pt x="9941" y="9118"/>
                  </a:lnTo>
                  <a:lnTo>
                    <a:pt x="9958" y="9032"/>
                  </a:lnTo>
                  <a:lnTo>
                    <a:pt x="9971" y="9035"/>
                  </a:lnTo>
                  <a:lnTo>
                    <a:pt x="9983" y="9037"/>
                  </a:lnTo>
                  <a:lnTo>
                    <a:pt x="9995" y="9041"/>
                  </a:lnTo>
                  <a:lnTo>
                    <a:pt x="10007" y="9044"/>
                  </a:lnTo>
                  <a:lnTo>
                    <a:pt x="10019" y="9048"/>
                  </a:lnTo>
                  <a:lnTo>
                    <a:pt x="10032" y="9050"/>
                  </a:lnTo>
                  <a:lnTo>
                    <a:pt x="10044" y="9052"/>
                  </a:lnTo>
                  <a:lnTo>
                    <a:pt x="10057" y="9053"/>
                  </a:lnTo>
                  <a:lnTo>
                    <a:pt x="10109" y="9052"/>
                  </a:lnTo>
                  <a:lnTo>
                    <a:pt x="10160" y="9048"/>
                  </a:lnTo>
                  <a:lnTo>
                    <a:pt x="10210" y="9041"/>
                  </a:lnTo>
                  <a:lnTo>
                    <a:pt x="10259" y="9033"/>
                  </a:lnTo>
                  <a:lnTo>
                    <a:pt x="10309" y="9021"/>
                  </a:lnTo>
                  <a:lnTo>
                    <a:pt x="10356" y="9008"/>
                  </a:lnTo>
                  <a:lnTo>
                    <a:pt x="10403" y="8992"/>
                  </a:lnTo>
                  <a:lnTo>
                    <a:pt x="10449" y="8974"/>
                  </a:lnTo>
                  <a:lnTo>
                    <a:pt x="10493" y="8954"/>
                  </a:lnTo>
                  <a:lnTo>
                    <a:pt x="10536" y="8932"/>
                  </a:lnTo>
                  <a:lnTo>
                    <a:pt x="10578" y="8908"/>
                  </a:lnTo>
                  <a:lnTo>
                    <a:pt x="10619" y="8881"/>
                  </a:lnTo>
                  <a:lnTo>
                    <a:pt x="10659" y="8853"/>
                  </a:lnTo>
                  <a:lnTo>
                    <a:pt x="10697" y="8824"/>
                  </a:lnTo>
                  <a:lnTo>
                    <a:pt x="10733" y="8792"/>
                  </a:lnTo>
                  <a:lnTo>
                    <a:pt x="10768" y="8759"/>
                  </a:lnTo>
                  <a:lnTo>
                    <a:pt x="10802" y="8723"/>
                  </a:lnTo>
                  <a:lnTo>
                    <a:pt x="10834" y="8687"/>
                  </a:lnTo>
                  <a:lnTo>
                    <a:pt x="10863" y="8649"/>
                  </a:lnTo>
                  <a:lnTo>
                    <a:pt x="10891" y="8610"/>
                  </a:lnTo>
                  <a:lnTo>
                    <a:pt x="10917" y="8569"/>
                  </a:lnTo>
                  <a:lnTo>
                    <a:pt x="10941" y="8527"/>
                  </a:lnTo>
                  <a:lnTo>
                    <a:pt x="10963" y="8483"/>
                  </a:lnTo>
                  <a:lnTo>
                    <a:pt x="10984" y="8439"/>
                  </a:lnTo>
                  <a:lnTo>
                    <a:pt x="11002" y="8394"/>
                  </a:lnTo>
                  <a:lnTo>
                    <a:pt x="11018" y="8346"/>
                  </a:lnTo>
                  <a:lnTo>
                    <a:pt x="11031" y="8299"/>
                  </a:lnTo>
                  <a:lnTo>
                    <a:pt x="11043" y="8251"/>
                  </a:lnTo>
                  <a:lnTo>
                    <a:pt x="11051" y="8200"/>
                  </a:lnTo>
                  <a:lnTo>
                    <a:pt x="11058" y="8150"/>
                  </a:lnTo>
                  <a:lnTo>
                    <a:pt x="11062" y="8100"/>
                  </a:lnTo>
                  <a:lnTo>
                    <a:pt x="11063" y="8048"/>
                  </a:lnTo>
                  <a:lnTo>
                    <a:pt x="11062" y="7996"/>
                  </a:lnTo>
                  <a:lnTo>
                    <a:pt x="11058" y="7945"/>
                  </a:lnTo>
                  <a:lnTo>
                    <a:pt x="11051" y="7895"/>
                  </a:lnTo>
                  <a:lnTo>
                    <a:pt x="11043" y="7845"/>
                  </a:lnTo>
                  <a:lnTo>
                    <a:pt x="11031" y="7796"/>
                  </a:lnTo>
                  <a:lnTo>
                    <a:pt x="11018" y="7749"/>
                  </a:lnTo>
                  <a:lnTo>
                    <a:pt x="11002" y="7701"/>
                  </a:lnTo>
                  <a:lnTo>
                    <a:pt x="10984" y="7656"/>
                  </a:lnTo>
                  <a:lnTo>
                    <a:pt x="10963" y="7611"/>
                  </a:lnTo>
                  <a:lnTo>
                    <a:pt x="10941" y="7568"/>
                  </a:lnTo>
                  <a:lnTo>
                    <a:pt x="10917" y="7525"/>
                  </a:lnTo>
                  <a:lnTo>
                    <a:pt x="10891" y="7485"/>
                  </a:lnTo>
                  <a:lnTo>
                    <a:pt x="10863" y="7446"/>
                  </a:lnTo>
                  <a:lnTo>
                    <a:pt x="10834" y="7408"/>
                  </a:lnTo>
                  <a:lnTo>
                    <a:pt x="10802" y="7372"/>
                  </a:lnTo>
                  <a:lnTo>
                    <a:pt x="10768" y="7336"/>
                  </a:lnTo>
                  <a:lnTo>
                    <a:pt x="10733" y="7303"/>
                  </a:lnTo>
                  <a:lnTo>
                    <a:pt x="10697" y="7271"/>
                  </a:lnTo>
                  <a:lnTo>
                    <a:pt x="10659" y="7242"/>
                  </a:lnTo>
                  <a:lnTo>
                    <a:pt x="10619" y="7214"/>
                  </a:lnTo>
                  <a:lnTo>
                    <a:pt x="10578" y="7187"/>
                  </a:lnTo>
                  <a:lnTo>
                    <a:pt x="10536" y="7163"/>
                  </a:lnTo>
                  <a:lnTo>
                    <a:pt x="10493" y="7141"/>
                  </a:lnTo>
                  <a:lnTo>
                    <a:pt x="10449" y="7121"/>
                  </a:lnTo>
                  <a:lnTo>
                    <a:pt x="10403" y="7103"/>
                  </a:lnTo>
                  <a:lnTo>
                    <a:pt x="10356" y="7087"/>
                  </a:lnTo>
                  <a:lnTo>
                    <a:pt x="10309" y="7073"/>
                  </a:lnTo>
                  <a:lnTo>
                    <a:pt x="10259" y="7062"/>
                  </a:lnTo>
                  <a:lnTo>
                    <a:pt x="10210" y="7054"/>
                  </a:lnTo>
                  <a:lnTo>
                    <a:pt x="10160" y="7047"/>
                  </a:lnTo>
                  <a:lnTo>
                    <a:pt x="10109" y="7043"/>
                  </a:lnTo>
                  <a:lnTo>
                    <a:pt x="10057" y="70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04" name="îṥḷíḓe">
              <a:extLst>
                <a:ext uri="{FF2B5EF4-FFF2-40B4-BE49-F238E27FC236}">
                  <a16:creationId xmlns:a16="http://schemas.microsoft.com/office/drawing/2014/main" id="{D122FFFA-F8E9-48E8-8A44-53040AF911CC}"/>
                </a:ext>
              </a:extLst>
            </p:cNvPr>
            <p:cNvSpPr/>
            <p:nvPr/>
          </p:nvSpPr>
          <p:spPr bwMode="auto">
            <a:xfrm>
              <a:off x="2348575" y="1160263"/>
              <a:ext cx="115617" cy="115617"/>
            </a:xfrm>
            <a:custGeom>
              <a:avLst/>
              <a:gdLst>
                <a:gd name="T0" fmla="*/ 2976 w 3037"/>
                <a:gd name="T1" fmla="*/ 39 h 3053"/>
                <a:gd name="T2" fmla="*/ 2950 w 3037"/>
                <a:gd name="T3" fmla="*/ 22 h 3053"/>
                <a:gd name="T4" fmla="*/ 2921 w 3037"/>
                <a:gd name="T5" fmla="*/ 9 h 3053"/>
                <a:gd name="T6" fmla="*/ 2892 w 3037"/>
                <a:gd name="T7" fmla="*/ 2 h 3053"/>
                <a:gd name="T8" fmla="*/ 2861 w 3037"/>
                <a:gd name="T9" fmla="*/ 0 h 3053"/>
                <a:gd name="T10" fmla="*/ 2831 w 3037"/>
                <a:gd name="T11" fmla="*/ 4 h 3053"/>
                <a:gd name="T12" fmla="*/ 2801 w 3037"/>
                <a:gd name="T13" fmla="*/ 15 h 3053"/>
                <a:gd name="T14" fmla="*/ 2773 w 3037"/>
                <a:gd name="T15" fmla="*/ 30 h 3053"/>
                <a:gd name="T16" fmla="*/ 149 w 3037"/>
                <a:gd name="T17" fmla="*/ 2194 h 3053"/>
                <a:gd name="T18" fmla="*/ 114 w 3037"/>
                <a:gd name="T19" fmla="*/ 2232 h 3053"/>
                <a:gd name="T20" fmla="*/ 85 w 3037"/>
                <a:gd name="T21" fmla="*/ 2272 h 3053"/>
                <a:gd name="T22" fmla="*/ 59 w 3037"/>
                <a:gd name="T23" fmla="*/ 2315 h 3053"/>
                <a:gd name="T24" fmla="*/ 38 w 3037"/>
                <a:gd name="T25" fmla="*/ 2360 h 3053"/>
                <a:gd name="T26" fmla="*/ 22 w 3037"/>
                <a:gd name="T27" fmla="*/ 2407 h 3053"/>
                <a:gd name="T28" fmla="*/ 10 w 3037"/>
                <a:gd name="T29" fmla="*/ 2455 h 3053"/>
                <a:gd name="T30" fmla="*/ 3 w 3037"/>
                <a:gd name="T31" fmla="*/ 2504 h 3053"/>
                <a:gd name="T32" fmla="*/ 0 w 3037"/>
                <a:gd name="T33" fmla="*/ 2556 h 3053"/>
                <a:gd name="T34" fmla="*/ 3 w 3037"/>
                <a:gd name="T35" fmla="*/ 2605 h 3053"/>
                <a:gd name="T36" fmla="*/ 10 w 3037"/>
                <a:gd name="T37" fmla="*/ 2653 h 3053"/>
                <a:gd name="T38" fmla="*/ 21 w 3037"/>
                <a:gd name="T39" fmla="*/ 2700 h 3053"/>
                <a:gd name="T40" fmla="*/ 37 w 3037"/>
                <a:gd name="T41" fmla="*/ 2746 h 3053"/>
                <a:gd name="T42" fmla="*/ 58 w 3037"/>
                <a:gd name="T43" fmla="*/ 2789 h 3053"/>
                <a:gd name="T44" fmla="*/ 82 w 3037"/>
                <a:gd name="T45" fmla="*/ 2831 h 3053"/>
                <a:gd name="T46" fmla="*/ 111 w 3037"/>
                <a:gd name="T47" fmla="*/ 2870 h 3053"/>
                <a:gd name="T48" fmla="*/ 146 w 3037"/>
                <a:gd name="T49" fmla="*/ 2907 h 3053"/>
                <a:gd name="T50" fmla="*/ 182 w 3037"/>
                <a:gd name="T51" fmla="*/ 2940 h 3053"/>
                <a:gd name="T52" fmla="*/ 221 w 3037"/>
                <a:gd name="T53" fmla="*/ 2969 h 3053"/>
                <a:gd name="T54" fmla="*/ 263 w 3037"/>
                <a:gd name="T55" fmla="*/ 2994 h 3053"/>
                <a:gd name="T56" fmla="*/ 308 w 3037"/>
                <a:gd name="T57" fmla="*/ 3015 h 3053"/>
                <a:gd name="T58" fmla="*/ 354 w 3037"/>
                <a:gd name="T59" fmla="*/ 3031 h 3053"/>
                <a:gd name="T60" fmla="*/ 401 w 3037"/>
                <a:gd name="T61" fmla="*/ 3043 h 3053"/>
                <a:gd name="T62" fmla="*/ 450 w 3037"/>
                <a:gd name="T63" fmla="*/ 3051 h 3053"/>
                <a:gd name="T64" fmla="*/ 501 w 3037"/>
                <a:gd name="T65" fmla="*/ 3053 h 3053"/>
                <a:gd name="T66" fmla="*/ 548 w 3037"/>
                <a:gd name="T67" fmla="*/ 3051 h 3053"/>
                <a:gd name="T68" fmla="*/ 595 w 3037"/>
                <a:gd name="T69" fmla="*/ 3044 h 3053"/>
                <a:gd name="T70" fmla="*/ 642 w 3037"/>
                <a:gd name="T71" fmla="*/ 3033 h 3053"/>
                <a:gd name="T72" fmla="*/ 688 w 3037"/>
                <a:gd name="T73" fmla="*/ 3018 h 3053"/>
                <a:gd name="T74" fmla="*/ 732 w 3037"/>
                <a:gd name="T75" fmla="*/ 2998 h 3053"/>
                <a:gd name="T76" fmla="*/ 775 w 3037"/>
                <a:gd name="T77" fmla="*/ 2975 h 3053"/>
                <a:gd name="T78" fmla="*/ 814 w 3037"/>
                <a:gd name="T79" fmla="*/ 2947 h 3053"/>
                <a:gd name="T80" fmla="*/ 853 w 3037"/>
                <a:gd name="T81" fmla="*/ 2914 h 3053"/>
                <a:gd name="T82" fmla="*/ 3001 w 3037"/>
                <a:gd name="T83" fmla="*/ 276 h 3053"/>
                <a:gd name="T84" fmla="*/ 3018 w 3037"/>
                <a:gd name="T85" fmla="*/ 250 h 3053"/>
                <a:gd name="T86" fmla="*/ 3030 w 3037"/>
                <a:gd name="T87" fmla="*/ 221 h 3053"/>
                <a:gd name="T88" fmla="*/ 3036 w 3037"/>
                <a:gd name="T89" fmla="*/ 191 h 3053"/>
                <a:gd name="T90" fmla="*/ 3037 w 3037"/>
                <a:gd name="T91" fmla="*/ 160 h 3053"/>
                <a:gd name="T92" fmla="*/ 3033 w 3037"/>
                <a:gd name="T93" fmla="*/ 130 h 3053"/>
                <a:gd name="T94" fmla="*/ 3023 w 3037"/>
                <a:gd name="T95" fmla="*/ 101 h 3053"/>
                <a:gd name="T96" fmla="*/ 3008 w 3037"/>
                <a:gd name="T97" fmla="*/ 74 h 3053"/>
                <a:gd name="T98" fmla="*/ 2988 w 3037"/>
                <a:gd name="T99" fmla="*/ 50 h 30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037" h="3053">
                  <a:moveTo>
                    <a:pt x="2988" y="50"/>
                  </a:moveTo>
                  <a:lnTo>
                    <a:pt x="2976" y="39"/>
                  </a:lnTo>
                  <a:lnTo>
                    <a:pt x="2963" y="30"/>
                  </a:lnTo>
                  <a:lnTo>
                    <a:pt x="2950" y="22"/>
                  </a:lnTo>
                  <a:lnTo>
                    <a:pt x="2935" y="15"/>
                  </a:lnTo>
                  <a:lnTo>
                    <a:pt x="2921" y="9"/>
                  </a:lnTo>
                  <a:lnTo>
                    <a:pt x="2907" y="5"/>
                  </a:lnTo>
                  <a:lnTo>
                    <a:pt x="2892" y="2"/>
                  </a:lnTo>
                  <a:lnTo>
                    <a:pt x="2876" y="0"/>
                  </a:lnTo>
                  <a:lnTo>
                    <a:pt x="2861" y="0"/>
                  </a:lnTo>
                  <a:lnTo>
                    <a:pt x="2846" y="2"/>
                  </a:lnTo>
                  <a:lnTo>
                    <a:pt x="2831" y="4"/>
                  </a:lnTo>
                  <a:lnTo>
                    <a:pt x="2816" y="8"/>
                  </a:lnTo>
                  <a:lnTo>
                    <a:pt x="2801" y="15"/>
                  </a:lnTo>
                  <a:lnTo>
                    <a:pt x="2787" y="22"/>
                  </a:lnTo>
                  <a:lnTo>
                    <a:pt x="2773" y="30"/>
                  </a:lnTo>
                  <a:lnTo>
                    <a:pt x="2759" y="40"/>
                  </a:lnTo>
                  <a:lnTo>
                    <a:pt x="149" y="2194"/>
                  </a:lnTo>
                  <a:lnTo>
                    <a:pt x="132" y="2212"/>
                  </a:lnTo>
                  <a:lnTo>
                    <a:pt x="114" y="2232"/>
                  </a:lnTo>
                  <a:lnTo>
                    <a:pt x="99" y="2252"/>
                  </a:lnTo>
                  <a:lnTo>
                    <a:pt x="85" y="2272"/>
                  </a:lnTo>
                  <a:lnTo>
                    <a:pt x="72" y="2293"/>
                  </a:lnTo>
                  <a:lnTo>
                    <a:pt x="59" y="2315"/>
                  </a:lnTo>
                  <a:lnTo>
                    <a:pt x="48" y="2337"/>
                  </a:lnTo>
                  <a:lnTo>
                    <a:pt x="38" y="2360"/>
                  </a:lnTo>
                  <a:lnTo>
                    <a:pt x="30" y="2383"/>
                  </a:lnTo>
                  <a:lnTo>
                    <a:pt x="22" y="2407"/>
                  </a:lnTo>
                  <a:lnTo>
                    <a:pt x="15" y="2431"/>
                  </a:lnTo>
                  <a:lnTo>
                    <a:pt x="10" y="2455"/>
                  </a:lnTo>
                  <a:lnTo>
                    <a:pt x="6" y="2480"/>
                  </a:lnTo>
                  <a:lnTo>
                    <a:pt x="3" y="2504"/>
                  </a:lnTo>
                  <a:lnTo>
                    <a:pt x="1" y="2530"/>
                  </a:lnTo>
                  <a:lnTo>
                    <a:pt x="0" y="2556"/>
                  </a:lnTo>
                  <a:lnTo>
                    <a:pt x="1" y="2580"/>
                  </a:lnTo>
                  <a:lnTo>
                    <a:pt x="3" y="2605"/>
                  </a:lnTo>
                  <a:lnTo>
                    <a:pt x="6" y="2629"/>
                  </a:lnTo>
                  <a:lnTo>
                    <a:pt x="10" y="2653"/>
                  </a:lnTo>
                  <a:lnTo>
                    <a:pt x="15" y="2676"/>
                  </a:lnTo>
                  <a:lnTo>
                    <a:pt x="21" y="2700"/>
                  </a:lnTo>
                  <a:lnTo>
                    <a:pt x="29" y="2724"/>
                  </a:lnTo>
                  <a:lnTo>
                    <a:pt x="37" y="2746"/>
                  </a:lnTo>
                  <a:lnTo>
                    <a:pt x="47" y="2768"/>
                  </a:lnTo>
                  <a:lnTo>
                    <a:pt x="58" y="2789"/>
                  </a:lnTo>
                  <a:lnTo>
                    <a:pt x="70" y="2810"/>
                  </a:lnTo>
                  <a:lnTo>
                    <a:pt x="82" y="2831"/>
                  </a:lnTo>
                  <a:lnTo>
                    <a:pt x="96" y="2851"/>
                  </a:lnTo>
                  <a:lnTo>
                    <a:pt x="111" y="2870"/>
                  </a:lnTo>
                  <a:lnTo>
                    <a:pt x="129" y="2889"/>
                  </a:lnTo>
                  <a:lnTo>
                    <a:pt x="146" y="2907"/>
                  </a:lnTo>
                  <a:lnTo>
                    <a:pt x="164" y="2924"/>
                  </a:lnTo>
                  <a:lnTo>
                    <a:pt x="182" y="2940"/>
                  </a:lnTo>
                  <a:lnTo>
                    <a:pt x="201" y="2955"/>
                  </a:lnTo>
                  <a:lnTo>
                    <a:pt x="221" y="2969"/>
                  </a:lnTo>
                  <a:lnTo>
                    <a:pt x="242" y="2982"/>
                  </a:lnTo>
                  <a:lnTo>
                    <a:pt x="263" y="2994"/>
                  </a:lnTo>
                  <a:lnTo>
                    <a:pt x="285" y="3005"/>
                  </a:lnTo>
                  <a:lnTo>
                    <a:pt x="308" y="3015"/>
                  </a:lnTo>
                  <a:lnTo>
                    <a:pt x="331" y="3024"/>
                  </a:lnTo>
                  <a:lnTo>
                    <a:pt x="354" y="3031"/>
                  </a:lnTo>
                  <a:lnTo>
                    <a:pt x="377" y="3038"/>
                  </a:lnTo>
                  <a:lnTo>
                    <a:pt x="401" y="3043"/>
                  </a:lnTo>
                  <a:lnTo>
                    <a:pt x="426" y="3048"/>
                  </a:lnTo>
                  <a:lnTo>
                    <a:pt x="450" y="3051"/>
                  </a:lnTo>
                  <a:lnTo>
                    <a:pt x="475" y="3053"/>
                  </a:lnTo>
                  <a:lnTo>
                    <a:pt x="501" y="3053"/>
                  </a:lnTo>
                  <a:lnTo>
                    <a:pt x="525" y="3053"/>
                  </a:lnTo>
                  <a:lnTo>
                    <a:pt x="548" y="3051"/>
                  </a:lnTo>
                  <a:lnTo>
                    <a:pt x="572" y="3048"/>
                  </a:lnTo>
                  <a:lnTo>
                    <a:pt x="595" y="3044"/>
                  </a:lnTo>
                  <a:lnTo>
                    <a:pt x="619" y="3039"/>
                  </a:lnTo>
                  <a:lnTo>
                    <a:pt x="642" y="3033"/>
                  </a:lnTo>
                  <a:lnTo>
                    <a:pt x="666" y="3026"/>
                  </a:lnTo>
                  <a:lnTo>
                    <a:pt x="688" y="3018"/>
                  </a:lnTo>
                  <a:lnTo>
                    <a:pt x="710" y="3009"/>
                  </a:lnTo>
                  <a:lnTo>
                    <a:pt x="732" y="2998"/>
                  </a:lnTo>
                  <a:lnTo>
                    <a:pt x="754" y="2987"/>
                  </a:lnTo>
                  <a:lnTo>
                    <a:pt x="775" y="2975"/>
                  </a:lnTo>
                  <a:lnTo>
                    <a:pt x="795" y="2961"/>
                  </a:lnTo>
                  <a:lnTo>
                    <a:pt x="814" y="2947"/>
                  </a:lnTo>
                  <a:lnTo>
                    <a:pt x="834" y="2931"/>
                  </a:lnTo>
                  <a:lnTo>
                    <a:pt x="853" y="2914"/>
                  </a:lnTo>
                  <a:lnTo>
                    <a:pt x="1782" y="1795"/>
                  </a:lnTo>
                  <a:lnTo>
                    <a:pt x="3001" y="276"/>
                  </a:lnTo>
                  <a:lnTo>
                    <a:pt x="3010" y="263"/>
                  </a:lnTo>
                  <a:lnTo>
                    <a:pt x="3018" y="250"/>
                  </a:lnTo>
                  <a:lnTo>
                    <a:pt x="3025" y="236"/>
                  </a:lnTo>
                  <a:lnTo>
                    <a:pt x="3030" y="221"/>
                  </a:lnTo>
                  <a:lnTo>
                    <a:pt x="3034" y="206"/>
                  </a:lnTo>
                  <a:lnTo>
                    <a:pt x="3036" y="191"/>
                  </a:lnTo>
                  <a:lnTo>
                    <a:pt x="3037" y="175"/>
                  </a:lnTo>
                  <a:lnTo>
                    <a:pt x="3037" y="160"/>
                  </a:lnTo>
                  <a:lnTo>
                    <a:pt x="3035" y="145"/>
                  </a:lnTo>
                  <a:lnTo>
                    <a:pt x="3033" y="130"/>
                  </a:lnTo>
                  <a:lnTo>
                    <a:pt x="3028" y="115"/>
                  </a:lnTo>
                  <a:lnTo>
                    <a:pt x="3023" y="101"/>
                  </a:lnTo>
                  <a:lnTo>
                    <a:pt x="3016" y="87"/>
                  </a:lnTo>
                  <a:lnTo>
                    <a:pt x="3008" y="74"/>
                  </a:lnTo>
                  <a:lnTo>
                    <a:pt x="2998" y="62"/>
                  </a:lnTo>
                  <a:lnTo>
                    <a:pt x="2988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05" name="îṧ1íḑê">
              <a:extLst>
                <a:ext uri="{FF2B5EF4-FFF2-40B4-BE49-F238E27FC236}">
                  <a16:creationId xmlns:a16="http://schemas.microsoft.com/office/drawing/2014/main" id="{02E22460-4B06-468C-A5A2-45FD86E9266D}"/>
                </a:ext>
              </a:extLst>
            </p:cNvPr>
            <p:cNvSpPr/>
            <p:nvPr/>
          </p:nvSpPr>
          <p:spPr bwMode="auto">
            <a:xfrm>
              <a:off x="2700980" y="667601"/>
              <a:ext cx="159468" cy="102588"/>
            </a:xfrm>
            <a:custGeom>
              <a:avLst/>
              <a:gdLst>
                <a:gd name="T0" fmla="*/ 4713 w 5797"/>
                <a:gd name="T1" fmla="*/ 41 h 3756"/>
                <a:gd name="T2" fmla="*/ 3661 w 5797"/>
                <a:gd name="T3" fmla="*/ 216 h 3756"/>
                <a:gd name="T4" fmla="*/ 2695 w 5797"/>
                <a:gd name="T5" fmla="*/ 516 h 3756"/>
                <a:gd name="T6" fmla="*/ 1839 w 5797"/>
                <a:gd name="T7" fmla="*/ 924 h 3756"/>
                <a:gd name="T8" fmla="*/ 1118 w 5797"/>
                <a:gd name="T9" fmla="*/ 1423 h 3756"/>
                <a:gd name="T10" fmla="*/ 556 w 5797"/>
                <a:gd name="T11" fmla="*/ 2001 h 3756"/>
                <a:gd name="T12" fmla="*/ 178 w 5797"/>
                <a:gd name="T13" fmla="*/ 2641 h 3756"/>
                <a:gd name="T14" fmla="*/ 7 w 5797"/>
                <a:gd name="T15" fmla="*/ 3329 h 3756"/>
                <a:gd name="T16" fmla="*/ 3 w 5797"/>
                <a:gd name="T17" fmla="*/ 3544 h 3756"/>
                <a:gd name="T18" fmla="*/ 15 w 5797"/>
                <a:gd name="T19" fmla="*/ 3592 h 3756"/>
                <a:gd name="T20" fmla="*/ 36 w 5797"/>
                <a:gd name="T21" fmla="*/ 3636 h 3756"/>
                <a:gd name="T22" fmla="*/ 65 w 5797"/>
                <a:gd name="T23" fmla="*/ 3674 h 3756"/>
                <a:gd name="T24" fmla="*/ 100 w 5797"/>
                <a:gd name="T25" fmla="*/ 3706 h 3756"/>
                <a:gd name="T26" fmla="*/ 143 w 5797"/>
                <a:gd name="T27" fmla="*/ 3731 h 3756"/>
                <a:gd name="T28" fmla="*/ 189 w 5797"/>
                <a:gd name="T29" fmla="*/ 3748 h 3756"/>
                <a:gd name="T30" fmla="*/ 239 w 5797"/>
                <a:gd name="T31" fmla="*/ 3756 h 3756"/>
                <a:gd name="T32" fmla="*/ 290 w 5797"/>
                <a:gd name="T33" fmla="*/ 3753 h 3756"/>
                <a:gd name="T34" fmla="*/ 338 w 5797"/>
                <a:gd name="T35" fmla="*/ 3741 h 3756"/>
                <a:gd name="T36" fmla="*/ 383 w 5797"/>
                <a:gd name="T37" fmla="*/ 3720 h 3756"/>
                <a:gd name="T38" fmla="*/ 421 w 5797"/>
                <a:gd name="T39" fmla="*/ 3691 h 3756"/>
                <a:gd name="T40" fmla="*/ 453 w 5797"/>
                <a:gd name="T41" fmla="*/ 3655 h 3756"/>
                <a:gd name="T42" fmla="*/ 479 w 5797"/>
                <a:gd name="T43" fmla="*/ 3614 h 3756"/>
                <a:gd name="T44" fmla="*/ 496 w 5797"/>
                <a:gd name="T45" fmla="*/ 3568 h 3756"/>
                <a:gd name="T46" fmla="*/ 504 w 5797"/>
                <a:gd name="T47" fmla="*/ 3519 h 3756"/>
                <a:gd name="T48" fmla="*/ 564 w 5797"/>
                <a:gd name="T49" fmla="*/ 3062 h 3756"/>
                <a:gd name="T50" fmla="*/ 820 w 5797"/>
                <a:gd name="T51" fmla="*/ 2496 h 3756"/>
                <a:gd name="T52" fmla="*/ 1257 w 5797"/>
                <a:gd name="T53" fmla="*/ 1973 h 3756"/>
                <a:gd name="T54" fmla="*/ 1848 w 5797"/>
                <a:gd name="T55" fmla="*/ 1509 h 3756"/>
                <a:gd name="T56" fmla="*/ 2572 w 5797"/>
                <a:gd name="T57" fmla="*/ 1115 h 3756"/>
                <a:gd name="T58" fmla="*/ 3402 w 5797"/>
                <a:gd name="T59" fmla="*/ 807 h 3756"/>
                <a:gd name="T60" fmla="*/ 4318 w 5797"/>
                <a:gd name="T61" fmla="*/ 599 h 3756"/>
                <a:gd name="T62" fmla="*/ 5294 w 5797"/>
                <a:gd name="T63" fmla="*/ 505 h 3756"/>
                <a:gd name="T64" fmla="*/ 5583 w 5797"/>
                <a:gd name="T65" fmla="*/ 498 h 3756"/>
                <a:gd name="T66" fmla="*/ 5632 w 5797"/>
                <a:gd name="T67" fmla="*/ 486 h 3756"/>
                <a:gd name="T68" fmla="*/ 5676 w 5797"/>
                <a:gd name="T69" fmla="*/ 465 h 3756"/>
                <a:gd name="T70" fmla="*/ 5714 w 5797"/>
                <a:gd name="T71" fmla="*/ 436 h 3756"/>
                <a:gd name="T72" fmla="*/ 5747 w 5797"/>
                <a:gd name="T73" fmla="*/ 401 h 3756"/>
                <a:gd name="T74" fmla="*/ 5772 w 5797"/>
                <a:gd name="T75" fmla="*/ 359 h 3756"/>
                <a:gd name="T76" fmla="*/ 5789 w 5797"/>
                <a:gd name="T77" fmla="*/ 313 h 3756"/>
                <a:gd name="T78" fmla="*/ 5797 w 5797"/>
                <a:gd name="T79" fmla="*/ 264 h 3756"/>
                <a:gd name="T80" fmla="*/ 5794 w 5797"/>
                <a:gd name="T81" fmla="*/ 212 h 3756"/>
                <a:gd name="T82" fmla="*/ 5782 w 5797"/>
                <a:gd name="T83" fmla="*/ 164 h 3756"/>
                <a:gd name="T84" fmla="*/ 5761 w 5797"/>
                <a:gd name="T85" fmla="*/ 120 h 3756"/>
                <a:gd name="T86" fmla="*/ 5732 w 5797"/>
                <a:gd name="T87" fmla="*/ 82 h 3756"/>
                <a:gd name="T88" fmla="*/ 5696 w 5797"/>
                <a:gd name="T89" fmla="*/ 50 h 3756"/>
                <a:gd name="T90" fmla="*/ 5654 w 5797"/>
                <a:gd name="T91" fmla="*/ 25 h 3756"/>
                <a:gd name="T92" fmla="*/ 5609 w 5797"/>
                <a:gd name="T93" fmla="*/ 8 h 3756"/>
                <a:gd name="T94" fmla="*/ 5558 w 5797"/>
                <a:gd name="T95" fmla="*/ 0 h 3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797" h="3756">
                  <a:moveTo>
                    <a:pt x="5545" y="0"/>
                  </a:moveTo>
                  <a:lnTo>
                    <a:pt x="5265" y="5"/>
                  </a:lnTo>
                  <a:lnTo>
                    <a:pt x="4987" y="18"/>
                  </a:lnTo>
                  <a:lnTo>
                    <a:pt x="4713" y="41"/>
                  </a:lnTo>
                  <a:lnTo>
                    <a:pt x="4444" y="73"/>
                  </a:lnTo>
                  <a:lnTo>
                    <a:pt x="4178" y="112"/>
                  </a:lnTo>
                  <a:lnTo>
                    <a:pt x="3917" y="160"/>
                  </a:lnTo>
                  <a:lnTo>
                    <a:pt x="3661" y="216"/>
                  </a:lnTo>
                  <a:lnTo>
                    <a:pt x="3411" y="281"/>
                  </a:lnTo>
                  <a:lnTo>
                    <a:pt x="3166" y="352"/>
                  </a:lnTo>
                  <a:lnTo>
                    <a:pt x="2927" y="431"/>
                  </a:lnTo>
                  <a:lnTo>
                    <a:pt x="2695" y="516"/>
                  </a:lnTo>
                  <a:lnTo>
                    <a:pt x="2470" y="608"/>
                  </a:lnTo>
                  <a:lnTo>
                    <a:pt x="2251" y="707"/>
                  </a:lnTo>
                  <a:lnTo>
                    <a:pt x="2041" y="812"/>
                  </a:lnTo>
                  <a:lnTo>
                    <a:pt x="1839" y="924"/>
                  </a:lnTo>
                  <a:lnTo>
                    <a:pt x="1645" y="1041"/>
                  </a:lnTo>
                  <a:lnTo>
                    <a:pt x="1460" y="1163"/>
                  </a:lnTo>
                  <a:lnTo>
                    <a:pt x="1284" y="1291"/>
                  </a:lnTo>
                  <a:lnTo>
                    <a:pt x="1118" y="1423"/>
                  </a:lnTo>
                  <a:lnTo>
                    <a:pt x="961" y="1562"/>
                  </a:lnTo>
                  <a:lnTo>
                    <a:pt x="815" y="1704"/>
                  </a:lnTo>
                  <a:lnTo>
                    <a:pt x="680" y="1851"/>
                  </a:lnTo>
                  <a:lnTo>
                    <a:pt x="556" y="2001"/>
                  </a:lnTo>
                  <a:lnTo>
                    <a:pt x="443" y="2157"/>
                  </a:lnTo>
                  <a:lnTo>
                    <a:pt x="342" y="2315"/>
                  </a:lnTo>
                  <a:lnTo>
                    <a:pt x="254" y="2477"/>
                  </a:lnTo>
                  <a:lnTo>
                    <a:pt x="178" y="2641"/>
                  </a:lnTo>
                  <a:lnTo>
                    <a:pt x="115" y="2810"/>
                  </a:lnTo>
                  <a:lnTo>
                    <a:pt x="65" y="2980"/>
                  </a:lnTo>
                  <a:lnTo>
                    <a:pt x="29" y="3153"/>
                  </a:lnTo>
                  <a:lnTo>
                    <a:pt x="7" y="3329"/>
                  </a:lnTo>
                  <a:lnTo>
                    <a:pt x="0" y="3506"/>
                  </a:lnTo>
                  <a:lnTo>
                    <a:pt x="0" y="3519"/>
                  </a:lnTo>
                  <a:lnTo>
                    <a:pt x="1" y="3531"/>
                  </a:lnTo>
                  <a:lnTo>
                    <a:pt x="3" y="3544"/>
                  </a:lnTo>
                  <a:lnTo>
                    <a:pt x="5" y="3556"/>
                  </a:lnTo>
                  <a:lnTo>
                    <a:pt x="8" y="3568"/>
                  </a:lnTo>
                  <a:lnTo>
                    <a:pt x="11" y="3580"/>
                  </a:lnTo>
                  <a:lnTo>
                    <a:pt x="15" y="3592"/>
                  </a:lnTo>
                  <a:lnTo>
                    <a:pt x="20" y="3603"/>
                  </a:lnTo>
                  <a:lnTo>
                    <a:pt x="25" y="3614"/>
                  </a:lnTo>
                  <a:lnTo>
                    <a:pt x="30" y="3625"/>
                  </a:lnTo>
                  <a:lnTo>
                    <a:pt x="36" y="3636"/>
                  </a:lnTo>
                  <a:lnTo>
                    <a:pt x="43" y="3646"/>
                  </a:lnTo>
                  <a:lnTo>
                    <a:pt x="50" y="3655"/>
                  </a:lnTo>
                  <a:lnTo>
                    <a:pt x="57" y="3665"/>
                  </a:lnTo>
                  <a:lnTo>
                    <a:pt x="65" y="3674"/>
                  </a:lnTo>
                  <a:lnTo>
                    <a:pt x="73" y="3683"/>
                  </a:lnTo>
                  <a:lnTo>
                    <a:pt x="82" y="3691"/>
                  </a:lnTo>
                  <a:lnTo>
                    <a:pt x="91" y="3699"/>
                  </a:lnTo>
                  <a:lnTo>
                    <a:pt x="100" y="3706"/>
                  </a:lnTo>
                  <a:lnTo>
                    <a:pt x="111" y="3713"/>
                  </a:lnTo>
                  <a:lnTo>
                    <a:pt x="121" y="3720"/>
                  </a:lnTo>
                  <a:lnTo>
                    <a:pt x="132" y="3726"/>
                  </a:lnTo>
                  <a:lnTo>
                    <a:pt x="143" y="3731"/>
                  </a:lnTo>
                  <a:lnTo>
                    <a:pt x="154" y="3736"/>
                  </a:lnTo>
                  <a:lnTo>
                    <a:pt x="165" y="3741"/>
                  </a:lnTo>
                  <a:lnTo>
                    <a:pt x="177" y="3745"/>
                  </a:lnTo>
                  <a:lnTo>
                    <a:pt x="189" y="3748"/>
                  </a:lnTo>
                  <a:lnTo>
                    <a:pt x="201" y="3751"/>
                  </a:lnTo>
                  <a:lnTo>
                    <a:pt x="213" y="3753"/>
                  </a:lnTo>
                  <a:lnTo>
                    <a:pt x="226" y="3755"/>
                  </a:lnTo>
                  <a:lnTo>
                    <a:pt x="239" y="3756"/>
                  </a:lnTo>
                  <a:lnTo>
                    <a:pt x="252" y="3756"/>
                  </a:lnTo>
                  <a:lnTo>
                    <a:pt x="265" y="3756"/>
                  </a:lnTo>
                  <a:lnTo>
                    <a:pt x="278" y="3755"/>
                  </a:lnTo>
                  <a:lnTo>
                    <a:pt x="290" y="3753"/>
                  </a:lnTo>
                  <a:lnTo>
                    <a:pt x="302" y="3751"/>
                  </a:lnTo>
                  <a:lnTo>
                    <a:pt x="315" y="3748"/>
                  </a:lnTo>
                  <a:lnTo>
                    <a:pt x="326" y="3745"/>
                  </a:lnTo>
                  <a:lnTo>
                    <a:pt x="338" y="3741"/>
                  </a:lnTo>
                  <a:lnTo>
                    <a:pt x="349" y="3736"/>
                  </a:lnTo>
                  <a:lnTo>
                    <a:pt x="361" y="3731"/>
                  </a:lnTo>
                  <a:lnTo>
                    <a:pt x="372" y="3726"/>
                  </a:lnTo>
                  <a:lnTo>
                    <a:pt x="383" y="3720"/>
                  </a:lnTo>
                  <a:lnTo>
                    <a:pt x="393" y="3713"/>
                  </a:lnTo>
                  <a:lnTo>
                    <a:pt x="403" y="3706"/>
                  </a:lnTo>
                  <a:lnTo>
                    <a:pt x="412" y="3699"/>
                  </a:lnTo>
                  <a:lnTo>
                    <a:pt x="421" y="3691"/>
                  </a:lnTo>
                  <a:lnTo>
                    <a:pt x="430" y="3683"/>
                  </a:lnTo>
                  <a:lnTo>
                    <a:pt x="438" y="3674"/>
                  </a:lnTo>
                  <a:lnTo>
                    <a:pt x="446" y="3665"/>
                  </a:lnTo>
                  <a:lnTo>
                    <a:pt x="453" y="3655"/>
                  </a:lnTo>
                  <a:lnTo>
                    <a:pt x="460" y="3646"/>
                  </a:lnTo>
                  <a:lnTo>
                    <a:pt x="467" y="3636"/>
                  </a:lnTo>
                  <a:lnTo>
                    <a:pt x="474" y="3625"/>
                  </a:lnTo>
                  <a:lnTo>
                    <a:pt x="479" y="3614"/>
                  </a:lnTo>
                  <a:lnTo>
                    <a:pt x="484" y="3603"/>
                  </a:lnTo>
                  <a:lnTo>
                    <a:pt x="489" y="3592"/>
                  </a:lnTo>
                  <a:lnTo>
                    <a:pt x="493" y="3580"/>
                  </a:lnTo>
                  <a:lnTo>
                    <a:pt x="496" y="3568"/>
                  </a:lnTo>
                  <a:lnTo>
                    <a:pt x="499" y="3556"/>
                  </a:lnTo>
                  <a:lnTo>
                    <a:pt x="501" y="3544"/>
                  </a:lnTo>
                  <a:lnTo>
                    <a:pt x="503" y="3531"/>
                  </a:lnTo>
                  <a:lnTo>
                    <a:pt x="504" y="3519"/>
                  </a:lnTo>
                  <a:lnTo>
                    <a:pt x="504" y="3506"/>
                  </a:lnTo>
                  <a:lnTo>
                    <a:pt x="511" y="3357"/>
                  </a:lnTo>
                  <a:lnTo>
                    <a:pt x="531" y="3208"/>
                  </a:lnTo>
                  <a:lnTo>
                    <a:pt x="564" y="3062"/>
                  </a:lnTo>
                  <a:lnTo>
                    <a:pt x="611" y="2917"/>
                  </a:lnTo>
                  <a:lnTo>
                    <a:pt x="669" y="2775"/>
                  </a:lnTo>
                  <a:lnTo>
                    <a:pt x="739" y="2634"/>
                  </a:lnTo>
                  <a:lnTo>
                    <a:pt x="820" y="2496"/>
                  </a:lnTo>
                  <a:lnTo>
                    <a:pt x="914" y="2361"/>
                  </a:lnTo>
                  <a:lnTo>
                    <a:pt x="1018" y="2229"/>
                  </a:lnTo>
                  <a:lnTo>
                    <a:pt x="1132" y="2100"/>
                  </a:lnTo>
                  <a:lnTo>
                    <a:pt x="1257" y="1973"/>
                  </a:lnTo>
                  <a:lnTo>
                    <a:pt x="1391" y="1851"/>
                  </a:lnTo>
                  <a:lnTo>
                    <a:pt x="1534" y="1733"/>
                  </a:lnTo>
                  <a:lnTo>
                    <a:pt x="1686" y="1619"/>
                  </a:lnTo>
                  <a:lnTo>
                    <a:pt x="1848" y="1509"/>
                  </a:lnTo>
                  <a:lnTo>
                    <a:pt x="2017" y="1403"/>
                  </a:lnTo>
                  <a:lnTo>
                    <a:pt x="2195" y="1302"/>
                  </a:lnTo>
                  <a:lnTo>
                    <a:pt x="2379" y="1206"/>
                  </a:lnTo>
                  <a:lnTo>
                    <a:pt x="2572" y="1115"/>
                  </a:lnTo>
                  <a:lnTo>
                    <a:pt x="2769" y="1030"/>
                  </a:lnTo>
                  <a:lnTo>
                    <a:pt x="2975" y="950"/>
                  </a:lnTo>
                  <a:lnTo>
                    <a:pt x="3186" y="876"/>
                  </a:lnTo>
                  <a:lnTo>
                    <a:pt x="3402" y="807"/>
                  </a:lnTo>
                  <a:lnTo>
                    <a:pt x="3624" y="745"/>
                  </a:lnTo>
                  <a:lnTo>
                    <a:pt x="3851" y="690"/>
                  </a:lnTo>
                  <a:lnTo>
                    <a:pt x="4083" y="641"/>
                  </a:lnTo>
                  <a:lnTo>
                    <a:pt x="4318" y="599"/>
                  </a:lnTo>
                  <a:lnTo>
                    <a:pt x="4557" y="564"/>
                  </a:lnTo>
                  <a:lnTo>
                    <a:pt x="4800" y="537"/>
                  </a:lnTo>
                  <a:lnTo>
                    <a:pt x="5046" y="517"/>
                  </a:lnTo>
                  <a:lnTo>
                    <a:pt x="5294" y="505"/>
                  </a:lnTo>
                  <a:lnTo>
                    <a:pt x="5545" y="501"/>
                  </a:lnTo>
                  <a:lnTo>
                    <a:pt x="5558" y="501"/>
                  </a:lnTo>
                  <a:lnTo>
                    <a:pt x="5571" y="500"/>
                  </a:lnTo>
                  <a:lnTo>
                    <a:pt x="5583" y="498"/>
                  </a:lnTo>
                  <a:lnTo>
                    <a:pt x="5595" y="496"/>
                  </a:lnTo>
                  <a:lnTo>
                    <a:pt x="5609" y="493"/>
                  </a:lnTo>
                  <a:lnTo>
                    <a:pt x="5620" y="490"/>
                  </a:lnTo>
                  <a:lnTo>
                    <a:pt x="5632" y="486"/>
                  </a:lnTo>
                  <a:lnTo>
                    <a:pt x="5643" y="481"/>
                  </a:lnTo>
                  <a:lnTo>
                    <a:pt x="5654" y="476"/>
                  </a:lnTo>
                  <a:lnTo>
                    <a:pt x="5665" y="471"/>
                  </a:lnTo>
                  <a:lnTo>
                    <a:pt x="5676" y="465"/>
                  </a:lnTo>
                  <a:lnTo>
                    <a:pt x="5686" y="458"/>
                  </a:lnTo>
                  <a:lnTo>
                    <a:pt x="5696" y="451"/>
                  </a:lnTo>
                  <a:lnTo>
                    <a:pt x="5705" y="444"/>
                  </a:lnTo>
                  <a:lnTo>
                    <a:pt x="5714" y="436"/>
                  </a:lnTo>
                  <a:lnTo>
                    <a:pt x="5723" y="428"/>
                  </a:lnTo>
                  <a:lnTo>
                    <a:pt x="5732" y="419"/>
                  </a:lnTo>
                  <a:lnTo>
                    <a:pt x="5740" y="410"/>
                  </a:lnTo>
                  <a:lnTo>
                    <a:pt x="5747" y="401"/>
                  </a:lnTo>
                  <a:lnTo>
                    <a:pt x="5754" y="391"/>
                  </a:lnTo>
                  <a:lnTo>
                    <a:pt x="5761" y="381"/>
                  </a:lnTo>
                  <a:lnTo>
                    <a:pt x="5767" y="370"/>
                  </a:lnTo>
                  <a:lnTo>
                    <a:pt x="5772" y="359"/>
                  </a:lnTo>
                  <a:lnTo>
                    <a:pt x="5777" y="348"/>
                  </a:lnTo>
                  <a:lnTo>
                    <a:pt x="5782" y="337"/>
                  </a:lnTo>
                  <a:lnTo>
                    <a:pt x="5786" y="325"/>
                  </a:lnTo>
                  <a:lnTo>
                    <a:pt x="5789" y="313"/>
                  </a:lnTo>
                  <a:lnTo>
                    <a:pt x="5792" y="301"/>
                  </a:lnTo>
                  <a:lnTo>
                    <a:pt x="5794" y="289"/>
                  </a:lnTo>
                  <a:lnTo>
                    <a:pt x="5796" y="277"/>
                  </a:lnTo>
                  <a:lnTo>
                    <a:pt x="5797" y="264"/>
                  </a:lnTo>
                  <a:lnTo>
                    <a:pt x="5797" y="251"/>
                  </a:lnTo>
                  <a:lnTo>
                    <a:pt x="5797" y="237"/>
                  </a:lnTo>
                  <a:lnTo>
                    <a:pt x="5796" y="225"/>
                  </a:lnTo>
                  <a:lnTo>
                    <a:pt x="5794" y="212"/>
                  </a:lnTo>
                  <a:lnTo>
                    <a:pt x="5792" y="200"/>
                  </a:lnTo>
                  <a:lnTo>
                    <a:pt x="5789" y="188"/>
                  </a:lnTo>
                  <a:lnTo>
                    <a:pt x="5786" y="176"/>
                  </a:lnTo>
                  <a:lnTo>
                    <a:pt x="5782" y="164"/>
                  </a:lnTo>
                  <a:lnTo>
                    <a:pt x="5777" y="153"/>
                  </a:lnTo>
                  <a:lnTo>
                    <a:pt x="5772" y="142"/>
                  </a:lnTo>
                  <a:lnTo>
                    <a:pt x="5767" y="131"/>
                  </a:lnTo>
                  <a:lnTo>
                    <a:pt x="5761" y="120"/>
                  </a:lnTo>
                  <a:lnTo>
                    <a:pt x="5754" y="110"/>
                  </a:lnTo>
                  <a:lnTo>
                    <a:pt x="5747" y="100"/>
                  </a:lnTo>
                  <a:lnTo>
                    <a:pt x="5740" y="91"/>
                  </a:lnTo>
                  <a:lnTo>
                    <a:pt x="5732" y="82"/>
                  </a:lnTo>
                  <a:lnTo>
                    <a:pt x="5723" y="73"/>
                  </a:lnTo>
                  <a:lnTo>
                    <a:pt x="5714" y="65"/>
                  </a:lnTo>
                  <a:lnTo>
                    <a:pt x="5705" y="57"/>
                  </a:lnTo>
                  <a:lnTo>
                    <a:pt x="5696" y="50"/>
                  </a:lnTo>
                  <a:lnTo>
                    <a:pt x="5686" y="43"/>
                  </a:lnTo>
                  <a:lnTo>
                    <a:pt x="5676" y="36"/>
                  </a:lnTo>
                  <a:lnTo>
                    <a:pt x="5665" y="30"/>
                  </a:lnTo>
                  <a:lnTo>
                    <a:pt x="5654" y="25"/>
                  </a:lnTo>
                  <a:lnTo>
                    <a:pt x="5643" y="20"/>
                  </a:lnTo>
                  <a:lnTo>
                    <a:pt x="5632" y="15"/>
                  </a:lnTo>
                  <a:lnTo>
                    <a:pt x="5620" y="11"/>
                  </a:lnTo>
                  <a:lnTo>
                    <a:pt x="5609" y="8"/>
                  </a:lnTo>
                  <a:lnTo>
                    <a:pt x="5595" y="5"/>
                  </a:lnTo>
                  <a:lnTo>
                    <a:pt x="5583" y="3"/>
                  </a:lnTo>
                  <a:lnTo>
                    <a:pt x="5571" y="1"/>
                  </a:lnTo>
                  <a:lnTo>
                    <a:pt x="5558" y="0"/>
                  </a:lnTo>
                  <a:lnTo>
                    <a:pt x="55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06" name="íŝliḍe">
              <a:extLst>
                <a:ext uri="{FF2B5EF4-FFF2-40B4-BE49-F238E27FC236}">
                  <a16:creationId xmlns:a16="http://schemas.microsoft.com/office/drawing/2014/main" id="{205BFE15-2D9F-4101-A522-65210C88DE4E}"/>
                </a:ext>
              </a:extLst>
            </p:cNvPr>
            <p:cNvSpPr/>
            <p:nvPr/>
          </p:nvSpPr>
          <p:spPr bwMode="auto">
            <a:xfrm>
              <a:off x="2631911" y="598532"/>
              <a:ext cx="442853" cy="384957"/>
            </a:xfrm>
            <a:custGeom>
              <a:avLst/>
              <a:gdLst>
                <a:gd name="T0" fmla="*/ 7365 w 16132"/>
                <a:gd name="T1" fmla="*/ 10992 h 14023"/>
                <a:gd name="T2" fmla="*/ 6620 w 16132"/>
                <a:gd name="T3" fmla="*/ 10910 h 14023"/>
                <a:gd name="T4" fmla="*/ 6344 w 16132"/>
                <a:gd name="T5" fmla="*/ 10917 h 14023"/>
                <a:gd name="T6" fmla="*/ 6106 w 16132"/>
                <a:gd name="T7" fmla="*/ 10988 h 14023"/>
                <a:gd name="T8" fmla="*/ 5892 w 16132"/>
                <a:gd name="T9" fmla="*/ 11114 h 14023"/>
                <a:gd name="T10" fmla="*/ 5710 w 16132"/>
                <a:gd name="T11" fmla="*/ 11296 h 14023"/>
                <a:gd name="T12" fmla="*/ 5336 w 16132"/>
                <a:gd name="T13" fmla="*/ 11674 h 14023"/>
                <a:gd name="T14" fmla="*/ 4873 w 16132"/>
                <a:gd name="T15" fmla="*/ 12065 h 14023"/>
                <a:gd name="T16" fmla="*/ 4310 w 16132"/>
                <a:gd name="T17" fmla="*/ 12459 h 14023"/>
                <a:gd name="T18" fmla="*/ 4388 w 16132"/>
                <a:gd name="T19" fmla="*/ 11971 h 14023"/>
                <a:gd name="T20" fmla="*/ 4488 w 16132"/>
                <a:gd name="T21" fmla="*/ 11553 h 14023"/>
                <a:gd name="T22" fmla="*/ 4535 w 16132"/>
                <a:gd name="T23" fmla="*/ 11121 h 14023"/>
                <a:gd name="T24" fmla="*/ 4531 w 16132"/>
                <a:gd name="T25" fmla="*/ 10842 h 14023"/>
                <a:gd name="T26" fmla="*/ 4442 w 16132"/>
                <a:gd name="T27" fmla="*/ 10547 h 14023"/>
                <a:gd name="T28" fmla="*/ 4269 w 16132"/>
                <a:gd name="T29" fmla="*/ 10296 h 14023"/>
                <a:gd name="T30" fmla="*/ 4023 w 16132"/>
                <a:gd name="T31" fmla="*/ 10106 h 14023"/>
                <a:gd name="T32" fmla="*/ 2737 w 16132"/>
                <a:gd name="T33" fmla="*/ 9277 h 14023"/>
                <a:gd name="T34" fmla="*/ 1706 w 16132"/>
                <a:gd name="T35" fmla="*/ 8163 h 14023"/>
                <a:gd name="T36" fmla="*/ 1123 w 16132"/>
                <a:gd name="T37" fmla="*/ 6901 h 14023"/>
                <a:gd name="T38" fmla="*/ 1090 w 16132"/>
                <a:gd name="T39" fmla="*/ 5248 h 14023"/>
                <a:gd name="T40" fmla="*/ 2215 w 16132"/>
                <a:gd name="T41" fmla="*/ 3211 h 14023"/>
                <a:gd name="T42" fmla="*/ 4409 w 16132"/>
                <a:gd name="T43" fmla="*/ 1728 h 14023"/>
                <a:gd name="T44" fmla="*/ 7345 w 16132"/>
                <a:gd name="T45" fmla="*/ 1028 h 14023"/>
                <a:gd name="T46" fmla="*/ 10490 w 16132"/>
                <a:gd name="T47" fmla="*/ 1306 h 14023"/>
                <a:gd name="T48" fmla="*/ 13054 w 16132"/>
                <a:gd name="T49" fmla="*/ 2470 h 14023"/>
                <a:gd name="T50" fmla="*/ 14695 w 16132"/>
                <a:gd name="T51" fmla="*/ 4290 h 14023"/>
                <a:gd name="T52" fmla="*/ 15087 w 16132"/>
                <a:gd name="T53" fmla="*/ 6521 h 14023"/>
                <a:gd name="T54" fmla="*/ 14100 w 16132"/>
                <a:gd name="T55" fmla="*/ 8605 h 14023"/>
                <a:gd name="T56" fmla="*/ 12009 w 16132"/>
                <a:gd name="T57" fmla="*/ 10162 h 14023"/>
                <a:gd name="T58" fmla="*/ 9140 w 16132"/>
                <a:gd name="T59" fmla="*/ 10960 h 14023"/>
                <a:gd name="T60" fmla="*/ 6051 w 16132"/>
                <a:gd name="T61" fmla="*/ 189 h 14023"/>
                <a:gd name="T62" fmla="*/ 2935 w 16132"/>
                <a:gd name="T63" fmla="*/ 1372 h 14023"/>
                <a:gd name="T64" fmla="*/ 796 w 16132"/>
                <a:gd name="T65" fmla="*/ 3405 h 14023"/>
                <a:gd name="T66" fmla="*/ 0 w 16132"/>
                <a:gd name="T67" fmla="*/ 6010 h 14023"/>
                <a:gd name="T68" fmla="*/ 318 w 16132"/>
                <a:gd name="T69" fmla="*/ 7685 h 14023"/>
                <a:gd name="T70" fmla="*/ 1211 w 16132"/>
                <a:gd name="T71" fmla="*/ 9177 h 14023"/>
                <a:gd name="T72" fmla="*/ 2590 w 16132"/>
                <a:gd name="T73" fmla="*/ 10421 h 14023"/>
                <a:gd name="T74" fmla="*/ 3529 w 16132"/>
                <a:gd name="T75" fmla="*/ 11018 h 14023"/>
                <a:gd name="T76" fmla="*/ 3392 w 16132"/>
                <a:gd name="T77" fmla="*/ 11780 h 14023"/>
                <a:gd name="T78" fmla="*/ 3075 w 16132"/>
                <a:gd name="T79" fmla="*/ 12505 h 14023"/>
                <a:gd name="T80" fmla="*/ 2616 w 16132"/>
                <a:gd name="T81" fmla="*/ 13290 h 14023"/>
                <a:gd name="T82" fmla="*/ 2522 w 16132"/>
                <a:gd name="T83" fmla="*/ 13545 h 14023"/>
                <a:gd name="T84" fmla="*/ 2556 w 16132"/>
                <a:gd name="T85" fmla="*/ 13746 h 14023"/>
                <a:gd name="T86" fmla="*/ 2670 w 16132"/>
                <a:gd name="T87" fmla="*/ 13905 h 14023"/>
                <a:gd name="T88" fmla="*/ 2841 w 16132"/>
                <a:gd name="T89" fmla="*/ 14003 h 14023"/>
                <a:gd name="T90" fmla="*/ 3078 w 16132"/>
                <a:gd name="T91" fmla="*/ 14016 h 14023"/>
                <a:gd name="T92" fmla="*/ 3690 w 16132"/>
                <a:gd name="T93" fmla="*/ 13870 h 14023"/>
                <a:gd name="T94" fmla="*/ 4910 w 16132"/>
                <a:gd name="T95" fmla="*/ 13267 h 14023"/>
                <a:gd name="T96" fmla="*/ 5885 w 16132"/>
                <a:gd name="T97" fmla="*/ 12528 h 14023"/>
                <a:gd name="T98" fmla="*/ 6475 w 16132"/>
                <a:gd name="T99" fmla="*/ 11947 h 14023"/>
                <a:gd name="T100" fmla="*/ 7278 w 16132"/>
                <a:gd name="T101" fmla="*/ 11990 h 14023"/>
                <a:gd name="T102" fmla="*/ 8481 w 16132"/>
                <a:gd name="T103" fmla="*/ 12012 h 14023"/>
                <a:gd name="T104" fmla="*/ 11910 w 16132"/>
                <a:gd name="T105" fmla="*/ 11295 h 14023"/>
                <a:gd name="T106" fmla="*/ 14530 w 16132"/>
                <a:gd name="T107" fmla="*/ 9606 h 14023"/>
                <a:gd name="T108" fmla="*/ 15968 w 16132"/>
                <a:gd name="T109" fmla="*/ 7221 h 14023"/>
                <a:gd name="T110" fmla="*/ 15878 w 16132"/>
                <a:gd name="T111" fmla="*/ 4508 h 14023"/>
                <a:gd name="T112" fmla="*/ 14290 w 16132"/>
                <a:gd name="T113" fmla="*/ 2188 h 14023"/>
                <a:gd name="T114" fmla="*/ 11563 w 16132"/>
                <a:gd name="T115" fmla="*/ 593 h 14023"/>
                <a:gd name="T116" fmla="*/ 8066 w 16132"/>
                <a:gd name="T117" fmla="*/ 0 h 14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132" h="14023">
                  <a:moveTo>
                    <a:pt x="8066" y="11018"/>
                  </a:moveTo>
                  <a:lnTo>
                    <a:pt x="7979" y="11018"/>
                  </a:lnTo>
                  <a:lnTo>
                    <a:pt x="7893" y="11016"/>
                  </a:lnTo>
                  <a:lnTo>
                    <a:pt x="7805" y="11014"/>
                  </a:lnTo>
                  <a:lnTo>
                    <a:pt x="7717" y="11012"/>
                  </a:lnTo>
                  <a:lnTo>
                    <a:pt x="7629" y="11008"/>
                  </a:lnTo>
                  <a:lnTo>
                    <a:pt x="7542" y="11003"/>
                  </a:lnTo>
                  <a:lnTo>
                    <a:pt x="7454" y="10998"/>
                  </a:lnTo>
                  <a:lnTo>
                    <a:pt x="7365" y="10992"/>
                  </a:lnTo>
                  <a:lnTo>
                    <a:pt x="7278" y="10985"/>
                  </a:lnTo>
                  <a:lnTo>
                    <a:pt x="7189" y="10978"/>
                  </a:lnTo>
                  <a:lnTo>
                    <a:pt x="7100" y="10969"/>
                  </a:lnTo>
                  <a:lnTo>
                    <a:pt x="7011" y="10960"/>
                  </a:lnTo>
                  <a:lnTo>
                    <a:pt x="6923" y="10950"/>
                  </a:lnTo>
                  <a:lnTo>
                    <a:pt x="6834" y="10939"/>
                  </a:lnTo>
                  <a:lnTo>
                    <a:pt x="6745" y="10927"/>
                  </a:lnTo>
                  <a:lnTo>
                    <a:pt x="6656" y="10914"/>
                  </a:lnTo>
                  <a:lnTo>
                    <a:pt x="6620" y="10910"/>
                  </a:lnTo>
                  <a:lnTo>
                    <a:pt x="6583" y="10906"/>
                  </a:lnTo>
                  <a:lnTo>
                    <a:pt x="6547" y="10904"/>
                  </a:lnTo>
                  <a:lnTo>
                    <a:pt x="6510" y="10903"/>
                  </a:lnTo>
                  <a:lnTo>
                    <a:pt x="6482" y="10904"/>
                  </a:lnTo>
                  <a:lnTo>
                    <a:pt x="6455" y="10905"/>
                  </a:lnTo>
                  <a:lnTo>
                    <a:pt x="6427" y="10907"/>
                  </a:lnTo>
                  <a:lnTo>
                    <a:pt x="6398" y="10910"/>
                  </a:lnTo>
                  <a:lnTo>
                    <a:pt x="6371" y="10913"/>
                  </a:lnTo>
                  <a:lnTo>
                    <a:pt x="6344" y="10917"/>
                  </a:lnTo>
                  <a:lnTo>
                    <a:pt x="6317" y="10922"/>
                  </a:lnTo>
                  <a:lnTo>
                    <a:pt x="6289" y="10928"/>
                  </a:lnTo>
                  <a:lnTo>
                    <a:pt x="6262" y="10934"/>
                  </a:lnTo>
                  <a:lnTo>
                    <a:pt x="6236" y="10941"/>
                  </a:lnTo>
                  <a:lnTo>
                    <a:pt x="6210" y="10949"/>
                  </a:lnTo>
                  <a:lnTo>
                    <a:pt x="6183" y="10958"/>
                  </a:lnTo>
                  <a:lnTo>
                    <a:pt x="6157" y="10967"/>
                  </a:lnTo>
                  <a:lnTo>
                    <a:pt x="6131" y="10977"/>
                  </a:lnTo>
                  <a:lnTo>
                    <a:pt x="6106" y="10988"/>
                  </a:lnTo>
                  <a:lnTo>
                    <a:pt x="6081" y="10999"/>
                  </a:lnTo>
                  <a:lnTo>
                    <a:pt x="6056" y="11011"/>
                  </a:lnTo>
                  <a:lnTo>
                    <a:pt x="6031" y="11024"/>
                  </a:lnTo>
                  <a:lnTo>
                    <a:pt x="6007" y="11037"/>
                  </a:lnTo>
                  <a:lnTo>
                    <a:pt x="5983" y="11051"/>
                  </a:lnTo>
                  <a:lnTo>
                    <a:pt x="5960" y="11066"/>
                  </a:lnTo>
                  <a:lnTo>
                    <a:pt x="5937" y="11081"/>
                  </a:lnTo>
                  <a:lnTo>
                    <a:pt x="5914" y="11097"/>
                  </a:lnTo>
                  <a:lnTo>
                    <a:pt x="5892" y="11114"/>
                  </a:lnTo>
                  <a:lnTo>
                    <a:pt x="5870" y="11131"/>
                  </a:lnTo>
                  <a:lnTo>
                    <a:pt x="5849" y="11149"/>
                  </a:lnTo>
                  <a:lnTo>
                    <a:pt x="5828" y="11167"/>
                  </a:lnTo>
                  <a:lnTo>
                    <a:pt x="5808" y="11187"/>
                  </a:lnTo>
                  <a:lnTo>
                    <a:pt x="5787" y="11206"/>
                  </a:lnTo>
                  <a:lnTo>
                    <a:pt x="5768" y="11227"/>
                  </a:lnTo>
                  <a:lnTo>
                    <a:pt x="5749" y="11248"/>
                  </a:lnTo>
                  <a:lnTo>
                    <a:pt x="5731" y="11269"/>
                  </a:lnTo>
                  <a:lnTo>
                    <a:pt x="5710" y="11296"/>
                  </a:lnTo>
                  <a:lnTo>
                    <a:pt x="5686" y="11323"/>
                  </a:lnTo>
                  <a:lnTo>
                    <a:pt x="5660" y="11352"/>
                  </a:lnTo>
                  <a:lnTo>
                    <a:pt x="5632" y="11382"/>
                  </a:lnTo>
                  <a:lnTo>
                    <a:pt x="5570" y="11448"/>
                  </a:lnTo>
                  <a:lnTo>
                    <a:pt x="5499" y="11518"/>
                  </a:lnTo>
                  <a:lnTo>
                    <a:pt x="5461" y="11556"/>
                  </a:lnTo>
                  <a:lnTo>
                    <a:pt x="5420" y="11594"/>
                  </a:lnTo>
                  <a:lnTo>
                    <a:pt x="5379" y="11633"/>
                  </a:lnTo>
                  <a:lnTo>
                    <a:pt x="5336" y="11674"/>
                  </a:lnTo>
                  <a:lnTo>
                    <a:pt x="5290" y="11715"/>
                  </a:lnTo>
                  <a:lnTo>
                    <a:pt x="5243" y="11757"/>
                  </a:lnTo>
                  <a:lnTo>
                    <a:pt x="5195" y="11799"/>
                  </a:lnTo>
                  <a:lnTo>
                    <a:pt x="5145" y="11842"/>
                  </a:lnTo>
                  <a:lnTo>
                    <a:pt x="5093" y="11886"/>
                  </a:lnTo>
                  <a:lnTo>
                    <a:pt x="5040" y="11931"/>
                  </a:lnTo>
                  <a:lnTo>
                    <a:pt x="4986" y="11975"/>
                  </a:lnTo>
                  <a:lnTo>
                    <a:pt x="4930" y="12020"/>
                  </a:lnTo>
                  <a:lnTo>
                    <a:pt x="4873" y="12065"/>
                  </a:lnTo>
                  <a:lnTo>
                    <a:pt x="4814" y="12109"/>
                  </a:lnTo>
                  <a:lnTo>
                    <a:pt x="4755" y="12154"/>
                  </a:lnTo>
                  <a:lnTo>
                    <a:pt x="4694" y="12199"/>
                  </a:lnTo>
                  <a:lnTo>
                    <a:pt x="4633" y="12243"/>
                  </a:lnTo>
                  <a:lnTo>
                    <a:pt x="4570" y="12287"/>
                  </a:lnTo>
                  <a:lnTo>
                    <a:pt x="4507" y="12331"/>
                  </a:lnTo>
                  <a:lnTo>
                    <a:pt x="4442" y="12374"/>
                  </a:lnTo>
                  <a:lnTo>
                    <a:pt x="4377" y="12417"/>
                  </a:lnTo>
                  <a:lnTo>
                    <a:pt x="4310" y="12459"/>
                  </a:lnTo>
                  <a:lnTo>
                    <a:pt x="4244" y="12501"/>
                  </a:lnTo>
                  <a:lnTo>
                    <a:pt x="4176" y="12542"/>
                  </a:lnTo>
                  <a:lnTo>
                    <a:pt x="4212" y="12456"/>
                  </a:lnTo>
                  <a:lnTo>
                    <a:pt x="4248" y="12371"/>
                  </a:lnTo>
                  <a:lnTo>
                    <a:pt x="4281" y="12284"/>
                  </a:lnTo>
                  <a:lnTo>
                    <a:pt x="4313" y="12196"/>
                  </a:lnTo>
                  <a:lnTo>
                    <a:pt x="4345" y="12107"/>
                  </a:lnTo>
                  <a:lnTo>
                    <a:pt x="4374" y="12017"/>
                  </a:lnTo>
                  <a:lnTo>
                    <a:pt x="4388" y="11971"/>
                  </a:lnTo>
                  <a:lnTo>
                    <a:pt x="4401" y="11926"/>
                  </a:lnTo>
                  <a:lnTo>
                    <a:pt x="4414" y="11879"/>
                  </a:lnTo>
                  <a:lnTo>
                    <a:pt x="4426" y="11833"/>
                  </a:lnTo>
                  <a:lnTo>
                    <a:pt x="4438" y="11787"/>
                  </a:lnTo>
                  <a:lnTo>
                    <a:pt x="4449" y="11740"/>
                  </a:lnTo>
                  <a:lnTo>
                    <a:pt x="4459" y="11694"/>
                  </a:lnTo>
                  <a:lnTo>
                    <a:pt x="4470" y="11647"/>
                  </a:lnTo>
                  <a:lnTo>
                    <a:pt x="4480" y="11600"/>
                  </a:lnTo>
                  <a:lnTo>
                    <a:pt x="4488" y="11553"/>
                  </a:lnTo>
                  <a:lnTo>
                    <a:pt x="4496" y="11506"/>
                  </a:lnTo>
                  <a:lnTo>
                    <a:pt x="4504" y="11458"/>
                  </a:lnTo>
                  <a:lnTo>
                    <a:pt x="4510" y="11411"/>
                  </a:lnTo>
                  <a:lnTo>
                    <a:pt x="4516" y="11363"/>
                  </a:lnTo>
                  <a:lnTo>
                    <a:pt x="4522" y="11315"/>
                  </a:lnTo>
                  <a:lnTo>
                    <a:pt x="4526" y="11266"/>
                  </a:lnTo>
                  <a:lnTo>
                    <a:pt x="4530" y="11218"/>
                  </a:lnTo>
                  <a:lnTo>
                    <a:pt x="4533" y="11170"/>
                  </a:lnTo>
                  <a:lnTo>
                    <a:pt x="4535" y="11121"/>
                  </a:lnTo>
                  <a:lnTo>
                    <a:pt x="4537" y="11073"/>
                  </a:lnTo>
                  <a:lnTo>
                    <a:pt x="4538" y="11049"/>
                  </a:lnTo>
                  <a:lnTo>
                    <a:pt x="4540" y="11025"/>
                  </a:lnTo>
                  <a:lnTo>
                    <a:pt x="4541" y="11002"/>
                  </a:lnTo>
                  <a:lnTo>
                    <a:pt x="4541" y="10981"/>
                  </a:lnTo>
                  <a:lnTo>
                    <a:pt x="4540" y="10946"/>
                  </a:lnTo>
                  <a:lnTo>
                    <a:pt x="4539" y="10911"/>
                  </a:lnTo>
                  <a:lnTo>
                    <a:pt x="4536" y="10876"/>
                  </a:lnTo>
                  <a:lnTo>
                    <a:pt x="4531" y="10842"/>
                  </a:lnTo>
                  <a:lnTo>
                    <a:pt x="4526" y="10808"/>
                  </a:lnTo>
                  <a:lnTo>
                    <a:pt x="4519" y="10774"/>
                  </a:lnTo>
                  <a:lnTo>
                    <a:pt x="4512" y="10741"/>
                  </a:lnTo>
                  <a:lnTo>
                    <a:pt x="4503" y="10707"/>
                  </a:lnTo>
                  <a:lnTo>
                    <a:pt x="4493" y="10675"/>
                  </a:lnTo>
                  <a:lnTo>
                    <a:pt x="4482" y="10641"/>
                  </a:lnTo>
                  <a:lnTo>
                    <a:pt x="4470" y="10610"/>
                  </a:lnTo>
                  <a:lnTo>
                    <a:pt x="4456" y="10578"/>
                  </a:lnTo>
                  <a:lnTo>
                    <a:pt x="4442" y="10547"/>
                  </a:lnTo>
                  <a:lnTo>
                    <a:pt x="4426" y="10517"/>
                  </a:lnTo>
                  <a:lnTo>
                    <a:pt x="4410" y="10487"/>
                  </a:lnTo>
                  <a:lnTo>
                    <a:pt x="4393" y="10458"/>
                  </a:lnTo>
                  <a:lnTo>
                    <a:pt x="4375" y="10429"/>
                  </a:lnTo>
                  <a:lnTo>
                    <a:pt x="4356" y="10401"/>
                  </a:lnTo>
                  <a:lnTo>
                    <a:pt x="4334" y="10374"/>
                  </a:lnTo>
                  <a:lnTo>
                    <a:pt x="4313" y="10347"/>
                  </a:lnTo>
                  <a:lnTo>
                    <a:pt x="4291" y="10321"/>
                  </a:lnTo>
                  <a:lnTo>
                    <a:pt x="4269" y="10296"/>
                  </a:lnTo>
                  <a:lnTo>
                    <a:pt x="4245" y="10271"/>
                  </a:lnTo>
                  <a:lnTo>
                    <a:pt x="4220" y="10248"/>
                  </a:lnTo>
                  <a:lnTo>
                    <a:pt x="4194" y="10225"/>
                  </a:lnTo>
                  <a:lnTo>
                    <a:pt x="4168" y="10203"/>
                  </a:lnTo>
                  <a:lnTo>
                    <a:pt x="4140" y="10182"/>
                  </a:lnTo>
                  <a:lnTo>
                    <a:pt x="4112" y="10161"/>
                  </a:lnTo>
                  <a:lnTo>
                    <a:pt x="4083" y="10142"/>
                  </a:lnTo>
                  <a:lnTo>
                    <a:pt x="4053" y="10123"/>
                  </a:lnTo>
                  <a:lnTo>
                    <a:pt x="4023" y="10106"/>
                  </a:lnTo>
                  <a:lnTo>
                    <a:pt x="3992" y="10089"/>
                  </a:lnTo>
                  <a:lnTo>
                    <a:pt x="3819" y="9998"/>
                  </a:lnTo>
                  <a:lnTo>
                    <a:pt x="3650" y="9904"/>
                  </a:lnTo>
                  <a:lnTo>
                    <a:pt x="3487" y="9807"/>
                  </a:lnTo>
                  <a:lnTo>
                    <a:pt x="3327" y="9707"/>
                  </a:lnTo>
                  <a:lnTo>
                    <a:pt x="3173" y="9604"/>
                  </a:lnTo>
                  <a:lnTo>
                    <a:pt x="3023" y="9499"/>
                  </a:lnTo>
                  <a:lnTo>
                    <a:pt x="2878" y="9389"/>
                  </a:lnTo>
                  <a:lnTo>
                    <a:pt x="2737" y="9277"/>
                  </a:lnTo>
                  <a:lnTo>
                    <a:pt x="2602" y="9163"/>
                  </a:lnTo>
                  <a:lnTo>
                    <a:pt x="2472" y="9046"/>
                  </a:lnTo>
                  <a:lnTo>
                    <a:pt x="2346" y="8927"/>
                  </a:lnTo>
                  <a:lnTo>
                    <a:pt x="2226" y="8805"/>
                  </a:lnTo>
                  <a:lnTo>
                    <a:pt x="2112" y="8681"/>
                  </a:lnTo>
                  <a:lnTo>
                    <a:pt x="2002" y="8555"/>
                  </a:lnTo>
                  <a:lnTo>
                    <a:pt x="1899" y="8427"/>
                  </a:lnTo>
                  <a:lnTo>
                    <a:pt x="1800" y="8297"/>
                  </a:lnTo>
                  <a:lnTo>
                    <a:pt x="1706" y="8163"/>
                  </a:lnTo>
                  <a:lnTo>
                    <a:pt x="1618" y="8030"/>
                  </a:lnTo>
                  <a:lnTo>
                    <a:pt x="1537" y="7894"/>
                  </a:lnTo>
                  <a:lnTo>
                    <a:pt x="1460" y="7757"/>
                  </a:lnTo>
                  <a:lnTo>
                    <a:pt x="1388" y="7617"/>
                  </a:lnTo>
                  <a:lnTo>
                    <a:pt x="1324" y="7476"/>
                  </a:lnTo>
                  <a:lnTo>
                    <a:pt x="1264" y="7335"/>
                  </a:lnTo>
                  <a:lnTo>
                    <a:pt x="1212" y="7192"/>
                  </a:lnTo>
                  <a:lnTo>
                    <a:pt x="1165" y="7047"/>
                  </a:lnTo>
                  <a:lnTo>
                    <a:pt x="1123" y="6901"/>
                  </a:lnTo>
                  <a:lnTo>
                    <a:pt x="1089" y="6755"/>
                  </a:lnTo>
                  <a:lnTo>
                    <a:pt x="1060" y="6608"/>
                  </a:lnTo>
                  <a:lnTo>
                    <a:pt x="1037" y="6459"/>
                  </a:lnTo>
                  <a:lnTo>
                    <a:pt x="1021" y="6309"/>
                  </a:lnTo>
                  <a:lnTo>
                    <a:pt x="1011" y="6160"/>
                  </a:lnTo>
                  <a:lnTo>
                    <a:pt x="1008" y="6010"/>
                  </a:lnTo>
                  <a:lnTo>
                    <a:pt x="1017" y="5752"/>
                  </a:lnTo>
                  <a:lnTo>
                    <a:pt x="1045" y="5498"/>
                  </a:lnTo>
                  <a:lnTo>
                    <a:pt x="1090" y="5248"/>
                  </a:lnTo>
                  <a:lnTo>
                    <a:pt x="1151" y="5002"/>
                  </a:lnTo>
                  <a:lnTo>
                    <a:pt x="1231" y="4760"/>
                  </a:lnTo>
                  <a:lnTo>
                    <a:pt x="1326" y="4522"/>
                  </a:lnTo>
                  <a:lnTo>
                    <a:pt x="1437" y="4290"/>
                  </a:lnTo>
                  <a:lnTo>
                    <a:pt x="1564" y="4063"/>
                  </a:lnTo>
                  <a:lnTo>
                    <a:pt x="1705" y="3840"/>
                  </a:lnTo>
                  <a:lnTo>
                    <a:pt x="1861" y="3625"/>
                  </a:lnTo>
                  <a:lnTo>
                    <a:pt x="2032" y="3415"/>
                  </a:lnTo>
                  <a:lnTo>
                    <a:pt x="2215" y="3211"/>
                  </a:lnTo>
                  <a:lnTo>
                    <a:pt x="2412" y="3015"/>
                  </a:lnTo>
                  <a:lnTo>
                    <a:pt x="2621" y="2826"/>
                  </a:lnTo>
                  <a:lnTo>
                    <a:pt x="2844" y="2644"/>
                  </a:lnTo>
                  <a:lnTo>
                    <a:pt x="3078" y="2470"/>
                  </a:lnTo>
                  <a:lnTo>
                    <a:pt x="3323" y="2304"/>
                  </a:lnTo>
                  <a:lnTo>
                    <a:pt x="3579" y="2147"/>
                  </a:lnTo>
                  <a:lnTo>
                    <a:pt x="3845" y="1998"/>
                  </a:lnTo>
                  <a:lnTo>
                    <a:pt x="4123" y="1858"/>
                  </a:lnTo>
                  <a:lnTo>
                    <a:pt x="4409" y="1728"/>
                  </a:lnTo>
                  <a:lnTo>
                    <a:pt x="4704" y="1607"/>
                  </a:lnTo>
                  <a:lnTo>
                    <a:pt x="5009" y="1496"/>
                  </a:lnTo>
                  <a:lnTo>
                    <a:pt x="5322" y="1395"/>
                  </a:lnTo>
                  <a:lnTo>
                    <a:pt x="5642" y="1306"/>
                  </a:lnTo>
                  <a:lnTo>
                    <a:pt x="5970" y="1227"/>
                  </a:lnTo>
                  <a:lnTo>
                    <a:pt x="6305" y="1160"/>
                  </a:lnTo>
                  <a:lnTo>
                    <a:pt x="6645" y="1104"/>
                  </a:lnTo>
                  <a:lnTo>
                    <a:pt x="6992" y="1060"/>
                  </a:lnTo>
                  <a:lnTo>
                    <a:pt x="7345" y="1028"/>
                  </a:lnTo>
                  <a:lnTo>
                    <a:pt x="7703" y="1008"/>
                  </a:lnTo>
                  <a:lnTo>
                    <a:pt x="8066" y="1002"/>
                  </a:lnTo>
                  <a:lnTo>
                    <a:pt x="8429" y="1008"/>
                  </a:lnTo>
                  <a:lnTo>
                    <a:pt x="8787" y="1028"/>
                  </a:lnTo>
                  <a:lnTo>
                    <a:pt x="9140" y="1060"/>
                  </a:lnTo>
                  <a:lnTo>
                    <a:pt x="9487" y="1104"/>
                  </a:lnTo>
                  <a:lnTo>
                    <a:pt x="9827" y="1160"/>
                  </a:lnTo>
                  <a:lnTo>
                    <a:pt x="10162" y="1227"/>
                  </a:lnTo>
                  <a:lnTo>
                    <a:pt x="10490" y="1306"/>
                  </a:lnTo>
                  <a:lnTo>
                    <a:pt x="10810" y="1395"/>
                  </a:lnTo>
                  <a:lnTo>
                    <a:pt x="11123" y="1496"/>
                  </a:lnTo>
                  <a:lnTo>
                    <a:pt x="11428" y="1607"/>
                  </a:lnTo>
                  <a:lnTo>
                    <a:pt x="11723" y="1728"/>
                  </a:lnTo>
                  <a:lnTo>
                    <a:pt x="12009" y="1858"/>
                  </a:lnTo>
                  <a:lnTo>
                    <a:pt x="12287" y="1998"/>
                  </a:lnTo>
                  <a:lnTo>
                    <a:pt x="12553" y="2147"/>
                  </a:lnTo>
                  <a:lnTo>
                    <a:pt x="12809" y="2304"/>
                  </a:lnTo>
                  <a:lnTo>
                    <a:pt x="13054" y="2470"/>
                  </a:lnTo>
                  <a:lnTo>
                    <a:pt x="13288" y="2644"/>
                  </a:lnTo>
                  <a:lnTo>
                    <a:pt x="13511" y="2826"/>
                  </a:lnTo>
                  <a:lnTo>
                    <a:pt x="13720" y="3015"/>
                  </a:lnTo>
                  <a:lnTo>
                    <a:pt x="13917" y="3211"/>
                  </a:lnTo>
                  <a:lnTo>
                    <a:pt x="14100" y="3415"/>
                  </a:lnTo>
                  <a:lnTo>
                    <a:pt x="14271" y="3625"/>
                  </a:lnTo>
                  <a:lnTo>
                    <a:pt x="14427" y="3840"/>
                  </a:lnTo>
                  <a:lnTo>
                    <a:pt x="14568" y="4063"/>
                  </a:lnTo>
                  <a:lnTo>
                    <a:pt x="14695" y="4290"/>
                  </a:lnTo>
                  <a:lnTo>
                    <a:pt x="14806" y="4522"/>
                  </a:lnTo>
                  <a:lnTo>
                    <a:pt x="14901" y="4760"/>
                  </a:lnTo>
                  <a:lnTo>
                    <a:pt x="14981" y="5002"/>
                  </a:lnTo>
                  <a:lnTo>
                    <a:pt x="15042" y="5248"/>
                  </a:lnTo>
                  <a:lnTo>
                    <a:pt x="15087" y="5498"/>
                  </a:lnTo>
                  <a:lnTo>
                    <a:pt x="15115" y="5752"/>
                  </a:lnTo>
                  <a:lnTo>
                    <a:pt x="15124" y="6010"/>
                  </a:lnTo>
                  <a:lnTo>
                    <a:pt x="15115" y="6267"/>
                  </a:lnTo>
                  <a:lnTo>
                    <a:pt x="15087" y="6521"/>
                  </a:lnTo>
                  <a:lnTo>
                    <a:pt x="15042" y="6771"/>
                  </a:lnTo>
                  <a:lnTo>
                    <a:pt x="14981" y="7018"/>
                  </a:lnTo>
                  <a:lnTo>
                    <a:pt x="14901" y="7260"/>
                  </a:lnTo>
                  <a:lnTo>
                    <a:pt x="14806" y="7497"/>
                  </a:lnTo>
                  <a:lnTo>
                    <a:pt x="14695" y="7730"/>
                  </a:lnTo>
                  <a:lnTo>
                    <a:pt x="14568" y="7957"/>
                  </a:lnTo>
                  <a:lnTo>
                    <a:pt x="14427" y="8179"/>
                  </a:lnTo>
                  <a:lnTo>
                    <a:pt x="14271" y="8395"/>
                  </a:lnTo>
                  <a:lnTo>
                    <a:pt x="14100" y="8605"/>
                  </a:lnTo>
                  <a:lnTo>
                    <a:pt x="13917" y="8807"/>
                  </a:lnTo>
                  <a:lnTo>
                    <a:pt x="13720" y="9005"/>
                  </a:lnTo>
                  <a:lnTo>
                    <a:pt x="13511" y="9194"/>
                  </a:lnTo>
                  <a:lnTo>
                    <a:pt x="13288" y="9375"/>
                  </a:lnTo>
                  <a:lnTo>
                    <a:pt x="13054" y="9550"/>
                  </a:lnTo>
                  <a:lnTo>
                    <a:pt x="12809" y="9715"/>
                  </a:lnTo>
                  <a:lnTo>
                    <a:pt x="12553" y="9873"/>
                  </a:lnTo>
                  <a:lnTo>
                    <a:pt x="12287" y="10021"/>
                  </a:lnTo>
                  <a:lnTo>
                    <a:pt x="12009" y="10162"/>
                  </a:lnTo>
                  <a:lnTo>
                    <a:pt x="11723" y="10292"/>
                  </a:lnTo>
                  <a:lnTo>
                    <a:pt x="11428" y="10413"/>
                  </a:lnTo>
                  <a:lnTo>
                    <a:pt x="11123" y="10523"/>
                  </a:lnTo>
                  <a:lnTo>
                    <a:pt x="10810" y="10623"/>
                  </a:lnTo>
                  <a:lnTo>
                    <a:pt x="10490" y="10714"/>
                  </a:lnTo>
                  <a:lnTo>
                    <a:pt x="10162" y="10793"/>
                  </a:lnTo>
                  <a:lnTo>
                    <a:pt x="9827" y="10860"/>
                  </a:lnTo>
                  <a:lnTo>
                    <a:pt x="9487" y="10916"/>
                  </a:lnTo>
                  <a:lnTo>
                    <a:pt x="9140" y="10960"/>
                  </a:lnTo>
                  <a:lnTo>
                    <a:pt x="8787" y="10992"/>
                  </a:lnTo>
                  <a:lnTo>
                    <a:pt x="8429" y="11011"/>
                  </a:lnTo>
                  <a:lnTo>
                    <a:pt x="8066" y="11018"/>
                  </a:lnTo>
                  <a:close/>
                  <a:moveTo>
                    <a:pt x="8066" y="0"/>
                  </a:moveTo>
                  <a:lnTo>
                    <a:pt x="7651" y="8"/>
                  </a:lnTo>
                  <a:lnTo>
                    <a:pt x="7241" y="31"/>
                  </a:lnTo>
                  <a:lnTo>
                    <a:pt x="6838" y="69"/>
                  </a:lnTo>
                  <a:lnTo>
                    <a:pt x="6441" y="122"/>
                  </a:lnTo>
                  <a:lnTo>
                    <a:pt x="6051" y="189"/>
                  </a:lnTo>
                  <a:lnTo>
                    <a:pt x="5667" y="270"/>
                  </a:lnTo>
                  <a:lnTo>
                    <a:pt x="5292" y="365"/>
                  </a:lnTo>
                  <a:lnTo>
                    <a:pt x="4926" y="473"/>
                  </a:lnTo>
                  <a:lnTo>
                    <a:pt x="4569" y="593"/>
                  </a:lnTo>
                  <a:lnTo>
                    <a:pt x="4222" y="725"/>
                  </a:lnTo>
                  <a:lnTo>
                    <a:pt x="3884" y="870"/>
                  </a:lnTo>
                  <a:lnTo>
                    <a:pt x="3556" y="1027"/>
                  </a:lnTo>
                  <a:lnTo>
                    <a:pt x="3240" y="1194"/>
                  </a:lnTo>
                  <a:lnTo>
                    <a:pt x="2935" y="1372"/>
                  </a:lnTo>
                  <a:lnTo>
                    <a:pt x="2643" y="1562"/>
                  </a:lnTo>
                  <a:lnTo>
                    <a:pt x="2362" y="1760"/>
                  </a:lnTo>
                  <a:lnTo>
                    <a:pt x="2095" y="1969"/>
                  </a:lnTo>
                  <a:lnTo>
                    <a:pt x="1842" y="2188"/>
                  </a:lnTo>
                  <a:lnTo>
                    <a:pt x="1602" y="2414"/>
                  </a:lnTo>
                  <a:lnTo>
                    <a:pt x="1377" y="2649"/>
                  </a:lnTo>
                  <a:lnTo>
                    <a:pt x="1168" y="2894"/>
                  </a:lnTo>
                  <a:lnTo>
                    <a:pt x="974" y="3145"/>
                  </a:lnTo>
                  <a:lnTo>
                    <a:pt x="796" y="3405"/>
                  </a:lnTo>
                  <a:lnTo>
                    <a:pt x="634" y="3671"/>
                  </a:lnTo>
                  <a:lnTo>
                    <a:pt x="489" y="3943"/>
                  </a:lnTo>
                  <a:lnTo>
                    <a:pt x="363" y="4223"/>
                  </a:lnTo>
                  <a:lnTo>
                    <a:pt x="254" y="4508"/>
                  </a:lnTo>
                  <a:lnTo>
                    <a:pt x="163" y="4799"/>
                  </a:lnTo>
                  <a:lnTo>
                    <a:pt x="93" y="5094"/>
                  </a:lnTo>
                  <a:lnTo>
                    <a:pt x="41" y="5396"/>
                  </a:lnTo>
                  <a:lnTo>
                    <a:pt x="10" y="5700"/>
                  </a:lnTo>
                  <a:lnTo>
                    <a:pt x="0" y="6010"/>
                  </a:lnTo>
                  <a:lnTo>
                    <a:pt x="4" y="6203"/>
                  </a:lnTo>
                  <a:lnTo>
                    <a:pt x="16" y="6394"/>
                  </a:lnTo>
                  <a:lnTo>
                    <a:pt x="36" y="6584"/>
                  </a:lnTo>
                  <a:lnTo>
                    <a:pt x="65" y="6772"/>
                  </a:lnTo>
                  <a:lnTo>
                    <a:pt x="100" y="6958"/>
                  </a:lnTo>
                  <a:lnTo>
                    <a:pt x="143" y="7144"/>
                  </a:lnTo>
                  <a:lnTo>
                    <a:pt x="195" y="7326"/>
                  </a:lnTo>
                  <a:lnTo>
                    <a:pt x="252" y="7506"/>
                  </a:lnTo>
                  <a:lnTo>
                    <a:pt x="318" y="7685"/>
                  </a:lnTo>
                  <a:lnTo>
                    <a:pt x="390" y="7861"/>
                  </a:lnTo>
                  <a:lnTo>
                    <a:pt x="470" y="8034"/>
                  </a:lnTo>
                  <a:lnTo>
                    <a:pt x="556" y="8205"/>
                  </a:lnTo>
                  <a:lnTo>
                    <a:pt x="648" y="8375"/>
                  </a:lnTo>
                  <a:lnTo>
                    <a:pt x="748" y="8541"/>
                  </a:lnTo>
                  <a:lnTo>
                    <a:pt x="855" y="8704"/>
                  </a:lnTo>
                  <a:lnTo>
                    <a:pt x="967" y="8865"/>
                  </a:lnTo>
                  <a:lnTo>
                    <a:pt x="1086" y="9023"/>
                  </a:lnTo>
                  <a:lnTo>
                    <a:pt x="1211" y="9177"/>
                  </a:lnTo>
                  <a:lnTo>
                    <a:pt x="1341" y="9329"/>
                  </a:lnTo>
                  <a:lnTo>
                    <a:pt x="1478" y="9478"/>
                  </a:lnTo>
                  <a:lnTo>
                    <a:pt x="1620" y="9623"/>
                  </a:lnTo>
                  <a:lnTo>
                    <a:pt x="1768" y="9765"/>
                  </a:lnTo>
                  <a:lnTo>
                    <a:pt x="1923" y="9903"/>
                  </a:lnTo>
                  <a:lnTo>
                    <a:pt x="2081" y="10038"/>
                  </a:lnTo>
                  <a:lnTo>
                    <a:pt x="2245" y="10170"/>
                  </a:lnTo>
                  <a:lnTo>
                    <a:pt x="2415" y="10298"/>
                  </a:lnTo>
                  <a:lnTo>
                    <a:pt x="2590" y="10421"/>
                  </a:lnTo>
                  <a:lnTo>
                    <a:pt x="2769" y="10541"/>
                  </a:lnTo>
                  <a:lnTo>
                    <a:pt x="2953" y="10657"/>
                  </a:lnTo>
                  <a:lnTo>
                    <a:pt x="3142" y="10770"/>
                  </a:lnTo>
                  <a:lnTo>
                    <a:pt x="3335" y="10878"/>
                  </a:lnTo>
                  <a:lnTo>
                    <a:pt x="3533" y="10981"/>
                  </a:lnTo>
                  <a:lnTo>
                    <a:pt x="3532" y="10990"/>
                  </a:lnTo>
                  <a:lnTo>
                    <a:pt x="3531" y="10999"/>
                  </a:lnTo>
                  <a:lnTo>
                    <a:pt x="3530" y="11008"/>
                  </a:lnTo>
                  <a:lnTo>
                    <a:pt x="3529" y="11018"/>
                  </a:lnTo>
                  <a:lnTo>
                    <a:pt x="3527" y="11102"/>
                  </a:lnTo>
                  <a:lnTo>
                    <a:pt x="3521" y="11187"/>
                  </a:lnTo>
                  <a:lnTo>
                    <a:pt x="3512" y="11271"/>
                  </a:lnTo>
                  <a:lnTo>
                    <a:pt x="3500" y="11357"/>
                  </a:lnTo>
                  <a:lnTo>
                    <a:pt x="3484" y="11442"/>
                  </a:lnTo>
                  <a:lnTo>
                    <a:pt x="3464" y="11527"/>
                  </a:lnTo>
                  <a:lnTo>
                    <a:pt x="3443" y="11612"/>
                  </a:lnTo>
                  <a:lnTo>
                    <a:pt x="3419" y="11696"/>
                  </a:lnTo>
                  <a:lnTo>
                    <a:pt x="3392" y="11780"/>
                  </a:lnTo>
                  <a:lnTo>
                    <a:pt x="3364" y="11863"/>
                  </a:lnTo>
                  <a:lnTo>
                    <a:pt x="3332" y="11947"/>
                  </a:lnTo>
                  <a:lnTo>
                    <a:pt x="3300" y="12030"/>
                  </a:lnTo>
                  <a:lnTo>
                    <a:pt x="3266" y="12111"/>
                  </a:lnTo>
                  <a:lnTo>
                    <a:pt x="3229" y="12192"/>
                  </a:lnTo>
                  <a:lnTo>
                    <a:pt x="3192" y="12271"/>
                  </a:lnTo>
                  <a:lnTo>
                    <a:pt x="3155" y="12350"/>
                  </a:lnTo>
                  <a:lnTo>
                    <a:pt x="3115" y="12428"/>
                  </a:lnTo>
                  <a:lnTo>
                    <a:pt x="3075" y="12505"/>
                  </a:lnTo>
                  <a:lnTo>
                    <a:pt x="3036" y="12580"/>
                  </a:lnTo>
                  <a:lnTo>
                    <a:pt x="2995" y="12653"/>
                  </a:lnTo>
                  <a:lnTo>
                    <a:pt x="2954" y="12726"/>
                  </a:lnTo>
                  <a:lnTo>
                    <a:pt x="2914" y="12796"/>
                  </a:lnTo>
                  <a:lnTo>
                    <a:pt x="2874" y="12864"/>
                  </a:lnTo>
                  <a:lnTo>
                    <a:pt x="2834" y="12931"/>
                  </a:lnTo>
                  <a:lnTo>
                    <a:pt x="2757" y="13059"/>
                  </a:lnTo>
                  <a:lnTo>
                    <a:pt x="2684" y="13180"/>
                  </a:lnTo>
                  <a:lnTo>
                    <a:pt x="2616" y="13290"/>
                  </a:lnTo>
                  <a:lnTo>
                    <a:pt x="2557" y="13390"/>
                  </a:lnTo>
                  <a:lnTo>
                    <a:pt x="2558" y="13390"/>
                  </a:lnTo>
                  <a:lnTo>
                    <a:pt x="2550" y="13411"/>
                  </a:lnTo>
                  <a:lnTo>
                    <a:pt x="2542" y="13432"/>
                  </a:lnTo>
                  <a:lnTo>
                    <a:pt x="2536" y="13454"/>
                  </a:lnTo>
                  <a:lnTo>
                    <a:pt x="2531" y="13476"/>
                  </a:lnTo>
                  <a:lnTo>
                    <a:pt x="2527" y="13499"/>
                  </a:lnTo>
                  <a:lnTo>
                    <a:pt x="2523" y="13522"/>
                  </a:lnTo>
                  <a:lnTo>
                    <a:pt x="2522" y="13545"/>
                  </a:lnTo>
                  <a:lnTo>
                    <a:pt x="2521" y="13569"/>
                  </a:lnTo>
                  <a:lnTo>
                    <a:pt x="2522" y="13592"/>
                  </a:lnTo>
                  <a:lnTo>
                    <a:pt x="2523" y="13615"/>
                  </a:lnTo>
                  <a:lnTo>
                    <a:pt x="2526" y="13638"/>
                  </a:lnTo>
                  <a:lnTo>
                    <a:pt x="2530" y="13660"/>
                  </a:lnTo>
                  <a:lnTo>
                    <a:pt x="2535" y="13682"/>
                  </a:lnTo>
                  <a:lnTo>
                    <a:pt x="2541" y="13704"/>
                  </a:lnTo>
                  <a:lnTo>
                    <a:pt x="2548" y="13726"/>
                  </a:lnTo>
                  <a:lnTo>
                    <a:pt x="2556" y="13746"/>
                  </a:lnTo>
                  <a:lnTo>
                    <a:pt x="2566" y="13766"/>
                  </a:lnTo>
                  <a:lnTo>
                    <a:pt x="2576" y="13786"/>
                  </a:lnTo>
                  <a:lnTo>
                    <a:pt x="2586" y="13805"/>
                  </a:lnTo>
                  <a:lnTo>
                    <a:pt x="2598" y="13823"/>
                  </a:lnTo>
                  <a:lnTo>
                    <a:pt x="2611" y="13841"/>
                  </a:lnTo>
                  <a:lnTo>
                    <a:pt x="2624" y="13858"/>
                  </a:lnTo>
                  <a:lnTo>
                    <a:pt x="2640" y="13875"/>
                  </a:lnTo>
                  <a:lnTo>
                    <a:pt x="2655" y="13890"/>
                  </a:lnTo>
                  <a:lnTo>
                    <a:pt x="2670" y="13905"/>
                  </a:lnTo>
                  <a:lnTo>
                    <a:pt x="2687" y="13920"/>
                  </a:lnTo>
                  <a:lnTo>
                    <a:pt x="2704" y="13933"/>
                  </a:lnTo>
                  <a:lnTo>
                    <a:pt x="2722" y="13946"/>
                  </a:lnTo>
                  <a:lnTo>
                    <a:pt x="2740" y="13958"/>
                  </a:lnTo>
                  <a:lnTo>
                    <a:pt x="2760" y="13968"/>
                  </a:lnTo>
                  <a:lnTo>
                    <a:pt x="2779" y="13978"/>
                  </a:lnTo>
                  <a:lnTo>
                    <a:pt x="2800" y="13987"/>
                  </a:lnTo>
                  <a:lnTo>
                    <a:pt x="2820" y="13996"/>
                  </a:lnTo>
                  <a:lnTo>
                    <a:pt x="2841" y="14003"/>
                  </a:lnTo>
                  <a:lnTo>
                    <a:pt x="2863" y="14009"/>
                  </a:lnTo>
                  <a:lnTo>
                    <a:pt x="2886" y="14014"/>
                  </a:lnTo>
                  <a:lnTo>
                    <a:pt x="2908" y="14018"/>
                  </a:lnTo>
                  <a:lnTo>
                    <a:pt x="2931" y="14021"/>
                  </a:lnTo>
                  <a:lnTo>
                    <a:pt x="2954" y="14022"/>
                  </a:lnTo>
                  <a:lnTo>
                    <a:pt x="2977" y="14023"/>
                  </a:lnTo>
                  <a:lnTo>
                    <a:pt x="3018" y="14021"/>
                  </a:lnTo>
                  <a:lnTo>
                    <a:pt x="3060" y="14017"/>
                  </a:lnTo>
                  <a:lnTo>
                    <a:pt x="3078" y="14016"/>
                  </a:lnTo>
                  <a:lnTo>
                    <a:pt x="3093" y="14015"/>
                  </a:lnTo>
                  <a:lnTo>
                    <a:pt x="3099" y="14015"/>
                  </a:lnTo>
                  <a:lnTo>
                    <a:pt x="3103" y="14015"/>
                  </a:lnTo>
                  <a:lnTo>
                    <a:pt x="3105" y="14016"/>
                  </a:lnTo>
                  <a:lnTo>
                    <a:pt x="3106" y="14016"/>
                  </a:lnTo>
                  <a:lnTo>
                    <a:pt x="3254" y="13989"/>
                  </a:lnTo>
                  <a:lnTo>
                    <a:pt x="3400" y="13955"/>
                  </a:lnTo>
                  <a:lnTo>
                    <a:pt x="3546" y="13915"/>
                  </a:lnTo>
                  <a:lnTo>
                    <a:pt x="3690" y="13870"/>
                  </a:lnTo>
                  <a:lnTo>
                    <a:pt x="3833" y="13819"/>
                  </a:lnTo>
                  <a:lnTo>
                    <a:pt x="3976" y="13763"/>
                  </a:lnTo>
                  <a:lnTo>
                    <a:pt x="4116" y="13701"/>
                  </a:lnTo>
                  <a:lnTo>
                    <a:pt x="4254" y="13637"/>
                  </a:lnTo>
                  <a:lnTo>
                    <a:pt x="4390" y="13569"/>
                  </a:lnTo>
                  <a:lnTo>
                    <a:pt x="4524" y="13497"/>
                  </a:lnTo>
                  <a:lnTo>
                    <a:pt x="4656" y="13423"/>
                  </a:lnTo>
                  <a:lnTo>
                    <a:pt x="4784" y="13346"/>
                  </a:lnTo>
                  <a:lnTo>
                    <a:pt x="4910" y="13267"/>
                  </a:lnTo>
                  <a:lnTo>
                    <a:pt x="5033" y="13186"/>
                  </a:lnTo>
                  <a:lnTo>
                    <a:pt x="5153" y="13104"/>
                  </a:lnTo>
                  <a:lnTo>
                    <a:pt x="5269" y="13021"/>
                  </a:lnTo>
                  <a:lnTo>
                    <a:pt x="5382" y="12938"/>
                  </a:lnTo>
                  <a:lnTo>
                    <a:pt x="5491" y="12854"/>
                  </a:lnTo>
                  <a:lnTo>
                    <a:pt x="5596" y="12771"/>
                  </a:lnTo>
                  <a:lnTo>
                    <a:pt x="5697" y="12689"/>
                  </a:lnTo>
                  <a:lnTo>
                    <a:pt x="5793" y="12608"/>
                  </a:lnTo>
                  <a:lnTo>
                    <a:pt x="5885" y="12528"/>
                  </a:lnTo>
                  <a:lnTo>
                    <a:pt x="5972" y="12450"/>
                  </a:lnTo>
                  <a:lnTo>
                    <a:pt x="6055" y="12375"/>
                  </a:lnTo>
                  <a:lnTo>
                    <a:pt x="6131" y="12302"/>
                  </a:lnTo>
                  <a:lnTo>
                    <a:pt x="6203" y="12233"/>
                  </a:lnTo>
                  <a:lnTo>
                    <a:pt x="6269" y="12167"/>
                  </a:lnTo>
                  <a:lnTo>
                    <a:pt x="6330" y="12105"/>
                  </a:lnTo>
                  <a:lnTo>
                    <a:pt x="6384" y="12048"/>
                  </a:lnTo>
                  <a:lnTo>
                    <a:pt x="6433" y="11995"/>
                  </a:lnTo>
                  <a:lnTo>
                    <a:pt x="6475" y="11947"/>
                  </a:lnTo>
                  <a:lnTo>
                    <a:pt x="6510" y="11906"/>
                  </a:lnTo>
                  <a:lnTo>
                    <a:pt x="6605" y="11919"/>
                  </a:lnTo>
                  <a:lnTo>
                    <a:pt x="6700" y="11932"/>
                  </a:lnTo>
                  <a:lnTo>
                    <a:pt x="6796" y="11943"/>
                  </a:lnTo>
                  <a:lnTo>
                    <a:pt x="6891" y="11954"/>
                  </a:lnTo>
                  <a:lnTo>
                    <a:pt x="6987" y="11965"/>
                  </a:lnTo>
                  <a:lnTo>
                    <a:pt x="7083" y="11974"/>
                  </a:lnTo>
                  <a:lnTo>
                    <a:pt x="7180" y="11983"/>
                  </a:lnTo>
                  <a:lnTo>
                    <a:pt x="7278" y="11990"/>
                  </a:lnTo>
                  <a:lnTo>
                    <a:pt x="7374" y="11997"/>
                  </a:lnTo>
                  <a:lnTo>
                    <a:pt x="7472" y="12003"/>
                  </a:lnTo>
                  <a:lnTo>
                    <a:pt x="7571" y="12008"/>
                  </a:lnTo>
                  <a:lnTo>
                    <a:pt x="7669" y="12012"/>
                  </a:lnTo>
                  <a:lnTo>
                    <a:pt x="7768" y="12016"/>
                  </a:lnTo>
                  <a:lnTo>
                    <a:pt x="7867" y="12018"/>
                  </a:lnTo>
                  <a:lnTo>
                    <a:pt x="7966" y="12019"/>
                  </a:lnTo>
                  <a:lnTo>
                    <a:pt x="8066" y="12020"/>
                  </a:lnTo>
                  <a:lnTo>
                    <a:pt x="8481" y="12012"/>
                  </a:lnTo>
                  <a:lnTo>
                    <a:pt x="8891" y="11989"/>
                  </a:lnTo>
                  <a:lnTo>
                    <a:pt x="9294" y="11951"/>
                  </a:lnTo>
                  <a:lnTo>
                    <a:pt x="9691" y="11898"/>
                  </a:lnTo>
                  <a:lnTo>
                    <a:pt x="10081" y="11830"/>
                  </a:lnTo>
                  <a:lnTo>
                    <a:pt x="10465" y="11749"/>
                  </a:lnTo>
                  <a:lnTo>
                    <a:pt x="10840" y="11655"/>
                  </a:lnTo>
                  <a:lnTo>
                    <a:pt x="11206" y="11547"/>
                  </a:lnTo>
                  <a:lnTo>
                    <a:pt x="11563" y="11427"/>
                  </a:lnTo>
                  <a:lnTo>
                    <a:pt x="11910" y="11295"/>
                  </a:lnTo>
                  <a:lnTo>
                    <a:pt x="12248" y="11149"/>
                  </a:lnTo>
                  <a:lnTo>
                    <a:pt x="12576" y="10993"/>
                  </a:lnTo>
                  <a:lnTo>
                    <a:pt x="12891" y="10826"/>
                  </a:lnTo>
                  <a:lnTo>
                    <a:pt x="13197" y="10647"/>
                  </a:lnTo>
                  <a:lnTo>
                    <a:pt x="13489" y="10458"/>
                  </a:lnTo>
                  <a:lnTo>
                    <a:pt x="13770" y="10260"/>
                  </a:lnTo>
                  <a:lnTo>
                    <a:pt x="14037" y="10050"/>
                  </a:lnTo>
                  <a:lnTo>
                    <a:pt x="14290" y="9832"/>
                  </a:lnTo>
                  <a:lnTo>
                    <a:pt x="14530" y="9606"/>
                  </a:lnTo>
                  <a:lnTo>
                    <a:pt x="14755" y="9370"/>
                  </a:lnTo>
                  <a:lnTo>
                    <a:pt x="14964" y="9126"/>
                  </a:lnTo>
                  <a:lnTo>
                    <a:pt x="15158" y="8875"/>
                  </a:lnTo>
                  <a:lnTo>
                    <a:pt x="15336" y="8615"/>
                  </a:lnTo>
                  <a:lnTo>
                    <a:pt x="15498" y="8349"/>
                  </a:lnTo>
                  <a:lnTo>
                    <a:pt x="15643" y="8076"/>
                  </a:lnTo>
                  <a:lnTo>
                    <a:pt x="15769" y="7797"/>
                  </a:lnTo>
                  <a:lnTo>
                    <a:pt x="15878" y="7511"/>
                  </a:lnTo>
                  <a:lnTo>
                    <a:pt x="15968" y="7221"/>
                  </a:lnTo>
                  <a:lnTo>
                    <a:pt x="16039" y="6925"/>
                  </a:lnTo>
                  <a:lnTo>
                    <a:pt x="16091" y="6624"/>
                  </a:lnTo>
                  <a:lnTo>
                    <a:pt x="16122" y="6319"/>
                  </a:lnTo>
                  <a:lnTo>
                    <a:pt x="16132" y="6010"/>
                  </a:lnTo>
                  <a:lnTo>
                    <a:pt x="16122" y="5700"/>
                  </a:lnTo>
                  <a:lnTo>
                    <a:pt x="16091" y="5396"/>
                  </a:lnTo>
                  <a:lnTo>
                    <a:pt x="16039" y="5094"/>
                  </a:lnTo>
                  <a:lnTo>
                    <a:pt x="15968" y="4799"/>
                  </a:lnTo>
                  <a:lnTo>
                    <a:pt x="15878" y="4508"/>
                  </a:lnTo>
                  <a:lnTo>
                    <a:pt x="15769" y="4223"/>
                  </a:lnTo>
                  <a:lnTo>
                    <a:pt x="15643" y="3943"/>
                  </a:lnTo>
                  <a:lnTo>
                    <a:pt x="15498" y="3671"/>
                  </a:lnTo>
                  <a:lnTo>
                    <a:pt x="15336" y="3405"/>
                  </a:lnTo>
                  <a:lnTo>
                    <a:pt x="15158" y="3145"/>
                  </a:lnTo>
                  <a:lnTo>
                    <a:pt x="14964" y="2894"/>
                  </a:lnTo>
                  <a:lnTo>
                    <a:pt x="14755" y="2649"/>
                  </a:lnTo>
                  <a:lnTo>
                    <a:pt x="14530" y="2414"/>
                  </a:lnTo>
                  <a:lnTo>
                    <a:pt x="14290" y="2188"/>
                  </a:lnTo>
                  <a:lnTo>
                    <a:pt x="14037" y="1969"/>
                  </a:lnTo>
                  <a:lnTo>
                    <a:pt x="13770" y="1760"/>
                  </a:lnTo>
                  <a:lnTo>
                    <a:pt x="13489" y="1562"/>
                  </a:lnTo>
                  <a:lnTo>
                    <a:pt x="13197" y="1372"/>
                  </a:lnTo>
                  <a:lnTo>
                    <a:pt x="12891" y="1194"/>
                  </a:lnTo>
                  <a:lnTo>
                    <a:pt x="12576" y="1027"/>
                  </a:lnTo>
                  <a:lnTo>
                    <a:pt x="12248" y="870"/>
                  </a:lnTo>
                  <a:lnTo>
                    <a:pt x="11910" y="725"/>
                  </a:lnTo>
                  <a:lnTo>
                    <a:pt x="11563" y="593"/>
                  </a:lnTo>
                  <a:lnTo>
                    <a:pt x="11206" y="473"/>
                  </a:lnTo>
                  <a:lnTo>
                    <a:pt x="10840" y="365"/>
                  </a:lnTo>
                  <a:lnTo>
                    <a:pt x="10465" y="270"/>
                  </a:lnTo>
                  <a:lnTo>
                    <a:pt x="10081" y="189"/>
                  </a:lnTo>
                  <a:lnTo>
                    <a:pt x="9691" y="122"/>
                  </a:lnTo>
                  <a:lnTo>
                    <a:pt x="9294" y="69"/>
                  </a:lnTo>
                  <a:lnTo>
                    <a:pt x="8891" y="31"/>
                  </a:lnTo>
                  <a:lnTo>
                    <a:pt x="8481" y="8"/>
                  </a:lnTo>
                  <a:lnTo>
                    <a:pt x="80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07" name="iṧḻíḍé">
              <a:extLst>
                <a:ext uri="{FF2B5EF4-FFF2-40B4-BE49-F238E27FC236}">
                  <a16:creationId xmlns:a16="http://schemas.microsoft.com/office/drawing/2014/main" id="{1ACCB623-6573-4A3F-92A4-D7B9731E45AC}"/>
                </a:ext>
              </a:extLst>
            </p:cNvPr>
            <p:cNvSpPr/>
            <p:nvPr/>
          </p:nvSpPr>
          <p:spPr bwMode="auto">
            <a:xfrm>
              <a:off x="2262076" y="624077"/>
              <a:ext cx="297186" cy="258928"/>
            </a:xfrm>
            <a:custGeom>
              <a:avLst/>
              <a:gdLst>
                <a:gd name="T0" fmla="*/ 15078 w 16095"/>
                <a:gd name="T1" fmla="*/ 12172 h 14023"/>
                <a:gd name="T2" fmla="*/ 15028 w 16095"/>
                <a:gd name="T3" fmla="*/ 12363 h 14023"/>
                <a:gd name="T4" fmla="*/ 14943 w 16095"/>
                <a:gd name="T5" fmla="*/ 12539 h 14023"/>
                <a:gd name="T6" fmla="*/ 14828 w 16095"/>
                <a:gd name="T7" fmla="*/ 12693 h 14023"/>
                <a:gd name="T8" fmla="*/ 14685 w 16095"/>
                <a:gd name="T9" fmla="*/ 12822 h 14023"/>
                <a:gd name="T10" fmla="*/ 14519 w 16095"/>
                <a:gd name="T11" fmla="*/ 12922 h 14023"/>
                <a:gd name="T12" fmla="*/ 14335 w 16095"/>
                <a:gd name="T13" fmla="*/ 12989 h 14023"/>
                <a:gd name="T14" fmla="*/ 14134 w 16095"/>
                <a:gd name="T15" fmla="*/ 13020 h 14023"/>
                <a:gd name="T16" fmla="*/ 1909 w 16095"/>
                <a:gd name="T17" fmla="*/ 13016 h 14023"/>
                <a:gd name="T18" fmla="*/ 1713 w 16095"/>
                <a:gd name="T19" fmla="*/ 12976 h 14023"/>
                <a:gd name="T20" fmla="*/ 1533 w 16095"/>
                <a:gd name="T21" fmla="*/ 12900 h 14023"/>
                <a:gd name="T22" fmla="*/ 1372 w 16095"/>
                <a:gd name="T23" fmla="*/ 12792 h 14023"/>
                <a:gd name="T24" fmla="*/ 1236 w 16095"/>
                <a:gd name="T25" fmla="*/ 12657 h 14023"/>
                <a:gd name="T26" fmla="*/ 1128 w 16095"/>
                <a:gd name="T27" fmla="*/ 12496 h 14023"/>
                <a:gd name="T28" fmla="*/ 1051 w 16095"/>
                <a:gd name="T29" fmla="*/ 12317 h 14023"/>
                <a:gd name="T30" fmla="*/ 1011 w 16095"/>
                <a:gd name="T31" fmla="*/ 12122 h 14023"/>
                <a:gd name="T32" fmla="*/ 3018 w 16095"/>
                <a:gd name="T33" fmla="*/ 1002 h 14023"/>
                <a:gd name="T34" fmla="*/ 16057 w 16095"/>
                <a:gd name="T35" fmla="*/ 8241 h 14023"/>
                <a:gd name="T36" fmla="*/ 14003 w 16095"/>
                <a:gd name="T37" fmla="*/ 609 h 14023"/>
                <a:gd name="T38" fmla="*/ 13927 w 16095"/>
                <a:gd name="T39" fmla="*/ 466 h 14023"/>
                <a:gd name="T40" fmla="*/ 13830 w 16095"/>
                <a:gd name="T41" fmla="*/ 338 h 14023"/>
                <a:gd name="T42" fmla="*/ 13714 w 16095"/>
                <a:gd name="T43" fmla="*/ 227 h 14023"/>
                <a:gd name="T44" fmla="*/ 13583 w 16095"/>
                <a:gd name="T45" fmla="*/ 136 h 14023"/>
                <a:gd name="T46" fmla="*/ 13438 w 16095"/>
                <a:gd name="T47" fmla="*/ 67 h 14023"/>
                <a:gd name="T48" fmla="*/ 13282 w 16095"/>
                <a:gd name="T49" fmla="*/ 21 h 14023"/>
                <a:gd name="T50" fmla="*/ 13118 w 16095"/>
                <a:gd name="T51" fmla="*/ 1 h 14023"/>
                <a:gd name="T52" fmla="*/ 2977 w 16095"/>
                <a:gd name="T53" fmla="*/ 1 h 14023"/>
                <a:gd name="T54" fmla="*/ 2813 w 16095"/>
                <a:gd name="T55" fmla="*/ 21 h 14023"/>
                <a:gd name="T56" fmla="*/ 2657 w 16095"/>
                <a:gd name="T57" fmla="*/ 67 h 14023"/>
                <a:gd name="T58" fmla="*/ 2512 w 16095"/>
                <a:gd name="T59" fmla="*/ 136 h 14023"/>
                <a:gd name="T60" fmla="*/ 2381 w 16095"/>
                <a:gd name="T61" fmla="*/ 227 h 14023"/>
                <a:gd name="T62" fmla="*/ 2265 w 16095"/>
                <a:gd name="T63" fmla="*/ 338 h 14023"/>
                <a:gd name="T64" fmla="*/ 2168 w 16095"/>
                <a:gd name="T65" fmla="*/ 466 h 14023"/>
                <a:gd name="T66" fmla="*/ 2092 w 16095"/>
                <a:gd name="T67" fmla="*/ 609 h 14023"/>
                <a:gd name="T68" fmla="*/ 38 w 16095"/>
                <a:gd name="T69" fmla="*/ 8241 h 14023"/>
                <a:gd name="T70" fmla="*/ 9 w 16095"/>
                <a:gd name="T71" fmla="*/ 8378 h 14023"/>
                <a:gd name="T72" fmla="*/ 0 w 16095"/>
                <a:gd name="T73" fmla="*/ 8514 h 14023"/>
                <a:gd name="T74" fmla="*/ 23 w 16095"/>
                <a:gd name="T75" fmla="*/ 12325 h 14023"/>
                <a:gd name="T76" fmla="*/ 122 w 16095"/>
                <a:gd name="T77" fmla="*/ 12709 h 14023"/>
                <a:gd name="T78" fmla="*/ 292 w 16095"/>
                <a:gd name="T79" fmla="*/ 13058 h 14023"/>
                <a:gd name="T80" fmla="*/ 523 w 16095"/>
                <a:gd name="T81" fmla="*/ 13367 h 14023"/>
                <a:gd name="T82" fmla="*/ 808 w 16095"/>
                <a:gd name="T83" fmla="*/ 13625 h 14023"/>
                <a:gd name="T84" fmla="*/ 1140 w 16095"/>
                <a:gd name="T85" fmla="*/ 13826 h 14023"/>
                <a:gd name="T86" fmla="*/ 1509 w 16095"/>
                <a:gd name="T87" fmla="*/ 13960 h 14023"/>
                <a:gd name="T88" fmla="*/ 1908 w 16095"/>
                <a:gd name="T89" fmla="*/ 14020 h 14023"/>
                <a:gd name="T90" fmla="*/ 14289 w 16095"/>
                <a:gd name="T91" fmla="*/ 14013 h 14023"/>
                <a:gd name="T92" fmla="*/ 14682 w 16095"/>
                <a:gd name="T93" fmla="*/ 13933 h 14023"/>
                <a:gd name="T94" fmla="*/ 15042 w 16095"/>
                <a:gd name="T95" fmla="*/ 13782 h 14023"/>
                <a:gd name="T96" fmla="*/ 15363 w 16095"/>
                <a:gd name="T97" fmla="*/ 13565 h 14023"/>
                <a:gd name="T98" fmla="*/ 15635 w 16095"/>
                <a:gd name="T99" fmla="*/ 13294 h 14023"/>
                <a:gd name="T100" fmla="*/ 15853 w 16095"/>
                <a:gd name="T101" fmla="*/ 12974 h 14023"/>
                <a:gd name="T102" fmla="*/ 16004 w 16095"/>
                <a:gd name="T103" fmla="*/ 12616 h 14023"/>
                <a:gd name="T104" fmla="*/ 16085 w 16095"/>
                <a:gd name="T105" fmla="*/ 12224 h 14023"/>
                <a:gd name="T106" fmla="*/ 16094 w 16095"/>
                <a:gd name="T107" fmla="*/ 8480 h 14023"/>
                <a:gd name="T108" fmla="*/ 16080 w 16095"/>
                <a:gd name="T109" fmla="*/ 8344 h 14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095" h="14023">
                  <a:moveTo>
                    <a:pt x="15089" y="12020"/>
                  </a:moveTo>
                  <a:lnTo>
                    <a:pt x="15088" y="12071"/>
                  </a:lnTo>
                  <a:lnTo>
                    <a:pt x="15084" y="12122"/>
                  </a:lnTo>
                  <a:lnTo>
                    <a:pt x="15078" y="12172"/>
                  </a:lnTo>
                  <a:lnTo>
                    <a:pt x="15069" y="12221"/>
                  </a:lnTo>
                  <a:lnTo>
                    <a:pt x="15058" y="12270"/>
                  </a:lnTo>
                  <a:lnTo>
                    <a:pt x="15044" y="12317"/>
                  </a:lnTo>
                  <a:lnTo>
                    <a:pt x="15028" y="12363"/>
                  </a:lnTo>
                  <a:lnTo>
                    <a:pt x="15010" y="12409"/>
                  </a:lnTo>
                  <a:lnTo>
                    <a:pt x="14989" y="12453"/>
                  </a:lnTo>
                  <a:lnTo>
                    <a:pt x="14967" y="12496"/>
                  </a:lnTo>
                  <a:lnTo>
                    <a:pt x="14943" y="12539"/>
                  </a:lnTo>
                  <a:lnTo>
                    <a:pt x="14917" y="12580"/>
                  </a:lnTo>
                  <a:lnTo>
                    <a:pt x="14889" y="12619"/>
                  </a:lnTo>
                  <a:lnTo>
                    <a:pt x="14859" y="12657"/>
                  </a:lnTo>
                  <a:lnTo>
                    <a:pt x="14828" y="12693"/>
                  </a:lnTo>
                  <a:lnTo>
                    <a:pt x="14794" y="12728"/>
                  </a:lnTo>
                  <a:lnTo>
                    <a:pt x="14759" y="12761"/>
                  </a:lnTo>
                  <a:lnTo>
                    <a:pt x="14723" y="12792"/>
                  </a:lnTo>
                  <a:lnTo>
                    <a:pt x="14685" y="12822"/>
                  </a:lnTo>
                  <a:lnTo>
                    <a:pt x="14645" y="12850"/>
                  </a:lnTo>
                  <a:lnTo>
                    <a:pt x="14604" y="12876"/>
                  </a:lnTo>
                  <a:lnTo>
                    <a:pt x="14562" y="12900"/>
                  </a:lnTo>
                  <a:lnTo>
                    <a:pt x="14519" y="12922"/>
                  </a:lnTo>
                  <a:lnTo>
                    <a:pt x="14474" y="12942"/>
                  </a:lnTo>
                  <a:lnTo>
                    <a:pt x="14429" y="12960"/>
                  </a:lnTo>
                  <a:lnTo>
                    <a:pt x="14382" y="12976"/>
                  </a:lnTo>
                  <a:lnTo>
                    <a:pt x="14335" y="12989"/>
                  </a:lnTo>
                  <a:lnTo>
                    <a:pt x="14285" y="13001"/>
                  </a:lnTo>
                  <a:lnTo>
                    <a:pt x="14236" y="13009"/>
                  </a:lnTo>
                  <a:lnTo>
                    <a:pt x="14186" y="13016"/>
                  </a:lnTo>
                  <a:lnTo>
                    <a:pt x="14134" y="13020"/>
                  </a:lnTo>
                  <a:lnTo>
                    <a:pt x="14083" y="13021"/>
                  </a:lnTo>
                  <a:lnTo>
                    <a:pt x="2012" y="13021"/>
                  </a:lnTo>
                  <a:lnTo>
                    <a:pt x="1961" y="13020"/>
                  </a:lnTo>
                  <a:lnTo>
                    <a:pt x="1909" y="13016"/>
                  </a:lnTo>
                  <a:lnTo>
                    <a:pt x="1859" y="13009"/>
                  </a:lnTo>
                  <a:lnTo>
                    <a:pt x="1810" y="13001"/>
                  </a:lnTo>
                  <a:lnTo>
                    <a:pt x="1760" y="12989"/>
                  </a:lnTo>
                  <a:lnTo>
                    <a:pt x="1713" y="12976"/>
                  </a:lnTo>
                  <a:lnTo>
                    <a:pt x="1666" y="12960"/>
                  </a:lnTo>
                  <a:lnTo>
                    <a:pt x="1621" y="12942"/>
                  </a:lnTo>
                  <a:lnTo>
                    <a:pt x="1576" y="12922"/>
                  </a:lnTo>
                  <a:lnTo>
                    <a:pt x="1533" y="12900"/>
                  </a:lnTo>
                  <a:lnTo>
                    <a:pt x="1491" y="12876"/>
                  </a:lnTo>
                  <a:lnTo>
                    <a:pt x="1450" y="12850"/>
                  </a:lnTo>
                  <a:lnTo>
                    <a:pt x="1410" y="12822"/>
                  </a:lnTo>
                  <a:lnTo>
                    <a:pt x="1372" y="12792"/>
                  </a:lnTo>
                  <a:lnTo>
                    <a:pt x="1336" y="12761"/>
                  </a:lnTo>
                  <a:lnTo>
                    <a:pt x="1301" y="12728"/>
                  </a:lnTo>
                  <a:lnTo>
                    <a:pt x="1267" y="12693"/>
                  </a:lnTo>
                  <a:lnTo>
                    <a:pt x="1236" y="12657"/>
                  </a:lnTo>
                  <a:lnTo>
                    <a:pt x="1206" y="12619"/>
                  </a:lnTo>
                  <a:lnTo>
                    <a:pt x="1178" y="12580"/>
                  </a:lnTo>
                  <a:lnTo>
                    <a:pt x="1152" y="12539"/>
                  </a:lnTo>
                  <a:lnTo>
                    <a:pt x="1128" y="12496"/>
                  </a:lnTo>
                  <a:lnTo>
                    <a:pt x="1106" y="12453"/>
                  </a:lnTo>
                  <a:lnTo>
                    <a:pt x="1085" y="12409"/>
                  </a:lnTo>
                  <a:lnTo>
                    <a:pt x="1067" y="12363"/>
                  </a:lnTo>
                  <a:lnTo>
                    <a:pt x="1051" y="12317"/>
                  </a:lnTo>
                  <a:lnTo>
                    <a:pt x="1038" y="12270"/>
                  </a:lnTo>
                  <a:lnTo>
                    <a:pt x="1026" y="12221"/>
                  </a:lnTo>
                  <a:lnTo>
                    <a:pt x="1018" y="12172"/>
                  </a:lnTo>
                  <a:lnTo>
                    <a:pt x="1011" y="12122"/>
                  </a:lnTo>
                  <a:lnTo>
                    <a:pt x="1007" y="12071"/>
                  </a:lnTo>
                  <a:lnTo>
                    <a:pt x="1006" y="12020"/>
                  </a:lnTo>
                  <a:lnTo>
                    <a:pt x="1006" y="8514"/>
                  </a:lnTo>
                  <a:lnTo>
                    <a:pt x="3018" y="1002"/>
                  </a:lnTo>
                  <a:lnTo>
                    <a:pt x="13077" y="1002"/>
                  </a:lnTo>
                  <a:lnTo>
                    <a:pt x="15089" y="8514"/>
                  </a:lnTo>
                  <a:lnTo>
                    <a:pt x="15089" y="12020"/>
                  </a:lnTo>
                  <a:close/>
                  <a:moveTo>
                    <a:pt x="16057" y="8241"/>
                  </a:moveTo>
                  <a:lnTo>
                    <a:pt x="14044" y="726"/>
                  </a:lnTo>
                  <a:lnTo>
                    <a:pt x="14032" y="686"/>
                  </a:lnTo>
                  <a:lnTo>
                    <a:pt x="14018" y="647"/>
                  </a:lnTo>
                  <a:lnTo>
                    <a:pt x="14003" y="609"/>
                  </a:lnTo>
                  <a:lnTo>
                    <a:pt x="13986" y="572"/>
                  </a:lnTo>
                  <a:lnTo>
                    <a:pt x="13967" y="536"/>
                  </a:lnTo>
                  <a:lnTo>
                    <a:pt x="13947" y="501"/>
                  </a:lnTo>
                  <a:lnTo>
                    <a:pt x="13927" y="466"/>
                  </a:lnTo>
                  <a:lnTo>
                    <a:pt x="13904" y="433"/>
                  </a:lnTo>
                  <a:lnTo>
                    <a:pt x="13881" y="400"/>
                  </a:lnTo>
                  <a:lnTo>
                    <a:pt x="13856" y="369"/>
                  </a:lnTo>
                  <a:lnTo>
                    <a:pt x="13830" y="338"/>
                  </a:lnTo>
                  <a:lnTo>
                    <a:pt x="13802" y="309"/>
                  </a:lnTo>
                  <a:lnTo>
                    <a:pt x="13774" y="280"/>
                  </a:lnTo>
                  <a:lnTo>
                    <a:pt x="13745" y="253"/>
                  </a:lnTo>
                  <a:lnTo>
                    <a:pt x="13714" y="227"/>
                  </a:lnTo>
                  <a:lnTo>
                    <a:pt x="13683" y="202"/>
                  </a:lnTo>
                  <a:lnTo>
                    <a:pt x="13651" y="179"/>
                  </a:lnTo>
                  <a:lnTo>
                    <a:pt x="13617" y="157"/>
                  </a:lnTo>
                  <a:lnTo>
                    <a:pt x="13583" y="136"/>
                  </a:lnTo>
                  <a:lnTo>
                    <a:pt x="13548" y="117"/>
                  </a:lnTo>
                  <a:lnTo>
                    <a:pt x="13512" y="99"/>
                  </a:lnTo>
                  <a:lnTo>
                    <a:pt x="13476" y="82"/>
                  </a:lnTo>
                  <a:lnTo>
                    <a:pt x="13438" y="67"/>
                  </a:lnTo>
                  <a:lnTo>
                    <a:pt x="13400" y="53"/>
                  </a:lnTo>
                  <a:lnTo>
                    <a:pt x="13361" y="41"/>
                  </a:lnTo>
                  <a:lnTo>
                    <a:pt x="13323" y="30"/>
                  </a:lnTo>
                  <a:lnTo>
                    <a:pt x="13282" y="21"/>
                  </a:lnTo>
                  <a:lnTo>
                    <a:pt x="13242" y="14"/>
                  </a:lnTo>
                  <a:lnTo>
                    <a:pt x="13202" y="8"/>
                  </a:lnTo>
                  <a:lnTo>
                    <a:pt x="13161" y="3"/>
                  </a:lnTo>
                  <a:lnTo>
                    <a:pt x="13118" y="1"/>
                  </a:lnTo>
                  <a:lnTo>
                    <a:pt x="13077" y="0"/>
                  </a:lnTo>
                  <a:lnTo>
                    <a:pt x="8048" y="0"/>
                  </a:lnTo>
                  <a:lnTo>
                    <a:pt x="3018" y="0"/>
                  </a:lnTo>
                  <a:lnTo>
                    <a:pt x="2977" y="1"/>
                  </a:lnTo>
                  <a:lnTo>
                    <a:pt x="2934" y="3"/>
                  </a:lnTo>
                  <a:lnTo>
                    <a:pt x="2893" y="8"/>
                  </a:lnTo>
                  <a:lnTo>
                    <a:pt x="2853" y="14"/>
                  </a:lnTo>
                  <a:lnTo>
                    <a:pt x="2813" y="21"/>
                  </a:lnTo>
                  <a:lnTo>
                    <a:pt x="2772" y="30"/>
                  </a:lnTo>
                  <a:lnTo>
                    <a:pt x="2734" y="41"/>
                  </a:lnTo>
                  <a:lnTo>
                    <a:pt x="2695" y="53"/>
                  </a:lnTo>
                  <a:lnTo>
                    <a:pt x="2657" y="67"/>
                  </a:lnTo>
                  <a:lnTo>
                    <a:pt x="2619" y="82"/>
                  </a:lnTo>
                  <a:lnTo>
                    <a:pt x="2583" y="99"/>
                  </a:lnTo>
                  <a:lnTo>
                    <a:pt x="2547" y="117"/>
                  </a:lnTo>
                  <a:lnTo>
                    <a:pt x="2512" y="136"/>
                  </a:lnTo>
                  <a:lnTo>
                    <a:pt x="2478" y="157"/>
                  </a:lnTo>
                  <a:lnTo>
                    <a:pt x="2444" y="179"/>
                  </a:lnTo>
                  <a:lnTo>
                    <a:pt x="2412" y="202"/>
                  </a:lnTo>
                  <a:lnTo>
                    <a:pt x="2381" y="227"/>
                  </a:lnTo>
                  <a:lnTo>
                    <a:pt x="2350" y="253"/>
                  </a:lnTo>
                  <a:lnTo>
                    <a:pt x="2321" y="280"/>
                  </a:lnTo>
                  <a:lnTo>
                    <a:pt x="2293" y="309"/>
                  </a:lnTo>
                  <a:lnTo>
                    <a:pt x="2265" y="338"/>
                  </a:lnTo>
                  <a:lnTo>
                    <a:pt x="2239" y="369"/>
                  </a:lnTo>
                  <a:lnTo>
                    <a:pt x="2214" y="400"/>
                  </a:lnTo>
                  <a:lnTo>
                    <a:pt x="2191" y="433"/>
                  </a:lnTo>
                  <a:lnTo>
                    <a:pt x="2168" y="466"/>
                  </a:lnTo>
                  <a:lnTo>
                    <a:pt x="2148" y="501"/>
                  </a:lnTo>
                  <a:lnTo>
                    <a:pt x="2128" y="536"/>
                  </a:lnTo>
                  <a:lnTo>
                    <a:pt x="2109" y="572"/>
                  </a:lnTo>
                  <a:lnTo>
                    <a:pt x="2092" y="609"/>
                  </a:lnTo>
                  <a:lnTo>
                    <a:pt x="2077" y="647"/>
                  </a:lnTo>
                  <a:lnTo>
                    <a:pt x="2063" y="686"/>
                  </a:lnTo>
                  <a:lnTo>
                    <a:pt x="2051" y="726"/>
                  </a:lnTo>
                  <a:lnTo>
                    <a:pt x="38" y="8241"/>
                  </a:lnTo>
                  <a:lnTo>
                    <a:pt x="29" y="8276"/>
                  </a:lnTo>
                  <a:lnTo>
                    <a:pt x="21" y="8310"/>
                  </a:lnTo>
                  <a:lnTo>
                    <a:pt x="15" y="8344"/>
                  </a:lnTo>
                  <a:lnTo>
                    <a:pt x="9" y="8378"/>
                  </a:lnTo>
                  <a:lnTo>
                    <a:pt x="5" y="8412"/>
                  </a:lnTo>
                  <a:lnTo>
                    <a:pt x="2" y="8447"/>
                  </a:lnTo>
                  <a:lnTo>
                    <a:pt x="1" y="8480"/>
                  </a:lnTo>
                  <a:lnTo>
                    <a:pt x="0" y="8514"/>
                  </a:lnTo>
                  <a:lnTo>
                    <a:pt x="0" y="12020"/>
                  </a:lnTo>
                  <a:lnTo>
                    <a:pt x="3" y="12123"/>
                  </a:lnTo>
                  <a:lnTo>
                    <a:pt x="10" y="12224"/>
                  </a:lnTo>
                  <a:lnTo>
                    <a:pt x="23" y="12325"/>
                  </a:lnTo>
                  <a:lnTo>
                    <a:pt x="41" y="12423"/>
                  </a:lnTo>
                  <a:lnTo>
                    <a:pt x="63" y="12521"/>
                  </a:lnTo>
                  <a:lnTo>
                    <a:pt x="91" y="12616"/>
                  </a:lnTo>
                  <a:lnTo>
                    <a:pt x="122" y="12709"/>
                  </a:lnTo>
                  <a:lnTo>
                    <a:pt x="158" y="12799"/>
                  </a:lnTo>
                  <a:lnTo>
                    <a:pt x="198" y="12888"/>
                  </a:lnTo>
                  <a:lnTo>
                    <a:pt x="242" y="12974"/>
                  </a:lnTo>
                  <a:lnTo>
                    <a:pt x="292" y="13058"/>
                  </a:lnTo>
                  <a:lnTo>
                    <a:pt x="344" y="13140"/>
                  </a:lnTo>
                  <a:lnTo>
                    <a:pt x="399" y="13219"/>
                  </a:lnTo>
                  <a:lnTo>
                    <a:pt x="460" y="13294"/>
                  </a:lnTo>
                  <a:lnTo>
                    <a:pt x="523" y="13367"/>
                  </a:lnTo>
                  <a:lnTo>
                    <a:pt x="589" y="13436"/>
                  </a:lnTo>
                  <a:lnTo>
                    <a:pt x="659" y="13502"/>
                  </a:lnTo>
                  <a:lnTo>
                    <a:pt x="732" y="13565"/>
                  </a:lnTo>
                  <a:lnTo>
                    <a:pt x="808" y="13625"/>
                  </a:lnTo>
                  <a:lnTo>
                    <a:pt x="887" y="13680"/>
                  </a:lnTo>
                  <a:lnTo>
                    <a:pt x="969" y="13733"/>
                  </a:lnTo>
                  <a:lnTo>
                    <a:pt x="1053" y="13782"/>
                  </a:lnTo>
                  <a:lnTo>
                    <a:pt x="1140" y="13826"/>
                  </a:lnTo>
                  <a:lnTo>
                    <a:pt x="1228" y="13866"/>
                  </a:lnTo>
                  <a:lnTo>
                    <a:pt x="1320" y="13902"/>
                  </a:lnTo>
                  <a:lnTo>
                    <a:pt x="1413" y="13933"/>
                  </a:lnTo>
                  <a:lnTo>
                    <a:pt x="1509" y="13960"/>
                  </a:lnTo>
                  <a:lnTo>
                    <a:pt x="1606" y="13982"/>
                  </a:lnTo>
                  <a:lnTo>
                    <a:pt x="1705" y="14000"/>
                  </a:lnTo>
                  <a:lnTo>
                    <a:pt x="1806" y="14013"/>
                  </a:lnTo>
                  <a:lnTo>
                    <a:pt x="1908" y="14020"/>
                  </a:lnTo>
                  <a:lnTo>
                    <a:pt x="2012" y="14023"/>
                  </a:lnTo>
                  <a:lnTo>
                    <a:pt x="14083" y="14023"/>
                  </a:lnTo>
                  <a:lnTo>
                    <a:pt x="14187" y="14020"/>
                  </a:lnTo>
                  <a:lnTo>
                    <a:pt x="14289" y="14013"/>
                  </a:lnTo>
                  <a:lnTo>
                    <a:pt x="14390" y="14000"/>
                  </a:lnTo>
                  <a:lnTo>
                    <a:pt x="14489" y="13982"/>
                  </a:lnTo>
                  <a:lnTo>
                    <a:pt x="14586" y="13960"/>
                  </a:lnTo>
                  <a:lnTo>
                    <a:pt x="14682" y="13933"/>
                  </a:lnTo>
                  <a:lnTo>
                    <a:pt x="14775" y="13902"/>
                  </a:lnTo>
                  <a:lnTo>
                    <a:pt x="14867" y="13866"/>
                  </a:lnTo>
                  <a:lnTo>
                    <a:pt x="14955" y="13826"/>
                  </a:lnTo>
                  <a:lnTo>
                    <a:pt x="15042" y="13782"/>
                  </a:lnTo>
                  <a:lnTo>
                    <a:pt x="15126" y="13733"/>
                  </a:lnTo>
                  <a:lnTo>
                    <a:pt x="15208" y="13680"/>
                  </a:lnTo>
                  <a:lnTo>
                    <a:pt x="15287" y="13625"/>
                  </a:lnTo>
                  <a:lnTo>
                    <a:pt x="15363" y="13565"/>
                  </a:lnTo>
                  <a:lnTo>
                    <a:pt x="15436" y="13502"/>
                  </a:lnTo>
                  <a:lnTo>
                    <a:pt x="15506" y="13436"/>
                  </a:lnTo>
                  <a:lnTo>
                    <a:pt x="15572" y="13367"/>
                  </a:lnTo>
                  <a:lnTo>
                    <a:pt x="15635" y="13294"/>
                  </a:lnTo>
                  <a:lnTo>
                    <a:pt x="15696" y="13219"/>
                  </a:lnTo>
                  <a:lnTo>
                    <a:pt x="15751" y="13140"/>
                  </a:lnTo>
                  <a:lnTo>
                    <a:pt x="15803" y="13058"/>
                  </a:lnTo>
                  <a:lnTo>
                    <a:pt x="15853" y="12974"/>
                  </a:lnTo>
                  <a:lnTo>
                    <a:pt x="15897" y="12888"/>
                  </a:lnTo>
                  <a:lnTo>
                    <a:pt x="15937" y="12799"/>
                  </a:lnTo>
                  <a:lnTo>
                    <a:pt x="15973" y="12709"/>
                  </a:lnTo>
                  <a:lnTo>
                    <a:pt x="16004" y="12616"/>
                  </a:lnTo>
                  <a:lnTo>
                    <a:pt x="16032" y="12521"/>
                  </a:lnTo>
                  <a:lnTo>
                    <a:pt x="16054" y="12423"/>
                  </a:lnTo>
                  <a:lnTo>
                    <a:pt x="16072" y="12325"/>
                  </a:lnTo>
                  <a:lnTo>
                    <a:pt x="16085" y="12224"/>
                  </a:lnTo>
                  <a:lnTo>
                    <a:pt x="16092" y="12123"/>
                  </a:lnTo>
                  <a:lnTo>
                    <a:pt x="16095" y="12020"/>
                  </a:lnTo>
                  <a:lnTo>
                    <a:pt x="16095" y="8514"/>
                  </a:lnTo>
                  <a:lnTo>
                    <a:pt x="16094" y="8480"/>
                  </a:lnTo>
                  <a:lnTo>
                    <a:pt x="16093" y="8447"/>
                  </a:lnTo>
                  <a:lnTo>
                    <a:pt x="16090" y="8412"/>
                  </a:lnTo>
                  <a:lnTo>
                    <a:pt x="16086" y="8378"/>
                  </a:lnTo>
                  <a:lnTo>
                    <a:pt x="16080" y="8344"/>
                  </a:lnTo>
                  <a:lnTo>
                    <a:pt x="16074" y="8310"/>
                  </a:lnTo>
                  <a:lnTo>
                    <a:pt x="16066" y="8276"/>
                  </a:lnTo>
                  <a:lnTo>
                    <a:pt x="16057" y="8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7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08" name="ïsḷîdê">
              <a:extLst>
                <a:ext uri="{FF2B5EF4-FFF2-40B4-BE49-F238E27FC236}">
                  <a16:creationId xmlns:a16="http://schemas.microsoft.com/office/drawing/2014/main" id="{5565E0BD-61E0-439A-A9B3-DDDF20407144}"/>
                </a:ext>
              </a:extLst>
            </p:cNvPr>
            <p:cNvSpPr/>
            <p:nvPr/>
          </p:nvSpPr>
          <p:spPr bwMode="auto">
            <a:xfrm>
              <a:off x="2297602" y="660969"/>
              <a:ext cx="226135" cy="166698"/>
            </a:xfrm>
            <a:custGeom>
              <a:avLst/>
              <a:gdLst>
                <a:gd name="T0" fmla="*/ 9354 w 12261"/>
                <a:gd name="T1" fmla="*/ 6015 h 9015"/>
                <a:gd name="T2" fmla="*/ 9182 w 12261"/>
                <a:gd name="T3" fmla="*/ 6048 h 9015"/>
                <a:gd name="T4" fmla="*/ 9021 w 12261"/>
                <a:gd name="T5" fmla="*/ 6109 h 9015"/>
                <a:gd name="T6" fmla="*/ 8874 w 12261"/>
                <a:gd name="T7" fmla="*/ 6196 h 9015"/>
                <a:gd name="T8" fmla="*/ 8743 w 12261"/>
                <a:gd name="T9" fmla="*/ 6308 h 9015"/>
                <a:gd name="T10" fmla="*/ 8632 w 12261"/>
                <a:gd name="T11" fmla="*/ 6442 h 9015"/>
                <a:gd name="T12" fmla="*/ 7833 w 12261"/>
                <a:gd name="T13" fmla="*/ 8013 h 9015"/>
                <a:gd name="T14" fmla="*/ 3649 w 12261"/>
                <a:gd name="T15" fmla="*/ 6471 h 9015"/>
                <a:gd name="T16" fmla="*/ 3542 w 12261"/>
                <a:gd name="T17" fmla="*/ 6333 h 9015"/>
                <a:gd name="T18" fmla="*/ 3415 w 12261"/>
                <a:gd name="T19" fmla="*/ 6216 h 9015"/>
                <a:gd name="T20" fmla="*/ 3271 w 12261"/>
                <a:gd name="T21" fmla="*/ 6125 h 9015"/>
                <a:gd name="T22" fmla="*/ 3113 w 12261"/>
                <a:gd name="T23" fmla="*/ 6058 h 9015"/>
                <a:gd name="T24" fmla="*/ 2943 w 12261"/>
                <a:gd name="T25" fmla="*/ 6020 h 9015"/>
                <a:gd name="T26" fmla="*/ 1966 w 12261"/>
                <a:gd name="T27" fmla="*/ 6010 h 9015"/>
                <a:gd name="T28" fmla="*/ 10296 w 12261"/>
                <a:gd name="T29" fmla="*/ 6010 h 9015"/>
                <a:gd name="T30" fmla="*/ 2173 w 12261"/>
                <a:gd name="T31" fmla="*/ 4 h 9015"/>
                <a:gd name="T32" fmla="*/ 2073 w 12261"/>
                <a:gd name="T33" fmla="*/ 27 h 9015"/>
                <a:gd name="T34" fmla="*/ 1980 w 12261"/>
                <a:gd name="T35" fmla="*/ 70 h 9015"/>
                <a:gd name="T36" fmla="*/ 1899 w 12261"/>
                <a:gd name="T37" fmla="*/ 129 h 9015"/>
                <a:gd name="T38" fmla="*/ 1831 w 12261"/>
                <a:gd name="T39" fmla="*/ 205 h 9015"/>
                <a:gd name="T40" fmla="*/ 1779 w 12261"/>
                <a:gd name="T41" fmla="*/ 294 h 9015"/>
                <a:gd name="T42" fmla="*/ 17 w 12261"/>
                <a:gd name="T43" fmla="*/ 6382 h 9015"/>
                <a:gd name="T44" fmla="*/ 0 w 12261"/>
                <a:gd name="T45" fmla="*/ 6525 h 9015"/>
                <a:gd name="T46" fmla="*/ 24 w 12261"/>
                <a:gd name="T47" fmla="*/ 6664 h 9015"/>
                <a:gd name="T48" fmla="*/ 88 w 12261"/>
                <a:gd name="T49" fmla="*/ 6792 h 9015"/>
                <a:gd name="T50" fmla="*/ 185 w 12261"/>
                <a:gd name="T51" fmla="*/ 6899 h 9015"/>
                <a:gd name="T52" fmla="*/ 307 w 12261"/>
                <a:gd name="T53" fmla="*/ 6972 h 9015"/>
                <a:gd name="T54" fmla="*/ 446 w 12261"/>
                <a:gd name="T55" fmla="*/ 7009 h 9015"/>
                <a:gd name="T56" fmla="*/ 2802 w 12261"/>
                <a:gd name="T57" fmla="*/ 7012 h 9015"/>
                <a:gd name="T58" fmla="*/ 3602 w 12261"/>
                <a:gd name="T59" fmla="*/ 8582 h 9015"/>
                <a:gd name="T60" fmla="*/ 3712 w 12261"/>
                <a:gd name="T61" fmla="*/ 8716 h 9015"/>
                <a:gd name="T62" fmla="*/ 3843 w 12261"/>
                <a:gd name="T63" fmla="*/ 8828 h 9015"/>
                <a:gd name="T64" fmla="*/ 3991 w 12261"/>
                <a:gd name="T65" fmla="*/ 8915 h 9015"/>
                <a:gd name="T66" fmla="*/ 4152 w 12261"/>
                <a:gd name="T67" fmla="*/ 8976 h 9015"/>
                <a:gd name="T68" fmla="*/ 4323 w 12261"/>
                <a:gd name="T69" fmla="*/ 9009 h 9015"/>
                <a:gd name="T70" fmla="*/ 7868 w 12261"/>
                <a:gd name="T71" fmla="*/ 9014 h 9015"/>
                <a:gd name="T72" fmla="*/ 8042 w 12261"/>
                <a:gd name="T73" fmla="*/ 8993 h 9015"/>
                <a:gd name="T74" fmla="*/ 8208 w 12261"/>
                <a:gd name="T75" fmla="*/ 8943 h 9015"/>
                <a:gd name="T76" fmla="*/ 8361 w 12261"/>
                <a:gd name="T77" fmla="*/ 8866 h 9015"/>
                <a:gd name="T78" fmla="*/ 8498 w 12261"/>
                <a:gd name="T79" fmla="*/ 8764 h 9015"/>
                <a:gd name="T80" fmla="*/ 8618 w 12261"/>
                <a:gd name="T81" fmla="*/ 8638 h 9015"/>
                <a:gd name="T82" fmla="*/ 8716 w 12261"/>
                <a:gd name="T83" fmla="*/ 8493 h 9015"/>
                <a:gd name="T84" fmla="*/ 11758 w 12261"/>
                <a:gd name="T85" fmla="*/ 7012 h 9015"/>
                <a:gd name="T86" fmla="*/ 11900 w 12261"/>
                <a:gd name="T87" fmla="*/ 6991 h 9015"/>
                <a:gd name="T88" fmla="*/ 12029 w 12261"/>
                <a:gd name="T89" fmla="*/ 6932 h 9015"/>
                <a:gd name="T90" fmla="*/ 12138 w 12261"/>
                <a:gd name="T91" fmla="*/ 6839 h 9015"/>
                <a:gd name="T92" fmla="*/ 12215 w 12261"/>
                <a:gd name="T93" fmla="*/ 6717 h 9015"/>
                <a:gd name="T94" fmla="*/ 12256 w 12261"/>
                <a:gd name="T95" fmla="*/ 6581 h 9015"/>
                <a:gd name="T96" fmla="*/ 12256 w 12261"/>
                <a:gd name="T97" fmla="*/ 6439 h 9015"/>
                <a:gd name="T98" fmla="*/ 10498 w 12261"/>
                <a:gd name="T99" fmla="*/ 332 h 9015"/>
                <a:gd name="T100" fmla="*/ 10453 w 12261"/>
                <a:gd name="T101" fmla="*/ 239 h 9015"/>
                <a:gd name="T102" fmla="*/ 10392 w 12261"/>
                <a:gd name="T103" fmla="*/ 159 h 9015"/>
                <a:gd name="T104" fmla="*/ 10315 w 12261"/>
                <a:gd name="T105" fmla="*/ 92 h 9015"/>
                <a:gd name="T106" fmla="*/ 10227 w 12261"/>
                <a:gd name="T107" fmla="*/ 42 h 9015"/>
                <a:gd name="T108" fmla="*/ 10129 w 12261"/>
                <a:gd name="T109" fmla="*/ 11 h 9015"/>
                <a:gd name="T110" fmla="*/ 10024 w 12261"/>
                <a:gd name="T111" fmla="*/ 0 h 90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261" h="9015">
                  <a:moveTo>
                    <a:pt x="10296" y="6010"/>
                  </a:moveTo>
                  <a:lnTo>
                    <a:pt x="9460" y="6010"/>
                  </a:lnTo>
                  <a:lnTo>
                    <a:pt x="9424" y="6011"/>
                  </a:lnTo>
                  <a:lnTo>
                    <a:pt x="9389" y="6012"/>
                  </a:lnTo>
                  <a:lnTo>
                    <a:pt x="9354" y="6015"/>
                  </a:lnTo>
                  <a:lnTo>
                    <a:pt x="9318" y="6020"/>
                  </a:lnTo>
                  <a:lnTo>
                    <a:pt x="9283" y="6025"/>
                  </a:lnTo>
                  <a:lnTo>
                    <a:pt x="9249" y="6032"/>
                  </a:lnTo>
                  <a:lnTo>
                    <a:pt x="9216" y="6039"/>
                  </a:lnTo>
                  <a:lnTo>
                    <a:pt x="9182" y="6048"/>
                  </a:lnTo>
                  <a:lnTo>
                    <a:pt x="9148" y="6058"/>
                  </a:lnTo>
                  <a:lnTo>
                    <a:pt x="9116" y="6069"/>
                  </a:lnTo>
                  <a:lnTo>
                    <a:pt x="9084" y="6082"/>
                  </a:lnTo>
                  <a:lnTo>
                    <a:pt x="9052" y="6095"/>
                  </a:lnTo>
                  <a:lnTo>
                    <a:pt x="9021" y="6109"/>
                  </a:lnTo>
                  <a:lnTo>
                    <a:pt x="8990" y="6125"/>
                  </a:lnTo>
                  <a:lnTo>
                    <a:pt x="8960" y="6141"/>
                  </a:lnTo>
                  <a:lnTo>
                    <a:pt x="8931" y="6158"/>
                  </a:lnTo>
                  <a:lnTo>
                    <a:pt x="8902" y="6177"/>
                  </a:lnTo>
                  <a:lnTo>
                    <a:pt x="8874" y="6196"/>
                  </a:lnTo>
                  <a:lnTo>
                    <a:pt x="8847" y="6216"/>
                  </a:lnTo>
                  <a:lnTo>
                    <a:pt x="8819" y="6239"/>
                  </a:lnTo>
                  <a:lnTo>
                    <a:pt x="8793" y="6261"/>
                  </a:lnTo>
                  <a:lnTo>
                    <a:pt x="8768" y="6284"/>
                  </a:lnTo>
                  <a:lnTo>
                    <a:pt x="8743" y="6308"/>
                  </a:lnTo>
                  <a:lnTo>
                    <a:pt x="8719" y="6333"/>
                  </a:lnTo>
                  <a:lnTo>
                    <a:pt x="8697" y="6359"/>
                  </a:lnTo>
                  <a:lnTo>
                    <a:pt x="8675" y="6386"/>
                  </a:lnTo>
                  <a:lnTo>
                    <a:pt x="8652" y="6413"/>
                  </a:lnTo>
                  <a:lnTo>
                    <a:pt x="8632" y="6442"/>
                  </a:lnTo>
                  <a:lnTo>
                    <a:pt x="8613" y="6471"/>
                  </a:lnTo>
                  <a:lnTo>
                    <a:pt x="8594" y="6501"/>
                  </a:lnTo>
                  <a:lnTo>
                    <a:pt x="8577" y="6532"/>
                  </a:lnTo>
                  <a:lnTo>
                    <a:pt x="8560" y="6563"/>
                  </a:lnTo>
                  <a:lnTo>
                    <a:pt x="7833" y="8013"/>
                  </a:lnTo>
                  <a:lnTo>
                    <a:pt x="4429" y="8013"/>
                  </a:lnTo>
                  <a:lnTo>
                    <a:pt x="3701" y="6563"/>
                  </a:lnTo>
                  <a:lnTo>
                    <a:pt x="3685" y="6532"/>
                  </a:lnTo>
                  <a:lnTo>
                    <a:pt x="3667" y="6501"/>
                  </a:lnTo>
                  <a:lnTo>
                    <a:pt x="3649" y="6471"/>
                  </a:lnTo>
                  <a:lnTo>
                    <a:pt x="3629" y="6442"/>
                  </a:lnTo>
                  <a:lnTo>
                    <a:pt x="3609" y="6413"/>
                  </a:lnTo>
                  <a:lnTo>
                    <a:pt x="3587" y="6386"/>
                  </a:lnTo>
                  <a:lnTo>
                    <a:pt x="3565" y="6359"/>
                  </a:lnTo>
                  <a:lnTo>
                    <a:pt x="3542" y="6333"/>
                  </a:lnTo>
                  <a:lnTo>
                    <a:pt x="3518" y="6308"/>
                  </a:lnTo>
                  <a:lnTo>
                    <a:pt x="3494" y="6284"/>
                  </a:lnTo>
                  <a:lnTo>
                    <a:pt x="3468" y="6261"/>
                  </a:lnTo>
                  <a:lnTo>
                    <a:pt x="3442" y="6239"/>
                  </a:lnTo>
                  <a:lnTo>
                    <a:pt x="3415" y="6216"/>
                  </a:lnTo>
                  <a:lnTo>
                    <a:pt x="3387" y="6196"/>
                  </a:lnTo>
                  <a:lnTo>
                    <a:pt x="3359" y="6177"/>
                  </a:lnTo>
                  <a:lnTo>
                    <a:pt x="3330" y="6158"/>
                  </a:lnTo>
                  <a:lnTo>
                    <a:pt x="3301" y="6141"/>
                  </a:lnTo>
                  <a:lnTo>
                    <a:pt x="3271" y="6125"/>
                  </a:lnTo>
                  <a:lnTo>
                    <a:pt x="3240" y="6109"/>
                  </a:lnTo>
                  <a:lnTo>
                    <a:pt x="3209" y="6095"/>
                  </a:lnTo>
                  <a:lnTo>
                    <a:pt x="3177" y="6082"/>
                  </a:lnTo>
                  <a:lnTo>
                    <a:pt x="3145" y="6069"/>
                  </a:lnTo>
                  <a:lnTo>
                    <a:pt x="3113" y="6058"/>
                  </a:lnTo>
                  <a:lnTo>
                    <a:pt x="3079" y="6048"/>
                  </a:lnTo>
                  <a:lnTo>
                    <a:pt x="3046" y="6039"/>
                  </a:lnTo>
                  <a:lnTo>
                    <a:pt x="3012" y="6032"/>
                  </a:lnTo>
                  <a:lnTo>
                    <a:pt x="2978" y="6025"/>
                  </a:lnTo>
                  <a:lnTo>
                    <a:pt x="2943" y="6020"/>
                  </a:lnTo>
                  <a:lnTo>
                    <a:pt x="2908" y="6015"/>
                  </a:lnTo>
                  <a:lnTo>
                    <a:pt x="2873" y="6012"/>
                  </a:lnTo>
                  <a:lnTo>
                    <a:pt x="2837" y="6011"/>
                  </a:lnTo>
                  <a:lnTo>
                    <a:pt x="2802" y="6010"/>
                  </a:lnTo>
                  <a:lnTo>
                    <a:pt x="1966" y="6010"/>
                  </a:lnTo>
                  <a:lnTo>
                    <a:pt x="766" y="6010"/>
                  </a:lnTo>
                  <a:lnTo>
                    <a:pt x="2237" y="501"/>
                  </a:lnTo>
                  <a:lnTo>
                    <a:pt x="10024" y="501"/>
                  </a:lnTo>
                  <a:lnTo>
                    <a:pt x="11495" y="6010"/>
                  </a:lnTo>
                  <a:lnTo>
                    <a:pt x="10296" y="6010"/>
                  </a:lnTo>
                  <a:close/>
                  <a:moveTo>
                    <a:pt x="10024" y="0"/>
                  </a:moveTo>
                  <a:lnTo>
                    <a:pt x="2237" y="0"/>
                  </a:lnTo>
                  <a:lnTo>
                    <a:pt x="2215" y="0"/>
                  </a:lnTo>
                  <a:lnTo>
                    <a:pt x="2194" y="2"/>
                  </a:lnTo>
                  <a:lnTo>
                    <a:pt x="2173" y="4"/>
                  </a:lnTo>
                  <a:lnTo>
                    <a:pt x="2153" y="7"/>
                  </a:lnTo>
                  <a:lnTo>
                    <a:pt x="2132" y="11"/>
                  </a:lnTo>
                  <a:lnTo>
                    <a:pt x="2112" y="15"/>
                  </a:lnTo>
                  <a:lnTo>
                    <a:pt x="2092" y="21"/>
                  </a:lnTo>
                  <a:lnTo>
                    <a:pt x="2073" y="27"/>
                  </a:lnTo>
                  <a:lnTo>
                    <a:pt x="2053" y="34"/>
                  </a:lnTo>
                  <a:lnTo>
                    <a:pt x="2034" y="42"/>
                  </a:lnTo>
                  <a:lnTo>
                    <a:pt x="2016" y="50"/>
                  </a:lnTo>
                  <a:lnTo>
                    <a:pt x="1998" y="60"/>
                  </a:lnTo>
                  <a:lnTo>
                    <a:pt x="1980" y="70"/>
                  </a:lnTo>
                  <a:lnTo>
                    <a:pt x="1963" y="80"/>
                  </a:lnTo>
                  <a:lnTo>
                    <a:pt x="1946" y="92"/>
                  </a:lnTo>
                  <a:lnTo>
                    <a:pt x="1930" y="104"/>
                  </a:lnTo>
                  <a:lnTo>
                    <a:pt x="1914" y="116"/>
                  </a:lnTo>
                  <a:lnTo>
                    <a:pt x="1899" y="129"/>
                  </a:lnTo>
                  <a:lnTo>
                    <a:pt x="1884" y="144"/>
                  </a:lnTo>
                  <a:lnTo>
                    <a:pt x="1869" y="159"/>
                  </a:lnTo>
                  <a:lnTo>
                    <a:pt x="1856" y="174"/>
                  </a:lnTo>
                  <a:lnTo>
                    <a:pt x="1843" y="189"/>
                  </a:lnTo>
                  <a:lnTo>
                    <a:pt x="1831" y="205"/>
                  </a:lnTo>
                  <a:lnTo>
                    <a:pt x="1819" y="222"/>
                  </a:lnTo>
                  <a:lnTo>
                    <a:pt x="1808" y="239"/>
                  </a:lnTo>
                  <a:lnTo>
                    <a:pt x="1798" y="257"/>
                  </a:lnTo>
                  <a:lnTo>
                    <a:pt x="1788" y="275"/>
                  </a:lnTo>
                  <a:lnTo>
                    <a:pt x="1779" y="294"/>
                  </a:lnTo>
                  <a:lnTo>
                    <a:pt x="1771" y="313"/>
                  </a:lnTo>
                  <a:lnTo>
                    <a:pt x="1763" y="332"/>
                  </a:lnTo>
                  <a:lnTo>
                    <a:pt x="1757" y="352"/>
                  </a:lnTo>
                  <a:lnTo>
                    <a:pt x="1751" y="372"/>
                  </a:lnTo>
                  <a:lnTo>
                    <a:pt x="17" y="6382"/>
                  </a:lnTo>
                  <a:lnTo>
                    <a:pt x="10" y="6411"/>
                  </a:lnTo>
                  <a:lnTo>
                    <a:pt x="5" y="6439"/>
                  </a:lnTo>
                  <a:lnTo>
                    <a:pt x="2" y="6468"/>
                  </a:lnTo>
                  <a:lnTo>
                    <a:pt x="0" y="6496"/>
                  </a:lnTo>
                  <a:lnTo>
                    <a:pt x="0" y="6525"/>
                  </a:lnTo>
                  <a:lnTo>
                    <a:pt x="2" y="6553"/>
                  </a:lnTo>
                  <a:lnTo>
                    <a:pt x="5" y="6581"/>
                  </a:lnTo>
                  <a:lnTo>
                    <a:pt x="10" y="6609"/>
                  </a:lnTo>
                  <a:lnTo>
                    <a:pt x="16" y="6637"/>
                  </a:lnTo>
                  <a:lnTo>
                    <a:pt x="24" y="6664"/>
                  </a:lnTo>
                  <a:lnTo>
                    <a:pt x="35" y="6691"/>
                  </a:lnTo>
                  <a:lnTo>
                    <a:pt x="46" y="6717"/>
                  </a:lnTo>
                  <a:lnTo>
                    <a:pt x="58" y="6743"/>
                  </a:lnTo>
                  <a:lnTo>
                    <a:pt x="72" y="6768"/>
                  </a:lnTo>
                  <a:lnTo>
                    <a:pt x="88" y="6792"/>
                  </a:lnTo>
                  <a:lnTo>
                    <a:pt x="105" y="6815"/>
                  </a:lnTo>
                  <a:lnTo>
                    <a:pt x="123" y="6839"/>
                  </a:lnTo>
                  <a:lnTo>
                    <a:pt x="143" y="6860"/>
                  </a:lnTo>
                  <a:lnTo>
                    <a:pt x="163" y="6880"/>
                  </a:lnTo>
                  <a:lnTo>
                    <a:pt x="185" y="6899"/>
                  </a:lnTo>
                  <a:lnTo>
                    <a:pt x="208" y="6916"/>
                  </a:lnTo>
                  <a:lnTo>
                    <a:pt x="232" y="6932"/>
                  </a:lnTo>
                  <a:lnTo>
                    <a:pt x="256" y="6947"/>
                  </a:lnTo>
                  <a:lnTo>
                    <a:pt x="281" y="6960"/>
                  </a:lnTo>
                  <a:lnTo>
                    <a:pt x="307" y="6972"/>
                  </a:lnTo>
                  <a:lnTo>
                    <a:pt x="334" y="6982"/>
                  </a:lnTo>
                  <a:lnTo>
                    <a:pt x="361" y="6991"/>
                  </a:lnTo>
                  <a:lnTo>
                    <a:pt x="389" y="6999"/>
                  </a:lnTo>
                  <a:lnTo>
                    <a:pt x="417" y="7004"/>
                  </a:lnTo>
                  <a:lnTo>
                    <a:pt x="446" y="7009"/>
                  </a:lnTo>
                  <a:lnTo>
                    <a:pt x="474" y="7011"/>
                  </a:lnTo>
                  <a:lnTo>
                    <a:pt x="503" y="7012"/>
                  </a:lnTo>
                  <a:lnTo>
                    <a:pt x="1966" y="7012"/>
                  </a:lnTo>
                  <a:lnTo>
                    <a:pt x="2539" y="7012"/>
                  </a:lnTo>
                  <a:lnTo>
                    <a:pt x="2802" y="7012"/>
                  </a:lnTo>
                  <a:lnTo>
                    <a:pt x="3529" y="8461"/>
                  </a:lnTo>
                  <a:lnTo>
                    <a:pt x="3546" y="8493"/>
                  </a:lnTo>
                  <a:lnTo>
                    <a:pt x="3563" y="8523"/>
                  </a:lnTo>
                  <a:lnTo>
                    <a:pt x="3581" y="8553"/>
                  </a:lnTo>
                  <a:lnTo>
                    <a:pt x="3602" y="8582"/>
                  </a:lnTo>
                  <a:lnTo>
                    <a:pt x="3622" y="8611"/>
                  </a:lnTo>
                  <a:lnTo>
                    <a:pt x="3643" y="8638"/>
                  </a:lnTo>
                  <a:lnTo>
                    <a:pt x="3665" y="8665"/>
                  </a:lnTo>
                  <a:lnTo>
                    <a:pt x="3688" y="8692"/>
                  </a:lnTo>
                  <a:lnTo>
                    <a:pt x="3712" y="8716"/>
                  </a:lnTo>
                  <a:lnTo>
                    <a:pt x="3736" y="8741"/>
                  </a:lnTo>
                  <a:lnTo>
                    <a:pt x="3763" y="8764"/>
                  </a:lnTo>
                  <a:lnTo>
                    <a:pt x="3789" y="8786"/>
                  </a:lnTo>
                  <a:lnTo>
                    <a:pt x="3815" y="8807"/>
                  </a:lnTo>
                  <a:lnTo>
                    <a:pt x="3843" y="8828"/>
                  </a:lnTo>
                  <a:lnTo>
                    <a:pt x="3871" y="8847"/>
                  </a:lnTo>
                  <a:lnTo>
                    <a:pt x="3900" y="8866"/>
                  </a:lnTo>
                  <a:lnTo>
                    <a:pt x="3930" y="8883"/>
                  </a:lnTo>
                  <a:lnTo>
                    <a:pt x="3960" y="8900"/>
                  </a:lnTo>
                  <a:lnTo>
                    <a:pt x="3991" y="8915"/>
                  </a:lnTo>
                  <a:lnTo>
                    <a:pt x="4022" y="8929"/>
                  </a:lnTo>
                  <a:lnTo>
                    <a:pt x="4053" y="8943"/>
                  </a:lnTo>
                  <a:lnTo>
                    <a:pt x="4085" y="8955"/>
                  </a:lnTo>
                  <a:lnTo>
                    <a:pt x="4119" y="8966"/>
                  </a:lnTo>
                  <a:lnTo>
                    <a:pt x="4152" y="8976"/>
                  </a:lnTo>
                  <a:lnTo>
                    <a:pt x="4185" y="8985"/>
                  </a:lnTo>
                  <a:lnTo>
                    <a:pt x="4219" y="8993"/>
                  </a:lnTo>
                  <a:lnTo>
                    <a:pt x="4253" y="9000"/>
                  </a:lnTo>
                  <a:lnTo>
                    <a:pt x="4288" y="9005"/>
                  </a:lnTo>
                  <a:lnTo>
                    <a:pt x="4323" y="9009"/>
                  </a:lnTo>
                  <a:lnTo>
                    <a:pt x="4358" y="9012"/>
                  </a:lnTo>
                  <a:lnTo>
                    <a:pt x="4393" y="9014"/>
                  </a:lnTo>
                  <a:lnTo>
                    <a:pt x="4429" y="9015"/>
                  </a:lnTo>
                  <a:lnTo>
                    <a:pt x="7833" y="9015"/>
                  </a:lnTo>
                  <a:lnTo>
                    <a:pt x="7868" y="9014"/>
                  </a:lnTo>
                  <a:lnTo>
                    <a:pt x="7903" y="9012"/>
                  </a:lnTo>
                  <a:lnTo>
                    <a:pt x="7938" y="9009"/>
                  </a:lnTo>
                  <a:lnTo>
                    <a:pt x="7973" y="9005"/>
                  </a:lnTo>
                  <a:lnTo>
                    <a:pt x="8008" y="9000"/>
                  </a:lnTo>
                  <a:lnTo>
                    <a:pt x="8042" y="8993"/>
                  </a:lnTo>
                  <a:lnTo>
                    <a:pt x="8076" y="8985"/>
                  </a:lnTo>
                  <a:lnTo>
                    <a:pt x="8109" y="8976"/>
                  </a:lnTo>
                  <a:lnTo>
                    <a:pt x="8142" y="8966"/>
                  </a:lnTo>
                  <a:lnTo>
                    <a:pt x="8176" y="8955"/>
                  </a:lnTo>
                  <a:lnTo>
                    <a:pt x="8208" y="8943"/>
                  </a:lnTo>
                  <a:lnTo>
                    <a:pt x="8239" y="8929"/>
                  </a:lnTo>
                  <a:lnTo>
                    <a:pt x="8270" y="8915"/>
                  </a:lnTo>
                  <a:lnTo>
                    <a:pt x="8301" y="8900"/>
                  </a:lnTo>
                  <a:lnTo>
                    <a:pt x="8331" y="8883"/>
                  </a:lnTo>
                  <a:lnTo>
                    <a:pt x="8361" y="8866"/>
                  </a:lnTo>
                  <a:lnTo>
                    <a:pt x="8390" y="8847"/>
                  </a:lnTo>
                  <a:lnTo>
                    <a:pt x="8418" y="8828"/>
                  </a:lnTo>
                  <a:lnTo>
                    <a:pt x="8446" y="8807"/>
                  </a:lnTo>
                  <a:lnTo>
                    <a:pt x="8472" y="8786"/>
                  </a:lnTo>
                  <a:lnTo>
                    <a:pt x="8498" y="8764"/>
                  </a:lnTo>
                  <a:lnTo>
                    <a:pt x="8525" y="8741"/>
                  </a:lnTo>
                  <a:lnTo>
                    <a:pt x="8549" y="8716"/>
                  </a:lnTo>
                  <a:lnTo>
                    <a:pt x="8573" y="8692"/>
                  </a:lnTo>
                  <a:lnTo>
                    <a:pt x="8596" y="8665"/>
                  </a:lnTo>
                  <a:lnTo>
                    <a:pt x="8618" y="8638"/>
                  </a:lnTo>
                  <a:lnTo>
                    <a:pt x="8639" y="8611"/>
                  </a:lnTo>
                  <a:lnTo>
                    <a:pt x="8660" y="8582"/>
                  </a:lnTo>
                  <a:lnTo>
                    <a:pt x="8680" y="8553"/>
                  </a:lnTo>
                  <a:lnTo>
                    <a:pt x="8698" y="8523"/>
                  </a:lnTo>
                  <a:lnTo>
                    <a:pt x="8716" y="8493"/>
                  </a:lnTo>
                  <a:lnTo>
                    <a:pt x="8732" y="8461"/>
                  </a:lnTo>
                  <a:lnTo>
                    <a:pt x="9460" y="7012"/>
                  </a:lnTo>
                  <a:lnTo>
                    <a:pt x="9722" y="7012"/>
                  </a:lnTo>
                  <a:lnTo>
                    <a:pt x="10296" y="7012"/>
                  </a:lnTo>
                  <a:lnTo>
                    <a:pt x="11758" y="7012"/>
                  </a:lnTo>
                  <a:lnTo>
                    <a:pt x="11787" y="7011"/>
                  </a:lnTo>
                  <a:lnTo>
                    <a:pt x="11815" y="7009"/>
                  </a:lnTo>
                  <a:lnTo>
                    <a:pt x="11844" y="7004"/>
                  </a:lnTo>
                  <a:lnTo>
                    <a:pt x="11872" y="6999"/>
                  </a:lnTo>
                  <a:lnTo>
                    <a:pt x="11900" y="6991"/>
                  </a:lnTo>
                  <a:lnTo>
                    <a:pt x="11927" y="6982"/>
                  </a:lnTo>
                  <a:lnTo>
                    <a:pt x="11954" y="6972"/>
                  </a:lnTo>
                  <a:lnTo>
                    <a:pt x="11980" y="6960"/>
                  </a:lnTo>
                  <a:lnTo>
                    <a:pt x="12005" y="6947"/>
                  </a:lnTo>
                  <a:lnTo>
                    <a:pt x="12029" y="6932"/>
                  </a:lnTo>
                  <a:lnTo>
                    <a:pt x="12053" y="6916"/>
                  </a:lnTo>
                  <a:lnTo>
                    <a:pt x="12076" y="6899"/>
                  </a:lnTo>
                  <a:lnTo>
                    <a:pt x="12098" y="6880"/>
                  </a:lnTo>
                  <a:lnTo>
                    <a:pt x="12118" y="6860"/>
                  </a:lnTo>
                  <a:lnTo>
                    <a:pt x="12138" y="6839"/>
                  </a:lnTo>
                  <a:lnTo>
                    <a:pt x="12156" y="6815"/>
                  </a:lnTo>
                  <a:lnTo>
                    <a:pt x="12173" y="6792"/>
                  </a:lnTo>
                  <a:lnTo>
                    <a:pt x="12189" y="6768"/>
                  </a:lnTo>
                  <a:lnTo>
                    <a:pt x="12203" y="6743"/>
                  </a:lnTo>
                  <a:lnTo>
                    <a:pt x="12215" y="6717"/>
                  </a:lnTo>
                  <a:lnTo>
                    <a:pt x="12226" y="6691"/>
                  </a:lnTo>
                  <a:lnTo>
                    <a:pt x="12237" y="6664"/>
                  </a:lnTo>
                  <a:lnTo>
                    <a:pt x="12245" y="6637"/>
                  </a:lnTo>
                  <a:lnTo>
                    <a:pt x="12251" y="6609"/>
                  </a:lnTo>
                  <a:lnTo>
                    <a:pt x="12256" y="6581"/>
                  </a:lnTo>
                  <a:lnTo>
                    <a:pt x="12259" y="6553"/>
                  </a:lnTo>
                  <a:lnTo>
                    <a:pt x="12261" y="6525"/>
                  </a:lnTo>
                  <a:lnTo>
                    <a:pt x="12261" y="6496"/>
                  </a:lnTo>
                  <a:lnTo>
                    <a:pt x="12259" y="6468"/>
                  </a:lnTo>
                  <a:lnTo>
                    <a:pt x="12256" y="6439"/>
                  </a:lnTo>
                  <a:lnTo>
                    <a:pt x="12251" y="6411"/>
                  </a:lnTo>
                  <a:lnTo>
                    <a:pt x="12244" y="6382"/>
                  </a:lnTo>
                  <a:lnTo>
                    <a:pt x="10511" y="372"/>
                  </a:lnTo>
                  <a:lnTo>
                    <a:pt x="10505" y="352"/>
                  </a:lnTo>
                  <a:lnTo>
                    <a:pt x="10498" y="332"/>
                  </a:lnTo>
                  <a:lnTo>
                    <a:pt x="10491" y="313"/>
                  </a:lnTo>
                  <a:lnTo>
                    <a:pt x="10482" y="294"/>
                  </a:lnTo>
                  <a:lnTo>
                    <a:pt x="10473" y="275"/>
                  </a:lnTo>
                  <a:lnTo>
                    <a:pt x="10464" y="257"/>
                  </a:lnTo>
                  <a:lnTo>
                    <a:pt x="10453" y="239"/>
                  </a:lnTo>
                  <a:lnTo>
                    <a:pt x="10442" y="222"/>
                  </a:lnTo>
                  <a:lnTo>
                    <a:pt x="10431" y="205"/>
                  </a:lnTo>
                  <a:lnTo>
                    <a:pt x="10418" y="189"/>
                  </a:lnTo>
                  <a:lnTo>
                    <a:pt x="10405" y="174"/>
                  </a:lnTo>
                  <a:lnTo>
                    <a:pt x="10392" y="159"/>
                  </a:lnTo>
                  <a:lnTo>
                    <a:pt x="10377" y="144"/>
                  </a:lnTo>
                  <a:lnTo>
                    <a:pt x="10362" y="129"/>
                  </a:lnTo>
                  <a:lnTo>
                    <a:pt x="10347" y="116"/>
                  </a:lnTo>
                  <a:lnTo>
                    <a:pt x="10331" y="104"/>
                  </a:lnTo>
                  <a:lnTo>
                    <a:pt x="10315" y="92"/>
                  </a:lnTo>
                  <a:lnTo>
                    <a:pt x="10298" y="80"/>
                  </a:lnTo>
                  <a:lnTo>
                    <a:pt x="10281" y="70"/>
                  </a:lnTo>
                  <a:lnTo>
                    <a:pt x="10263" y="60"/>
                  </a:lnTo>
                  <a:lnTo>
                    <a:pt x="10245" y="50"/>
                  </a:lnTo>
                  <a:lnTo>
                    <a:pt x="10227" y="42"/>
                  </a:lnTo>
                  <a:lnTo>
                    <a:pt x="10208" y="34"/>
                  </a:lnTo>
                  <a:lnTo>
                    <a:pt x="10188" y="27"/>
                  </a:lnTo>
                  <a:lnTo>
                    <a:pt x="10169" y="21"/>
                  </a:lnTo>
                  <a:lnTo>
                    <a:pt x="10149" y="15"/>
                  </a:lnTo>
                  <a:lnTo>
                    <a:pt x="10129" y="11"/>
                  </a:lnTo>
                  <a:lnTo>
                    <a:pt x="10108" y="7"/>
                  </a:lnTo>
                  <a:lnTo>
                    <a:pt x="10088" y="4"/>
                  </a:lnTo>
                  <a:lnTo>
                    <a:pt x="10067" y="2"/>
                  </a:lnTo>
                  <a:lnTo>
                    <a:pt x="10046" y="0"/>
                  </a:lnTo>
                  <a:lnTo>
                    <a:pt x="1002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3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09" name="í$lîḋe">
              <a:extLst>
                <a:ext uri="{FF2B5EF4-FFF2-40B4-BE49-F238E27FC236}">
                  <a16:creationId xmlns:a16="http://schemas.microsoft.com/office/drawing/2014/main" id="{1D0A7E9F-797E-41BB-8B46-D837C146ABAE}"/>
                </a:ext>
              </a:extLst>
            </p:cNvPr>
            <p:cNvSpPr/>
            <p:nvPr/>
          </p:nvSpPr>
          <p:spPr bwMode="auto">
            <a:xfrm>
              <a:off x="1377767" y="980323"/>
              <a:ext cx="280786" cy="321426"/>
            </a:xfrm>
            <a:custGeom>
              <a:avLst/>
              <a:gdLst>
                <a:gd name="T0" fmla="*/ 13056 w 14060"/>
                <a:gd name="T1" fmla="*/ 5030 h 16095"/>
                <a:gd name="T2" fmla="*/ 11382 w 14060"/>
                <a:gd name="T3" fmla="*/ 7545 h 16095"/>
                <a:gd name="T4" fmla="*/ 10768 w 14060"/>
                <a:gd name="T5" fmla="*/ 13077 h 16095"/>
                <a:gd name="T6" fmla="*/ 3515 w 14060"/>
                <a:gd name="T7" fmla="*/ 15089 h 16095"/>
                <a:gd name="T8" fmla="*/ 2511 w 14060"/>
                <a:gd name="T9" fmla="*/ 1006 h 16095"/>
                <a:gd name="T10" fmla="*/ 12457 w 14060"/>
                <a:gd name="T11" fmla="*/ 575 h 16095"/>
                <a:gd name="T12" fmla="*/ 12356 w 14060"/>
                <a:gd name="T13" fmla="*/ 407 h 16095"/>
                <a:gd name="T14" fmla="*/ 12226 w 14060"/>
                <a:gd name="T15" fmla="*/ 264 h 16095"/>
                <a:gd name="T16" fmla="*/ 12073 w 14060"/>
                <a:gd name="T17" fmla="*/ 147 h 16095"/>
                <a:gd name="T18" fmla="*/ 11898 w 14060"/>
                <a:gd name="T19" fmla="*/ 62 h 16095"/>
                <a:gd name="T20" fmla="*/ 11709 w 14060"/>
                <a:gd name="T21" fmla="*/ 13 h 16095"/>
                <a:gd name="T22" fmla="*/ 2511 w 14060"/>
                <a:gd name="T23" fmla="*/ 0 h 16095"/>
                <a:gd name="T24" fmla="*/ 2312 w 14060"/>
                <a:gd name="T25" fmla="*/ 20 h 16095"/>
                <a:gd name="T26" fmla="*/ 2126 w 14060"/>
                <a:gd name="T27" fmla="*/ 76 h 16095"/>
                <a:gd name="T28" fmla="*/ 1955 w 14060"/>
                <a:gd name="T29" fmla="*/ 168 h 16095"/>
                <a:gd name="T30" fmla="*/ 1806 w 14060"/>
                <a:gd name="T31" fmla="*/ 290 h 16095"/>
                <a:gd name="T32" fmla="*/ 1681 w 14060"/>
                <a:gd name="T33" fmla="*/ 439 h 16095"/>
                <a:gd name="T34" fmla="*/ 1587 w 14060"/>
                <a:gd name="T35" fmla="*/ 613 h 16095"/>
                <a:gd name="T36" fmla="*/ 846 w 14060"/>
                <a:gd name="T37" fmla="*/ 2538 h 16095"/>
                <a:gd name="T38" fmla="*/ 618 w 14060"/>
                <a:gd name="T39" fmla="*/ 2602 h 16095"/>
                <a:gd name="T40" fmla="*/ 414 w 14060"/>
                <a:gd name="T41" fmla="*/ 2716 h 16095"/>
                <a:gd name="T42" fmla="*/ 244 w 14060"/>
                <a:gd name="T43" fmla="*/ 2871 h 16095"/>
                <a:gd name="T44" fmla="*/ 113 w 14060"/>
                <a:gd name="T45" fmla="*/ 3061 h 16095"/>
                <a:gd name="T46" fmla="*/ 29 w 14060"/>
                <a:gd name="T47" fmla="*/ 3279 h 16095"/>
                <a:gd name="T48" fmla="*/ 0 w 14060"/>
                <a:gd name="T49" fmla="*/ 3521 h 16095"/>
                <a:gd name="T50" fmla="*/ 20 w 14060"/>
                <a:gd name="T51" fmla="*/ 5233 h 16095"/>
                <a:gd name="T52" fmla="*/ 99 w 14060"/>
                <a:gd name="T53" fmla="*/ 5465 h 16095"/>
                <a:gd name="T54" fmla="*/ 229 w 14060"/>
                <a:gd name="T55" fmla="*/ 5669 h 16095"/>
                <a:gd name="T56" fmla="*/ 404 w 14060"/>
                <a:gd name="T57" fmla="*/ 5835 h 16095"/>
                <a:gd name="T58" fmla="*/ 614 w 14060"/>
                <a:gd name="T59" fmla="*/ 5956 h 16095"/>
                <a:gd name="T60" fmla="*/ 852 w 14060"/>
                <a:gd name="T61" fmla="*/ 6025 h 16095"/>
                <a:gd name="T62" fmla="*/ 1522 w 14060"/>
                <a:gd name="T63" fmla="*/ 6050 h 16095"/>
                <a:gd name="T64" fmla="*/ 1512 w 14060"/>
                <a:gd name="T65" fmla="*/ 6119 h 16095"/>
                <a:gd name="T66" fmla="*/ 2532 w 14060"/>
                <a:gd name="T67" fmla="*/ 15294 h 16095"/>
                <a:gd name="T68" fmla="*/ 2605 w 14060"/>
                <a:gd name="T69" fmla="*/ 15514 h 16095"/>
                <a:gd name="T70" fmla="*/ 2723 w 14060"/>
                <a:gd name="T71" fmla="*/ 15707 h 16095"/>
                <a:gd name="T72" fmla="*/ 2879 w 14060"/>
                <a:gd name="T73" fmla="*/ 15868 h 16095"/>
                <a:gd name="T74" fmla="*/ 3068 w 14060"/>
                <a:gd name="T75" fmla="*/ 15990 h 16095"/>
                <a:gd name="T76" fmla="*/ 3282 w 14060"/>
                <a:gd name="T77" fmla="*/ 16068 h 16095"/>
                <a:gd name="T78" fmla="*/ 3515 w 14060"/>
                <a:gd name="T79" fmla="*/ 16095 h 16095"/>
                <a:gd name="T80" fmla="*/ 10733 w 14060"/>
                <a:gd name="T81" fmla="*/ 16078 h 16095"/>
                <a:gd name="T82" fmla="*/ 10951 w 14060"/>
                <a:gd name="T83" fmla="*/ 16009 h 16095"/>
                <a:gd name="T84" fmla="*/ 11146 w 14060"/>
                <a:gd name="T85" fmla="*/ 15896 h 16095"/>
                <a:gd name="T86" fmla="*/ 11309 w 14060"/>
                <a:gd name="T87" fmla="*/ 15742 h 16095"/>
                <a:gd name="T88" fmla="*/ 11435 w 14060"/>
                <a:gd name="T89" fmla="*/ 15555 h 16095"/>
                <a:gd name="T90" fmla="*/ 11517 w 14060"/>
                <a:gd name="T91" fmla="*/ 15340 h 16095"/>
                <a:gd name="T92" fmla="*/ 12548 w 14060"/>
                <a:gd name="T93" fmla="*/ 6133 h 16095"/>
                <a:gd name="T94" fmla="*/ 12539 w 14060"/>
                <a:gd name="T95" fmla="*/ 6064 h 16095"/>
                <a:gd name="T96" fmla="*/ 13158 w 14060"/>
                <a:gd name="T97" fmla="*/ 6031 h 16095"/>
                <a:gd name="T98" fmla="*/ 13401 w 14060"/>
                <a:gd name="T99" fmla="*/ 5974 h 16095"/>
                <a:gd name="T100" fmla="*/ 13617 w 14060"/>
                <a:gd name="T101" fmla="*/ 5864 h 16095"/>
                <a:gd name="T102" fmla="*/ 13799 w 14060"/>
                <a:gd name="T103" fmla="*/ 5706 h 16095"/>
                <a:gd name="T104" fmla="*/ 13938 w 14060"/>
                <a:gd name="T105" fmla="*/ 5510 h 16095"/>
                <a:gd name="T106" fmla="*/ 14028 w 14060"/>
                <a:gd name="T107" fmla="*/ 5281 h 16095"/>
                <a:gd name="T108" fmla="*/ 14060 w 14060"/>
                <a:gd name="T109" fmla="*/ 5030 h 16095"/>
                <a:gd name="T110" fmla="*/ 14041 w 14060"/>
                <a:gd name="T111" fmla="*/ 3326 h 16095"/>
                <a:gd name="T112" fmla="*/ 13967 w 14060"/>
                <a:gd name="T113" fmla="*/ 3101 h 16095"/>
                <a:gd name="T114" fmla="*/ 13844 w 14060"/>
                <a:gd name="T115" fmla="*/ 2904 h 16095"/>
                <a:gd name="T116" fmla="*/ 13680 w 14060"/>
                <a:gd name="T117" fmla="*/ 2741 h 16095"/>
                <a:gd name="T118" fmla="*/ 13482 w 14060"/>
                <a:gd name="T119" fmla="*/ 2619 h 16095"/>
                <a:gd name="T120" fmla="*/ 13257 w 14060"/>
                <a:gd name="T121" fmla="*/ 2545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060" h="16095">
                  <a:moveTo>
                    <a:pt x="13056" y="5030"/>
                  </a:moveTo>
                  <a:lnTo>
                    <a:pt x="1004" y="5030"/>
                  </a:lnTo>
                  <a:lnTo>
                    <a:pt x="1004" y="3521"/>
                  </a:lnTo>
                  <a:lnTo>
                    <a:pt x="13056" y="3521"/>
                  </a:lnTo>
                  <a:lnTo>
                    <a:pt x="13056" y="5030"/>
                  </a:lnTo>
                  <a:close/>
                  <a:moveTo>
                    <a:pt x="11382" y="7545"/>
                  </a:moveTo>
                  <a:lnTo>
                    <a:pt x="2677" y="7545"/>
                  </a:lnTo>
                  <a:lnTo>
                    <a:pt x="2511" y="6036"/>
                  </a:lnTo>
                  <a:lnTo>
                    <a:pt x="11549" y="6036"/>
                  </a:lnTo>
                  <a:lnTo>
                    <a:pt x="11382" y="7545"/>
                  </a:lnTo>
                  <a:close/>
                  <a:moveTo>
                    <a:pt x="10768" y="13077"/>
                  </a:moveTo>
                  <a:lnTo>
                    <a:pt x="3292" y="13077"/>
                  </a:lnTo>
                  <a:lnTo>
                    <a:pt x="2734" y="8048"/>
                  </a:lnTo>
                  <a:lnTo>
                    <a:pt x="11326" y="8048"/>
                  </a:lnTo>
                  <a:lnTo>
                    <a:pt x="10768" y="13077"/>
                  </a:lnTo>
                  <a:close/>
                  <a:moveTo>
                    <a:pt x="3515" y="15089"/>
                  </a:moveTo>
                  <a:lnTo>
                    <a:pt x="3347" y="13580"/>
                  </a:lnTo>
                  <a:lnTo>
                    <a:pt x="10712" y="13580"/>
                  </a:lnTo>
                  <a:lnTo>
                    <a:pt x="10545" y="15089"/>
                  </a:lnTo>
                  <a:lnTo>
                    <a:pt x="3515" y="15089"/>
                  </a:lnTo>
                  <a:close/>
                  <a:moveTo>
                    <a:pt x="2511" y="1006"/>
                  </a:moveTo>
                  <a:lnTo>
                    <a:pt x="11549" y="1006"/>
                  </a:lnTo>
                  <a:lnTo>
                    <a:pt x="12051" y="2515"/>
                  </a:lnTo>
                  <a:lnTo>
                    <a:pt x="2009" y="2515"/>
                  </a:lnTo>
                  <a:lnTo>
                    <a:pt x="2511" y="1006"/>
                  </a:lnTo>
                  <a:close/>
                  <a:moveTo>
                    <a:pt x="13112" y="2526"/>
                  </a:moveTo>
                  <a:lnTo>
                    <a:pt x="12501" y="688"/>
                  </a:lnTo>
                  <a:lnTo>
                    <a:pt x="12488" y="650"/>
                  </a:lnTo>
                  <a:lnTo>
                    <a:pt x="12473" y="613"/>
                  </a:lnTo>
                  <a:lnTo>
                    <a:pt x="12457" y="575"/>
                  </a:lnTo>
                  <a:lnTo>
                    <a:pt x="12439" y="540"/>
                  </a:lnTo>
                  <a:lnTo>
                    <a:pt x="12420" y="506"/>
                  </a:lnTo>
                  <a:lnTo>
                    <a:pt x="12400" y="472"/>
                  </a:lnTo>
                  <a:lnTo>
                    <a:pt x="12379" y="439"/>
                  </a:lnTo>
                  <a:lnTo>
                    <a:pt x="12356" y="407"/>
                  </a:lnTo>
                  <a:lnTo>
                    <a:pt x="12333" y="376"/>
                  </a:lnTo>
                  <a:lnTo>
                    <a:pt x="12308" y="346"/>
                  </a:lnTo>
                  <a:lnTo>
                    <a:pt x="12281" y="318"/>
                  </a:lnTo>
                  <a:lnTo>
                    <a:pt x="12254" y="290"/>
                  </a:lnTo>
                  <a:lnTo>
                    <a:pt x="12226" y="264"/>
                  </a:lnTo>
                  <a:lnTo>
                    <a:pt x="12197" y="237"/>
                  </a:lnTo>
                  <a:lnTo>
                    <a:pt x="12167" y="213"/>
                  </a:lnTo>
                  <a:lnTo>
                    <a:pt x="12137" y="190"/>
                  </a:lnTo>
                  <a:lnTo>
                    <a:pt x="12105" y="168"/>
                  </a:lnTo>
                  <a:lnTo>
                    <a:pt x="12073" y="147"/>
                  </a:lnTo>
                  <a:lnTo>
                    <a:pt x="12038" y="128"/>
                  </a:lnTo>
                  <a:lnTo>
                    <a:pt x="12004" y="110"/>
                  </a:lnTo>
                  <a:lnTo>
                    <a:pt x="11970" y="93"/>
                  </a:lnTo>
                  <a:lnTo>
                    <a:pt x="11934" y="76"/>
                  </a:lnTo>
                  <a:lnTo>
                    <a:pt x="11898" y="62"/>
                  </a:lnTo>
                  <a:lnTo>
                    <a:pt x="11862" y="49"/>
                  </a:lnTo>
                  <a:lnTo>
                    <a:pt x="11824" y="38"/>
                  </a:lnTo>
                  <a:lnTo>
                    <a:pt x="11786" y="28"/>
                  </a:lnTo>
                  <a:lnTo>
                    <a:pt x="11748" y="20"/>
                  </a:lnTo>
                  <a:lnTo>
                    <a:pt x="11709" y="13"/>
                  </a:lnTo>
                  <a:lnTo>
                    <a:pt x="11670" y="7"/>
                  </a:lnTo>
                  <a:lnTo>
                    <a:pt x="11630" y="3"/>
                  </a:lnTo>
                  <a:lnTo>
                    <a:pt x="11589" y="1"/>
                  </a:lnTo>
                  <a:lnTo>
                    <a:pt x="11549" y="0"/>
                  </a:lnTo>
                  <a:lnTo>
                    <a:pt x="2511" y="0"/>
                  </a:lnTo>
                  <a:lnTo>
                    <a:pt x="2471" y="1"/>
                  </a:lnTo>
                  <a:lnTo>
                    <a:pt x="2430" y="3"/>
                  </a:lnTo>
                  <a:lnTo>
                    <a:pt x="2390" y="7"/>
                  </a:lnTo>
                  <a:lnTo>
                    <a:pt x="2351" y="13"/>
                  </a:lnTo>
                  <a:lnTo>
                    <a:pt x="2312" y="20"/>
                  </a:lnTo>
                  <a:lnTo>
                    <a:pt x="2274" y="28"/>
                  </a:lnTo>
                  <a:lnTo>
                    <a:pt x="2236" y="38"/>
                  </a:lnTo>
                  <a:lnTo>
                    <a:pt x="2198" y="49"/>
                  </a:lnTo>
                  <a:lnTo>
                    <a:pt x="2162" y="62"/>
                  </a:lnTo>
                  <a:lnTo>
                    <a:pt x="2126" y="76"/>
                  </a:lnTo>
                  <a:lnTo>
                    <a:pt x="2090" y="93"/>
                  </a:lnTo>
                  <a:lnTo>
                    <a:pt x="2056" y="110"/>
                  </a:lnTo>
                  <a:lnTo>
                    <a:pt x="2021" y="128"/>
                  </a:lnTo>
                  <a:lnTo>
                    <a:pt x="1987" y="147"/>
                  </a:lnTo>
                  <a:lnTo>
                    <a:pt x="1955" y="168"/>
                  </a:lnTo>
                  <a:lnTo>
                    <a:pt x="1923" y="190"/>
                  </a:lnTo>
                  <a:lnTo>
                    <a:pt x="1893" y="213"/>
                  </a:lnTo>
                  <a:lnTo>
                    <a:pt x="1863" y="237"/>
                  </a:lnTo>
                  <a:lnTo>
                    <a:pt x="1834" y="264"/>
                  </a:lnTo>
                  <a:lnTo>
                    <a:pt x="1806" y="290"/>
                  </a:lnTo>
                  <a:lnTo>
                    <a:pt x="1779" y="318"/>
                  </a:lnTo>
                  <a:lnTo>
                    <a:pt x="1752" y="346"/>
                  </a:lnTo>
                  <a:lnTo>
                    <a:pt x="1727" y="376"/>
                  </a:lnTo>
                  <a:lnTo>
                    <a:pt x="1703" y="407"/>
                  </a:lnTo>
                  <a:lnTo>
                    <a:pt x="1681" y="439"/>
                  </a:lnTo>
                  <a:lnTo>
                    <a:pt x="1660" y="472"/>
                  </a:lnTo>
                  <a:lnTo>
                    <a:pt x="1640" y="506"/>
                  </a:lnTo>
                  <a:lnTo>
                    <a:pt x="1621" y="540"/>
                  </a:lnTo>
                  <a:lnTo>
                    <a:pt x="1603" y="575"/>
                  </a:lnTo>
                  <a:lnTo>
                    <a:pt x="1587" y="613"/>
                  </a:lnTo>
                  <a:lnTo>
                    <a:pt x="1572" y="650"/>
                  </a:lnTo>
                  <a:lnTo>
                    <a:pt x="1559" y="688"/>
                  </a:lnTo>
                  <a:lnTo>
                    <a:pt x="943" y="2527"/>
                  </a:lnTo>
                  <a:lnTo>
                    <a:pt x="894" y="2531"/>
                  </a:lnTo>
                  <a:lnTo>
                    <a:pt x="846" y="2538"/>
                  </a:lnTo>
                  <a:lnTo>
                    <a:pt x="798" y="2547"/>
                  </a:lnTo>
                  <a:lnTo>
                    <a:pt x="752" y="2558"/>
                  </a:lnTo>
                  <a:lnTo>
                    <a:pt x="706" y="2570"/>
                  </a:lnTo>
                  <a:lnTo>
                    <a:pt x="661" y="2585"/>
                  </a:lnTo>
                  <a:lnTo>
                    <a:pt x="618" y="2602"/>
                  </a:lnTo>
                  <a:lnTo>
                    <a:pt x="574" y="2621"/>
                  </a:lnTo>
                  <a:lnTo>
                    <a:pt x="532" y="2643"/>
                  </a:lnTo>
                  <a:lnTo>
                    <a:pt x="492" y="2665"/>
                  </a:lnTo>
                  <a:lnTo>
                    <a:pt x="453" y="2690"/>
                  </a:lnTo>
                  <a:lnTo>
                    <a:pt x="414" y="2716"/>
                  </a:lnTo>
                  <a:lnTo>
                    <a:pt x="378" y="2743"/>
                  </a:lnTo>
                  <a:lnTo>
                    <a:pt x="341" y="2773"/>
                  </a:lnTo>
                  <a:lnTo>
                    <a:pt x="307" y="2805"/>
                  </a:lnTo>
                  <a:lnTo>
                    <a:pt x="275" y="2837"/>
                  </a:lnTo>
                  <a:lnTo>
                    <a:pt x="244" y="2871"/>
                  </a:lnTo>
                  <a:lnTo>
                    <a:pt x="214" y="2906"/>
                  </a:lnTo>
                  <a:lnTo>
                    <a:pt x="187" y="2942"/>
                  </a:lnTo>
                  <a:lnTo>
                    <a:pt x="160" y="2981"/>
                  </a:lnTo>
                  <a:lnTo>
                    <a:pt x="136" y="3020"/>
                  </a:lnTo>
                  <a:lnTo>
                    <a:pt x="113" y="3061"/>
                  </a:lnTo>
                  <a:lnTo>
                    <a:pt x="92" y="3102"/>
                  </a:lnTo>
                  <a:lnTo>
                    <a:pt x="73" y="3146"/>
                  </a:lnTo>
                  <a:lnTo>
                    <a:pt x="57" y="3189"/>
                  </a:lnTo>
                  <a:lnTo>
                    <a:pt x="42" y="3234"/>
                  </a:lnTo>
                  <a:lnTo>
                    <a:pt x="29" y="3279"/>
                  </a:lnTo>
                  <a:lnTo>
                    <a:pt x="19" y="3327"/>
                  </a:lnTo>
                  <a:lnTo>
                    <a:pt x="11" y="3374"/>
                  </a:lnTo>
                  <a:lnTo>
                    <a:pt x="5" y="3422"/>
                  </a:lnTo>
                  <a:lnTo>
                    <a:pt x="1" y="3471"/>
                  </a:lnTo>
                  <a:lnTo>
                    <a:pt x="0" y="3521"/>
                  </a:lnTo>
                  <a:lnTo>
                    <a:pt x="0" y="5030"/>
                  </a:lnTo>
                  <a:lnTo>
                    <a:pt x="1" y="5082"/>
                  </a:lnTo>
                  <a:lnTo>
                    <a:pt x="5" y="5132"/>
                  </a:lnTo>
                  <a:lnTo>
                    <a:pt x="12" y="5183"/>
                  </a:lnTo>
                  <a:lnTo>
                    <a:pt x="20" y="5233"/>
                  </a:lnTo>
                  <a:lnTo>
                    <a:pt x="32" y="5281"/>
                  </a:lnTo>
                  <a:lnTo>
                    <a:pt x="45" y="5328"/>
                  </a:lnTo>
                  <a:lnTo>
                    <a:pt x="61" y="5376"/>
                  </a:lnTo>
                  <a:lnTo>
                    <a:pt x="79" y="5421"/>
                  </a:lnTo>
                  <a:lnTo>
                    <a:pt x="99" y="5465"/>
                  </a:lnTo>
                  <a:lnTo>
                    <a:pt x="122" y="5510"/>
                  </a:lnTo>
                  <a:lnTo>
                    <a:pt x="146" y="5551"/>
                  </a:lnTo>
                  <a:lnTo>
                    <a:pt x="172" y="5592"/>
                  </a:lnTo>
                  <a:lnTo>
                    <a:pt x="200" y="5631"/>
                  </a:lnTo>
                  <a:lnTo>
                    <a:pt x="229" y="5669"/>
                  </a:lnTo>
                  <a:lnTo>
                    <a:pt x="261" y="5706"/>
                  </a:lnTo>
                  <a:lnTo>
                    <a:pt x="294" y="5741"/>
                  </a:lnTo>
                  <a:lnTo>
                    <a:pt x="329" y="5774"/>
                  </a:lnTo>
                  <a:lnTo>
                    <a:pt x="366" y="5806"/>
                  </a:lnTo>
                  <a:lnTo>
                    <a:pt x="404" y="5835"/>
                  </a:lnTo>
                  <a:lnTo>
                    <a:pt x="443" y="5864"/>
                  </a:lnTo>
                  <a:lnTo>
                    <a:pt x="484" y="5890"/>
                  </a:lnTo>
                  <a:lnTo>
                    <a:pt x="526" y="5914"/>
                  </a:lnTo>
                  <a:lnTo>
                    <a:pt x="569" y="5936"/>
                  </a:lnTo>
                  <a:lnTo>
                    <a:pt x="614" y="5956"/>
                  </a:lnTo>
                  <a:lnTo>
                    <a:pt x="659" y="5974"/>
                  </a:lnTo>
                  <a:lnTo>
                    <a:pt x="706" y="5990"/>
                  </a:lnTo>
                  <a:lnTo>
                    <a:pt x="753" y="6004"/>
                  </a:lnTo>
                  <a:lnTo>
                    <a:pt x="802" y="6016"/>
                  </a:lnTo>
                  <a:lnTo>
                    <a:pt x="852" y="6025"/>
                  </a:lnTo>
                  <a:lnTo>
                    <a:pt x="902" y="6031"/>
                  </a:lnTo>
                  <a:lnTo>
                    <a:pt x="953" y="6035"/>
                  </a:lnTo>
                  <a:lnTo>
                    <a:pt x="1004" y="6036"/>
                  </a:lnTo>
                  <a:lnTo>
                    <a:pt x="1524" y="6036"/>
                  </a:lnTo>
                  <a:lnTo>
                    <a:pt x="1522" y="6050"/>
                  </a:lnTo>
                  <a:lnTo>
                    <a:pt x="1521" y="6064"/>
                  </a:lnTo>
                  <a:lnTo>
                    <a:pt x="1518" y="6078"/>
                  </a:lnTo>
                  <a:lnTo>
                    <a:pt x="1516" y="6091"/>
                  </a:lnTo>
                  <a:lnTo>
                    <a:pt x="1514" y="6105"/>
                  </a:lnTo>
                  <a:lnTo>
                    <a:pt x="1512" y="6119"/>
                  </a:lnTo>
                  <a:lnTo>
                    <a:pt x="1512" y="6133"/>
                  </a:lnTo>
                  <a:lnTo>
                    <a:pt x="1512" y="6147"/>
                  </a:lnTo>
                  <a:lnTo>
                    <a:pt x="2517" y="15200"/>
                  </a:lnTo>
                  <a:lnTo>
                    <a:pt x="2524" y="15247"/>
                  </a:lnTo>
                  <a:lnTo>
                    <a:pt x="2532" y="15294"/>
                  </a:lnTo>
                  <a:lnTo>
                    <a:pt x="2543" y="15340"/>
                  </a:lnTo>
                  <a:lnTo>
                    <a:pt x="2555" y="15385"/>
                  </a:lnTo>
                  <a:lnTo>
                    <a:pt x="2570" y="15429"/>
                  </a:lnTo>
                  <a:lnTo>
                    <a:pt x="2586" y="15471"/>
                  </a:lnTo>
                  <a:lnTo>
                    <a:pt x="2605" y="15514"/>
                  </a:lnTo>
                  <a:lnTo>
                    <a:pt x="2625" y="15555"/>
                  </a:lnTo>
                  <a:lnTo>
                    <a:pt x="2647" y="15594"/>
                  </a:lnTo>
                  <a:lnTo>
                    <a:pt x="2670" y="15633"/>
                  </a:lnTo>
                  <a:lnTo>
                    <a:pt x="2696" y="15670"/>
                  </a:lnTo>
                  <a:lnTo>
                    <a:pt x="2723" y="15707"/>
                  </a:lnTo>
                  <a:lnTo>
                    <a:pt x="2751" y="15742"/>
                  </a:lnTo>
                  <a:lnTo>
                    <a:pt x="2781" y="15775"/>
                  </a:lnTo>
                  <a:lnTo>
                    <a:pt x="2813" y="15807"/>
                  </a:lnTo>
                  <a:lnTo>
                    <a:pt x="2845" y="15838"/>
                  </a:lnTo>
                  <a:lnTo>
                    <a:pt x="2879" y="15868"/>
                  </a:lnTo>
                  <a:lnTo>
                    <a:pt x="2914" y="15896"/>
                  </a:lnTo>
                  <a:lnTo>
                    <a:pt x="2952" y="15922"/>
                  </a:lnTo>
                  <a:lnTo>
                    <a:pt x="2990" y="15946"/>
                  </a:lnTo>
                  <a:lnTo>
                    <a:pt x="3028" y="15969"/>
                  </a:lnTo>
                  <a:lnTo>
                    <a:pt x="3068" y="15990"/>
                  </a:lnTo>
                  <a:lnTo>
                    <a:pt x="3109" y="16009"/>
                  </a:lnTo>
                  <a:lnTo>
                    <a:pt x="3151" y="16027"/>
                  </a:lnTo>
                  <a:lnTo>
                    <a:pt x="3195" y="16043"/>
                  </a:lnTo>
                  <a:lnTo>
                    <a:pt x="3238" y="16056"/>
                  </a:lnTo>
                  <a:lnTo>
                    <a:pt x="3282" y="16068"/>
                  </a:lnTo>
                  <a:lnTo>
                    <a:pt x="3328" y="16078"/>
                  </a:lnTo>
                  <a:lnTo>
                    <a:pt x="3373" y="16085"/>
                  </a:lnTo>
                  <a:lnTo>
                    <a:pt x="3421" y="16091"/>
                  </a:lnTo>
                  <a:lnTo>
                    <a:pt x="3468" y="16094"/>
                  </a:lnTo>
                  <a:lnTo>
                    <a:pt x="3515" y="16095"/>
                  </a:lnTo>
                  <a:lnTo>
                    <a:pt x="10545" y="16095"/>
                  </a:lnTo>
                  <a:lnTo>
                    <a:pt x="10593" y="16094"/>
                  </a:lnTo>
                  <a:lnTo>
                    <a:pt x="10640" y="16091"/>
                  </a:lnTo>
                  <a:lnTo>
                    <a:pt x="10687" y="16085"/>
                  </a:lnTo>
                  <a:lnTo>
                    <a:pt x="10733" y="16078"/>
                  </a:lnTo>
                  <a:lnTo>
                    <a:pt x="10778" y="16068"/>
                  </a:lnTo>
                  <a:lnTo>
                    <a:pt x="10822" y="16056"/>
                  </a:lnTo>
                  <a:lnTo>
                    <a:pt x="10866" y="16043"/>
                  </a:lnTo>
                  <a:lnTo>
                    <a:pt x="10910" y="16027"/>
                  </a:lnTo>
                  <a:lnTo>
                    <a:pt x="10951" y="16009"/>
                  </a:lnTo>
                  <a:lnTo>
                    <a:pt x="10992" y="15990"/>
                  </a:lnTo>
                  <a:lnTo>
                    <a:pt x="11032" y="15969"/>
                  </a:lnTo>
                  <a:lnTo>
                    <a:pt x="11071" y="15946"/>
                  </a:lnTo>
                  <a:lnTo>
                    <a:pt x="11108" y="15922"/>
                  </a:lnTo>
                  <a:lnTo>
                    <a:pt x="11146" y="15896"/>
                  </a:lnTo>
                  <a:lnTo>
                    <a:pt x="11181" y="15868"/>
                  </a:lnTo>
                  <a:lnTo>
                    <a:pt x="11215" y="15838"/>
                  </a:lnTo>
                  <a:lnTo>
                    <a:pt x="11248" y="15807"/>
                  </a:lnTo>
                  <a:lnTo>
                    <a:pt x="11279" y="15775"/>
                  </a:lnTo>
                  <a:lnTo>
                    <a:pt x="11309" y="15742"/>
                  </a:lnTo>
                  <a:lnTo>
                    <a:pt x="11337" y="15707"/>
                  </a:lnTo>
                  <a:lnTo>
                    <a:pt x="11364" y="15670"/>
                  </a:lnTo>
                  <a:lnTo>
                    <a:pt x="11390" y="15633"/>
                  </a:lnTo>
                  <a:lnTo>
                    <a:pt x="11413" y="15594"/>
                  </a:lnTo>
                  <a:lnTo>
                    <a:pt x="11435" y="15555"/>
                  </a:lnTo>
                  <a:lnTo>
                    <a:pt x="11455" y="15514"/>
                  </a:lnTo>
                  <a:lnTo>
                    <a:pt x="11474" y="15471"/>
                  </a:lnTo>
                  <a:lnTo>
                    <a:pt x="11490" y="15429"/>
                  </a:lnTo>
                  <a:lnTo>
                    <a:pt x="11504" y="15385"/>
                  </a:lnTo>
                  <a:lnTo>
                    <a:pt x="11517" y="15340"/>
                  </a:lnTo>
                  <a:lnTo>
                    <a:pt x="11527" y="15294"/>
                  </a:lnTo>
                  <a:lnTo>
                    <a:pt x="11536" y="15247"/>
                  </a:lnTo>
                  <a:lnTo>
                    <a:pt x="11542" y="15200"/>
                  </a:lnTo>
                  <a:lnTo>
                    <a:pt x="12547" y="6147"/>
                  </a:lnTo>
                  <a:lnTo>
                    <a:pt x="12548" y="6133"/>
                  </a:lnTo>
                  <a:lnTo>
                    <a:pt x="12548" y="6119"/>
                  </a:lnTo>
                  <a:lnTo>
                    <a:pt x="12546" y="6105"/>
                  </a:lnTo>
                  <a:lnTo>
                    <a:pt x="12544" y="6091"/>
                  </a:lnTo>
                  <a:lnTo>
                    <a:pt x="12541" y="6078"/>
                  </a:lnTo>
                  <a:lnTo>
                    <a:pt x="12539" y="6064"/>
                  </a:lnTo>
                  <a:lnTo>
                    <a:pt x="12536" y="6050"/>
                  </a:lnTo>
                  <a:lnTo>
                    <a:pt x="12536" y="6036"/>
                  </a:lnTo>
                  <a:lnTo>
                    <a:pt x="13056" y="6036"/>
                  </a:lnTo>
                  <a:lnTo>
                    <a:pt x="13107" y="6035"/>
                  </a:lnTo>
                  <a:lnTo>
                    <a:pt x="13158" y="6031"/>
                  </a:lnTo>
                  <a:lnTo>
                    <a:pt x="13208" y="6025"/>
                  </a:lnTo>
                  <a:lnTo>
                    <a:pt x="13259" y="6016"/>
                  </a:lnTo>
                  <a:lnTo>
                    <a:pt x="13307" y="6004"/>
                  </a:lnTo>
                  <a:lnTo>
                    <a:pt x="13354" y="5990"/>
                  </a:lnTo>
                  <a:lnTo>
                    <a:pt x="13401" y="5974"/>
                  </a:lnTo>
                  <a:lnTo>
                    <a:pt x="13446" y="5956"/>
                  </a:lnTo>
                  <a:lnTo>
                    <a:pt x="13491" y="5936"/>
                  </a:lnTo>
                  <a:lnTo>
                    <a:pt x="13535" y="5914"/>
                  </a:lnTo>
                  <a:lnTo>
                    <a:pt x="13576" y="5890"/>
                  </a:lnTo>
                  <a:lnTo>
                    <a:pt x="13617" y="5864"/>
                  </a:lnTo>
                  <a:lnTo>
                    <a:pt x="13656" y="5835"/>
                  </a:lnTo>
                  <a:lnTo>
                    <a:pt x="13694" y="5806"/>
                  </a:lnTo>
                  <a:lnTo>
                    <a:pt x="13731" y="5774"/>
                  </a:lnTo>
                  <a:lnTo>
                    <a:pt x="13766" y="5741"/>
                  </a:lnTo>
                  <a:lnTo>
                    <a:pt x="13799" y="5706"/>
                  </a:lnTo>
                  <a:lnTo>
                    <a:pt x="13831" y="5669"/>
                  </a:lnTo>
                  <a:lnTo>
                    <a:pt x="13860" y="5631"/>
                  </a:lnTo>
                  <a:lnTo>
                    <a:pt x="13888" y="5592"/>
                  </a:lnTo>
                  <a:lnTo>
                    <a:pt x="13914" y="5551"/>
                  </a:lnTo>
                  <a:lnTo>
                    <a:pt x="13938" y="5510"/>
                  </a:lnTo>
                  <a:lnTo>
                    <a:pt x="13961" y="5465"/>
                  </a:lnTo>
                  <a:lnTo>
                    <a:pt x="13981" y="5421"/>
                  </a:lnTo>
                  <a:lnTo>
                    <a:pt x="13999" y="5376"/>
                  </a:lnTo>
                  <a:lnTo>
                    <a:pt x="14015" y="5328"/>
                  </a:lnTo>
                  <a:lnTo>
                    <a:pt x="14028" y="5281"/>
                  </a:lnTo>
                  <a:lnTo>
                    <a:pt x="14040" y="5233"/>
                  </a:lnTo>
                  <a:lnTo>
                    <a:pt x="14048" y="5183"/>
                  </a:lnTo>
                  <a:lnTo>
                    <a:pt x="14055" y="5132"/>
                  </a:lnTo>
                  <a:lnTo>
                    <a:pt x="14059" y="5082"/>
                  </a:lnTo>
                  <a:lnTo>
                    <a:pt x="14060" y="5030"/>
                  </a:lnTo>
                  <a:lnTo>
                    <a:pt x="14060" y="3521"/>
                  </a:lnTo>
                  <a:lnTo>
                    <a:pt x="14059" y="3471"/>
                  </a:lnTo>
                  <a:lnTo>
                    <a:pt x="14055" y="3422"/>
                  </a:lnTo>
                  <a:lnTo>
                    <a:pt x="14049" y="3373"/>
                  </a:lnTo>
                  <a:lnTo>
                    <a:pt x="14041" y="3326"/>
                  </a:lnTo>
                  <a:lnTo>
                    <a:pt x="14030" y="3279"/>
                  </a:lnTo>
                  <a:lnTo>
                    <a:pt x="14018" y="3233"/>
                  </a:lnTo>
                  <a:lnTo>
                    <a:pt x="14003" y="3188"/>
                  </a:lnTo>
                  <a:lnTo>
                    <a:pt x="13986" y="3144"/>
                  </a:lnTo>
                  <a:lnTo>
                    <a:pt x="13967" y="3101"/>
                  </a:lnTo>
                  <a:lnTo>
                    <a:pt x="13947" y="3059"/>
                  </a:lnTo>
                  <a:lnTo>
                    <a:pt x="13923" y="3019"/>
                  </a:lnTo>
                  <a:lnTo>
                    <a:pt x="13899" y="2979"/>
                  </a:lnTo>
                  <a:lnTo>
                    <a:pt x="13872" y="2941"/>
                  </a:lnTo>
                  <a:lnTo>
                    <a:pt x="13844" y="2904"/>
                  </a:lnTo>
                  <a:lnTo>
                    <a:pt x="13815" y="2869"/>
                  </a:lnTo>
                  <a:lnTo>
                    <a:pt x="13783" y="2835"/>
                  </a:lnTo>
                  <a:lnTo>
                    <a:pt x="13751" y="2802"/>
                  </a:lnTo>
                  <a:lnTo>
                    <a:pt x="13716" y="2770"/>
                  </a:lnTo>
                  <a:lnTo>
                    <a:pt x="13680" y="2741"/>
                  </a:lnTo>
                  <a:lnTo>
                    <a:pt x="13643" y="2713"/>
                  </a:lnTo>
                  <a:lnTo>
                    <a:pt x="13605" y="2687"/>
                  </a:lnTo>
                  <a:lnTo>
                    <a:pt x="13565" y="2663"/>
                  </a:lnTo>
                  <a:lnTo>
                    <a:pt x="13524" y="2640"/>
                  </a:lnTo>
                  <a:lnTo>
                    <a:pt x="13482" y="2619"/>
                  </a:lnTo>
                  <a:lnTo>
                    <a:pt x="13438" y="2600"/>
                  </a:lnTo>
                  <a:lnTo>
                    <a:pt x="13395" y="2583"/>
                  </a:lnTo>
                  <a:lnTo>
                    <a:pt x="13350" y="2568"/>
                  </a:lnTo>
                  <a:lnTo>
                    <a:pt x="13304" y="2556"/>
                  </a:lnTo>
                  <a:lnTo>
                    <a:pt x="13257" y="2545"/>
                  </a:lnTo>
                  <a:lnTo>
                    <a:pt x="13209" y="2536"/>
                  </a:lnTo>
                  <a:lnTo>
                    <a:pt x="13160" y="2530"/>
                  </a:lnTo>
                  <a:lnTo>
                    <a:pt x="13112" y="25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10" name="iSlidé">
              <a:extLst>
                <a:ext uri="{FF2B5EF4-FFF2-40B4-BE49-F238E27FC236}">
                  <a16:creationId xmlns:a16="http://schemas.microsoft.com/office/drawing/2014/main" id="{196CFB1A-5FEC-475B-8DCB-2448FE25A8DA}"/>
                </a:ext>
              </a:extLst>
            </p:cNvPr>
            <p:cNvSpPr/>
            <p:nvPr/>
          </p:nvSpPr>
          <p:spPr bwMode="auto">
            <a:xfrm>
              <a:off x="2651883" y="1031984"/>
              <a:ext cx="535790" cy="613338"/>
            </a:xfrm>
            <a:custGeom>
              <a:avLst/>
              <a:gdLst>
                <a:gd name="T0" fmla="*/ 4158 w 14060"/>
                <a:gd name="T1" fmla="*/ 5259 h 16095"/>
                <a:gd name="T2" fmla="*/ 1877 w 14060"/>
                <a:gd name="T3" fmla="*/ 4442 h 16095"/>
                <a:gd name="T4" fmla="*/ 1004 w 14060"/>
                <a:gd name="T5" fmla="*/ 3269 h 16095"/>
                <a:gd name="T6" fmla="*/ 1877 w 14060"/>
                <a:gd name="T7" fmla="*/ 2095 h 16095"/>
                <a:gd name="T8" fmla="*/ 4158 w 14060"/>
                <a:gd name="T9" fmla="*/ 1279 h 16095"/>
                <a:gd name="T10" fmla="*/ 7340 w 14060"/>
                <a:gd name="T11" fmla="*/ 1009 h 16095"/>
                <a:gd name="T12" fmla="*/ 10399 w 14060"/>
                <a:gd name="T13" fmla="*/ 1392 h 16095"/>
                <a:gd name="T14" fmla="*/ 12461 w 14060"/>
                <a:gd name="T15" fmla="*/ 2288 h 16095"/>
                <a:gd name="T16" fmla="*/ 13025 w 14060"/>
                <a:gd name="T17" fmla="*/ 3501 h 16095"/>
                <a:gd name="T18" fmla="*/ 11859 w 14060"/>
                <a:gd name="T19" fmla="*/ 4623 h 16095"/>
                <a:gd name="T20" fmla="*/ 9376 w 14060"/>
                <a:gd name="T21" fmla="*/ 5355 h 16095"/>
                <a:gd name="T22" fmla="*/ 13055 w 14060"/>
                <a:gd name="T23" fmla="*/ 6798 h 16095"/>
                <a:gd name="T24" fmla="*/ 12329 w 14060"/>
                <a:gd name="T25" fmla="*/ 7877 h 16095"/>
                <a:gd name="T26" fmla="*/ 10154 w 14060"/>
                <a:gd name="T27" fmla="*/ 8729 h 16095"/>
                <a:gd name="T28" fmla="*/ 7030 w 14060"/>
                <a:gd name="T29" fmla="*/ 9053 h 16095"/>
                <a:gd name="T30" fmla="*/ 3906 w 14060"/>
                <a:gd name="T31" fmla="*/ 8729 h 16095"/>
                <a:gd name="T32" fmla="*/ 1731 w 14060"/>
                <a:gd name="T33" fmla="*/ 7877 h 16095"/>
                <a:gd name="T34" fmla="*/ 1005 w 14060"/>
                <a:gd name="T35" fmla="*/ 6798 h 16095"/>
                <a:gd name="T36" fmla="*/ 2178 w 14060"/>
                <a:gd name="T37" fmla="*/ 5717 h 16095"/>
                <a:gd name="T38" fmla="*/ 4255 w 14060"/>
                <a:gd name="T39" fmla="*/ 6300 h 16095"/>
                <a:gd name="T40" fmla="*/ 6598 w 14060"/>
                <a:gd name="T41" fmla="*/ 6533 h 16095"/>
                <a:gd name="T42" fmla="*/ 8968 w 14060"/>
                <a:gd name="T43" fmla="*/ 6425 h 16095"/>
                <a:gd name="T44" fmla="*/ 11177 w 14060"/>
                <a:gd name="T45" fmla="*/ 5970 h 16095"/>
                <a:gd name="T46" fmla="*/ 12929 w 14060"/>
                <a:gd name="T47" fmla="*/ 5154 h 16095"/>
                <a:gd name="T48" fmla="*/ 12866 w 14060"/>
                <a:gd name="T49" fmla="*/ 10385 h 16095"/>
                <a:gd name="T50" fmla="*/ 11291 w 14060"/>
                <a:gd name="T51" fmla="*/ 11413 h 16095"/>
                <a:gd name="T52" fmla="*/ 8535 w 14060"/>
                <a:gd name="T53" fmla="*/ 12001 h 16095"/>
                <a:gd name="T54" fmla="*/ 5238 w 14060"/>
                <a:gd name="T55" fmla="*/ 11971 h 16095"/>
                <a:gd name="T56" fmla="*/ 2570 w 14060"/>
                <a:gd name="T57" fmla="*/ 11335 h 16095"/>
                <a:gd name="T58" fmla="*/ 1127 w 14060"/>
                <a:gd name="T59" fmla="*/ 10277 h 16095"/>
                <a:gd name="T60" fmla="*/ 1334 w 14060"/>
                <a:gd name="T61" fmla="*/ 8216 h 16095"/>
                <a:gd name="T62" fmla="*/ 3083 w 14060"/>
                <a:gd name="T63" fmla="*/ 9035 h 16095"/>
                <a:gd name="T64" fmla="*/ 5412 w 14060"/>
                <a:gd name="T65" fmla="*/ 9477 h 16095"/>
                <a:gd name="T66" fmla="*/ 7960 w 14060"/>
                <a:gd name="T67" fmla="*/ 9530 h 16095"/>
                <a:gd name="T68" fmla="*/ 10383 w 14060"/>
                <a:gd name="T69" fmla="*/ 9193 h 16095"/>
                <a:gd name="T70" fmla="*/ 12328 w 14060"/>
                <a:gd name="T71" fmla="*/ 8477 h 16095"/>
                <a:gd name="T72" fmla="*/ 12986 w 14060"/>
                <a:gd name="T73" fmla="*/ 13170 h 16095"/>
                <a:gd name="T74" fmla="*/ 11680 w 14060"/>
                <a:gd name="T75" fmla="*/ 14265 h 16095"/>
                <a:gd name="T76" fmla="*/ 9102 w 14060"/>
                <a:gd name="T77" fmla="*/ 14951 h 16095"/>
                <a:gd name="T78" fmla="*/ 5816 w 14060"/>
                <a:gd name="T79" fmla="*/ 15043 h 16095"/>
                <a:gd name="T80" fmla="*/ 2979 w 14060"/>
                <a:gd name="T81" fmla="*/ 14501 h 16095"/>
                <a:gd name="T82" fmla="*/ 1275 w 14060"/>
                <a:gd name="T83" fmla="*/ 13499 h 16095"/>
                <a:gd name="T84" fmla="*/ 1459 w 14060"/>
                <a:gd name="T85" fmla="*/ 11324 h 16095"/>
                <a:gd name="T86" fmla="*/ 3277 w 14060"/>
                <a:gd name="T87" fmla="*/ 12109 h 16095"/>
                <a:gd name="T88" fmla="*/ 5640 w 14060"/>
                <a:gd name="T89" fmla="*/ 12516 h 16095"/>
                <a:gd name="T90" fmla="*/ 8191 w 14060"/>
                <a:gd name="T91" fmla="*/ 12534 h 16095"/>
                <a:gd name="T92" fmla="*/ 10586 w 14060"/>
                <a:gd name="T93" fmla="*/ 12162 h 16095"/>
                <a:gd name="T94" fmla="*/ 12468 w 14060"/>
                <a:gd name="T95" fmla="*/ 11410 h 16095"/>
                <a:gd name="T96" fmla="*/ 5756 w 14060"/>
                <a:gd name="T97" fmla="*/ 48 h 16095"/>
                <a:gd name="T98" fmla="*/ 2501 w 14060"/>
                <a:gd name="T99" fmla="*/ 695 h 16095"/>
                <a:gd name="T100" fmla="*/ 359 w 14060"/>
                <a:gd name="T101" fmla="*/ 2134 h 16095"/>
                <a:gd name="T102" fmla="*/ 163 w 14060"/>
                <a:gd name="T103" fmla="*/ 13611 h 16095"/>
                <a:gd name="T104" fmla="*/ 2001 w 14060"/>
                <a:gd name="T105" fmla="*/ 15199 h 16095"/>
                <a:gd name="T106" fmla="*/ 5124 w 14060"/>
                <a:gd name="T107" fmla="*/ 15985 h 16095"/>
                <a:gd name="T108" fmla="*/ 8621 w 14060"/>
                <a:gd name="T109" fmla="*/ 16020 h 16095"/>
                <a:gd name="T110" fmla="*/ 11814 w 14060"/>
                <a:gd name="T111" fmla="*/ 15302 h 16095"/>
                <a:gd name="T112" fmla="*/ 13808 w 14060"/>
                <a:gd name="T113" fmla="*/ 13789 h 16095"/>
                <a:gd name="T114" fmla="*/ 13808 w 14060"/>
                <a:gd name="T115" fmla="*/ 2305 h 16095"/>
                <a:gd name="T116" fmla="*/ 11814 w 14060"/>
                <a:gd name="T117" fmla="*/ 792 h 16095"/>
                <a:gd name="T118" fmla="*/ 8621 w 14060"/>
                <a:gd name="T119" fmla="*/ 75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4060" h="16095">
                  <a:moveTo>
                    <a:pt x="7030" y="5533"/>
                  </a:moveTo>
                  <a:lnTo>
                    <a:pt x="6720" y="5530"/>
                  </a:lnTo>
                  <a:lnTo>
                    <a:pt x="6413" y="5521"/>
                  </a:lnTo>
                  <a:lnTo>
                    <a:pt x="6112" y="5507"/>
                  </a:lnTo>
                  <a:lnTo>
                    <a:pt x="5816" y="5486"/>
                  </a:lnTo>
                  <a:lnTo>
                    <a:pt x="5524" y="5461"/>
                  </a:lnTo>
                  <a:lnTo>
                    <a:pt x="5238" y="5431"/>
                  </a:lnTo>
                  <a:lnTo>
                    <a:pt x="4958" y="5395"/>
                  </a:lnTo>
                  <a:lnTo>
                    <a:pt x="4684" y="5355"/>
                  </a:lnTo>
                  <a:lnTo>
                    <a:pt x="4418" y="5309"/>
                  </a:lnTo>
                  <a:lnTo>
                    <a:pt x="4158" y="5259"/>
                  </a:lnTo>
                  <a:lnTo>
                    <a:pt x="3906" y="5205"/>
                  </a:lnTo>
                  <a:lnTo>
                    <a:pt x="3661" y="5145"/>
                  </a:lnTo>
                  <a:lnTo>
                    <a:pt x="3425" y="5083"/>
                  </a:lnTo>
                  <a:lnTo>
                    <a:pt x="3197" y="5016"/>
                  </a:lnTo>
                  <a:lnTo>
                    <a:pt x="2979" y="4944"/>
                  </a:lnTo>
                  <a:lnTo>
                    <a:pt x="2769" y="4870"/>
                  </a:lnTo>
                  <a:lnTo>
                    <a:pt x="2570" y="4791"/>
                  </a:lnTo>
                  <a:lnTo>
                    <a:pt x="2380" y="4709"/>
                  </a:lnTo>
                  <a:lnTo>
                    <a:pt x="2201" y="4623"/>
                  </a:lnTo>
                  <a:lnTo>
                    <a:pt x="2034" y="4535"/>
                  </a:lnTo>
                  <a:lnTo>
                    <a:pt x="1877" y="4442"/>
                  </a:lnTo>
                  <a:lnTo>
                    <a:pt x="1731" y="4348"/>
                  </a:lnTo>
                  <a:lnTo>
                    <a:pt x="1599" y="4250"/>
                  </a:lnTo>
                  <a:lnTo>
                    <a:pt x="1477" y="4149"/>
                  </a:lnTo>
                  <a:lnTo>
                    <a:pt x="1370" y="4047"/>
                  </a:lnTo>
                  <a:lnTo>
                    <a:pt x="1275" y="3942"/>
                  </a:lnTo>
                  <a:lnTo>
                    <a:pt x="1194" y="3835"/>
                  </a:lnTo>
                  <a:lnTo>
                    <a:pt x="1127" y="3725"/>
                  </a:lnTo>
                  <a:lnTo>
                    <a:pt x="1074" y="3613"/>
                  </a:lnTo>
                  <a:lnTo>
                    <a:pt x="1035" y="3501"/>
                  </a:lnTo>
                  <a:lnTo>
                    <a:pt x="1012" y="3386"/>
                  </a:lnTo>
                  <a:lnTo>
                    <a:pt x="1004" y="3269"/>
                  </a:lnTo>
                  <a:lnTo>
                    <a:pt x="1012" y="3153"/>
                  </a:lnTo>
                  <a:lnTo>
                    <a:pt x="1035" y="3038"/>
                  </a:lnTo>
                  <a:lnTo>
                    <a:pt x="1074" y="2924"/>
                  </a:lnTo>
                  <a:lnTo>
                    <a:pt x="1127" y="2813"/>
                  </a:lnTo>
                  <a:lnTo>
                    <a:pt x="1194" y="2703"/>
                  </a:lnTo>
                  <a:lnTo>
                    <a:pt x="1275" y="2596"/>
                  </a:lnTo>
                  <a:lnTo>
                    <a:pt x="1370" y="2491"/>
                  </a:lnTo>
                  <a:lnTo>
                    <a:pt x="1477" y="2388"/>
                  </a:lnTo>
                  <a:lnTo>
                    <a:pt x="1599" y="2288"/>
                  </a:lnTo>
                  <a:lnTo>
                    <a:pt x="1731" y="2190"/>
                  </a:lnTo>
                  <a:lnTo>
                    <a:pt x="1877" y="2095"/>
                  </a:lnTo>
                  <a:lnTo>
                    <a:pt x="2034" y="2004"/>
                  </a:lnTo>
                  <a:lnTo>
                    <a:pt x="2201" y="1915"/>
                  </a:lnTo>
                  <a:lnTo>
                    <a:pt x="2380" y="1830"/>
                  </a:lnTo>
                  <a:lnTo>
                    <a:pt x="2570" y="1747"/>
                  </a:lnTo>
                  <a:lnTo>
                    <a:pt x="2769" y="1669"/>
                  </a:lnTo>
                  <a:lnTo>
                    <a:pt x="2979" y="1593"/>
                  </a:lnTo>
                  <a:lnTo>
                    <a:pt x="3197" y="1523"/>
                  </a:lnTo>
                  <a:lnTo>
                    <a:pt x="3425" y="1456"/>
                  </a:lnTo>
                  <a:lnTo>
                    <a:pt x="3661" y="1392"/>
                  </a:lnTo>
                  <a:lnTo>
                    <a:pt x="3906" y="1334"/>
                  </a:lnTo>
                  <a:lnTo>
                    <a:pt x="4158" y="1279"/>
                  </a:lnTo>
                  <a:lnTo>
                    <a:pt x="4418" y="1229"/>
                  </a:lnTo>
                  <a:lnTo>
                    <a:pt x="4684" y="1184"/>
                  </a:lnTo>
                  <a:lnTo>
                    <a:pt x="4958" y="1143"/>
                  </a:lnTo>
                  <a:lnTo>
                    <a:pt x="5238" y="1108"/>
                  </a:lnTo>
                  <a:lnTo>
                    <a:pt x="5524" y="1077"/>
                  </a:lnTo>
                  <a:lnTo>
                    <a:pt x="5816" y="1052"/>
                  </a:lnTo>
                  <a:lnTo>
                    <a:pt x="6112" y="1032"/>
                  </a:lnTo>
                  <a:lnTo>
                    <a:pt x="6413" y="1018"/>
                  </a:lnTo>
                  <a:lnTo>
                    <a:pt x="6720" y="1009"/>
                  </a:lnTo>
                  <a:lnTo>
                    <a:pt x="7030" y="1006"/>
                  </a:lnTo>
                  <a:lnTo>
                    <a:pt x="7340" y="1009"/>
                  </a:lnTo>
                  <a:lnTo>
                    <a:pt x="7647" y="1018"/>
                  </a:lnTo>
                  <a:lnTo>
                    <a:pt x="7948" y="1032"/>
                  </a:lnTo>
                  <a:lnTo>
                    <a:pt x="8244" y="1052"/>
                  </a:lnTo>
                  <a:lnTo>
                    <a:pt x="8536" y="1077"/>
                  </a:lnTo>
                  <a:lnTo>
                    <a:pt x="8822" y="1108"/>
                  </a:lnTo>
                  <a:lnTo>
                    <a:pt x="9102" y="1143"/>
                  </a:lnTo>
                  <a:lnTo>
                    <a:pt x="9376" y="1184"/>
                  </a:lnTo>
                  <a:lnTo>
                    <a:pt x="9642" y="1229"/>
                  </a:lnTo>
                  <a:lnTo>
                    <a:pt x="9902" y="1279"/>
                  </a:lnTo>
                  <a:lnTo>
                    <a:pt x="10154" y="1334"/>
                  </a:lnTo>
                  <a:lnTo>
                    <a:pt x="10399" y="1392"/>
                  </a:lnTo>
                  <a:lnTo>
                    <a:pt x="10635" y="1456"/>
                  </a:lnTo>
                  <a:lnTo>
                    <a:pt x="10863" y="1523"/>
                  </a:lnTo>
                  <a:lnTo>
                    <a:pt x="11081" y="1593"/>
                  </a:lnTo>
                  <a:lnTo>
                    <a:pt x="11291" y="1669"/>
                  </a:lnTo>
                  <a:lnTo>
                    <a:pt x="11490" y="1747"/>
                  </a:lnTo>
                  <a:lnTo>
                    <a:pt x="11680" y="1830"/>
                  </a:lnTo>
                  <a:lnTo>
                    <a:pt x="11859" y="1915"/>
                  </a:lnTo>
                  <a:lnTo>
                    <a:pt x="12026" y="2004"/>
                  </a:lnTo>
                  <a:lnTo>
                    <a:pt x="12183" y="2095"/>
                  </a:lnTo>
                  <a:lnTo>
                    <a:pt x="12329" y="2190"/>
                  </a:lnTo>
                  <a:lnTo>
                    <a:pt x="12461" y="2288"/>
                  </a:lnTo>
                  <a:lnTo>
                    <a:pt x="12583" y="2388"/>
                  </a:lnTo>
                  <a:lnTo>
                    <a:pt x="12690" y="2491"/>
                  </a:lnTo>
                  <a:lnTo>
                    <a:pt x="12785" y="2596"/>
                  </a:lnTo>
                  <a:lnTo>
                    <a:pt x="12866" y="2703"/>
                  </a:lnTo>
                  <a:lnTo>
                    <a:pt x="12933" y="2813"/>
                  </a:lnTo>
                  <a:lnTo>
                    <a:pt x="12986" y="2924"/>
                  </a:lnTo>
                  <a:lnTo>
                    <a:pt x="13025" y="3038"/>
                  </a:lnTo>
                  <a:lnTo>
                    <a:pt x="13048" y="3153"/>
                  </a:lnTo>
                  <a:lnTo>
                    <a:pt x="13056" y="3269"/>
                  </a:lnTo>
                  <a:lnTo>
                    <a:pt x="13048" y="3386"/>
                  </a:lnTo>
                  <a:lnTo>
                    <a:pt x="13025" y="3501"/>
                  </a:lnTo>
                  <a:lnTo>
                    <a:pt x="12986" y="3613"/>
                  </a:lnTo>
                  <a:lnTo>
                    <a:pt x="12933" y="3725"/>
                  </a:lnTo>
                  <a:lnTo>
                    <a:pt x="12866" y="3835"/>
                  </a:lnTo>
                  <a:lnTo>
                    <a:pt x="12785" y="3942"/>
                  </a:lnTo>
                  <a:lnTo>
                    <a:pt x="12690" y="4047"/>
                  </a:lnTo>
                  <a:lnTo>
                    <a:pt x="12583" y="4149"/>
                  </a:lnTo>
                  <a:lnTo>
                    <a:pt x="12461" y="4250"/>
                  </a:lnTo>
                  <a:lnTo>
                    <a:pt x="12329" y="4348"/>
                  </a:lnTo>
                  <a:lnTo>
                    <a:pt x="12183" y="4442"/>
                  </a:lnTo>
                  <a:lnTo>
                    <a:pt x="12026" y="4535"/>
                  </a:lnTo>
                  <a:lnTo>
                    <a:pt x="11859" y="4623"/>
                  </a:lnTo>
                  <a:lnTo>
                    <a:pt x="11680" y="4709"/>
                  </a:lnTo>
                  <a:lnTo>
                    <a:pt x="11490" y="4791"/>
                  </a:lnTo>
                  <a:lnTo>
                    <a:pt x="11291" y="4870"/>
                  </a:lnTo>
                  <a:lnTo>
                    <a:pt x="11081" y="4944"/>
                  </a:lnTo>
                  <a:lnTo>
                    <a:pt x="10863" y="5016"/>
                  </a:lnTo>
                  <a:lnTo>
                    <a:pt x="10635" y="5083"/>
                  </a:lnTo>
                  <a:lnTo>
                    <a:pt x="10399" y="5145"/>
                  </a:lnTo>
                  <a:lnTo>
                    <a:pt x="10154" y="5205"/>
                  </a:lnTo>
                  <a:lnTo>
                    <a:pt x="9902" y="5259"/>
                  </a:lnTo>
                  <a:lnTo>
                    <a:pt x="9642" y="5309"/>
                  </a:lnTo>
                  <a:lnTo>
                    <a:pt x="9376" y="5355"/>
                  </a:lnTo>
                  <a:lnTo>
                    <a:pt x="9102" y="5395"/>
                  </a:lnTo>
                  <a:lnTo>
                    <a:pt x="8822" y="5431"/>
                  </a:lnTo>
                  <a:lnTo>
                    <a:pt x="8536" y="5461"/>
                  </a:lnTo>
                  <a:lnTo>
                    <a:pt x="8244" y="5486"/>
                  </a:lnTo>
                  <a:lnTo>
                    <a:pt x="7948" y="5507"/>
                  </a:lnTo>
                  <a:lnTo>
                    <a:pt x="7647" y="5521"/>
                  </a:lnTo>
                  <a:lnTo>
                    <a:pt x="7340" y="5530"/>
                  </a:lnTo>
                  <a:lnTo>
                    <a:pt x="7030" y="5533"/>
                  </a:lnTo>
                  <a:close/>
                  <a:moveTo>
                    <a:pt x="13056" y="6790"/>
                  </a:moveTo>
                  <a:lnTo>
                    <a:pt x="13054" y="6790"/>
                  </a:lnTo>
                  <a:lnTo>
                    <a:pt x="13055" y="6798"/>
                  </a:lnTo>
                  <a:lnTo>
                    <a:pt x="13056" y="6805"/>
                  </a:lnTo>
                  <a:lnTo>
                    <a:pt x="13048" y="6921"/>
                  </a:lnTo>
                  <a:lnTo>
                    <a:pt x="13025" y="7036"/>
                  </a:lnTo>
                  <a:lnTo>
                    <a:pt x="12986" y="7148"/>
                  </a:lnTo>
                  <a:lnTo>
                    <a:pt x="12933" y="7259"/>
                  </a:lnTo>
                  <a:lnTo>
                    <a:pt x="12866" y="7367"/>
                  </a:lnTo>
                  <a:lnTo>
                    <a:pt x="12785" y="7474"/>
                  </a:lnTo>
                  <a:lnTo>
                    <a:pt x="12690" y="7579"/>
                  </a:lnTo>
                  <a:lnTo>
                    <a:pt x="12582" y="7680"/>
                  </a:lnTo>
                  <a:lnTo>
                    <a:pt x="12461" y="7780"/>
                  </a:lnTo>
                  <a:lnTo>
                    <a:pt x="12329" y="7877"/>
                  </a:lnTo>
                  <a:lnTo>
                    <a:pt x="12183" y="7971"/>
                  </a:lnTo>
                  <a:lnTo>
                    <a:pt x="12026" y="8063"/>
                  </a:lnTo>
                  <a:lnTo>
                    <a:pt x="11859" y="8151"/>
                  </a:lnTo>
                  <a:lnTo>
                    <a:pt x="11680" y="8236"/>
                  </a:lnTo>
                  <a:lnTo>
                    <a:pt x="11490" y="8317"/>
                  </a:lnTo>
                  <a:lnTo>
                    <a:pt x="11291" y="8396"/>
                  </a:lnTo>
                  <a:lnTo>
                    <a:pt x="11081" y="8470"/>
                  </a:lnTo>
                  <a:lnTo>
                    <a:pt x="10862" y="8540"/>
                  </a:lnTo>
                  <a:lnTo>
                    <a:pt x="10635" y="8607"/>
                  </a:lnTo>
                  <a:lnTo>
                    <a:pt x="10399" y="8670"/>
                  </a:lnTo>
                  <a:lnTo>
                    <a:pt x="10154" y="8729"/>
                  </a:lnTo>
                  <a:lnTo>
                    <a:pt x="9902" y="8782"/>
                  </a:lnTo>
                  <a:lnTo>
                    <a:pt x="9642" y="8832"/>
                  </a:lnTo>
                  <a:lnTo>
                    <a:pt x="9375" y="8876"/>
                  </a:lnTo>
                  <a:lnTo>
                    <a:pt x="9102" y="8917"/>
                  </a:lnTo>
                  <a:lnTo>
                    <a:pt x="8822" y="8953"/>
                  </a:lnTo>
                  <a:lnTo>
                    <a:pt x="8535" y="8983"/>
                  </a:lnTo>
                  <a:lnTo>
                    <a:pt x="8244" y="9008"/>
                  </a:lnTo>
                  <a:lnTo>
                    <a:pt x="7948" y="9027"/>
                  </a:lnTo>
                  <a:lnTo>
                    <a:pt x="7646" y="9041"/>
                  </a:lnTo>
                  <a:lnTo>
                    <a:pt x="7340" y="9050"/>
                  </a:lnTo>
                  <a:lnTo>
                    <a:pt x="7030" y="9053"/>
                  </a:lnTo>
                  <a:lnTo>
                    <a:pt x="6720" y="9050"/>
                  </a:lnTo>
                  <a:lnTo>
                    <a:pt x="6414" y="9041"/>
                  </a:lnTo>
                  <a:lnTo>
                    <a:pt x="6112" y="9027"/>
                  </a:lnTo>
                  <a:lnTo>
                    <a:pt x="5816" y="9008"/>
                  </a:lnTo>
                  <a:lnTo>
                    <a:pt x="5525" y="8983"/>
                  </a:lnTo>
                  <a:lnTo>
                    <a:pt x="5238" y="8953"/>
                  </a:lnTo>
                  <a:lnTo>
                    <a:pt x="4958" y="8917"/>
                  </a:lnTo>
                  <a:lnTo>
                    <a:pt x="4685" y="8876"/>
                  </a:lnTo>
                  <a:lnTo>
                    <a:pt x="4418" y="8832"/>
                  </a:lnTo>
                  <a:lnTo>
                    <a:pt x="4158" y="8782"/>
                  </a:lnTo>
                  <a:lnTo>
                    <a:pt x="3906" y="8729"/>
                  </a:lnTo>
                  <a:lnTo>
                    <a:pt x="3661" y="8670"/>
                  </a:lnTo>
                  <a:lnTo>
                    <a:pt x="3425" y="8607"/>
                  </a:lnTo>
                  <a:lnTo>
                    <a:pt x="3197" y="8540"/>
                  </a:lnTo>
                  <a:lnTo>
                    <a:pt x="2979" y="8470"/>
                  </a:lnTo>
                  <a:lnTo>
                    <a:pt x="2769" y="8396"/>
                  </a:lnTo>
                  <a:lnTo>
                    <a:pt x="2570" y="8317"/>
                  </a:lnTo>
                  <a:lnTo>
                    <a:pt x="2380" y="8236"/>
                  </a:lnTo>
                  <a:lnTo>
                    <a:pt x="2201" y="8151"/>
                  </a:lnTo>
                  <a:lnTo>
                    <a:pt x="2034" y="8063"/>
                  </a:lnTo>
                  <a:lnTo>
                    <a:pt x="1877" y="7971"/>
                  </a:lnTo>
                  <a:lnTo>
                    <a:pt x="1731" y="7877"/>
                  </a:lnTo>
                  <a:lnTo>
                    <a:pt x="1599" y="7780"/>
                  </a:lnTo>
                  <a:lnTo>
                    <a:pt x="1477" y="7680"/>
                  </a:lnTo>
                  <a:lnTo>
                    <a:pt x="1370" y="7579"/>
                  </a:lnTo>
                  <a:lnTo>
                    <a:pt x="1275" y="7474"/>
                  </a:lnTo>
                  <a:lnTo>
                    <a:pt x="1194" y="7367"/>
                  </a:lnTo>
                  <a:lnTo>
                    <a:pt x="1127" y="7259"/>
                  </a:lnTo>
                  <a:lnTo>
                    <a:pt x="1074" y="7148"/>
                  </a:lnTo>
                  <a:lnTo>
                    <a:pt x="1035" y="7036"/>
                  </a:lnTo>
                  <a:lnTo>
                    <a:pt x="1012" y="6921"/>
                  </a:lnTo>
                  <a:lnTo>
                    <a:pt x="1004" y="6805"/>
                  </a:lnTo>
                  <a:lnTo>
                    <a:pt x="1005" y="6798"/>
                  </a:lnTo>
                  <a:lnTo>
                    <a:pt x="1006" y="6790"/>
                  </a:lnTo>
                  <a:lnTo>
                    <a:pt x="1004" y="6790"/>
                  </a:lnTo>
                  <a:lnTo>
                    <a:pt x="1004" y="5062"/>
                  </a:lnTo>
                  <a:lnTo>
                    <a:pt x="1131" y="5154"/>
                  </a:lnTo>
                  <a:lnTo>
                    <a:pt x="1263" y="5244"/>
                  </a:lnTo>
                  <a:lnTo>
                    <a:pt x="1402" y="5330"/>
                  </a:lnTo>
                  <a:lnTo>
                    <a:pt x="1547" y="5414"/>
                  </a:lnTo>
                  <a:lnTo>
                    <a:pt x="1697" y="5493"/>
                  </a:lnTo>
                  <a:lnTo>
                    <a:pt x="1852" y="5571"/>
                  </a:lnTo>
                  <a:lnTo>
                    <a:pt x="2013" y="5645"/>
                  </a:lnTo>
                  <a:lnTo>
                    <a:pt x="2178" y="5717"/>
                  </a:lnTo>
                  <a:lnTo>
                    <a:pt x="2348" y="5784"/>
                  </a:lnTo>
                  <a:lnTo>
                    <a:pt x="2523" y="5850"/>
                  </a:lnTo>
                  <a:lnTo>
                    <a:pt x="2701" y="5911"/>
                  </a:lnTo>
                  <a:lnTo>
                    <a:pt x="2883" y="5970"/>
                  </a:lnTo>
                  <a:lnTo>
                    <a:pt x="3070" y="6027"/>
                  </a:lnTo>
                  <a:lnTo>
                    <a:pt x="3260" y="6080"/>
                  </a:lnTo>
                  <a:lnTo>
                    <a:pt x="3453" y="6129"/>
                  </a:lnTo>
                  <a:lnTo>
                    <a:pt x="3650" y="6176"/>
                  </a:lnTo>
                  <a:lnTo>
                    <a:pt x="3848" y="6221"/>
                  </a:lnTo>
                  <a:lnTo>
                    <a:pt x="4050" y="6262"/>
                  </a:lnTo>
                  <a:lnTo>
                    <a:pt x="4255" y="6300"/>
                  </a:lnTo>
                  <a:lnTo>
                    <a:pt x="4461" y="6336"/>
                  </a:lnTo>
                  <a:lnTo>
                    <a:pt x="4670" y="6369"/>
                  </a:lnTo>
                  <a:lnTo>
                    <a:pt x="4880" y="6399"/>
                  </a:lnTo>
                  <a:lnTo>
                    <a:pt x="5092" y="6425"/>
                  </a:lnTo>
                  <a:lnTo>
                    <a:pt x="5305" y="6449"/>
                  </a:lnTo>
                  <a:lnTo>
                    <a:pt x="5519" y="6470"/>
                  </a:lnTo>
                  <a:lnTo>
                    <a:pt x="5733" y="6488"/>
                  </a:lnTo>
                  <a:lnTo>
                    <a:pt x="5949" y="6503"/>
                  </a:lnTo>
                  <a:lnTo>
                    <a:pt x="6165" y="6516"/>
                  </a:lnTo>
                  <a:lnTo>
                    <a:pt x="6382" y="6527"/>
                  </a:lnTo>
                  <a:lnTo>
                    <a:pt x="6598" y="6533"/>
                  </a:lnTo>
                  <a:lnTo>
                    <a:pt x="6814" y="6538"/>
                  </a:lnTo>
                  <a:lnTo>
                    <a:pt x="7030" y="6539"/>
                  </a:lnTo>
                  <a:lnTo>
                    <a:pt x="7246" y="6538"/>
                  </a:lnTo>
                  <a:lnTo>
                    <a:pt x="7462" y="6533"/>
                  </a:lnTo>
                  <a:lnTo>
                    <a:pt x="7678" y="6527"/>
                  </a:lnTo>
                  <a:lnTo>
                    <a:pt x="7895" y="6516"/>
                  </a:lnTo>
                  <a:lnTo>
                    <a:pt x="8111" y="6503"/>
                  </a:lnTo>
                  <a:lnTo>
                    <a:pt x="8327" y="6488"/>
                  </a:lnTo>
                  <a:lnTo>
                    <a:pt x="8541" y="6470"/>
                  </a:lnTo>
                  <a:lnTo>
                    <a:pt x="8755" y="6449"/>
                  </a:lnTo>
                  <a:lnTo>
                    <a:pt x="8968" y="6425"/>
                  </a:lnTo>
                  <a:lnTo>
                    <a:pt x="9180" y="6399"/>
                  </a:lnTo>
                  <a:lnTo>
                    <a:pt x="9390" y="6369"/>
                  </a:lnTo>
                  <a:lnTo>
                    <a:pt x="9599" y="6336"/>
                  </a:lnTo>
                  <a:lnTo>
                    <a:pt x="9805" y="6300"/>
                  </a:lnTo>
                  <a:lnTo>
                    <a:pt x="10010" y="6262"/>
                  </a:lnTo>
                  <a:lnTo>
                    <a:pt x="10212" y="6221"/>
                  </a:lnTo>
                  <a:lnTo>
                    <a:pt x="10410" y="6176"/>
                  </a:lnTo>
                  <a:lnTo>
                    <a:pt x="10607" y="6129"/>
                  </a:lnTo>
                  <a:lnTo>
                    <a:pt x="10800" y="6080"/>
                  </a:lnTo>
                  <a:lnTo>
                    <a:pt x="10990" y="6027"/>
                  </a:lnTo>
                  <a:lnTo>
                    <a:pt x="11177" y="5970"/>
                  </a:lnTo>
                  <a:lnTo>
                    <a:pt x="11358" y="5911"/>
                  </a:lnTo>
                  <a:lnTo>
                    <a:pt x="11537" y="5850"/>
                  </a:lnTo>
                  <a:lnTo>
                    <a:pt x="11712" y="5784"/>
                  </a:lnTo>
                  <a:lnTo>
                    <a:pt x="11882" y="5717"/>
                  </a:lnTo>
                  <a:lnTo>
                    <a:pt x="12047" y="5645"/>
                  </a:lnTo>
                  <a:lnTo>
                    <a:pt x="12208" y="5571"/>
                  </a:lnTo>
                  <a:lnTo>
                    <a:pt x="12363" y="5493"/>
                  </a:lnTo>
                  <a:lnTo>
                    <a:pt x="12513" y="5414"/>
                  </a:lnTo>
                  <a:lnTo>
                    <a:pt x="12658" y="5330"/>
                  </a:lnTo>
                  <a:lnTo>
                    <a:pt x="12797" y="5244"/>
                  </a:lnTo>
                  <a:lnTo>
                    <a:pt x="12929" y="5154"/>
                  </a:lnTo>
                  <a:lnTo>
                    <a:pt x="13056" y="5062"/>
                  </a:lnTo>
                  <a:lnTo>
                    <a:pt x="13056" y="6790"/>
                  </a:lnTo>
                  <a:close/>
                  <a:moveTo>
                    <a:pt x="13056" y="9808"/>
                  </a:moveTo>
                  <a:lnTo>
                    <a:pt x="13054" y="9808"/>
                  </a:lnTo>
                  <a:lnTo>
                    <a:pt x="13055" y="9816"/>
                  </a:lnTo>
                  <a:lnTo>
                    <a:pt x="13056" y="9824"/>
                  </a:lnTo>
                  <a:lnTo>
                    <a:pt x="13048" y="9940"/>
                  </a:lnTo>
                  <a:lnTo>
                    <a:pt x="13025" y="10053"/>
                  </a:lnTo>
                  <a:lnTo>
                    <a:pt x="12986" y="10166"/>
                  </a:lnTo>
                  <a:lnTo>
                    <a:pt x="12933" y="10277"/>
                  </a:lnTo>
                  <a:lnTo>
                    <a:pt x="12866" y="10385"/>
                  </a:lnTo>
                  <a:lnTo>
                    <a:pt x="12785" y="10492"/>
                  </a:lnTo>
                  <a:lnTo>
                    <a:pt x="12690" y="10597"/>
                  </a:lnTo>
                  <a:lnTo>
                    <a:pt x="12582" y="10698"/>
                  </a:lnTo>
                  <a:lnTo>
                    <a:pt x="12461" y="10798"/>
                  </a:lnTo>
                  <a:lnTo>
                    <a:pt x="12329" y="10895"/>
                  </a:lnTo>
                  <a:lnTo>
                    <a:pt x="12183" y="10989"/>
                  </a:lnTo>
                  <a:lnTo>
                    <a:pt x="12026" y="11080"/>
                  </a:lnTo>
                  <a:lnTo>
                    <a:pt x="11859" y="11169"/>
                  </a:lnTo>
                  <a:lnTo>
                    <a:pt x="11680" y="11253"/>
                  </a:lnTo>
                  <a:lnTo>
                    <a:pt x="11490" y="11335"/>
                  </a:lnTo>
                  <a:lnTo>
                    <a:pt x="11291" y="11413"/>
                  </a:lnTo>
                  <a:lnTo>
                    <a:pt x="11081" y="11488"/>
                  </a:lnTo>
                  <a:lnTo>
                    <a:pt x="10862" y="11558"/>
                  </a:lnTo>
                  <a:lnTo>
                    <a:pt x="10635" y="11625"/>
                  </a:lnTo>
                  <a:lnTo>
                    <a:pt x="10399" y="11688"/>
                  </a:lnTo>
                  <a:lnTo>
                    <a:pt x="10154" y="11746"/>
                  </a:lnTo>
                  <a:lnTo>
                    <a:pt x="9902" y="11800"/>
                  </a:lnTo>
                  <a:lnTo>
                    <a:pt x="9642" y="11850"/>
                  </a:lnTo>
                  <a:lnTo>
                    <a:pt x="9375" y="11895"/>
                  </a:lnTo>
                  <a:lnTo>
                    <a:pt x="9102" y="11934"/>
                  </a:lnTo>
                  <a:lnTo>
                    <a:pt x="8822" y="11971"/>
                  </a:lnTo>
                  <a:lnTo>
                    <a:pt x="8535" y="12001"/>
                  </a:lnTo>
                  <a:lnTo>
                    <a:pt x="8244" y="12026"/>
                  </a:lnTo>
                  <a:lnTo>
                    <a:pt x="7948" y="12045"/>
                  </a:lnTo>
                  <a:lnTo>
                    <a:pt x="7646" y="12060"/>
                  </a:lnTo>
                  <a:lnTo>
                    <a:pt x="7340" y="12068"/>
                  </a:lnTo>
                  <a:lnTo>
                    <a:pt x="7030" y="12071"/>
                  </a:lnTo>
                  <a:lnTo>
                    <a:pt x="6720" y="12068"/>
                  </a:lnTo>
                  <a:lnTo>
                    <a:pt x="6414" y="12060"/>
                  </a:lnTo>
                  <a:lnTo>
                    <a:pt x="6112" y="12045"/>
                  </a:lnTo>
                  <a:lnTo>
                    <a:pt x="5816" y="12026"/>
                  </a:lnTo>
                  <a:lnTo>
                    <a:pt x="5525" y="12001"/>
                  </a:lnTo>
                  <a:lnTo>
                    <a:pt x="5238" y="11971"/>
                  </a:lnTo>
                  <a:lnTo>
                    <a:pt x="4958" y="11934"/>
                  </a:lnTo>
                  <a:lnTo>
                    <a:pt x="4685" y="11895"/>
                  </a:lnTo>
                  <a:lnTo>
                    <a:pt x="4418" y="11850"/>
                  </a:lnTo>
                  <a:lnTo>
                    <a:pt x="4158" y="11800"/>
                  </a:lnTo>
                  <a:lnTo>
                    <a:pt x="3906" y="11746"/>
                  </a:lnTo>
                  <a:lnTo>
                    <a:pt x="3661" y="11688"/>
                  </a:lnTo>
                  <a:lnTo>
                    <a:pt x="3425" y="11625"/>
                  </a:lnTo>
                  <a:lnTo>
                    <a:pt x="3197" y="11558"/>
                  </a:lnTo>
                  <a:lnTo>
                    <a:pt x="2979" y="11488"/>
                  </a:lnTo>
                  <a:lnTo>
                    <a:pt x="2769" y="11413"/>
                  </a:lnTo>
                  <a:lnTo>
                    <a:pt x="2570" y="11335"/>
                  </a:lnTo>
                  <a:lnTo>
                    <a:pt x="2380" y="11253"/>
                  </a:lnTo>
                  <a:lnTo>
                    <a:pt x="2201" y="11169"/>
                  </a:lnTo>
                  <a:lnTo>
                    <a:pt x="2034" y="11080"/>
                  </a:lnTo>
                  <a:lnTo>
                    <a:pt x="1877" y="10989"/>
                  </a:lnTo>
                  <a:lnTo>
                    <a:pt x="1731" y="10895"/>
                  </a:lnTo>
                  <a:lnTo>
                    <a:pt x="1599" y="10798"/>
                  </a:lnTo>
                  <a:lnTo>
                    <a:pt x="1477" y="10698"/>
                  </a:lnTo>
                  <a:lnTo>
                    <a:pt x="1370" y="10597"/>
                  </a:lnTo>
                  <a:lnTo>
                    <a:pt x="1275" y="10492"/>
                  </a:lnTo>
                  <a:lnTo>
                    <a:pt x="1194" y="10385"/>
                  </a:lnTo>
                  <a:lnTo>
                    <a:pt x="1127" y="10277"/>
                  </a:lnTo>
                  <a:lnTo>
                    <a:pt x="1074" y="10166"/>
                  </a:lnTo>
                  <a:lnTo>
                    <a:pt x="1035" y="10053"/>
                  </a:lnTo>
                  <a:lnTo>
                    <a:pt x="1012" y="9940"/>
                  </a:lnTo>
                  <a:lnTo>
                    <a:pt x="1004" y="9824"/>
                  </a:lnTo>
                  <a:lnTo>
                    <a:pt x="1005" y="9816"/>
                  </a:lnTo>
                  <a:lnTo>
                    <a:pt x="1006" y="9808"/>
                  </a:lnTo>
                  <a:lnTo>
                    <a:pt x="1004" y="9808"/>
                  </a:lnTo>
                  <a:lnTo>
                    <a:pt x="1004" y="7929"/>
                  </a:lnTo>
                  <a:lnTo>
                    <a:pt x="1106" y="8027"/>
                  </a:lnTo>
                  <a:lnTo>
                    <a:pt x="1215" y="8124"/>
                  </a:lnTo>
                  <a:lnTo>
                    <a:pt x="1334" y="8216"/>
                  </a:lnTo>
                  <a:lnTo>
                    <a:pt x="1459" y="8306"/>
                  </a:lnTo>
                  <a:lnTo>
                    <a:pt x="1592" y="8393"/>
                  </a:lnTo>
                  <a:lnTo>
                    <a:pt x="1732" y="8477"/>
                  </a:lnTo>
                  <a:lnTo>
                    <a:pt x="1880" y="8558"/>
                  </a:lnTo>
                  <a:lnTo>
                    <a:pt x="2034" y="8635"/>
                  </a:lnTo>
                  <a:lnTo>
                    <a:pt x="2194" y="8709"/>
                  </a:lnTo>
                  <a:lnTo>
                    <a:pt x="2361" y="8781"/>
                  </a:lnTo>
                  <a:lnTo>
                    <a:pt x="2534" y="8849"/>
                  </a:lnTo>
                  <a:lnTo>
                    <a:pt x="2712" y="8915"/>
                  </a:lnTo>
                  <a:lnTo>
                    <a:pt x="2895" y="8976"/>
                  </a:lnTo>
                  <a:lnTo>
                    <a:pt x="3083" y="9035"/>
                  </a:lnTo>
                  <a:lnTo>
                    <a:pt x="3277" y="9092"/>
                  </a:lnTo>
                  <a:lnTo>
                    <a:pt x="3474" y="9144"/>
                  </a:lnTo>
                  <a:lnTo>
                    <a:pt x="3677" y="9193"/>
                  </a:lnTo>
                  <a:lnTo>
                    <a:pt x="3883" y="9241"/>
                  </a:lnTo>
                  <a:lnTo>
                    <a:pt x="4091" y="9284"/>
                  </a:lnTo>
                  <a:lnTo>
                    <a:pt x="4305" y="9324"/>
                  </a:lnTo>
                  <a:lnTo>
                    <a:pt x="4521" y="9360"/>
                  </a:lnTo>
                  <a:lnTo>
                    <a:pt x="4740" y="9394"/>
                  </a:lnTo>
                  <a:lnTo>
                    <a:pt x="4962" y="9426"/>
                  </a:lnTo>
                  <a:lnTo>
                    <a:pt x="5186" y="9453"/>
                  </a:lnTo>
                  <a:lnTo>
                    <a:pt x="5412" y="9477"/>
                  </a:lnTo>
                  <a:lnTo>
                    <a:pt x="5640" y="9498"/>
                  </a:lnTo>
                  <a:lnTo>
                    <a:pt x="5869" y="9516"/>
                  </a:lnTo>
                  <a:lnTo>
                    <a:pt x="6100" y="9530"/>
                  </a:lnTo>
                  <a:lnTo>
                    <a:pt x="6332" y="9541"/>
                  </a:lnTo>
                  <a:lnTo>
                    <a:pt x="6564" y="9549"/>
                  </a:lnTo>
                  <a:lnTo>
                    <a:pt x="6797" y="9554"/>
                  </a:lnTo>
                  <a:lnTo>
                    <a:pt x="7030" y="9556"/>
                  </a:lnTo>
                  <a:lnTo>
                    <a:pt x="7263" y="9554"/>
                  </a:lnTo>
                  <a:lnTo>
                    <a:pt x="7496" y="9549"/>
                  </a:lnTo>
                  <a:lnTo>
                    <a:pt x="7728" y="9541"/>
                  </a:lnTo>
                  <a:lnTo>
                    <a:pt x="7960" y="9530"/>
                  </a:lnTo>
                  <a:lnTo>
                    <a:pt x="8191" y="9516"/>
                  </a:lnTo>
                  <a:lnTo>
                    <a:pt x="8420" y="9498"/>
                  </a:lnTo>
                  <a:lnTo>
                    <a:pt x="8648" y="9477"/>
                  </a:lnTo>
                  <a:lnTo>
                    <a:pt x="8874" y="9453"/>
                  </a:lnTo>
                  <a:lnTo>
                    <a:pt x="9098" y="9426"/>
                  </a:lnTo>
                  <a:lnTo>
                    <a:pt x="9320" y="9394"/>
                  </a:lnTo>
                  <a:lnTo>
                    <a:pt x="9539" y="9360"/>
                  </a:lnTo>
                  <a:lnTo>
                    <a:pt x="9755" y="9324"/>
                  </a:lnTo>
                  <a:lnTo>
                    <a:pt x="9969" y="9284"/>
                  </a:lnTo>
                  <a:lnTo>
                    <a:pt x="10177" y="9241"/>
                  </a:lnTo>
                  <a:lnTo>
                    <a:pt x="10383" y="9193"/>
                  </a:lnTo>
                  <a:lnTo>
                    <a:pt x="10586" y="9144"/>
                  </a:lnTo>
                  <a:lnTo>
                    <a:pt x="10783" y="9092"/>
                  </a:lnTo>
                  <a:lnTo>
                    <a:pt x="10977" y="9035"/>
                  </a:lnTo>
                  <a:lnTo>
                    <a:pt x="11165" y="8976"/>
                  </a:lnTo>
                  <a:lnTo>
                    <a:pt x="11348" y="8915"/>
                  </a:lnTo>
                  <a:lnTo>
                    <a:pt x="11526" y="8849"/>
                  </a:lnTo>
                  <a:lnTo>
                    <a:pt x="11699" y="8781"/>
                  </a:lnTo>
                  <a:lnTo>
                    <a:pt x="11866" y="8709"/>
                  </a:lnTo>
                  <a:lnTo>
                    <a:pt x="12026" y="8635"/>
                  </a:lnTo>
                  <a:lnTo>
                    <a:pt x="12180" y="8558"/>
                  </a:lnTo>
                  <a:lnTo>
                    <a:pt x="12328" y="8477"/>
                  </a:lnTo>
                  <a:lnTo>
                    <a:pt x="12468" y="8393"/>
                  </a:lnTo>
                  <a:lnTo>
                    <a:pt x="12601" y="8306"/>
                  </a:lnTo>
                  <a:lnTo>
                    <a:pt x="12726" y="8216"/>
                  </a:lnTo>
                  <a:lnTo>
                    <a:pt x="12845" y="8124"/>
                  </a:lnTo>
                  <a:lnTo>
                    <a:pt x="12954" y="8027"/>
                  </a:lnTo>
                  <a:lnTo>
                    <a:pt x="13056" y="7929"/>
                  </a:lnTo>
                  <a:lnTo>
                    <a:pt x="13056" y="9808"/>
                  </a:lnTo>
                  <a:close/>
                  <a:moveTo>
                    <a:pt x="13056" y="12826"/>
                  </a:moveTo>
                  <a:lnTo>
                    <a:pt x="13048" y="12942"/>
                  </a:lnTo>
                  <a:lnTo>
                    <a:pt x="13025" y="13057"/>
                  </a:lnTo>
                  <a:lnTo>
                    <a:pt x="12986" y="13170"/>
                  </a:lnTo>
                  <a:lnTo>
                    <a:pt x="12933" y="13281"/>
                  </a:lnTo>
                  <a:lnTo>
                    <a:pt x="12866" y="13391"/>
                  </a:lnTo>
                  <a:lnTo>
                    <a:pt x="12785" y="13499"/>
                  </a:lnTo>
                  <a:lnTo>
                    <a:pt x="12690" y="13603"/>
                  </a:lnTo>
                  <a:lnTo>
                    <a:pt x="12583" y="13707"/>
                  </a:lnTo>
                  <a:lnTo>
                    <a:pt x="12461" y="13806"/>
                  </a:lnTo>
                  <a:lnTo>
                    <a:pt x="12329" y="13904"/>
                  </a:lnTo>
                  <a:lnTo>
                    <a:pt x="12183" y="13999"/>
                  </a:lnTo>
                  <a:lnTo>
                    <a:pt x="12026" y="14091"/>
                  </a:lnTo>
                  <a:lnTo>
                    <a:pt x="11859" y="14180"/>
                  </a:lnTo>
                  <a:lnTo>
                    <a:pt x="11680" y="14265"/>
                  </a:lnTo>
                  <a:lnTo>
                    <a:pt x="11490" y="14348"/>
                  </a:lnTo>
                  <a:lnTo>
                    <a:pt x="11291" y="14426"/>
                  </a:lnTo>
                  <a:lnTo>
                    <a:pt x="11081" y="14501"/>
                  </a:lnTo>
                  <a:lnTo>
                    <a:pt x="10863" y="14572"/>
                  </a:lnTo>
                  <a:lnTo>
                    <a:pt x="10635" y="14639"/>
                  </a:lnTo>
                  <a:lnTo>
                    <a:pt x="10399" y="14703"/>
                  </a:lnTo>
                  <a:lnTo>
                    <a:pt x="10154" y="14761"/>
                  </a:lnTo>
                  <a:lnTo>
                    <a:pt x="9902" y="14815"/>
                  </a:lnTo>
                  <a:lnTo>
                    <a:pt x="9642" y="14866"/>
                  </a:lnTo>
                  <a:lnTo>
                    <a:pt x="9376" y="14911"/>
                  </a:lnTo>
                  <a:lnTo>
                    <a:pt x="9102" y="14951"/>
                  </a:lnTo>
                  <a:lnTo>
                    <a:pt x="8822" y="14987"/>
                  </a:lnTo>
                  <a:lnTo>
                    <a:pt x="8536" y="15018"/>
                  </a:lnTo>
                  <a:lnTo>
                    <a:pt x="8244" y="15043"/>
                  </a:lnTo>
                  <a:lnTo>
                    <a:pt x="7948" y="15063"/>
                  </a:lnTo>
                  <a:lnTo>
                    <a:pt x="7647" y="15077"/>
                  </a:lnTo>
                  <a:lnTo>
                    <a:pt x="7340" y="15086"/>
                  </a:lnTo>
                  <a:lnTo>
                    <a:pt x="7030" y="15089"/>
                  </a:lnTo>
                  <a:lnTo>
                    <a:pt x="6720" y="15086"/>
                  </a:lnTo>
                  <a:lnTo>
                    <a:pt x="6413" y="15077"/>
                  </a:lnTo>
                  <a:lnTo>
                    <a:pt x="6112" y="15063"/>
                  </a:lnTo>
                  <a:lnTo>
                    <a:pt x="5816" y="15043"/>
                  </a:lnTo>
                  <a:lnTo>
                    <a:pt x="5524" y="15018"/>
                  </a:lnTo>
                  <a:lnTo>
                    <a:pt x="5238" y="14987"/>
                  </a:lnTo>
                  <a:lnTo>
                    <a:pt x="4958" y="14951"/>
                  </a:lnTo>
                  <a:lnTo>
                    <a:pt x="4684" y="14911"/>
                  </a:lnTo>
                  <a:lnTo>
                    <a:pt x="4418" y="14866"/>
                  </a:lnTo>
                  <a:lnTo>
                    <a:pt x="4158" y="14815"/>
                  </a:lnTo>
                  <a:lnTo>
                    <a:pt x="3906" y="14761"/>
                  </a:lnTo>
                  <a:lnTo>
                    <a:pt x="3661" y="14703"/>
                  </a:lnTo>
                  <a:lnTo>
                    <a:pt x="3425" y="14639"/>
                  </a:lnTo>
                  <a:lnTo>
                    <a:pt x="3197" y="14572"/>
                  </a:lnTo>
                  <a:lnTo>
                    <a:pt x="2979" y="14501"/>
                  </a:lnTo>
                  <a:lnTo>
                    <a:pt x="2769" y="14426"/>
                  </a:lnTo>
                  <a:lnTo>
                    <a:pt x="2570" y="14348"/>
                  </a:lnTo>
                  <a:lnTo>
                    <a:pt x="2380" y="14265"/>
                  </a:lnTo>
                  <a:lnTo>
                    <a:pt x="2201" y="14180"/>
                  </a:lnTo>
                  <a:lnTo>
                    <a:pt x="2034" y="14091"/>
                  </a:lnTo>
                  <a:lnTo>
                    <a:pt x="1877" y="13999"/>
                  </a:lnTo>
                  <a:lnTo>
                    <a:pt x="1731" y="13904"/>
                  </a:lnTo>
                  <a:lnTo>
                    <a:pt x="1599" y="13806"/>
                  </a:lnTo>
                  <a:lnTo>
                    <a:pt x="1477" y="13707"/>
                  </a:lnTo>
                  <a:lnTo>
                    <a:pt x="1370" y="13603"/>
                  </a:lnTo>
                  <a:lnTo>
                    <a:pt x="1275" y="13499"/>
                  </a:lnTo>
                  <a:lnTo>
                    <a:pt x="1194" y="13391"/>
                  </a:lnTo>
                  <a:lnTo>
                    <a:pt x="1127" y="13281"/>
                  </a:lnTo>
                  <a:lnTo>
                    <a:pt x="1074" y="13170"/>
                  </a:lnTo>
                  <a:lnTo>
                    <a:pt x="1035" y="13057"/>
                  </a:lnTo>
                  <a:lnTo>
                    <a:pt x="1012" y="12942"/>
                  </a:lnTo>
                  <a:lnTo>
                    <a:pt x="1004" y="12826"/>
                  </a:lnTo>
                  <a:lnTo>
                    <a:pt x="1004" y="10947"/>
                  </a:lnTo>
                  <a:lnTo>
                    <a:pt x="1106" y="11045"/>
                  </a:lnTo>
                  <a:lnTo>
                    <a:pt x="1215" y="11141"/>
                  </a:lnTo>
                  <a:lnTo>
                    <a:pt x="1334" y="11234"/>
                  </a:lnTo>
                  <a:lnTo>
                    <a:pt x="1459" y="11324"/>
                  </a:lnTo>
                  <a:lnTo>
                    <a:pt x="1592" y="11410"/>
                  </a:lnTo>
                  <a:lnTo>
                    <a:pt x="1732" y="11495"/>
                  </a:lnTo>
                  <a:lnTo>
                    <a:pt x="1880" y="11575"/>
                  </a:lnTo>
                  <a:lnTo>
                    <a:pt x="2034" y="11653"/>
                  </a:lnTo>
                  <a:lnTo>
                    <a:pt x="2194" y="11727"/>
                  </a:lnTo>
                  <a:lnTo>
                    <a:pt x="2361" y="11799"/>
                  </a:lnTo>
                  <a:lnTo>
                    <a:pt x="2534" y="11867"/>
                  </a:lnTo>
                  <a:lnTo>
                    <a:pt x="2712" y="11932"/>
                  </a:lnTo>
                  <a:lnTo>
                    <a:pt x="2895" y="11994"/>
                  </a:lnTo>
                  <a:lnTo>
                    <a:pt x="3083" y="12053"/>
                  </a:lnTo>
                  <a:lnTo>
                    <a:pt x="3277" y="12109"/>
                  </a:lnTo>
                  <a:lnTo>
                    <a:pt x="3474" y="12162"/>
                  </a:lnTo>
                  <a:lnTo>
                    <a:pt x="3677" y="12211"/>
                  </a:lnTo>
                  <a:lnTo>
                    <a:pt x="3883" y="12258"/>
                  </a:lnTo>
                  <a:lnTo>
                    <a:pt x="4091" y="12302"/>
                  </a:lnTo>
                  <a:lnTo>
                    <a:pt x="4305" y="12342"/>
                  </a:lnTo>
                  <a:lnTo>
                    <a:pt x="4521" y="12378"/>
                  </a:lnTo>
                  <a:lnTo>
                    <a:pt x="4740" y="12412"/>
                  </a:lnTo>
                  <a:lnTo>
                    <a:pt x="4962" y="12443"/>
                  </a:lnTo>
                  <a:lnTo>
                    <a:pt x="5186" y="12471"/>
                  </a:lnTo>
                  <a:lnTo>
                    <a:pt x="5412" y="12495"/>
                  </a:lnTo>
                  <a:lnTo>
                    <a:pt x="5640" y="12516"/>
                  </a:lnTo>
                  <a:lnTo>
                    <a:pt x="5869" y="12534"/>
                  </a:lnTo>
                  <a:lnTo>
                    <a:pt x="6100" y="12548"/>
                  </a:lnTo>
                  <a:lnTo>
                    <a:pt x="6332" y="12559"/>
                  </a:lnTo>
                  <a:lnTo>
                    <a:pt x="6564" y="12567"/>
                  </a:lnTo>
                  <a:lnTo>
                    <a:pt x="6797" y="12572"/>
                  </a:lnTo>
                  <a:lnTo>
                    <a:pt x="7030" y="12574"/>
                  </a:lnTo>
                  <a:lnTo>
                    <a:pt x="7263" y="12572"/>
                  </a:lnTo>
                  <a:lnTo>
                    <a:pt x="7496" y="12567"/>
                  </a:lnTo>
                  <a:lnTo>
                    <a:pt x="7728" y="12559"/>
                  </a:lnTo>
                  <a:lnTo>
                    <a:pt x="7960" y="12548"/>
                  </a:lnTo>
                  <a:lnTo>
                    <a:pt x="8191" y="12534"/>
                  </a:lnTo>
                  <a:lnTo>
                    <a:pt x="8420" y="12516"/>
                  </a:lnTo>
                  <a:lnTo>
                    <a:pt x="8648" y="12495"/>
                  </a:lnTo>
                  <a:lnTo>
                    <a:pt x="8874" y="12471"/>
                  </a:lnTo>
                  <a:lnTo>
                    <a:pt x="9098" y="12443"/>
                  </a:lnTo>
                  <a:lnTo>
                    <a:pt x="9320" y="12412"/>
                  </a:lnTo>
                  <a:lnTo>
                    <a:pt x="9539" y="12378"/>
                  </a:lnTo>
                  <a:lnTo>
                    <a:pt x="9755" y="12342"/>
                  </a:lnTo>
                  <a:lnTo>
                    <a:pt x="9969" y="12302"/>
                  </a:lnTo>
                  <a:lnTo>
                    <a:pt x="10177" y="12258"/>
                  </a:lnTo>
                  <a:lnTo>
                    <a:pt x="10383" y="12211"/>
                  </a:lnTo>
                  <a:lnTo>
                    <a:pt x="10586" y="12162"/>
                  </a:lnTo>
                  <a:lnTo>
                    <a:pt x="10783" y="12109"/>
                  </a:lnTo>
                  <a:lnTo>
                    <a:pt x="10977" y="12053"/>
                  </a:lnTo>
                  <a:lnTo>
                    <a:pt x="11165" y="11994"/>
                  </a:lnTo>
                  <a:lnTo>
                    <a:pt x="11348" y="11932"/>
                  </a:lnTo>
                  <a:lnTo>
                    <a:pt x="11526" y="11867"/>
                  </a:lnTo>
                  <a:lnTo>
                    <a:pt x="11699" y="11799"/>
                  </a:lnTo>
                  <a:lnTo>
                    <a:pt x="11866" y="11727"/>
                  </a:lnTo>
                  <a:lnTo>
                    <a:pt x="12026" y="11653"/>
                  </a:lnTo>
                  <a:lnTo>
                    <a:pt x="12180" y="11575"/>
                  </a:lnTo>
                  <a:lnTo>
                    <a:pt x="12328" y="11495"/>
                  </a:lnTo>
                  <a:lnTo>
                    <a:pt x="12468" y="11410"/>
                  </a:lnTo>
                  <a:lnTo>
                    <a:pt x="12601" y="11324"/>
                  </a:lnTo>
                  <a:lnTo>
                    <a:pt x="12726" y="11234"/>
                  </a:lnTo>
                  <a:lnTo>
                    <a:pt x="12845" y="11141"/>
                  </a:lnTo>
                  <a:lnTo>
                    <a:pt x="12954" y="11045"/>
                  </a:lnTo>
                  <a:lnTo>
                    <a:pt x="13056" y="10947"/>
                  </a:lnTo>
                  <a:lnTo>
                    <a:pt x="13056" y="12826"/>
                  </a:lnTo>
                  <a:close/>
                  <a:moveTo>
                    <a:pt x="7030" y="0"/>
                  </a:moveTo>
                  <a:lnTo>
                    <a:pt x="6712" y="3"/>
                  </a:lnTo>
                  <a:lnTo>
                    <a:pt x="6393" y="12"/>
                  </a:lnTo>
                  <a:lnTo>
                    <a:pt x="6074" y="27"/>
                  </a:lnTo>
                  <a:lnTo>
                    <a:pt x="5756" y="48"/>
                  </a:lnTo>
                  <a:lnTo>
                    <a:pt x="5439" y="75"/>
                  </a:lnTo>
                  <a:lnTo>
                    <a:pt x="5124" y="110"/>
                  </a:lnTo>
                  <a:lnTo>
                    <a:pt x="4812" y="149"/>
                  </a:lnTo>
                  <a:lnTo>
                    <a:pt x="4503" y="195"/>
                  </a:lnTo>
                  <a:lnTo>
                    <a:pt x="4199" y="247"/>
                  </a:lnTo>
                  <a:lnTo>
                    <a:pt x="3900" y="306"/>
                  </a:lnTo>
                  <a:lnTo>
                    <a:pt x="3605" y="370"/>
                  </a:lnTo>
                  <a:lnTo>
                    <a:pt x="3318" y="442"/>
                  </a:lnTo>
                  <a:lnTo>
                    <a:pt x="3037" y="520"/>
                  </a:lnTo>
                  <a:lnTo>
                    <a:pt x="2765" y="604"/>
                  </a:lnTo>
                  <a:lnTo>
                    <a:pt x="2501" y="695"/>
                  </a:lnTo>
                  <a:lnTo>
                    <a:pt x="2246" y="792"/>
                  </a:lnTo>
                  <a:lnTo>
                    <a:pt x="2001" y="896"/>
                  </a:lnTo>
                  <a:lnTo>
                    <a:pt x="1766" y="1007"/>
                  </a:lnTo>
                  <a:lnTo>
                    <a:pt x="1543" y="1124"/>
                  </a:lnTo>
                  <a:lnTo>
                    <a:pt x="1332" y="1247"/>
                  </a:lnTo>
                  <a:lnTo>
                    <a:pt x="1133" y="1378"/>
                  </a:lnTo>
                  <a:lnTo>
                    <a:pt x="948" y="1515"/>
                  </a:lnTo>
                  <a:lnTo>
                    <a:pt x="778" y="1660"/>
                  </a:lnTo>
                  <a:lnTo>
                    <a:pt x="623" y="1811"/>
                  </a:lnTo>
                  <a:lnTo>
                    <a:pt x="482" y="1969"/>
                  </a:lnTo>
                  <a:lnTo>
                    <a:pt x="359" y="2134"/>
                  </a:lnTo>
                  <a:lnTo>
                    <a:pt x="252" y="2305"/>
                  </a:lnTo>
                  <a:lnTo>
                    <a:pt x="163" y="2484"/>
                  </a:lnTo>
                  <a:lnTo>
                    <a:pt x="93" y="2670"/>
                  </a:lnTo>
                  <a:lnTo>
                    <a:pt x="42" y="2862"/>
                  </a:lnTo>
                  <a:lnTo>
                    <a:pt x="11" y="3062"/>
                  </a:lnTo>
                  <a:lnTo>
                    <a:pt x="0" y="3269"/>
                  </a:lnTo>
                  <a:lnTo>
                    <a:pt x="0" y="12826"/>
                  </a:lnTo>
                  <a:lnTo>
                    <a:pt x="11" y="13033"/>
                  </a:lnTo>
                  <a:lnTo>
                    <a:pt x="42" y="13232"/>
                  </a:lnTo>
                  <a:lnTo>
                    <a:pt x="93" y="13425"/>
                  </a:lnTo>
                  <a:lnTo>
                    <a:pt x="163" y="13611"/>
                  </a:lnTo>
                  <a:lnTo>
                    <a:pt x="252" y="13789"/>
                  </a:lnTo>
                  <a:lnTo>
                    <a:pt x="359" y="13961"/>
                  </a:lnTo>
                  <a:lnTo>
                    <a:pt x="482" y="14126"/>
                  </a:lnTo>
                  <a:lnTo>
                    <a:pt x="623" y="14284"/>
                  </a:lnTo>
                  <a:lnTo>
                    <a:pt x="778" y="14435"/>
                  </a:lnTo>
                  <a:lnTo>
                    <a:pt x="948" y="14579"/>
                  </a:lnTo>
                  <a:lnTo>
                    <a:pt x="1133" y="14717"/>
                  </a:lnTo>
                  <a:lnTo>
                    <a:pt x="1332" y="14847"/>
                  </a:lnTo>
                  <a:lnTo>
                    <a:pt x="1543" y="14971"/>
                  </a:lnTo>
                  <a:lnTo>
                    <a:pt x="1766" y="15088"/>
                  </a:lnTo>
                  <a:lnTo>
                    <a:pt x="2001" y="15199"/>
                  </a:lnTo>
                  <a:lnTo>
                    <a:pt x="2246" y="15302"/>
                  </a:lnTo>
                  <a:lnTo>
                    <a:pt x="2501" y="15400"/>
                  </a:lnTo>
                  <a:lnTo>
                    <a:pt x="2765" y="15490"/>
                  </a:lnTo>
                  <a:lnTo>
                    <a:pt x="3037" y="15575"/>
                  </a:lnTo>
                  <a:lnTo>
                    <a:pt x="3318" y="15652"/>
                  </a:lnTo>
                  <a:lnTo>
                    <a:pt x="3605" y="15724"/>
                  </a:lnTo>
                  <a:lnTo>
                    <a:pt x="3900" y="15789"/>
                  </a:lnTo>
                  <a:lnTo>
                    <a:pt x="4199" y="15848"/>
                  </a:lnTo>
                  <a:lnTo>
                    <a:pt x="4503" y="15900"/>
                  </a:lnTo>
                  <a:lnTo>
                    <a:pt x="4812" y="15946"/>
                  </a:lnTo>
                  <a:lnTo>
                    <a:pt x="5124" y="15985"/>
                  </a:lnTo>
                  <a:lnTo>
                    <a:pt x="5439" y="16020"/>
                  </a:lnTo>
                  <a:lnTo>
                    <a:pt x="5756" y="16047"/>
                  </a:lnTo>
                  <a:lnTo>
                    <a:pt x="6074" y="16068"/>
                  </a:lnTo>
                  <a:lnTo>
                    <a:pt x="6393" y="16083"/>
                  </a:lnTo>
                  <a:lnTo>
                    <a:pt x="6712" y="16092"/>
                  </a:lnTo>
                  <a:lnTo>
                    <a:pt x="7030" y="16095"/>
                  </a:lnTo>
                  <a:lnTo>
                    <a:pt x="7348" y="16092"/>
                  </a:lnTo>
                  <a:lnTo>
                    <a:pt x="7667" y="16083"/>
                  </a:lnTo>
                  <a:lnTo>
                    <a:pt x="7986" y="16068"/>
                  </a:lnTo>
                  <a:lnTo>
                    <a:pt x="8304" y="16047"/>
                  </a:lnTo>
                  <a:lnTo>
                    <a:pt x="8621" y="16020"/>
                  </a:lnTo>
                  <a:lnTo>
                    <a:pt x="8936" y="15985"/>
                  </a:lnTo>
                  <a:lnTo>
                    <a:pt x="9248" y="15946"/>
                  </a:lnTo>
                  <a:lnTo>
                    <a:pt x="9557" y="15900"/>
                  </a:lnTo>
                  <a:lnTo>
                    <a:pt x="9861" y="15848"/>
                  </a:lnTo>
                  <a:lnTo>
                    <a:pt x="10160" y="15789"/>
                  </a:lnTo>
                  <a:lnTo>
                    <a:pt x="10455" y="15724"/>
                  </a:lnTo>
                  <a:lnTo>
                    <a:pt x="10742" y="15652"/>
                  </a:lnTo>
                  <a:lnTo>
                    <a:pt x="11023" y="15575"/>
                  </a:lnTo>
                  <a:lnTo>
                    <a:pt x="11295" y="15490"/>
                  </a:lnTo>
                  <a:lnTo>
                    <a:pt x="11559" y="15400"/>
                  </a:lnTo>
                  <a:lnTo>
                    <a:pt x="11814" y="15302"/>
                  </a:lnTo>
                  <a:lnTo>
                    <a:pt x="12059" y="15199"/>
                  </a:lnTo>
                  <a:lnTo>
                    <a:pt x="12294" y="15088"/>
                  </a:lnTo>
                  <a:lnTo>
                    <a:pt x="12517" y="14971"/>
                  </a:lnTo>
                  <a:lnTo>
                    <a:pt x="12728" y="14847"/>
                  </a:lnTo>
                  <a:lnTo>
                    <a:pt x="12927" y="14717"/>
                  </a:lnTo>
                  <a:lnTo>
                    <a:pt x="13112" y="14579"/>
                  </a:lnTo>
                  <a:lnTo>
                    <a:pt x="13282" y="14435"/>
                  </a:lnTo>
                  <a:lnTo>
                    <a:pt x="13437" y="14284"/>
                  </a:lnTo>
                  <a:lnTo>
                    <a:pt x="13578" y="14126"/>
                  </a:lnTo>
                  <a:lnTo>
                    <a:pt x="13701" y="13961"/>
                  </a:lnTo>
                  <a:lnTo>
                    <a:pt x="13808" y="13789"/>
                  </a:lnTo>
                  <a:lnTo>
                    <a:pt x="13897" y="13611"/>
                  </a:lnTo>
                  <a:lnTo>
                    <a:pt x="13967" y="13425"/>
                  </a:lnTo>
                  <a:lnTo>
                    <a:pt x="14018" y="13232"/>
                  </a:lnTo>
                  <a:lnTo>
                    <a:pt x="14049" y="13033"/>
                  </a:lnTo>
                  <a:lnTo>
                    <a:pt x="14060" y="12826"/>
                  </a:lnTo>
                  <a:lnTo>
                    <a:pt x="14060" y="3269"/>
                  </a:lnTo>
                  <a:lnTo>
                    <a:pt x="14049" y="3062"/>
                  </a:lnTo>
                  <a:lnTo>
                    <a:pt x="14018" y="2862"/>
                  </a:lnTo>
                  <a:lnTo>
                    <a:pt x="13967" y="2670"/>
                  </a:lnTo>
                  <a:lnTo>
                    <a:pt x="13897" y="2484"/>
                  </a:lnTo>
                  <a:lnTo>
                    <a:pt x="13808" y="2305"/>
                  </a:lnTo>
                  <a:lnTo>
                    <a:pt x="13701" y="2134"/>
                  </a:lnTo>
                  <a:lnTo>
                    <a:pt x="13578" y="1969"/>
                  </a:lnTo>
                  <a:lnTo>
                    <a:pt x="13437" y="1811"/>
                  </a:lnTo>
                  <a:lnTo>
                    <a:pt x="13282" y="1660"/>
                  </a:lnTo>
                  <a:lnTo>
                    <a:pt x="13112" y="1515"/>
                  </a:lnTo>
                  <a:lnTo>
                    <a:pt x="12927" y="1378"/>
                  </a:lnTo>
                  <a:lnTo>
                    <a:pt x="12728" y="1247"/>
                  </a:lnTo>
                  <a:lnTo>
                    <a:pt x="12517" y="1124"/>
                  </a:lnTo>
                  <a:lnTo>
                    <a:pt x="12294" y="1007"/>
                  </a:lnTo>
                  <a:lnTo>
                    <a:pt x="12059" y="896"/>
                  </a:lnTo>
                  <a:lnTo>
                    <a:pt x="11814" y="792"/>
                  </a:lnTo>
                  <a:lnTo>
                    <a:pt x="11559" y="695"/>
                  </a:lnTo>
                  <a:lnTo>
                    <a:pt x="11295" y="604"/>
                  </a:lnTo>
                  <a:lnTo>
                    <a:pt x="11023" y="520"/>
                  </a:lnTo>
                  <a:lnTo>
                    <a:pt x="10742" y="442"/>
                  </a:lnTo>
                  <a:lnTo>
                    <a:pt x="10455" y="370"/>
                  </a:lnTo>
                  <a:lnTo>
                    <a:pt x="10160" y="306"/>
                  </a:lnTo>
                  <a:lnTo>
                    <a:pt x="9861" y="247"/>
                  </a:lnTo>
                  <a:lnTo>
                    <a:pt x="9557" y="195"/>
                  </a:lnTo>
                  <a:lnTo>
                    <a:pt x="9248" y="149"/>
                  </a:lnTo>
                  <a:lnTo>
                    <a:pt x="8936" y="110"/>
                  </a:lnTo>
                  <a:lnTo>
                    <a:pt x="8621" y="75"/>
                  </a:lnTo>
                  <a:lnTo>
                    <a:pt x="8304" y="48"/>
                  </a:lnTo>
                  <a:lnTo>
                    <a:pt x="7986" y="27"/>
                  </a:lnTo>
                  <a:lnTo>
                    <a:pt x="7667" y="12"/>
                  </a:lnTo>
                  <a:lnTo>
                    <a:pt x="7348" y="3"/>
                  </a:lnTo>
                  <a:lnTo>
                    <a:pt x="703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11" name="ísḻíḓê">
              <a:extLst>
                <a:ext uri="{FF2B5EF4-FFF2-40B4-BE49-F238E27FC236}">
                  <a16:creationId xmlns:a16="http://schemas.microsoft.com/office/drawing/2014/main" id="{F6C33873-8177-43C8-83B8-E7DF07719310}"/>
                </a:ext>
              </a:extLst>
            </p:cNvPr>
            <p:cNvSpPr/>
            <p:nvPr/>
          </p:nvSpPr>
          <p:spPr bwMode="auto">
            <a:xfrm>
              <a:off x="3073466" y="1511374"/>
              <a:ext cx="38070" cy="38070"/>
            </a:xfrm>
            <a:custGeom>
              <a:avLst/>
              <a:gdLst>
                <a:gd name="T0" fmla="*/ 554 w 1004"/>
                <a:gd name="T1" fmla="*/ 1003 h 1006"/>
                <a:gd name="T2" fmla="*/ 628 w 1004"/>
                <a:gd name="T3" fmla="*/ 990 h 1006"/>
                <a:gd name="T4" fmla="*/ 698 w 1004"/>
                <a:gd name="T5" fmla="*/ 967 h 1006"/>
                <a:gd name="T6" fmla="*/ 762 w 1004"/>
                <a:gd name="T7" fmla="*/ 934 h 1006"/>
                <a:gd name="T8" fmla="*/ 822 w 1004"/>
                <a:gd name="T9" fmla="*/ 891 h 1006"/>
                <a:gd name="T10" fmla="*/ 874 w 1004"/>
                <a:gd name="T11" fmla="*/ 841 h 1006"/>
                <a:gd name="T12" fmla="*/ 919 w 1004"/>
                <a:gd name="T13" fmla="*/ 785 h 1006"/>
                <a:gd name="T14" fmla="*/ 955 w 1004"/>
                <a:gd name="T15" fmla="*/ 721 h 1006"/>
                <a:gd name="T16" fmla="*/ 981 w 1004"/>
                <a:gd name="T17" fmla="*/ 653 h 1006"/>
                <a:gd name="T18" fmla="*/ 998 w 1004"/>
                <a:gd name="T19" fmla="*/ 580 h 1006"/>
                <a:gd name="T20" fmla="*/ 1004 w 1004"/>
                <a:gd name="T21" fmla="*/ 503 h 1006"/>
                <a:gd name="T22" fmla="*/ 998 w 1004"/>
                <a:gd name="T23" fmla="*/ 427 h 1006"/>
                <a:gd name="T24" fmla="*/ 981 w 1004"/>
                <a:gd name="T25" fmla="*/ 353 h 1006"/>
                <a:gd name="T26" fmla="*/ 955 w 1004"/>
                <a:gd name="T27" fmla="*/ 285 h 1006"/>
                <a:gd name="T28" fmla="*/ 919 w 1004"/>
                <a:gd name="T29" fmla="*/ 222 h 1006"/>
                <a:gd name="T30" fmla="*/ 874 w 1004"/>
                <a:gd name="T31" fmla="*/ 165 h 1006"/>
                <a:gd name="T32" fmla="*/ 822 w 1004"/>
                <a:gd name="T33" fmla="*/ 115 h 1006"/>
                <a:gd name="T34" fmla="*/ 762 w 1004"/>
                <a:gd name="T35" fmla="*/ 73 h 1006"/>
                <a:gd name="T36" fmla="*/ 698 w 1004"/>
                <a:gd name="T37" fmla="*/ 39 h 1006"/>
                <a:gd name="T38" fmla="*/ 628 w 1004"/>
                <a:gd name="T39" fmla="*/ 16 h 1006"/>
                <a:gd name="T40" fmla="*/ 554 w 1004"/>
                <a:gd name="T41" fmla="*/ 3 h 1006"/>
                <a:gd name="T42" fmla="*/ 476 w 1004"/>
                <a:gd name="T43" fmla="*/ 1 h 1006"/>
                <a:gd name="T44" fmla="*/ 401 w 1004"/>
                <a:gd name="T45" fmla="*/ 10 h 1006"/>
                <a:gd name="T46" fmla="*/ 330 w 1004"/>
                <a:gd name="T47" fmla="*/ 30 h 1006"/>
                <a:gd name="T48" fmla="*/ 262 w 1004"/>
                <a:gd name="T49" fmla="*/ 61 h 1006"/>
                <a:gd name="T50" fmla="*/ 202 w 1004"/>
                <a:gd name="T51" fmla="*/ 100 h 1006"/>
                <a:gd name="T52" fmla="*/ 147 w 1004"/>
                <a:gd name="T53" fmla="*/ 147 h 1006"/>
                <a:gd name="T54" fmla="*/ 100 w 1004"/>
                <a:gd name="T55" fmla="*/ 202 h 1006"/>
                <a:gd name="T56" fmla="*/ 60 w 1004"/>
                <a:gd name="T57" fmla="*/ 263 h 1006"/>
                <a:gd name="T58" fmla="*/ 30 w 1004"/>
                <a:gd name="T59" fmla="*/ 330 h 1006"/>
                <a:gd name="T60" fmla="*/ 10 w 1004"/>
                <a:gd name="T61" fmla="*/ 402 h 1006"/>
                <a:gd name="T62" fmla="*/ 1 w 1004"/>
                <a:gd name="T63" fmla="*/ 477 h 1006"/>
                <a:gd name="T64" fmla="*/ 3 w 1004"/>
                <a:gd name="T65" fmla="*/ 554 h 1006"/>
                <a:gd name="T66" fmla="*/ 16 w 1004"/>
                <a:gd name="T67" fmla="*/ 629 h 1006"/>
                <a:gd name="T68" fmla="*/ 39 w 1004"/>
                <a:gd name="T69" fmla="*/ 699 h 1006"/>
                <a:gd name="T70" fmla="*/ 72 w 1004"/>
                <a:gd name="T71" fmla="*/ 764 h 1006"/>
                <a:gd name="T72" fmla="*/ 115 w 1004"/>
                <a:gd name="T73" fmla="*/ 823 h 1006"/>
                <a:gd name="T74" fmla="*/ 165 w 1004"/>
                <a:gd name="T75" fmla="*/ 875 h 1006"/>
                <a:gd name="T76" fmla="*/ 221 w 1004"/>
                <a:gd name="T77" fmla="*/ 921 h 1006"/>
                <a:gd name="T78" fmla="*/ 284 w 1004"/>
                <a:gd name="T79" fmla="*/ 957 h 1006"/>
                <a:gd name="T80" fmla="*/ 353 w 1004"/>
                <a:gd name="T81" fmla="*/ 984 h 1006"/>
                <a:gd name="T82" fmla="*/ 426 w 1004"/>
                <a:gd name="T83" fmla="*/ 1000 h 1006"/>
                <a:gd name="T84" fmla="*/ 502 w 1004"/>
                <a:gd name="T85" fmla="*/ 10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4" h="1006">
                  <a:moveTo>
                    <a:pt x="502" y="1006"/>
                  </a:moveTo>
                  <a:lnTo>
                    <a:pt x="528" y="1005"/>
                  </a:lnTo>
                  <a:lnTo>
                    <a:pt x="554" y="1003"/>
                  </a:lnTo>
                  <a:lnTo>
                    <a:pt x="579" y="1000"/>
                  </a:lnTo>
                  <a:lnTo>
                    <a:pt x="604" y="996"/>
                  </a:lnTo>
                  <a:lnTo>
                    <a:pt x="628" y="990"/>
                  </a:lnTo>
                  <a:lnTo>
                    <a:pt x="652" y="984"/>
                  </a:lnTo>
                  <a:lnTo>
                    <a:pt x="675" y="976"/>
                  </a:lnTo>
                  <a:lnTo>
                    <a:pt x="698" y="967"/>
                  </a:lnTo>
                  <a:lnTo>
                    <a:pt x="720" y="957"/>
                  </a:lnTo>
                  <a:lnTo>
                    <a:pt x="741" y="946"/>
                  </a:lnTo>
                  <a:lnTo>
                    <a:pt x="762" y="934"/>
                  </a:lnTo>
                  <a:lnTo>
                    <a:pt x="783" y="921"/>
                  </a:lnTo>
                  <a:lnTo>
                    <a:pt x="803" y="907"/>
                  </a:lnTo>
                  <a:lnTo>
                    <a:pt x="822" y="891"/>
                  </a:lnTo>
                  <a:lnTo>
                    <a:pt x="840" y="875"/>
                  </a:lnTo>
                  <a:lnTo>
                    <a:pt x="858" y="859"/>
                  </a:lnTo>
                  <a:lnTo>
                    <a:pt x="874" y="841"/>
                  </a:lnTo>
                  <a:lnTo>
                    <a:pt x="890" y="823"/>
                  </a:lnTo>
                  <a:lnTo>
                    <a:pt x="905" y="804"/>
                  </a:lnTo>
                  <a:lnTo>
                    <a:pt x="919" y="785"/>
                  </a:lnTo>
                  <a:lnTo>
                    <a:pt x="932" y="764"/>
                  </a:lnTo>
                  <a:lnTo>
                    <a:pt x="944" y="743"/>
                  </a:lnTo>
                  <a:lnTo>
                    <a:pt x="955" y="721"/>
                  </a:lnTo>
                  <a:lnTo>
                    <a:pt x="965" y="699"/>
                  </a:lnTo>
                  <a:lnTo>
                    <a:pt x="974" y="676"/>
                  </a:lnTo>
                  <a:lnTo>
                    <a:pt x="981" y="653"/>
                  </a:lnTo>
                  <a:lnTo>
                    <a:pt x="988" y="629"/>
                  </a:lnTo>
                  <a:lnTo>
                    <a:pt x="994" y="605"/>
                  </a:lnTo>
                  <a:lnTo>
                    <a:pt x="998" y="580"/>
                  </a:lnTo>
                  <a:lnTo>
                    <a:pt x="1001" y="554"/>
                  </a:lnTo>
                  <a:lnTo>
                    <a:pt x="1003" y="529"/>
                  </a:lnTo>
                  <a:lnTo>
                    <a:pt x="1004" y="503"/>
                  </a:lnTo>
                  <a:lnTo>
                    <a:pt x="1003" y="477"/>
                  </a:lnTo>
                  <a:lnTo>
                    <a:pt x="1001" y="452"/>
                  </a:lnTo>
                  <a:lnTo>
                    <a:pt x="998" y="427"/>
                  </a:lnTo>
                  <a:lnTo>
                    <a:pt x="994" y="402"/>
                  </a:lnTo>
                  <a:lnTo>
                    <a:pt x="988" y="377"/>
                  </a:lnTo>
                  <a:lnTo>
                    <a:pt x="981" y="353"/>
                  </a:lnTo>
                  <a:lnTo>
                    <a:pt x="974" y="330"/>
                  </a:lnTo>
                  <a:lnTo>
                    <a:pt x="965" y="307"/>
                  </a:lnTo>
                  <a:lnTo>
                    <a:pt x="955" y="285"/>
                  </a:lnTo>
                  <a:lnTo>
                    <a:pt x="944" y="263"/>
                  </a:lnTo>
                  <a:lnTo>
                    <a:pt x="932" y="243"/>
                  </a:lnTo>
                  <a:lnTo>
                    <a:pt x="919" y="222"/>
                  </a:lnTo>
                  <a:lnTo>
                    <a:pt x="905" y="202"/>
                  </a:lnTo>
                  <a:lnTo>
                    <a:pt x="890" y="183"/>
                  </a:lnTo>
                  <a:lnTo>
                    <a:pt x="874" y="165"/>
                  </a:lnTo>
                  <a:lnTo>
                    <a:pt x="858" y="147"/>
                  </a:lnTo>
                  <a:lnTo>
                    <a:pt x="840" y="131"/>
                  </a:lnTo>
                  <a:lnTo>
                    <a:pt x="822" y="115"/>
                  </a:lnTo>
                  <a:lnTo>
                    <a:pt x="803" y="100"/>
                  </a:lnTo>
                  <a:lnTo>
                    <a:pt x="783" y="86"/>
                  </a:lnTo>
                  <a:lnTo>
                    <a:pt x="762" y="73"/>
                  </a:lnTo>
                  <a:lnTo>
                    <a:pt x="741" y="61"/>
                  </a:lnTo>
                  <a:lnTo>
                    <a:pt x="720" y="50"/>
                  </a:lnTo>
                  <a:lnTo>
                    <a:pt x="698" y="39"/>
                  </a:lnTo>
                  <a:lnTo>
                    <a:pt x="675" y="30"/>
                  </a:lnTo>
                  <a:lnTo>
                    <a:pt x="652" y="22"/>
                  </a:lnTo>
                  <a:lnTo>
                    <a:pt x="628" y="16"/>
                  </a:lnTo>
                  <a:lnTo>
                    <a:pt x="604" y="10"/>
                  </a:lnTo>
                  <a:lnTo>
                    <a:pt x="579" y="6"/>
                  </a:lnTo>
                  <a:lnTo>
                    <a:pt x="554" y="3"/>
                  </a:lnTo>
                  <a:lnTo>
                    <a:pt x="528" y="1"/>
                  </a:lnTo>
                  <a:lnTo>
                    <a:pt x="502" y="0"/>
                  </a:lnTo>
                  <a:lnTo>
                    <a:pt x="476" y="1"/>
                  </a:lnTo>
                  <a:lnTo>
                    <a:pt x="451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6" y="39"/>
                  </a:lnTo>
                  <a:lnTo>
                    <a:pt x="284" y="50"/>
                  </a:lnTo>
                  <a:lnTo>
                    <a:pt x="262" y="61"/>
                  </a:lnTo>
                  <a:lnTo>
                    <a:pt x="242" y="73"/>
                  </a:lnTo>
                  <a:lnTo>
                    <a:pt x="221" y="86"/>
                  </a:lnTo>
                  <a:lnTo>
                    <a:pt x="202" y="100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100" y="202"/>
                  </a:lnTo>
                  <a:lnTo>
                    <a:pt x="86" y="222"/>
                  </a:lnTo>
                  <a:lnTo>
                    <a:pt x="72" y="243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2"/>
                  </a:lnTo>
                  <a:lnTo>
                    <a:pt x="6" y="427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1" y="529"/>
                  </a:lnTo>
                  <a:lnTo>
                    <a:pt x="3" y="554"/>
                  </a:lnTo>
                  <a:lnTo>
                    <a:pt x="6" y="580"/>
                  </a:lnTo>
                  <a:lnTo>
                    <a:pt x="10" y="605"/>
                  </a:lnTo>
                  <a:lnTo>
                    <a:pt x="16" y="629"/>
                  </a:lnTo>
                  <a:lnTo>
                    <a:pt x="22" y="653"/>
                  </a:lnTo>
                  <a:lnTo>
                    <a:pt x="30" y="676"/>
                  </a:lnTo>
                  <a:lnTo>
                    <a:pt x="39" y="699"/>
                  </a:lnTo>
                  <a:lnTo>
                    <a:pt x="49" y="721"/>
                  </a:lnTo>
                  <a:lnTo>
                    <a:pt x="60" y="743"/>
                  </a:lnTo>
                  <a:lnTo>
                    <a:pt x="72" y="764"/>
                  </a:lnTo>
                  <a:lnTo>
                    <a:pt x="86" y="785"/>
                  </a:lnTo>
                  <a:lnTo>
                    <a:pt x="100" y="804"/>
                  </a:lnTo>
                  <a:lnTo>
                    <a:pt x="115" y="823"/>
                  </a:lnTo>
                  <a:lnTo>
                    <a:pt x="131" y="841"/>
                  </a:lnTo>
                  <a:lnTo>
                    <a:pt x="147" y="859"/>
                  </a:lnTo>
                  <a:lnTo>
                    <a:pt x="165" y="875"/>
                  </a:lnTo>
                  <a:lnTo>
                    <a:pt x="183" y="891"/>
                  </a:lnTo>
                  <a:lnTo>
                    <a:pt x="202" y="907"/>
                  </a:lnTo>
                  <a:lnTo>
                    <a:pt x="221" y="921"/>
                  </a:lnTo>
                  <a:lnTo>
                    <a:pt x="242" y="934"/>
                  </a:lnTo>
                  <a:lnTo>
                    <a:pt x="262" y="946"/>
                  </a:lnTo>
                  <a:lnTo>
                    <a:pt x="284" y="957"/>
                  </a:lnTo>
                  <a:lnTo>
                    <a:pt x="306" y="967"/>
                  </a:lnTo>
                  <a:lnTo>
                    <a:pt x="330" y="976"/>
                  </a:lnTo>
                  <a:lnTo>
                    <a:pt x="353" y="984"/>
                  </a:lnTo>
                  <a:lnTo>
                    <a:pt x="377" y="990"/>
                  </a:lnTo>
                  <a:lnTo>
                    <a:pt x="401" y="996"/>
                  </a:lnTo>
                  <a:lnTo>
                    <a:pt x="426" y="1000"/>
                  </a:lnTo>
                  <a:lnTo>
                    <a:pt x="451" y="1003"/>
                  </a:lnTo>
                  <a:lnTo>
                    <a:pt x="476" y="1005"/>
                  </a:lnTo>
                  <a:lnTo>
                    <a:pt x="502" y="10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12" name="îṧḷîḑé">
              <a:extLst>
                <a:ext uri="{FF2B5EF4-FFF2-40B4-BE49-F238E27FC236}">
                  <a16:creationId xmlns:a16="http://schemas.microsoft.com/office/drawing/2014/main" id="{91803F21-EB68-47E8-8D7B-982FC12FBED7}"/>
                </a:ext>
              </a:extLst>
            </p:cNvPr>
            <p:cNvSpPr/>
            <p:nvPr/>
          </p:nvSpPr>
          <p:spPr bwMode="auto">
            <a:xfrm>
              <a:off x="3073466" y="1395757"/>
              <a:ext cx="38070" cy="38070"/>
            </a:xfrm>
            <a:custGeom>
              <a:avLst/>
              <a:gdLst>
                <a:gd name="T0" fmla="*/ 554 w 1004"/>
                <a:gd name="T1" fmla="*/ 1003 h 1006"/>
                <a:gd name="T2" fmla="*/ 628 w 1004"/>
                <a:gd name="T3" fmla="*/ 990 h 1006"/>
                <a:gd name="T4" fmla="*/ 698 w 1004"/>
                <a:gd name="T5" fmla="*/ 967 h 1006"/>
                <a:gd name="T6" fmla="*/ 762 w 1004"/>
                <a:gd name="T7" fmla="*/ 934 h 1006"/>
                <a:gd name="T8" fmla="*/ 822 w 1004"/>
                <a:gd name="T9" fmla="*/ 892 h 1006"/>
                <a:gd name="T10" fmla="*/ 874 w 1004"/>
                <a:gd name="T11" fmla="*/ 841 h 1006"/>
                <a:gd name="T12" fmla="*/ 919 w 1004"/>
                <a:gd name="T13" fmla="*/ 785 h 1006"/>
                <a:gd name="T14" fmla="*/ 955 w 1004"/>
                <a:gd name="T15" fmla="*/ 722 h 1006"/>
                <a:gd name="T16" fmla="*/ 981 w 1004"/>
                <a:gd name="T17" fmla="*/ 653 h 1006"/>
                <a:gd name="T18" fmla="*/ 998 w 1004"/>
                <a:gd name="T19" fmla="*/ 580 h 1006"/>
                <a:gd name="T20" fmla="*/ 1004 w 1004"/>
                <a:gd name="T21" fmla="*/ 503 h 1006"/>
                <a:gd name="T22" fmla="*/ 998 w 1004"/>
                <a:gd name="T23" fmla="*/ 427 h 1006"/>
                <a:gd name="T24" fmla="*/ 981 w 1004"/>
                <a:gd name="T25" fmla="*/ 353 h 1006"/>
                <a:gd name="T26" fmla="*/ 955 w 1004"/>
                <a:gd name="T27" fmla="*/ 285 h 1006"/>
                <a:gd name="T28" fmla="*/ 919 w 1004"/>
                <a:gd name="T29" fmla="*/ 222 h 1006"/>
                <a:gd name="T30" fmla="*/ 874 w 1004"/>
                <a:gd name="T31" fmla="*/ 165 h 1006"/>
                <a:gd name="T32" fmla="*/ 822 w 1004"/>
                <a:gd name="T33" fmla="*/ 115 h 1006"/>
                <a:gd name="T34" fmla="*/ 762 w 1004"/>
                <a:gd name="T35" fmla="*/ 73 h 1006"/>
                <a:gd name="T36" fmla="*/ 698 w 1004"/>
                <a:gd name="T37" fmla="*/ 40 h 1006"/>
                <a:gd name="T38" fmla="*/ 628 w 1004"/>
                <a:gd name="T39" fmla="*/ 17 h 1006"/>
                <a:gd name="T40" fmla="*/ 554 w 1004"/>
                <a:gd name="T41" fmla="*/ 3 h 1006"/>
                <a:gd name="T42" fmla="*/ 476 w 1004"/>
                <a:gd name="T43" fmla="*/ 1 h 1006"/>
                <a:gd name="T44" fmla="*/ 401 w 1004"/>
                <a:gd name="T45" fmla="*/ 10 h 1006"/>
                <a:gd name="T46" fmla="*/ 330 w 1004"/>
                <a:gd name="T47" fmla="*/ 31 h 1006"/>
                <a:gd name="T48" fmla="*/ 262 w 1004"/>
                <a:gd name="T49" fmla="*/ 61 h 1006"/>
                <a:gd name="T50" fmla="*/ 202 w 1004"/>
                <a:gd name="T51" fmla="*/ 100 h 1006"/>
                <a:gd name="T52" fmla="*/ 147 w 1004"/>
                <a:gd name="T53" fmla="*/ 147 h 1006"/>
                <a:gd name="T54" fmla="*/ 100 w 1004"/>
                <a:gd name="T55" fmla="*/ 203 h 1006"/>
                <a:gd name="T56" fmla="*/ 60 w 1004"/>
                <a:gd name="T57" fmla="*/ 263 h 1006"/>
                <a:gd name="T58" fmla="*/ 30 w 1004"/>
                <a:gd name="T59" fmla="*/ 330 h 1006"/>
                <a:gd name="T60" fmla="*/ 10 w 1004"/>
                <a:gd name="T61" fmla="*/ 402 h 1006"/>
                <a:gd name="T62" fmla="*/ 1 w 1004"/>
                <a:gd name="T63" fmla="*/ 477 h 1006"/>
                <a:gd name="T64" fmla="*/ 3 w 1004"/>
                <a:gd name="T65" fmla="*/ 555 h 1006"/>
                <a:gd name="T66" fmla="*/ 16 w 1004"/>
                <a:gd name="T67" fmla="*/ 629 h 1006"/>
                <a:gd name="T68" fmla="*/ 39 w 1004"/>
                <a:gd name="T69" fmla="*/ 700 h 1006"/>
                <a:gd name="T70" fmla="*/ 72 w 1004"/>
                <a:gd name="T71" fmla="*/ 764 h 1006"/>
                <a:gd name="T72" fmla="*/ 115 w 1004"/>
                <a:gd name="T73" fmla="*/ 823 h 1006"/>
                <a:gd name="T74" fmla="*/ 165 w 1004"/>
                <a:gd name="T75" fmla="*/ 876 h 1006"/>
                <a:gd name="T76" fmla="*/ 221 w 1004"/>
                <a:gd name="T77" fmla="*/ 921 h 1006"/>
                <a:gd name="T78" fmla="*/ 284 w 1004"/>
                <a:gd name="T79" fmla="*/ 957 h 1006"/>
                <a:gd name="T80" fmla="*/ 353 w 1004"/>
                <a:gd name="T81" fmla="*/ 983 h 1006"/>
                <a:gd name="T82" fmla="*/ 426 w 1004"/>
                <a:gd name="T83" fmla="*/ 1000 h 1006"/>
                <a:gd name="T84" fmla="*/ 502 w 1004"/>
                <a:gd name="T85" fmla="*/ 10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4" h="1006">
                  <a:moveTo>
                    <a:pt x="502" y="1006"/>
                  </a:moveTo>
                  <a:lnTo>
                    <a:pt x="528" y="1005"/>
                  </a:lnTo>
                  <a:lnTo>
                    <a:pt x="554" y="1003"/>
                  </a:lnTo>
                  <a:lnTo>
                    <a:pt x="579" y="1000"/>
                  </a:lnTo>
                  <a:lnTo>
                    <a:pt x="604" y="996"/>
                  </a:lnTo>
                  <a:lnTo>
                    <a:pt x="628" y="990"/>
                  </a:lnTo>
                  <a:lnTo>
                    <a:pt x="652" y="983"/>
                  </a:lnTo>
                  <a:lnTo>
                    <a:pt x="675" y="976"/>
                  </a:lnTo>
                  <a:lnTo>
                    <a:pt x="698" y="967"/>
                  </a:lnTo>
                  <a:lnTo>
                    <a:pt x="720" y="957"/>
                  </a:lnTo>
                  <a:lnTo>
                    <a:pt x="741" y="946"/>
                  </a:lnTo>
                  <a:lnTo>
                    <a:pt x="762" y="934"/>
                  </a:lnTo>
                  <a:lnTo>
                    <a:pt x="783" y="921"/>
                  </a:lnTo>
                  <a:lnTo>
                    <a:pt x="803" y="907"/>
                  </a:lnTo>
                  <a:lnTo>
                    <a:pt x="822" y="892"/>
                  </a:lnTo>
                  <a:lnTo>
                    <a:pt x="840" y="876"/>
                  </a:lnTo>
                  <a:lnTo>
                    <a:pt x="858" y="859"/>
                  </a:lnTo>
                  <a:lnTo>
                    <a:pt x="874" y="841"/>
                  </a:lnTo>
                  <a:lnTo>
                    <a:pt x="890" y="823"/>
                  </a:lnTo>
                  <a:lnTo>
                    <a:pt x="905" y="804"/>
                  </a:lnTo>
                  <a:lnTo>
                    <a:pt x="919" y="785"/>
                  </a:lnTo>
                  <a:lnTo>
                    <a:pt x="932" y="764"/>
                  </a:lnTo>
                  <a:lnTo>
                    <a:pt x="944" y="743"/>
                  </a:lnTo>
                  <a:lnTo>
                    <a:pt x="955" y="722"/>
                  </a:lnTo>
                  <a:lnTo>
                    <a:pt x="965" y="700"/>
                  </a:lnTo>
                  <a:lnTo>
                    <a:pt x="974" y="676"/>
                  </a:lnTo>
                  <a:lnTo>
                    <a:pt x="981" y="653"/>
                  </a:lnTo>
                  <a:lnTo>
                    <a:pt x="988" y="629"/>
                  </a:lnTo>
                  <a:lnTo>
                    <a:pt x="994" y="605"/>
                  </a:lnTo>
                  <a:lnTo>
                    <a:pt x="998" y="580"/>
                  </a:lnTo>
                  <a:lnTo>
                    <a:pt x="1001" y="555"/>
                  </a:lnTo>
                  <a:lnTo>
                    <a:pt x="1003" y="530"/>
                  </a:lnTo>
                  <a:lnTo>
                    <a:pt x="1004" y="503"/>
                  </a:lnTo>
                  <a:lnTo>
                    <a:pt x="1003" y="477"/>
                  </a:lnTo>
                  <a:lnTo>
                    <a:pt x="1001" y="452"/>
                  </a:lnTo>
                  <a:lnTo>
                    <a:pt x="998" y="427"/>
                  </a:lnTo>
                  <a:lnTo>
                    <a:pt x="994" y="402"/>
                  </a:lnTo>
                  <a:lnTo>
                    <a:pt x="988" y="378"/>
                  </a:lnTo>
                  <a:lnTo>
                    <a:pt x="981" y="353"/>
                  </a:lnTo>
                  <a:lnTo>
                    <a:pt x="974" y="330"/>
                  </a:lnTo>
                  <a:lnTo>
                    <a:pt x="965" y="307"/>
                  </a:lnTo>
                  <a:lnTo>
                    <a:pt x="955" y="285"/>
                  </a:lnTo>
                  <a:lnTo>
                    <a:pt x="944" y="263"/>
                  </a:lnTo>
                  <a:lnTo>
                    <a:pt x="932" y="243"/>
                  </a:lnTo>
                  <a:lnTo>
                    <a:pt x="919" y="222"/>
                  </a:lnTo>
                  <a:lnTo>
                    <a:pt x="905" y="203"/>
                  </a:lnTo>
                  <a:lnTo>
                    <a:pt x="890" y="183"/>
                  </a:lnTo>
                  <a:lnTo>
                    <a:pt x="874" y="165"/>
                  </a:lnTo>
                  <a:lnTo>
                    <a:pt x="858" y="147"/>
                  </a:lnTo>
                  <a:lnTo>
                    <a:pt x="840" y="131"/>
                  </a:lnTo>
                  <a:lnTo>
                    <a:pt x="822" y="115"/>
                  </a:lnTo>
                  <a:lnTo>
                    <a:pt x="803" y="100"/>
                  </a:lnTo>
                  <a:lnTo>
                    <a:pt x="783" y="86"/>
                  </a:lnTo>
                  <a:lnTo>
                    <a:pt x="762" y="73"/>
                  </a:lnTo>
                  <a:lnTo>
                    <a:pt x="741" y="61"/>
                  </a:lnTo>
                  <a:lnTo>
                    <a:pt x="720" y="50"/>
                  </a:lnTo>
                  <a:lnTo>
                    <a:pt x="698" y="40"/>
                  </a:lnTo>
                  <a:lnTo>
                    <a:pt x="675" y="31"/>
                  </a:lnTo>
                  <a:lnTo>
                    <a:pt x="652" y="23"/>
                  </a:lnTo>
                  <a:lnTo>
                    <a:pt x="628" y="17"/>
                  </a:lnTo>
                  <a:lnTo>
                    <a:pt x="604" y="10"/>
                  </a:lnTo>
                  <a:lnTo>
                    <a:pt x="579" y="6"/>
                  </a:lnTo>
                  <a:lnTo>
                    <a:pt x="554" y="3"/>
                  </a:lnTo>
                  <a:lnTo>
                    <a:pt x="528" y="1"/>
                  </a:lnTo>
                  <a:lnTo>
                    <a:pt x="502" y="0"/>
                  </a:lnTo>
                  <a:lnTo>
                    <a:pt x="476" y="1"/>
                  </a:lnTo>
                  <a:lnTo>
                    <a:pt x="451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7"/>
                  </a:lnTo>
                  <a:lnTo>
                    <a:pt x="353" y="23"/>
                  </a:lnTo>
                  <a:lnTo>
                    <a:pt x="330" y="31"/>
                  </a:lnTo>
                  <a:lnTo>
                    <a:pt x="306" y="40"/>
                  </a:lnTo>
                  <a:lnTo>
                    <a:pt x="284" y="50"/>
                  </a:lnTo>
                  <a:lnTo>
                    <a:pt x="262" y="61"/>
                  </a:lnTo>
                  <a:lnTo>
                    <a:pt x="242" y="73"/>
                  </a:lnTo>
                  <a:lnTo>
                    <a:pt x="221" y="86"/>
                  </a:lnTo>
                  <a:lnTo>
                    <a:pt x="202" y="100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100" y="203"/>
                  </a:lnTo>
                  <a:lnTo>
                    <a:pt x="86" y="222"/>
                  </a:lnTo>
                  <a:lnTo>
                    <a:pt x="72" y="243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2" y="353"/>
                  </a:lnTo>
                  <a:lnTo>
                    <a:pt x="16" y="378"/>
                  </a:lnTo>
                  <a:lnTo>
                    <a:pt x="10" y="402"/>
                  </a:lnTo>
                  <a:lnTo>
                    <a:pt x="6" y="427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1" y="530"/>
                  </a:lnTo>
                  <a:lnTo>
                    <a:pt x="3" y="555"/>
                  </a:lnTo>
                  <a:lnTo>
                    <a:pt x="6" y="580"/>
                  </a:lnTo>
                  <a:lnTo>
                    <a:pt x="10" y="605"/>
                  </a:lnTo>
                  <a:lnTo>
                    <a:pt x="16" y="629"/>
                  </a:lnTo>
                  <a:lnTo>
                    <a:pt x="22" y="653"/>
                  </a:lnTo>
                  <a:lnTo>
                    <a:pt x="30" y="676"/>
                  </a:lnTo>
                  <a:lnTo>
                    <a:pt x="39" y="700"/>
                  </a:lnTo>
                  <a:lnTo>
                    <a:pt x="49" y="722"/>
                  </a:lnTo>
                  <a:lnTo>
                    <a:pt x="60" y="743"/>
                  </a:lnTo>
                  <a:lnTo>
                    <a:pt x="72" y="764"/>
                  </a:lnTo>
                  <a:lnTo>
                    <a:pt x="86" y="785"/>
                  </a:lnTo>
                  <a:lnTo>
                    <a:pt x="100" y="804"/>
                  </a:lnTo>
                  <a:lnTo>
                    <a:pt x="115" y="823"/>
                  </a:lnTo>
                  <a:lnTo>
                    <a:pt x="131" y="841"/>
                  </a:lnTo>
                  <a:lnTo>
                    <a:pt x="147" y="859"/>
                  </a:lnTo>
                  <a:lnTo>
                    <a:pt x="165" y="876"/>
                  </a:lnTo>
                  <a:lnTo>
                    <a:pt x="183" y="892"/>
                  </a:lnTo>
                  <a:lnTo>
                    <a:pt x="202" y="907"/>
                  </a:lnTo>
                  <a:lnTo>
                    <a:pt x="221" y="921"/>
                  </a:lnTo>
                  <a:lnTo>
                    <a:pt x="242" y="934"/>
                  </a:lnTo>
                  <a:lnTo>
                    <a:pt x="262" y="946"/>
                  </a:lnTo>
                  <a:lnTo>
                    <a:pt x="284" y="957"/>
                  </a:lnTo>
                  <a:lnTo>
                    <a:pt x="306" y="967"/>
                  </a:lnTo>
                  <a:lnTo>
                    <a:pt x="330" y="976"/>
                  </a:lnTo>
                  <a:lnTo>
                    <a:pt x="353" y="983"/>
                  </a:lnTo>
                  <a:lnTo>
                    <a:pt x="377" y="990"/>
                  </a:lnTo>
                  <a:lnTo>
                    <a:pt x="401" y="996"/>
                  </a:lnTo>
                  <a:lnTo>
                    <a:pt x="426" y="1000"/>
                  </a:lnTo>
                  <a:lnTo>
                    <a:pt x="451" y="1003"/>
                  </a:lnTo>
                  <a:lnTo>
                    <a:pt x="476" y="1005"/>
                  </a:lnTo>
                  <a:lnTo>
                    <a:pt x="502" y="10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13" name="îs1iḑé">
              <a:extLst>
                <a:ext uri="{FF2B5EF4-FFF2-40B4-BE49-F238E27FC236}">
                  <a16:creationId xmlns:a16="http://schemas.microsoft.com/office/drawing/2014/main" id="{C18E9890-A2D4-432C-B8F8-50F09A9AF341}"/>
                </a:ext>
              </a:extLst>
            </p:cNvPr>
            <p:cNvSpPr/>
            <p:nvPr/>
          </p:nvSpPr>
          <p:spPr bwMode="auto">
            <a:xfrm>
              <a:off x="3073466" y="1281549"/>
              <a:ext cx="38070" cy="38070"/>
            </a:xfrm>
            <a:custGeom>
              <a:avLst/>
              <a:gdLst>
                <a:gd name="T0" fmla="*/ 554 w 1004"/>
                <a:gd name="T1" fmla="*/ 1003 h 1006"/>
                <a:gd name="T2" fmla="*/ 628 w 1004"/>
                <a:gd name="T3" fmla="*/ 989 h 1006"/>
                <a:gd name="T4" fmla="*/ 698 w 1004"/>
                <a:gd name="T5" fmla="*/ 966 h 1006"/>
                <a:gd name="T6" fmla="*/ 762 w 1004"/>
                <a:gd name="T7" fmla="*/ 933 h 1006"/>
                <a:gd name="T8" fmla="*/ 822 w 1004"/>
                <a:gd name="T9" fmla="*/ 891 h 1006"/>
                <a:gd name="T10" fmla="*/ 874 w 1004"/>
                <a:gd name="T11" fmla="*/ 841 h 1006"/>
                <a:gd name="T12" fmla="*/ 919 w 1004"/>
                <a:gd name="T13" fmla="*/ 784 h 1006"/>
                <a:gd name="T14" fmla="*/ 955 w 1004"/>
                <a:gd name="T15" fmla="*/ 721 h 1006"/>
                <a:gd name="T16" fmla="*/ 981 w 1004"/>
                <a:gd name="T17" fmla="*/ 652 h 1006"/>
                <a:gd name="T18" fmla="*/ 998 w 1004"/>
                <a:gd name="T19" fmla="*/ 579 h 1006"/>
                <a:gd name="T20" fmla="*/ 1004 w 1004"/>
                <a:gd name="T21" fmla="*/ 503 h 1006"/>
                <a:gd name="T22" fmla="*/ 998 w 1004"/>
                <a:gd name="T23" fmla="*/ 426 h 1006"/>
                <a:gd name="T24" fmla="*/ 981 w 1004"/>
                <a:gd name="T25" fmla="*/ 353 h 1006"/>
                <a:gd name="T26" fmla="*/ 955 w 1004"/>
                <a:gd name="T27" fmla="*/ 284 h 1006"/>
                <a:gd name="T28" fmla="*/ 919 w 1004"/>
                <a:gd name="T29" fmla="*/ 221 h 1006"/>
                <a:gd name="T30" fmla="*/ 874 w 1004"/>
                <a:gd name="T31" fmla="*/ 165 h 1006"/>
                <a:gd name="T32" fmla="*/ 822 w 1004"/>
                <a:gd name="T33" fmla="*/ 114 h 1006"/>
                <a:gd name="T34" fmla="*/ 762 w 1004"/>
                <a:gd name="T35" fmla="*/ 72 h 1006"/>
                <a:gd name="T36" fmla="*/ 698 w 1004"/>
                <a:gd name="T37" fmla="*/ 39 h 1006"/>
                <a:gd name="T38" fmla="*/ 628 w 1004"/>
                <a:gd name="T39" fmla="*/ 16 h 1006"/>
                <a:gd name="T40" fmla="*/ 554 w 1004"/>
                <a:gd name="T41" fmla="*/ 3 h 1006"/>
                <a:gd name="T42" fmla="*/ 476 w 1004"/>
                <a:gd name="T43" fmla="*/ 1 h 1006"/>
                <a:gd name="T44" fmla="*/ 401 w 1004"/>
                <a:gd name="T45" fmla="*/ 10 h 1006"/>
                <a:gd name="T46" fmla="*/ 330 w 1004"/>
                <a:gd name="T47" fmla="*/ 30 h 1006"/>
                <a:gd name="T48" fmla="*/ 262 w 1004"/>
                <a:gd name="T49" fmla="*/ 60 h 1006"/>
                <a:gd name="T50" fmla="*/ 202 w 1004"/>
                <a:gd name="T51" fmla="*/ 99 h 1006"/>
                <a:gd name="T52" fmla="*/ 147 w 1004"/>
                <a:gd name="T53" fmla="*/ 146 h 1006"/>
                <a:gd name="T54" fmla="*/ 100 w 1004"/>
                <a:gd name="T55" fmla="*/ 202 h 1006"/>
                <a:gd name="T56" fmla="*/ 60 w 1004"/>
                <a:gd name="T57" fmla="*/ 263 h 1006"/>
                <a:gd name="T58" fmla="*/ 30 w 1004"/>
                <a:gd name="T59" fmla="*/ 330 h 1006"/>
                <a:gd name="T60" fmla="*/ 10 w 1004"/>
                <a:gd name="T61" fmla="*/ 401 h 1006"/>
                <a:gd name="T62" fmla="*/ 1 w 1004"/>
                <a:gd name="T63" fmla="*/ 476 h 1006"/>
                <a:gd name="T64" fmla="*/ 3 w 1004"/>
                <a:gd name="T65" fmla="*/ 554 h 1006"/>
                <a:gd name="T66" fmla="*/ 16 w 1004"/>
                <a:gd name="T67" fmla="*/ 628 h 1006"/>
                <a:gd name="T68" fmla="*/ 39 w 1004"/>
                <a:gd name="T69" fmla="*/ 699 h 1006"/>
                <a:gd name="T70" fmla="*/ 72 w 1004"/>
                <a:gd name="T71" fmla="*/ 763 h 1006"/>
                <a:gd name="T72" fmla="*/ 115 w 1004"/>
                <a:gd name="T73" fmla="*/ 822 h 1006"/>
                <a:gd name="T74" fmla="*/ 165 w 1004"/>
                <a:gd name="T75" fmla="*/ 875 h 1006"/>
                <a:gd name="T76" fmla="*/ 221 w 1004"/>
                <a:gd name="T77" fmla="*/ 920 h 1006"/>
                <a:gd name="T78" fmla="*/ 284 w 1004"/>
                <a:gd name="T79" fmla="*/ 956 h 1006"/>
                <a:gd name="T80" fmla="*/ 353 w 1004"/>
                <a:gd name="T81" fmla="*/ 983 h 1006"/>
                <a:gd name="T82" fmla="*/ 426 w 1004"/>
                <a:gd name="T83" fmla="*/ 999 h 1006"/>
                <a:gd name="T84" fmla="*/ 502 w 1004"/>
                <a:gd name="T85" fmla="*/ 10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4" h="1006">
                  <a:moveTo>
                    <a:pt x="502" y="1006"/>
                  </a:moveTo>
                  <a:lnTo>
                    <a:pt x="528" y="1005"/>
                  </a:lnTo>
                  <a:lnTo>
                    <a:pt x="554" y="1003"/>
                  </a:lnTo>
                  <a:lnTo>
                    <a:pt x="579" y="999"/>
                  </a:lnTo>
                  <a:lnTo>
                    <a:pt x="604" y="995"/>
                  </a:lnTo>
                  <a:lnTo>
                    <a:pt x="628" y="989"/>
                  </a:lnTo>
                  <a:lnTo>
                    <a:pt x="652" y="983"/>
                  </a:lnTo>
                  <a:lnTo>
                    <a:pt x="675" y="975"/>
                  </a:lnTo>
                  <a:lnTo>
                    <a:pt x="698" y="966"/>
                  </a:lnTo>
                  <a:lnTo>
                    <a:pt x="720" y="956"/>
                  </a:lnTo>
                  <a:lnTo>
                    <a:pt x="741" y="945"/>
                  </a:lnTo>
                  <a:lnTo>
                    <a:pt x="762" y="933"/>
                  </a:lnTo>
                  <a:lnTo>
                    <a:pt x="783" y="920"/>
                  </a:lnTo>
                  <a:lnTo>
                    <a:pt x="803" y="906"/>
                  </a:lnTo>
                  <a:lnTo>
                    <a:pt x="822" y="891"/>
                  </a:lnTo>
                  <a:lnTo>
                    <a:pt x="840" y="875"/>
                  </a:lnTo>
                  <a:lnTo>
                    <a:pt x="858" y="859"/>
                  </a:lnTo>
                  <a:lnTo>
                    <a:pt x="874" y="841"/>
                  </a:lnTo>
                  <a:lnTo>
                    <a:pt x="890" y="822"/>
                  </a:lnTo>
                  <a:lnTo>
                    <a:pt x="905" y="803"/>
                  </a:lnTo>
                  <a:lnTo>
                    <a:pt x="919" y="784"/>
                  </a:lnTo>
                  <a:lnTo>
                    <a:pt x="932" y="763"/>
                  </a:lnTo>
                  <a:lnTo>
                    <a:pt x="944" y="743"/>
                  </a:lnTo>
                  <a:lnTo>
                    <a:pt x="955" y="721"/>
                  </a:lnTo>
                  <a:lnTo>
                    <a:pt x="965" y="699"/>
                  </a:lnTo>
                  <a:lnTo>
                    <a:pt x="974" y="676"/>
                  </a:lnTo>
                  <a:lnTo>
                    <a:pt x="981" y="652"/>
                  </a:lnTo>
                  <a:lnTo>
                    <a:pt x="988" y="628"/>
                  </a:lnTo>
                  <a:lnTo>
                    <a:pt x="994" y="604"/>
                  </a:lnTo>
                  <a:lnTo>
                    <a:pt x="998" y="579"/>
                  </a:lnTo>
                  <a:lnTo>
                    <a:pt x="1001" y="554"/>
                  </a:lnTo>
                  <a:lnTo>
                    <a:pt x="1003" y="529"/>
                  </a:lnTo>
                  <a:lnTo>
                    <a:pt x="1004" y="503"/>
                  </a:lnTo>
                  <a:lnTo>
                    <a:pt x="1003" y="476"/>
                  </a:lnTo>
                  <a:lnTo>
                    <a:pt x="1001" y="451"/>
                  </a:lnTo>
                  <a:lnTo>
                    <a:pt x="998" y="426"/>
                  </a:lnTo>
                  <a:lnTo>
                    <a:pt x="994" y="401"/>
                  </a:lnTo>
                  <a:lnTo>
                    <a:pt x="988" y="377"/>
                  </a:lnTo>
                  <a:lnTo>
                    <a:pt x="981" y="353"/>
                  </a:lnTo>
                  <a:lnTo>
                    <a:pt x="974" y="330"/>
                  </a:lnTo>
                  <a:lnTo>
                    <a:pt x="965" y="306"/>
                  </a:lnTo>
                  <a:lnTo>
                    <a:pt x="955" y="284"/>
                  </a:lnTo>
                  <a:lnTo>
                    <a:pt x="944" y="263"/>
                  </a:lnTo>
                  <a:lnTo>
                    <a:pt x="932" y="242"/>
                  </a:lnTo>
                  <a:lnTo>
                    <a:pt x="919" y="221"/>
                  </a:lnTo>
                  <a:lnTo>
                    <a:pt x="905" y="202"/>
                  </a:lnTo>
                  <a:lnTo>
                    <a:pt x="890" y="183"/>
                  </a:lnTo>
                  <a:lnTo>
                    <a:pt x="874" y="165"/>
                  </a:lnTo>
                  <a:lnTo>
                    <a:pt x="858" y="146"/>
                  </a:lnTo>
                  <a:lnTo>
                    <a:pt x="840" y="130"/>
                  </a:lnTo>
                  <a:lnTo>
                    <a:pt x="822" y="114"/>
                  </a:lnTo>
                  <a:lnTo>
                    <a:pt x="803" y="99"/>
                  </a:lnTo>
                  <a:lnTo>
                    <a:pt x="783" y="85"/>
                  </a:lnTo>
                  <a:lnTo>
                    <a:pt x="762" y="72"/>
                  </a:lnTo>
                  <a:lnTo>
                    <a:pt x="741" y="60"/>
                  </a:lnTo>
                  <a:lnTo>
                    <a:pt x="720" y="49"/>
                  </a:lnTo>
                  <a:lnTo>
                    <a:pt x="698" y="39"/>
                  </a:lnTo>
                  <a:lnTo>
                    <a:pt x="675" y="30"/>
                  </a:lnTo>
                  <a:lnTo>
                    <a:pt x="652" y="22"/>
                  </a:lnTo>
                  <a:lnTo>
                    <a:pt x="628" y="16"/>
                  </a:lnTo>
                  <a:lnTo>
                    <a:pt x="604" y="10"/>
                  </a:lnTo>
                  <a:lnTo>
                    <a:pt x="579" y="6"/>
                  </a:lnTo>
                  <a:lnTo>
                    <a:pt x="554" y="3"/>
                  </a:lnTo>
                  <a:lnTo>
                    <a:pt x="528" y="1"/>
                  </a:lnTo>
                  <a:lnTo>
                    <a:pt x="502" y="0"/>
                  </a:lnTo>
                  <a:lnTo>
                    <a:pt x="476" y="1"/>
                  </a:lnTo>
                  <a:lnTo>
                    <a:pt x="451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6" y="39"/>
                  </a:lnTo>
                  <a:lnTo>
                    <a:pt x="284" y="49"/>
                  </a:lnTo>
                  <a:lnTo>
                    <a:pt x="262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4"/>
                  </a:lnTo>
                  <a:lnTo>
                    <a:pt x="165" y="130"/>
                  </a:lnTo>
                  <a:lnTo>
                    <a:pt x="147" y="146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100" y="202"/>
                  </a:lnTo>
                  <a:lnTo>
                    <a:pt x="86" y="221"/>
                  </a:lnTo>
                  <a:lnTo>
                    <a:pt x="72" y="242"/>
                  </a:lnTo>
                  <a:lnTo>
                    <a:pt x="60" y="263"/>
                  </a:lnTo>
                  <a:lnTo>
                    <a:pt x="49" y="284"/>
                  </a:lnTo>
                  <a:lnTo>
                    <a:pt x="39" y="306"/>
                  </a:lnTo>
                  <a:lnTo>
                    <a:pt x="30" y="330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1"/>
                  </a:lnTo>
                  <a:lnTo>
                    <a:pt x="1" y="476"/>
                  </a:lnTo>
                  <a:lnTo>
                    <a:pt x="0" y="503"/>
                  </a:lnTo>
                  <a:lnTo>
                    <a:pt x="1" y="529"/>
                  </a:lnTo>
                  <a:lnTo>
                    <a:pt x="3" y="554"/>
                  </a:lnTo>
                  <a:lnTo>
                    <a:pt x="6" y="579"/>
                  </a:lnTo>
                  <a:lnTo>
                    <a:pt x="10" y="604"/>
                  </a:lnTo>
                  <a:lnTo>
                    <a:pt x="16" y="628"/>
                  </a:lnTo>
                  <a:lnTo>
                    <a:pt x="22" y="652"/>
                  </a:lnTo>
                  <a:lnTo>
                    <a:pt x="30" y="676"/>
                  </a:lnTo>
                  <a:lnTo>
                    <a:pt x="39" y="699"/>
                  </a:lnTo>
                  <a:lnTo>
                    <a:pt x="49" y="721"/>
                  </a:lnTo>
                  <a:lnTo>
                    <a:pt x="60" y="743"/>
                  </a:lnTo>
                  <a:lnTo>
                    <a:pt x="72" y="763"/>
                  </a:lnTo>
                  <a:lnTo>
                    <a:pt x="86" y="784"/>
                  </a:lnTo>
                  <a:lnTo>
                    <a:pt x="100" y="803"/>
                  </a:lnTo>
                  <a:lnTo>
                    <a:pt x="115" y="822"/>
                  </a:lnTo>
                  <a:lnTo>
                    <a:pt x="131" y="841"/>
                  </a:lnTo>
                  <a:lnTo>
                    <a:pt x="147" y="859"/>
                  </a:lnTo>
                  <a:lnTo>
                    <a:pt x="165" y="875"/>
                  </a:lnTo>
                  <a:lnTo>
                    <a:pt x="183" y="891"/>
                  </a:lnTo>
                  <a:lnTo>
                    <a:pt x="202" y="906"/>
                  </a:lnTo>
                  <a:lnTo>
                    <a:pt x="221" y="920"/>
                  </a:lnTo>
                  <a:lnTo>
                    <a:pt x="242" y="933"/>
                  </a:lnTo>
                  <a:lnTo>
                    <a:pt x="262" y="945"/>
                  </a:lnTo>
                  <a:lnTo>
                    <a:pt x="284" y="956"/>
                  </a:lnTo>
                  <a:lnTo>
                    <a:pt x="306" y="966"/>
                  </a:lnTo>
                  <a:lnTo>
                    <a:pt x="330" y="975"/>
                  </a:lnTo>
                  <a:lnTo>
                    <a:pt x="353" y="983"/>
                  </a:lnTo>
                  <a:lnTo>
                    <a:pt x="377" y="989"/>
                  </a:lnTo>
                  <a:lnTo>
                    <a:pt x="401" y="995"/>
                  </a:lnTo>
                  <a:lnTo>
                    <a:pt x="426" y="999"/>
                  </a:lnTo>
                  <a:lnTo>
                    <a:pt x="451" y="1003"/>
                  </a:lnTo>
                  <a:lnTo>
                    <a:pt x="476" y="1005"/>
                  </a:lnTo>
                  <a:lnTo>
                    <a:pt x="502" y="10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14" name="íšḷiḋè">
              <a:extLst>
                <a:ext uri="{FF2B5EF4-FFF2-40B4-BE49-F238E27FC236}">
                  <a16:creationId xmlns:a16="http://schemas.microsoft.com/office/drawing/2014/main" id="{98C43AD4-A11A-4B97-88CE-0D723E32DEAF}"/>
                </a:ext>
              </a:extLst>
            </p:cNvPr>
            <p:cNvSpPr/>
            <p:nvPr/>
          </p:nvSpPr>
          <p:spPr bwMode="auto">
            <a:xfrm>
              <a:off x="2211987" y="1558913"/>
              <a:ext cx="614748" cy="613338"/>
            </a:xfrm>
            <a:custGeom>
              <a:avLst/>
              <a:gdLst>
                <a:gd name="T0" fmla="*/ 3529 w 16132"/>
                <a:gd name="T1" fmla="*/ 12574 h 16095"/>
                <a:gd name="T2" fmla="*/ 1156 w 16132"/>
                <a:gd name="T3" fmla="*/ 9639 h 16095"/>
                <a:gd name="T4" fmla="*/ 3459 w 16132"/>
                <a:gd name="T5" fmla="*/ 6841 h 16095"/>
                <a:gd name="T6" fmla="*/ 6612 w 16132"/>
                <a:gd name="T7" fmla="*/ 4902 h 16095"/>
                <a:gd name="T8" fmla="*/ 9339 w 16132"/>
                <a:gd name="T9" fmla="*/ 2534 h 16095"/>
                <a:gd name="T10" fmla="*/ 11655 w 16132"/>
                <a:gd name="T11" fmla="*/ 2575 h 16095"/>
                <a:gd name="T12" fmla="*/ 14497 w 16132"/>
                <a:gd name="T13" fmla="*/ 5410 h 16095"/>
                <a:gd name="T14" fmla="*/ 13598 w 16132"/>
                <a:gd name="T15" fmla="*/ 8480 h 16095"/>
                <a:gd name="T16" fmla="*/ 10587 w 16132"/>
                <a:gd name="T17" fmla="*/ 10562 h 16095"/>
                <a:gd name="T18" fmla="*/ 7575 w 16132"/>
                <a:gd name="T19" fmla="*/ 12645 h 16095"/>
                <a:gd name="T20" fmla="*/ 10795 w 16132"/>
                <a:gd name="T21" fmla="*/ 295 h 16095"/>
                <a:gd name="T22" fmla="*/ 10560 w 16132"/>
                <a:gd name="T23" fmla="*/ 121 h 16095"/>
                <a:gd name="T24" fmla="*/ 10290 w 16132"/>
                <a:gd name="T25" fmla="*/ 22 h 16095"/>
                <a:gd name="T26" fmla="*/ 10002 w 16132"/>
                <a:gd name="T27" fmla="*/ 3 h 16095"/>
                <a:gd name="T28" fmla="*/ 9708 w 16132"/>
                <a:gd name="T29" fmla="*/ 71 h 16095"/>
                <a:gd name="T30" fmla="*/ 9445 w 16132"/>
                <a:gd name="T31" fmla="*/ 226 h 16095"/>
                <a:gd name="T32" fmla="*/ 9253 w 16132"/>
                <a:gd name="T33" fmla="*/ 434 h 16095"/>
                <a:gd name="T34" fmla="*/ 9129 w 16132"/>
                <a:gd name="T35" fmla="*/ 679 h 16095"/>
                <a:gd name="T36" fmla="*/ 8916 w 16132"/>
                <a:gd name="T37" fmla="*/ 1244 h 16095"/>
                <a:gd name="T38" fmla="*/ 8610 w 16132"/>
                <a:gd name="T39" fmla="*/ 1810 h 16095"/>
                <a:gd name="T40" fmla="*/ 8220 w 16132"/>
                <a:gd name="T41" fmla="*/ 2338 h 16095"/>
                <a:gd name="T42" fmla="*/ 7686 w 16132"/>
                <a:gd name="T43" fmla="*/ 2886 h 16095"/>
                <a:gd name="T44" fmla="*/ 6944 w 16132"/>
                <a:gd name="T45" fmla="*/ 3480 h 16095"/>
                <a:gd name="T46" fmla="*/ 6121 w 16132"/>
                <a:gd name="T47" fmla="*/ 4023 h 16095"/>
                <a:gd name="T48" fmla="*/ 4611 w 16132"/>
                <a:gd name="T49" fmla="*/ 4912 h 16095"/>
                <a:gd name="T50" fmla="*/ 3435 w 16132"/>
                <a:gd name="T51" fmla="*/ 5632 h 16095"/>
                <a:gd name="T52" fmla="*/ 2514 w 16132"/>
                <a:gd name="T53" fmla="*/ 6295 h 16095"/>
                <a:gd name="T54" fmla="*/ 1677 w 16132"/>
                <a:gd name="T55" fmla="*/ 7047 h 16095"/>
                <a:gd name="T56" fmla="*/ 1059 w 16132"/>
                <a:gd name="T57" fmla="*/ 7768 h 16095"/>
                <a:gd name="T58" fmla="*/ 561 w 16132"/>
                <a:gd name="T59" fmla="*/ 8540 h 16095"/>
                <a:gd name="T60" fmla="*/ 178 w 16132"/>
                <a:gd name="T61" fmla="*/ 9371 h 16095"/>
                <a:gd name="T62" fmla="*/ 8 w 16132"/>
                <a:gd name="T63" fmla="*/ 9931 h 16095"/>
                <a:gd name="T64" fmla="*/ 16 w 16132"/>
                <a:gd name="T65" fmla="*/ 10235 h 16095"/>
                <a:gd name="T66" fmla="*/ 113 w 16132"/>
                <a:gd name="T67" fmla="*/ 10522 h 16095"/>
                <a:gd name="T68" fmla="*/ 295 w 16132"/>
                <a:gd name="T69" fmla="*/ 10771 h 16095"/>
                <a:gd name="T70" fmla="*/ 5543 w 16132"/>
                <a:gd name="T71" fmla="*/ 15959 h 16095"/>
                <a:gd name="T72" fmla="*/ 5811 w 16132"/>
                <a:gd name="T73" fmla="*/ 16066 h 16095"/>
                <a:gd name="T74" fmla="*/ 6098 w 16132"/>
                <a:gd name="T75" fmla="*/ 16094 h 16095"/>
                <a:gd name="T76" fmla="*/ 6391 w 16132"/>
                <a:gd name="T77" fmla="*/ 16036 h 16095"/>
                <a:gd name="T78" fmla="*/ 6660 w 16132"/>
                <a:gd name="T79" fmla="*/ 15890 h 16095"/>
                <a:gd name="T80" fmla="*/ 6861 w 16132"/>
                <a:gd name="T81" fmla="*/ 15686 h 16095"/>
                <a:gd name="T82" fmla="*/ 6992 w 16132"/>
                <a:gd name="T83" fmla="*/ 15445 h 16095"/>
                <a:gd name="T84" fmla="*/ 7187 w 16132"/>
                <a:gd name="T85" fmla="*/ 14915 h 16095"/>
                <a:gd name="T86" fmla="*/ 7483 w 16132"/>
                <a:gd name="T87" fmla="*/ 14346 h 16095"/>
                <a:gd name="T88" fmla="*/ 7864 w 16132"/>
                <a:gd name="T89" fmla="*/ 13814 h 16095"/>
                <a:gd name="T90" fmla="*/ 8370 w 16132"/>
                <a:gd name="T91" fmla="*/ 13278 h 16095"/>
                <a:gd name="T92" fmla="*/ 9101 w 16132"/>
                <a:gd name="T93" fmla="*/ 12678 h 16095"/>
                <a:gd name="T94" fmla="*/ 9917 w 16132"/>
                <a:gd name="T95" fmla="*/ 12131 h 16095"/>
                <a:gd name="T96" fmla="*/ 11308 w 16132"/>
                <a:gd name="T97" fmla="*/ 11309 h 16095"/>
                <a:gd name="T98" fmla="*/ 12591 w 16132"/>
                <a:gd name="T99" fmla="*/ 10530 h 16095"/>
                <a:gd name="T100" fmla="*/ 13519 w 16132"/>
                <a:gd name="T101" fmla="*/ 9876 h 16095"/>
                <a:gd name="T102" fmla="*/ 14379 w 16132"/>
                <a:gd name="T103" fmla="*/ 9125 h 16095"/>
                <a:gd name="T104" fmla="*/ 15011 w 16132"/>
                <a:gd name="T105" fmla="*/ 8410 h 16095"/>
                <a:gd name="T106" fmla="*/ 15522 w 16132"/>
                <a:gd name="T107" fmla="*/ 7643 h 16095"/>
                <a:gd name="T108" fmla="*/ 15916 w 16132"/>
                <a:gd name="T109" fmla="*/ 6818 h 16095"/>
                <a:gd name="T110" fmla="*/ 16119 w 16132"/>
                <a:gd name="T111" fmla="*/ 6198 h 16095"/>
                <a:gd name="T112" fmla="*/ 16122 w 16132"/>
                <a:gd name="T113" fmla="*/ 5893 h 16095"/>
                <a:gd name="T114" fmla="*/ 16034 w 16132"/>
                <a:gd name="T115" fmla="*/ 5603 h 16095"/>
                <a:gd name="T116" fmla="*/ 15861 w 16132"/>
                <a:gd name="T117" fmla="*/ 5350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132" h="16095">
                  <a:moveTo>
                    <a:pt x="6050" y="15089"/>
                  </a:moveTo>
                  <a:lnTo>
                    <a:pt x="5736" y="14776"/>
                  </a:lnTo>
                  <a:lnTo>
                    <a:pt x="5422" y="14463"/>
                  </a:lnTo>
                  <a:lnTo>
                    <a:pt x="5108" y="14150"/>
                  </a:lnTo>
                  <a:lnTo>
                    <a:pt x="4792" y="13835"/>
                  </a:lnTo>
                  <a:lnTo>
                    <a:pt x="4477" y="13520"/>
                  </a:lnTo>
                  <a:lnTo>
                    <a:pt x="4161" y="13205"/>
                  </a:lnTo>
                  <a:lnTo>
                    <a:pt x="3844" y="12889"/>
                  </a:lnTo>
                  <a:lnTo>
                    <a:pt x="3529" y="12574"/>
                  </a:lnTo>
                  <a:lnTo>
                    <a:pt x="3213" y="12258"/>
                  </a:lnTo>
                  <a:lnTo>
                    <a:pt x="2897" y="11943"/>
                  </a:lnTo>
                  <a:lnTo>
                    <a:pt x="2581" y="11629"/>
                  </a:lnTo>
                  <a:lnTo>
                    <a:pt x="2266" y="11314"/>
                  </a:lnTo>
                  <a:lnTo>
                    <a:pt x="1950" y="10999"/>
                  </a:lnTo>
                  <a:lnTo>
                    <a:pt x="1635" y="10685"/>
                  </a:lnTo>
                  <a:lnTo>
                    <a:pt x="1322" y="10372"/>
                  </a:lnTo>
                  <a:lnTo>
                    <a:pt x="1008" y="10059"/>
                  </a:lnTo>
                  <a:lnTo>
                    <a:pt x="1156" y="9639"/>
                  </a:lnTo>
                  <a:lnTo>
                    <a:pt x="1330" y="9246"/>
                  </a:lnTo>
                  <a:lnTo>
                    <a:pt x="1529" y="8877"/>
                  </a:lnTo>
                  <a:lnTo>
                    <a:pt x="1750" y="8531"/>
                  </a:lnTo>
                  <a:lnTo>
                    <a:pt x="1993" y="8206"/>
                  </a:lnTo>
                  <a:lnTo>
                    <a:pt x="2254" y="7902"/>
                  </a:lnTo>
                  <a:lnTo>
                    <a:pt x="2534" y="7615"/>
                  </a:lnTo>
                  <a:lnTo>
                    <a:pt x="2829" y="7343"/>
                  </a:lnTo>
                  <a:lnTo>
                    <a:pt x="3138" y="7086"/>
                  </a:lnTo>
                  <a:lnTo>
                    <a:pt x="3459" y="6841"/>
                  </a:lnTo>
                  <a:lnTo>
                    <a:pt x="3791" y="6607"/>
                  </a:lnTo>
                  <a:lnTo>
                    <a:pt x="4131" y="6382"/>
                  </a:lnTo>
                  <a:lnTo>
                    <a:pt x="4479" y="6162"/>
                  </a:lnTo>
                  <a:lnTo>
                    <a:pt x="4832" y="5950"/>
                  </a:lnTo>
                  <a:lnTo>
                    <a:pt x="5187" y="5740"/>
                  </a:lnTo>
                  <a:lnTo>
                    <a:pt x="5545" y="5533"/>
                  </a:lnTo>
                  <a:lnTo>
                    <a:pt x="5903" y="5324"/>
                  </a:lnTo>
                  <a:lnTo>
                    <a:pt x="6259" y="5115"/>
                  </a:lnTo>
                  <a:lnTo>
                    <a:pt x="6612" y="4902"/>
                  </a:lnTo>
                  <a:lnTo>
                    <a:pt x="6960" y="4684"/>
                  </a:lnTo>
                  <a:lnTo>
                    <a:pt x="7300" y="4458"/>
                  </a:lnTo>
                  <a:lnTo>
                    <a:pt x="7631" y="4224"/>
                  </a:lnTo>
                  <a:lnTo>
                    <a:pt x="7953" y="3979"/>
                  </a:lnTo>
                  <a:lnTo>
                    <a:pt x="8262" y="3722"/>
                  </a:lnTo>
                  <a:lnTo>
                    <a:pt x="8557" y="3450"/>
                  </a:lnTo>
                  <a:lnTo>
                    <a:pt x="8835" y="3164"/>
                  </a:lnTo>
                  <a:lnTo>
                    <a:pt x="9097" y="2858"/>
                  </a:lnTo>
                  <a:lnTo>
                    <a:pt x="9339" y="2534"/>
                  </a:lnTo>
                  <a:lnTo>
                    <a:pt x="9561" y="2188"/>
                  </a:lnTo>
                  <a:lnTo>
                    <a:pt x="9760" y="1820"/>
                  </a:lnTo>
                  <a:lnTo>
                    <a:pt x="9934" y="1425"/>
                  </a:lnTo>
                  <a:lnTo>
                    <a:pt x="10083" y="1006"/>
                  </a:lnTo>
                  <a:lnTo>
                    <a:pt x="10396" y="1319"/>
                  </a:lnTo>
                  <a:lnTo>
                    <a:pt x="10710" y="1632"/>
                  </a:lnTo>
                  <a:lnTo>
                    <a:pt x="11024" y="1945"/>
                  </a:lnTo>
                  <a:lnTo>
                    <a:pt x="11340" y="2260"/>
                  </a:lnTo>
                  <a:lnTo>
                    <a:pt x="11655" y="2575"/>
                  </a:lnTo>
                  <a:lnTo>
                    <a:pt x="11971" y="2890"/>
                  </a:lnTo>
                  <a:lnTo>
                    <a:pt x="12288" y="3205"/>
                  </a:lnTo>
                  <a:lnTo>
                    <a:pt x="12603" y="3521"/>
                  </a:lnTo>
                  <a:lnTo>
                    <a:pt x="12920" y="3836"/>
                  </a:lnTo>
                  <a:lnTo>
                    <a:pt x="13235" y="4152"/>
                  </a:lnTo>
                  <a:lnTo>
                    <a:pt x="13551" y="4466"/>
                  </a:lnTo>
                  <a:lnTo>
                    <a:pt x="13866" y="4781"/>
                  </a:lnTo>
                  <a:lnTo>
                    <a:pt x="14182" y="5095"/>
                  </a:lnTo>
                  <a:lnTo>
                    <a:pt x="14497" y="5410"/>
                  </a:lnTo>
                  <a:lnTo>
                    <a:pt x="14810" y="5723"/>
                  </a:lnTo>
                  <a:lnTo>
                    <a:pt x="15124" y="6036"/>
                  </a:lnTo>
                  <a:lnTo>
                    <a:pt x="14977" y="6455"/>
                  </a:lnTo>
                  <a:lnTo>
                    <a:pt x="14802" y="6848"/>
                  </a:lnTo>
                  <a:lnTo>
                    <a:pt x="14603" y="7218"/>
                  </a:lnTo>
                  <a:lnTo>
                    <a:pt x="14382" y="7564"/>
                  </a:lnTo>
                  <a:lnTo>
                    <a:pt x="14139" y="7888"/>
                  </a:lnTo>
                  <a:lnTo>
                    <a:pt x="13878" y="8192"/>
                  </a:lnTo>
                  <a:lnTo>
                    <a:pt x="13598" y="8480"/>
                  </a:lnTo>
                  <a:lnTo>
                    <a:pt x="13303" y="8752"/>
                  </a:lnTo>
                  <a:lnTo>
                    <a:pt x="12994" y="9008"/>
                  </a:lnTo>
                  <a:lnTo>
                    <a:pt x="12673" y="9254"/>
                  </a:lnTo>
                  <a:lnTo>
                    <a:pt x="12341" y="9488"/>
                  </a:lnTo>
                  <a:lnTo>
                    <a:pt x="12001" y="9713"/>
                  </a:lnTo>
                  <a:lnTo>
                    <a:pt x="11653" y="9932"/>
                  </a:lnTo>
                  <a:lnTo>
                    <a:pt x="11300" y="10145"/>
                  </a:lnTo>
                  <a:lnTo>
                    <a:pt x="10945" y="10354"/>
                  </a:lnTo>
                  <a:lnTo>
                    <a:pt x="10587" y="10562"/>
                  </a:lnTo>
                  <a:lnTo>
                    <a:pt x="10229" y="10770"/>
                  </a:lnTo>
                  <a:lnTo>
                    <a:pt x="9873" y="10980"/>
                  </a:lnTo>
                  <a:lnTo>
                    <a:pt x="9520" y="11192"/>
                  </a:lnTo>
                  <a:lnTo>
                    <a:pt x="9173" y="11410"/>
                  </a:lnTo>
                  <a:lnTo>
                    <a:pt x="8832" y="11637"/>
                  </a:lnTo>
                  <a:lnTo>
                    <a:pt x="8501" y="11871"/>
                  </a:lnTo>
                  <a:lnTo>
                    <a:pt x="8179" y="12116"/>
                  </a:lnTo>
                  <a:lnTo>
                    <a:pt x="7870" y="12373"/>
                  </a:lnTo>
                  <a:lnTo>
                    <a:pt x="7575" y="12645"/>
                  </a:lnTo>
                  <a:lnTo>
                    <a:pt x="7297" y="12931"/>
                  </a:lnTo>
                  <a:lnTo>
                    <a:pt x="7035" y="13237"/>
                  </a:lnTo>
                  <a:lnTo>
                    <a:pt x="6793" y="13561"/>
                  </a:lnTo>
                  <a:lnTo>
                    <a:pt x="6571" y="13907"/>
                  </a:lnTo>
                  <a:lnTo>
                    <a:pt x="6372" y="14275"/>
                  </a:lnTo>
                  <a:lnTo>
                    <a:pt x="6198" y="14670"/>
                  </a:lnTo>
                  <a:lnTo>
                    <a:pt x="6050" y="15089"/>
                  </a:lnTo>
                  <a:close/>
                  <a:moveTo>
                    <a:pt x="15837" y="5324"/>
                  </a:moveTo>
                  <a:lnTo>
                    <a:pt x="10795" y="295"/>
                  </a:lnTo>
                  <a:lnTo>
                    <a:pt x="10772" y="272"/>
                  </a:lnTo>
                  <a:lnTo>
                    <a:pt x="10747" y="249"/>
                  </a:lnTo>
                  <a:lnTo>
                    <a:pt x="10723" y="228"/>
                  </a:lnTo>
                  <a:lnTo>
                    <a:pt x="10697" y="208"/>
                  </a:lnTo>
                  <a:lnTo>
                    <a:pt x="10670" y="189"/>
                  </a:lnTo>
                  <a:lnTo>
                    <a:pt x="10644" y="170"/>
                  </a:lnTo>
                  <a:lnTo>
                    <a:pt x="10617" y="153"/>
                  </a:lnTo>
                  <a:lnTo>
                    <a:pt x="10589" y="136"/>
                  </a:lnTo>
                  <a:lnTo>
                    <a:pt x="10560" y="121"/>
                  </a:lnTo>
                  <a:lnTo>
                    <a:pt x="10532" y="106"/>
                  </a:lnTo>
                  <a:lnTo>
                    <a:pt x="10503" y="92"/>
                  </a:lnTo>
                  <a:lnTo>
                    <a:pt x="10474" y="78"/>
                  </a:lnTo>
                  <a:lnTo>
                    <a:pt x="10444" y="66"/>
                  </a:lnTo>
                  <a:lnTo>
                    <a:pt x="10414" y="56"/>
                  </a:lnTo>
                  <a:lnTo>
                    <a:pt x="10384" y="46"/>
                  </a:lnTo>
                  <a:lnTo>
                    <a:pt x="10353" y="37"/>
                  </a:lnTo>
                  <a:lnTo>
                    <a:pt x="10321" y="29"/>
                  </a:lnTo>
                  <a:lnTo>
                    <a:pt x="10290" y="22"/>
                  </a:lnTo>
                  <a:lnTo>
                    <a:pt x="10259" y="16"/>
                  </a:lnTo>
                  <a:lnTo>
                    <a:pt x="10228" y="10"/>
                  </a:lnTo>
                  <a:lnTo>
                    <a:pt x="10195" y="6"/>
                  </a:lnTo>
                  <a:lnTo>
                    <a:pt x="10163" y="3"/>
                  </a:lnTo>
                  <a:lnTo>
                    <a:pt x="10131" y="1"/>
                  </a:lnTo>
                  <a:lnTo>
                    <a:pt x="10099" y="0"/>
                  </a:lnTo>
                  <a:lnTo>
                    <a:pt x="10066" y="0"/>
                  </a:lnTo>
                  <a:lnTo>
                    <a:pt x="10034" y="1"/>
                  </a:lnTo>
                  <a:lnTo>
                    <a:pt x="10002" y="3"/>
                  </a:lnTo>
                  <a:lnTo>
                    <a:pt x="9970" y="6"/>
                  </a:lnTo>
                  <a:lnTo>
                    <a:pt x="9937" y="11"/>
                  </a:lnTo>
                  <a:lnTo>
                    <a:pt x="9905" y="16"/>
                  </a:lnTo>
                  <a:lnTo>
                    <a:pt x="9873" y="22"/>
                  </a:lnTo>
                  <a:lnTo>
                    <a:pt x="9841" y="29"/>
                  </a:lnTo>
                  <a:lnTo>
                    <a:pt x="9806" y="38"/>
                  </a:lnTo>
                  <a:lnTo>
                    <a:pt x="9773" y="48"/>
                  </a:lnTo>
                  <a:lnTo>
                    <a:pt x="9741" y="59"/>
                  </a:lnTo>
                  <a:lnTo>
                    <a:pt x="9708" y="71"/>
                  </a:lnTo>
                  <a:lnTo>
                    <a:pt x="9676" y="84"/>
                  </a:lnTo>
                  <a:lnTo>
                    <a:pt x="9645" y="99"/>
                  </a:lnTo>
                  <a:lnTo>
                    <a:pt x="9615" y="115"/>
                  </a:lnTo>
                  <a:lnTo>
                    <a:pt x="9584" y="131"/>
                  </a:lnTo>
                  <a:lnTo>
                    <a:pt x="9555" y="148"/>
                  </a:lnTo>
                  <a:lnTo>
                    <a:pt x="9527" y="166"/>
                  </a:lnTo>
                  <a:lnTo>
                    <a:pt x="9499" y="185"/>
                  </a:lnTo>
                  <a:lnTo>
                    <a:pt x="9472" y="205"/>
                  </a:lnTo>
                  <a:lnTo>
                    <a:pt x="9445" y="226"/>
                  </a:lnTo>
                  <a:lnTo>
                    <a:pt x="9419" y="248"/>
                  </a:lnTo>
                  <a:lnTo>
                    <a:pt x="9394" y="271"/>
                  </a:lnTo>
                  <a:lnTo>
                    <a:pt x="9370" y="295"/>
                  </a:lnTo>
                  <a:lnTo>
                    <a:pt x="9348" y="316"/>
                  </a:lnTo>
                  <a:lnTo>
                    <a:pt x="9328" y="339"/>
                  </a:lnTo>
                  <a:lnTo>
                    <a:pt x="9308" y="362"/>
                  </a:lnTo>
                  <a:lnTo>
                    <a:pt x="9289" y="385"/>
                  </a:lnTo>
                  <a:lnTo>
                    <a:pt x="9271" y="409"/>
                  </a:lnTo>
                  <a:lnTo>
                    <a:pt x="9253" y="434"/>
                  </a:lnTo>
                  <a:lnTo>
                    <a:pt x="9237" y="459"/>
                  </a:lnTo>
                  <a:lnTo>
                    <a:pt x="9220" y="485"/>
                  </a:lnTo>
                  <a:lnTo>
                    <a:pt x="9204" y="511"/>
                  </a:lnTo>
                  <a:lnTo>
                    <a:pt x="9190" y="538"/>
                  </a:lnTo>
                  <a:lnTo>
                    <a:pt x="9176" y="565"/>
                  </a:lnTo>
                  <a:lnTo>
                    <a:pt x="9163" y="592"/>
                  </a:lnTo>
                  <a:lnTo>
                    <a:pt x="9151" y="621"/>
                  </a:lnTo>
                  <a:lnTo>
                    <a:pt x="9140" y="650"/>
                  </a:lnTo>
                  <a:lnTo>
                    <a:pt x="9129" y="679"/>
                  </a:lnTo>
                  <a:lnTo>
                    <a:pt x="9120" y="708"/>
                  </a:lnTo>
                  <a:lnTo>
                    <a:pt x="9097" y="777"/>
                  </a:lnTo>
                  <a:lnTo>
                    <a:pt x="9074" y="846"/>
                  </a:lnTo>
                  <a:lnTo>
                    <a:pt x="9051" y="913"/>
                  </a:lnTo>
                  <a:lnTo>
                    <a:pt x="9026" y="981"/>
                  </a:lnTo>
                  <a:lnTo>
                    <a:pt x="9000" y="1047"/>
                  </a:lnTo>
                  <a:lnTo>
                    <a:pt x="8973" y="1114"/>
                  </a:lnTo>
                  <a:lnTo>
                    <a:pt x="8945" y="1180"/>
                  </a:lnTo>
                  <a:lnTo>
                    <a:pt x="8916" y="1244"/>
                  </a:lnTo>
                  <a:lnTo>
                    <a:pt x="8887" y="1310"/>
                  </a:lnTo>
                  <a:lnTo>
                    <a:pt x="8855" y="1373"/>
                  </a:lnTo>
                  <a:lnTo>
                    <a:pt x="8823" y="1437"/>
                  </a:lnTo>
                  <a:lnTo>
                    <a:pt x="8791" y="1501"/>
                  </a:lnTo>
                  <a:lnTo>
                    <a:pt x="8757" y="1563"/>
                  </a:lnTo>
                  <a:lnTo>
                    <a:pt x="8721" y="1626"/>
                  </a:lnTo>
                  <a:lnTo>
                    <a:pt x="8686" y="1687"/>
                  </a:lnTo>
                  <a:lnTo>
                    <a:pt x="8649" y="1748"/>
                  </a:lnTo>
                  <a:lnTo>
                    <a:pt x="8610" y="1810"/>
                  </a:lnTo>
                  <a:lnTo>
                    <a:pt x="8571" y="1870"/>
                  </a:lnTo>
                  <a:lnTo>
                    <a:pt x="8532" y="1929"/>
                  </a:lnTo>
                  <a:lnTo>
                    <a:pt x="8490" y="1990"/>
                  </a:lnTo>
                  <a:lnTo>
                    <a:pt x="8448" y="2048"/>
                  </a:lnTo>
                  <a:lnTo>
                    <a:pt x="8405" y="2107"/>
                  </a:lnTo>
                  <a:lnTo>
                    <a:pt x="8360" y="2166"/>
                  </a:lnTo>
                  <a:lnTo>
                    <a:pt x="8315" y="2223"/>
                  </a:lnTo>
                  <a:lnTo>
                    <a:pt x="8268" y="2280"/>
                  </a:lnTo>
                  <a:lnTo>
                    <a:pt x="8220" y="2338"/>
                  </a:lnTo>
                  <a:lnTo>
                    <a:pt x="8172" y="2394"/>
                  </a:lnTo>
                  <a:lnTo>
                    <a:pt x="8121" y="2450"/>
                  </a:lnTo>
                  <a:lnTo>
                    <a:pt x="8071" y="2507"/>
                  </a:lnTo>
                  <a:lnTo>
                    <a:pt x="8019" y="2562"/>
                  </a:lnTo>
                  <a:lnTo>
                    <a:pt x="7966" y="2617"/>
                  </a:lnTo>
                  <a:lnTo>
                    <a:pt x="7912" y="2672"/>
                  </a:lnTo>
                  <a:lnTo>
                    <a:pt x="7838" y="2744"/>
                  </a:lnTo>
                  <a:lnTo>
                    <a:pt x="7763" y="2816"/>
                  </a:lnTo>
                  <a:lnTo>
                    <a:pt x="7686" y="2886"/>
                  </a:lnTo>
                  <a:lnTo>
                    <a:pt x="7608" y="2955"/>
                  </a:lnTo>
                  <a:lnTo>
                    <a:pt x="7530" y="3024"/>
                  </a:lnTo>
                  <a:lnTo>
                    <a:pt x="7449" y="3091"/>
                  </a:lnTo>
                  <a:lnTo>
                    <a:pt x="7367" y="3158"/>
                  </a:lnTo>
                  <a:lnTo>
                    <a:pt x="7285" y="3224"/>
                  </a:lnTo>
                  <a:lnTo>
                    <a:pt x="7201" y="3288"/>
                  </a:lnTo>
                  <a:lnTo>
                    <a:pt x="7116" y="3353"/>
                  </a:lnTo>
                  <a:lnTo>
                    <a:pt x="7031" y="3416"/>
                  </a:lnTo>
                  <a:lnTo>
                    <a:pt x="6944" y="3480"/>
                  </a:lnTo>
                  <a:lnTo>
                    <a:pt x="6856" y="3542"/>
                  </a:lnTo>
                  <a:lnTo>
                    <a:pt x="6767" y="3603"/>
                  </a:lnTo>
                  <a:lnTo>
                    <a:pt x="6678" y="3665"/>
                  </a:lnTo>
                  <a:lnTo>
                    <a:pt x="6587" y="3725"/>
                  </a:lnTo>
                  <a:lnTo>
                    <a:pt x="6495" y="3785"/>
                  </a:lnTo>
                  <a:lnTo>
                    <a:pt x="6402" y="3846"/>
                  </a:lnTo>
                  <a:lnTo>
                    <a:pt x="6310" y="3905"/>
                  </a:lnTo>
                  <a:lnTo>
                    <a:pt x="6215" y="3963"/>
                  </a:lnTo>
                  <a:lnTo>
                    <a:pt x="6121" y="4023"/>
                  </a:lnTo>
                  <a:lnTo>
                    <a:pt x="6025" y="4081"/>
                  </a:lnTo>
                  <a:lnTo>
                    <a:pt x="5930" y="4139"/>
                  </a:lnTo>
                  <a:lnTo>
                    <a:pt x="5833" y="4198"/>
                  </a:lnTo>
                  <a:lnTo>
                    <a:pt x="5637" y="4314"/>
                  </a:lnTo>
                  <a:lnTo>
                    <a:pt x="5440" y="4430"/>
                  </a:lnTo>
                  <a:lnTo>
                    <a:pt x="5241" y="4546"/>
                  </a:lnTo>
                  <a:lnTo>
                    <a:pt x="5039" y="4663"/>
                  </a:lnTo>
                  <a:lnTo>
                    <a:pt x="4825" y="4786"/>
                  </a:lnTo>
                  <a:lnTo>
                    <a:pt x="4611" y="4912"/>
                  </a:lnTo>
                  <a:lnTo>
                    <a:pt x="4395" y="5038"/>
                  </a:lnTo>
                  <a:lnTo>
                    <a:pt x="4180" y="5165"/>
                  </a:lnTo>
                  <a:lnTo>
                    <a:pt x="4073" y="5231"/>
                  </a:lnTo>
                  <a:lnTo>
                    <a:pt x="3966" y="5296"/>
                  </a:lnTo>
                  <a:lnTo>
                    <a:pt x="3860" y="5362"/>
                  </a:lnTo>
                  <a:lnTo>
                    <a:pt x="3753" y="5428"/>
                  </a:lnTo>
                  <a:lnTo>
                    <a:pt x="3647" y="5495"/>
                  </a:lnTo>
                  <a:lnTo>
                    <a:pt x="3541" y="5564"/>
                  </a:lnTo>
                  <a:lnTo>
                    <a:pt x="3435" y="5632"/>
                  </a:lnTo>
                  <a:lnTo>
                    <a:pt x="3330" y="5702"/>
                  </a:lnTo>
                  <a:lnTo>
                    <a:pt x="3226" y="5773"/>
                  </a:lnTo>
                  <a:lnTo>
                    <a:pt x="3123" y="5844"/>
                  </a:lnTo>
                  <a:lnTo>
                    <a:pt x="3020" y="5917"/>
                  </a:lnTo>
                  <a:lnTo>
                    <a:pt x="2917" y="5990"/>
                  </a:lnTo>
                  <a:lnTo>
                    <a:pt x="2815" y="6065"/>
                  </a:lnTo>
                  <a:lnTo>
                    <a:pt x="2713" y="6140"/>
                  </a:lnTo>
                  <a:lnTo>
                    <a:pt x="2613" y="6218"/>
                  </a:lnTo>
                  <a:lnTo>
                    <a:pt x="2514" y="6295"/>
                  </a:lnTo>
                  <a:lnTo>
                    <a:pt x="2415" y="6375"/>
                  </a:lnTo>
                  <a:lnTo>
                    <a:pt x="2317" y="6455"/>
                  </a:lnTo>
                  <a:lnTo>
                    <a:pt x="2220" y="6538"/>
                  </a:lnTo>
                  <a:lnTo>
                    <a:pt x="2125" y="6621"/>
                  </a:lnTo>
                  <a:lnTo>
                    <a:pt x="2031" y="6706"/>
                  </a:lnTo>
                  <a:lnTo>
                    <a:pt x="1937" y="6792"/>
                  </a:lnTo>
                  <a:lnTo>
                    <a:pt x="1844" y="6880"/>
                  </a:lnTo>
                  <a:lnTo>
                    <a:pt x="1753" y="6969"/>
                  </a:lnTo>
                  <a:lnTo>
                    <a:pt x="1677" y="7047"/>
                  </a:lnTo>
                  <a:lnTo>
                    <a:pt x="1602" y="7124"/>
                  </a:lnTo>
                  <a:lnTo>
                    <a:pt x="1529" y="7203"/>
                  </a:lnTo>
                  <a:lnTo>
                    <a:pt x="1457" y="7282"/>
                  </a:lnTo>
                  <a:lnTo>
                    <a:pt x="1387" y="7361"/>
                  </a:lnTo>
                  <a:lnTo>
                    <a:pt x="1319" y="7441"/>
                  </a:lnTo>
                  <a:lnTo>
                    <a:pt x="1251" y="7521"/>
                  </a:lnTo>
                  <a:lnTo>
                    <a:pt x="1186" y="7603"/>
                  </a:lnTo>
                  <a:lnTo>
                    <a:pt x="1121" y="7685"/>
                  </a:lnTo>
                  <a:lnTo>
                    <a:pt x="1059" y="7768"/>
                  </a:lnTo>
                  <a:lnTo>
                    <a:pt x="998" y="7850"/>
                  </a:lnTo>
                  <a:lnTo>
                    <a:pt x="938" y="7935"/>
                  </a:lnTo>
                  <a:lnTo>
                    <a:pt x="880" y="8018"/>
                  </a:lnTo>
                  <a:lnTo>
                    <a:pt x="823" y="8104"/>
                  </a:lnTo>
                  <a:lnTo>
                    <a:pt x="767" y="8189"/>
                  </a:lnTo>
                  <a:lnTo>
                    <a:pt x="714" y="8276"/>
                  </a:lnTo>
                  <a:lnTo>
                    <a:pt x="661" y="8363"/>
                  </a:lnTo>
                  <a:lnTo>
                    <a:pt x="610" y="8451"/>
                  </a:lnTo>
                  <a:lnTo>
                    <a:pt x="561" y="8540"/>
                  </a:lnTo>
                  <a:lnTo>
                    <a:pt x="513" y="8629"/>
                  </a:lnTo>
                  <a:lnTo>
                    <a:pt x="466" y="8719"/>
                  </a:lnTo>
                  <a:lnTo>
                    <a:pt x="420" y="8810"/>
                  </a:lnTo>
                  <a:lnTo>
                    <a:pt x="377" y="8902"/>
                  </a:lnTo>
                  <a:lnTo>
                    <a:pt x="335" y="8994"/>
                  </a:lnTo>
                  <a:lnTo>
                    <a:pt x="293" y="9088"/>
                  </a:lnTo>
                  <a:lnTo>
                    <a:pt x="254" y="9181"/>
                  </a:lnTo>
                  <a:lnTo>
                    <a:pt x="216" y="9276"/>
                  </a:lnTo>
                  <a:lnTo>
                    <a:pt x="178" y="9371"/>
                  </a:lnTo>
                  <a:lnTo>
                    <a:pt x="143" y="9468"/>
                  </a:lnTo>
                  <a:lnTo>
                    <a:pt x="109" y="9564"/>
                  </a:lnTo>
                  <a:lnTo>
                    <a:pt x="77" y="9663"/>
                  </a:lnTo>
                  <a:lnTo>
                    <a:pt x="45" y="9762"/>
                  </a:lnTo>
                  <a:lnTo>
                    <a:pt x="35" y="9795"/>
                  </a:lnTo>
                  <a:lnTo>
                    <a:pt x="27" y="9829"/>
                  </a:lnTo>
                  <a:lnTo>
                    <a:pt x="19" y="9863"/>
                  </a:lnTo>
                  <a:lnTo>
                    <a:pt x="13" y="9896"/>
                  </a:lnTo>
                  <a:lnTo>
                    <a:pt x="8" y="9931"/>
                  </a:lnTo>
                  <a:lnTo>
                    <a:pt x="5" y="9965"/>
                  </a:lnTo>
                  <a:lnTo>
                    <a:pt x="2" y="9999"/>
                  </a:lnTo>
                  <a:lnTo>
                    <a:pt x="0" y="10033"/>
                  </a:lnTo>
                  <a:lnTo>
                    <a:pt x="0" y="10067"/>
                  </a:lnTo>
                  <a:lnTo>
                    <a:pt x="1" y="10101"/>
                  </a:lnTo>
                  <a:lnTo>
                    <a:pt x="3" y="10135"/>
                  </a:lnTo>
                  <a:lnTo>
                    <a:pt x="6" y="10168"/>
                  </a:lnTo>
                  <a:lnTo>
                    <a:pt x="10" y="10202"/>
                  </a:lnTo>
                  <a:lnTo>
                    <a:pt x="16" y="10235"/>
                  </a:lnTo>
                  <a:lnTo>
                    <a:pt x="22" y="10269"/>
                  </a:lnTo>
                  <a:lnTo>
                    <a:pt x="29" y="10301"/>
                  </a:lnTo>
                  <a:lnTo>
                    <a:pt x="38" y="10334"/>
                  </a:lnTo>
                  <a:lnTo>
                    <a:pt x="48" y="10366"/>
                  </a:lnTo>
                  <a:lnTo>
                    <a:pt x="58" y="10398"/>
                  </a:lnTo>
                  <a:lnTo>
                    <a:pt x="71" y="10430"/>
                  </a:lnTo>
                  <a:lnTo>
                    <a:pt x="84" y="10461"/>
                  </a:lnTo>
                  <a:lnTo>
                    <a:pt x="98" y="10492"/>
                  </a:lnTo>
                  <a:lnTo>
                    <a:pt x="113" y="10522"/>
                  </a:lnTo>
                  <a:lnTo>
                    <a:pt x="129" y="10552"/>
                  </a:lnTo>
                  <a:lnTo>
                    <a:pt x="146" y="10581"/>
                  </a:lnTo>
                  <a:lnTo>
                    <a:pt x="164" y="10611"/>
                  </a:lnTo>
                  <a:lnTo>
                    <a:pt x="184" y="10639"/>
                  </a:lnTo>
                  <a:lnTo>
                    <a:pt x="204" y="10666"/>
                  </a:lnTo>
                  <a:lnTo>
                    <a:pt x="225" y="10693"/>
                  </a:lnTo>
                  <a:lnTo>
                    <a:pt x="248" y="10719"/>
                  </a:lnTo>
                  <a:lnTo>
                    <a:pt x="271" y="10745"/>
                  </a:lnTo>
                  <a:lnTo>
                    <a:pt x="295" y="10771"/>
                  </a:lnTo>
                  <a:lnTo>
                    <a:pt x="5337" y="15800"/>
                  </a:lnTo>
                  <a:lnTo>
                    <a:pt x="5360" y="15823"/>
                  </a:lnTo>
                  <a:lnTo>
                    <a:pt x="5385" y="15846"/>
                  </a:lnTo>
                  <a:lnTo>
                    <a:pt x="5409" y="15867"/>
                  </a:lnTo>
                  <a:lnTo>
                    <a:pt x="5435" y="15887"/>
                  </a:lnTo>
                  <a:lnTo>
                    <a:pt x="5462" y="15906"/>
                  </a:lnTo>
                  <a:lnTo>
                    <a:pt x="5488" y="15925"/>
                  </a:lnTo>
                  <a:lnTo>
                    <a:pt x="5515" y="15942"/>
                  </a:lnTo>
                  <a:lnTo>
                    <a:pt x="5543" y="15959"/>
                  </a:lnTo>
                  <a:lnTo>
                    <a:pt x="5572" y="15974"/>
                  </a:lnTo>
                  <a:lnTo>
                    <a:pt x="5600" y="15989"/>
                  </a:lnTo>
                  <a:lnTo>
                    <a:pt x="5629" y="16003"/>
                  </a:lnTo>
                  <a:lnTo>
                    <a:pt x="5658" y="16017"/>
                  </a:lnTo>
                  <a:lnTo>
                    <a:pt x="5688" y="16029"/>
                  </a:lnTo>
                  <a:lnTo>
                    <a:pt x="5718" y="16039"/>
                  </a:lnTo>
                  <a:lnTo>
                    <a:pt x="5749" y="16049"/>
                  </a:lnTo>
                  <a:lnTo>
                    <a:pt x="5779" y="16058"/>
                  </a:lnTo>
                  <a:lnTo>
                    <a:pt x="5811" y="16066"/>
                  </a:lnTo>
                  <a:lnTo>
                    <a:pt x="5842" y="16073"/>
                  </a:lnTo>
                  <a:lnTo>
                    <a:pt x="5873" y="16079"/>
                  </a:lnTo>
                  <a:lnTo>
                    <a:pt x="5904" y="16085"/>
                  </a:lnTo>
                  <a:lnTo>
                    <a:pt x="5937" y="16089"/>
                  </a:lnTo>
                  <a:lnTo>
                    <a:pt x="5969" y="16092"/>
                  </a:lnTo>
                  <a:lnTo>
                    <a:pt x="6001" y="16094"/>
                  </a:lnTo>
                  <a:lnTo>
                    <a:pt x="6033" y="16095"/>
                  </a:lnTo>
                  <a:lnTo>
                    <a:pt x="6066" y="16095"/>
                  </a:lnTo>
                  <a:lnTo>
                    <a:pt x="6098" y="16094"/>
                  </a:lnTo>
                  <a:lnTo>
                    <a:pt x="6130" y="16092"/>
                  </a:lnTo>
                  <a:lnTo>
                    <a:pt x="6162" y="16089"/>
                  </a:lnTo>
                  <a:lnTo>
                    <a:pt x="6195" y="16084"/>
                  </a:lnTo>
                  <a:lnTo>
                    <a:pt x="6227" y="16079"/>
                  </a:lnTo>
                  <a:lnTo>
                    <a:pt x="6259" y="16073"/>
                  </a:lnTo>
                  <a:lnTo>
                    <a:pt x="6291" y="16066"/>
                  </a:lnTo>
                  <a:lnTo>
                    <a:pt x="6326" y="16057"/>
                  </a:lnTo>
                  <a:lnTo>
                    <a:pt x="6359" y="16047"/>
                  </a:lnTo>
                  <a:lnTo>
                    <a:pt x="6391" y="16036"/>
                  </a:lnTo>
                  <a:lnTo>
                    <a:pt x="6424" y="16024"/>
                  </a:lnTo>
                  <a:lnTo>
                    <a:pt x="6456" y="16009"/>
                  </a:lnTo>
                  <a:lnTo>
                    <a:pt x="6487" y="15995"/>
                  </a:lnTo>
                  <a:lnTo>
                    <a:pt x="6517" y="15980"/>
                  </a:lnTo>
                  <a:lnTo>
                    <a:pt x="6548" y="15964"/>
                  </a:lnTo>
                  <a:lnTo>
                    <a:pt x="6577" y="15947"/>
                  </a:lnTo>
                  <a:lnTo>
                    <a:pt x="6605" y="15929"/>
                  </a:lnTo>
                  <a:lnTo>
                    <a:pt x="6633" y="15909"/>
                  </a:lnTo>
                  <a:lnTo>
                    <a:pt x="6660" y="15890"/>
                  </a:lnTo>
                  <a:lnTo>
                    <a:pt x="6687" y="15869"/>
                  </a:lnTo>
                  <a:lnTo>
                    <a:pt x="6713" y="15847"/>
                  </a:lnTo>
                  <a:lnTo>
                    <a:pt x="6738" y="15823"/>
                  </a:lnTo>
                  <a:lnTo>
                    <a:pt x="6762" y="15800"/>
                  </a:lnTo>
                  <a:lnTo>
                    <a:pt x="6784" y="15778"/>
                  </a:lnTo>
                  <a:lnTo>
                    <a:pt x="6804" y="15756"/>
                  </a:lnTo>
                  <a:lnTo>
                    <a:pt x="6824" y="15733"/>
                  </a:lnTo>
                  <a:lnTo>
                    <a:pt x="6843" y="15710"/>
                  </a:lnTo>
                  <a:lnTo>
                    <a:pt x="6861" y="15686"/>
                  </a:lnTo>
                  <a:lnTo>
                    <a:pt x="6879" y="15661"/>
                  </a:lnTo>
                  <a:lnTo>
                    <a:pt x="6895" y="15635"/>
                  </a:lnTo>
                  <a:lnTo>
                    <a:pt x="6912" y="15610"/>
                  </a:lnTo>
                  <a:lnTo>
                    <a:pt x="6928" y="15584"/>
                  </a:lnTo>
                  <a:lnTo>
                    <a:pt x="6942" y="15557"/>
                  </a:lnTo>
                  <a:lnTo>
                    <a:pt x="6956" y="15530"/>
                  </a:lnTo>
                  <a:lnTo>
                    <a:pt x="6969" y="15501"/>
                  </a:lnTo>
                  <a:lnTo>
                    <a:pt x="6981" y="15473"/>
                  </a:lnTo>
                  <a:lnTo>
                    <a:pt x="6992" y="15445"/>
                  </a:lnTo>
                  <a:lnTo>
                    <a:pt x="7003" y="15416"/>
                  </a:lnTo>
                  <a:lnTo>
                    <a:pt x="7012" y="15386"/>
                  </a:lnTo>
                  <a:lnTo>
                    <a:pt x="7035" y="15317"/>
                  </a:lnTo>
                  <a:lnTo>
                    <a:pt x="7058" y="15249"/>
                  </a:lnTo>
                  <a:lnTo>
                    <a:pt x="7081" y="15181"/>
                  </a:lnTo>
                  <a:lnTo>
                    <a:pt x="7106" y="15113"/>
                  </a:lnTo>
                  <a:lnTo>
                    <a:pt x="7132" y="15047"/>
                  </a:lnTo>
                  <a:lnTo>
                    <a:pt x="7159" y="14980"/>
                  </a:lnTo>
                  <a:lnTo>
                    <a:pt x="7187" y="14915"/>
                  </a:lnTo>
                  <a:lnTo>
                    <a:pt x="7216" y="14850"/>
                  </a:lnTo>
                  <a:lnTo>
                    <a:pt x="7245" y="14784"/>
                  </a:lnTo>
                  <a:lnTo>
                    <a:pt x="7277" y="14721"/>
                  </a:lnTo>
                  <a:lnTo>
                    <a:pt x="7309" y="14657"/>
                  </a:lnTo>
                  <a:lnTo>
                    <a:pt x="7341" y="14593"/>
                  </a:lnTo>
                  <a:lnTo>
                    <a:pt x="7375" y="14531"/>
                  </a:lnTo>
                  <a:lnTo>
                    <a:pt x="7411" y="14468"/>
                  </a:lnTo>
                  <a:lnTo>
                    <a:pt x="7446" y="14407"/>
                  </a:lnTo>
                  <a:lnTo>
                    <a:pt x="7483" y="14346"/>
                  </a:lnTo>
                  <a:lnTo>
                    <a:pt x="7522" y="14284"/>
                  </a:lnTo>
                  <a:lnTo>
                    <a:pt x="7561" y="14224"/>
                  </a:lnTo>
                  <a:lnTo>
                    <a:pt x="7601" y="14165"/>
                  </a:lnTo>
                  <a:lnTo>
                    <a:pt x="7642" y="14104"/>
                  </a:lnTo>
                  <a:lnTo>
                    <a:pt x="7684" y="14046"/>
                  </a:lnTo>
                  <a:lnTo>
                    <a:pt x="7727" y="13987"/>
                  </a:lnTo>
                  <a:lnTo>
                    <a:pt x="7773" y="13929"/>
                  </a:lnTo>
                  <a:lnTo>
                    <a:pt x="7818" y="13871"/>
                  </a:lnTo>
                  <a:lnTo>
                    <a:pt x="7864" y="13814"/>
                  </a:lnTo>
                  <a:lnTo>
                    <a:pt x="7912" y="13756"/>
                  </a:lnTo>
                  <a:lnTo>
                    <a:pt x="7961" y="13700"/>
                  </a:lnTo>
                  <a:lnTo>
                    <a:pt x="8011" y="13644"/>
                  </a:lnTo>
                  <a:lnTo>
                    <a:pt x="8062" y="13588"/>
                  </a:lnTo>
                  <a:lnTo>
                    <a:pt x="8113" y="13532"/>
                  </a:lnTo>
                  <a:lnTo>
                    <a:pt x="8167" y="13478"/>
                  </a:lnTo>
                  <a:lnTo>
                    <a:pt x="8221" y="13422"/>
                  </a:lnTo>
                  <a:lnTo>
                    <a:pt x="8295" y="13350"/>
                  </a:lnTo>
                  <a:lnTo>
                    <a:pt x="8370" y="13278"/>
                  </a:lnTo>
                  <a:lnTo>
                    <a:pt x="8446" y="13208"/>
                  </a:lnTo>
                  <a:lnTo>
                    <a:pt x="8524" y="13139"/>
                  </a:lnTo>
                  <a:lnTo>
                    <a:pt x="8603" y="13070"/>
                  </a:lnTo>
                  <a:lnTo>
                    <a:pt x="8683" y="13003"/>
                  </a:lnTo>
                  <a:lnTo>
                    <a:pt x="8765" y="12936"/>
                  </a:lnTo>
                  <a:lnTo>
                    <a:pt x="8847" y="12871"/>
                  </a:lnTo>
                  <a:lnTo>
                    <a:pt x="8931" y="12806"/>
                  </a:lnTo>
                  <a:lnTo>
                    <a:pt x="9016" y="12741"/>
                  </a:lnTo>
                  <a:lnTo>
                    <a:pt x="9101" y="12678"/>
                  </a:lnTo>
                  <a:lnTo>
                    <a:pt x="9188" y="12615"/>
                  </a:lnTo>
                  <a:lnTo>
                    <a:pt x="9277" y="12553"/>
                  </a:lnTo>
                  <a:lnTo>
                    <a:pt x="9366" y="12491"/>
                  </a:lnTo>
                  <a:lnTo>
                    <a:pt x="9455" y="12430"/>
                  </a:lnTo>
                  <a:lnTo>
                    <a:pt x="9546" y="12369"/>
                  </a:lnTo>
                  <a:lnTo>
                    <a:pt x="9638" y="12309"/>
                  </a:lnTo>
                  <a:lnTo>
                    <a:pt x="9730" y="12249"/>
                  </a:lnTo>
                  <a:lnTo>
                    <a:pt x="9823" y="12190"/>
                  </a:lnTo>
                  <a:lnTo>
                    <a:pt x="9917" y="12131"/>
                  </a:lnTo>
                  <a:lnTo>
                    <a:pt x="10012" y="12072"/>
                  </a:lnTo>
                  <a:lnTo>
                    <a:pt x="10107" y="12014"/>
                  </a:lnTo>
                  <a:lnTo>
                    <a:pt x="10203" y="11956"/>
                  </a:lnTo>
                  <a:lnTo>
                    <a:pt x="10300" y="11897"/>
                  </a:lnTo>
                  <a:lnTo>
                    <a:pt x="10495" y="11781"/>
                  </a:lnTo>
                  <a:lnTo>
                    <a:pt x="10692" y="11665"/>
                  </a:lnTo>
                  <a:lnTo>
                    <a:pt x="10892" y="11549"/>
                  </a:lnTo>
                  <a:lnTo>
                    <a:pt x="11093" y="11432"/>
                  </a:lnTo>
                  <a:lnTo>
                    <a:pt x="11308" y="11309"/>
                  </a:lnTo>
                  <a:lnTo>
                    <a:pt x="11522" y="11183"/>
                  </a:lnTo>
                  <a:lnTo>
                    <a:pt x="11737" y="11056"/>
                  </a:lnTo>
                  <a:lnTo>
                    <a:pt x="11952" y="10929"/>
                  </a:lnTo>
                  <a:lnTo>
                    <a:pt x="12059" y="10864"/>
                  </a:lnTo>
                  <a:lnTo>
                    <a:pt x="12166" y="10799"/>
                  </a:lnTo>
                  <a:lnTo>
                    <a:pt x="12272" y="10732"/>
                  </a:lnTo>
                  <a:lnTo>
                    <a:pt x="12379" y="10666"/>
                  </a:lnTo>
                  <a:lnTo>
                    <a:pt x="12485" y="10599"/>
                  </a:lnTo>
                  <a:lnTo>
                    <a:pt x="12591" y="10530"/>
                  </a:lnTo>
                  <a:lnTo>
                    <a:pt x="12697" y="10462"/>
                  </a:lnTo>
                  <a:lnTo>
                    <a:pt x="12802" y="10392"/>
                  </a:lnTo>
                  <a:lnTo>
                    <a:pt x="12906" y="10321"/>
                  </a:lnTo>
                  <a:lnTo>
                    <a:pt x="13009" y="10249"/>
                  </a:lnTo>
                  <a:lnTo>
                    <a:pt x="13113" y="10177"/>
                  </a:lnTo>
                  <a:lnTo>
                    <a:pt x="13215" y="10104"/>
                  </a:lnTo>
                  <a:lnTo>
                    <a:pt x="13317" y="10029"/>
                  </a:lnTo>
                  <a:lnTo>
                    <a:pt x="13419" y="9954"/>
                  </a:lnTo>
                  <a:lnTo>
                    <a:pt x="13519" y="9876"/>
                  </a:lnTo>
                  <a:lnTo>
                    <a:pt x="13618" y="9799"/>
                  </a:lnTo>
                  <a:lnTo>
                    <a:pt x="13717" y="9719"/>
                  </a:lnTo>
                  <a:lnTo>
                    <a:pt x="13815" y="9639"/>
                  </a:lnTo>
                  <a:lnTo>
                    <a:pt x="13912" y="9556"/>
                  </a:lnTo>
                  <a:lnTo>
                    <a:pt x="14007" y="9473"/>
                  </a:lnTo>
                  <a:lnTo>
                    <a:pt x="14101" y="9388"/>
                  </a:lnTo>
                  <a:lnTo>
                    <a:pt x="14195" y="9302"/>
                  </a:lnTo>
                  <a:lnTo>
                    <a:pt x="14288" y="9214"/>
                  </a:lnTo>
                  <a:lnTo>
                    <a:pt x="14379" y="9125"/>
                  </a:lnTo>
                  <a:lnTo>
                    <a:pt x="14455" y="9047"/>
                  </a:lnTo>
                  <a:lnTo>
                    <a:pt x="14530" y="8970"/>
                  </a:lnTo>
                  <a:lnTo>
                    <a:pt x="14602" y="8891"/>
                  </a:lnTo>
                  <a:lnTo>
                    <a:pt x="14675" y="8813"/>
                  </a:lnTo>
                  <a:lnTo>
                    <a:pt x="14745" y="8734"/>
                  </a:lnTo>
                  <a:lnTo>
                    <a:pt x="14813" y="8653"/>
                  </a:lnTo>
                  <a:lnTo>
                    <a:pt x="14881" y="8573"/>
                  </a:lnTo>
                  <a:lnTo>
                    <a:pt x="14946" y="8491"/>
                  </a:lnTo>
                  <a:lnTo>
                    <a:pt x="15011" y="8410"/>
                  </a:lnTo>
                  <a:lnTo>
                    <a:pt x="15073" y="8327"/>
                  </a:lnTo>
                  <a:lnTo>
                    <a:pt x="15134" y="8244"/>
                  </a:lnTo>
                  <a:lnTo>
                    <a:pt x="15194" y="8160"/>
                  </a:lnTo>
                  <a:lnTo>
                    <a:pt x="15252" y="8076"/>
                  </a:lnTo>
                  <a:lnTo>
                    <a:pt x="15309" y="7990"/>
                  </a:lnTo>
                  <a:lnTo>
                    <a:pt x="15365" y="7905"/>
                  </a:lnTo>
                  <a:lnTo>
                    <a:pt x="15418" y="7818"/>
                  </a:lnTo>
                  <a:lnTo>
                    <a:pt x="15471" y="7731"/>
                  </a:lnTo>
                  <a:lnTo>
                    <a:pt x="15522" y="7643"/>
                  </a:lnTo>
                  <a:lnTo>
                    <a:pt x="15571" y="7555"/>
                  </a:lnTo>
                  <a:lnTo>
                    <a:pt x="15619" y="7465"/>
                  </a:lnTo>
                  <a:lnTo>
                    <a:pt x="15666" y="7375"/>
                  </a:lnTo>
                  <a:lnTo>
                    <a:pt x="15712" y="7284"/>
                  </a:lnTo>
                  <a:lnTo>
                    <a:pt x="15755" y="7192"/>
                  </a:lnTo>
                  <a:lnTo>
                    <a:pt x="15797" y="7100"/>
                  </a:lnTo>
                  <a:lnTo>
                    <a:pt x="15839" y="7007"/>
                  </a:lnTo>
                  <a:lnTo>
                    <a:pt x="15878" y="6913"/>
                  </a:lnTo>
                  <a:lnTo>
                    <a:pt x="15916" y="6818"/>
                  </a:lnTo>
                  <a:lnTo>
                    <a:pt x="15954" y="6723"/>
                  </a:lnTo>
                  <a:lnTo>
                    <a:pt x="15989" y="6626"/>
                  </a:lnTo>
                  <a:lnTo>
                    <a:pt x="16023" y="6530"/>
                  </a:lnTo>
                  <a:lnTo>
                    <a:pt x="16055" y="6431"/>
                  </a:lnTo>
                  <a:lnTo>
                    <a:pt x="16087" y="6332"/>
                  </a:lnTo>
                  <a:lnTo>
                    <a:pt x="16097" y="6299"/>
                  </a:lnTo>
                  <a:lnTo>
                    <a:pt x="16105" y="6265"/>
                  </a:lnTo>
                  <a:lnTo>
                    <a:pt x="16113" y="6232"/>
                  </a:lnTo>
                  <a:lnTo>
                    <a:pt x="16119" y="6198"/>
                  </a:lnTo>
                  <a:lnTo>
                    <a:pt x="16124" y="6163"/>
                  </a:lnTo>
                  <a:lnTo>
                    <a:pt x="16127" y="6129"/>
                  </a:lnTo>
                  <a:lnTo>
                    <a:pt x="16130" y="6095"/>
                  </a:lnTo>
                  <a:lnTo>
                    <a:pt x="16132" y="6062"/>
                  </a:lnTo>
                  <a:lnTo>
                    <a:pt x="16132" y="6028"/>
                  </a:lnTo>
                  <a:lnTo>
                    <a:pt x="16131" y="5993"/>
                  </a:lnTo>
                  <a:lnTo>
                    <a:pt x="16129" y="5960"/>
                  </a:lnTo>
                  <a:lnTo>
                    <a:pt x="16126" y="5926"/>
                  </a:lnTo>
                  <a:lnTo>
                    <a:pt x="16122" y="5893"/>
                  </a:lnTo>
                  <a:lnTo>
                    <a:pt x="16116" y="5860"/>
                  </a:lnTo>
                  <a:lnTo>
                    <a:pt x="16110" y="5826"/>
                  </a:lnTo>
                  <a:lnTo>
                    <a:pt x="16103" y="5793"/>
                  </a:lnTo>
                  <a:lnTo>
                    <a:pt x="16094" y="5761"/>
                  </a:lnTo>
                  <a:lnTo>
                    <a:pt x="16084" y="5729"/>
                  </a:lnTo>
                  <a:lnTo>
                    <a:pt x="16074" y="5697"/>
                  </a:lnTo>
                  <a:lnTo>
                    <a:pt x="16061" y="5664"/>
                  </a:lnTo>
                  <a:lnTo>
                    <a:pt x="16048" y="5633"/>
                  </a:lnTo>
                  <a:lnTo>
                    <a:pt x="16034" y="5603"/>
                  </a:lnTo>
                  <a:lnTo>
                    <a:pt x="16019" y="5573"/>
                  </a:lnTo>
                  <a:lnTo>
                    <a:pt x="16003" y="5543"/>
                  </a:lnTo>
                  <a:lnTo>
                    <a:pt x="15986" y="5514"/>
                  </a:lnTo>
                  <a:lnTo>
                    <a:pt x="15968" y="5484"/>
                  </a:lnTo>
                  <a:lnTo>
                    <a:pt x="15948" y="5456"/>
                  </a:lnTo>
                  <a:lnTo>
                    <a:pt x="15928" y="5429"/>
                  </a:lnTo>
                  <a:lnTo>
                    <a:pt x="15907" y="5402"/>
                  </a:lnTo>
                  <a:lnTo>
                    <a:pt x="15884" y="5375"/>
                  </a:lnTo>
                  <a:lnTo>
                    <a:pt x="15861" y="5350"/>
                  </a:lnTo>
                  <a:lnTo>
                    <a:pt x="15837" y="53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15" name="îṧľidè">
              <a:extLst>
                <a:ext uri="{FF2B5EF4-FFF2-40B4-BE49-F238E27FC236}">
                  <a16:creationId xmlns:a16="http://schemas.microsoft.com/office/drawing/2014/main" id="{25376243-4E74-45F6-9157-99985670E760}"/>
                </a:ext>
              </a:extLst>
            </p:cNvPr>
            <p:cNvSpPr/>
            <p:nvPr/>
          </p:nvSpPr>
          <p:spPr bwMode="auto">
            <a:xfrm>
              <a:off x="2436173" y="1776049"/>
              <a:ext cx="164967" cy="172017"/>
            </a:xfrm>
            <a:custGeom>
              <a:avLst/>
              <a:gdLst>
                <a:gd name="T0" fmla="*/ 3132 w 4362"/>
                <a:gd name="T1" fmla="*/ 3096 h 4518"/>
                <a:gd name="T2" fmla="*/ 2633 w 4362"/>
                <a:gd name="T3" fmla="*/ 2415 h 4518"/>
                <a:gd name="T4" fmla="*/ 3056 w 4362"/>
                <a:gd name="T5" fmla="*/ 2277 h 4518"/>
                <a:gd name="T6" fmla="*/ 3379 w 4362"/>
                <a:gd name="T7" fmla="*/ 2332 h 4518"/>
                <a:gd name="T8" fmla="*/ 3583 w 4362"/>
                <a:gd name="T9" fmla="*/ 2521 h 4518"/>
                <a:gd name="T10" fmla="*/ 3655 w 4362"/>
                <a:gd name="T11" fmla="*/ 2803 h 4518"/>
                <a:gd name="T12" fmla="*/ 1124 w 4362"/>
                <a:gd name="T13" fmla="*/ 2140 h 4518"/>
                <a:gd name="T14" fmla="*/ 801 w 4362"/>
                <a:gd name="T15" fmla="*/ 1993 h 4518"/>
                <a:gd name="T16" fmla="*/ 680 w 4362"/>
                <a:gd name="T17" fmla="*/ 1678 h 4518"/>
                <a:gd name="T18" fmla="*/ 821 w 4362"/>
                <a:gd name="T19" fmla="*/ 1269 h 4518"/>
                <a:gd name="T20" fmla="*/ 1394 w 4362"/>
                <a:gd name="T21" fmla="*/ 1652 h 4518"/>
                <a:gd name="T22" fmla="*/ 1411 w 4362"/>
                <a:gd name="T23" fmla="*/ 2093 h 4518"/>
                <a:gd name="T24" fmla="*/ 3840 w 4362"/>
                <a:gd name="T25" fmla="*/ 1684 h 4518"/>
                <a:gd name="T26" fmla="*/ 3406 w 4362"/>
                <a:gd name="T27" fmla="*/ 1499 h 4518"/>
                <a:gd name="T28" fmla="*/ 2969 w 4362"/>
                <a:gd name="T29" fmla="*/ 1472 h 4518"/>
                <a:gd name="T30" fmla="*/ 2528 w 4362"/>
                <a:gd name="T31" fmla="*/ 1573 h 4518"/>
                <a:gd name="T32" fmla="*/ 1732 w 4362"/>
                <a:gd name="T33" fmla="*/ 1516 h 4518"/>
                <a:gd name="T34" fmla="*/ 1241 w 4362"/>
                <a:gd name="T35" fmla="*/ 847 h 4518"/>
                <a:gd name="T36" fmla="*/ 1571 w 4362"/>
                <a:gd name="T37" fmla="*/ 732 h 4518"/>
                <a:gd name="T38" fmla="*/ 2116 w 4362"/>
                <a:gd name="T39" fmla="*/ 825 h 4518"/>
                <a:gd name="T40" fmla="*/ 2348 w 4362"/>
                <a:gd name="T41" fmla="*/ 801 h 4518"/>
                <a:gd name="T42" fmla="*/ 2491 w 4362"/>
                <a:gd name="T43" fmla="*/ 617 h 4518"/>
                <a:gd name="T44" fmla="*/ 2475 w 4362"/>
                <a:gd name="T45" fmla="*/ 366 h 4518"/>
                <a:gd name="T46" fmla="*/ 2240 w 4362"/>
                <a:gd name="T47" fmla="*/ 108 h 4518"/>
                <a:gd name="T48" fmla="*/ 1861 w 4362"/>
                <a:gd name="T49" fmla="*/ 2 h 4518"/>
                <a:gd name="T50" fmla="*/ 1447 w 4362"/>
                <a:gd name="T51" fmla="*/ 51 h 4518"/>
                <a:gd name="T52" fmla="*/ 1028 w 4362"/>
                <a:gd name="T53" fmla="*/ 241 h 4518"/>
                <a:gd name="T54" fmla="*/ 593 w 4362"/>
                <a:gd name="T55" fmla="*/ 342 h 4518"/>
                <a:gd name="T56" fmla="*/ 417 w 4362"/>
                <a:gd name="T57" fmla="*/ 344 h 4518"/>
                <a:gd name="T58" fmla="*/ 317 w 4362"/>
                <a:gd name="T59" fmla="*/ 504 h 4518"/>
                <a:gd name="T60" fmla="*/ 456 w 4362"/>
                <a:gd name="T61" fmla="*/ 721 h 4518"/>
                <a:gd name="T62" fmla="*/ 211 w 4362"/>
                <a:gd name="T63" fmla="*/ 1149 h 4518"/>
                <a:gd name="T64" fmla="*/ 34 w 4362"/>
                <a:gd name="T65" fmla="*/ 1621 h 4518"/>
                <a:gd name="T66" fmla="*/ 10 w 4362"/>
                <a:gd name="T67" fmla="*/ 2070 h 4518"/>
                <a:gd name="T68" fmla="*/ 158 w 4362"/>
                <a:gd name="T69" fmla="*/ 2459 h 4518"/>
                <a:gd name="T70" fmla="*/ 474 w 4362"/>
                <a:gd name="T71" fmla="*/ 2756 h 4518"/>
                <a:gd name="T72" fmla="*/ 828 w 4362"/>
                <a:gd name="T73" fmla="*/ 2905 h 4518"/>
                <a:gd name="T74" fmla="*/ 1261 w 4362"/>
                <a:gd name="T75" fmla="*/ 2929 h 4518"/>
                <a:gd name="T76" fmla="*/ 2177 w 4362"/>
                <a:gd name="T77" fmla="*/ 2653 h 4518"/>
                <a:gd name="T78" fmla="*/ 2973 w 4362"/>
                <a:gd name="T79" fmla="*/ 3437 h 4518"/>
                <a:gd name="T80" fmla="*/ 2902 w 4362"/>
                <a:gd name="T81" fmla="*/ 3773 h 4518"/>
                <a:gd name="T82" fmla="*/ 2620 w 4362"/>
                <a:gd name="T83" fmla="*/ 3814 h 4518"/>
                <a:gd name="T84" fmla="*/ 2301 w 4362"/>
                <a:gd name="T85" fmla="*/ 3676 h 4518"/>
                <a:gd name="T86" fmla="*/ 1951 w 4362"/>
                <a:gd name="T87" fmla="*/ 3525 h 4518"/>
                <a:gd name="T88" fmla="*/ 1747 w 4362"/>
                <a:gd name="T89" fmla="*/ 3591 h 4518"/>
                <a:gd name="T90" fmla="*/ 1591 w 4362"/>
                <a:gd name="T91" fmla="*/ 3790 h 4518"/>
                <a:gd name="T92" fmla="*/ 1619 w 4362"/>
                <a:gd name="T93" fmla="*/ 4034 h 4518"/>
                <a:gd name="T94" fmla="*/ 1834 w 4362"/>
                <a:gd name="T95" fmla="*/ 4277 h 4518"/>
                <a:gd name="T96" fmla="*/ 2170 w 4362"/>
                <a:gd name="T97" fmla="*/ 4454 h 4518"/>
                <a:gd name="T98" fmla="*/ 2588 w 4362"/>
                <a:gd name="T99" fmla="*/ 4518 h 4518"/>
                <a:gd name="T100" fmla="*/ 3057 w 4362"/>
                <a:gd name="T101" fmla="*/ 4420 h 4518"/>
                <a:gd name="T102" fmla="*/ 3543 w 4362"/>
                <a:gd name="T103" fmla="*/ 4094 h 4518"/>
                <a:gd name="T104" fmla="*/ 3921 w 4362"/>
                <a:gd name="T105" fmla="*/ 4346 h 4518"/>
                <a:gd name="T106" fmla="*/ 4078 w 4362"/>
                <a:gd name="T107" fmla="*/ 4315 h 4518"/>
                <a:gd name="T108" fmla="*/ 4164 w 4362"/>
                <a:gd name="T109" fmla="*/ 4161 h 4518"/>
                <a:gd name="T110" fmla="*/ 4000 w 4362"/>
                <a:gd name="T111" fmla="*/ 3928 h 4518"/>
                <a:gd name="T112" fmla="*/ 4060 w 4362"/>
                <a:gd name="T113" fmla="*/ 3466 h 4518"/>
                <a:gd name="T114" fmla="*/ 4292 w 4362"/>
                <a:gd name="T115" fmla="*/ 2963 h 4518"/>
                <a:gd name="T116" fmla="*/ 4361 w 4362"/>
                <a:gd name="T117" fmla="*/ 2501 h 4518"/>
                <a:gd name="T118" fmla="*/ 4260 w 4362"/>
                <a:gd name="T119" fmla="*/ 2107 h 4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362" h="4518">
                  <a:moveTo>
                    <a:pt x="3555" y="3147"/>
                  </a:moveTo>
                  <a:lnTo>
                    <a:pt x="3538" y="3178"/>
                  </a:lnTo>
                  <a:lnTo>
                    <a:pt x="3520" y="3209"/>
                  </a:lnTo>
                  <a:lnTo>
                    <a:pt x="3501" y="3238"/>
                  </a:lnTo>
                  <a:lnTo>
                    <a:pt x="3481" y="3266"/>
                  </a:lnTo>
                  <a:lnTo>
                    <a:pt x="3461" y="3293"/>
                  </a:lnTo>
                  <a:lnTo>
                    <a:pt x="3441" y="3319"/>
                  </a:lnTo>
                  <a:lnTo>
                    <a:pt x="3419" y="3345"/>
                  </a:lnTo>
                  <a:lnTo>
                    <a:pt x="3397" y="3371"/>
                  </a:lnTo>
                  <a:lnTo>
                    <a:pt x="3343" y="3316"/>
                  </a:lnTo>
                  <a:lnTo>
                    <a:pt x="3291" y="3262"/>
                  </a:lnTo>
                  <a:lnTo>
                    <a:pt x="3237" y="3208"/>
                  </a:lnTo>
                  <a:lnTo>
                    <a:pt x="3185" y="3151"/>
                  </a:lnTo>
                  <a:lnTo>
                    <a:pt x="3132" y="3096"/>
                  </a:lnTo>
                  <a:lnTo>
                    <a:pt x="3079" y="3040"/>
                  </a:lnTo>
                  <a:lnTo>
                    <a:pt x="3026" y="2982"/>
                  </a:lnTo>
                  <a:lnTo>
                    <a:pt x="2973" y="2925"/>
                  </a:lnTo>
                  <a:lnTo>
                    <a:pt x="2920" y="2867"/>
                  </a:lnTo>
                  <a:lnTo>
                    <a:pt x="2867" y="2808"/>
                  </a:lnTo>
                  <a:lnTo>
                    <a:pt x="2814" y="2750"/>
                  </a:lnTo>
                  <a:lnTo>
                    <a:pt x="2762" y="2690"/>
                  </a:lnTo>
                  <a:lnTo>
                    <a:pt x="2708" y="2631"/>
                  </a:lnTo>
                  <a:lnTo>
                    <a:pt x="2656" y="2572"/>
                  </a:lnTo>
                  <a:lnTo>
                    <a:pt x="2602" y="2511"/>
                  </a:lnTo>
                  <a:lnTo>
                    <a:pt x="2550" y="2452"/>
                  </a:lnTo>
                  <a:lnTo>
                    <a:pt x="2577" y="2440"/>
                  </a:lnTo>
                  <a:lnTo>
                    <a:pt x="2604" y="2427"/>
                  </a:lnTo>
                  <a:lnTo>
                    <a:pt x="2633" y="2415"/>
                  </a:lnTo>
                  <a:lnTo>
                    <a:pt x="2661" y="2403"/>
                  </a:lnTo>
                  <a:lnTo>
                    <a:pt x="2690" y="2390"/>
                  </a:lnTo>
                  <a:lnTo>
                    <a:pt x="2719" y="2377"/>
                  </a:lnTo>
                  <a:lnTo>
                    <a:pt x="2748" y="2365"/>
                  </a:lnTo>
                  <a:lnTo>
                    <a:pt x="2779" y="2351"/>
                  </a:lnTo>
                  <a:lnTo>
                    <a:pt x="2810" y="2339"/>
                  </a:lnTo>
                  <a:lnTo>
                    <a:pt x="2840" y="2328"/>
                  </a:lnTo>
                  <a:lnTo>
                    <a:pt x="2871" y="2318"/>
                  </a:lnTo>
                  <a:lnTo>
                    <a:pt x="2902" y="2308"/>
                  </a:lnTo>
                  <a:lnTo>
                    <a:pt x="2932" y="2300"/>
                  </a:lnTo>
                  <a:lnTo>
                    <a:pt x="2963" y="2293"/>
                  </a:lnTo>
                  <a:lnTo>
                    <a:pt x="2993" y="2286"/>
                  </a:lnTo>
                  <a:lnTo>
                    <a:pt x="3025" y="2281"/>
                  </a:lnTo>
                  <a:lnTo>
                    <a:pt x="3056" y="2277"/>
                  </a:lnTo>
                  <a:lnTo>
                    <a:pt x="3087" y="2274"/>
                  </a:lnTo>
                  <a:lnTo>
                    <a:pt x="3119" y="2273"/>
                  </a:lnTo>
                  <a:lnTo>
                    <a:pt x="3149" y="2274"/>
                  </a:lnTo>
                  <a:lnTo>
                    <a:pt x="3180" y="2276"/>
                  </a:lnTo>
                  <a:lnTo>
                    <a:pt x="3211" y="2280"/>
                  </a:lnTo>
                  <a:lnTo>
                    <a:pt x="3243" y="2285"/>
                  </a:lnTo>
                  <a:lnTo>
                    <a:pt x="3274" y="2292"/>
                  </a:lnTo>
                  <a:lnTo>
                    <a:pt x="3289" y="2296"/>
                  </a:lnTo>
                  <a:lnTo>
                    <a:pt x="3304" y="2300"/>
                  </a:lnTo>
                  <a:lnTo>
                    <a:pt x="3319" y="2306"/>
                  </a:lnTo>
                  <a:lnTo>
                    <a:pt x="3334" y="2311"/>
                  </a:lnTo>
                  <a:lnTo>
                    <a:pt x="3349" y="2318"/>
                  </a:lnTo>
                  <a:lnTo>
                    <a:pt x="3364" y="2325"/>
                  </a:lnTo>
                  <a:lnTo>
                    <a:pt x="3379" y="2332"/>
                  </a:lnTo>
                  <a:lnTo>
                    <a:pt x="3393" y="2340"/>
                  </a:lnTo>
                  <a:lnTo>
                    <a:pt x="3408" y="2349"/>
                  </a:lnTo>
                  <a:lnTo>
                    <a:pt x="3422" y="2359"/>
                  </a:lnTo>
                  <a:lnTo>
                    <a:pt x="3436" y="2369"/>
                  </a:lnTo>
                  <a:lnTo>
                    <a:pt x="3450" y="2379"/>
                  </a:lnTo>
                  <a:lnTo>
                    <a:pt x="3463" y="2390"/>
                  </a:lnTo>
                  <a:lnTo>
                    <a:pt x="3477" y="2401"/>
                  </a:lnTo>
                  <a:lnTo>
                    <a:pt x="3492" y="2413"/>
                  </a:lnTo>
                  <a:lnTo>
                    <a:pt x="3505" y="2426"/>
                  </a:lnTo>
                  <a:lnTo>
                    <a:pt x="3530" y="2453"/>
                  </a:lnTo>
                  <a:lnTo>
                    <a:pt x="3553" y="2480"/>
                  </a:lnTo>
                  <a:lnTo>
                    <a:pt x="3564" y="2493"/>
                  </a:lnTo>
                  <a:lnTo>
                    <a:pt x="3573" y="2507"/>
                  </a:lnTo>
                  <a:lnTo>
                    <a:pt x="3583" y="2521"/>
                  </a:lnTo>
                  <a:lnTo>
                    <a:pt x="3591" y="2535"/>
                  </a:lnTo>
                  <a:lnTo>
                    <a:pt x="3599" y="2549"/>
                  </a:lnTo>
                  <a:lnTo>
                    <a:pt x="3608" y="2563"/>
                  </a:lnTo>
                  <a:lnTo>
                    <a:pt x="3615" y="2578"/>
                  </a:lnTo>
                  <a:lnTo>
                    <a:pt x="3621" y="2592"/>
                  </a:lnTo>
                  <a:lnTo>
                    <a:pt x="3626" y="2606"/>
                  </a:lnTo>
                  <a:lnTo>
                    <a:pt x="3631" y="2621"/>
                  </a:lnTo>
                  <a:lnTo>
                    <a:pt x="3635" y="2635"/>
                  </a:lnTo>
                  <a:lnTo>
                    <a:pt x="3639" y="2650"/>
                  </a:lnTo>
                  <a:lnTo>
                    <a:pt x="3645" y="2680"/>
                  </a:lnTo>
                  <a:lnTo>
                    <a:pt x="3650" y="2711"/>
                  </a:lnTo>
                  <a:lnTo>
                    <a:pt x="3653" y="2742"/>
                  </a:lnTo>
                  <a:lnTo>
                    <a:pt x="3655" y="2772"/>
                  </a:lnTo>
                  <a:lnTo>
                    <a:pt x="3655" y="2803"/>
                  </a:lnTo>
                  <a:lnTo>
                    <a:pt x="3653" y="2833"/>
                  </a:lnTo>
                  <a:lnTo>
                    <a:pt x="3650" y="2865"/>
                  </a:lnTo>
                  <a:lnTo>
                    <a:pt x="3646" y="2896"/>
                  </a:lnTo>
                  <a:lnTo>
                    <a:pt x="3640" y="2927"/>
                  </a:lnTo>
                  <a:lnTo>
                    <a:pt x="3632" y="2958"/>
                  </a:lnTo>
                  <a:lnTo>
                    <a:pt x="3623" y="2989"/>
                  </a:lnTo>
                  <a:lnTo>
                    <a:pt x="3613" y="3021"/>
                  </a:lnTo>
                  <a:lnTo>
                    <a:pt x="3600" y="3053"/>
                  </a:lnTo>
                  <a:lnTo>
                    <a:pt x="3586" y="3084"/>
                  </a:lnTo>
                  <a:lnTo>
                    <a:pt x="3571" y="3116"/>
                  </a:lnTo>
                  <a:lnTo>
                    <a:pt x="3555" y="3147"/>
                  </a:lnTo>
                  <a:close/>
                  <a:moveTo>
                    <a:pt x="1177" y="2140"/>
                  </a:moveTo>
                  <a:lnTo>
                    <a:pt x="1150" y="2141"/>
                  </a:lnTo>
                  <a:lnTo>
                    <a:pt x="1124" y="2140"/>
                  </a:lnTo>
                  <a:lnTo>
                    <a:pt x="1099" y="2138"/>
                  </a:lnTo>
                  <a:lnTo>
                    <a:pt x="1074" y="2135"/>
                  </a:lnTo>
                  <a:lnTo>
                    <a:pt x="1049" y="2130"/>
                  </a:lnTo>
                  <a:lnTo>
                    <a:pt x="1024" y="2124"/>
                  </a:lnTo>
                  <a:lnTo>
                    <a:pt x="1000" y="2117"/>
                  </a:lnTo>
                  <a:lnTo>
                    <a:pt x="976" y="2109"/>
                  </a:lnTo>
                  <a:lnTo>
                    <a:pt x="953" y="2099"/>
                  </a:lnTo>
                  <a:lnTo>
                    <a:pt x="931" y="2088"/>
                  </a:lnTo>
                  <a:lnTo>
                    <a:pt x="907" y="2076"/>
                  </a:lnTo>
                  <a:lnTo>
                    <a:pt x="885" y="2062"/>
                  </a:lnTo>
                  <a:lnTo>
                    <a:pt x="864" y="2047"/>
                  </a:lnTo>
                  <a:lnTo>
                    <a:pt x="843" y="2031"/>
                  </a:lnTo>
                  <a:lnTo>
                    <a:pt x="822" y="2012"/>
                  </a:lnTo>
                  <a:lnTo>
                    <a:pt x="801" y="1993"/>
                  </a:lnTo>
                  <a:lnTo>
                    <a:pt x="784" y="1977"/>
                  </a:lnTo>
                  <a:lnTo>
                    <a:pt x="769" y="1959"/>
                  </a:lnTo>
                  <a:lnTo>
                    <a:pt x="755" y="1940"/>
                  </a:lnTo>
                  <a:lnTo>
                    <a:pt x="742" y="1920"/>
                  </a:lnTo>
                  <a:lnTo>
                    <a:pt x="730" y="1900"/>
                  </a:lnTo>
                  <a:lnTo>
                    <a:pt x="720" y="1878"/>
                  </a:lnTo>
                  <a:lnTo>
                    <a:pt x="711" y="1856"/>
                  </a:lnTo>
                  <a:lnTo>
                    <a:pt x="703" y="1831"/>
                  </a:lnTo>
                  <a:lnTo>
                    <a:pt x="696" y="1807"/>
                  </a:lnTo>
                  <a:lnTo>
                    <a:pt x="690" y="1783"/>
                  </a:lnTo>
                  <a:lnTo>
                    <a:pt x="686" y="1758"/>
                  </a:lnTo>
                  <a:lnTo>
                    <a:pt x="683" y="1732"/>
                  </a:lnTo>
                  <a:lnTo>
                    <a:pt x="681" y="1705"/>
                  </a:lnTo>
                  <a:lnTo>
                    <a:pt x="680" y="1678"/>
                  </a:lnTo>
                  <a:lnTo>
                    <a:pt x="681" y="1650"/>
                  </a:lnTo>
                  <a:lnTo>
                    <a:pt x="684" y="1622"/>
                  </a:lnTo>
                  <a:lnTo>
                    <a:pt x="687" y="1593"/>
                  </a:lnTo>
                  <a:lnTo>
                    <a:pt x="691" y="1564"/>
                  </a:lnTo>
                  <a:lnTo>
                    <a:pt x="698" y="1536"/>
                  </a:lnTo>
                  <a:lnTo>
                    <a:pt x="705" y="1507"/>
                  </a:lnTo>
                  <a:lnTo>
                    <a:pt x="715" y="1476"/>
                  </a:lnTo>
                  <a:lnTo>
                    <a:pt x="725" y="1447"/>
                  </a:lnTo>
                  <a:lnTo>
                    <a:pt x="738" y="1418"/>
                  </a:lnTo>
                  <a:lnTo>
                    <a:pt x="752" y="1388"/>
                  </a:lnTo>
                  <a:lnTo>
                    <a:pt x="766" y="1358"/>
                  </a:lnTo>
                  <a:lnTo>
                    <a:pt x="783" y="1328"/>
                  </a:lnTo>
                  <a:lnTo>
                    <a:pt x="802" y="1298"/>
                  </a:lnTo>
                  <a:lnTo>
                    <a:pt x="821" y="1269"/>
                  </a:lnTo>
                  <a:lnTo>
                    <a:pt x="842" y="1240"/>
                  </a:lnTo>
                  <a:lnTo>
                    <a:pt x="865" y="1210"/>
                  </a:lnTo>
                  <a:lnTo>
                    <a:pt x="889" y="1181"/>
                  </a:lnTo>
                  <a:lnTo>
                    <a:pt x="915" y="1152"/>
                  </a:lnTo>
                  <a:lnTo>
                    <a:pt x="963" y="1200"/>
                  </a:lnTo>
                  <a:lnTo>
                    <a:pt x="1011" y="1248"/>
                  </a:lnTo>
                  <a:lnTo>
                    <a:pt x="1060" y="1297"/>
                  </a:lnTo>
                  <a:lnTo>
                    <a:pt x="1107" y="1347"/>
                  </a:lnTo>
                  <a:lnTo>
                    <a:pt x="1154" y="1397"/>
                  </a:lnTo>
                  <a:lnTo>
                    <a:pt x="1203" y="1447"/>
                  </a:lnTo>
                  <a:lnTo>
                    <a:pt x="1250" y="1497"/>
                  </a:lnTo>
                  <a:lnTo>
                    <a:pt x="1299" y="1549"/>
                  </a:lnTo>
                  <a:lnTo>
                    <a:pt x="1346" y="1600"/>
                  </a:lnTo>
                  <a:lnTo>
                    <a:pt x="1394" y="1652"/>
                  </a:lnTo>
                  <a:lnTo>
                    <a:pt x="1442" y="1705"/>
                  </a:lnTo>
                  <a:lnTo>
                    <a:pt x="1490" y="1758"/>
                  </a:lnTo>
                  <a:lnTo>
                    <a:pt x="1538" y="1810"/>
                  </a:lnTo>
                  <a:lnTo>
                    <a:pt x="1586" y="1864"/>
                  </a:lnTo>
                  <a:lnTo>
                    <a:pt x="1633" y="1918"/>
                  </a:lnTo>
                  <a:lnTo>
                    <a:pt x="1682" y="1971"/>
                  </a:lnTo>
                  <a:lnTo>
                    <a:pt x="1645" y="1990"/>
                  </a:lnTo>
                  <a:lnTo>
                    <a:pt x="1610" y="2008"/>
                  </a:lnTo>
                  <a:lnTo>
                    <a:pt x="1575" y="2026"/>
                  </a:lnTo>
                  <a:lnTo>
                    <a:pt x="1541" y="2042"/>
                  </a:lnTo>
                  <a:lnTo>
                    <a:pt x="1507" y="2057"/>
                  </a:lnTo>
                  <a:lnTo>
                    <a:pt x="1474" y="2070"/>
                  </a:lnTo>
                  <a:lnTo>
                    <a:pt x="1442" y="2082"/>
                  </a:lnTo>
                  <a:lnTo>
                    <a:pt x="1411" y="2093"/>
                  </a:lnTo>
                  <a:lnTo>
                    <a:pt x="1379" y="2103"/>
                  </a:lnTo>
                  <a:lnTo>
                    <a:pt x="1348" y="2112"/>
                  </a:lnTo>
                  <a:lnTo>
                    <a:pt x="1319" y="2120"/>
                  </a:lnTo>
                  <a:lnTo>
                    <a:pt x="1289" y="2126"/>
                  </a:lnTo>
                  <a:lnTo>
                    <a:pt x="1260" y="2131"/>
                  </a:lnTo>
                  <a:lnTo>
                    <a:pt x="1232" y="2135"/>
                  </a:lnTo>
                  <a:lnTo>
                    <a:pt x="1204" y="2138"/>
                  </a:lnTo>
                  <a:lnTo>
                    <a:pt x="1177" y="2140"/>
                  </a:lnTo>
                  <a:close/>
                  <a:moveTo>
                    <a:pt x="3995" y="1799"/>
                  </a:moveTo>
                  <a:lnTo>
                    <a:pt x="3964" y="1774"/>
                  </a:lnTo>
                  <a:lnTo>
                    <a:pt x="3933" y="1750"/>
                  </a:lnTo>
                  <a:lnTo>
                    <a:pt x="3903" y="1727"/>
                  </a:lnTo>
                  <a:lnTo>
                    <a:pt x="3872" y="1705"/>
                  </a:lnTo>
                  <a:lnTo>
                    <a:pt x="3840" y="1684"/>
                  </a:lnTo>
                  <a:lnTo>
                    <a:pt x="3810" y="1663"/>
                  </a:lnTo>
                  <a:lnTo>
                    <a:pt x="3779" y="1644"/>
                  </a:lnTo>
                  <a:lnTo>
                    <a:pt x="3748" y="1626"/>
                  </a:lnTo>
                  <a:lnTo>
                    <a:pt x="3716" y="1610"/>
                  </a:lnTo>
                  <a:lnTo>
                    <a:pt x="3686" y="1594"/>
                  </a:lnTo>
                  <a:lnTo>
                    <a:pt x="3655" y="1579"/>
                  </a:lnTo>
                  <a:lnTo>
                    <a:pt x="3624" y="1566"/>
                  </a:lnTo>
                  <a:lnTo>
                    <a:pt x="3592" y="1554"/>
                  </a:lnTo>
                  <a:lnTo>
                    <a:pt x="3561" y="1542"/>
                  </a:lnTo>
                  <a:lnTo>
                    <a:pt x="3530" y="1532"/>
                  </a:lnTo>
                  <a:lnTo>
                    <a:pt x="3499" y="1523"/>
                  </a:lnTo>
                  <a:lnTo>
                    <a:pt x="3468" y="1515"/>
                  </a:lnTo>
                  <a:lnTo>
                    <a:pt x="3437" y="1507"/>
                  </a:lnTo>
                  <a:lnTo>
                    <a:pt x="3406" y="1499"/>
                  </a:lnTo>
                  <a:lnTo>
                    <a:pt x="3375" y="1493"/>
                  </a:lnTo>
                  <a:lnTo>
                    <a:pt x="3344" y="1487"/>
                  </a:lnTo>
                  <a:lnTo>
                    <a:pt x="3313" y="1482"/>
                  </a:lnTo>
                  <a:lnTo>
                    <a:pt x="3282" y="1478"/>
                  </a:lnTo>
                  <a:lnTo>
                    <a:pt x="3251" y="1474"/>
                  </a:lnTo>
                  <a:lnTo>
                    <a:pt x="3219" y="1471"/>
                  </a:lnTo>
                  <a:lnTo>
                    <a:pt x="3188" y="1469"/>
                  </a:lnTo>
                  <a:lnTo>
                    <a:pt x="3157" y="1467"/>
                  </a:lnTo>
                  <a:lnTo>
                    <a:pt x="3126" y="1466"/>
                  </a:lnTo>
                  <a:lnTo>
                    <a:pt x="3094" y="1466"/>
                  </a:lnTo>
                  <a:lnTo>
                    <a:pt x="3063" y="1466"/>
                  </a:lnTo>
                  <a:lnTo>
                    <a:pt x="3032" y="1467"/>
                  </a:lnTo>
                  <a:lnTo>
                    <a:pt x="3001" y="1469"/>
                  </a:lnTo>
                  <a:lnTo>
                    <a:pt x="2969" y="1472"/>
                  </a:lnTo>
                  <a:lnTo>
                    <a:pt x="2938" y="1475"/>
                  </a:lnTo>
                  <a:lnTo>
                    <a:pt x="2907" y="1479"/>
                  </a:lnTo>
                  <a:lnTo>
                    <a:pt x="2876" y="1483"/>
                  </a:lnTo>
                  <a:lnTo>
                    <a:pt x="2844" y="1488"/>
                  </a:lnTo>
                  <a:lnTo>
                    <a:pt x="2813" y="1494"/>
                  </a:lnTo>
                  <a:lnTo>
                    <a:pt x="2782" y="1500"/>
                  </a:lnTo>
                  <a:lnTo>
                    <a:pt x="2751" y="1508"/>
                  </a:lnTo>
                  <a:lnTo>
                    <a:pt x="2718" y="1515"/>
                  </a:lnTo>
                  <a:lnTo>
                    <a:pt x="2687" y="1523"/>
                  </a:lnTo>
                  <a:lnTo>
                    <a:pt x="2655" y="1532"/>
                  </a:lnTo>
                  <a:lnTo>
                    <a:pt x="2623" y="1541"/>
                  </a:lnTo>
                  <a:lnTo>
                    <a:pt x="2591" y="1551"/>
                  </a:lnTo>
                  <a:lnTo>
                    <a:pt x="2560" y="1562"/>
                  </a:lnTo>
                  <a:lnTo>
                    <a:pt x="2528" y="1573"/>
                  </a:lnTo>
                  <a:lnTo>
                    <a:pt x="2496" y="1585"/>
                  </a:lnTo>
                  <a:lnTo>
                    <a:pt x="2433" y="1609"/>
                  </a:lnTo>
                  <a:lnTo>
                    <a:pt x="2369" y="1635"/>
                  </a:lnTo>
                  <a:lnTo>
                    <a:pt x="2306" y="1661"/>
                  </a:lnTo>
                  <a:lnTo>
                    <a:pt x="2241" y="1688"/>
                  </a:lnTo>
                  <a:lnTo>
                    <a:pt x="2178" y="1716"/>
                  </a:lnTo>
                  <a:lnTo>
                    <a:pt x="2114" y="1744"/>
                  </a:lnTo>
                  <a:lnTo>
                    <a:pt x="2050" y="1774"/>
                  </a:lnTo>
                  <a:lnTo>
                    <a:pt x="1986" y="1804"/>
                  </a:lnTo>
                  <a:lnTo>
                    <a:pt x="1935" y="1746"/>
                  </a:lnTo>
                  <a:lnTo>
                    <a:pt x="1884" y="1689"/>
                  </a:lnTo>
                  <a:lnTo>
                    <a:pt x="1833" y="1630"/>
                  </a:lnTo>
                  <a:lnTo>
                    <a:pt x="1783" y="1573"/>
                  </a:lnTo>
                  <a:lnTo>
                    <a:pt x="1732" y="1516"/>
                  </a:lnTo>
                  <a:lnTo>
                    <a:pt x="1681" y="1458"/>
                  </a:lnTo>
                  <a:lnTo>
                    <a:pt x="1630" y="1401"/>
                  </a:lnTo>
                  <a:lnTo>
                    <a:pt x="1580" y="1344"/>
                  </a:lnTo>
                  <a:lnTo>
                    <a:pt x="1529" y="1287"/>
                  </a:lnTo>
                  <a:lnTo>
                    <a:pt x="1478" y="1231"/>
                  </a:lnTo>
                  <a:lnTo>
                    <a:pt x="1428" y="1176"/>
                  </a:lnTo>
                  <a:lnTo>
                    <a:pt x="1376" y="1120"/>
                  </a:lnTo>
                  <a:lnTo>
                    <a:pt x="1326" y="1065"/>
                  </a:lnTo>
                  <a:lnTo>
                    <a:pt x="1274" y="1011"/>
                  </a:lnTo>
                  <a:lnTo>
                    <a:pt x="1224" y="956"/>
                  </a:lnTo>
                  <a:lnTo>
                    <a:pt x="1174" y="903"/>
                  </a:lnTo>
                  <a:lnTo>
                    <a:pt x="1196" y="883"/>
                  </a:lnTo>
                  <a:lnTo>
                    <a:pt x="1219" y="864"/>
                  </a:lnTo>
                  <a:lnTo>
                    <a:pt x="1241" y="847"/>
                  </a:lnTo>
                  <a:lnTo>
                    <a:pt x="1264" y="830"/>
                  </a:lnTo>
                  <a:lnTo>
                    <a:pt x="1287" y="815"/>
                  </a:lnTo>
                  <a:lnTo>
                    <a:pt x="1309" y="801"/>
                  </a:lnTo>
                  <a:lnTo>
                    <a:pt x="1331" y="789"/>
                  </a:lnTo>
                  <a:lnTo>
                    <a:pt x="1353" y="777"/>
                  </a:lnTo>
                  <a:lnTo>
                    <a:pt x="1375" y="768"/>
                  </a:lnTo>
                  <a:lnTo>
                    <a:pt x="1397" y="759"/>
                  </a:lnTo>
                  <a:lnTo>
                    <a:pt x="1420" y="751"/>
                  </a:lnTo>
                  <a:lnTo>
                    <a:pt x="1442" y="745"/>
                  </a:lnTo>
                  <a:lnTo>
                    <a:pt x="1463" y="740"/>
                  </a:lnTo>
                  <a:lnTo>
                    <a:pt x="1485" y="737"/>
                  </a:lnTo>
                  <a:lnTo>
                    <a:pt x="1506" y="734"/>
                  </a:lnTo>
                  <a:lnTo>
                    <a:pt x="1527" y="733"/>
                  </a:lnTo>
                  <a:lnTo>
                    <a:pt x="1571" y="732"/>
                  </a:lnTo>
                  <a:lnTo>
                    <a:pt x="1613" y="732"/>
                  </a:lnTo>
                  <a:lnTo>
                    <a:pt x="1655" y="734"/>
                  </a:lnTo>
                  <a:lnTo>
                    <a:pt x="1696" y="737"/>
                  </a:lnTo>
                  <a:lnTo>
                    <a:pt x="1737" y="742"/>
                  </a:lnTo>
                  <a:lnTo>
                    <a:pt x="1778" y="749"/>
                  </a:lnTo>
                  <a:lnTo>
                    <a:pt x="1817" y="757"/>
                  </a:lnTo>
                  <a:lnTo>
                    <a:pt x="1856" y="766"/>
                  </a:lnTo>
                  <a:lnTo>
                    <a:pt x="1897" y="776"/>
                  </a:lnTo>
                  <a:lnTo>
                    <a:pt x="1935" y="785"/>
                  </a:lnTo>
                  <a:lnTo>
                    <a:pt x="1972" y="794"/>
                  </a:lnTo>
                  <a:lnTo>
                    <a:pt x="2009" y="802"/>
                  </a:lnTo>
                  <a:lnTo>
                    <a:pt x="2046" y="810"/>
                  </a:lnTo>
                  <a:lnTo>
                    <a:pt x="2081" y="818"/>
                  </a:lnTo>
                  <a:lnTo>
                    <a:pt x="2116" y="825"/>
                  </a:lnTo>
                  <a:lnTo>
                    <a:pt x="2151" y="833"/>
                  </a:lnTo>
                  <a:lnTo>
                    <a:pt x="2167" y="836"/>
                  </a:lnTo>
                  <a:lnTo>
                    <a:pt x="2184" y="838"/>
                  </a:lnTo>
                  <a:lnTo>
                    <a:pt x="2200" y="839"/>
                  </a:lnTo>
                  <a:lnTo>
                    <a:pt x="2216" y="840"/>
                  </a:lnTo>
                  <a:lnTo>
                    <a:pt x="2231" y="839"/>
                  </a:lnTo>
                  <a:lnTo>
                    <a:pt x="2247" y="837"/>
                  </a:lnTo>
                  <a:lnTo>
                    <a:pt x="2263" y="835"/>
                  </a:lnTo>
                  <a:lnTo>
                    <a:pt x="2278" y="832"/>
                  </a:lnTo>
                  <a:lnTo>
                    <a:pt x="2292" y="827"/>
                  </a:lnTo>
                  <a:lnTo>
                    <a:pt x="2307" y="822"/>
                  </a:lnTo>
                  <a:lnTo>
                    <a:pt x="2321" y="816"/>
                  </a:lnTo>
                  <a:lnTo>
                    <a:pt x="2335" y="809"/>
                  </a:lnTo>
                  <a:lnTo>
                    <a:pt x="2348" y="801"/>
                  </a:lnTo>
                  <a:lnTo>
                    <a:pt x="2362" y="792"/>
                  </a:lnTo>
                  <a:lnTo>
                    <a:pt x="2375" y="783"/>
                  </a:lnTo>
                  <a:lnTo>
                    <a:pt x="2389" y="773"/>
                  </a:lnTo>
                  <a:lnTo>
                    <a:pt x="2402" y="761"/>
                  </a:lnTo>
                  <a:lnTo>
                    <a:pt x="2414" y="748"/>
                  </a:lnTo>
                  <a:lnTo>
                    <a:pt x="2426" y="735"/>
                  </a:lnTo>
                  <a:lnTo>
                    <a:pt x="2437" y="722"/>
                  </a:lnTo>
                  <a:lnTo>
                    <a:pt x="2447" y="709"/>
                  </a:lnTo>
                  <a:lnTo>
                    <a:pt x="2456" y="695"/>
                  </a:lnTo>
                  <a:lnTo>
                    <a:pt x="2465" y="680"/>
                  </a:lnTo>
                  <a:lnTo>
                    <a:pt x="2473" y="665"/>
                  </a:lnTo>
                  <a:lnTo>
                    <a:pt x="2480" y="649"/>
                  </a:lnTo>
                  <a:lnTo>
                    <a:pt x="2486" y="633"/>
                  </a:lnTo>
                  <a:lnTo>
                    <a:pt x="2491" y="617"/>
                  </a:lnTo>
                  <a:lnTo>
                    <a:pt x="2496" y="600"/>
                  </a:lnTo>
                  <a:lnTo>
                    <a:pt x="2500" y="584"/>
                  </a:lnTo>
                  <a:lnTo>
                    <a:pt x="2503" y="566"/>
                  </a:lnTo>
                  <a:lnTo>
                    <a:pt x="2507" y="549"/>
                  </a:lnTo>
                  <a:lnTo>
                    <a:pt x="2508" y="530"/>
                  </a:lnTo>
                  <a:lnTo>
                    <a:pt x="2508" y="512"/>
                  </a:lnTo>
                  <a:lnTo>
                    <a:pt x="2508" y="494"/>
                  </a:lnTo>
                  <a:lnTo>
                    <a:pt x="2505" y="474"/>
                  </a:lnTo>
                  <a:lnTo>
                    <a:pt x="2503" y="456"/>
                  </a:lnTo>
                  <a:lnTo>
                    <a:pt x="2499" y="438"/>
                  </a:lnTo>
                  <a:lnTo>
                    <a:pt x="2495" y="420"/>
                  </a:lnTo>
                  <a:lnTo>
                    <a:pt x="2489" y="402"/>
                  </a:lnTo>
                  <a:lnTo>
                    <a:pt x="2482" y="384"/>
                  </a:lnTo>
                  <a:lnTo>
                    <a:pt x="2475" y="366"/>
                  </a:lnTo>
                  <a:lnTo>
                    <a:pt x="2466" y="348"/>
                  </a:lnTo>
                  <a:lnTo>
                    <a:pt x="2456" y="330"/>
                  </a:lnTo>
                  <a:lnTo>
                    <a:pt x="2446" y="311"/>
                  </a:lnTo>
                  <a:lnTo>
                    <a:pt x="2434" y="293"/>
                  </a:lnTo>
                  <a:lnTo>
                    <a:pt x="2421" y="276"/>
                  </a:lnTo>
                  <a:lnTo>
                    <a:pt x="2407" y="258"/>
                  </a:lnTo>
                  <a:lnTo>
                    <a:pt x="2393" y="240"/>
                  </a:lnTo>
                  <a:lnTo>
                    <a:pt x="2372" y="218"/>
                  </a:lnTo>
                  <a:lnTo>
                    <a:pt x="2351" y="197"/>
                  </a:lnTo>
                  <a:lnTo>
                    <a:pt x="2330" y="177"/>
                  </a:lnTo>
                  <a:lnTo>
                    <a:pt x="2308" y="159"/>
                  </a:lnTo>
                  <a:lnTo>
                    <a:pt x="2286" y="140"/>
                  </a:lnTo>
                  <a:lnTo>
                    <a:pt x="2264" y="123"/>
                  </a:lnTo>
                  <a:lnTo>
                    <a:pt x="2240" y="108"/>
                  </a:lnTo>
                  <a:lnTo>
                    <a:pt x="2216" y="93"/>
                  </a:lnTo>
                  <a:lnTo>
                    <a:pt x="2192" y="80"/>
                  </a:lnTo>
                  <a:lnTo>
                    <a:pt x="2167" y="68"/>
                  </a:lnTo>
                  <a:lnTo>
                    <a:pt x="2142" y="57"/>
                  </a:lnTo>
                  <a:lnTo>
                    <a:pt x="2115" y="47"/>
                  </a:lnTo>
                  <a:lnTo>
                    <a:pt x="2088" y="38"/>
                  </a:lnTo>
                  <a:lnTo>
                    <a:pt x="2061" y="30"/>
                  </a:lnTo>
                  <a:lnTo>
                    <a:pt x="2033" y="23"/>
                  </a:lnTo>
                  <a:lnTo>
                    <a:pt x="2004" y="18"/>
                  </a:lnTo>
                  <a:lnTo>
                    <a:pt x="1976" y="13"/>
                  </a:lnTo>
                  <a:lnTo>
                    <a:pt x="1947" y="9"/>
                  </a:lnTo>
                  <a:lnTo>
                    <a:pt x="1919" y="6"/>
                  </a:lnTo>
                  <a:lnTo>
                    <a:pt x="1889" y="3"/>
                  </a:lnTo>
                  <a:lnTo>
                    <a:pt x="1861" y="2"/>
                  </a:lnTo>
                  <a:lnTo>
                    <a:pt x="1832" y="0"/>
                  </a:lnTo>
                  <a:lnTo>
                    <a:pt x="1803" y="0"/>
                  </a:lnTo>
                  <a:lnTo>
                    <a:pt x="1774" y="0"/>
                  </a:lnTo>
                  <a:lnTo>
                    <a:pt x="1744" y="1"/>
                  </a:lnTo>
                  <a:lnTo>
                    <a:pt x="1715" y="3"/>
                  </a:lnTo>
                  <a:lnTo>
                    <a:pt x="1685" y="5"/>
                  </a:lnTo>
                  <a:lnTo>
                    <a:pt x="1656" y="8"/>
                  </a:lnTo>
                  <a:lnTo>
                    <a:pt x="1625" y="12"/>
                  </a:lnTo>
                  <a:lnTo>
                    <a:pt x="1596" y="17"/>
                  </a:lnTo>
                  <a:lnTo>
                    <a:pt x="1566" y="22"/>
                  </a:lnTo>
                  <a:lnTo>
                    <a:pt x="1536" y="29"/>
                  </a:lnTo>
                  <a:lnTo>
                    <a:pt x="1505" y="36"/>
                  </a:lnTo>
                  <a:lnTo>
                    <a:pt x="1476" y="43"/>
                  </a:lnTo>
                  <a:lnTo>
                    <a:pt x="1447" y="51"/>
                  </a:lnTo>
                  <a:lnTo>
                    <a:pt x="1418" y="60"/>
                  </a:lnTo>
                  <a:lnTo>
                    <a:pt x="1388" y="69"/>
                  </a:lnTo>
                  <a:lnTo>
                    <a:pt x="1359" y="79"/>
                  </a:lnTo>
                  <a:lnTo>
                    <a:pt x="1331" y="89"/>
                  </a:lnTo>
                  <a:lnTo>
                    <a:pt x="1303" y="100"/>
                  </a:lnTo>
                  <a:lnTo>
                    <a:pt x="1274" y="112"/>
                  </a:lnTo>
                  <a:lnTo>
                    <a:pt x="1246" y="124"/>
                  </a:lnTo>
                  <a:lnTo>
                    <a:pt x="1218" y="136"/>
                  </a:lnTo>
                  <a:lnTo>
                    <a:pt x="1190" y="151"/>
                  </a:lnTo>
                  <a:lnTo>
                    <a:pt x="1163" y="164"/>
                  </a:lnTo>
                  <a:lnTo>
                    <a:pt x="1135" y="179"/>
                  </a:lnTo>
                  <a:lnTo>
                    <a:pt x="1108" y="194"/>
                  </a:lnTo>
                  <a:lnTo>
                    <a:pt x="1081" y="209"/>
                  </a:lnTo>
                  <a:lnTo>
                    <a:pt x="1028" y="241"/>
                  </a:lnTo>
                  <a:lnTo>
                    <a:pt x="978" y="272"/>
                  </a:lnTo>
                  <a:lnTo>
                    <a:pt x="932" y="304"/>
                  </a:lnTo>
                  <a:lnTo>
                    <a:pt x="886" y="337"/>
                  </a:lnTo>
                  <a:lnTo>
                    <a:pt x="845" y="369"/>
                  </a:lnTo>
                  <a:lnTo>
                    <a:pt x="806" y="401"/>
                  </a:lnTo>
                  <a:lnTo>
                    <a:pt x="769" y="432"/>
                  </a:lnTo>
                  <a:lnTo>
                    <a:pt x="736" y="464"/>
                  </a:lnTo>
                  <a:lnTo>
                    <a:pt x="712" y="441"/>
                  </a:lnTo>
                  <a:lnTo>
                    <a:pt x="687" y="418"/>
                  </a:lnTo>
                  <a:lnTo>
                    <a:pt x="662" y="395"/>
                  </a:lnTo>
                  <a:lnTo>
                    <a:pt x="637" y="372"/>
                  </a:lnTo>
                  <a:lnTo>
                    <a:pt x="623" y="360"/>
                  </a:lnTo>
                  <a:lnTo>
                    <a:pt x="609" y="350"/>
                  </a:lnTo>
                  <a:lnTo>
                    <a:pt x="593" y="342"/>
                  </a:lnTo>
                  <a:lnTo>
                    <a:pt x="577" y="335"/>
                  </a:lnTo>
                  <a:lnTo>
                    <a:pt x="559" y="329"/>
                  </a:lnTo>
                  <a:lnTo>
                    <a:pt x="540" y="325"/>
                  </a:lnTo>
                  <a:lnTo>
                    <a:pt x="521" y="323"/>
                  </a:lnTo>
                  <a:lnTo>
                    <a:pt x="502" y="323"/>
                  </a:lnTo>
                  <a:lnTo>
                    <a:pt x="491" y="323"/>
                  </a:lnTo>
                  <a:lnTo>
                    <a:pt x="482" y="324"/>
                  </a:lnTo>
                  <a:lnTo>
                    <a:pt x="472" y="325"/>
                  </a:lnTo>
                  <a:lnTo>
                    <a:pt x="462" y="327"/>
                  </a:lnTo>
                  <a:lnTo>
                    <a:pt x="453" y="329"/>
                  </a:lnTo>
                  <a:lnTo>
                    <a:pt x="444" y="332"/>
                  </a:lnTo>
                  <a:lnTo>
                    <a:pt x="435" y="336"/>
                  </a:lnTo>
                  <a:lnTo>
                    <a:pt x="426" y="340"/>
                  </a:lnTo>
                  <a:lnTo>
                    <a:pt x="417" y="344"/>
                  </a:lnTo>
                  <a:lnTo>
                    <a:pt x="409" y="349"/>
                  </a:lnTo>
                  <a:lnTo>
                    <a:pt x="401" y="355"/>
                  </a:lnTo>
                  <a:lnTo>
                    <a:pt x="393" y="360"/>
                  </a:lnTo>
                  <a:lnTo>
                    <a:pt x="378" y="374"/>
                  </a:lnTo>
                  <a:lnTo>
                    <a:pt x="364" y="389"/>
                  </a:lnTo>
                  <a:lnTo>
                    <a:pt x="351" y="405"/>
                  </a:lnTo>
                  <a:lnTo>
                    <a:pt x="341" y="422"/>
                  </a:lnTo>
                  <a:lnTo>
                    <a:pt x="332" y="439"/>
                  </a:lnTo>
                  <a:lnTo>
                    <a:pt x="325" y="457"/>
                  </a:lnTo>
                  <a:lnTo>
                    <a:pt x="322" y="466"/>
                  </a:lnTo>
                  <a:lnTo>
                    <a:pt x="320" y="475"/>
                  </a:lnTo>
                  <a:lnTo>
                    <a:pt x="318" y="484"/>
                  </a:lnTo>
                  <a:lnTo>
                    <a:pt x="317" y="494"/>
                  </a:lnTo>
                  <a:lnTo>
                    <a:pt x="317" y="504"/>
                  </a:lnTo>
                  <a:lnTo>
                    <a:pt x="316" y="513"/>
                  </a:lnTo>
                  <a:lnTo>
                    <a:pt x="317" y="523"/>
                  </a:lnTo>
                  <a:lnTo>
                    <a:pt x="318" y="533"/>
                  </a:lnTo>
                  <a:lnTo>
                    <a:pt x="321" y="552"/>
                  </a:lnTo>
                  <a:lnTo>
                    <a:pt x="325" y="570"/>
                  </a:lnTo>
                  <a:lnTo>
                    <a:pt x="330" y="588"/>
                  </a:lnTo>
                  <a:lnTo>
                    <a:pt x="338" y="604"/>
                  </a:lnTo>
                  <a:lnTo>
                    <a:pt x="346" y="619"/>
                  </a:lnTo>
                  <a:lnTo>
                    <a:pt x="357" y="633"/>
                  </a:lnTo>
                  <a:lnTo>
                    <a:pt x="368" y="646"/>
                  </a:lnTo>
                  <a:lnTo>
                    <a:pt x="381" y="660"/>
                  </a:lnTo>
                  <a:lnTo>
                    <a:pt x="406" y="680"/>
                  </a:lnTo>
                  <a:lnTo>
                    <a:pt x="431" y="700"/>
                  </a:lnTo>
                  <a:lnTo>
                    <a:pt x="456" y="721"/>
                  </a:lnTo>
                  <a:lnTo>
                    <a:pt x="480" y="743"/>
                  </a:lnTo>
                  <a:lnTo>
                    <a:pt x="456" y="772"/>
                  </a:lnTo>
                  <a:lnTo>
                    <a:pt x="433" y="801"/>
                  </a:lnTo>
                  <a:lnTo>
                    <a:pt x="410" y="832"/>
                  </a:lnTo>
                  <a:lnTo>
                    <a:pt x="387" y="862"/>
                  </a:lnTo>
                  <a:lnTo>
                    <a:pt x="366" y="893"/>
                  </a:lnTo>
                  <a:lnTo>
                    <a:pt x="345" y="924"/>
                  </a:lnTo>
                  <a:lnTo>
                    <a:pt x="324" y="955"/>
                  </a:lnTo>
                  <a:lnTo>
                    <a:pt x="303" y="986"/>
                  </a:lnTo>
                  <a:lnTo>
                    <a:pt x="284" y="1019"/>
                  </a:lnTo>
                  <a:lnTo>
                    <a:pt x="265" y="1051"/>
                  </a:lnTo>
                  <a:lnTo>
                    <a:pt x="246" y="1084"/>
                  </a:lnTo>
                  <a:lnTo>
                    <a:pt x="228" y="1116"/>
                  </a:lnTo>
                  <a:lnTo>
                    <a:pt x="211" y="1149"/>
                  </a:lnTo>
                  <a:lnTo>
                    <a:pt x="194" y="1183"/>
                  </a:lnTo>
                  <a:lnTo>
                    <a:pt x="177" y="1217"/>
                  </a:lnTo>
                  <a:lnTo>
                    <a:pt x="161" y="1251"/>
                  </a:lnTo>
                  <a:lnTo>
                    <a:pt x="146" y="1284"/>
                  </a:lnTo>
                  <a:lnTo>
                    <a:pt x="131" y="1318"/>
                  </a:lnTo>
                  <a:lnTo>
                    <a:pt x="117" y="1353"/>
                  </a:lnTo>
                  <a:lnTo>
                    <a:pt x="104" y="1387"/>
                  </a:lnTo>
                  <a:lnTo>
                    <a:pt x="92" y="1420"/>
                  </a:lnTo>
                  <a:lnTo>
                    <a:pt x="81" y="1454"/>
                  </a:lnTo>
                  <a:lnTo>
                    <a:pt x="70" y="1487"/>
                  </a:lnTo>
                  <a:lnTo>
                    <a:pt x="59" y="1521"/>
                  </a:lnTo>
                  <a:lnTo>
                    <a:pt x="50" y="1555"/>
                  </a:lnTo>
                  <a:lnTo>
                    <a:pt x="42" y="1588"/>
                  </a:lnTo>
                  <a:lnTo>
                    <a:pt x="34" y="1621"/>
                  </a:lnTo>
                  <a:lnTo>
                    <a:pt x="27" y="1654"/>
                  </a:lnTo>
                  <a:lnTo>
                    <a:pt x="21" y="1688"/>
                  </a:lnTo>
                  <a:lnTo>
                    <a:pt x="16" y="1721"/>
                  </a:lnTo>
                  <a:lnTo>
                    <a:pt x="11" y="1754"/>
                  </a:lnTo>
                  <a:lnTo>
                    <a:pt x="8" y="1787"/>
                  </a:lnTo>
                  <a:lnTo>
                    <a:pt x="4" y="1819"/>
                  </a:lnTo>
                  <a:lnTo>
                    <a:pt x="2" y="1852"/>
                  </a:lnTo>
                  <a:lnTo>
                    <a:pt x="1" y="1884"/>
                  </a:lnTo>
                  <a:lnTo>
                    <a:pt x="0" y="1916"/>
                  </a:lnTo>
                  <a:lnTo>
                    <a:pt x="0" y="1947"/>
                  </a:lnTo>
                  <a:lnTo>
                    <a:pt x="1" y="1978"/>
                  </a:lnTo>
                  <a:lnTo>
                    <a:pt x="4" y="2009"/>
                  </a:lnTo>
                  <a:lnTo>
                    <a:pt x="6" y="2040"/>
                  </a:lnTo>
                  <a:lnTo>
                    <a:pt x="10" y="2070"/>
                  </a:lnTo>
                  <a:lnTo>
                    <a:pt x="15" y="2100"/>
                  </a:lnTo>
                  <a:lnTo>
                    <a:pt x="20" y="2129"/>
                  </a:lnTo>
                  <a:lnTo>
                    <a:pt x="26" y="2158"/>
                  </a:lnTo>
                  <a:lnTo>
                    <a:pt x="34" y="2188"/>
                  </a:lnTo>
                  <a:lnTo>
                    <a:pt x="42" y="2217"/>
                  </a:lnTo>
                  <a:lnTo>
                    <a:pt x="50" y="2245"/>
                  </a:lnTo>
                  <a:lnTo>
                    <a:pt x="60" y="2273"/>
                  </a:lnTo>
                  <a:lnTo>
                    <a:pt x="72" y="2301"/>
                  </a:lnTo>
                  <a:lnTo>
                    <a:pt x="83" y="2328"/>
                  </a:lnTo>
                  <a:lnTo>
                    <a:pt x="96" y="2356"/>
                  </a:lnTo>
                  <a:lnTo>
                    <a:pt x="110" y="2382"/>
                  </a:lnTo>
                  <a:lnTo>
                    <a:pt x="125" y="2408"/>
                  </a:lnTo>
                  <a:lnTo>
                    <a:pt x="141" y="2433"/>
                  </a:lnTo>
                  <a:lnTo>
                    <a:pt x="158" y="2459"/>
                  </a:lnTo>
                  <a:lnTo>
                    <a:pt x="176" y="2483"/>
                  </a:lnTo>
                  <a:lnTo>
                    <a:pt x="196" y="2508"/>
                  </a:lnTo>
                  <a:lnTo>
                    <a:pt x="216" y="2533"/>
                  </a:lnTo>
                  <a:lnTo>
                    <a:pt x="237" y="2556"/>
                  </a:lnTo>
                  <a:lnTo>
                    <a:pt x="259" y="2580"/>
                  </a:lnTo>
                  <a:lnTo>
                    <a:pt x="282" y="2603"/>
                  </a:lnTo>
                  <a:lnTo>
                    <a:pt x="308" y="2626"/>
                  </a:lnTo>
                  <a:lnTo>
                    <a:pt x="333" y="2649"/>
                  </a:lnTo>
                  <a:lnTo>
                    <a:pt x="360" y="2672"/>
                  </a:lnTo>
                  <a:lnTo>
                    <a:pt x="382" y="2690"/>
                  </a:lnTo>
                  <a:lnTo>
                    <a:pt x="405" y="2708"/>
                  </a:lnTo>
                  <a:lnTo>
                    <a:pt x="427" y="2724"/>
                  </a:lnTo>
                  <a:lnTo>
                    <a:pt x="451" y="2740"/>
                  </a:lnTo>
                  <a:lnTo>
                    <a:pt x="474" y="2756"/>
                  </a:lnTo>
                  <a:lnTo>
                    <a:pt x="498" y="2771"/>
                  </a:lnTo>
                  <a:lnTo>
                    <a:pt x="522" y="2785"/>
                  </a:lnTo>
                  <a:lnTo>
                    <a:pt x="545" y="2798"/>
                  </a:lnTo>
                  <a:lnTo>
                    <a:pt x="571" y="2811"/>
                  </a:lnTo>
                  <a:lnTo>
                    <a:pt x="595" y="2823"/>
                  </a:lnTo>
                  <a:lnTo>
                    <a:pt x="620" y="2834"/>
                  </a:lnTo>
                  <a:lnTo>
                    <a:pt x="645" y="2845"/>
                  </a:lnTo>
                  <a:lnTo>
                    <a:pt x="670" y="2856"/>
                  </a:lnTo>
                  <a:lnTo>
                    <a:pt x="696" y="2866"/>
                  </a:lnTo>
                  <a:lnTo>
                    <a:pt x="722" y="2875"/>
                  </a:lnTo>
                  <a:lnTo>
                    <a:pt x="748" y="2883"/>
                  </a:lnTo>
                  <a:lnTo>
                    <a:pt x="774" y="2891"/>
                  </a:lnTo>
                  <a:lnTo>
                    <a:pt x="802" y="2898"/>
                  </a:lnTo>
                  <a:lnTo>
                    <a:pt x="828" y="2905"/>
                  </a:lnTo>
                  <a:lnTo>
                    <a:pt x="855" y="2910"/>
                  </a:lnTo>
                  <a:lnTo>
                    <a:pt x="882" y="2916"/>
                  </a:lnTo>
                  <a:lnTo>
                    <a:pt x="910" y="2920"/>
                  </a:lnTo>
                  <a:lnTo>
                    <a:pt x="938" y="2924"/>
                  </a:lnTo>
                  <a:lnTo>
                    <a:pt x="966" y="2928"/>
                  </a:lnTo>
                  <a:lnTo>
                    <a:pt x="995" y="2931"/>
                  </a:lnTo>
                  <a:lnTo>
                    <a:pt x="1023" y="2933"/>
                  </a:lnTo>
                  <a:lnTo>
                    <a:pt x="1053" y="2934"/>
                  </a:lnTo>
                  <a:lnTo>
                    <a:pt x="1082" y="2935"/>
                  </a:lnTo>
                  <a:lnTo>
                    <a:pt x="1111" y="2936"/>
                  </a:lnTo>
                  <a:lnTo>
                    <a:pt x="1140" y="2935"/>
                  </a:lnTo>
                  <a:lnTo>
                    <a:pt x="1171" y="2935"/>
                  </a:lnTo>
                  <a:lnTo>
                    <a:pt x="1201" y="2933"/>
                  </a:lnTo>
                  <a:lnTo>
                    <a:pt x="1261" y="2929"/>
                  </a:lnTo>
                  <a:lnTo>
                    <a:pt x="1323" y="2922"/>
                  </a:lnTo>
                  <a:lnTo>
                    <a:pt x="1385" y="2914"/>
                  </a:lnTo>
                  <a:lnTo>
                    <a:pt x="1448" y="2904"/>
                  </a:lnTo>
                  <a:lnTo>
                    <a:pt x="1511" y="2892"/>
                  </a:lnTo>
                  <a:lnTo>
                    <a:pt x="1575" y="2878"/>
                  </a:lnTo>
                  <a:lnTo>
                    <a:pt x="1639" y="2862"/>
                  </a:lnTo>
                  <a:lnTo>
                    <a:pt x="1705" y="2842"/>
                  </a:lnTo>
                  <a:lnTo>
                    <a:pt x="1770" y="2822"/>
                  </a:lnTo>
                  <a:lnTo>
                    <a:pt x="1836" y="2800"/>
                  </a:lnTo>
                  <a:lnTo>
                    <a:pt x="1904" y="2775"/>
                  </a:lnTo>
                  <a:lnTo>
                    <a:pt x="1971" y="2748"/>
                  </a:lnTo>
                  <a:lnTo>
                    <a:pt x="2039" y="2719"/>
                  </a:lnTo>
                  <a:lnTo>
                    <a:pt x="2107" y="2687"/>
                  </a:lnTo>
                  <a:lnTo>
                    <a:pt x="2177" y="2653"/>
                  </a:lnTo>
                  <a:lnTo>
                    <a:pt x="2246" y="2617"/>
                  </a:lnTo>
                  <a:lnTo>
                    <a:pt x="2302" y="2681"/>
                  </a:lnTo>
                  <a:lnTo>
                    <a:pt x="2358" y="2745"/>
                  </a:lnTo>
                  <a:lnTo>
                    <a:pt x="2414" y="2809"/>
                  </a:lnTo>
                  <a:lnTo>
                    <a:pt x="2470" y="2874"/>
                  </a:lnTo>
                  <a:lnTo>
                    <a:pt x="2526" y="2937"/>
                  </a:lnTo>
                  <a:lnTo>
                    <a:pt x="2582" y="3000"/>
                  </a:lnTo>
                  <a:lnTo>
                    <a:pt x="2638" y="3064"/>
                  </a:lnTo>
                  <a:lnTo>
                    <a:pt x="2693" y="3127"/>
                  </a:lnTo>
                  <a:lnTo>
                    <a:pt x="2749" y="3189"/>
                  </a:lnTo>
                  <a:lnTo>
                    <a:pt x="2805" y="3252"/>
                  </a:lnTo>
                  <a:lnTo>
                    <a:pt x="2861" y="3314"/>
                  </a:lnTo>
                  <a:lnTo>
                    <a:pt x="2917" y="3376"/>
                  </a:lnTo>
                  <a:lnTo>
                    <a:pt x="2973" y="3437"/>
                  </a:lnTo>
                  <a:lnTo>
                    <a:pt x="3029" y="3497"/>
                  </a:lnTo>
                  <a:lnTo>
                    <a:pt x="3085" y="3558"/>
                  </a:lnTo>
                  <a:lnTo>
                    <a:pt x="3141" y="3617"/>
                  </a:lnTo>
                  <a:lnTo>
                    <a:pt x="3118" y="3636"/>
                  </a:lnTo>
                  <a:lnTo>
                    <a:pt x="3094" y="3655"/>
                  </a:lnTo>
                  <a:lnTo>
                    <a:pt x="3071" y="3672"/>
                  </a:lnTo>
                  <a:lnTo>
                    <a:pt x="3049" y="3688"/>
                  </a:lnTo>
                  <a:lnTo>
                    <a:pt x="3027" y="3703"/>
                  </a:lnTo>
                  <a:lnTo>
                    <a:pt x="3006" y="3718"/>
                  </a:lnTo>
                  <a:lnTo>
                    <a:pt x="2984" y="3731"/>
                  </a:lnTo>
                  <a:lnTo>
                    <a:pt x="2963" y="3743"/>
                  </a:lnTo>
                  <a:lnTo>
                    <a:pt x="2942" y="3754"/>
                  </a:lnTo>
                  <a:lnTo>
                    <a:pt x="2922" y="3764"/>
                  </a:lnTo>
                  <a:lnTo>
                    <a:pt x="2902" y="3773"/>
                  </a:lnTo>
                  <a:lnTo>
                    <a:pt x="2883" y="3781"/>
                  </a:lnTo>
                  <a:lnTo>
                    <a:pt x="2863" y="3788"/>
                  </a:lnTo>
                  <a:lnTo>
                    <a:pt x="2844" y="3794"/>
                  </a:lnTo>
                  <a:lnTo>
                    <a:pt x="2825" y="3799"/>
                  </a:lnTo>
                  <a:lnTo>
                    <a:pt x="2807" y="3804"/>
                  </a:lnTo>
                  <a:lnTo>
                    <a:pt x="2771" y="3810"/>
                  </a:lnTo>
                  <a:lnTo>
                    <a:pt x="2735" y="3815"/>
                  </a:lnTo>
                  <a:lnTo>
                    <a:pt x="2718" y="3816"/>
                  </a:lnTo>
                  <a:lnTo>
                    <a:pt x="2701" y="3817"/>
                  </a:lnTo>
                  <a:lnTo>
                    <a:pt x="2685" y="3818"/>
                  </a:lnTo>
                  <a:lnTo>
                    <a:pt x="2668" y="3818"/>
                  </a:lnTo>
                  <a:lnTo>
                    <a:pt x="2652" y="3817"/>
                  </a:lnTo>
                  <a:lnTo>
                    <a:pt x="2636" y="3816"/>
                  </a:lnTo>
                  <a:lnTo>
                    <a:pt x="2620" y="3814"/>
                  </a:lnTo>
                  <a:lnTo>
                    <a:pt x="2604" y="3812"/>
                  </a:lnTo>
                  <a:lnTo>
                    <a:pt x="2589" y="3809"/>
                  </a:lnTo>
                  <a:lnTo>
                    <a:pt x="2574" y="3806"/>
                  </a:lnTo>
                  <a:lnTo>
                    <a:pt x="2559" y="3803"/>
                  </a:lnTo>
                  <a:lnTo>
                    <a:pt x="2544" y="3799"/>
                  </a:lnTo>
                  <a:lnTo>
                    <a:pt x="2515" y="3789"/>
                  </a:lnTo>
                  <a:lnTo>
                    <a:pt x="2486" y="3778"/>
                  </a:lnTo>
                  <a:lnTo>
                    <a:pt x="2458" y="3767"/>
                  </a:lnTo>
                  <a:lnTo>
                    <a:pt x="2430" y="3754"/>
                  </a:lnTo>
                  <a:lnTo>
                    <a:pt x="2403" y="3740"/>
                  </a:lnTo>
                  <a:lnTo>
                    <a:pt x="2376" y="3726"/>
                  </a:lnTo>
                  <a:lnTo>
                    <a:pt x="2351" y="3710"/>
                  </a:lnTo>
                  <a:lnTo>
                    <a:pt x="2325" y="3693"/>
                  </a:lnTo>
                  <a:lnTo>
                    <a:pt x="2301" y="3676"/>
                  </a:lnTo>
                  <a:lnTo>
                    <a:pt x="2276" y="3660"/>
                  </a:lnTo>
                  <a:lnTo>
                    <a:pt x="2250" y="3644"/>
                  </a:lnTo>
                  <a:lnTo>
                    <a:pt x="2225" y="3629"/>
                  </a:lnTo>
                  <a:lnTo>
                    <a:pt x="2201" y="3615"/>
                  </a:lnTo>
                  <a:lnTo>
                    <a:pt x="2176" y="3601"/>
                  </a:lnTo>
                  <a:lnTo>
                    <a:pt x="2152" y="3588"/>
                  </a:lnTo>
                  <a:lnTo>
                    <a:pt x="2126" y="3576"/>
                  </a:lnTo>
                  <a:lnTo>
                    <a:pt x="2102" y="3565"/>
                  </a:lnTo>
                  <a:lnTo>
                    <a:pt x="2077" y="3555"/>
                  </a:lnTo>
                  <a:lnTo>
                    <a:pt x="2053" y="3546"/>
                  </a:lnTo>
                  <a:lnTo>
                    <a:pt x="2028" y="3539"/>
                  </a:lnTo>
                  <a:lnTo>
                    <a:pt x="2002" y="3532"/>
                  </a:lnTo>
                  <a:lnTo>
                    <a:pt x="1977" y="3528"/>
                  </a:lnTo>
                  <a:lnTo>
                    <a:pt x="1951" y="3525"/>
                  </a:lnTo>
                  <a:lnTo>
                    <a:pt x="1926" y="3524"/>
                  </a:lnTo>
                  <a:lnTo>
                    <a:pt x="1913" y="3524"/>
                  </a:lnTo>
                  <a:lnTo>
                    <a:pt x="1900" y="3525"/>
                  </a:lnTo>
                  <a:lnTo>
                    <a:pt x="1886" y="3527"/>
                  </a:lnTo>
                  <a:lnTo>
                    <a:pt x="1873" y="3530"/>
                  </a:lnTo>
                  <a:lnTo>
                    <a:pt x="1859" y="3533"/>
                  </a:lnTo>
                  <a:lnTo>
                    <a:pt x="1846" y="3537"/>
                  </a:lnTo>
                  <a:lnTo>
                    <a:pt x="1832" y="3543"/>
                  </a:lnTo>
                  <a:lnTo>
                    <a:pt x="1819" y="3549"/>
                  </a:lnTo>
                  <a:lnTo>
                    <a:pt x="1805" y="3556"/>
                  </a:lnTo>
                  <a:lnTo>
                    <a:pt x="1791" y="3563"/>
                  </a:lnTo>
                  <a:lnTo>
                    <a:pt x="1777" y="3572"/>
                  </a:lnTo>
                  <a:lnTo>
                    <a:pt x="1762" y="3581"/>
                  </a:lnTo>
                  <a:lnTo>
                    <a:pt x="1747" y="3591"/>
                  </a:lnTo>
                  <a:lnTo>
                    <a:pt x="1733" y="3601"/>
                  </a:lnTo>
                  <a:lnTo>
                    <a:pt x="1718" y="3613"/>
                  </a:lnTo>
                  <a:lnTo>
                    <a:pt x="1703" y="3625"/>
                  </a:lnTo>
                  <a:lnTo>
                    <a:pt x="1688" y="3639"/>
                  </a:lnTo>
                  <a:lnTo>
                    <a:pt x="1674" y="3653"/>
                  </a:lnTo>
                  <a:lnTo>
                    <a:pt x="1661" y="3667"/>
                  </a:lnTo>
                  <a:lnTo>
                    <a:pt x="1648" y="3681"/>
                  </a:lnTo>
                  <a:lnTo>
                    <a:pt x="1637" y="3696"/>
                  </a:lnTo>
                  <a:lnTo>
                    <a:pt x="1627" y="3712"/>
                  </a:lnTo>
                  <a:lnTo>
                    <a:pt x="1618" y="3727"/>
                  </a:lnTo>
                  <a:lnTo>
                    <a:pt x="1610" y="3742"/>
                  </a:lnTo>
                  <a:lnTo>
                    <a:pt x="1603" y="3758"/>
                  </a:lnTo>
                  <a:lnTo>
                    <a:pt x="1596" y="3774"/>
                  </a:lnTo>
                  <a:lnTo>
                    <a:pt x="1591" y="3790"/>
                  </a:lnTo>
                  <a:lnTo>
                    <a:pt x="1587" y="3806"/>
                  </a:lnTo>
                  <a:lnTo>
                    <a:pt x="1583" y="3823"/>
                  </a:lnTo>
                  <a:lnTo>
                    <a:pt x="1581" y="3840"/>
                  </a:lnTo>
                  <a:lnTo>
                    <a:pt x="1580" y="3857"/>
                  </a:lnTo>
                  <a:lnTo>
                    <a:pt x="1579" y="3875"/>
                  </a:lnTo>
                  <a:lnTo>
                    <a:pt x="1580" y="3893"/>
                  </a:lnTo>
                  <a:lnTo>
                    <a:pt x="1581" y="3911"/>
                  </a:lnTo>
                  <a:lnTo>
                    <a:pt x="1584" y="3928"/>
                  </a:lnTo>
                  <a:lnTo>
                    <a:pt x="1587" y="3946"/>
                  </a:lnTo>
                  <a:lnTo>
                    <a:pt x="1592" y="3963"/>
                  </a:lnTo>
                  <a:lnTo>
                    <a:pt x="1597" y="3981"/>
                  </a:lnTo>
                  <a:lnTo>
                    <a:pt x="1604" y="3998"/>
                  </a:lnTo>
                  <a:lnTo>
                    <a:pt x="1611" y="4016"/>
                  </a:lnTo>
                  <a:lnTo>
                    <a:pt x="1619" y="4034"/>
                  </a:lnTo>
                  <a:lnTo>
                    <a:pt x="1629" y="4053"/>
                  </a:lnTo>
                  <a:lnTo>
                    <a:pt x="1639" y="4071"/>
                  </a:lnTo>
                  <a:lnTo>
                    <a:pt x="1652" y="4088"/>
                  </a:lnTo>
                  <a:lnTo>
                    <a:pt x="1664" y="4106"/>
                  </a:lnTo>
                  <a:lnTo>
                    <a:pt x="1677" y="4124"/>
                  </a:lnTo>
                  <a:lnTo>
                    <a:pt x="1692" y="4142"/>
                  </a:lnTo>
                  <a:lnTo>
                    <a:pt x="1707" y="4160"/>
                  </a:lnTo>
                  <a:lnTo>
                    <a:pt x="1723" y="4178"/>
                  </a:lnTo>
                  <a:lnTo>
                    <a:pt x="1740" y="4195"/>
                  </a:lnTo>
                  <a:lnTo>
                    <a:pt x="1757" y="4212"/>
                  </a:lnTo>
                  <a:lnTo>
                    <a:pt x="1776" y="4230"/>
                  </a:lnTo>
                  <a:lnTo>
                    <a:pt x="1795" y="4246"/>
                  </a:lnTo>
                  <a:lnTo>
                    <a:pt x="1814" y="4262"/>
                  </a:lnTo>
                  <a:lnTo>
                    <a:pt x="1834" y="4277"/>
                  </a:lnTo>
                  <a:lnTo>
                    <a:pt x="1854" y="4293"/>
                  </a:lnTo>
                  <a:lnTo>
                    <a:pt x="1875" y="4307"/>
                  </a:lnTo>
                  <a:lnTo>
                    <a:pt x="1898" y="4322"/>
                  </a:lnTo>
                  <a:lnTo>
                    <a:pt x="1920" y="4336"/>
                  </a:lnTo>
                  <a:lnTo>
                    <a:pt x="1942" y="4349"/>
                  </a:lnTo>
                  <a:lnTo>
                    <a:pt x="1965" y="4363"/>
                  </a:lnTo>
                  <a:lnTo>
                    <a:pt x="1989" y="4375"/>
                  </a:lnTo>
                  <a:lnTo>
                    <a:pt x="2013" y="4389"/>
                  </a:lnTo>
                  <a:lnTo>
                    <a:pt x="2039" y="4401"/>
                  </a:lnTo>
                  <a:lnTo>
                    <a:pt x="2064" y="4413"/>
                  </a:lnTo>
                  <a:lnTo>
                    <a:pt x="2090" y="4424"/>
                  </a:lnTo>
                  <a:lnTo>
                    <a:pt x="2116" y="4434"/>
                  </a:lnTo>
                  <a:lnTo>
                    <a:pt x="2144" y="4444"/>
                  </a:lnTo>
                  <a:lnTo>
                    <a:pt x="2170" y="4454"/>
                  </a:lnTo>
                  <a:lnTo>
                    <a:pt x="2198" y="4462"/>
                  </a:lnTo>
                  <a:lnTo>
                    <a:pt x="2225" y="4471"/>
                  </a:lnTo>
                  <a:lnTo>
                    <a:pt x="2253" y="4478"/>
                  </a:lnTo>
                  <a:lnTo>
                    <a:pt x="2283" y="4485"/>
                  </a:lnTo>
                  <a:lnTo>
                    <a:pt x="2311" y="4491"/>
                  </a:lnTo>
                  <a:lnTo>
                    <a:pt x="2340" y="4497"/>
                  </a:lnTo>
                  <a:lnTo>
                    <a:pt x="2370" y="4502"/>
                  </a:lnTo>
                  <a:lnTo>
                    <a:pt x="2401" y="4506"/>
                  </a:lnTo>
                  <a:lnTo>
                    <a:pt x="2431" y="4510"/>
                  </a:lnTo>
                  <a:lnTo>
                    <a:pt x="2462" y="4513"/>
                  </a:lnTo>
                  <a:lnTo>
                    <a:pt x="2493" y="4516"/>
                  </a:lnTo>
                  <a:lnTo>
                    <a:pt x="2525" y="4517"/>
                  </a:lnTo>
                  <a:lnTo>
                    <a:pt x="2556" y="4518"/>
                  </a:lnTo>
                  <a:lnTo>
                    <a:pt x="2588" y="4518"/>
                  </a:lnTo>
                  <a:lnTo>
                    <a:pt x="2620" y="4517"/>
                  </a:lnTo>
                  <a:lnTo>
                    <a:pt x="2653" y="4515"/>
                  </a:lnTo>
                  <a:lnTo>
                    <a:pt x="2685" y="4513"/>
                  </a:lnTo>
                  <a:lnTo>
                    <a:pt x="2717" y="4509"/>
                  </a:lnTo>
                  <a:lnTo>
                    <a:pt x="2751" y="4504"/>
                  </a:lnTo>
                  <a:lnTo>
                    <a:pt x="2784" y="4499"/>
                  </a:lnTo>
                  <a:lnTo>
                    <a:pt x="2817" y="4492"/>
                  </a:lnTo>
                  <a:lnTo>
                    <a:pt x="2850" y="4485"/>
                  </a:lnTo>
                  <a:lnTo>
                    <a:pt x="2885" y="4477"/>
                  </a:lnTo>
                  <a:lnTo>
                    <a:pt x="2919" y="4467"/>
                  </a:lnTo>
                  <a:lnTo>
                    <a:pt x="2953" y="4457"/>
                  </a:lnTo>
                  <a:lnTo>
                    <a:pt x="2987" y="4446"/>
                  </a:lnTo>
                  <a:lnTo>
                    <a:pt x="3023" y="4434"/>
                  </a:lnTo>
                  <a:lnTo>
                    <a:pt x="3057" y="4420"/>
                  </a:lnTo>
                  <a:lnTo>
                    <a:pt x="3092" y="4406"/>
                  </a:lnTo>
                  <a:lnTo>
                    <a:pt x="3128" y="4390"/>
                  </a:lnTo>
                  <a:lnTo>
                    <a:pt x="3162" y="4372"/>
                  </a:lnTo>
                  <a:lnTo>
                    <a:pt x="3197" y="4353"/>
                  </a:lnTo>
                  <a:lnTo>
                    <a:pt x="3231" y="4333"/>
                  </a:lnTo>
                  <a:lnTo>
                    <a:pt x="3267" y="4312"/>
                  </a:lnTo>
                  <a:lnTo>
                    <a:pt x="3301" y="4290"/>
                  </a:lnTo>
                  <a:lnTo>
                    <a:pt x="3336" y="4266"/>
                  </a:lnTo>
                  <a:lnTo>
                    <a:pt x="3371" y="4241"/>
                  </a:lnTo>
                  <a:lnTo>
                    <a:pt x="3405" y="4213"/>
                  </a:lnTo>
                  <a:lnTo>
                    <a:pt x="3440" y="4185"/>
                  </a:lnTo>
                  <a:lnTo>
                    <a:pt x="3474" y="4156"/>
                  </a:lnTo>
                  <a:lnTo>
                    <a:pt x="3509" y="4126"/>
                  </a:lnTo>
                  <a:lnTo>
                    <a:pt x="3543" y="4094"/>
                  </a:lnTo>
                  <a:lnTo>
                    <a:pt x="3576" y="4060"/>
                  </a:lnTo>
                  <a:lnTo>
                    <a:pt x="3610" y="4092"/>
                  </a:lnTo>
                  <a:lnTo>
                    <a:pt x="3643" y="4123"/>
                  </a:lnTo>
                  <a:lnTo>
                    <a:pt x="3676" y="4154"/>
                  </a:lnTo>
                  <a:lnTo>
                    <a:pt x="3709" y="4185"/>
                  </a:lnTo>
                  <a:lnTo>
                    <a:pt x="3743" y="4215"/>
                  </a:lnTo>
                  <a:lnTo>
                    <a:pt x="3776" y="4246"/>
                  </a:lnTo>
                  <a:lnTo>
                    <a:pt x="3808" y="4276"/>
                  </a:lnTo>
                  <a:lnTo>
                    <a:pt x="3841" y="4306"/>
                  </a:lnTo>
                  <a:lnTo>
                    <a:pt x="3856" y="4317"/>
                  </a:lnTo>
                  <a:lnTo>
                    <a:pt x="3872" y="4326"/>
                  </a:lnTo>
                  <a:lnTo>
                    <a:pt x="3887" y="4335"/>
                  </a:lnTo>
                  <a:lnTo>
                    <a:pt x="3904" y="4341"/>
                  </a:lnTo>
                  <a:lnTo>
                    <a:pt x="3921" y="4346"/>
                  </a:lnTo>
                  <a:lnTo>
                    <a:pt x="3940" y="4349"/>
                  </a:lnTo>
                  <a:lnTo>
                    <a:pt x="3959" y="4350"/>
                  </a:lnTo>
                  <a:lnTo>
                    <a:pt x="3980" y="4350"/>
                  </a:lnTo>
                  <a:lnTo>
                    <a:pt x="3990" y="4349"/>
                  </a:lnTo>
                  <a:lnTo>
                    <a:pt x="3999" y="4348"/>
                  </a:lnTo>
                  <a:lnTo>
                    <a:pt x="4009" y="4346"/>
                  </a:lnTo>
                  <a:lnTo>
                    <a:pt x="4018" y="4344"/>
                  </a:lnTo>
                  <a:lnTo>
                    <a:pt x="4027" y="4341"/>
                  </a:lnTo>
                  <a:lnTo>
                    <a:pt x="4036" y="4338"/>
                  </a:lnTo>
                  <a:lnTo>
                    <a:pt x="4045" y="4334"/>
                  </a:lnTo>
                  <a:lnTo>
                    <a:pt x="4053" y="4330"/>
                  </a:lnTo>
                  <a:lnTo>
                    <a:pt x="4062" y="4325"/>
                  </a:lnTo>
                  <a:lnTo>
                    <a:pt x="4070" y="4320"/>
                  </a:lnTo>
                  <a:lnTo>
                    <a:pt x="4078" y="4315"/>
                  </a:lnTo>
                  <a:lnTo>
                    <a:pt x="4086" y="4308"/>
                  </a:lnTo>
                  <a:lnTo>
                    <a:pt x="4102" y="4295"/>
                  </a:lnTo>
                  <a:lnTo>
                    <a:pt x="4116" y="4279"/>
                  </a:lnTo>
                  <a:lnTo>
                    <a:pt x="4129" y="4262"/>
                  </a:lnTo>
                  <a:lnTo>
                    <a:pt x="4140" y="4245"/>
                  </a:lnTo>
                  <a:lnTo>
                    <a:pt x="4144" y="4236"/>
                  </a:lnTo>
                  <a:lnTo>
                    <a:pt x="4148" y="4227"/>
                  </a:lnTo>
                  <a:lnTo>
                    <a:pt x="4152" y="4218"/>
                  </a:lnTo>
                  <a:lnTo>
                    <a:pt x="4155" y="4207"/>
                  </a:lnTo>
                  <a:lnTo>
                    <a:pt x="4158" y="4198"/>
                  </a:lnTo>
                  <a:lnTo>
                    <a:pt x="4160" y="4189"/>
                  </a:lnTo>
                  <a:lnTo>
                    <a:pt x="4162" y="4180"/>
                  </a:lnTo>
                  <a:lnTo>
                    <a:pt x="4163" y="4170"/>
                  </a:lnTo>
                  <a:lnTo>
                    <a:pt x="4164" y="4161"/>
                  </a:lnTo>
                  <a:lnTo>
                    <a:pt x="4164" y="4151"/>
                  </a:lnTo>
                  <a:lnTo>
                    <a:pt x="4163" y="4141"/>
                  </a:lnTo>
                  <a:lnTo>
                    <a:pt x="4163" y="4131"/>
                  </a:lnTo>
                  <a:lnTo>
                    <a:pt x="4160" y="4112"/>
                  </a:lnTo>
                  <a:lnTo>
                    <a:pt x="4156" y="4094"/>
                  </a:lnTo>
                  <a:lnTo>
                    <a:pt x="4150" y="4078"/>
                  </a:lnTo>
                  <a:lnTo>
                    <a:pt x="4143" y="4062"/>
                  </a:lnTo>
                  <a:lnTo>
                    <a:pt x="4134" y="4046"/>
                  </a:lnTo>
                  <a:lnTo>
                    <a:pt x="4124" y="4032"/>
                  </a:lnTo>
                  <a:lnTo>
                    <a:pt x="4113" y="4020"/>
                  </a:lnTo>
                  <a:lnTo>
                    <a:pt x="4100" y="4009"/>
                  </a:lnTo>
                  <a:lnTo>
                    <a:pt x="4066" y="3982"/>
                  </a:lnTo>
                  <a:lnTo>
                    <a:pt x="4033" y="3955"/>
                  </a:lnTo>
                  <a:lnTo>
                    <a:pt x="4000" y="3928"/>
                  </a:lnTo>
                  <a:lnTo>
                    <a:pt x="3966" y="3900"/>
                  </a:lnTo>
                  <a:lnTo>
                    <a:pt x="3933" y="3871"/>
                  </a:lnTo>
                  <a:lnTo>
                    <a:pt x="3900" y="3843"/>
                  </a:lnTo>
                  <a:lnTo>
                    <a:pt x="3867" y="3814"/>
                  </a:lnTo>
                  <a:lnTo>
                    <a:pt x="3833" y="3785"/>
                  </a:lnTo>
                  <a:lnTo>
                    <a:pt x="3862" y="3751"/>
                  </a:lnTo>
                  <a:lnTo>
                    <a:pt x="3889" y="3716"/>
                  </a:lnTo>
                  <a:lnTo>
                    <a:pt x="3915" y="3680"/>
                  </a:lnTo>
                  <a:lnTo>
                    <a:pt x="3941" y="3645"/>
                  </a:lnTo>
                  <a:lnTo>
                    <a:pt x="3966" y="3609"/>
                  </a:lnTo>
                  <a:lnTo>
                    <a:pt x="3991" y="3574"/>
                  </a:lnTo>
                  <a:lnTo>
                    <a:pt x="4015" y="3537"/>
                  </a:lnTo>
                  <a:lnTo>
                    <a:pt x="4037" y="3502"/>
                  </a:lnTo>
                  <a:lnTo>
                    <a:pt x="4060" y="3466"/>
                  </a:lnTo>
                  <a:lnTo>
                    <a:pt x="4081" y="3430"/>
                  </a:lnTo>
                  <a:lnTo>
                    <a:pt x="4103" y="3394"/>
                  </a:lnTo>
                  <a:lnTo>
                    <a:pt x="4122" y="3357"/>
                  </a:lnTo>
                  <a:lnTo>
                    <a:pt x="4142" y="3321"/>
                  </a:lnTo>
                  <a:lnTo>
                    <a:pt x="4160" y="3285"/>
                  </a:lnTo>
                  <a:lnTo>
                    <a:pt x="4178" y="3250"/>
                  </a:lnTo>
                  <a:lnTo>
                    <a:pt x="4195" y="3214"/>
                  </a:lnTo>
                  <a:lnTo>
                    <a:pt x="4211" y="3177"/>
                  </a:lnTo>
                  <a:lnTo>
                    <a:pt x="4228" y="3141"/>
                  </a:lnTo>
                  <a:lnTo>
                    <a:pt x="4242" y="3105"/>
                  </a:lnTo>
                  <a:lnTo>
                    <a:pt x="4256" y="3070"/>
                  </a:lnTo>
                  <a:lnTo>
                    <a:pt x="4269" y="3034"/>
                  </a:lnTo>
                  <a:lnTo>
                    <a:pt x="4281" y="2998"/>
                  </a:lnTo>
                  <a:lnTo>
                    <a:pt x="4292" y="2963"/>
                  </a:lnTo>
                  <a:lnTo>
                    <a:pt x="4302" y="2929"/>
                  </a:lnTo>
                  <a:lnTo>
                    <a:pt x="4312" y="2895"/>
                  </a:lnTo>
                  <a:lnTo>
                    <a:pt x="4320" y="2859"/>
                  </a:lnTo>
                  <a:lnTo>
                    <a:pt x="4328" y="2826"/>
                  </a:lnTo>
                  <a:lnTo>
                    <a:pt x="4335" y="2792"/>
                  </a:lnTo>
                  <a:lnTo>
                    <a:pt x="4342" y="2759"/>
                  </a:lnTo>
                  <a:lnTo>
                    <a:pt x="4348" y="2726"/>
                  </a:lnTo>
                  <a:lnTo>
                    <a:pt x="4352" y="2693"/>
                  </a:lnTo>
                  <a:lnTo>
                    <a:pt x="4356" y="2660"/>
                  </a:lnTo>
                  <a:lnTo>
                    <a:pt x="4359" y="2627"/>
                  </a:lnTo>
                  <a:lnTo>
                    <a:pt x="4361" y="2596"/>
                  </a:lnTo>
                  <a:lnTo>
                    <a:pt x="4362" y="2564"/>
                  </a:lnTo>
                  <a:lnTo>
                    <a:pt x="4362" y="2533"/>
                  </a:lnTo>
                  <a:lnTo>
                    <a:pt x="4361" y="2501"/>
                  </a:lnTo>
                  <a:lnTo>
                    <a:pt x="4360" y="2471"/>
                  </a:lnTo>
                  <a:lnTo>
                    <a:pt x="4357" y="2441"/>
                  </a:lnTo>
                  <a:lnTo>
                    <a:pt x="4354" y="2412"/>
                  </a:lnTo>
                  <a:lnTo>
                    <a:pt x="4350" y="2382"/>
                  </a:lnTo>
                  <a:lnTo>
                    <a:pt x="4345" y="2354"/>
                  </a:lnTo>
                  <a:lnTo>
                    <a:pt x="4338" y="2324"/>
                  </a:lnTo>
                  <a:lnTo>
                    <a:pt x="4331" y="2296"/>
                  </a:lnTo>
                  <a:lnTo>
                    <a:pt x="4323" y="2268"/>
                  </a:lnTo>
                  <a:lnTo>
                    <a:pt x="4315" y="2241"/>
                  </a:lnTo>
                  <a:lnTo>
                    <a:pt x="4306" y="2214"/>
                  </a:lnTo>
                  <a:lnTo>
                    <a:pt x="4296" y="2187"/>
                  </a:lnTo>
                  <a:lnTo>
                    <a:pt x="4285" y="2159"/>
                  </a:lnTo>
                  <a:lnTo>
                    <a:pt x="4273" y="2133"/>
                  </a:lnTo>
                  <a:lnTo>
                    <a:pt x="4260" y="2107"/>
                  </a:lnTo>
                  <a:lnTo>
                    <a:pt x="4245" y="2082"/>
                  </a:lnTo>
                  <a:lnTo>
                    <a:pt x="4230" y="2057"/>
                  </a:lnTo>
                  <a:lnTo>
                    <a:pt x="4213" y="2032"/>
                  </a:lnTo>
                  <a:lnTo>
                    <a:pt x="4196" y="2007"/>
                  </a:lnTo>
                  <a:lnTo>
                    <a:pt x="4178" y="1983"/>
                  </a:lnTo>
                  <a:lnTo>
                    <a:pt x="4159" y="1960"/>
                  </a:lnTo>
                  <a:lnTo>
                    <a:pt x="4139" y="1936"/>
                  </a:lnTo>
                  <a:lnTo>
                    <a:pt x="4118" y="1913"/>
                  </a:lnTo>
                  <a:lnTo>
                    <a:pt x="4095" y="1890"/>
                  </a:lnTo>
                  <a:lnTo>
                    <a:pt x="4071" y="1867"/>
                  </a:lnTo>
                  <a:lnTo>
                    <a:pt x="4047" y="1845"/>
                  </a:lnTo>
                  <a:lnTo>
                    <a:pt x="4022" y="1821"/>
                  </a:lnTo>
                  <a:lnTo>
                    <a:pt x="3995" y="17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3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16" name="ïşḷiďè">
              <a:extLst>
                <a:ext uri="{FF2B5EF4-FFF2-40B4-BE49-F238E27FC236}">
                  <a16:creationId xmlns:a16="http://schemas.microsoft.com/office/drawing/2014/main" id="{D67F4669-315E-4477-8E67-2E5E6568D59C}"/>
                </a:ext>
              </a:extLst>
            </p:cNvPr>
            <p:cNvSpPr/>
            <p:nvPr/>
          </p:nvSpPr>
          <p:spPr bwMode="auto">
            <a:xfrm>
              <a:off x="2417843" y="1981904"/>
              <a:ext cx="93058" cy="97288"/>
            </a:xfrm>
            <a:custGeom>
              <a:avLst/>
              <a:gdLst>
                <a:gd name="T0" fmla="*/ 1968 w 2440"/>
                <a:gd name="T1" fmla="*/ 101 h 2551"/>
                <a:gd name="T2" fmla="*/ 1793 w 2440"/>
                <a:gd name="T3" fmla="*/ 240 h 2551"/>
                <a:gd name="T4" fmla="*/ 1619 w 2440"/>
                <a:gd name="T5" fmla="*/ 382 h 2551"/>
                <a:gd name="T6" fmla="*/ 1449 w 2440"/>
                <a:gd name="T7" fmla="*/ 528 h 2551"/>
                <a:gd name="T8" fmla="*/ 1283 w 2440"/>
                <a:gd name="T9" fmla="*/ 680 h 2551"/>
                <a:gd name="T10" fmla="*/ 1120 w 2440"/>
                <a:gd name="T11" fmla="*/ 836 h 2551"/>
                <a:gd name="T12" fmla="*/ 969 w 2440"/>
                <a:gd name="T13" fmla="*/ 992 h 2551"/>
                <a:gd name="T14" fmla="*/ 824 w 2440"/>
                <a:gd name="T15" fmla="*/ 1150 h 2551"/>
                <a:gd name="T16" fmla="*/ 684 w 2440"/>
                <a:gd name="T17" fmla="*/ 1310 h 2551"/>
                <a:gd name="T18" fmla="*/ 551 w 2440"/>
                <a:gd name="T19" fmla="*/ 1472 h 2551"/>
                <a:gd name="T20" fmla="*/ 425 w 2440"/>
                <a:gd name="T21" fmla="*/ 1636 h 2551"/>
                <a:gd name="T22" fmla="*/ 40 w 2440"/>
                <a:gd name="T23" fmla="*/ 2162 h 2551"/>
                <a:gd name="T24" fmla="*/ 12 w 2440"/>
                <a:gd name="T25" fmla="*/ 2221 h 2551"/>
                <a:gd name="T26" fmla="*/ 0 w 2440"/>
                <a:gd name="T27" fmla="*/ 2282 h 2551"/>
                <a:gd name="T28" fmla="*/ 4 w 2440"/>
                <a:gd name="T29" fmla="*/ 2345 h 2551"/>
                <a:gd name="T30" fmla="*/ 23 w 2440"/>
                <a:gd name="T31" fmla="*/ 2406 h 2551"/>
                <a:gd name="T32" fmla="*/ 59 w 2440"/>
                <a:gd name="T33" fmla="*/ 2461 h 2551"/>
                <a:gd name="T34" fmla="*/ 93 w 2440"/>
                <a:gd name="T35" fmla="*/ 2494 h 2551"/>
                <a:gd name="T36" fmla="*/ 123 w 2440"/>
                <a:gd name="T37" fmla="*/ 2516 h 2551"/>
                <a:gd name="T38" fmla="*/ 156 w 2440"/>
                <a:gd name="T39" fmla="*/ 2532 h 2551"/>
                <a:gd name="T40" fmla="*/ 192 w 2440"/>
                <a:gd name="T41" fmla="*/ 2544 h 2551"/>
                <a:gd name="T42" fmla="*/ 228 w 2440"/>
                <a:gd name="T43" fmla="*/ 2550 h 2551"/>
                <a:gd name="T44" fmla="*/ 264 w 2440"/>
                <a:gd name="T45" fmla="*/ 2551 h 2551"/>
                <a:gd name="T46" fmla="*/ 301 w 2440"/>
                <a:gd name="T47" fmla="*/ 2547 h 2551"/>
                <a:gd name="T48" fmla="*/ 336 w 2440"/>
                <a:gd name="T49" fmla="*/ 2536 h 2551"/>
                <a:gd name="T50" fmla="*/ 370 w 2440"/>
                <a:gd name="T51" fmla="*/ 2522 h 2551"/>
                <a:gd name="T52" fmla="*/ 402 w 2440"/>
                <a:gd name="T53" fmla="*/ 2502 h 2551"/>
                <a:gd name="T54" fmla="*/ 432 w 2440"/>
                <a:gd name="T55" fmla="*/ 2477 h 2551"/>
                <a:gd name="T56" fmla="*/ 461 w 2440"/>
                <a:gd name="T57" fmla="*/ 2440 h 2551"/>
                <a:gd name="T58" fmla="*/ 829 w 2440"/>
                <a:gd name="T59" fmla="*/ 1936 h 2551"/>
                <a:gd name="T60" fmla="*/ 946 w 2440"/>
                <a:gd name="T61" fmla="*/ 1784 h 2551"/>
                <a:gd name="T62" fmla="*/ 1070 w 2440"/>
                <a:gd name="T63" fmla="*/ 1633 h 2551"/>
                <a:gd name="T64" fmla="*/ 1200 w 2440"/>
                <a:gd name="T65" fmla="*/ 1484 h 2551"/>
                <a:gd name="T66" fmla="*/ 1336 w 2440"/>
                <a:gd name="T67" fmla="*/ 1337 h 2551"/>
                <a:gd name="T68" fmla="*/ 1477 w 2440"/>
                <a:gd name="T69" fmla="*/ 1193 h 2551"/>
                <a:gd name="T70" fmla="*/ 1634 w 2440"/>
                <a:gd name="T71" fmla="*/ 1040 h 2551"/>
                <a:gd name="T72" fmla="*/ 1791 w 2440"/>
                <a:gd name="T73" fmla="*/ 898 h 2551"/>
                <a:gd name="T74" fmla="*/ 1948 w 2440"/>
                <a:gd name="T75" fmla="*/ 762 h 2551"/>
                <a:gd name="T76" fmla="*/ 2111 w 2440"/>
                <a:gd name="T77" fmla="*/ 629 h 2551"/>
                <a:gd name="T78" fmla="*/ 2282 w 2440"/>
                <a:gd name="T79" fmla="*/ 495 h 2551"/>
                <a:gd name="T80" fmla="*/ 2353 w 2440"/>
                <a:gd name="T81" fmla="*/ 440 h 2551"/>
                <a:gd name="T82" fmla="*/ 2383 w 2440"/>
                <a:gd name="T83" fmla="*/ 410 h 2551"/>
                <a:gd name="T84" fmla="*/ 2405 w 2440"/>
                <a:gd name="T85" fmla="*/ 379 h 2551"/>
                <a:gd name="T86" fmla="*/ 2421 w 2440"/>
                <a:gd name="T87" fmla="*/ 346 h 2551"/>
                <a:gd name="T88" fmla="*/ 2433 w 2440"/>
                <a:gd name="T89" fmla="*/ 311 h 2551"/>
                <a:gd name="T90" fmla="*/ 2439 w 2440"/>
                <a:gd name="T91" fmla="*/ 275 h 2551"/>
                <a:gd name="T92" fmla="*/ 2439 w 2440"/>
                <a:gd name="T93" fmla="*/ 239 h 2551"/>
                <a:gd name="T94" fmla="*/ 2435 w 2440"/>
                <a:gd name="T95" fmla="*/ 203 h 2551"/>
                <a:gd name="T96" fmla="*/ 2426 w 2440"/>
                <a:gd name="T97" fmla="*/ 168 h 2551"/>
                <a:gd name="T98" fmla="*/ 2411 w 2440"/>
                <a:gd name="T99" fmla="*/ 133 h 2551"/>
                <a:gd name="T100" fmla="*/ 2391 w 2440"/>
                <a:gd name="T101" fmla="*/ 101 h 2551"/>
                <a:gd name="T102" fmla="*/ 2365 w 2440"/>
                <a:gd name="T103" fmla="*/ 72 h 2551"/>
                <a:gd name="T104" fmla="*/ 2338 w 2440"/>
                <a:gd name="T105" fmla="*/ 49 h 2551"/>
                <a:gd name="T106" fmla="*/ 2309 w 2440"/>
                <a:gd name="T107" fmla="*/ 30 h 2551"/>
                <a:gd name="T108" fmla="*/ 2277 w 2440"/>
                <a:gd name="T109" fmla="*/ 16 h 2551"/>
                <a:gd name="T110" fmla="*/ 2244 w 2440"/>
                <a:gd name="T111" fmla="*/ 6 h 2551"/>
                <a:gd name="T112" fmla="*/ 2211 w 2440"/>
                <a:gd name="T113" fmla="*/ 1 h 2551"/>
                <a:gd name="T114" fmla="*/ 2154 w 2440"/>
                <a:gd name="T115" fmla="*/ 2 h 2551"/>
                <a:gd name="T116" fmla="*/ 2120 w 2440"/>
                <a:gd name="T117" fmla="*/ 9 h 2551"/>
                <a:gd name="T118" fmla="*/ 2088 w 2440"/>
                <a:gd name="T119" fmla="*/ 20 h 2551"/>
                <a:gd name="T120" fmla="*/ 2057 w 2440"/>
                <a:gd name="T121" fmla="*/ 36 h 2551"/>
                <a:gd name="T122" fmla="*/ 2029 w 2440"/>
                <a:gd name="T123" fmla="*/ 56 h 2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440" h="2551">
                  <a:moveTo>
                    <a:pt x="2029" y="56"/>
                  </a:moveTo>
                  <a:lnTo>
                    <a:pt x="2028" y="56"/>
                  </a:lnTo>
                  <a:lnTo>
                    <a:pt x="1968" y="101"/>
                  </a:lnTo>
                  <a:lnTo>
                    <a:pt x="1910" y="147"/>
                  </a:lnTo>
                  <a:lnTo>
                    <a:pt x="1851" y="193"/>
                  </a:lnTo>
                  <a:lnTo>
                    <a:pt x="1793" y="240"/>
                  </a:lnTo>
                  <a:lnTo>
                    <a:pt x="1734" y="286"/>
                  </a:lnTo>
                  <a:lnTo>
                    <a:pt x="1677" y="333"/>
                  </a:lnTo>
                  <a:lnTo>
                    <a:pt x="1619" y="382"/>
                  </a:lnTo>
                  <a:lnTo>
                    <a:pt x="1562" y="430"/>
                  </a:lnTo>
                  <a:lnTo>
                    <a:pt x="1505" y="478"/>
                  </a:lnTo>
                  <a:lnTo>
                    <a:pt x="1449" y="528"/>
                  </a:lnTo>
                  <a:lnTo>
                    <a:pt x="1394" y="578"/>
                  </a:lnTo>
                  <a:lnTo>
                    <a:pt x="1337" y="628"/>
                  </a:lnTo>
                  <a:lnTo>
                    <a:pt x="1283" y="680"/>
                  </a:lnTo>
                  <a:lnTo>
                    <a:pt x="1228" y="732"/>
                  </a:lnTo>
                  <a:lnTo>
                    <a:pt x="1174" y="784"/>
                  </a:lnTo>
                  <a:lnTo>
                    <a:pt x="1120" y="836"/>
                  </a:lnTo>
                  <a:lnTo>
                    <a:pt x="1069" y="889"/>
                  </a:lnTo>
                  <a:lnTo>
                    <a:pt x="1018" y="940"/>
                  </a:lnTo>
                  <a:lnTo>
                    <a:pt x="969" y="992"/>
                  </a:lnTo>
                  <a:lnTo>
                    <a:pt x="920" y="1045"/>
                  </a:lnTo>
                  <a:lnTo>
                    <a:pt x="871" y="1097"/>
                  </a:lnTo>
                  <a:lnTo>
                    <a:pt x="824" y="1150"/>
                  </a:lnTo>
                  <a:lnTo>
                    <a:pt x="776" y="1203"/>
                  </a:lnTo>
                  <a:lnTo>
                    <a:pt x="730" y="1257"/>
                  </a:lnTo>
                  <a:lnTo>
                    <a:pt x="684" y="1310"/>
                  </a:lnTo>
                  <a:lnTo>
                    <a:pt x="639" y="1364"/>
                  </a:lnTo>
                  <a:lnTo>
                    <a:pt x="594" y="1418"/>
                  </a:lnTo>
                  <a:lnTo>
                    <a:pt x="551" y="1472"/>
                  </a:lnTo>
                  <a:lnTo>
                    <a:pt x="508" y="1527"/>
                  </a:lnTo>
                  <a:lnTo>
                    <a:pt x="466" y="1582"/>
                  </a:lnTo>
                  <a:lnTo>
                    <a:pt x="425" y="1636"/>
                  </a:lnTo>
                  <a:lnTo>
                    <a:pt x="383" y="1692"/>
                  </a:lnTo>
                  <a:lnTo>
                    <a:pt x="39" y="2161"/>
                  </a:lnTo>
                  <a:lnTo>
                    <a:pt x="40" y="2162"/>
                  </a:lnTo>
                  <a:lnTo>
                    <a:pt x="29" y="2180"/>
                  </a:lnTo>
                  <a:lnTo>
                    <a:pt x="20" y="2201"/>
                  </a:lnTo>
                  <a:lnTo>
                    <a:pt x="12" y="2221"/>
                  </a:lnTo>
                  <a:lnTo>
                    <a:pt x="6" y="2241"/>
                  </a:lnTo>
                  <a:lnTo>
                    <a:pt x="2" y="2262"/>
                  </a:lnTo>
                  <a:lnTo>
                    <a:pt x="0" y="2282"/>
                  </a:lnTo>
                  <a:lnTo>
                    <a:pt x="0" y="2303"/>
                  </a:lnTo>
                  <a:lnTo>
                    <a:pt x="1" y="2324"/>
                  </a:lnTo>
                  <a:lnTo>
                    <a:pt x="4" y="2345"/>
                  </a:lnTo>
                  <a:lnTo>
                    <a:pt x="8" y="2365"/>
                  </a:lnTo>
                  <a:lnTo>
                    <a:pt x="15" y="2387"/>
                  </a:lnTo>
                  <a:lnTo>
                    <a:pt x="23" y="2406"/>
                  </a:lnTo>
                  <a:lnTo>
                    <a:pt x="33" y="2425"/>
                  </a:lnTo>
                  <a:lnTo>
                    <a:pt x="44" y="2443"/>
                  </a:lnTo>
                  <a:lnTo>
                    <a:pt x="59" y="2461"/>
                  </a:lnTo>
                  <a:lnTo>
                    <a:pt x="74" y="2477"/>
                  </a:lnTo>
                  <a:lnTo>
                    <a:pt x="83" y="2486"/>
                  </a:lnTo>
                  <a:lnTo>
                    <a:pt x="93" y="2494"/>
                  </a:lnTo>
                  <a:lnTo>
                    <a:pt x="103" y="2502"/>
                  </a:lnTo>
                  <a:lnTo>
                    <a:pt x="113" y="2509"/>
                  </a:lnTo>
                  <a:lnTo>
                    <a:pt x="123" y="2516"/>
                  </a:lnTo>
                  <a:lnTo>
                    <a:pt x="134" y="2522"/>
                  </a:lnTo>
                  <a:lnTo>
                    <a:pt x="145" y="2527"/>
                  </a:lnTo>
                  <a:lnTo>
                    <a:pt x="156" y="2532"/>
                  </a:lnTo>
                  <a:lnTo>
                    <a:pt x="168" y="2536"/>
                  </a:lnTo>
                  <a:lnTo>
                    <a:pt x="180" y="2541"/>
                  </a:lnTo>
                  <a:lnTo>
                    <a:pt x="192" y="2544"/>
                  </a:lnTo>
                  <a:lnTo>
                    <a:pt x="204" y="2547"/>
                  </a:lnTo>
                  <a:lnTo>
                    <a:pt x="216" y="2549"/>
                  </a:lnTo>
                  <a:lnTo>
                    <a:pt x="228" y="2550"/>
                  </a:lnTo>
                  <a:lnTo>
                    <a:pt x="240" y="2551"/>
                  </a:lnTo>
                  <a:lnTo>
                    <a:pt x="252" y="2551"/>
                  </a:lnTo>
                  <a:lnTo>
                    <a:pt x="264" y="2551"/>
                  </a:lnTo>
                  <a:lnTo>
                    <a:pt x="276" y="2550"/>
                  </a:lnTo>
                  <a:lnTo>
                    <a:pt x="288" y="2549"/>
                  </a:lnTo>
                  <a:lnTo>
                    <a:pt x="301" y="2547"/>
                  </a:lnTo>
                  <a:lnTo>
                    <a:pt x="313" y="2544"/>
                  </a:lnTo>
                  <a:lnTo>
                    <a:pt x="324" y="2541"/>
                  </a:lnTo>
                  <a:lnTo>
                    <a:pt x="336" y="2536"/>
                  </a:lnTo>
                  <a:lnTo>
                    <a:pt x="347" y="2532"/>
                  </a:lnTo>
                  <a:lnTo>
                    <a:pt x="359" y="2527"/>
                  </a:lnTo>
                  <a:lnTo>
                    <a:pt x="370" y="2522"/>
                  </a:lnTo>
                  <a:lnTo>
                    <a:pt x="381" y="2516"/>
                  </a:lnTo>
                  <a:lnTo>
                    <a:pt x="391" y="2509"/>
                  </a:lnTo>
                  <a:lnTo>
                    <a:pt x="402" y="2502"/>
                  </a:lnTo>
                  <a:lnTo>
                    <a:pt x="412" y="2494"/>
                  </a:lnTo>
                  <a:lnTo>
                    <a:pt x="422" y="2486"/>
                  </a:lnTo>
                  <a:lnTo>
                    <a:pt x="432" y="2477"/>
                  </a:lnTo>
                  <a:lnTo>
                    <a:pt x="442" y="2465"/>
                  </a:lnTo>
                  <a:lnTo>
                    <a:pt x="452" y="2453"/>
                  </a:lnTo>
                  <a:lnTo>
                    <a:pt x="461" y="2440"/>
                  </a:lnTo>
                  <a:lnTo>
                    <a:pt x="469" y="2427"/>
                  </a:lnTo>
                  <a:lnTo>
                    <a:pt x="791" y="1987"/>
                  </a:lnTo>
                  <a:lnTo>
                    <a:pt x="829" y="1936"/>
                  </a:lnTo>
                  <a:lnTo>
                    <a:pt x="867" y="1886"/>
                  </a:lnTo>
                  <a:lnTo>
                    <a:pt x="907" y="1834"/>
                  </a:lnTo>
                  <a:lnTo>
                    <a:pt x="946" y="1784"/>
                  </a:lnTo>
                  <a:lnTo>
                    <a:pt x="987" y="1734"/>
                  </a:lnTo>
                  <a:lnTo>
                    <a:pt x="1029" y="1683"/>
                  </a:lnTo>
                  <a:lnTo>
                    <a:pt x="1070" y="1633"/>
                  </a:lnTo>
                  <a:lnTo>
                    <a:pt x="1113" y="1583"/>
                  </a:lnTo>
                  <a:lnTo>
                    <a:pt x="1157" y="1534"/>
                  </a:lnTo>
                  <a:lnTo>
                    <a:pt x="1200" y="1484"/>
                  </a:lnTo>
                  <a:lnTo>
                    <a:pt x="1244" y="1435"/>
                  </a:lnTo>
                  <a:lnTo>
                    <a:pt x="1290" y="1386"/>
                  </a:lnTo>
                  <a:lnTo>
                    <a:pt x="1336" y="1337"/>
                  </a:lnTo>
                  <a:lnTo>
                    <a:pt x="1382" y="1288"/>
                  </a:lnTo>
                  <a:lnTo>
                    <a:pt x="1429" y="1241"/>
                  </a:lnTo>
                  <a:lnTo>
                    <a:pt x="1477" y="1193"/>
                  </a:lnTo>
                  <a:lnTo>
                    <a:pt x="1530" y="1140"/>
                  </a:lnTo>
                  <a:lnTo>
                    <a:pt x="1582" y="1090"/>
                  </a:lnTo>
                  <a:lnTo>
                    <a:pt x="1634" y="1040"/>
                  </a:lnTo>
                  <a:lnTo>
                    <a:pt x="1686" y="991"/>
                  </a:lnTo>
                  <a:lnTo>
                    <a:pt x="1738" y="944"/>
                  </a:lnTo>
                  <a:lnTo>
                    <a:pt x="1791" y="898"/>
                  </a:lnTo>
                  <a:lnTo>
                    <a:pt x="1842" y="852"/>
                  </a:lnTo>
                  <a:lnTo>
                    <a:pt x="1896" y="806"/>
                  </a:lnTo>
                  <a:lnTo>
                    <a:pt x="1948" y="762"/>
                  </a:lnTo>
                  <a:lnTo>
                    <a:pt x="2001" y="718"/>
                  </a:lnTo>
                  <a:lnTo>
                    <a:pt x="2056" y="673"/>
                  </a:lnTo>
                  <a:lnTo>
                    <a:pt x="2111" y="629"/>
                  </a:lnTo>
                  <a:lnTo>
                    <a:pt x="2167" y="585"/>
                  </a:lnTo>
                  <a:lnTo>
                    <a:pt x="2223" y="541"/>
                  </a:lnTo>
                  <a:lnTo>
                    <a:pt x="2282" y="495"/>
                  </a:lnTo>
                  <a:lnTo>
                    <a:pt x="2341" y="450"/>
                  </a:lnTo>
                  <a:lnTo>
                    <a:pt x="2340" y="449"/>
                  </a:lnTo>
                  <a:lnTo>
                    <a:pt x="2353" y="440"/>
                  </a:lnTo>
                  <a:lnTo>
                    <a:pt x="2365" y="429"/>
                  </a:lnTo>
                  <a:lnTo>
                    <a:pt x="2375" y="419"/>
                  </a:lnTo>
                  <a:lnTo>
                    <a:pt x="2383" y="410"/>
                  </a:lnTo>
                  <a:lnTo>
                    <a:pt x="2391" y="400"/>
                  </a:lnTo>
                  <a:lnTo>
                    <a:pt x="2398" y="390"/>
                  </a:lnTo>
                  <a:lnTo>
                    <a:pt x="2405" y="379"/>
                  </a:lnTo>
                  <a:lnTo>
                    <a:pt x="2411" y="368"/>
                  </a:lnTo>
                  <a:lnTo>
                    <a:pt x="2416" y="357"/>
                  </a:lnTo>
                  <a:lnTo>
                    <a:pt x="2421" y="346"/>
                  </a:lnTo>
                  <a:lnTo>
                    <a:pt x="2426" y="334"/>
                  </a:lnTo>
                  <a:lnTo>
                    <a:pt x="2429" y="322"/>
                  </a:lnTo>
                  <a:lnTo>
                    <a:pt x="2433" y="311"/>
                  </a:lnTo>
                  <a:lnTo>
                    <a:pt x="2435" y="299"/>
                  </a:lnTo>
                  <a:lnTo>
                    <a:pt x="2437" y="287"/>
                  </a:lnTo>
                  <a:lnTo>
                    <a:pt x="2439" y="275"/>
                  </a:lnTo>
                  <a:lnTo>
                    <a:pt x="2439" y="263"/>
                  </a:lnTo>
                  <a:lnTo>
                    <a:pt x="2440" y="251"/>
                  </a:lnTo>
                  <a:lnTo>
                    <a:pt x="2439" y="239"/>
                  </a:lnTo>
                  <a:lnTo>
                    <a:pt x="2439" y="227"/>
                  </a:lnTo>
                  <a:lnTo>
                    <a:pt x="2437" y="215"/>
                  </a:lnTo>
                  <a:lnTo>
                    <a:pt x="2435" y="203"/>
                  </a:lnTo>
                  <a:lnTo>
                    <a:pt x="2433" y="191"/>
                  </a:lnTo>
                  <a:lnTo>
                    <a:pt x="2429" y="179"/>
                  </a:lnTo>
                  <a:lnTo>
                    <a:pt x="2426" y="168"/>
                  </a:lnTo>
                  <a:lnTo>
                    <a:pt x="2421" y="155"/>
                  </a:lnTo>
                  <a:lnTo>
                    <a:pt x="2416" y="144"/>
                  </a:lnTo>
                  <a:lnTo>
                    <a:pt x="2411" y="133"/>
                  </a:lnTo>
                  <a:lnTo>
                    <a:pt x="2405" y="122"/>
                  </a:lnTo>
                  <a:lnTo>
                    <a:pt x="2398" y="112"/>
                  </a:lnTo>
                  <a:lnTo>
                    <a:pt x="2391" y="101"/>
                  </a:lnTo>
                  <a:lnTo>
                    <a:pt x="2383" y="91"/>
                  </a:lnTo>
                  <a:lnTo>
                    <a:pt x="2375" y="82"/>
                  </a:lnTo>
                  <a:lnTo>
                    <a:pt x="2365" y="72"/>
                  </a:lnTo>
                  <a:lnTo>
                    <a:pt x="2356" y="64"/>
                  </a:lnTo>
                  <a:lnTo>
                    <a:pt x="2347" y="56"/>
                  </a:lnTo>
                  <a:lnTo>
                    <a:pt x="2338" y="49"/>
                  </a:lnTo>
                  <a:lnTo>
                    <a:pt x="2329" y="42"/>
                  </a:lnTo>
                  <a:lnTo>
                    <a:pt x="2319" y="36"/>
                  </a:lnTo>
                  <a:lnTo>
                    <a:pt x="2309" y="30"/>
                  </a:lnTo>
                  <a:lnTo>
                    <a:pt x="2298" y="25"/>
                  </a:lnTo>
                  <a:lnTo>
                    <a:pt x="2288" y="20"/>
                  </a:lnTo>
                  <a:lnTo>
                    <a:pt x="2277" y="16"/>
                  </a:lnTo>
                  <a:lnTo>
                    <a:pt x="2267" y="12"/>
                  </a:lnTo>
                  <a:lnTo>
                    <a:pt x="2256" y="9"/>
                  </a:lnTo>
                  <a:lnTo>
                    <a:pt x="2244" y="6"/>
                  </a:lnTo>
                  <a:lnTo>
                    <a:pt x="2233" y="4"/>
                  </a:lnTo>
                  <a:lnTo>
                    <a:pt x="2222" y="2"/>
                  </a:lnTo>
                  <a:lnTo>
                    <a:pt x="2211" y="1"/>
                  </a:lnTo>
                  <a:lnTo>
                    <a:pt x="2199" y="0"/>
                  </a:lnTo>
                  <a:lnTo>
                    <a:pt x="2177" y="0"/>
                  </a:lnTo>
                  <a:lnTo>
                    <a:pt x="2154" y="2"/>
                  </a:lnTo>
                  <a:lnTo>
                    <a:pt x="2143" y="4"/>
                  </a:lnTo>
                  <a:lnTo>
                    <a:pt x="2132" y="6"/>
                  </a:lnTo>
                  <a:lnTo>
                    <a:pt x="2120" y="9"/>
                  </a:lnTo>
                  <a:lnTo>
                    <a:pt x="2109" y="12"/>
                  </a:lnTo>
                  <a:lnTo>
                    <a:pt x="2099" y="16"/>
                  </a:lnTo>
                  <a:lnTo>
                    <a:pt x="2088" y="20"/>
                  </a:lnTo>
                  <a:lnTo>
                    <a:pt x="2078" y="25"/>
                  </a:lnTo>
                  <a:lnTo>
                    <a:pt x="2067" y="30"/>
                  </a:lnTo>
                  <a:lnTo>
                    <a:pt x="2057" y="36"/>
                  </a:lnTo>
                  <a:lnTo>
                    <a:pt x="2048" y="42"/>
                  </a:lnTo>
                  <a:lnTo>
                    <a:pt x="2038" y="49"/>
                  </a:lnTo>
                  <a:lnTo>
                    <a:pt x="2029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17" name="ïṩlïde">
              <a:extLst>
                <a:ext uri="{FF2B5EF4-FFF2-40B4-BE49-F238E27FC236}">
                  <a16:creationId xmlns:a16="http://schemas.microsoft.com/office/drawing/2014/main" id="{A5F0C8F7-3E30-4262-AF47-7C1DE3DB4CC5}"/>
                </a:ext>
              </a:extLst>
            </p:cNvPr>
            <p:cNvSpPr/>
            <p:nvPr/>
          </p:nvSpPr>
          <p:spPr bwMode="auto">
            <a:xfrm>
              <a:off x="2527821" y="1653382"/>
              <a:ext cx="94469" cy="98698"/>
            </a:xfrm>
            <a:custGeom>
              <a:avLst/>
              <a:gdLst>
                <a:gd name="T0" fmla="*/ 830 w 2478"/>
                <a:gd name="T1" fmla="*/ 1534 h 2592"/>
                <a:gd name="T2" fmla="*/ 622 w 2478"/>
                <a:gd name="T3" fmla="*/ 1720 h 2592"/>
                <a:gd name="T4" fmla="*/ 408 w 2478"/>
                <a:gd name="T5" fmla="*/ 1899 h 2592"/>
                <a:gd name="T6" fmla="*/ 189 w 2478"/>
                <a:gd name="T7" fmla="*/ 2072 h 2592"/>
                <a:gd name="T8" fmla="*/ 89 w 2478"/>
                <a:gd name="T9" fmla="*/ 2144 h 2592"/>
                <a:gd name="T10" fmla="*/ 49 w 2478"/>
                <a:gd name="T11" fmla="*/ 2187 h 2592"/>
                <a:gd name="T12" fmla="*/ 24 w 2478"/>
                <a:gd name="T13" fmla="*/ 2230 h 2592"/>
                <a:gd name="T14" fmla="*/ 7 w 2478"/>
                <a:gd name="T15" fmla="*/ 2277 h 2592"/>
                <a:gd name="T16" fmla="*/ 1 w 2478"/>
                <a:gd name="T17" fmla="*/ 2325 h 2592"/>
                <a:gd name="T18" fmla="*/ 3 w 2478"/>
                <a:gd name="T19" fmla="*/ 2374 h 2592"/>
                <a:gd name="T20" fmla="*/ 14 w 2478"/>
                <a:gd name="T21" fmla="*/ 2421 h 2592"/>
                <a:gd name="T22" fmla="*/ 35 w 2478"/>
                <a:gd name="T23" fmla="*/ 2466 h 2592"/>
                <a:gd name="T24" fmla="*/ 65 w 2478"/>
                <a:gd name="T25" fmla="*/ 2508 h 2592"/>
                <a:gd name="T26" fmla="*/ 104 w 2478"/>
                <a:gd name="T27" fmla="*/ 2542 h 2592"/>
                <a:gd name="T28" fmla="*/ 145 w 2478"/>
                <a:gd name="T29" fmla="*/ 2567 h 2592"/>
                <a:gd name="T30" fmla="*/ 190 w 2478"/>
                <a:gd name="T31" fmla="*/ 2584 h 2592"/>
                <a:gd name="T32" fmla="*/ 238 w 2478"/>
                <a:gd name="T33" fmla="*/ 2591 h 2592"/>
                <a:gd name="T34" fmla="*/ 285 w 2478"/>
                <a:gd name="T35" fmla="*/ 2590 h 2592"/>
                <a:gd name="T36" fmla="*/ 333 w 2478"/>
                <a:gd name="T37" fmla="*/ 2579 h 2592"/>
                <a:gd name="T38" fmla="*/ 377 w 2478"/>
                <a:gd name="T39" fmla="*/ 2560 h 2592"/>
                <a:gd name="T40" fmla="*/ 418 w 2478"/>
                <a:gd name="T41" fmla="*/ 2533 h 2592"/>
                <a:gd name="T42" fmla="*/ 547 w 2478"/>
                <a:gd name="T43" fmla="*/ 2434 h 2592"/>
                <a:gd name="T44" fmla="*/ 780 w 2478"/>
                <a:gd name="T45" fmla="*/ 2246 h 2592"/>
                <a:gd name="T46" fmla="*/ 1007 w 2478"/>
                <a:gd name="T47" fmla="*/ 2052 h 2592"/>
                <a:gd name="T48" fmla="*/ 1228 w 2478"/>
                <a:gd name="T49" fmla="*/ 1849 h 2592"/>
                <a:gd name="T50" fmla="*/ 1438 w 2478"/>
                <a:gd name="T51" fmla="*/ 1640 h 2592"/>
                <a:gd name="T52" fmla="*/ 1632 w 2478"/>
                <a:gd name="T53" fmla="*/ 1431 h 2592"/>
                <a:gd name="T54" fmla="*/ 1817 w 2478"/>
                <a:gd name="T55" fmla="*/ 1217 h 2592"/>
                <a:gd name="T56" fmla="*/ 1990 w 2478"/>
                <a:gd name="T57" fmla="*/ 1000 h 2592"/>
                <a:gd name="T58" fmla="*/ 2417 w 2478"/>
                <a:gd name="T59" fmla="*/ 417 h 2592"/>
                <a:gd name="T60" fmla="*/ 2444 w 2478"/>
                <a:gd name="T61" fmla="*/ 378 h 2592"/>
                <a:gd name="T62" fmla="*/ 2464 w 2478"/>
                <a:gd name="T63" fmla="*/ 335 h 2592"/>
                <a:gd name="T64" fmla="*/ 2475 w 2478"/>
                <a:gd name="T65" fmla="*/ 289 h 2592"/>
                <a:gd name="T66" fmla="*/ 2478 w 2478"/>
                <a:gd name="T67" fmla="*/ 243 h 2592"/>
                <a:gd name="T68" fmla="*/ 2472 w 2478"/>
                <a:gd name="T69" fmla="*/ 198 h 2592"/>
                <a:gd name="T70" fmla="*/ 2458 w 2478"/>
                <a:gd name="T71" fmla="*/ 154 h 2592"/>
                <a:gd name="T72" fmla="*/ 2435 w 2478"/>
                <a:gd name="T73" fmla="*/ 111 h 2592"/>
                <a:gd name="T74" fmla="*/ 2403 w 2478"/>
                <a:gd name="T75" fmla="*/ 74 h 2592"/>
                <a:gd name="T76" fmla="*/ 2363 w 2478"/>
                <a:gd name="T77" fmla="*/ 41 h 2592"/>
                <a:gd name="T78" fmla="*/ 2320 w 2478"/>
                <a:gd name="T79" fmla="*/ 18 h 2592"/>
                <a:gd name="T80" fmla="*/ 2272 w 2478"/>
                <a:gd name="T81" fmla="*/ 4 h 2592"/>
                <a:gd name="T82" fmla="*/ 2224 w 2478"/>
                <a:gd name="T83" fmla="*/ 0 h 2592"/>
                <a:gd name="T84" fmla="*/ 2176 w 2478"/>
                <a:gd name="T85" fmla="*/ 4 h 2592"/>
                <a:gd name="T86" fmla="*/ 2128 w 2478"/>
                <a:gd name="T87" fmla="*/ 18 h 2592"/>
                <a:gd name="T88" fmla="*/ 2084 w 2478"/>
                <a:gd name="T89" fmla="*/ 41 h 2592"/>
                <a:gd name="T90" fmla="*/ 2044 w 2478"/>
                <a:gd name="T91" fmla="*/ 74 h 2592"/>
                <a:gd name="T92" fmla="*/ 2000 w 2478"/>
                <a:gd name="T93" fmla="*/ 136 h 2592"/>
                <a:gd name="T94" fmla="*/ 1549 w 2478"/>
                <a:gd name="T95" fmla="*/ 746 h 2592"/>
                <a:gd name="T96" fmla="*/ 1386 w 2478"/>
                <a:gd name="T97" fmla="*/ 948 h 2592"/>
                <a:gd name="T98" fmla="*/ 1212 w 2478"/>
                <a:gd name="T99" fmla="*/ 1146 h 2592"/>
                <a:gd name="T100" fmla="*/ 1027 w 2478"/>
                <a:gd name="T101" fmla="*/ 1341 h 2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478" h="2592">
                  <a:moveTo>
                    <a:pt x="980" y="1388"/>
                  </a:moveTo>
                  <a:lnTo>
                    <a:pt x="929" y="1437"/>
                  </a:lnTo>
                  <a:lnTo>
                    <a:pt x="880" y="1485"/>
                  </a:lnTo>
                  <a:lnTo>
                    <a:pt x="830" y="1534"/>
                  </a:lnTo>
                  <a:lnTo>
                    <a:pt x="778" y="1581"/>
                  </a:lnTo>
                  <a:lnTo>
                    <a:pt x="727" y="1627"/>
                  </a:lnTo>
                  <a:lnTo>
                    <a:pt x="674" y="1674"/>
                  </a:lnTo>
                  <a:lnTo>
                    <a:pt x="622" y="1720"/>
                  </a:lnTo>
                  <a:lnTo>
                    <a:pt x="569" y="1765"/>
                  </a:lnTo>
                  <a:lnTo>
                    <a:pt x="516" y="1810"/>
                  </a:lnTo>
                  <a:lnTo>
                    <a:pt x="463" y="1855"/>
                  </a:lnTo>
                  <a:lnTo>
                    <a:pt x="408" y="1899"/>
                  </a:lnTo>
                  <a:lnTo>
                    <a:pt x="354" y="1942"/>
                  </a:lnTo>
                  <a:lnTo>
                    <a:pt x="299" y="1985"/>
                  </a:lnTo>
                  <a:lnTo>
                    <a:pt x="245" y="2029"/>
                  </a:lnTo>
                  <a:lnTo>
                    <a:pt x="189" y="2072"/>
                  </a:lnTo>
                  <a:lnTo>
                    <a:pt x="134" y="2114"/>
                  </a:lnTo>
                  <a:lnTo>
                    <a:pt x="119" y="2123"/>
                  </a:lnTo>
                  <a:lnTo>
                    <a:pt x="103" y="2133"/>
                  </a:lnTo>
                  <a:lnTo>
                    <a:pt x="89" y="2144"/>
                  </a:lnTo>
                  <a:lnTo>
                    <a:pt x="74" y="2157"/>
                  </a:lnTo>
                  <a:lnTo>
                    <a:pt x="65" y="2166"/>
                  </a:lnTo>
                  <a:lnTo>
                    <a:pt x="57" y="2177"/>
                  </a:lnTo>
                  <a:lnTo>
                    <a:pt x="49" y="2187"/>
                  </a:lnTo>
                  <a:lnTo>
                    <a:pt x="42" y="2198"/>
                  </a:lnTo>
                  <a:lnTo>
                    <a:pt x="35" y="2208"/>
                  </a:lnTo>
                  <a:lnTo>
                    <a:pt x="29" y="2219"/>
                  </a:lnTo>
                  <a:lnTo>
                    <a:pt x="24" y="2230"/>
                  </a:lnTo>
                  <a:lnTo>
                    <a:pt x="19" y="2242"/>
                  </a:lnTo>
                  <a:lnTo>
                    <a:pt x="14" y="2253"/>
                  </a:lnTo>
                  <a:lnTo>
                    <a:pt x="11" y="2265"/>
                  </a:lnTo>
                  <a:lnTo>
                    <a:pt x="7" y="2277"/>
                  </a:lnTo>
                  <a:lnTo>
                    <a:pt x="5" y="2288"/>
                  </a:lnTo>
                  <a:lnTo>
                    <a:pt x="3" y="2300"/>
                  </a:lnTo>
                  <a:lnTo>
                    <a:pt x="1" y="2313"/>
                  </a:lnTo>
                  <a:lnTo>
                    <a:pt x="1" y="2325"/>
                  </a:lnTo>
                  <a:lnTo>
                    <a:pt x="0" y="2338"/>
                  </a:lnTo>
                  <a:lnTo>
                    <a:pt x="1" y="2350"/>
                  </a:lnTo>
                  <a:lnTo>
                    <a:pt x="1" y="2362"/>
                  </a:lnTo>
                  <a:lnTo>
                    <a:pt x="3" y="2374"/>
                  </a:lnTo>
                  <a:lnTo>
                    <a:pt x="5" y="2386"/>
                  </a:lnTo>
                  <a:lnTo>
                    <a:pt x="7" y="2398"/>
                  </a:lnTo>
                  <a:lnTo>
                    <a:pt x="11" y="2410"/>
                  </a:lnTo>
                  <a:lnTo>
                    <a:pt x="14" y="2421"/>
                  </a:lnTo>
                  <a:lnTo>
                    <a:pt x="19" y="2433"/>
                  </a:lnTo>
                  <a:lnTo>
                    <a:pt x="24" y="2444"/>
                  </a:lnTo>
                  <a:lnTo>
                    <a:pt x="29" y="2455"/>
                  </a:lnTo>
                  <a:lnTo>
                    <a:pt x="35" y="2466"/>
                  </a:lnTo>
                  <a:lnTo>
                    <a:pt x="42" y="2477"/>
                  </a:lnTo>
                  <a:lnTo>
                    <a:pt x="49" y="2487"/>
                  </a:lnTo>
                  <a:lnTo>
                    <a:pt x="57" y="2497"/>
                  </a:lnTo>
                  <a:lnTo>
                    <a:pt x="65" y="2508"/>
                  </a:lnTo>
                  <a:lnTo>
                    <a:pt x="74" y="2517"/>
                  </a:lnTo>
                  <a:lnTo>
                    <a:pt x="83" y="2526"/>
                  </a:lnTo>
                  <a:lnTo>
                    <a:pt x="94" y="2534"/>
                  </a:lnTo>
                  <a:lnTo>
                    <a:pt x="104" y="2542"/>
                  </a:lnTo>
                  <a:lnTo>
                    <a:pt x="114" y="2549"/>
                  </a:lnTo>
                  <a:lnTo>
                    <a:pt x="124" y="2556"/>
                  </a:lnTo>
                  <a:lnTo>
                    <a:pt x="135" y="2562"/>
                  </a:lnTo>
                  <a:lnTo>
                    <a:pt x="145" y="2567"/>
                  </a:lnTo>
                  <a:lnTo>
                    <a:pt x="156" y="2572"/>
                  </a:lnTo>
                  <a:lnTo>
                    <a:pt x="168" y="2577"/>
                  </a:lnTo>
                  <a:lnTo>
                    <a:pt x="179" y="2580"/>
                  </a:lnTo>
                  <a:lnTo>
                    <a:pt x="190" y="2584"/>
                  </a:lnTo>
                  <a:lnTo>
                    <a:pt x="202" y="2586"/>
                  </a:lnTo>
                  <a:lnTo>
                    <a:pt x="215" y="2588"/>
                  </a:lnTo>
                  <a:lnTo>
                    <a:pt x="226" y="2590"/>
                  </a:lnTo>
                  <a:lnTo>
                    <a:pt x="238" y="2591"/>
                  </a:lnTo>
                  <a:lnTo>
                    <a:pt x="250" y="2592"/>
                  </a:lnTo>
                  <a:lnTo>
                    <a:pt x="262" y="2591"/>
                  </a:lnTo>
                  <a:lnTo>
                    <a:pt x="274" y="2591"/>
                  </a:lnTo>
                  <a:lnTo>
                    <a:pt x="285" y="2590"/>
                  </a:lnTo>
                  <a:lnTo>
                    <a:pt x="297" y="2588"/>
                  </a:lnTo>
                  <a:lnTo>
                    <a:pt x="309" y="2586"/>
                  </a:lnTo>
                  <a:lnTo>
                    <a:pt x="320" y="2583"/>
                  </a:lnTo>
                  <a:lnTo>
                    <a:pt x="333" y="2579"/>
                  </a:lnTo>
                  <a:lnTo>
                    <a:pt x="344" y="2576"/>
                  </a:lnTo>
                  <a:lnTo>
                    <a:pt x="355" y="2571"/>
                  </a:lnTo>
                  <a:lnTo>
                    <a:pt x="366" y="2566"/>
                  </a:lnTo>
                  <a:lnTo>
                    <a:pt x="377" y="2560"/>
                  </a:lnTo>
                  <a:lnTo>
                    <a:pt x="388" y="2554"/>
                  </a:lnTo>
                  <a:lnTo>
                    <a:pt x="398" y="2548"/>
                  </a:lnTo>
                  <a:lnTo>
                    <a:pt x="408" y="2540"/>
                  </a:lnTo>
                  <a:lnTo>
                    <a:pt x="418" y="2533"/>
                  </a:lnTo>
                  <a:lnTo>
                    <a:pt x="427" y="2524"/>
                  </a:lnTo>
                  <a:lnTo>
                    <a:pt x="429" y="2525"/>
                  </a:lnTo>
                  <a:lnTo>
                    <a:pt x="488" y="2479"/>
                  </a:lnTo>
                  <a:lnTo>
                    <a:pt x="547" y="2434"/>
                  </a:lnTo>
                  <a:lnTo>
                    <a:pt x="606" y="2388"/>
                  </a:lnTo>
                  <a:lnTo>
                    <a:pt x="664" y="2341"/>
                  </a:lnTo>
                  <a:lnTo>
                    <a:pt x="722" y="2293"/>
                  </a:lnTo>
                  <a:lnTo>
                    <a:pt x="780" y="2246"/>
                  </a:lnTo>
                  <a:lnTo>
                    <a:pt x="837" y="2199"/>
                  </a:lnTo>
                  <a:lnTo>
                    <a:pt x="894" y="2150"/>
                  </a:lnTo>
                  <a:lnTo>
                    <a:pt x="951" y="2101"/>
                  </a:lnTo>
                  <a:lnTo>
                    <a:pt x="1007" y="2052"/>
                  </a:lnTo>
                  <a:lnTo>
                    <a:pt x="1063" y="2003"/>
                  </a:lnTo>
                  <a:lnTo>
                    <a:pt x="1119" y="1951"/>
                  </a:lnTo>
                  <a:lnTo>
                    <a:pt x="1173" y="1901"/>
                  </a:lnTo>
                  <a:lnTo>
                    <a:pt x="1228" y="1849"/>
                  </a:lnTo>
                  <a:lnTo>
                    <a:pt x="1282" y="1796"/>
                  </a:lnTo>
                  <a:lnTo>
                    <a:pt x="1336" y="1744"/>
                  </a:lnTo>
                  <a:lnTo>
                    <a:pt x="1387" y="1693"/>
                  </a:lnTo>
                  <a:lnTo>
                    <a:pt x="1438" y="1640"/>
                  </a:lnTo>
                  <a:lnTo>
                    <a:pt x="1487" y="1589"/>
                  </a:lnTo>
                  <a:lnTo>
                    <a:pt x="1536" y="1537"/>
                  </a:lnTo>
                  <a:lnTo>
                    <a:pt x="1585" y="1483"/>
                  </a:lnTo>
                  <a:lnTo>
                    <a:pt x="1632" y="1431"/>
                  </a:lnTo>
                  <a:lnTo>
                    <a:pt x="1680" y="1378"/>
                  </a:lnTo>
                  <a:lnTo>
                    <a:pt x="1726" y="1325"/>
                  </a:lnTo>
                  <a:lnTo>
                    <a:pt x="1772" y="1271"/>
                  </a:lnTo>
                  <a:lnTo>
                    <a:pt x="1817" y="1217"/>
                  </a:lnTo>
                  <a:lnTo>
                    <a:pt x="1861" y="1164"/>
                  </a:lnTo>
                  <a:lnTo>
                    <a:pt x="1905" y="1109"/>
                  </a:lnTo>
                  <a:lnTo>
                    <a:pt x="1948" y="1055"/>
                  </a:lnTo>
                  <a:lnTo>
                    <a:pt x="1990" y="1000"/>
                  </a:lnTo>
                  <a:lnTo>
                    <a:pt x="2031" y="945"/>
                  </a:lnTo>
                  <a:lnTo>
                    <a:pt x="2073" y="890"/>
                  </a:lnTo>
                  <a:lnTo>
                    <a:pt x="2418" y="418"/>
                  </a:lnTo>
                  <a:lnTo>
                    <a:pt x="2417" y="417"/>
                  </a:lnTo>
                  <a:lnTo>
                    <a:pt x="2424" y="408"/>
                  </a:lnTo>
                  <a:lnTo>
                    <a:pt x="2432" y="398"/>
                  </a:lnTo>
                  <a:lnTo>
                    <a:pt x="2438" y="388"/>
                  </a:lnTo>
                  <a:lnTo>
                    <a:pt x="2444" y="378"/>
                  </a:lnTo>
                  <a:lnTo>
                    <a:pt x="2450" y="367"/>
                  </a:lnTo>
                  <a:lnTo>
                    <a:pt x="2455" y="357"/>
                  </a:lnTo>
                  <a:lnTo>
                    <a:pt x="2460" y="346"/>
                  </a:lnTo>
                  <a:lnTo>
                    <a:pt x="2464" y="335"/>
                  </a:lnTo>
                  <a:lnTo>
                    <a:pt x="2467" y="324"/>
                  </a:lnTo>
                  <a:lnTo>
                    <a:pt x="2470" y="313"/>
                  </a:lnTo>
                  <a:lnTo>
                    <a:pt x="2473" y="301"/>
                  </a:lnTo>
                  <a:lnTo>
                    <a:pt x="2475" y="289"/>
                  </a:lnTo>
                  <a:lnTo>
                    <a:pt x="2476" y="278"/>
                  </a:lnTo>
                  <a:lnTo>
                    <a:pt x="2477" y="266"/>
                  </a:lnTo>
                  <a:lnTo>
                    <a:pt x="2478" y="255"/>
                  </a:lnTo>
                  <a:lnTo>
                    <a:pt x="2478" y="243"/>
                  </a:lnTo>
                  <a:lnTo>
                    <a:pt x="2477" y="232"/>
                  </a:lnTo>
                  <a:lnTo>
                    <a:pt x="2476" y="220"/>
                  </a:lnTo>
                  <a:lnTo>
                    <a:pt x="2474" y="209"/>
                  </a:lnTo>
                  <a:lnTo>
                    <a:pt x="2472" y="198"/>
                  </a:lnTo>
                  <a:lnTo>
                    <a:pt x="2469" y="186"/>
                  </a:lnTo>
                  <a:lnTo>
                    <a:pt x="2466" y="175"/>
                  </a:lnTo>
                  <a:lnTo>
                    <a:pt x="2462" y="164"/>
                  </a:lnTo>
                  <a:lnTo>
                    <a:pt x="2458" y="154"/>
                  </a:lnTo>
                  <a:lnTo>
                    <a:pt x="2453" y="143"/>
                  </a:lnTo>
                  <a:lnTo>
                    <a:pt x="2447" y="132"/>
                  </a:lnTo>
                  <a:lnTo>
                    <a:pt x="2441" y="121"/>
                  </a:lnTo>
                  <a:lnTo>
                    <a:pt x="2435" y="111"/>
                  </a:lnTo>
                  <a:lnTo>
                    <a:pt x="2428" y="101"/>
                  </a:lnTo>
                  <a:lnTo>
                    <a:pt x="2420" y="92"/>
                  </a:lnTo>
                  <a:lnTo>
                    <a:pt x="2412" y="83"/>
                  </a:lnTo>
                  <a:lnTo>
                    <a:pt x="2403" y="74"/>
                  </a:lnTo>
                  <a:lnTo>
                    <a:pt x="2393" y="65"/>
                  </a:lnTo>
                  <a:lnTo>
                    <a:pt x="2384" y="56"/>
                  </a:lnTo>
                  <a:lnTo>
                    <a:pt x="2374" y="49"/>
                  </a:lnTo>
                  <a:lnTo>
                    <a:pt x="2363" y="41"/>
                  </a:lnTo>
                  <a:lnTo>
                    <a:pt x="2353" y="35"/>
                  </a:lnTo>
                  <a:lnTo>
                    <a:pt x="2342" y="29"/>
                  </a:lnTo>
                  <a:lnTo>
                    <a:pt x="2331" y="23"/>
                  </a:lnTo>
                  <a:lnTo>
                    <a:pt x="2320" y="18"/>
                  </a:lnTo>
                  <a:lnTo>
                    <a:pt x="2308" y="14"/>
                  </a:lnTo>
                  <a:lnTo>
                    <a:pt x="2297" y="10"/>
                  </a:lnTo>
                  <a:lnTo>
                    <a:pt x="2284" y="7"/>
                  </a:lnTo>
                  <a:lnTo>
                    <a:pt x="2272" y="4"/>
                  </a:lnTo>
                  <a:lnTo>
                    <a:pt x="2260" y="2"/>
                  </a:lnTo>
                  <a:lnTo>
                    <a:pt x="2248" y="1"/>
                  </a:lnTo>
                  <a:lnTo>
                    <a:pt x="2236" y="0"/>
                  </a:lnTo>
                  <a:lnTo>
                    <a:pt x="2224" y="0"/>
                  </a:lnTo>
                  <a:lnTo>
                    <a:pt x="2212" y="0"/>
                  </a:lnTo>
                  <a:lnTo>
                    <a:pt x="2200" y="1"/>
                  </a:lnTo>
                  <a:lnTo>
                    <a:pt x="2188" y="2"/>
                  </a:lnTo>
                  <a:lnTo>
                    <a:pt x="2176" y="4"/>
                  </a:lnTo>
                  <a:lnTo>
                    <a:pt x="2163" y="7"/>
                  </a:lnTo>
                  <a:lnTo>
                    <a:pt x="2151" y="10"/>
                  </a:lnTo>
                  <a:lnTo>
                    <a:pt x="2139" y="14"/>
                  </a:lnTo>
                  <a:lnTo>
                    <a:pt x="2128" y="18"/>
                  </a:lnTo>
                  <a:lnTo>
                    <a:pt x="2117" y="23"/>
                  </a:lnTo>
                  <a:lnTo>
                    <a:pt x="2105" y="29"/>
                  </a:lnTo>
                  <a:lnTo>
                    <a:pt x="2095" y="35"/>
                  </a:lnTo>
                  <a:lnTo>
                    <a:pt x="2084" y="41"/>
                  </a:lnTo>
                  <a:lnTo>
                    <a:pt x="2074" y="49"/>
                  </a:lnTo>
                  <a:lnTo>
                    <a:pt x="2063" y="56"/>
                  </a:lnTo>
                  <a:lnTo>
                    <a:pt x="2054" y="65"/>
                  </a:lnTo>
                  <a:lnTo>
                    <a:pt x="2044" y="74"/>
                  </a:lnTo>
                  <a:lnTo>
                    <a:pt x="2031" y="88"/>
                  </a:lnTo>
                  <a:lnTo>
                    <a:pt x="2019" y="103"/>
                  </a:lnTo>
                  <a:lnTo>
                    <a:pt x="2009" y="119"/>
                  </a:lnTo>
                  <a:lnTo>
                    <a:pt x="2000" y="136"/>
                  </a:lnTo>
                  <a:lnTo>
                    <a:pt x="1664" y="593"/>
                  </a:lnTo>
                  <a:lnTo>
                    <a:pt x="1627" y="645"/>
                  </a:lnTo>
                  <a:lnTo>
                    <a:pt x="1589" y="696"/>
                  </a:lnTo>
                  <a:lnTo>
                    <a:pt x="1549" y="746"/>
                  </a:lnTo>
                  <a:lnTo>
                    <a:pt x="1509" y="797"/>
                  </a:lnTo>
                  <a:lnTo>
                    <a:pt x="1469" y="848"/>
                  </a:lnTo>
                  <a:lnTo>
                    <a:pt x="1427" y="898"/>
                  </a:lnTo>
                  <a:lnTo>
                    <a:pt x="1386" y="948"/>
                  </a:lnTo>
                  <a:lnTo>
                    <a:pt x="1343" y="998"/>
                  </a:lnTo>
                  <a:lnTo>
                    <a:pt x="1299" y="1048"/>
                  </a:lnTo>
                  <a:lnTo>
                    <a:pt x="1256" y="1097"/>
                  </a:lnTo>
                  <a:lnTo>
                    <a:pt x="1212" y="1146"/>
                  </a:lnTo>
                  <a:lnTo>
                    <a:pt x="1166" y="1195"/>
                  </a:lnTo>
                  <a:lnTo>
                    <a:pt x="1120" y="1244"/>
                  </a:lnTo>
                  <a:lnTo>
                    <a:pt x="1074" y="1292"/>
                  </a:lnTo>
                  <a:lnTo>
                    <a:pt x="1027" y="1341"/>
                  </a:lnTo>
                  <a:lnTo>
                    <a:pt x="980" y="13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18" name="ïṧļîďe">
              <a:extLst>
                <a:ext uri="{FF2B5EF4-FFF2-40B4-BE49-F238E27FC236}">
                  <a16:creationId xmlns:a16="http://schemas.microsoft.com/office/drawing/2014/main" id="{EA814CDC-62DA-4972-BBF2-FE3549900770}"/>
                </a:ext>
              </a:extLst>
            </p:cNvPr>
            <p:cNvSpPr/>
            <p:nvPr/>
          </p:nvSpPr>
          <p:spPr bwMode="auto">
            <a:xfrm>
              <a:off x="3240995" y="1493427"/>
              <a:ext cx="127257" cy="407036"/>
            </a:xfrm>
            <a:custGeom>
              <a:avLst/>
              <a:gdLst>
                <a:gd name="T0" fmla="*/ 3784 w 5030"/>
                <a:gd name="T1" fmla="*/ 5837 h 16095"/>
                <a:gd name="T2" fmla="*/ 3571 w 5030"/>
                <a:gd name="T3" fmla="*/ 6098 h 16095"/>
                <a:gd name="T4" fmla="*/ 3350 w 5030"/>
                <a:gd name="T5" fmla="*/ 6279 h 16095"/>
                <a:gd name="T6" fmla="*/ 3045 w 5030"/>
                <a:gd name="T7" fmla="*/ 6436 h 16095"/>
                <a:gd name="T8" fmla="*/ 2678 w 5030"/>
                <a:gd name="T9" fmla="*/ 6529 h 16095"/>
                <a:gd name="T10" fmla="*/ 2288 w 5030"/>
                <a:gd name="T11" fmla="*/ 6519 h 16095"/>
                <a:gd name="T12" fmla="*/ 1931 w 5030"/>
                <a:gd name="T13" fmla="*/ 6415 h 16095"/>
                <a:gd name="T14" fmla="*/ 1633 w 5030"/>
                <a:gd name="T15" fmla="*/ 6246 h 16095"/>
                <a:gd name="T16" fmla="*/ 1400 w 5030"/>
                <a:gd name="T17" fmla="*/ 6039 h 16095"/>
                <a:gd name="T18" fmla="*/ 1158 w 5030"/>
                <a:gd name="T19" fmla="*/ 5678 h 16095"/>
                <a:gd name="T20" fmla="*/ 1020 w 5030"/>
                <a:gd name="T21" fmla="*/ 5219 h 16095"/>
                <a:gd name="T22" fmla="*/ 1014 w 5030"/>
                <a:gd name="T23" fmla="*/ 4893 h 16095"/>
                <a:gd name="T24" fmla="*/ 1117 w 5030"/>
                <a:gd name="T25" fmla="*/ 4478 h 16095"/>
                <a:gd name="T26" fmla="*/ 1329 w 5030"/>
                <a:gd name="T27" fmla="*/ 4104 h 16095"/>
                <a:gd name="T28" fmla="*/ 1607 w 5030"/>
                <a:gd name="T29" fmla="*/ 3832 h 16095"/>
                <a:gd name="T30" fmla="*/ 1879 w 5030"/>
                <a:gd name="T31" fmla="*/ 3669 h 16095"/>
                <a:gd name="T32" fmla="*/ 2225 w 5030"/>
                <a:gd name="T33" fmla="*/ 3552 h 16095"/>
                <a:gd name="T34" fmla="*/ 2613 w 5030"/>
                <a:gd name="T35" fmla="*/ 3525 h 16095"/>
                <a:gd name="T36" fmla="*/ 2988 w 5030"/>
                <a:gd name="T37" fmla="*/ 3603 h 16095"/>
                <a:gd name="T38" fmla="*/ 3301 w 5030"/>
                <a:gd name="T39" fmla="*/ 3750 h 16095"/>
                <a:gd name="T40" fmla="*/ 3571 w 5030"/>
                <a:gd name="T41" fmla="*/ 3960 h 16095"/>
                <a:gd name="T42" fmla="*/ 3825 w 5030"/>
                <a:gd name="T43" fmla="*/ 4288 h 16095"/>
                <a:gd name="T44" fmla="*/ 3996 w 5030"/>
                <a:gd name="T45" fmla="*/ 4760 h 16095"/>
                <a:gd name="T46" fmla="*/ 4021 w 5030"/>
                <a:gd name="T47" fmla="*/ 5112 h 16095"/>
                <a:gd name="T48" fmla="*/ 3015 w 5030"/>
                <a:gd name="T49" fmla="*/ 14637 h 16095"/>
                <a:gd name="T50" fmla="*/ 2903 w 5030"/>
                <a:gd name="T51" fmla="*/ 14906 h 16095"/>
                <a:gd name="T52" fmla="*/ 2665 w 5030"/>
                <a:gd name="T53" fmla="*/ 15067 h 16095"/>
                <a:gd name="T54" fmla="*/ 2365 w 5030"/>
                <a:gd name="T55" fmla="*/ 15067 h 16095"/>
                <a:gd name="T56" fmla="*/ 2127 w 5030"/>
                <a:gd name="T57" fmla="*/ 14906 h 16095"/>
                <a:gd name="T58" fmla="*/ 2015 w 5030"/>
                <a:gd name="T59" fmla="*/ 14637 h 16095"/>
                <a:gd name="T60" fmla="*/ 2579 w 5030"/>
                <a:gd name="T61" fmla="*/ 7544 h 16095"/>
                <a:gd name="T62" fmla="*/ 2018 w 5030"/>
                <a:gd name="T63" fmla="*/ 1432 h 16095"/>
                <a:gd name="T64" fmla="*/ 2143 w 5030"/>
                <a:gd name="T65" fmla="*/ 1171 h 16095"/>
                <a:gd name="T66" fmla="*/ 2389 w 5030"/>
                <a:gd name="T67" fmla="*/ 1022 h 16095"/>
                <a:gd name="T68" fmla="*/ 2688 w 5030"/>
                <a:gd name="T69" fmla="*/ 1036 h 16095"/>
                <a:gd name="T70" fmla="*/ 2918 w 5030"/>
                <a:gd name="T71" fmla="*/ 1208 h 16095"/>
                <a:gd name="T72" fmla="*/ 3017 w 5030"/>
                <a:gd name="T73" fmla="*/ 1483 h 16095"/>
                <a:gd name="T74" fmla="*/ 2386 w 5030"/>
                <a:gd name="T75" fmla="*/ 2518 h 16095"/>
                <a:gd name="T76" fmla="*/ 4007 w 5030"/>
                <a:gd name="T77" fmla="*/ 1280 h 16095"/>
                <a:gd name="T78" fmla="*/ 3631 w 5030"/>
                <a:gd name="T79" fmla="*/ 495 h 16095"/>
                <a:gd name="T80" fmla="*/ 2891 w 5030"/>
                <a:gd name="T81" fmla="*/ 47 h 16095"/>
                <a:gd name="T82" fmla="*/ 1997 w 5030"/>
                <a:gd name="T83" fmla="*/ 92 h 16095"/>
                <a:gd name="T84" fmla="*/ 1306 w 5030"/>
                <a:gd name="T85" fmla="*/ 607 h 16095"/>
                <a:gd name="T86" fmla="*/ 1008 w 5030"/>
                <a:gd name="T87" fmla="*/ 1431 h 16095"/>
                <a:gd name="T88" fmla="*/ 503 w 5030"/>
                <a:gd name="T89" fmla="*/ 3532 h 16095"/>
                <a:gd name="T90" fmla="*/ 111 w 5030"/>
                <a:gd name="T91" fmla="*/ 4294 h 16095"/>
                <a:gd name="T92" fmla="*/ 5 w 5030"/>
                <a:gd name="T93" fmla="*/ 5183 h 16095"/>
                <a:gd name="T94" fmla="*/ 213 w 5030"/>
                <a:gd name="T95" fmla="*/ 6036 h 16095"/>
                <a:gd name="T96" fmla="*/ 687 w 5030"/>
                <a:gd name="T97" fmla="*/ 6746 h 16095"/>
                <a:gd name="T98" fmla="*/ 1053 w 5030"/>
                <a:gd name="T99" fmla="*/ 14962 h 16095"/>
                <a:gd name="T100" fmla="*/ 1501 w 5030"/>
                <a:gd name="T101" fmla="*/ 15703 h 16095"/>
                <a:gd name="T102" fmla="*/ 2285 w 5030"/>
                <a:gd name="T103" fmla="*/ 16078 h 16095"/>
                <a:gd name="T104" fmla="*/ 3169 w 5030"/>
                <a:gd name="T105" fmla="*/ 15946 h 16095"/>
                <a:gd name="T106" fmla="*/ 3805 w 5030"/>
                <a:gd name="T107" fmla="*/ 15368 h 16095"/>
                <a:gd name="T108" fmla="*/ 4024 w 5030"/>
                <a:gd name="T109" fmla="*/ 7030 h 16095"/>
                <a:gd name="T110" fmla="*/ 4609 w 5030"/>
                <a:gd name="T111" fmla="*/ 6412 h 16095"/>
                <a:gd name="T112" fmla="*/ 4958 w 5030"/>
                <a:gd name="T113" fmla="*/ 5624 h 16095"/>
                <a:gd name="T114" fmla="*/ 5012 w 5030"/>
                <a:gd name="T115" fmla="*/ 4727 h 16095"/>
                <a:gd name="T116" fmla="*/ 4754 w 5030"/>
                <a:gd name="T117" fmla="*/ 3894 h 16095"/>
                <a:gd name="T118" fmla="*/ 4241 w 5030"/>
                <a:gd name="T119" fmla="*/ 3213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30" h="16095">
                  <a:moveTo>
                    <a:pt x="3955" y="5452"/>
                  </a:moveTo>
                  <a:lnTo>
                    <a:pt x="3950" y="5472"/>
                  </a:lnTo>
                  <a:lnTo>
                    <a:pt x="3944" y="5492"/>
                  </a:lnTo>
                  <a:lnTo>
                    <a:pt x="3938" y="5512"/>
                  </a:lnTo>
                  <a:lnTo>
                    <a:pt x="3931" y="5532"/>
                  </a:lnTo>
                  <a:lnTo>
                    <a:pt x="3913" y="5581"/>
                  </a:lnTo>
                  <a:lnTo>
                    <a:pt x="3893" y="5630"/>
                  </a:lnTo>
                  <a:lnTo>
                    <a:pt x="3872" y="5678"/>
                  </a:lnTo>
                  <a:lnTo>
                    <a:pt x="3849" y="5725"/>
                  </a:lnTo>
                  <a:lnTo>
                    <a:pt x="3825" y="5771"/>
                  </a:lnTo>
                  <a:lnTo>
                    <a:pt x="3798" y="5815"/>
                  </a:lnTo>
                  <a:lnTo>
                    <a:pt x="3784" y="5837"/>
                  </a:lnTo>
                  <a:lnTo>
                    <a:pt x="3770" y="5860"/>
                  </a:lnTo>
                  <a:lnTo>
                    <a:pt x="3756" y="5881"/>
                  </a:lnTo>
                  <a:lnTo>
                    <a:pt x="3741" y="5903"/>
                  </a:lnTo>
                  <a:lnTo>
                    <a:pt x="3738" y="5906"/>
                  </a:lnTo>
                  <a:lnTo>
                    <a:pt x="3735" y="5910"/>
                  </a:lnTo>
                  <a:lnTo>
                    <a:pt x="3701" y="5954"/>
                  </a:lnTo>
                  <a:lnTo>
                    <a:pt x="3666" y="5997"/>
                  </a:lnTo>
                  <a:lnTo>
                    <a:pt x="3648" y="6019"/>
                  </a:lnTo>
                  <a:lnTo>
                    <a:pt x="3629" y="6039"/>
                  </a:lnTo>
                  <a:lnTo>
                    <a:pt x="3610" y="6059"/>
                  </a:lnTo>
                  <a:lnTo>
                    <a:pt x="3591" y="6079"/>
                  </a:lnTo>
                  <a:lnTo>
                    <a:pt x="3571" y="6098"/>
                  </a:lnTo>
                  <a:lnTo>
                    <a:pt x="3552" y="6118"/>
                  </a:lnTo>
                  <a:lnTo>
                    <a:pt x="3531" y="6136"/>
                  </a:lnTo>
                  <a:lnTo>
                    <a:pt x="3511" y="6155"/>
                  </a:lnTo>
                  <a:lnTo>
                    <a:pt x="3490" y="6173"/>
                  </a:lnTo>
                  <a:lnTo>
                    <a:pt x="3468" y="6191"/>
                  </a:lnTo>
                  <a:lnTo>
                    <a:pt x="3446" y="6209"/>
                  </a:lnTo>
                  <a:lnTo>
                    <a:pt x="3424" y="6225"/>
                  </a:lnTo>
                  <a:lnTo>
                    <a:pt x="3422" y="6228"/>
                  </a:lnTo>
                  <a:lnTo>
                    <a:pt x="3420" y="6230"/>
                  </a:lnTo>
                  <a:lnTo>
                    <a:pt x="3397" y="6246"/>
                  </a:lnTo>
                  <a:lnTo>
                    <a:pt x="3374" y="6263"/>
                  </a:lnTo>
                  <a:lnTo>
                    <a:pt x="3350" y="6279"/>
                  </a:lnTo>
                  <a:lnTo>
                    <a:pt x="3326" y="6294"/>
                  </a:lnTo>
                  <a:lnTo>
                    <a:pt x="3301" y="6309"/>
                  </a:lnTo>
                  <a:lnTo>
                    <a:pt x="3277" y="6324"/>
                  </a:lnTo>
                  <a:lnTo>
                    <a:pt x="3252" y="6338"/>
                  </a:lnTo>
                  <a:lnTo>
                    <a:pt x="3228" y="6352"/>
                  </a:lnTo>
                  <a:lnTo>
                    <a:pt x="3202" y="6366"/>
                  </a:lnTo>
                  <a:lnTo>
                    <a:pt x="3177" y="6379"/>
                  </a:lnTo>
                  <a:lnTo>
                    <a:pt x="3151" y="6391"/>
                  </a:lnTo>
                  <a:lnTo>
                    <a:pt x="3124" y="6403"/>
                  </a:lnTo>
                  <a:lnTo>
                    <a:pt x="3098" y="6415"/>
                  </a:lnTo>
                  <a:lnTo>
                    <a:pt x="3072" y="6425"/>
                  </a:lnTo>
                  <a:lnTo>
                    <a:pt x="3045" y="6436"/>
                  </a:lnTo>
                  <a:lnTo>
                    <a:pt x="3018" y="6446"/>
                  </a:lnTo>
                  <a:lnTo>
                    <a:pt x="2988" y="6456"/>
                  </a:lnTo>
                  <a:lnTo>
                    <a:pt x="2958" y="6466"/>
                  </a:lnTo>
                  <a:lnTo>
                    <a:pt x="2928" y="6475"/>
                  </a:lnTo>
                  <a:lnTo>
                    <a:pt x="2897" y="6484"/>
                  </a:lnTo>
                  <a:lnTo>
                    <a:pt x="2867" y="6492"/>
                  </a:lnTo>
                  <a:lnTo>
                    <a:pt x="2836" y="6500"/>
                  </a:lnTo>
                  <a:lnTo>
                    <a:pt x="2805" y="6507"/>
                  </a:lnTo>
                  <a:lnTo>
                    <a:pt x="2773" y="6513"/>
                  </a:lnTo>
                  <a:lnTo>
                    <a:pt x="2742" y="6519"/>
                  </a:lnTo>
                  <a:lnTo>
                    <a:pt x="2710" y="6525"/>
                  </a:lnTo>
                  <a:lnTo>
                    <a:pt x="2678" y="6529"/>
                  </a:lnTo>
                  <a:lnTo>
                    <a:pt x="2646" y="6533"/>
                  </a:lnTo>
                  <a:lnTo>
                    <a:pt x="2613" y="6535"/>
                  </a:lnTo>
                  <a:lnTo>
                    <a:pt x="2581" y="6537"/>
                  </a:lnTo>
                  <a:lnTo>
                    <a:pt x="2548" y="6539"/>
                  </a:lnTo>
                  <a:lnTo>
                    <a:pt x="2515" y="6539"/>
                  </a:lnTo>
                  <a:lnTo>
                    <a:pt x="2482" y="6539"/>
                  </a:lnTo>
                  <a:lnTo>
                    <a:pt x="2448" y="6537"/>
                  </a:lnTo>
                  <a:lnTo>
                    <a:pt x="2416" y="6535"/>
                  </a:lnTo>
                  <a:lnTo>
                    <a:pt x="2383" y="6533"/>
                  </a:lnTo>
                  <a:lnTo>
                    <a:pt x="2351" y="6529"/>
                  </a:lnTo>
                  <a:lnTo>
                    <a:pt x="2320" y="6525"/>
                  </a:lnTo>
                  <a:lnTo>
                    <a:pt x="2288" y="6519"/>
                  </a:lnTo>
                  <a:lnTo>
                    <a:pt x="2256" y="6513"/>
                  </a:lnTo>
                  <a:lnTo>
                    <a:pt x="2225" y="6507"/>
                  </a:lnTo>
                  <a:lnTo>
                    <a:pt x="2194" y="6500"/>
                  </a:lnTo>
                  <a:lnTo>
                    <a:pt x="2163" y="6492"/>
                  </a:lnTo>
                  <a:lnTo>
                    <a:pt x="2133" y="6484"/>
                  </a:lnTo>
                  <a:lnTo>
                    <a:pt x="2101" y="6475"/>
                  </a:lnTo>
                  <a:lnTo>
                    <a:pt x="2071" y="6466"/>
                  </a:lnTo>
                  <a:lnTo>
                    <a:pt x="2041" y="6456"/>
                  </a:lnTo>
                  <a:lnTo>
                    <a:pt x="2012" y="6446"/>
                  </a:lnTo>
                  <a:lnTo>
                    <a:pt x="1985" y="6436"/>
                  </a:lnTo>
                  <a:lnTo>
                    <a:pt x="1958" y="6425"/>
                  </a:lnTo>
                  <a:lnTo>
                    <a:pt x="1931" y="6415"/>
                  </a:lnTo>
                  <a:lnTo>
                    <a:pt x="1905" y="6403"/>
                  </a:lnTo>
                  <a:lnTo>
                    <a:pt x="1879" y="6391"/>
                  </a:lnTo>
                  <a:lnTo>
                    <a:pt x="1853" y="6379"/>
                  </a:lnTo>
                  <a:lnTo>
                    <a:pt x="1827" y="6366"/>
                  </a:lnTo>
                  <a:lnTo>
                    <a:pt x="1802" y="6352"/>
                  </a:lnTo>
                  <a:lnTo>
                    <a:pt x="1776" y="6338"/>
                  </a:lnTo>
                  <a:lnTo>
                    <a:pt x="1752" y="6324"/>
                  </a:lnTo>
                  <a:lnTo>
                    <a:pt x="1727" y="6309"/>
                  </a:lnTo>
                  <a:lnTo>
                    <a:pt x="1703" y="6294"/>
                  </a:lnTo>
                  <a:lnTo>
                    <a:pt x="1680" y="6279"/>
                  </a:lnTo>
                  <a:lnTo>
                    <a:pt x="1656" y="6263"/>
                  </a:lnTo>
                  <a:lnTo>
                    <a:pt x="1633" y="6246"/>
                  </a:lnTo>
                  <a:lnTo>
                    <a:pt x="1611" y="6230"/>
                  </a:lnTo>
                  <a:lnTo>
                    <a:pt x="1607" y="6228"/>
                  </a:lnTo>
                  <a:lnTo>
                    <a:pt x="1605" y="6225"/>
                  </a:lnTo>
                  <a:lnTo>
                    <a:pt x="1583" y="6209"/>
                  </a:lnTo>
                  <a:lnTo>
                    <a:pt x="1561" y="6191"/>
                  </a:lnTo>
                  <a:lnTo>
                    <a:pt x="1540" y="6173"/>
                  </a:lnTo>
                  <a:lnTo>
                    <a:pt x="1519" y="6155"/>
                  </a:lnTo>
                  <a:lnTo>
                    <a:pt x="1499" y="6136"/>
                  </a:lnTo>
                  <a:lnTo>
                    <a:pt x="1478" y="6118"/>
                  </a:lnTo>
                  <a:lnTo>
                    <a:pt x="1458" y="6098"/>
                  </a:lnTo>
                  <a:lnTo>
                    <a:pt x="1438" y="6079"/>
                  </a:lnTo>
                  <a:lnTo>
                    <a:pt x="1400" y="6039"/>
                  </a:lnTo>
                  <a:lnTo>
                    <a:pt x="1364" y="5997"/>
                  </a:lnTo>
                  <a:lnTo>
                    <a:pt x="1329" y="5954"/>
                  </a:lnTo>
                  <a:lnTo>
                    <a:pt x="1295" y="5910"/>
                  </a:lnTo>
                  <a:lnTo>
                    <a:pt x="1292" y="5906"/>
                  </a:lnTo>
                  <a:lnTo>
                    <a:pt x="1289" y="5903"/>
                  </a:lnTo>
                  <a:lnTo>
                    <a:pt x="1274" y="5881"/>
                  </a:lnTo>
                  <a:lnTo>
                    <a:pt x="1258" y="5860"/>
                  </a:lnTo>
                  <a:lnTo>
                    <a:pt x="1244" y="5837"/>
                  </a:lnTo>
                  <a:lnTo>
                    <a:pt x="1231" y="5815"/>
                  </a:lnTo>
                  <a:lnTo>
                    <a:pt x="1205" y="5771"/>
                  </a:lnTo>
                  <a:lnTo>
                    <a:pt x="1181" y="5725"/>
                  </a:lnTo>
                  <a:lnTo>
                    <a:pt x="1158" y="5678"/>
                  </a:lnTo>
                  <a:lnTo>
                    <a:pt x="1137" y="5630"/>
                  </a:lnTo>
                  <a:lnTo>
                    <a:pt x="1117" y="5581"/>
                  </a:lnTo>
                  <a:lnTo>
                    <a:pt x="1098" y="5532"/>
                  </a:lnTo>
                  <a:lnTo>
                    <a:pt x="1091" y="5512"/>
                  </a:lnTo>
                  <a:lnTo>
                    <a:pt x="1085" y="5492"/>
                  </a:lnTo>
                  <a:lnTo>
                    <a:pt x="1079" y="5472"/>
                  </a:lnTo>
                  <a:lnTo>
                    <a:pt x="1074" y="5452"/>
                  </a:lnTo>
                  <a:lnTo>
                    <a:pt x="1059" y="5402"/>
                  </a:lnTo>
                  <a:lnTo>
                    <a:pt x="1046" y="5350"/>
                  </a:lnTo>
                  <a:lnTo>
                    <a:pt x="1034" y="5298"/>
                  </a:lnTo>
                  <a:lnTo>
                    <a:pt x="1025" y="5246"/>
                  </a:lnTo>
                  <a:lnTo>
                    <a:pt x="1020" y="5219"/>
                  </a:lnTo>
                  <a:lnTo>
                    <a:pt x="1017" y="5193"/>
                  </a:lnTo>
                  <a:lnTo>
                    <a:pt x="1014" y="5165"/>
                  </a:lnTo>
                  <a:lnTo>
                    <a:pt x="1011" y="5139"/>
                  </a:lnTo>
                  <a:lnTo>
                    <a:pt x="1009" y="5112"/>
                  </a:lnTo>
                  <a:lnTo>
                    <a:pt x="1007" y="5085"/>
                  </a:lnTo>
                  <a:lnTo>
                    <a:pt x="1006" y="5057"/>
                  </a:lnTo>
                  <a:lnTo>
                    <a:pt x="1006" y="5030"/>
                  </a:lnTo>
                  <a:lnTo>
                    <a:pt x="1006" y="5002"/>
                  </a:lnTo>
                  <a:lnTo>
                    <a:pt x="1007" y="4974"/>
                  </a:lnTo>
                  <a:lnTo>
                    <a:pt x="1009" y="4947"/>
                  </a:lnTo>
                  <a:lnTo>
                    <a:pt x="1011" y="4920"/>
                  </a:lnTo>
                  <a:lnTo>
                    <a:pt x="1014" y="4893"/>
                  </a:lnTo>
                  <a:lnTo>
                    <a:pt x="1017" y="4866"/>
                  </a:lnTo>
                  <a:lnTo>
                    <a:pt x="1020" y="4840"/>
                  </a:lnTo>
                  <a:lnTo>
                    <a:pt x="1025" y="4812"/>
                  </a:lnTo>
                  <a:lnTo>
                    <a:pt x="1034" y="4760"/>
                  </a:lnTo>
                  <a:lnTo>
                    <a:pt x="1046" y="4709"/>
                  </a:lnTo>
                  <a:lnTo>
                    <a:pt x="1059" y="4657"/>
                  </a:lnTo>
                  <a:lnTo>
                    <a:pt x="1074" y="4606"/>
                  </a:lnTo>
                  <a:lnTo>
                    <a:pt x="1079" y="4586"/>
                  </a:lnTo>
                  <a:lnTo>
                    <a:pt x="1085" y="4567"/>
                  </a:lnTo>
                  <a:lnTo>
                    <a:pt x="1091" y="4547"/>
                  </a:lnTo>
                  <a:lnTo>
                    <a:pt x="1098" y="4528"/>
                  </a:lnTo>
                  <a:lnTo>
                    <a:pt x="1117" y="4478"/>
                  </a:lnTo>
                  <a:lnTo>
                    <a:pt x="1137" y="4429"/>
                  </a:lnTo>
                  <a:lnTo>
                    <a:pt x="1158" y="4382"/>
                  </a:lnTo>
                  <a:lnTo>
                    <a:pt x="1181" y="4335"/>
                  </a:lnTo>
                  <a:lnTo>
                    <a:pt x="1205" y="4288"/>
                  </a:lnTo>
                  <a:lnTo>
                    <a:pt x="1231" y="4243"/>
                  </a:lnTo>
                  <a:lnTo>
                    <a:pt x="1244" y="4221"/>
                  </a:lnTo>
                  <a:lnTo>
                    <a:pt x="1258" y="4200"/>
                  </a:lnTo>
                  <a:lnTo>
                    <a:pt x="1274" y="4178"/>
                  </a:lnTo>
                  <a:lnTo>
                    <a:pt x="1289" y="4157"/>
                  </a:lnTo>
                  <a:lnTo>
                    <a:pt x="1292" y="4153"/>
                  </a:lnTo>
                  <a:lnTo>
                    <a:pt x="1295" y="4148"/>
                  </a:lnTo>
                  <a:lnTo>
                    <a:pt x="1329" y="4104"/>
                  </a:lnTo>
                  <a:lnTo>
                    <a:pt x="1364" y="4062"/>
                  </a:lnTo>
                  <a:lnTo>
                    <a:pt x="1400" y="4020"/>
                  </a:lnTo>
                  <a:lnTo>
                    <a:pt x="1438" y="3979"/>
                  </a:lnTo>
                  <a:lnTo>
                    <a:pt x="1458" y="3960"/>
                  </a:lnTo>
                  <a:lnTo>
                    <a:pt x="1478" y="3941"/>
                  </a:lnTo>
                  <a:lnTo>
                    <a:pt x="1499" y="3922"/>
                  </a:lnTo>
                  <a:lnTo>
                    <a:pt x="1519" y="3903"/>
                  </a:lnTo>
                  <a:lnTo>
                    <a:pt x="1540" y="3885"/>
                  </a:lnTo>
                  <a:lnTo>
                    <a:pt x="1561" y="3868"/>
                  </a:lnTo>
                  <a:lnTo>
                    <a:pt x="1583" y="3850"/>
                  </a:lnTo>
                  <a:lnTo>
                    <a:pt x="1605" y="3833"/>
                  </a:lnTo>
                  <a:lnTo>
                    <a:pt x="1607" y="3832"/>
                  </a:lnTo>
                  <a:lnTo>
                    <a:pt x="1611" y="3830"/>
                  </a:lnTo>
                  <a:lnTo>
                    <a:pt x="1633" y="3813"/>
                  </a:lnTo>
                  <a:lnTo>
                    <a:pt x="1656" y="3796"/>
                  </a:lnTo>
                  <a:lnTo>
                    <a:pt x="1680" y="3780"/>
                  </a:lnTo>
                  <a:lnTo>
                    <a:pt x="1703" y="3765"/>
                  </a:lnTo>
                  <a:lnTo>
                    <a:pt x="1727" y="3750"/>
                  </a:lnTo>
                  <a:lnTo>
                    <a:pt x="1752" y="3735"/>
                  </a:lnTo>
                  <a:lnTo>
                    <a:pt x="1776" y="3721"/>
                  </a:lnTo>
                  <a:lnTo>
                    <a:pt x="1802" y="3707"/>
                  </a:lnTo>
                  <a:lnTo>
                    <a:pt x="1827" y="3694"/>
                  </a:lnTo>
                  <a:lnTo>
                    <a:pt x="1853" y="3681"/>
                  </a:lnTo>
                  <a:lnTo>
                    <a:pt x="1879" y="3669"/>
                  </a:lnTo>
                  <a:lnTo>
                    <a:pt x="1905" y="3657"/>
                  </a:lnTo>
                  <a:lnTo>
                    <a:pt x="1931" y="3645"/>
                  </a:lnTo>
                  <a:lnTo>
                    <a:pt x="1958" y="3633"/>
                  </a:lnTo>
                  <a:lnTo>
                    <a:pt x="1985" y="3623"/>
                  </a:lnTo>
                  <a:lnTo>
                    <a:pt x="2012" y="3613"/>
                  </a:lnTo>
                  <a:lnTo>
                    <a:pt x="2041" y="3603"/>
                  </a:lnTo>
                  <a:lnTo>
                    <a:pt x="2071" y="3593"/>
                  </a:lnTo>
                  <a:lnTo>
                    <a:pt x="2101" y="3584"/>
                  </a:lnTo>
                  <a:lnTo>
                    <a:pt x="2133" y="3575"/>
                  </a:lnTo>
                  <a:lnTo>
                    <a:pt x="2163" y="3567"/>
                  </a:lnTo>
                  <a:lnTo>
                    <a:pt x="2194" y="3559"/>
                  </a:lnTo>
                  <a:lnTo>
                    <a:pt x="2225" y="3552"/>
                  </a:lnTo>
                  <a:lnTo>
                    <a:pt x="2256" y="3546"/>
                  </a:lnTo>
                  <a:lnTo>
                    <a:pt x="2288" y="3540"/>
                  </a:lnTo>
                  <a:lnTo>
                    <a:pt x="2320" y="3535"/>
                  </a:lnTo>
                  <a:lnTo>
                    <a:pt x="2351" y="3531"/>
                  </a:lnTo>
                  <a:lnTo>
                    <a:pt x="2383" y="3528"/>
                  </a:lnTo>
                  <a:lnTo>
                    <a:pt x="2416" y="3525"/>
                  </a:lnTo>
                  <a:lnTo>
                    <a:pt x="2448" y="3523"/>
                  </a:lnTo>
                  <a:lnTo>
                    <a:pt x="2482" y="3521"/>
                  </a:lnTo>
                  <a:lnTo>
                    <a:pt x="2515" y="3521"/>
                  </a:lnTo>
                  <a:lnTo>
                    <a:pt x="2548" y="3521"/>
                  </a:lnTo>
                  <a:lnTo>
                    <a:pt x="2581" y="3523"/>
                  </a:lnTo>
                  <a:lnTo>
                    <a:pt x="2613" y="3525"/>
                  </a:lnTo>
                  <a:lnTo>
                    <a:pt x="2646" y="3528"/>
                  </a:lnTo>
                  <a:lnTo>
                    <a:pt x="2678" y="3531"/>
                  </a:lnTo>
                  <a:lnTo>
                    <a:pt x="2710" y="3535"/>
                  </a:lnTo>
                  <a:lnTo>
                    <a:pt x="2742" y="3540"/>
                  </a:lnTo>
                  <a:lnTo>
                    <a:pt x="2773" y="3546"/>
                  </a:lnTo>
                  <a:lnTo>
                    <a:pt x="2805" y="3552"/>
                  </a:lnTo>
                  <a:lnTo>
                    <a:pt x="2836" y="3559"/>
                  </a:lnTo>
                  <a:lnTo>
                    <a:pt x="2867" y="3567"/>
                  </a:lnTo>
                  <a:lnTo>
                    <a:pt x="2897" y="3575"/>
                  </a:lnTo>
                  <a:lnTo>
                    <a:pt x="2928" y="3584"/>
                  </a:lnTo>
                  <a:lnTo>
                    <a:pt x="2958" y="3593"/>
                  </a:lnTo>
                  <a:lnTo>
                    <a:pt x="2988" y="3603"/>
                  </a:lnTo>
                  <a:lnTo>
                    <a:pt x="3018" y="3613"/>
                  </a:lnTo>
                  <a:lnTo>
                    <a:pt x="3045" y="3623"/>
                  </a:lnTo>
                  <a:lnTo>
                    <a:pt x="3072" y="3633"/>
                  </a:lnTo>
                  <a:lnTo>
                    <a:pt x="3098" y="3645"/>
                  </a:lnTo>
                  <a:lnTo>
                    <a:pt x="3124" y="3657"/>
                  </a:lnTo>
                  <a:lnTo>
                    <a:pt x="3151" y="3669"/>
                  </a:lnTo>
                  <a:lnTo>
                    <a:pt x="3177" y="3681"/>
                  </a:lnTo>
                  <a:lnTo>
                    <a:pt x="3202" y="3694"/>
                  </a:lnTo>
                  <a:lnTo>
                    <a:pt x="3228" y="3707"/>
                  </a:lnTo>
                  <a:lnTo>
                    <a:pt x="3252" y="3721"/>
                  </a:lnTo>
                  <a:lnTo>
                    <a:pt x="3277" y="3735"/>
                  </a:lnTo>
                  <a:lnTo>
                    <a:pt x="3301" y="3750"/>
                  </a:lnTo>
                  <a:lnTo>
                    <a:pt x="3326" y="3765"/>
                  </a:lnTo>
                  <a:lnTo>
                    <a:pt x="3374" y="3796"/>
                  </a:lnTo>
                  <a:lnTo>
                    <a:pt x="3420" y="3830"/>
                  </a:lnTo>
                  <a:lnTo>
                    <a:pt x="3422" y="3832"/>
                  </a:lnTo>
                  <a:lnTo>
                    <a:pt x="3424" y="3833"/>
                  </a:lnTo>
                  <a:lnTo>
                    <a:pt x="3446" y="3850"/>
                  </a:lnTo>
                  <a:lnTo>
                    <a:pt x="3468" y="3868"/>
                  </a:lnTo>
                  <a:lnTo>
                    <a:pt x="3490" y="3885"/>
                  </a:lnTo>
                  <a:lnTo>
                    <a:pt x="3511" y="3903"/>
                  </a:lnTo>
                  <a:lnTo>
                    <a:pt x="3531" y="3922"/>
                  </a:lnTo>
                  <a:lnTo>
                    <a:pt x="3552" y="3941"/>
                  </a:lnTo>
                  <a:lnTo>
                    <a:pt x="3571" y="3960"/>
                  </a:lnTo>
                  <a:lnTo>
                    <a:pt x="3591" y="3979"/>
                  </a:lnTo>
                  <a:lnTo>
                    <a:pt x="3629" y="4020"/>
                  </a:lnTo>
                  <a:lnTo>
                    <a:pt x="3666" y="4062"/>
                  </a:lnTo>
                  <a:lnTo>
                    <a:pt x="3701" y="4104"/>
                  </a:lnTo>
                  <a:lnTo>
                    <a:pt x="3735" y="4148"/>
                  </a:lnTo>
                  <a:lnTo>
                    <a:pt x="3738" y="4153"/>
                  </a:lnTo>
                  <a:lnTo>
                    <a:pt x="3741" y="4157"/>
                  </a:lnTo>
                  <a:lnTo>
                    <a:pt x="3756" y="4178"/>
                  </a:lnTo>
                  <a:lnTo>
                    <a:pt x="3770" y="4200"/>
                  </a:lnTo>
                  <a:lnTo>
                    <a:pt x="3784" y="4221"/>
                  </a:lnTo>
                  <a:lnTo>
                    <a:pt x="3798" y="4243"/>
                  </a:lnTo>
                  <a:lnTo>
                    <a:pt x="3825" y="4288"/>
                  </a:lnTo>
                  <a:lnTo>
                    <a:pt x="3849" y="4335"/>
                  </a:lnTo>
                  <a:lnTo>
                    <a:pt x="3872" y="4382"/>
                  </a:lnTo>
                  <a:lnTo>
                    <a:pt x="3893" y="4429"/>
                  </a:lnTo>
                  <a:lnTo>
                    <a:pt x="3913" y="4478"/>
                  </a:lnTo>
                  <a:lnTo>
                    <a:pt x="3931" y="4528"/>
                  </a:lnTo>
                  <a:lnTo>
                    <a:pt x="3938" y="4547"/>
                  </a:lnTo>
                  <a:lnTo>
                    <a:pt x="3944" y="4567"/>
                  </a:lnTo>
                  <a:lnTo>
                    <a:pt x="3950" y="4586"/>
                  </a:lnTo>
                  <a:lnTo>
                    <a:pt x="3955" y="4606"/>
                  </a:lnTo>
                  <a:lnTo>
                    <a:pt x="3970" y="4657"/>
                  </a:lnTo>
                  <a:lnTo>
                    <a:pt x="3984" y="4709"/>
                  </a:lnTo>
                  <a:lnTo>
                    <a:pt x="3996" y="4760"/>
                  </a:lnTo>
                  <a:lnTo>
                    <a:pt x="4005" y="4812"/>
                  </a:lnTo>
                  <a:lnTo>
                    <a:pt x="4010" y="4840"/>
                  </a:lnTo>
                  <a:lnTo>
                    <a:pt x="4013" y="4866"/>
                  </a:lnTo>
                  <a:lnTo>
                    <a:pt x="4016" y="4893"/>
                  </a:lnTo>
                  <a:lnTo>
                    <a:pt x="4019" y="4920"/>
                  </a:lnTo>
                  <a:lnTo>
                    <a:pt x="4021" y="4947"/>
                  </a:lnTo>
                  <a:lnTo>
                    <a:pt x="4023" y="4974"/>
                  </a:lnTo>
                  <a:lnTo>
                    <a:pt x="4024" y="5002"/>
                  </a:lnTo>
                  <a:lnTo>
                    <a:pt x="4024" y="5030"/>
                  </a:lnTo>
                  <a:lnTo>
                    <a:pt x="4024" y="5057"/>
                  </a:lnTo>
                  <a:lnTo>
                    <a:pt x="4023" y="5085"/>
                  </a:lnTo>
                  <a:lnTo>
                    <a:pt x="4021" y="5112"/>
                  </a:lnTo>
                  <a:lnTo>
                    <a:pt x="4019" y="5139"/>
                  </a:lnTo>
                  <a:lnTo>
                    <a:pt x="4016" y="5165"/>
                  </a:lnTo>
                  <a:lnTo>
                    <a:pt x="4013" y="5193"/>
                  </a:lnTo>
                  <a:lnTo>
                    <a:pt x="4010" y="5219"/>
                  </a:lnTo>
                  <a:lnTo>
                    <a:pt x="4005" y="5246"/>
                  </a:lnTo>
                  <a:lnTo>
                    <a:pt x="3996" y="5298"/>
                  </a:lnTo>
                  <a:lnTo>
                    <a:pt x="3984" y="5350"/>
                  </a:lnTo>
                  <a:lnTo>
                    <a:pt x="3970" y="5402"/>
                  </a:lnTo>
                  <a:lnTo>
                    <a:pt x="3955" y="5452"/>
                  </a:lnTo>
                  <a:close/>
                  <a:moveTo>
                    <a:pt x="3018" y="14586"/>
                  </a:moveTo>
                  <a:lnTo>
                    <a:pt x="3017" y="14612"/>
                  </a:lnTo>
                  <a:lnTo>
                    <a:pt x="3015" y="14637"/>
                  </a:lnTo>
                  <a:lnTo>
                    <a:pt x="3012" y="14663"/>
                  </a:lnTo>
                  <a:lnTo>
                    <a:pt x="3008" y="14688"/>
                  </a:lnTo>
                  <a:lnTo>
                    <a:pt x="3002" y="14712"/>
                  </a:lnTo>
                  <a:lnTo>
                    <a:pt x="2996" y="14736"/>
                  </a:lnTo>
                  <a:lnTo>
                    <a:pt x="2988" y="14759"/>
                  </a:lnTo>
                  <a:lnTo>
                    <a:pt x="2979" y="14782"/>
                  </a:lnTo>
                  <a:lnTo>
                    <a:pt x="2969" y="14804"/>
                  </a:lnTo>
                  <a:lnTo>
                    <a:pt x="2957" y="14827"/>
                  </a:lnTo>
                  <a:lnTo>
                    <a:pt x="2945" y="14847"/>
                  </a:lnTo>
                  <a:lnTo>
                    <a:pt x="2932" y="14868"/>
                  </a:lnTo>
                  <a:lnTo>
                    <a:pt x="2918" y="14887"/>
                  </a:lnTo>
                  <a:lnTo>
                    <a:pt x="2903" y="14906"/>
                  </a:lnTo>
                  <a:lnTo>
                    <a:pt x="2887" y="14924"/>
                  </a:lnTo>
                  <a:lnTo>
                    <a:pt x="2871" y="14942"/>
                  </a:lnTo>
                  <a:lnTo>
                    <a:pt x="2853" y="14958"/>
                  </a:lnTo>
                  <a:lnTo>
                    <a:pt x="2835" y="14974"/>
                  </a:lnTo>
                  <a:lnTo>
                    <a:pt x="2816" y="14989"/>
                  </a:lnTo>
                  <a:lnTo>
                    <a:pt x="2796" y="15004"/>
                  </a:lnTo>
                  <a:lnTo>
                    <a:pt x="2775" y="15017"/>
                  </a:lnTo>
                  <a:lnTo>
                    <a:pt x="2754" y="15029"/>
                  </a:lnTo>
                  <a:lnTo>
                    <a:pt x="2733" y="15040"/>
                  </a:lnTo>
                  <a:lnTo>
                    <a:pt x="2711" y="15050"/>
                  </a:lnTo>
                  <a:lnTo>
                    <a:pt x="2688" y="15059"/>
                  </a:lnTo>
                  <a:lnTo>
                    <a:pt x="2665" y="15067"/>
                  </a:lnTo>
                  <a:lnTo>
                    <a:pt x="2641" y="15073"/>
                  </a:lnTo>
                  <a:lnTo>
                    <a:pt x="2616" y="15079"/>
                  </a:lnTo>
                  <a:lnTo>
                    <a:pt x="2591" y="15083"/>
                  </a:lnTo>
                  <a:lnTo>
                    <a:pt x="2566" y="15086"/>
                  </a:lnTo>
                  <a:lnTo>
                    <a:pt x="2541" y="15088"/>
                  </a:lnTo>
                  <a:lnTo>
                    <a:pt x="2515" y="15089"/>
                  </a:lnTo>
                  <a:lnTo>
                    <a:pt x="2489" y="15088"/>
                  </a:lnTo>
                  <a:lnTo>
                    <a:pt x="2464" y="15086"/>
                  </a:lnTo>
                  <a:lnTo>
                    <a:pt x="2438" y="15083"/>
                  </a:lnTo>
                  <a:lnTo>
                    <a:pt x="2413" y="15079"/>
                  </a:lnTo>
                  <a:lnTo>
                    <a:pt x="2389" y="15073"/>
                  </a:lnTo>
                  <a:lnTo>
                    <a:pt x="2365" y="15067"/>
                  </a:lnTo>
                  <a:lnTo>
                    <a:pt x="2342" y="15059"/>
                  </a:lnTo>
                  <a:lnTo>
                    <a:pt x="2319" y="15050"/>
                  </a:lnTo>
                  <a:lnTo>
                    <a:pt x="2297" y="15040"/>
                  </a:lnTo>
                  <a:lnTo>
                    <a:pt x="2274" y="15029"/>
                  </a:lnTo>
                  <a:lnTo>
                    <a:pt x="2254" y="15017"/>
                  </a:lnTo>
                  <a:lnTo>
                    <a:pt x="2233" y="15004"/>
                  </a:lnTo>
                  <a:lnTo>
                    <a:pt x="2214" y="14989"/>
                  </a:lnTo>
                  <a:lnTo>
                    <a:pt x="2195" y="14974"/>
                  </a:lnTo>
                  <a:lnTo>
                    <a:pt x="2177" y="14958"/>
                  </a:lnTo>
                  <a:lnTo>
                    <a:pt x="2159" y="14942"/>
                  </a:lnTo>
                  <a:lnTo>
                    <a:pt x="2143" y="14924"/>
                  </a:lnTo>
                  <a:lnTo>
                    <a:pt x="2127" y="14906"/>
                  </a:lnTo>
                  <a:lnTo>
                    <a:pt x="2111" y="14887"/>
                  </a:lnTo>
                  <a:lnTo>
                    <a:pt x="2097" y="14868"/>
                  </a:lnTo>
                  <a:lnTo>
                    <a:pt x="2084" y="14847"/>
                  </a:lnTo>
                  <a:lnTo>
                    <a:pt x="2072" y="14827"/>
                  </a:lnTo>
                  <a:lnTo>
                    <a:pt x="2061" y="14804"/>
                  </a:lnTo>
                  <a:lnTo>
                    <a:pt x="2051" y="14782"/>
                  </a:lnTo>
                  <a:lnTo>
                    <a:pt x="2042" y="14759"/>
                  </a:lnTo>
                  <a:lnTo>
                    <a:pt x="2034" y="14736"/>
                  </a:lnTo>
                  <a:lnTo>
                    <a:pt x="2028" y="14712"/>
                  </a:lnTo>
                  <a:lnTo>
                    <a:pt x="2022" y="14688"/>
                  </a:lnTo>
                  <a:lnTo>
                    <a:pt x="2018" y="14663"/>
                  </a:lnTo>
                  <a:lnTo>
                    <a:pt x="2015" y="14637"/>
                  </a:lnTo>
                  <a:lnTo>
                    <a:pt x="2013" y="14612"/>
                  </a:lnTo>
                  <a:lnTo>
                    <a:pt x="2012" y="14586"/>
                  </a:lnTo>
                  <a:lnTo>
                    <a:pt x="2012" y="7493"/>
                  </a:lnTo>
                  <a:lnTo>
                    <a:pt x="2073" y="7505"/>
                  </a:lnTo>
                  <a:lnTo>
                    <a:pt x="2135" y="7515"/>
                  </a:lnTo>
                  <a:lnTo>
                    <a:pt x="2197" y="7524"/>
                  </a:lnTo>
                  <a:lnTo>
                    <a:pt x="2259" y="7531"/>
                  </a:lnTo>
                  <a:lnTo>
                    <a:pt x="2323" y="7537"/>
                  </a:lnTo>
                  <a:lnTo>
                    <a:pt x="2386" y="7542"/>
                  </a:lnTo>
                  <a:lnTo>
                    <a:pt x="2450" y="7544"/>
                  </a:lnTo>
                  <a:lnTo>
                    <a:pt x="2515" y="7545"/>
                  </a:lnTo>
                  <a:lnTo>
                    <a:pt x="2579" y="7544"/>
                  </a:lnTo>
                  <a:lnTo>
                    <a:pt x="2644" y="7542"/>
                  </a:lnTo>
                  <a:lnTo>
                    <a:pt x="2707" y="7537"/>
                  </a:lnTo>
                  <a:lnTo>
                    <a:pt x="2770" y="7531"/>
                  </a:lnTo>
                  <a:lnTo>
                    <a:pt x="2833" y="7524"/>
                  </a:lnTo>
                  <a:lnTo>
                    <a:pt x="2895" y="7515"/>
                  </a:lnTo>
                  <a:lnTo>
                    <a:pt x="2956" y="7505"/>
                  </a:lnTo>
                  <a:lnTo>
                    <a:pt x="3018" y="7493"/>
                  </a:lnTo>
                  <a:lnTo>
                    <a:pt x="3018" y="14586"/>
                  </a:lnTo>
                  <a:close/>
                  <a:moveTo>
                    <a:pt x="2012" y="1509"/>
                  </a:moveTo>
                  <a:lnTo>
                    <a:pt x="2013" y="1483"/>
                  </a:lnTo>
                  <a:lnTo>
                    <a:pt x="2015" y="1458"/>
                  </a:lnTo>
                  <a:lnTo>
                    <a:pt x="2018" y="1432"/>
                  </a:lnTo>
                  <a:lnTo>
                    <a:pt x="2022" y="1407"/>
                  </a:lnTo>
                  <a:lnTo>
                    <a:pt x="2028" y="1383"/>
                  </a:lnTo>
                  <a:lnTo>
                    <a:pt x="2034" y="1359"/>
                  </a:lnTo>
                  <a:lnTo>
                    <a:pt x="2042" y="1336"/>
                  </a:lnTo>
                  <a:lnTo>
                    <a:pt x="2051" y="1313"/>
                  </a:lnTo>
                  <a:lnTo>
                    <a:pt x="2061" y="1291"/>
                  </a:lnTo>
                  <a:lnTo>
                    <a:pt x="2072" y="1269"/>
                  </a:lnTo>
                  <a:lnTo>
                    <a:pt x="2084" y="1248"/>
                  </a:lnTo>
                  <a:lnTo>
                    <a:pt x="2097" y="1227"/>
                  </a:lnTo>
                  <a:lnTo>
                    <a:pt x="2111" y="1208"/>
                  </a:lnTo>
                  <a:lnTo>
                    <a:pt x="2127" y="1189"/>
                  </a:lnTo>
                  <a:lnTo>
                    <a:pt x="2143" y="1171"/>
                  </a:lnTo>
                  <a:lnTo>
                    <a:pt x="2159" y="1153"/>
                  </a:lnTo>
                  <a:lnTo>
                    <a:pt x="2177" y="1137"/>
                  </a:lnTo>
                  <a:lnTo>
                    <a:pt x="2195" y="1121"/>
                  </a:lnTo>
                  <a:lnTo>
                    <a:pt x="2214" y="1106"/>
                  </a:lnTo>
                  <a:lnTo>
                    <a:pt x="2233" y="1091"/>
                  </a:lnTo>
                  <a:lnTo>
                    <a:pt x="2254" y="1078"/>
                  </a:lnTo>
                  <a:lnTo>
                    <a:pt x="2274" y="1066"/>
                  </a:lnTo>
                  <a:lnTo>
                    <a:pt x="2297" y="1055"/>
                  </a:lnTo>
                  <a:lnTo>
                    <a:pt x="2319" y="1045"/>
                  </a:lnTo>
                  <a:lnTo>
                    <a:pt x="2342" y="1036"/>
                  </a:lnTo>
                  <a:lnTo>
                    <a:pt x="2365" y="1029"/>
                  </a:lnTo>
                  <a:lnTo>
                    <a:pt x="2389" y="1022"/>
                  </a:lnTo>
                  <a:lnTo>
                    <a:pt x="2413" y="1016"/>
                  </a:lnTo>
                  <a:lnTo>
                    <a:pt x="2438" y="1012"/>
                  </a:lnTo>
                  <a:lnTo>
                    <a:pt x="2464" y="1009"/>
                  </a:lnTo>
                  <a:lnTo>
                    <a:pt x="2489" y="1007"/>
                  </a:lnTo>
                  <a:lnTo>
                    <a:pt x="2515" y="1006"/>
                  </a:lnTo>
                  <a:lnTo>
                    <a:pt x="2541" y="1007"/>
                  </a:lnTo>
                  <a:lnTo>
                    <a:pt x="2566" y="1009"/>
                  </a:lnTo>
                  <a:lnTo>
                    <a:pt x="2591" y="1012"/>
                  </a:lnTo>
                  <a:lnTo>
                    <a:pt x="2616" y="1016"/>
                  </a:lnTo>
                  <a:lnTo>
                    <a:pt x="2641" y="1022"/>
                  </a:lnTo>
                  <a:lnTo>
                    <a:pt x="2665" y="1029"/>
                  </a:lnTo>
                  <a:lnTo>
                    <a:pt x="2688" y="1036"/>
                  </a:lnTo>
                  <a:lnTo>
                    <a:pt x="2711" y="1045"/>
                  </a:lnTo>
                  <a:lnTo>
                    <a:pt x="2733" y="1055"/>
                  </a:lnTo>
                  <a:lnTo>
                    <a:pt x="2754" y="1066"/>
                  </a:lnTo>
                  <a:lnTo>
                    <a:pt x="2775" y="1078"/>
                  </a:lnTo>
                  <a:lnTo>
                    <a:pt x="2796" y="1091"/>
                  </a:lnTo>
                  <a:lnTo>
                    <a:pt x="2816" y="1106"/>
                  </a:lnTo>
                  <a:lnTo>
                    <a:pt x="2835" y="1121"/>
                  </a:lnTo>
                  <a:lnTo>
                    <a:pt x="2853" y="1137"/>
                  </a:lnTo>
                  <a:lnTo>
                    <a:pt x="2871" y="1153"/>
                  </a:lnTo>
                  <a:lnTo>
                    <a:pt x="2887" y="1171"/>
                  </a:lnTo>
                  <a:lnTo>
                    <a:pt x="2903" y="1189"/>
                  </a:lnTo>
                  <a:lnTo>
                    <a:pt x="2918" y="1208"/>
                  </a:lnTo>
                  <a:lnTo>
                    <a:pt x="2932" y="1227"/>
                  </a:lnTo>
                  <a:lnTo>
                    <a:pt x="2945" y="1248"/>
                  </a:lnTo>
                  <a:lnTo>
                    <a:pt x="2957" y="1269"/>
                  </a:lnTo>
                  <a:lnTo>
                    <a:pt x="2969" y="1291"/>
                  </a:lnTo>
                  <a:lnTo>
                    <a:pt x="2979" y="1313"/>
                  </a:lnTo>
                  <a:lnTo>
                    <a:pt x="2988" y="1336"/>
                  </a:lnTo>
                  <a:lnTo>
                    <a:pt x="2996" y="1359"/>
                  </a:lnTo>
                  <a:lnTo>
                    <a:pt x="3002" y="1383"/>
                  </a:lnTo>
                  <a:lnTo>
                    <a:pt x="3008" y="1407"/>
                  </a:lnTo>
                  <a:lnTo>
                    <a:pt x="3012" y="1432"/>
                  </a:lnTo>
                  <a:lnTo>
                    <a:pt x="3015" y="1458"/>
                  </a:lnTo>
                  <a:lnTo>
                    <a:pt x="3017" y="1483"/>
                  </a:lnTo>
                  <a:lnTo>
                    <a:pt x="3018" y="1509"/>
                  </a:lnTo>
                  <a:lnTo>
                    <a:pt x="3018" y="2565"/>
                  </a:lnTo>
                  <a:lnTo>
                    <a:pt x="2956" y="2554"/>
                  </a:lnTo>
                  <a:lnTo>
                    <a:pt x="2895" y="2543"/>
                  </a:lnTo>
                  <a:lnTo>
                    <a:pt x="2833" y="2535"/>
                  </a:lnTo>
                  <a:lnTo>
                    <a:pt x="2770" y="2528"/>
                  </a:lnTo>
                  <a:lnTo>
                    <a:pt x="2707" y="2522"/>
                  </a:lnTo>
                  <a:lnTo>
                    <a:pt x="2644" y="2518"/>
                  </a:lnTo>
                  <a:lnTo>
                    <a:pt x="2579" y="2516"/>
                  </a:lnTo>
                  <a:lnTo>
                    <a:pt x="2515" y="2515"/>
                  </a:lnTo>
                  <a:lnTo>
                    <a:pt x="2450" y="2516"/>
                  </a:lnTo>
                  <a:lnTo>
                    <a:pt x="2386" y="2518"/>
                  </a:lnTo>
                  <a:lnTo>
                    <a:pt x="2323" y="2522"/>
                  </a:lnTo>
                  <a:lnTo>
                    <a:pt x="2259" y="2528"/>
                  </a:lnTo>
                  <a:lnTo>
                    <a:pt x="2197" y="2535"/>
                  </a:lnTo>
                  <a:lnTo>
                    <a:pt x="2135" y="2543"/>
                  </a:lnTo>
                  <a:lnTo>
                    <a:pt x="2073" y="2554"/>
                  </a:lnTo>
                  <a:lnTo>
                    <a:pt x="2012" y="2565"/>
                  </a:lnTo>
                  <a:lnTo>
                    <a:pt x="2012" y="1509"/>
                  </a:lnTo>
                  <a:close/>
                  <a:moveTo>
                    <a:pt x="4024" y="3029"/>
                  </a:moveTo>
                  <a:lnTo>
                    <a:pt x="4024" y="1509"/>
                  </a:lnTo>
                  <a:lnTo>
                    <a:pt x="4022" y="1431"/>
                  </a:lnTo>
                  <a:lnTo>
                    <a:pt x="4016" y="1355"/>
                  </a:lnTo>
                  <a:lnTo>
                    <a:pt x="4007" y="1280"/>
                  </a:lnTo>
                  <a:lnTo>
                    <a:pt x="3994" y="1205"/>
                  </a:lnTo>
                  <a:lnTo>
                    <a:pt x="3976" y="1133"/>
                  </a:lnTo>
                  <a:lnTo>
                    <a:pt x="3955" y="1060"/>
                  </a:lnTo>
                  <a:lnTo>
                    <a:pt x="3932" y="991"/>
                  </a:lnTo>
                  <a:lnTo>
                    <a:pt x="3905" y="922"/>
                  </a:lnTo>
                  <a:lnTo>
                    <a:pt x="3875" y="855"/>
                  </a:lnTo>
                  <a:lnTo>
                    <a:pt x="3842" y="791"/>
                  </a:lnTo>
                  <a:lnTo>
                    <a:pt x="3805" y="727"/>
                  </a:lnTo>
                  <a:lnTo>
                    <a:pt x="3765" y="666"/>
                  </a:lnTo>
                  <a:lnTo>
                    <a:pt x="3724" y="607"/>
                  </a:lnTo>
                  <a:lnTo>
                    <a:pt x="3679" y="549"/>
                  </a:lnTo>
                  <a:lnTo>
                    <a:pt x="3631" y="495"/>
                  </a:lnTo>
                  <a:lnTo>
                    <a:pt x="3581" y="443"/>
                  </a:lnTo>
                  <a:lnTo>
                    <a:pt x="3529" y="392"/>
                  </a:lnTo>
                  <a:lnTo>
                    <a:pt x="3475" y="345"/>
                  </a:lnTo>
                  <a:lnTo>
                    <a:pt x="3417" y="300"/>
                  </a:lnTo>
                  <a:lnTo>
                    <a:pt x="3358" y="259"/>
                  </a:lnTo>
                  <a:lnTo>
                    <a:pt x="3296" y="219"/>
                  </a:lnTo>
                  <a:lnTo>
                    <a:pt x="3233" y="182"/>
                  </a:lnTo>
                  <a:lnTo>
                    <a:pt x="3169" y="149"/>
                  </a:lnTo>
                  <a:lnTo>
                    <a:pt x="3101" y="119"/>
                  </a:lnTo>
                  <a:lnTo>
                    <a:pt x="3033" y="92"/>
                  </a:lnTo>
                  <a:lnTo>
                    <a:pt x="2962" y="68"/>
                  </a:lnTo>
                  <a:lnTo>
                    <a:pt x="2891" y="47"/>
                  </a:lnTo>
                  <a:lnTo>
                    <a:pt x="2819" y="31"/>
                  </a:lnTo>
                  <a:lnTo>
                    <a:pt x="2744" y="17"/>
                  </a:lnTo>
                  <a:lnTo>
                    <a:pt x="2669" y="8"/>
                  </a:lnTo>
                  <a:lnTo>
                    <a:pt x="2592" y="2"/>
                  </a:lnTo>
                  <a:lnTo>
                    <a:pt x="2515" y="0"/>
                  </a:lnTo>
                  <a:lnTo>
                    <a:pt x="2437" y="2"/>
                  </a:lnTo>
                  <a:lnTo>
                    <a:pt x="2361" y="8"/>
                  </a:lnTo>
                  <a:lnTo>
                    <a:pt x="2285" y="17"/>
                  </a:lnTo>
                  <a:lnTo>
                    <a:pt x="2211" y="31"/>
                  </a:lnTo>
                  <a:lnTo>
                    <a:pt x="2138" y="47"/>
                  </a:lnTo>
                  <a:lnTo>
                    <a:pt x="2066" y="68"/>
                  </a:lnTo>
                  <a:lnTo>
                    <a:pt x="1997" y="92"/>
                  </a:lnTo>
                  <a:lnTo>
                    <a:pt x="1928" y="119"/>
                  </a:lnTo>
                  <a:lnTo>
                    <a:pt x="1861" y="149"/>
                  </a:lnTo>
                  <a:lnTo>
                    <a:pt x="1796" y="182"/>
                  </a:lnTo>
                  <a:lnTo>
                    <a:pt x="1733" y="219"/>
                  </a:lnTo>
                  <a:lnTo>
                    <a:pt x="1672" y="259"/>
                  </a:lnTo>
                  <a:lnTo>
                    <a:pt x="1613" y="300"/>
                  </a:lnTo>
                  <a:lnTo>
                    <a:pt x="1555" y="345"/>
                  </a:lnTo>
                  <a:lnTo>
                    <a:pt x="1501" y="392"/>
                  </a:lnTo>
                  <a:lnTo>
                    <a:pt x="1449" y="443"/>
                  </a:lnTo>
                  <a:lnTo>
                    <a:pt x="1398" y="495"/>
                  </a:lnTo>
                  <a:lnTo>
                    <a:pt x="1351" y="549"/>
                  </a:lnTo>
                  <a:lnTo>
                    <a:pt x="1306" y="607"/>
                  </a:lnTo>
                  <a:lnTo>
                    <a:pt x="1263" y="666"/>
                  </a:lnTo>
                  <a:lnTo>
                    <a:pt x="1224" y="727"/>
                  </a:lnTo>
                  <a:lnTo>
                    <a:pt x="1188" y="791"/>
                  </a:lnTo>
                  <a:lnTo>
                    <a:pt x="1155" y="855"/>
                  </a:lnTo>
                  <a:lnTo>
                    <a:pt x="1125" y="922"/>
                  </a:lnTo>
                  <a:lnTo>
                    <a:pt x="1097" y="991"/>
                  </a:lnTo>
                  <a:lnTo>
                    <a:pt x="1074" y="1060"/>
                  </a:lnTo>
                  <a:lnTo>
                    <a:pt x="1053" y="1133"/>
                  </a:lnTo>
                  <a:lnTo>
                    <a:pt x="1037" y="1205"/>
                  </a:lnTo>
                  <a:lnTo>
                    <a:pt x="1023" y="1280"/>
                  </a:lnTo>
                  <a:lnTo>
                    <a:pt x="1014" y="1355"/>
                  </a:lnTo>
                  <a:lnTo>
                    <a:pt x="1008" y="1431"/>
                  </a:lnTo>
                  <a:lnTo>
                    <a:pt x="1006" y="1509"/>
                  </a:lnTo>
                  <a:lnTo>
                    <a:pt x="1006" y="3029"/>
                  </a:lnTo>
                  <a:lnTo>
                    <a:pt x="950" y="3073"/>
                  </a:lnTo>
                  <a:lnTo>
                    <a:pt x="894" y="3118"/>
                  </a:lnTo>
                  <a:lnTo>
                    <a:pt x="841" y="3165"/>
                  </a:lnTo>
                  <a:lnTo>
                    <a:pt x="789" y="3213"/>
                  </a:lnTo>
                  <a:lnTo>
                    <a:pt x="737" y="3263"/>
                  </a:lnTo>
                  <a:lnTo>
                    <a:pt x="687" y="3314"/>
                  </a:lnTo>
                  <a:lnTo>
                    <a:pt x="639" y="3366"/>
                  </a:lnTo>
                  <a:lnTo>
                    <a:pt x="592" y="3420"/>
                  </a:lnTo>
                  <a:lnTo>
                    <a:pt x="547" y="3476"/>
                  </a:lnTo>
                  <a:lnTo>
                    <a:pt x="503" y="3532"/>
                  </a:lnTo>
                  <a:lnTo>
                    <a:pt x="461" y="3589"/>
                  </a:lnTo>
                  <a:lnTo>
                    <a:pt x="420" y="3648"/>
                  </a:lnTo>
                  <a:lnTo>
                    <a:pt x="381" y="3708"/>
                  </a:lnTo>
                  <a:lnTo>
                    <a:pt x="344" y="3768"/>
                  </a:lnTo>
                  <a:lnTo>
                    <a:pt x="309" y="3831"/>
                  </a:lnTo>
                  <a:lnTo>
                    <a:pt x="276" y="3894"/>
                  </a:lnTo>
                  <a:lnTo>
                    <a:pt x="243" y="3958"/>
                  </a:lnTo>
                  <a:lnTo>
                    <a:pt x="213" y="4024"/>
                  </a:lnTo>
                  <a:lnTo>
                    <a:pt x="184" y="4090"/>
                  </a:lnTo>
                  <a:lnTo>
                    <a:pt x="158" y="4158"/>
                  </a:lnTo>
                  <a:lnTo>
                    <a:pt x="134" y="4226"/>
                  </a:lnTo>
                  <a:lnTo>
                    <a:pt x="111" y="4294"/>
                  </a:lnTo>
                  <a:lnTo>
                    <a:pt x="91" y="4365"/>
                  </a:lnTo>
                  <a:lnTo>
                    <a:pt x="71" y="4435"/>
                  </a:lnTo>
                  <a:lnTo>
                    <a:pt x="55" y="4508"/>
                  </a:lnTo>
                  <a:lnTo>
                    <a:pt x="41" y="4580"/>
                  </a:lnTo>
                  <a:lnTo>
                    <a:pt x="28" y="4653"/>
                  </a:lnTo>
                  <a:lnTo>
                    <a:pt x="18" y="4727"/>
                  </a:lnTo>
                  <a:lnTo>
                    <a:pt x="10" y="4801"/>
                  </a:lnTo>
                  <a:lnTo>
                    <a:pt x="5" y="4877"/>
                  </a:lnTo>
                  <a:lnTo>
                    <a:pt x="1" y="4953"/>
                  </a:lnTo>
                  <a:lnTo>
                    <a:pt x="0" y="5030"/>
                  </a:lnTo>
                  <a:lnTo>
                    <a:pt x="1" y="5106"/>
                  </a:lnTo>
                  <a:lnTo>
                    <a:pt x="5" y="5183"/>
                  </a:lnTo>
                  <a:lnTo>
                    <a:pt x="10" y="5258"/>
                  </a:lnTo>
                  <a:lnTo>
                    <a:pt x="18" y="5332"/>
                  </a:lnTo>
                  <a:lnTo>
                    <a:pt x="28" y="5407"/>
                  </a:lnTo>
                  <a:lnTo>
                    <a:pt x="41" y="5479"/>
                  </a:lnTo>
                  <a:lnTo>
                    <a:pt x="55" y="5552"/>
                  </a:lnTo>
                  <a:lnTo>
                    <a:pt x="71" y="5624"/>
                  </a:lnTo>
                  <a:lnTo>
                    <a:pt x="91" y="5695"/>
                  </a:lnTo>
                  <a:lnTo>
                    <a:pt x="111" y="5765"/>
                  </a:lnTo>
                  <a:lnTo>
                    <a:pt x="134" y="5834"/>
                  </a:lnTo>
                  <a:lnTo>
                    <a:pt x="158" y="5902"/>
                  </a:lnTo>
                  <a:lnTo>
                    <a:pt x="184" y="5969"/>
                  </a:lnTo>
                  <a:lnTo>
                    <a:pt x="213" y="6036"/>
                  </a:lnTo>
                  <a:lnTo>
                    <a:pt x="243" y="6101"/>
                  </a:lnTo>
                  <a:lnTo>
                    <a:pt x="276" y="6165"/>
                  </a:lnTo>
                  <a:lnTo>
                    <a:pt x="309" y="6229"/>
                  </a:lnTo>
                  <a:lnTo>
                    <a:pt x="344" y="6291"/>
                  </a:lnTo>
                  <a:lnTo>
                    <a:pt x="381" y="6351"/>
                  </a:lnTo>
                  <a:lnTo>
                    <a:pt x="420" y="6412"/>
                  </a:lnTo>
                  <a:lnTo>
                    <a:pt x="461" y="6470"/>
                  </a:lnTo>
                  <a:lnTo>
                    <a:pt x="503" y="6529"/>
                  </a:lnTo>
                  <a:lnTo>
                    <a:pt x="547" y="6584"/>
                  </a:lnTo>
                  <a:lnTo>
                    <a:pt x="592" y="6639"/>
                  </a:lnTo>
                  <a:lnTo>
                    <a:pt x="639" y="6694"/>
                  </a:lnTo>
                  <a:lnTo>
                    <a:pt x="687" y="6746"/>
                  </a:lnTo>
                  <a:lnTo>
                    <a:pt x="737" y="6796"/>
                  </a:lnTo>
                  <a:lnTo>
                    <a:pt x="789" y="6846"/>
                  </a:lnTo>
                  <a:lnTo>
                    <a:pt x="841" y="6895"/>
                  </a:lnTo>
                  <a:lnTo>
                    <a:pt x="894" y="6941"/>
                  </a:lnTo>
                  <a:lnTo>
                    <a:pt x="950" y="6986"/>
                  </a:lnTo>
                  <a:lnTo>
                    <a:pt x="1006" y="7030"/>
                  </a:lnTo>
                  <a:lnTo>
                    <a:pt x="1006" y="14586"/>
                  </a:lnTo>
                  <a:lnTo>
                    <a:pt x="1008" y="14664"/>
                  </a:lnTo>
                  <a:lnTo>
                    <a:pt x="1014" y="14740"/>
                  </a:lnTo>
                  <a:lnTo>
                    <a:pt x="1023" y="14815"/>
                  </a:lnTo>
                  <a:lnTo>
                    <a:pt x="1037" y="14890"/>
                  </a:lnTo>
                  <a:lnTo>
                    <a:pt x="1053" y="14962"/>
                  </a:lnTo>
                  <a:lnTo>
                    <a:pt x="1074" y="15035"/>
                  </a:lnTo>
                  <a:lnTo>
                    <a:pt x="1097" y="15104"/>
                  </a:lnTo>
                  <a:lnTo>
                    <a:pt x="1125" y="15173"/>
                  </a:lnTo>
                  <a:lnTo>
                    <a:pt x="1155" y="15240"/>
                  </a:lnTo>
                  <a:lnTo>
                    <a:pt x="1188" y="15304"/>
                  </a:lnTo>
                  <a:lnTo>
                    <a:pt x="1224" y="15368"/>
                  </a:lnTo>
                  <a:lnTo>
                    <a:pt x="1263" y="15429"/>
                  </a:lnTo>
                  <a:lnTo>
                    <a:pt x="1306" y="15488"/>
                  </a:lnTo>
                  <a:lnTo>
                    <a:pt x="1351" y="15546"/>
                  </a:lnTo>
                  <a:lnTo>
                    <a:pt x="1398" y="15600"/>
                  </a:lnTo>
                  <a:lnTo>
                    <a:pt x="1449" y="15652"/>
                  </a:lnTo>
                  <a:lnTo>
                    <a:pt x="1501" y="15703"/>
                  </a:lnTo>
                  <a:lnTo>
                    <a:pt x="1555" y="15750"/>
                  </a:lnTo>
                  <a:lnTo>
                    <a:pt x="1613" y="15795"/>
                  </a:lnTo>
                  <a:lnTo>
                    <a:pt x="1672" y="15836"/>
                  </a:lnTo>
                  <a:lnTo>
                    <a:pt x="1733" y="15877"/>
                  </a:lnTo>
                  <a:lnTo>
                    <a:pt x="1796" y="15913"/>
                  </a:lnTo>
                  <a:lnTo>
                    <a:pt x="1861" y="15946"/>
                  </a:lnTo>
                  <a:lnTo>
                    <a:pt x="1928" y="15976"/>
                  </a:lnTo>
                  <a:lnTo>
                    <a:pt x="1997" y="16003"/>
                  </a:lnTo>
                  <a:lnTo>
                    <a:pt x="2066" y="16027"/>
                  </a:lnTo>
                  <a:lnTo>
                    <a:pt x="2138" y="16048"/>
                  </a:lnTo>
                  <a:lnTo>
                    <a:pt x="2211" y="16064"/>
                  </a:lnTo>
                  <a:lnTo>
                    <a:pt x="2285" y="16078"/>
                  </a:lnTo>
                  <a:lnTo>
                    <a:pt x="2361" y="16087"/>
                  </a:lnTo>
                  <a:lnTo>
                    <a:pt x="2437" y="16093"/>
                  </a:lnTo>
                  <a:lnTo>
                    <a:pt x="2515" y="16095"/>
                  </a:lnTo>
                  <a:lnTo>
                    <a:pt x="2592" y="16093"/>
                  </a:lnTo>
                  <a:lnTo>
                    <a:pt x="2669" y="16087"/>
                  </a:lnTo>
                  <a:lnTo>
                    <a:pt x="2744" y="16078"/>
                  </a:lnTo>
                  <a:lnTo>
                    <a:pt x="2819" y="16064"/>
                  </a:lnTo>
                  <a:lnTo>
                    <a:pt x="2891" y="16048"/>
                  </a:lnTo>
                  <a:lnTo>
                    <a:pt x="2962" y="16027"/>
                  </a:lnTo>
                  <a:lnTo>
                    <a:pt x="3033" y="16003"/>
                  </a:lnTo>
                  <a:lnTo>
                    <a:pt x="3101" y="15976"/>
                  </a:lnTo>
                  <a:lnTo>
                    <a:pt x="3169" y="15946"/>
                  </a:lnTo>
                  <a:lnTo>
                    <a:pt x="3233" y="15913"/>
                  </a:lnTo>
                  <a:lnTo>
                    <a:pt x="3296" y="15877"/>
                  </a:lnTo>
                  <a:lnTo>
                    <a:pt x="3358" y="15836"/>
                  </a:lnTo>
                  <a:lnTo>
                    <a:pt x="3417" y="15795"/>
                  </a:lnTo>
                  <a:lnTo>
                    <a:pt x="3475" y="15750"/>
                  </a:lnTo>
                  <a:lnTo>
                    <a:pt x="3529" y="15703"/>
                  </a:lnTo>
                  <a:lnTo>
                    <a:pt x="3581" y="15652"/>
                  </a:lnTo>
                  <a:lnTo>
                    <a:pt x="3631" y="15600"/>
                  </a:lnTo>
                  <a:lnTo>
                    <a:pt x="3679" y="15546"/>
                  </a:lnTo>
                  <a:lnTo>
                    <a:pt x="3724" y="15488"/>
                  </a:lnTo>
                  <a:lnTo>
                    <a:pt x="3765" y="15429"/>
                  </a:lnTo>
                  <a:lnTo>
                    <a:pt x="3805" y="15368"/>
                  </a:lnTo>
                  <a:lnTo>
                    <a:pt x="3842" y="15304"/>
                  </a:lnTo>
                  <a:lnTo>
                    <a:pt x="3875" y="15240"/>
                  </a:lnTo>
                  <a:lnTo>
                    <a:pt x="3905" y="15173"/>
                  </a:lnTo>
                  <a:lnTo>
                    <a:pt x="3932" y="15104"/>
                  </a:lnTo>
                  <a:lnTo>
                    <a:pt x="3955" y="15035"/>
                  </a:lnTo>
                  <a:lnTo>
                    <a:pt x="3976" y="14962"/>
                  </a:lnTo>
                  <a:lnTo>
                    <a:pt x="3994" y="14890"/>
                  </a:lnTo>
                  <a:lnTo>
                    <a:pt x="4007" y="14815"/>
                  </a:lnTo>
                  <a:lnTo>
                    <a:pt x="4016" y="14740"/>
                  </a:lnTo>
                  <a:lnTo>
                    <a:pt x="4022" y="14664"/>
                  </a:lnTo>
                  <a:lnTo>
                    <a:pt x="4024" y="14586"/>
                  </a:lnTo>
                  <a:lnTo>
                    <a:pt x="4024" y="7030"/>
                  </a:lnTo>
                  <a:lnTo>
                    <a:pt x="4080" y="6986"/>
                  </a:lnTo>
                  <a:lnTo>
                    <a:pt x="4135" y="6941"/>
                  </a:lnTo>
                  <a:lnTo>
                    <a:pt x="4189" y="6895"/>
                  </a:lnTo>
                  <a:lnTo>
                    <a:pt x="4241" y="6846"/>
                  </a:lnTo>
                  <a:lnTo>
                    <a:pt x="4292" y="6796"/>
                  </a:lnTo>
                  <a:lnTo>
                    <a:pt x="4343" y="6746"/>
                  </a:lnTo>
                  <a:lnTo>
                    <a:pt x="4391" y="6694"/>
                  </a:lnTo>
                  <a:lnTo>
                    <a:pt x="4437" y="6639"/>
                  </a:lnTo>
                  <a:lnTo>
                    <a:pt x="4482" y="6584"/>
                  </a:lnTo>
                  <a:lnTo>
                    <a:pt x="4527" y="6529"/>
                  </a:lnTo>
                  <a:lnTo>
                    <a:pt x="4569" y="6470"/>
                  </a:lnTo>
                  <a:lnTo>
                    <a:pt x="4609" y="6412"/>
                  </a:lnTo>
                  <a:lnTo>
                    <a:pt x="4648" y="6351"/>
                  </a:lnTo>
                  <a:lnTo>
                    <a:pt x="4686" y="6291"/>
                  </a:lnTo>
                  <a:lnTo>
                    <a:pt x="4721" y="6229"/>
                  </a:lnTo>
                  <a:lnTo>
                    <a:pt x="4754" y="6165"/>
                  </a:lnTo>
                  <a:lnTo>
                    <a:pt x="4786" y="6101"/>
                  </a:lnTo>
                  <a:lnTo>
                    <a:pt x="4816" y="6036"/>
                  </a:lnTo>
                  <a:lnTo>
                    <a:pt x="4846" y="5969"/>
                  </a:lnTo>
                  <a:lnTo>
                    <a:pt x="4872" y="5902"/>
                  </a:lnTo>
                  <a:lnTo>
                    <a:pt x="4896" y="5834"/>
                  </a:lnTo>
                  <a:lnTo>
                    <a:pt x="4919" y="5765"/>
                  </a:lnTo>
                  <a:lnTo>
                    <a:pt x="4939" y="5695"/>
                  </a:lnTo>
                  <a:lnTo>
                    <a:pt x="4958" y="5624"/>
                  </a:lnTo>
                  <a:lnTo>
                    <a:pt x="4974" y="5552"/>
                  </a:lnTo>
                  <a:lnTo>
                    <a:pt x="4988" y="5479"/>
                  </a:lnTo>
                  <a:lnTo>
                    <a:pt x="5002" y="5407"/>
                  </a:lnTo>
                  <a:lnTo>
                    <a:pt x="5012" y="5332"/>
                  </a:lnTo>
                  <a:lnTo>
                    <a:pt x="5020" y="5258"/>
                  </a:lnTo>
                  <a:lnTo>
                    <a:pt x="5025" y="5183"/>
                  </a:lnTo>
                  <a:lnTo>
                    <a:pt x="5029" y="5106"/>
                  </a:lnTo>
                  <a:lnTo>
                    <a:pt x="5030" y="5030"/>
                  </a:lnTo>
                  <a:lnTo>
                    <a:pt x="5029" y="4953"/>
                  </a:lnTo>
                  <a:lnTo>
                    <a:pt x="5025" y="4877"/>
                  </a:lnTo>
                  <a:lnTo>
                    <a:pt x="5020" y="4801"/>
                  </a:lnTo>
                  <a:lnTo>
                    <a:pt x="5012" y="4727"/>
                  </a:lnTo>
                  <a:lnTo>
                    <a:pt x="5002" y="4653"/>
                  </a:lnTo>
                  <a:lnTo>
                    <a:pt x="4988" y="4580"/>
                  </a:lnTo>
                  <a:lnTo>
                    <a:pt x="4974" y="4508"/>
                  </a:lnTo>
                  <a:lnTo>
                    <a:pt x="4958" y="4435"/>
                  </a:lnTo>
                  <a:lnTo>
                    <a:pt x="4939" y="4365"/>
                  </a:lnTo>
                  <a:lnTo>
                    <a:pt x="4919" y="4294"/>
                  </a:lnTo>
                  <a:lnTo>
                    <a:pt x="4896" y="4226"/>
                  </a:lnTo>
                  <a:lnTo>
                    <a:pt x="4872" y="4158"/>
                  </a:lnTo>
                  <a:lnTo>
                    <a:pt x="4846" y="4090"/>
                  </a:lnTo>
                  <a:lnTo>
                    <a:pt x="4816" y="4024"/>
                  </a:lnTo>
                  <a:lnTo>
                    <a:pt x="4786" y="3958"/>
                  </a:lnTo>
                  <a:lnTo>
                    <a:pt x="4754" y="3894"/>
                  </a:lnTo>
                  <a:lnTo>
                    <a:pt x="4721" y="3831"/>
                  </a:lnTo>
                  <a:lnTo>
                    <a:pt x="4686" y="3768"/>
                  </a:lnTo>
                  <a:lnTo>
                    <a:pt x="4648" y="3708"/>
                  </a:lnTo>
                  <a:lnTo>
                    <a:pt x="4609" y="3648"/>
                  </a:lnTo>
                  <a:lnTo>
                    <a:pt x="4569" y="3589"/>
                  </a:lnTo>
                  <a:lnTo>
                    <a:pt x="4527" y="3532"/>
                  </a:lnTo>
                  <a:lnTo>
                    <a:pt x="4482" y="3476"/>
                  </a:lnTo>
                  <a:lnTo>
                    <a:pt x="4437" y="3420"/>
                  </a:lnTo>
                  <a:lnTo>
                    <a:pt x="4391" y="3366"/>
                  </a:lnTo>
                  <a:lnTo>
                    <a:pt x="4343" y="3314"/>
                  </a:lnTo>
                  <a:lnTo>
                    <a:pt x="4292" y="3263"/>
                  </a:lnTo>
                  <a:lnTo>
                    <a:pt x="4241" y="3213"/>
                  </a:lnTo>
                  <a:lnTo>
                    <a:pt x="4189" y="3165"/>
                  </a:lnTo>
                  <a:lnTo>
                    <a:pt x="4135" y="3118"/>
                  </a:lnTo>
                  <a:lnTo>
                    <a:pt x="4080" y="3073"/>
                  </a:lnTo>
                  <a:lnTo>
                    <a:pt x="4024" y="30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19" name="isľîďe">
              <a:extLst>
                <a:ext uri="{FF2B5EF4-FFF2-40B4-BE49-F238E27FC236}">
                  <a16:creationId xmlns:a16="http://schemas.microsoft.com/office/drawing/2014/main" id="{BF7F9B4B-9C23-43A3-B510-E74AE21697D6}"/>
                </a:ext>
              </a:extLst>
            </p:cNvPr>
            <p:cNvSpPr/>
            <p:nvPr/>
          </p:nvSpPr>
          <p:spPr bwMode="auto">
            <a:xfrm>
              <a:off x="3520775" y="1493427"/>
              <a:ext cx="127257" cy="407036"/>
            </a:xfrm>
            <a:custGeom>
              <a:avLst/>
              <a:gdLst>
                <a:gd name="T0" fmla="*/ 3785 w 5030"/>
                <a:gd name="T1" fmla="*/ 5837 h 16095"/>
                <a:gd name="T2" fmla="*/ 3571 w 5030"/>
                <a:gd name="T3" fmla="*/ 6098 h 16095"/>
                <a:gd name="T4" fmla="*/ 3350 w 5030"/>
                <a:gd name="T5" fmla="*/ 6279 h 16095"/>
                <a:gd name="T6" fmla="*/ 3045 w 5030"/>
                <a:gd name="T7" fmla="*/ 6436 h 16095"/>
                <a:gd name="T8" fmla="*/ 2678 w 5030"/>
                <a:gd name="T9" fmla="*/ 6529 h 16095"/>
                <a:gd name="T10" fmla="*/ 2288 w 5030"/>
                <a:gd name="T11" fmla="*/ 6519 h 16095"/>
                <a:gd name="T12" fmla="*/ 1932 w 5030"/>
                <a:gd name="T13" fmla="*/ 6415 h 16095"/>
                <a:gd name="T14" fmla="*/ 1633 w 5030"/>
                <a:gd name="T15" fmla="*/ 6246 h 16095"/>
                <a:gd name="T16" fmla="*/ 1420 w 5030"/>
                <a:gd name="T17" fmla="*/ 6059 h 16095"/>
                <a:gd name="T18" fmla="*/ 1245 w 5030"/>
                <a:gd name="T19" fmla="*/ 5837 h 16095"/>
                <a:gd name="T20" fmla="*/ 1060 w 5030"/>
                <a:gd name="T21" fmla="*/ 5402 h 16095"/>
                <a:gd name="T22" fmla="*/ 1006 w 5030"/>
                <a:gd name="T23" fmla="*/ 5002 h 16095"/>
                <a:gd name="T24" fmla="*/ 1080 w 5030"/>
                <a:gd name="T25" fmla="*/ 4586 h 16095"/>
                <a:gd name="T26" fmla="*/ 1274 w 5030"/>
                <a:gd name="T27" fmla="*/ 4178 h 16095"/>
                <a:gd name="T28" fmla="*/ 1540 w 5030"/>
                <a:gd name="T29" fmla="*/ 3885 h 16095"/>
                <a:gd name="T30" fmla="*/ 1777 w 5030"/>
                <a:gd name="T31" fmla="*/ 3721 h 16095"/>
                <a:gd name="T32" fmla="*/ 2102 w 5030"/>
                <a:gd name="T33" fmla="*/ 3584 h 16095"/>
                <a:gd name="T34" fmla="*/ 2482 w 5030"/>
                <a:gd name="T35" fmla="*/ 3521 h 16095"/>
                <a:gd name="T36" fmla="*/ 2867 w 5030"/>
                <a:gd name="T37" fmla="*/ 3567 h 16095"/>
                <a:gd name="T38" fmla="*/ 3202 w 5030"/>
                <a:gd name="T39" fmla="*/ 3694 h 16095"/>
                <a:gd name="T40" fmla="*/ 3490 w 5030"/>
                <a:gd name="T41" fmla="*/ 3885 h 16095"/>
                <a:gd name="T42" fmla="*/ 3756 w 5030"/>
                <a:gd name="T43" fmla="*/ 4178 h 16095"/>
                <a:gd name="T44" fmla="*/ 3951 w 5030"/>
                <a:gd name="T45" fmla="*/ 4586 h 16095"/>
                <a:gd name="T46" fmla="*/ 4024 w 5030"/>
                <a:gd name="T47" fmla="*/ 5002 h 16095"/>
                <a:gd name="T48" fmla="*/ 3971 w 5030"/>
                <a:gd name="T49" fmla="*/ 5402 h 16095"/>
                <a:gd name="T50" fmla="*/ 2958 w 5030"/>
                <a:gd name="T51" fmla="*/ 14827 h 16095"/>
                <a:gd name="T52" fmla="*/ 2755 w 5030"/>
                <a:gd name="T53" fmla="*/ 15029 h 16095"/>
                <a:gd name="T54" fmla="*/ 2464 w 5030"/>
                <a:gd name="T55" fmla="*/ 15086 h 16095"/>
                <a:gd name="T56" fmla="*/ 2195 w 5030"/>
                <a:gd name="T57" fmla="*/ 14974 h 16095"/>
                <a:gd name="T58" fmla="*/ 2035 w 5030"/>
                <a:gd name="T59" fmla="*/ 14736 h 16095"/>
                <a:gd name="T60" fmla="*/ 2323 w 5030"/>
                <a:gd name="T61" fmla="*/ 7537 h 16095"/>
                <a:gd name="T62" fmla="*/ 3018 w 5030"/>
                <a:gd name="T63" fmla="*/ 14586 h 16095"/>
                <a:gd name="T64" fmla="*/ 2085 w 5030"/>
                <a:gd name="T65" fmla="*/ 1248 h 16095"/>
                <a:gd name="T66" fmla="*/ 2297 w 5030"/>
                <a:gd name="T67" fmla="*/ 1055 h 16095"/>
                <a:gd name="T68" fmla="*/ 2592 w 5030"/>
                <a:gd name="T69" fmla="*/ 1012 h 16095"/>
                <a:gd name="T70" fmla="*/ 2853 w 5030"/>
                <a:gd name="T71" fmla="*/ 1137 h 16095"/>
                <a:gd name="T72" fmla="*/ 3002 w 5030"/>
                <a:gd name="T73" fmla="*/ 1383 h 16095"/>
                <a:gd name="T74" fmla="*/ 2644 w 5030"/>
                <a:gd name="T75" fmla="*/ 2518 h 16095"/>
                <a:gd name="T76" fmla="*/ 4024 w 5030"/>
                <a:gd name="T77" fmla="*/ 3029 h 16095"/>
                <a:gd name="T78" fmla="*/ 3806 w 5030"/>
                <a:gd name="T79" fmla="*/ 727 h 16095"/>
                <a:gd name="T80" fmla="*/ 3169 w 5030"/>
                <a:gd name="T81" fmla="*/ 149 h 16095"/>
                <a:gd name="T82" fmla="*/ 2286 w 5030"/>
                <a:gd name="T83" fmla="*/ 17 h 16095"/>
                <a:gd name="T84" fmla="*/ 1501 w 5030"/>
                <a:gd name="T85" fmla="*/ 392 h 16095"/>
                <a:gd name="T86" fmla="*/ 1054 w 5030"/>
                <a:gd name="T87" fmla="*/ 1133 h 16095"/>
                <a:gd name="T88" fmla="*/ 687 w 5030"/>
                <a:gd name="T89" fmla="*/ 3314 h 16095"/>
                <a:gd name="T90" fmla="*/ 214 w 5030"/>
                <a:gd name="T91" fmla="*/ 4024 h 16095"/>
                <a:gd name="T92" fmla="*/ 5 w 5030"/>
                <a:gd name="T93" fmla="*/ 4877 h 16095"/>
                <a:gd name="T94" fmla="*/ 111 w 5030"/>
                <a:gd name="T95" fmla="*/ 5765 h 16095"/>
                <a:gd name="T96" fmla="*/ 503 w 5030"/>
                <a:gd name="T97" fmla="*/ 6529 h 16095"/>
                <a:gd name="T98" fmla="*/ 1008 w 5030"/>
                <a:gd name="T99" fmla="*/ 14664 h 16095"/>
                <a:gd name="T100" fmla="*/ 1306 w 5030"/>
                <a:gd name="T101" fmla="*/ 15488 h 16095"/>
                <a:gd name="T102" fmla="*/ 1997 w 5030"/>
                <a:gd name="T103" fmla="*/ 16003 h 16095"/>
                <a:gd name="T104" fmla="*/ 2891 w 5030"/>
                <a:gd name="T105" fmla="*/ 16048 h 16095"/>
                <a:gd name="T106" fmla="*/ 3632 w 5030"/>
                <a:gd name="T107" fmla="*/ 15600 h 16095"/>
                <a:gd name="T108" fmla="*/ 4007 w 5030"/>
                <a:gd name="T109" fmla="*/ 14815 h 16095"/>
                <a:gd name="T110" fmla="*/ 4438 w 5030"/>
                <a:gd name="T111" fmla="*/ 6639 h 16095"/>
                <a:gd name="T112" fmla="*/ 4872 w 5030"/>
                <a:gd name="T113" fmla="*/ 5902 h 16095"/>
                <a:gd name="T114" fmla="*/ 5030 w 5030"/>
                <a:gd name="T115" fmla="*/ 5030 h 16095"/>
                <a:gd name="T116" fmla="*/ 4872 w 5030"/>
                <a:gd name="T117" fmla="*/ 4158 h 16095"/>
                <a:gd name="T118" fmla="*/ 4438 w 5030"/>
                <a:gd name="T119" fmla="*/ 3420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30" h="16095">
                  <a:moveTo>
                    <a:pt x="3956" y="5452"/>
                  </a:moveTo>
                  <a:lnTo>
                    <a:pt x="3951" y="5472"/>
                  </a:lnTo>
                  <a:lnTo>
                    <a:pt x="3945" y="5492"/>
                  </a:lnTo>
                  <a:lnTo>
                    <a:pt x="3939" y="5512"/>
                  </a:lnTo>
                  <a:lnTo>
                    <a:pt x="3932" y="5532"/>
                  </a:lnTo>
                  <a:lnTo>
                    <a:pt x="3913" y="5581"/>
                  </a:lnTo>
                  <a:lnTo>
                    <a:pt x="3893" y="5630"/>
                  </a:lnTo>
                  <a:lnTo>
                    <a:pt x="3872" y="5678"/>
                  </a:lnTo>
                  <a:lnTo>
                    <a:pt x="3849" y="5725"/>
                  </a:lnTo>
                  <a:lnTo>
                    <a:pt x="3825" y="5771"/>
                  </a:lnTo>
                  <a:lnTo>
                    <a:pt x="3799" y="5815"/>
                  </a:lnTo>
                  <a:lnTo>
                    <a:pt x="3785" y="5837"/>
                  </a:lnTo>
                  <a:lnTo>
                    <a:pt x="3771" y="5860"/>
                  </a:lnTo>
                  <a:lnTo>
                    <a:pt x="3756" y="5881"/>
                  </a:lnTo>
                  <a:lnTo>
                    <a:pt x="3741" y="5903"/>
                  </a:lnTo>
                  <a:lnTo>
                    <a:pt x="3738" y="5906"/>
                  </a:lnTo>
                  <a:lnTo>
                    <a:pt x="3735" y="5910"/>
                  </a:lnTo>
                  <a:lnTo>
                    <a:pt x="3701" y="5954"/>
                  </a:lnTo>
                  <a:lnTo>
                    <a:pt x="3666" y="5997"/>
                  </a:lnTo>
                  <a:lnTo>
                    <a:pt x="3648" y="6019"/>
                  </a:lnTo>
                  <a:lnTo>
                    <a:pt x="3630" y="6039"/>
                  </a:lnTo>
                  <a:lnTo>
                    <a:pt x="3611" y="6059"/>
                  </a:lnTo>
                  <a:lnTo>
                    <a:pt x="3592" y="6079"/>
                  </a:lnTo>
                  <a:lnTo>
                    <a:pt x="3571" y="6098"/>
                  </a:lnTo>
                  <a:lnTo>
                    <a:pt x="3552" y="6118"/>
                  </a:lnTo>
                  <a:lnTo>
                    <a:pt x="3531" y="6136"/>
                  </a:lnTo>
                  <a:lnTo>
                    <a:pt x="3511" y="6155"/>
                  </a:lnTo>
                  <a:lnTo>
                    <a:pt x="3490" y="6173"/>
                  </a:lnTo>
                  <a:lnTo>
                    <a:pt x="3469" y="6191"/>
                  </a:lnTo>
                  <a:lnTo>
                    <a:pt x="3447" y="6209"/>
                  </a:lnTo>
                  <a:lnTo>
                    <a:pt x="3425" y="6225"/>
                  </a:lnTo>
                  <a:lnTo>
                    <a:pt x="3423" y="6228"/>
                  </a:lnTo>
                  <a:lnTo>
                    <a:pt x="3421" y="6230"/>
                  </a:lnTo>
                  <a:lnTo>
                    <a:pt x="3397" y="6246"/>
                  </a:lnTo>
                  <a:lnTo>
                    <a:pt x="3374" y="6263"/>
                  </a:lnTo>
                  <a:lnTo>
                    <a:pt x="3350" y="6279"/>
                  </a:lnTo>
                  <a:lnTo>
                    <a:pt x="3326" y="6294"/>
                  </a:lnTo>
                  <a:lnTo>
                    <a:pt x="3302" y="6309"/>
                  </a:lnTo>
                  <a:lnTo>
                    <a:pt x="3278" y="6324"/>
                  </a:lnTo>
                  <a:lnTo>
                    <a:pt x="3253" y="6338"/>
                  </a:lnTo>
                  <a:lnTo>
                    <a:pt x="3228" y="6352"/>
                  </a:lnTo>
                  <a:lnTo>
                    <a:pt x="3202" y="6366"/>
                  </a:lnTo>
                  <a:lnTo>
                    <a:pt x="3177" y="6379"/>
                  </a:lnTo>
                  <a:lnTo>
                    <a:pt x="3151" y="6391"/>
                  </a:lnTo>
                  <a:lnTo>
                    <a:pt x="3125" y="6403"/>
                  </a:lnTo>
                  <a:lnTo>
                    <a:pt x="3099" y="6415"/>
                  </a:lnTo>
                  <a:lnTo>
                    <a:pt x="3072" y="6425"/>
                  </a:lnTo>
                  <a:lnTo>
                    <a:pt x="3045" y="6436"/>
                  </a:lnTo>
                  <a:lnTo>
                    <a:pt x="3018" y="6446"/>
                  </a:lnTo>
                  <a:lnTo>
                    <a:pt x="2988" y="6456"/>
                  </a:lnTo>
                  <a:lnTo>
                    <a:pt x="2959" y="6466"/>
                  </a:lnTo>
                  <a:lnTo>
                    <a:pt x="2929" y="6475"/>
                  </a:lnTo>
                  <a:lnTo>
                    <a:pt x="2897" y="6484"/>
                  </a:lnTo>
                  <a:lnTo>
                    <a:pt x="2867" y="6492"/>
                  </a:lnTo>
                  <a:lnTo>
                    <a:pt x="2836" y="6500"/>
                  </a:lnTo>
                  <a:lnTo>
                    <a:pt x="2805" y="6507"/>
                  </a:lnTo>
                  <a:lnTo>
                    <a:pt x="2774" y="6513"/>
                  </a:lnTo>
                  <a:lnTo>
                    <a:pt x="2742" y="6519"/>
                  </a:lnTo>
                  <a:lnTo>
                    <a:pt x="2710" y="6525"/>
                  </a:lnTo>
                  <a:lnTo>
                    <a:pt x="2678" y="6529"/>
                  </a:lnTo>
                  <a:lnTo>
                    <a:pt x="2646" y="6533"/>
                  </a:lnTo>
                  <a:lnTo>
                    <a:pt x="2614" y="6535"/>
                  </a:lnTo>
                  <a:lnTo>
                    <a:pt x="2582" y="6537"/>
                  </a:lnTo>
                  <a:lnTo>
                    <a:pt x="2548" y="6539"/>
                  </a:lnTo>
                  <a:lnTo>
                    <a:pt x="2515" y="6539"/>
                  </a:lnTo>
                  <a:lnTo>
                    <a:pt x="2482" y="6539"/>
                  </a:lnTo>
                  <a:lnTo>
                    <a:pt x="2449" y="6537"/>
                  </a:lnTo>
                  <a:lnTo>
                    <a:pt x="2417" y="6535"/>
                  </a:lnTo>
                  <a:lnTo>
                    <a:pt x="2383" y="6533"/>
                  </a:lnTo>
                  <a:lnTo>
                    <a:pt x="2351" y="6529"/>
                  </a:lnTo>
                  <a:lnTo>
                    <a:pt x="2320" y="6525"/>
                  </a:lnTo>
                  <a:lnTo>
                    <a:pt x="2288" y="6519"/>
                  </a:lnTo>
                  <a:lnTo>
                    <a:pt x="2257" y="6513"/>
                  </a:lnTo>
                  <a:lnTo>
                    <a:pt x="2225" y="6507"/>
                  </a:lnTo>
                  <a:lnTo>
                    <a:pt x="2194" y="6500"/>
                  </a:lnTo>
                  <a:lnTo>
                    <a:pt x="2163" y="6492"/>
                  </a:lnTo>
                  <a:lnTo>
                    <a:pt x="2133" y="6484"/>
                  </a:lnTo>
                  <a:lnTo>
                    <a:pt x="2102" y="6475"/>
                  </a:lnTo>
                  <a:lnTo>
                    <a:pt x="2072" y="6466"/>
                  </a:lnTo>
                  <a:lnTo>
                    <a:pt x="2042" y="6456"/>
                  </a:lnTo>
                  <a:lnTo>
                    <a:pt x="2012" y="6446"/>
                  </a:lnTo>
                  <a:lnTo>
                    <a:pt x="1985" y="6436"/>
                  </a:lnTo>
                  <a:lnTo>
                    <a:pt x="1958" y="6425"/>
                  </a:lnTo>
                  <a:lnTo>
                    <a:pt x="1932" y="6415"/>
                  </a:lnTo>
                  <a:lnTo>
                    <a:pt x="1906" y="6403"/>
                  </a:lnTo>
                  <a:lnTo>
                    <a:pt x="1879" y="6391"/>
                  </a:lnTo>
                  <a:lnTo>
                    <a:pt x="1853" y="6379"/>
                  </a:lnTo>
                  <a:lnTo>
                    <a:pt x="1827" y="6366"/>
                  </a:lnTo>
                  <a:lnTo>
                    <a:pt x="1802" y="6352"/>
                  </a:lnTo>
                  <a:lnTo>
                    <a:pt x="1777" y="6338"/>
                  </a:lnTo>
                  <a:lnTo>
                    <a:pt x="1753" y="6324"/>
                  </a:lnTo>
                  <a:lnTo>
                    <a:pt x="1728" y="6309"/>
                  </a:lnTo>
                  <a:lnTo>
                    <a:pt x="1703" y="6294"/>
                  </a:lnTo>
                  <a:lnTo>
                    <a:pt x="1680" y="6279"/>
                  </a:lnTo>
                  <a:lnTo>
                    <a:pt x="1656" y="6263"/>
                  </a:lnTo>
                  <a:lnTo>
                    <a:pt x="1633" y="6246"/>
                  </a:lnTo>
                  <a:lnTo>
                    <a:pt x="1611" y="6230"/>
                  </a:lnTo>
                  <a:lnTo>
                    <a:pt x="1608" y="6228"/>
                  </a:lnTo>
                  <a:lnTo>
                    <a:pt x="1606" y="6225"/>
                  </a:lnTo>
                  <a:lnTo>
                    <a:pt x="1584" y="6209"/>
                  </a:lnTo>
                  <a:lnTo>
                    <a:pt x="1562" y="6191"/>
                  </a:lnTo>
                  <a:lnTo>
                    <a:pt x="1540" y="6173"/>
                  </a:lnTo>
                  <a:lnTo>
                    <a:pt x="1519" y="6155"/>
                  </a:lnTo>
                  <a:lnTo>
                    <a:pt x="1499" y="6136"/>
                  </a:lnTo>
                  <a:lnTo>
                    <a:pt x="1478" y="6118"/>
                  </a:lnTo>
                  <a:lnTo>
                    <a:pt x="1459" y="6098"/>
                  </a:lnTo>
                  <a:lnTo>
                    <a:pt x="1439" y="6079"/>
                  </a:lnTo>
                  <a:lnTo>
                    <a:pt x="1420" y="6059"/>
                  </a:lnTo>
                  <a:lnTo>
                    <a:pt x="1401" y="6039"/>
                  </a:lnTo>
                  <a:lnTo>
                    <a:pt x="1382" y="6019"/>
                  </a:lnTo>
                  <a:lnTo>
                    <a:pt x="1364" y="5997"/>
                  </a:lnTo>
                  <a:lnTo>
                    <a:pt x="1346" y="5976"/>
                  </a:lnTo>
                  <a:lnTo>
                    <a:pt x="1329" y="5954"/>
                  </a:lnTo>
                  <a:lnTo>
                    <a:pt x="1312" y="5932"/>
                  </a:lnTo>
                  <a:lnTo>
                    <a:pt x="1296" y="5910"/>
                  </a:lnTo>
                  <a:lnTo>
                    <a:pt x="1292" y="5906"/>
                  </a:lnTo>
                  <a:lnTo>
                    <a:pt x="1289" y="5903"/>
                  </a:lnTo>
                  <a:lnTo>
                    <a:pt x="1274" y="5881"/>
                  </a:lnTo>
                  <a:lnTo>
                    <a:pt x="1259" y="5860"/>
                  </a:lnTo>
                  <a:lnTo>
                    <a:pt x="1245" y="5837"/>
                  </a:lnTo>
                  <a:lnTo>
                    <a:pt x="1232" y="5815"/>
                  </a:lnTo>
                  <a:lnTo>
                    <a:pt x="1205" y="5771"/>
                  </a:lnTo>
                  <a:lnTo>
                    <a:pt x="1181" y="5725"/>
                  </a:lnTo>
                  <a:lnTo>
                    <a:pt x="1158" y="5678"/>
                  </a:lnTo>
                  <a:lnTo>
                    <a:pt x="1137" y="5630"/>
                  </a:lnTo>
                  <a:lnTo>
                    <a:pt x="1117" y="5581"/>
                  </a:lnTo>
                  <a:lnTo>
                    <a:pt x="1099" y="5532"/>
                  </a:lnTo>
                  <a:lnTo>
                    <a:pt x="1092" y="5512"/>
                  </a:lnTo>
                  <a:lnTo>
                    <a:pt x="1086" y="5492"/>
                  </a:lnTo>
                  <a:lnTo>
                    <a:pt x="1080" y="5472"/>
                  </a:lnTo>
                  <a:lnTo>
                    <a:pt x="1075" y="5452"/>
                  </a:lnTo>
                  <a:lnTo>
                    <a:pt x="1060" y="5402"/>
                  </a:lnTo>
                  <a:lnTo>
                    <a:pt x="1046" y="5350"/>
                  </a:lnTo>
                  <a:lnTo>
                    <a:pt x="1034" y="5298"/>
                  </a:lnTo>
                  <a:lnTo>
                    <a:pt x="1025" y="5246"/>
                  </a:lnTo>
                  <a:lnTo>
                    <a:pt x="1020" y="5219"/>
                  </a:lnTo>
                  <a:lnTo>
                    <a:pt x="1017" y="5193"/>
                  </a:lnTo>
                  <a:lnTo>
                    <a:pt x="1014" y="5165"/>
                  </a:lnTo>
                  <a:lnTo>
                    <a:pt x="1011" y="5139"/>
                  </a:lnTo>
                  <a:lnTo>
                    <a:pt x="1009" y="5112"/>
                  </a:lnTo>
                  <a:lnTo>
                    <a:pt x="1007" y="5085"/>
                  </a:lnTo>
                  <a:lnTo>
                    <a:pt x="1006" y="5057"/>
                  </a:lnTo>
                  <a:lnTo>
                    <a:pt x="1006" y="5030"/>
                  </a:lnTo>
                  <a:lnTo>
                    <a:pt x="1006" y="5002"/>
                  </a:lnTo>
                  <a:lnTo>
                    <a:pt x="1007" y="4974"/>
                  </a:lnTo>
                  <a:lnTo>
                    <a:pt x="1009" y="4947"/>
                  </a:lnTo>
                  <a:lnTo>
                    <a:pt x="1011" y="4920"/>
                  </a:lnTo>
                  <a:lnTo>
                    <a:pt x="1014" y="4893"/>
                  </a:lnTo>
                  <a:lnTo>
                    <a:pt x="1017" y="4866"/>
                  </a:lnTo>
                  <a:lnTo>
                    <a:pt x="1020" y="4840"/>
                  </a:lnTo>
                  <a:lnTo>
                    <a:pt x="1025" y="4812"/>
                  </a:lnTo>
                  <a:lnTo>
                    <a:pt x="1034" y="4760"/>
                  </a:lnTo>
                  <a:lnTo>
                    <a:pt x="1046" y="4709"/>
                  </a:lnTo>
                  <a:lnTo>
                    <a:pt x="1060" y="4657"/>
                  </a:lnTo>
                  <a:lnTo>
                    <a:pt x="1075" y="4606"/>
                  </a:lnTo>
                  <a:lnTo>
                    <a:pt x="1080" y="4586"/>
                  </a:lnTo>
                  <a:lnTo>
                    <a:pt x="1086" y="4567"/>
                  </a:lnTo>
                  <a:lnTo>
                    <a:pt x="1092" y="4547"/>
                  </a:lnTo>
                  <a:lnTo>
                    <a:pt x="1099" y="4528"/>
                  </a:lnTo>
                  <a:lnTo>
                    <a:pt x="1117" y="4478"/>
                  </a:lnTo>
                  <a:lnTo>
                    <a:pt x="1137" y="4429"/>
                  </a:lnTo>
                  <a:lnTo>
                    <a:pt x="1158" y="4382"/>
                  </a:lnTo>
                  <a:lnTo>
                    <a:pt x="1181" y="4335"/>
                  </a:lnTo>
                  <a:lnTo>
                    <a:pt x="1205" y="4288"/>
                  </a:lnTo>
                  <a:lnTo>
                    <a:pt x="1232" y="4243"/>
                  </a:lnTo>
                  <a:lnTo>
                    <a:pt x="1245" y="4221"/>
                  </a:lnTo>
                  <a:lnTo>
                    <a:pt x="1259" y="4200"/>
                  </a:lnTo>
                  <a:lnTo>
                    <a:pt x="1274" y="4178"/>
                  </a:lnTo>
                  <a:lnTo>
                    <a:pt x="1289" y="4157"/>
                  </a:lnTo>
                  <a:lnTo>
                    <a:pt x="1292" y="4153"/>
                  </a:lnTo>
                  <a:lnTo>
                    <a:pt x="1296" y="4148"/>
                  </a:lnTo>
                  <a:lnTo>
                    <a:pt x="1329" y="4104"/>
                  </a:lnTo>
                  <a:lnTo>
                    <a:pt x="1364" y="4062"/>
                  </a:lnTo>
                  <a:lnTo>
                    <a:pt x="1401" y="4020"/>
                  </a:lnTo>
                  <a:lnTo>
                    <a:pt x="1439" y="3979"/>
                  </a:lnTo>
                  <a:lnTo>
                    <a:pt x="1459" y="3960"/>
                  </a:lnTo>
                  <a:lnTo>
                    <a:pt x="1478" y="3941"/>
                  </a:lnTo>
                  <a:lnTo>
                    <a:pt x="1499" y="3922"/>
                  </a:lnTo>
                  <a:lnTo>
                    <a:pt x="1519" y="3903"/>
                  </a:lnTo>
                  <a:lnTo>
                    <a:pt x="1540" y="3885"/>
                  </a:lnTo>
                  <a:lnTo>
                    <a:pt x="1562" y="3868"/>
                  </a:lnTo>
                  <a:lnTo>
                    <a:pt x="1584" y="3850"/>
                  </a:lnTo>
                  <a:lnTo>
                    <a:pt x="1606" y="3833"/>
                  </a:lnTo>
                  <a:lnTo>
                    <a:pt x="1608" y="3832"/>
                  </a:lnTo>
                  <a:lnTo>
                    <a:pt x="1611" y="3830"/>
                  </a:lnTo>
                  <a:lnTo>
                    <a:pt x="1633" y="3813"/>
                  </a:lnTo>
                  <a:lnTo>
                    <a:pt x="1656" y="3796"/>
                  </a:lnTo>
                  <a:lnTo>
                    <a:pt x="1680" y="3780"/>
                  </a:lnTo>
                  <a:lnTo>
                    <a:pt x="1703" y="3765"/>
                  </a:lnTo>
                  <a:lnTo>
                    <a:pt x="1728" y="3750"/>
                  </a:lnTo>
                  <a:lnTo>
                    <a:pt x="1753" y="3735"/>
                  </a:lnTo>
                  <a:lnTo>
                    <a:pt x="1777" y="3721"/>
                  </a:lnTo>
                  <a:lnTo>
                    <a:pt x="1802" y="3707"/>
                  </a:lnTo>
                  <a:lnTo>
                    <a:pt x="1827" y="3694"/>
                  </a:lnTo>
                  <a:lnTo>
                    <a:pt x="1853" y="3681"/>
                  </a:lnTo>
                  <a:lnTo>
                    <a:pt x="1879" y="3669"/>
                  </a:lnTo>
                  <a:lnTo>
                    <a:pt x="1906" y="3657"/>
                  </a:lnTo>
                  <a:lnTo>
                    <a:pt x="1932" y="3645"/>
                  </a:lnTo>
                  <a:lnTo>
                    <a:pt x="1958" y="3633"/>
                  </a:lnTo>
                  <a:lnTo>
                    <a:pt x="1985" y="3623"/>
                  </a:lnTo>
                  <a:lnTo>
                    <a:pt x="2012" y="3613"/>
                  </a:lnTo>
                  <a:lnTo>
                    <a:pt x="2042" y="3603"/>
                  </a:lnTo>
                  <a:lnTo>
                    <a:pt x="2072" y="3593"/>
                  </a:lnTo>
                  <a:lnTo>
                    <a:pt x="2102" y="3584"/>
                  </a:lnTo>
                  <a:lnTo>
                    <a:pt x="2133" y="3575"/>
                  </a:lnTo>
                  <a:lnTo>
                    <a:pt x="2163" y="3567"/>
                  </a:lnTo>
                  <a:lnTo>
                    <a:pt x="2194" y="3559"/>
                  </a:lnTo>
                  <a:lnTo>
                    <a:pt x="2225" y="3552"/>
                  </a:lnTo>
                  <a:lnTo>
                    <a:pt x="2257" y="3546"/>
                  </a:lnTo>
                  <a:lnTo>
                    <a:pt x="2288" y="3540"/>
                  </a:lnTo>
                  <a:lnTo>
                    <a:pt x="2320" y="3535"/>
                  </a:lnTo>
                  <a:lnTo>
                    <a:pt x="2351" y="3531"/>
                  </a:lnTo>
                  <a:lnTo>
                    <a:pt x="2383" y="3528"/>
                  </a:lnTo>
                  <a:lnTo>
                    <a:pt x="2417" y="3525"/>
                  </a:lnTo>
                  <a:lnTo>
                    <a:pt x="2449" y="3523"/>
                  </a:lnTo>
                  <a:lnTo>
                    <a:pt x="2482" y="3521"/>
                  </a:lnTo>
                  <a:lnTo>
                    <a:pt x="2515" y="3521"/>
                  </a:lnTo>
                  <a:lnTo>
                    <a:pt x="2548" y="3521"/>
                  </a:lnTo>
                  <a:lnTo>
                    <a:pt x="2582" y="3523"/>
                  </a:lnTo>
                  <a:lnTo>
                    <a:pt x="2614" y="3525"/>
                  </a:lnTo>
                  <a:lnTo>
                    <a:pt x="2646" y="3528"/>
                  </a:lnTo>
                  <a:lnTo>
                    <a:pt x="2678" y="3531"/>
                  </a:lnTo>
                  <a:lnTo>
                    <a:pt x="2710" y="3535"/>
                  </a:lnTo>
                  <a:lnTo>
                    <a:pt x="2742" y="3540"/>
                  </a:lnTo>
                  <a:lnTo>
                    <a:pt x="2774" y="3546"/>
                  </a:lnTo>
                  <a:lnTo>
                    <a:pt x="2805" y="3552"/>
                  </a:lnTo>
                  <a:lnTo>
                    <a:pt x="2836" y="3559"/>
                  </a:lnTo>
                  <a:lnTo>
                    <a:pt x="2867" y="3567"/>
                  </a:lnTo>
                  <a:lnTo>
                    <a:pt x="2897" y="3575"/>
                  </a:lnTo>
                  <a:lnTo>
                    <a:pt x="2929" y="3584"/>
                  </a:lnTo>
                  <a:lnTo>
                    <a:pt x="2959" y="3593"/>
                  </a:lnTo>
                  <a:lnTo>
                    <a:pt x="2988" y="3603"/>
                  </a:lnTo>
                  <a:lnTo>
                    <a:pt x="3018" y="3613"/>
                  </a:lnTo>
                  <a:lnTo>
                    <a:pt x="3045" y="3623"/>
                  </a:lnTo>
                  <a:lnTo>
                    <a:pt x="3072" y="3633"/>
                  </a:lnTo>
                  <a:lnTo>
                    <a:pt x="3099" y="3645"/>
                  </a:lnTo>
                  <a:lnTo>
                    <a:pt x="3125" y="3657"/>
                  </a:lnTo>
                  <a:lnTo>
                    <a:pt x="3151" y="3669"/>
                  </a:lnTo>
                  <a:lnTo>
                    <a:pt x="3177" y="3681"/>
                  </a:lnTo>
                  <a:lnTo>
                    <a:pt x="3202" y="3694"/>
                  </a:lnTo>
                  <a:lnTo>
                    <a:pt x="3228" y="3707"/>
                  </a:lnTo>
                  <a:lnTo>
                    <a:pt x="3253" y="3721"/>
                  </a:lnTo>
                  <a:lnTo>
                    <a:pt x="3278" y="3735"/>
                  </a:lnTo>
                  <a:lnTo>
                    <a:pt x="3302" y="3750"/>
                  </a:lnTo>
                  <a:lnTo>
                    <a:pt x="3326" y="3765"/>
                  </a:lnTo>
                  <a:lnTo>
                    <a:pt x="3374" y="3796"/>
                  </a:lnTo>
                  <a:lnTo>
                    <a:pt x="3421" y="3830"/>
                  </a:lnTo>
                  <a:lnTo>
                    <a:pt x="3423" y="3832"/>
                  </a:lnTo>
                  <a:lnTo>
                    <a:pt x="3425" y="3833"/>
                  </a:lnTo>
                  <a:lnTo>
                    <a:pt x="3447" y="3850"/>
                  </a:lnTo>
                  <a:lnTo>
                    <a:pt x="3469" y="3868"/>
                  </a:lnTo>
                  <a:lnTo>
                    <a:pt x="3490" y="3885"/>
                  </a:lnTo>
                  <a:lnTo>
                    <a:pt x="3511" y="3903"/>
                  </a:lnTo>
                  <a:lnTo>
                    <a:pt x="3531" y="3922"/>
                  </a:lnTo>
                  <a:lnTo>
                    <a:pt x="3552" y="3941"/>
                  </a:lnTo>
                  <a:lnTo>
                    <a:pt x="3571" y="3960"/>
                  </a:lnTo>
                  <a:lnTo>
                    <a:pt x="3592" y="3979"/>
                  </a:lnTo>
                  <a:lnTo>
                    <a:pt x="3630" y="4020"/>
                  </a:lnTo>
                  <a:lnTo>
                    <a:pt x="3666" y="4062"/>
                  </a:lnTo>
                  <a:lnTo>
                    <a:pt x="3701" y="4104"/>
                  </a:lnTo>
                  <a:lnTo>
                    <a:pt x="3735" y="4148"/>
                  </a:lnTo>
                  <a:lnTo>
                    <a:pt x="3738" y="4153"/>
                  </a:lnTo>
                  <a:lnTo>
                    <a:pt x="3741" y="4157"/>
                  </a:lnTo>
                  <a:lnTo>
                    <a:pt x="3756" y="4178"/>
                  </a:lnTo>
                  <a:lnTo>
                    <a:pt x="3771" y="4200"/>
                  </a:lnTo>
                  <a:lnTo>
                    <a:pt x="3785" y="4221"/>
                  </a:lnTo>
                  <a:lnTo>
                    <a:pt x="3799" y="4243"/>
                  </a:lnTo>
                  <a:lnTo>
                    <a:pt x="3825" y="4288"/>
                  </a:lnTo>
                  <a:lnTo>
                    <a:pt x="3849" y="4335"/>
                  </a:lnTo>
                  <a:lnTo>
                    <a:pt x="3872" y="4382"/>
                  </a:lnTo>
                  <a:lnTo>
                    <a:pt x="3893" y="4429"/>
                  </a:lnTo>
                  <a:lnTo>
                    <a:pt x="3913" y="4478"/>
                  </a:lnTo>
                  <a:lnTo>
                    <a:pt x="3932" y="4528"/>
                  </a:lnTo>
                  <a:lnTo>
                    <a:pt x="3939" y="4547"/>
                  </a:lnTo>
                  <a:lnTo>
                    <a:pt x="3945" y="4567"/>
                  </a:lnTo>
                  <a:lnTo>
                    <a:pt x="3951" y="4586"/>
                  </a:lnTo>
                  <a:lnTo>
                    <a:pt x="3956" y="4606"/>
                  </a:lnTo>
                  <a:lnTo>
                    <a:pt x="3971" y="4657"/>
                  </a:lnTo>
                  <a:lnTo>
                    <a:pt x="3984" y="4709"/>
                  </a:lnTo>
                  <a:lnTo>
                    <a:pt x="3996" y="4760"/>
                  </a:lnTo>
                  <a:lnTo>
                    <a:pt x="4005" y="4812"/>
                  </a:lnTo>
                  <a:lnTo>
                    <a:pt x="4010" y="4840"/>
                  </a:lnTo>
                  <a:lnTo>
                    <a:pt x="4013" y="4866"/>
                  </a:lnTo>
                  <a:lnTo>
                    <a:pt x="4016" y="4893"/>
                  </a:lnTo>
                  <a:lnTo>
                    <a:pt x="4019" y="4920"/>
                  </a:lnTo>
                  <a:lnTo>
                    <a:pt x="4021" y="4947"/>
                  </a:lnTo>
                  <a:lnTo>
                    <a:pt x="4023" y="4974"/>
                  </a:lnTo>
                  <a:lnTo>
                    <a:pt x="4024" y="5002"/>
                  </a:lnTo>
                  <a:lnTo>
                    <a:pt x="4024" y="5030"/>
                  </a:lnTo>
                  <a:lnTo>
                    <a:pt x="4024" y="5057"/>
                  </a:lnTo>
                  <a:lnTo>
                    <a:pt x="4023" y="5085"/>
                  </a:lnTo>
                  <a:lnTo>
                    <a:pt x="4021" y="5112"/>
                  </a:lnTo>
                  <a:lnTo>
                    <a:pt x="4019" y="5139"/>
                  </a:lnTo>
                  <a:lnTo>
                    <a:pt x="4016" y="5165"/>
                  </a:lnTo>
                  <a:lnTo>
                    <a:pt x="4013" y="5193"/>
                  </a:lnTo>
                  <a:lnTo>
                    <a:pt x="4010" y="5219"/>
                  </a:lnTo>
                  <a:lnTo>
                    <a:pt x="4005" y="5246"/>
                  </a:lnTo>
                  <a:lnTo>
                    <a:pt x="3996" y="5298"/>
                  </a:lnTo>
                  <a:lnTo>
                    <a:pt x="3984" y="5350"/>
                  </a:lnTo>
                  <a:lnTo>
                    <a:pt x="3971" y="5402"/>
                  </a:lnTo>
                  <a:lnTo>
                    <a:pt x="3956" y="5452"/>
                  </a:lnTo>
                  <a:close/>
                  <a:moveTo>
                    <a:pt x="3018" y="14586"/>
                  </a:moveTo>
                  <a:lnTo>
                    <a:pt x="3017" y="14612"/>
                  </a:lnTo>
                  <a:lnTo>
                    <a:pt x="3015" y="14637"/>
                  </a:lnTo>
                  <a:lnTo>
                    <a:pt x="3012" y="14663"/>
                  </a:lnTo>
                  <a:lnTo>
                    <a:pt x="3008" y="14688"/>
                  </a:lnTo>
                  <a:lnTo>
                    <a:pt x="3002" y="14712"/>
                  </a:lnTo>
                  <a:lnTo>
                    <a:pt x="2996" y="14736"/>
                  </a:lnTo>
                  <a:lnTo>
                    <a:pt x="2988" y="14759"/>
                  </a:lnTo>
                  <a:lnTo>
                    <a:pt x="2979" y="14782"/>
                  </a:lnTo>
                  <a:lnTo>
                    <a:pt x="2969" y="14804"/>
                  </a:lnTo>
                  <a:lnTo>
                    <a:pt x="2958" y="14827"/>
                  </a:lnTo>
                  <a:lnTo>
                    <a:pt x="2946" y="14847"/>
                  </a:lnTo>
                  <a:lnTo>
                    <a:pt x="2933" y="14868"/>
                  </a:lnTo>
                  <a:lnTo>
                    <a:pt x="2919" y="14887"/>
                  </a:lnTo>
                  <a:lnTo>
                    <a:pt x="2903" y="14906"/>
                  </a:lnTo>
                  <a:lnTo>
                    <a:pt x="2887" y="14924"/>
                  </a:lnTo>
                  <a:lnTo>
                    <a:pt x="2871" y="14942"/>
                  </a:lnTo>
                  <a:lnTo>
                    <a:pt x="2853" y="14958"/>
                  </a:lnTo>
                  <a:lnTo>
                    <a:pt x="2835" y="14974"/>
                  </a:lnTo>
                  <a:lnTo>
                    <a:pt x="2816" y="14989"/>
                  </a:lnTo>
                  <a:lnTo>
                    <a:pt x="2796" y="15004"/>
                  </a:lnTo>
                  <a:lnTo>
                    <a:pt x="2776" y="15017"/>
                  </a:lnTo>
                  <a:lnTo>
                    <a:pt x="2755" y="15029"/>
                  </a:lnTo>
                  <a:lnTo>
                    <a:pt x="2733" y="15040"/>
                  </a:lnTo>
                  <a:lnTo>
                    <a:pt x="2711" y="15050"/>
                  </a:lnTo>
                  <a:lnTo>
                    <a:pt x="2688" y="15059"/>
                  </a:lnTo>
                  <a:lnTo>
                    <a:pt x="2665" y="15067"/>
                  </a:lnTo>
                  <a:lnTo>
                    <a:pt x="2641" y="15073"/>
                  </a:lnTo>
                  <a:lnTo>
                    <a:pt x="2617" y="15079"/>
                  </a:lnTo>
                  <a:lnTo>
                    <a:pt x="2592" y="15083"/>
                  </a:lnTo>
                  <a:lnTo>
                    <a:pt x="2566" y="15086"/>
                  </a:lnTo>
                  <a:lnTo>
                    <a:pt x="2541" y="15088"/>
                  </a:lnTo>
                  <a:lnTo>
                    <a:pt x="2515" y="15089"/>
                  </a:lnTo>
                  <a:lnTo>
                    <a:pt x="2489" y="15088"/>
                  </a:lnTo>
                  <a:lnTo>
                    <a:pt x="2464" y="15086"/>
                  </a:lnTo>
                  <a:lnTo>
                    <a:pt x="2439" y="15083"/>
                  </a:lnTo>
                  <a:lnTo>
                    <a:pt x="2414" y="15079"/>
                  </a:lnTo>
                  <a:lnTo>
                    <a:pt x="2389" y="15073"/>
                  </a:lnTo>
                  <a:lnTo>
                    <a:pt x="2365" y="15067"/>
                  </a:lnTo>
                  <a:lnTo>
                    <a:pt x="2342" y="15059"/>
                  </a:lnTo>
                  <a:lnTo>
                    <a:pt x="2319" y="15050"/>
                  </a:lnTo>
                  <a:lnTo>
                    <a:pt x="2297" y="15040"/>
                  </a:lnTo>
                  <a:lnTo>
                    <a:pt x="2276" y="15029"/>
                  </a:lnTo>
                  <a:lnTo>
                    <a:pt x="2255" y="15017"/>
                  </a:lnTo>
                  <a:lnTo>
                    <a:pt x="2233" y="15004"/>
                  </a:lnTo>
                  <a:lnTo>
                    <a:pt x="2214" y="14989"/>
                  </a:lnTo>
                  <a:lnTo>
                    <a:pt x="2195" y="14974"/>
                  </a:lnTo>
                  <a:lnTo>
                    <a:pt x="2177" y="14958"/>
                  </a:lnTo>
                  <a:lnTo>
                    <a:pt x="2159" y="14942"/>
                  </a:lnTo>
                  <a:lnTo>
                    <a:pt x="2143" y="14924"/>
                  </a:lnTo>
                  <a:lnTo>
                    <a:pt x="2127" y="14906"/>
                  </a:lnTo>
                  <a:lnTo>
                    <a:pt x="2112" y="14887"/>
                  </a:lnTo>
                  <a:lnTo>
                    <a:pt x="2098" y="14868"/>
                  </a:lnTo>
                  <a:lnTo>
                    <a:pt x="2085" y="14847"/>
                  </a:lnTo>
                  <a:lnTo>
                    <a:pt x="2073" y="14827"/>
                  </a:lnTo>
                  <a:lnTo>
                    <a:pt x="2061" y="14804"/>
                  </a:lnTo>
                  <a:lnTo>
                    <a:pt x="2051" y="14782"/>
                  </a:lnTo>
                  <a:lnTo>
                    <a:pt x="2042" y="14759"/>
                  </a:lnTo>
                  <a:lnTo>
                    <a:pt x="2035" y="14736"/>
                  </a:lnTo>
                  <a:lnTo>
                    <a:pt x="2028" y="14712"/>
                  </a:lnTo>
                  <a:lnTo>
                    <a:pt x="2022" y="14688"/>
                  </a:lnTo>
                  <a:lnTo>
                    <a:pt x="2018" y="14663"/>
                  </a:lnTo>
                  <a:lnTo>
                    <a:pt x="2015" y="14637"/>
                  </a:lnTo>
                  <a:lnTo>
                    <a:pt x="2013" y="14612"/>
                  </a:lnTo>
                  <a:lnTo>
                    <a:pt x="2012" y="14586"/>
                  </a:lnTo>
                  <a:lnTo>
                    <a:pt x="2012" y="7493"/>
                  </a:lnTo>
                  <a:lnTo>
                    <a:pt x="2074" y="7505"/>
                  </a:lnTo>
                  <a:lnTo>
                    <a:pt x="2135" y="7515"/>
                  </a:lnTo>
                  <a:lnTo>
                    <a:pt x="2197" y="7524"/>
                  </a:lnTo>
                  <a:lnTo>
                    <a:pt x="2260" y="7531"/>
                  </a:lnTo>
                  <a:lnTo>
                    <a:pt x="2323" y="7537"/>
                  </a:lnTo>
                  <a:lnTo>
                    <a:pt x="2386" y="7542"/>
                  </a:lnTo>
                  <a:lnTo>
                    <a:pt x="2451" y="7544"/>
                  </a:lnTo>
                  <a:lnTo>
                    <a:pt x="2515" y="7545"/>
                  </a:lnTo>
                  <a:lnTo>
                    <a:pt x="2580" y="7544"/>
                  </a:lnTo>
                  <a:lnTo>
                    <a:pt x="2644" y="7542"/>
                  </a:lnTo>
                  <a:lnTo>
                    <a:pt x="2707" y="7537"/>
                  </a:lnTo>
                  <a:lnTo>
                    <a:pt x="2771" y="7531"/>
                  </a:lnTo>
                  <a:lnTo>
                    <a:pt x="2833" y="7524"/>
                  </a:lnTo>
                  <a:lnTo>
                    <a:pt x="2895" y="7515"/>
                  </a:lnTo>
                  <a:lnTo>
                    <a:pt x="2957" y="7505"/>
                  </a:lnTo>
                  <a:lnTo>
                    <a:pt x="3018" y="7493"/>
                  </a:lnTo>
                  <a:lnTo>
                    <a:pt x="3018" y="14586"/>
                  </a:lnTo>
                  <a:close/>
                  <a:moveTo>
                    <a:pt x="2012" y="1509"/>
                  </a:moveTo>
                  <a:lnTo>
                    <a:pt x="2013" y="1483"/>
                  </a:lnTo>
                  <a:lnTo>
                    <a:pt x="2015" y="1458"/>
                  </a:lnTo>
                  <a:lnTo>
                    <a:pt x="2018" y="1432"/>
                  </a:lnTo>
                  <a:lnTo>
                    <a:pt x="2022" y="1407"/>
                  </a:lnTo>
                  <a:lnTo>
                    <a:pt x="2028" y="1383"/>
                  </a:lnTo>
                  <a:lnTo>
                    <a:pt x="2035" y="1359"/>
                  </a:lnTo>
                  <a:lnTo>
                    <a:pt x="2042" y="1336"/>
                  </a:lnTo>
                  <a:lnTo>
                    <a:pt x="2051" y="1313"/>
                  </a:lnTo>
                  <a:lnTo>
                    <a:pt x="2061" y="1291"/>
                  </a:lnTo>
                  <a:lnTo>
                    <a:pt x="2073" y="1269"/>
                  </a:lnTo>
                  <a:lnTo>
                    <a:pt x="2085" y="1248"/>
                  </a:lnTo>
                  <a:lnTo>
                    <a:pt x="2098" y="1227"/>
                  </a:lnTo>
                  <a:lnTo>
                    <a:pt x="2112" y="1208"/>
                  </a:lnTo>
                  <a:lnTo>
                    <a:pt x="2127" y="1189"/>
                  </a:lnTo>
                  <a:lnTo>
                    <a:pt x="2143" y="1171"/>
                  </a:lnTo>
                  <a:lnTo>
                    <a:pt x="2159" y="1153"/>
                  </a:lnTo>
                  <a:lnTo>
                    <a:pt x="2177" y="1137"/>
                  </a:lnTo>
                  <a:lnTo>
                    <a:pt x="2195" y="1121"/>
                  </a:lnTo>
                  <a:lnTo>
                    <a:pt x="2214" y="1106"/>
                  </a:lnTo>
                  <a:lnTo>
                    <a:pt x="2233" y="1091"/>
                  </a:lnTo>
                  <a:lnTo>
                    <a:pt x="2255" y="1078"/>
                  </a:lnTo>
                  <a:lnTo>
                    <a:pt x="2276" y="1066"/>
                  </a:lnTo>
                  <a:lnTo>
                    <a:pt x="2297" y="1055"/>
                  </a:lnTo>
                  <a:lnTo>
                    <a:pt x="2319" y="1045"/>
                  </a:lnTo>
                  <a:lnTo>
                    <a:pt x="2342" y="1036"/>
                  </a:lnTo>
                  <a:lnTo>
                    <a:pt x="2365" y="1029"/>
                  </a:lnTo>
                  <a:lnTo>
                    <a:pt x="2389" y="1022"/>
                  </a:lnTo>
                  <a:lnTo>
                    <a:pt x="2414" y="1016"/>
                  </a:lnTo>
                  <a:lnTo>
                    <a:pt x="2439" y="1012"/>
                  </a:lnTo>
                  <a:lnTo>
                    <a:pt x="2464" y="1009"/>
                  </a:lnTo>
                  <a:lnTo>
                    <a:pt x="2489" y="1007"/>
                  </a:lnTo>
                  <a:lnTo>
                    <a:pt x="2515" y="1006"/>
                  </a:lnTo>
                  <a:lnTo>
                    <a:pt x="2541" y="1007"/>
                  </a:lnTo>
                  <a:lnTo>
                    <a:pt x="2566" y="1009"/>
                  </a:lnTo>
                  <a:lnTo>
                    <a:pt x="2592" y="1012"/>
                  </a:lnTo>
                  <a:lnTo>
                    <a:pt x="2617" y="1016"/>
                  </a:lnTo>
                  <a:lnTo>
                    <a:pt x="2641" y="1022"/>
                  </a:lnTo>
                  <a:lnTo>
                    <a:pt x="2665" y="1029"/>
                  </a:lnTo>
                  <a:lnTo>
                    <a:pt x="2688" y="1036"/>
                  </a:lnTo>
                  <a:lnTo>
                    <a:pt x="2711" y="1045"/>
                  </a:lnTo>
                  <a:lnTo>
                    <a:pt x="2733" y="1055"/>
                  </a:lnTo>
                  <a:lnTo>
                    <a:pt x="2755" y="1066"/>
                  </a:lnTo>
                  <a:lnTo>
                    <a:pt x="2776" y="1078"/>
                  </a:lnTo>
                  <a:lnTo>
                    <a:pt x="2796" y="1091"/>
                  </a:lnTo>
                  <a:lnTo>
                    <a:pt x="2816" y="1106"/>
                  </a:lnTo>
                  <a:lnTo>
                    <a:pt x="2835" y="1121"/>
                  </a:lnTo>
                  <a:lnTo>
                    <a:pt x="2853" y="1137"/>
                  </a:lnTo>
                  <a:lnTo>
                    <a:pt x="2871" y="1153"/>
                  </a:lnTo>
                  <a:lnTo>
                    <a:pt x="2887" y="1171"/>
                  </a:lnTo>
                  <a:lnTo>
                    <a:pt x="2903" y="1189"/>
                  </a:lnTo>
                  <a:lnTo>
                    <a:pt x="2919" y="1208"/>
                  </a:lnTo>
                  <a:lnTo>
                    <a:pt x="2933" y="1227"/>
                  </a:lnTo>
                  <a:lnTo>
                    <a:pt x="2946" y="1248"/>
                  </a:lnTo>
                  <a:lnTo>
                    <a:pt x="2958" y="1269"/>
                  </a:lnTo>
                  <a:lnTo>
                    <a:pt x="2969" y="1291"/>
                  </a:lnTo>
                  <a:lnTo>
                    <a:pt x="2979" y="1313"/>
                  </a:lnTo>
                  <a:lnTo>
                    <a:pt x="2988" y="1336"/>
                  </a:lnTo>
                  <a:lnTo>
                    <a:pt x="2996" y="1359"/>
                  </a:lnTo>
                  <a:lnTo>
                    <a:pt x="3002" y="1383"/>
                  </a:lnTo>
                  <a:lnTo>
                    <a:pt x="3008" y="1407"/>
                  </a:lnTo>
                  <a:lnTo>
                    <a:pt x="3012" y="1432"/>
                  </a:lnTo>
                  <a:lnTo>
                    <a:pt x="3015" y="1458"/>
                  </a:lnTo>
                  <a:lnTo>
                    <a:pt x="3017" y="1483"/>
                  </a:lnTo>
                  <a:lnTo>
                    <a:pt x="3018" y="1509"/>
                  </a:lnTo>
                  <a:lnTo>
                    <a:pt x="3018" y="2565"/>
                  </a:lnTo>
                  <a:lnTo>
                    <a:pt x="2957" y="2554"/>
                  </a:lnTo>
                  <a:lnTo>
                    <a:pt x="2895" y="2543"/>
                  </a:lnTo>
                  <a:lnTo>
                    <a:pt x="2833" y="2535"/>
                  </a:lnTo>
                  <a:lnTo>
                    <a:pt x="2771" y="2528"/>
                  </a:lnTo>
                  <a:lnTo>
                    <a:pt x="2707" y="2522"/>
                  </a:lnTo>
                  <a:lnTo>
                    <a:pt x="2644" y="2518"/>
                  </a:lnTo>
                  <a:lnTo>
                    <a:pt x="2580" y="2516"/>
                  </a:lnTo>
                  <a:lnTo>
                    <a:pt x="2515" y="2515"/>
                  </a:lnTo>
                  <a:lnTo>
                    <a:pt x="2451" y="2516"/>
                  </a:lnTo>
                  <a:lnTo>
                    <a:pt x="2386" y="2518"/>
                  </a:lnTo>
                  <a:lnTo>
                    <a:pt x="2323" y="2522"/>
                  </a:lnTo>
                  <a:lnTo>
                    <a:pt x="2260" y="2528"/>
                  </a:lnTo>
                  <a:lnTo>
                    <a:pt x="2197" y="2535"/>
                  </a:lnTo>
                  <a:lnTo>
                    <a:pt x="2135" y="2543"/>
                  </a:lnTo>
                  <a:lnTo>
                    <a:pt x="2074" y="2554"/>
                  </a:lnTo>
                  <a:lnTo>
                    <a:pt x="2012" y="2565"/>
                  </a:lnTo>
                  <a:lnTo>
                    <a:pt x="2012" y="1509"/>
                  </a:lnTo>
                  <a:close/>
                  <a:moveTo>
                    <a:pt x="4024" y="3029"/>
                  </a:moveTo>
                  <a:lnTo>
                    <a:pt x="4024" y="1509"/>
                  </a:lnTo>
                  <a:lnTo>
                    <a:pt x="4022" y="1431"/>
                  </a:lnTo>
                  <a:lnTo>
                    <a:pt x="4016" y="1355"/>
                  </a:lnTo>
                  <a:lnTo>
                    <a:pt x="4007" y="1280"/>
                  </a:lnTo>
                  <a:lnTo>
                    <a:pt x="3994" y="1205"/>
                  </a:lnTo>
                  <a:lnTo>
                    <a:pt x="3977" y="1133"/>
                  </a:lnTo>
                  <a:lnTo>
                    <a:pt x="3956" y="1060"/>
                  </a:lnTo>
                  <a:lnTo>
                    <a:pt x="3933" y="991"/>
                  </a:lnTo>
                  <a:lnTo>
                    <a:pt x="3905" y="922"/>
                  </a:lnTo>
                  <a:lnTo>
                    <a:pt x="3875" y="855"/>
                  </a:lnTo>
                  <a:lnTo>
                    <a:pt x="3842" y="791"/>
                  </a:lnTo>
                  <a:lnTo>
                    <a:pt x="3806" y="727"/>
                  </a:lnTo>
                  <a:lnTo>
                    <a:pt x="3766" y="666"/>
                  </a:lnTo>
                  <a:lnTo>
                    <a:pt x="3724" y="607"/>
                  </a:lnTo>
                  <a:lnTo>
                    <a:pt x="3679" y="549"/>
                  </a:lnTo>
                  <a:lnTo>
                    <a:pt x="3632" y="495"/>
                  </a:lnTo>
                  <a:lnTo>
                    <a:pt x="3581" y="443"/>
                  </a:lnTo>
                  <a:lnTo>
                    <a:pt x="3529" y="392"/>
                  </a:lnTo>
                  <a:lnTo>
                    <a:pt x="3475" y="345"/>
                  </a:lnTo>
                  <a:lnTo>
                    <a:pt x="3417" y="300"/>
                  </a:lnTo>
                  <a:lnTo>
                    <a:pt x="3358" y="259"/>
                  </a:lnTo>
                  <a:lnTo>
                    <a:pt x="3297" y="219"/>
                  </a:lnTo>
                  <a:lnTo>
                    <a:pt x="3233" y="182"/>
                  </a:lnTo>
                  <a:lnTo>
                    <a:pt x="3169" y="149"/>
                  </a:lnTo>
                  <a:lnTo>
                    <a:pt x="3102" y="119"/>
                  </a:lnTo>
                  <a:lnTo>
                    <a:pt x="3033" y="92"/>
                  </a:lnTo>
                  <a:lnTo>
                    <a:pt x="2963" y="68"/>
                  </a:lnTo>
                  <a:lnTo>
                    <a:pt x="2891" y="47"/>
                  </a:lnTo>
                  <a:lnTo>
                    <a:pt x="2819" y="31"/>
                  </a:lnTo>
                  <a:lnTo>
                    <a:pt x="2745" y="17"/>
                  </a:lnTo>
                  <a:lnTo>
                    <a:pt x="2669" y="8"/>
                  </a:lnTo>
                  <a:lnTo>
                    <a:pt x="2593" y="2"/>
                  </a:lnTo>
                  <a:lnTo>
                    <a:pt x="2515" y="0"/>
                  </a:lnTo>
                  <a:lnTo>
                    <a:pt x="2438" y="2"/>
                  </a:lnTo>
                  <a:lnTo>
                    <a:pt x="2361" y="8"/>
                  </a:lnTo>
                  <a:lnTo>
                    <a:pt x="2286" y="17"/>
                  </a:lnTo>
                  <a:lnTo>
                    <a:pt x="2211" y="31"/>
                  </a:lnTo>
                  <a:lnTo>
                    <a:pt x="2138" y="47"/>
                  </a:lnTo>
                  <a:lnTo>
                    <a:pt x="2067" y="68"/>
                  </a:lnTo>
                  <a:lnTo>
                    <a:pt x="1997" y="92"/>
                  </a:lnTo>
                  <a:lnTo>
                    <a:pt x="1929" y="119"/>
                  </a:lnTo>
                  <a:lnTo>
                    <a:pt x="1861" y="149"/>
                  </a:lnTo>
                  <a:lnTo>
                    <a:pt x="1796" y="182"/>
                  </a:lnTo>
                  <a:lnTo>
                    <a:pt x="1734" y="219"/>
                  </a:lnTo>
                  <a:lnTo>
                    <a:pt x="1672" y="259"/>
                  </a:lnTo>
                  <a:lnTo>
                    <a:pt x="1613" y="300"/>
                  </a:lnTo>
                  <a:lnTo>
                    <a:pt x="1555" y="345"/>
                  </a:lnTo>
                  <a:lnTo>
                    <a:pt x="1501" y="392"/>
                  </a:lnTo>
                  <a:lnTo>
                    <a:pt x="1449" y="443"/>
                  </a:lnTo>
                  <a:lnTo>
                    <a:pt x="1399" y="495"/>
                  </a:lnTo>
                  <a:lnTo>
                    <a:pt x="1351" y="549"/>
                  </a:lnTo>
                  <a:lnTo>
                    <a:pt x="1306" y="607"/>
                  </a:lnTo>
                  <a:lnTo>
                    <a:pt x="1264" y="666"/>
                  </a:lnTo>
                  <a:lnTo>
                    <a:pt x="1225" y="727"/>
                  </a:lnTo>
                  <a:lnTo>
                    <a:pt x="1188" y="791"/>
                  </a:lnTo>
                  <a:lnTo>
                    <a:pt x="1155" y="855"/>
                  </a:lnTo>
                  <a:lnTo>
                    <a:pt x="1125" y="922"/>
                  </a:lnTo>
                  <a:lnTo>
                    <a:pt x="1098" y="991"/>
                  </a:lnTo>
                  <a:lnTo>
                    <a:pt x="1075" y="1060"/>
                  </a:lnTo>
                  <a:lnTo>
                    <a:pt x="1054" y="1133"/>
                  </a:lnTo>
                  <a:lnTo>
                    <a:pt x="1037" y="1205"/>
                  </a:lnTo>
                  <a:lnTo>
                    <a:pt x="1023" y="1280"/>
                  </a:lnTo>
                  <a:lnTo>
                    <a:pt x="1014" y="1355"/>
                  </a:lnTo>
                  <a:lnTo>
                    <a:pt x="1008" y="1431"/>
                  </a:lnTo>
                  <a:lnTo>
                    <a:pt x="1006" y="1509"/>
                  </a:lnTo>
                  <a:lnTo>
                    <a:pt x="1006" y="3029"/>
                  </a:lnTo>
                  <a:lnTo>
                    <a:pt x="950" y="3073"/>
                  </a:lnTo>
                  <a:lnTo>
                    <a:pt x="895" y="3118"/>
                  </a:lnTo>
                  <a:lnTo>
                    <a:pt x="841" y="3165"/>
                  </a:lnTo>
                  <a:lnTo>
                    <a:pt x="789" y="3213"/>
                  </a:lnTo>
                  <a:lnTo>
                    <a:pt x="738" y="3263"/>
                  </a:lnTo>
                  <a:lnTo>
                    <a:pt x="687" y="3314"/>
                  </a:lnTo>
                  <a:lnTo>
                    <a:pt x="639" y="3366"/>
                  </a:lnTo>
                  <a:lnTo>
                    <a:pt x="593" y="3420"/>
                  </a:lnTo>
                  <a:lnTo>
                    <a:pt x="548" y="3476"/>
                  </a:lnTo>
                  <a:lnTo>
                    <a:pt x="503" y="3532"/>
                  </a:lnTo>
                  <a:lnTo>
                    <a:pt x="461" y="3589"/>
                  </a:lnTo>
                  <a:lnTo>
                    <a:pt x="421" y="3648"/>
                  </a:lnTo>
                  <a:lnTo>
                    <a:pt x="382" y="3708"/>
                  </a:lnTo>
                  <a:lnTo>
                    <a:pt x="344" y="3768"/>
                  </a:lnTo>
                  <a:lnTo>
                    <a:pt x="309" y="3831"/>
                  </a:lnTo>
                  <a:lnTo>
                    <a:pt x="276" y="3894"/>
                  </a:lnTo>
                  <a:lnTo>
                    <a:pt x="244" y="3958"/>
                  </a:lnTo>
                  <a:lnTo>
                    <a:pt x="214" y="4024"/>
                  </a:lnTo>
                  <a:lnTo>
                    <a:pt x="184" y="4090"/>
                  </a:lnTo>
                  <a:lnTo>
                    <a:pt x="158" y="4158"/>
                  </a:lnTo>
                  <a:lnTo>
                    <a:pt x="134" y="4226"/>
                  </a:lnTo>
                  <a:lnTo>
                    <a:pt x="111" y="4294"/>
                  </a:lnTo>
                  <a:lnTo>
                    <a:pt x="91" y="4365"/>
                  </a:lnTo>
                  <a:lnTo>
                    <a:pt x="72" y="4435"/>
                  </a:lnTo>
                  <a:lnTo>
                    <a:pt x="56" y="4508"/>
                  </a:lnTo>
                  <a:lnTo>
                    <a:pt x="42" y="4580"/>
                  </a:lnTo>
                  <a:lnTo>
                    <a:pt x="28" y="4653"/>
                  </a:lnTo>
                  <a:lnTo>
                    <a:pt x="18" y="4727"/>
                  </a:lnTo>
                  <a:lnTo>
                    <a:pt x="10" y="4801"/>
                  </a:lnTo>
                  <a:lnTo>
                    <a:pt x="5" y="4877"/>
                  </a:lnTo>
                  <a:lnTo>
                    <a:pt x="1" y="4953"/>
                  </a:lnTo>
                  <a:lnTo>
                    <a:pt x="0" y="5030"/>
                  </a:lnTo>
                  <a:lnTo>
                    <a:pt x="1" y="5106"/>
                  </a:lnTo>
                  <a:lnTo>
                    <a:pt x="5" y="5183"/>
                  </a:lnTo>
                  <a:lnTo>
                    <a:pt x="10" y="5258"/>
                  </a:lnTo>
                  <a:lnTo>
                    <a:pt x="18" y="5332"/>
                  </a:lnTo>
                  <a:lnTo>
                    <a:pt x="28" y="5407"/>
                  </a:lnTo>
                  <a:lnTo>
                    <a:pt x="42" y="5479"/>
                  </a:lnTo>
                  <a:lnTo>
                    <a:pt x="56" y="5552"/>
                  </a:lnTo>
                  <a:lnTo>
                    <a:pt x="72" y="5624"/>
                  </a:lnTo>
                  <a:lnTo>
                    <a:pt x="91" y="5695"/>
                  </a:lnTo>
                  <a:lnTo>
                    <a:pt x="111" y="5765"/>
                  </a:lnTo>
                  <a:lnTo>
                    <a:pt x="134" y="5834"/>
                  </a:lnTo>
                  <a:lnTo>
                    <a:pt x="158" y="5902"/>
                  </a:lnTo>
                  <a:lnTo>
                    <a:pt x="184" y="5969"/>
                  </a:lnTo>
                  <a:lnTo>
                    <a:pt x="214" y="6036"/>
                  </a:lnTo>
                  <a:lnTo>
                    <a:pt x="244" y="6101"/>
                  </a:lnTo>
                  <a:lnTo>
                    <a:pt x="276" y="6165"/>
                  </a:lnTo>
                  <a:lnTo>
                    <a:pt x="309" y="6229"/>
                  </a:lnTo>
                  <a:lnTo>
                    <a:pt x="344" y="6291"/>
                  </a:lnTo>
                  <a:lnTo>
                    <a:pt x="382" y="6351"/>
                  </a:lnTo>
                  <a:lnTo>
                    <a:pt x="421" y="6412"/>
                  </a:lnTo>
                  <a:lnTo>
                    <a:pt x="461" y="6470"/>
                  </a:lnTo>
                  <a:lnTo>
                    <a:pt x="503" y="6529"/>
                  </a:lnTo>
                  <a:lnTo>
                    <a:pt x="548" y="6584"/>
                  </a:lnTo>
                  <a:lnTo>
                    <a:pt x="593" y="6639"/>
                  </a:lnTo>
                  <a:lnTo>
                    <a:pt x="639" y="6694"/>
                  </a:lnTo>
                  <a:lnTo>
                    <a:pt x="687" y="6746"/>
                  </a:lnTo>
                  <a:lnTo>
                    <a:pt x="738" y="6796"/>
                  </a:lnTo>
                  <a:lnTo>
                    <a:pt x="789" y="6846"/>
                  </a:lnTo>
                  <a:lnTo>
                    <a:pt x="841" y="6895"/>
                  </a:lnTo>
                  <a:lnTo>
                    <a:pt x="895" y="6941"/>
                  </a:lnTo>
                  <a:lnTo>
                    <a:pt x="950" y="6986"/>
                  </a:lnTo>
                  <a:lnTo>
                    <a:pt x="1006" y="7030"/>
                  </a:lnTo>
                  <a:lnTo>
                    <a:pt x="1006" y="14586"/>
                  </a:lnTo>
                  <a:lnTo>
                    <a:pt x="1008" y="14664"/>
                  </a:lnTo>
                  <a:lnTo>
                    <a:pt x="1014" y="14740"/>
                  </a:lnTo>
                  <a:lnTo>
                    <a:pt x="1023" y="14815"/>
                  </a:lnTo>
                  <a:lnTo>
                    <a:pt x="1037" y="14890"/>
                  </a:lnTo>
                  <a:lnTo>
                    <a:pt x="1054" y="14962"/>
                  </a:lnTo>
                  <a:lnTo>
                    <a:pt x="1075" y="15035"/>
                  </a:lnTo>
                  <a:lnTo>
                    <a:pt x="1098" y="15104"/>
                  </a:lnTo>
                  <a:lnTo>
                    <a:pt x="1125" y="15173"/>
                  </a:lnTo>
                  <a:lnTo>
                    <a:pt x="1155" y="15240"/>
                  </a:lnTo>
                  <a:lnTo>
                    <a:pt x="1188" y="15304"/>
                  </a:lnTo>
                  <a:lnTo>
                    <a:pt x="1225" y="15368"/>
                  </a:lnTo>
                  <a:lnTo>
                    <a:pt x="1264" y="15429"/>
                  </a:lnTo>
                  <a:lnTo>
                    <a:pt x="1306" y="15488"/>
                  </a:lnTo>
                  <a:lnTo>
                    <a:pt x="1351" y="15546"/>
                  </a:lnTo>
                  <a:lnTo>
                    <a:pt x="1399" y="15600"/>
                  </a:lnTo>
                  <a:lnTo>
                    <a:pt x="1449" y="15652"/>
                  </a:lnTo>
                  <a:lnTo>
                    <a:pt x="1501" y="15703"/>
                  </a:lnTo>
                  <a:lnTo>
                    <a:pt x="1555" y="15750"/>
                  </a:lnTo>
                  <a:lnTo>
                    <a:pt x="1613" y="15795"/>
                  </a:lnTo>
                  <a:lnTo>
                    <a:pt x="1672" y="15836"/>
                  </a:lnTo>
                  <a:lnTo>
                    <a:pt x="1734" y="15877"/>
                  </a:lnTo>
                  <a:lnTo>
                    <a:pt x="1796" y="15913"/>
                  </a:lnTo>
                  <a:lnTo>
                    <a:pt x="1861" y="15946"/>
                  </a:lnTo>
                  <a:lnTo>
                    <a:pt x="1929" y="15976"/>
                  </a:lnTo>
                  <a:lnTo>
                    <a:pt x="1997" y="16003"/>
                  </a:lnTo>
                  <a:lnTo>
                    <a:pt x="2067" y="16027"/>
                  </a:lnTo>
                  <a:lnTo>
                    <a:pt x="2138" y="16048"/>
                  </a:lnTo>
                  <a:lnTo>
                    <a:pt x="2211" y="16064"/>
                  </a:lnTo>
                  <a:lnTo>
                    <a:pt x="2286" y="16078"/>
                  </a:lnTo>
                  <a:lnTo>
                    <a:pt x="2361" y="16087"/>
                  </a:lnTo>
                  <a:lnTo>
                    <a:pt x="2438" y="16093"/>
                  </a:lnTo>
                  <a:lnTo>
                    <a:pt x="2515" y="16095"/>
                  </a:lnTo>
                  <a:lnTo>
                    <a:pt x="2593" y="16093"/>
                  </a:lnTo>
                  <a:lnTo>
                    <a:pt x="2669" y="16087"/>
                  </a:lnTo>
                  <a:lnTo>
                    <a:pt x="2745" y="16078"/>
                  </a:lnTo>
                  <a:lnTo>
                    <a:pt x="2819" y="16064"/>
                  </a:lnTo>
                  <a:lnTo>
                    <a:pt x="2891" y="16048"/>
                  </a:lnTo>
                  <a:lnTo>
                    <a:pt x="2963" y="16027"/>
                  </a:lnTo>
                  <a:lnTo>
                    <a:pt x="3033" y="16003"/>
                  </a:lnTo>
                  <a:lnTo>
                    <a:pt x="3102" y="15976"/>
                  </a:lnTo>
                  <a:lnTo>
                    <a:pt x="3169" y="15946"/>
                  </a:lnTo>
                  <a:lnTo>
                    <a:pt x="3233" y="15913"/>
                  </a:lnTo>
                  <a:lnTo>
                    <a:pt x="3297" y="15877"/>
                  </a:lnTo>
                  <a:lnTo>
                    <a:pt x="3358" y="15836"/>
                  </a:lnTo>
                  <a:lnTo>
                    <a:pt x="3417" y="15795"/>
                  </a:lnTo>
                  <a:lnTo>
                    <a:pt x="3475" y="15750"/>
                  </a:lnTo>
                  <a:lnTo>
                    <a:pt x="3529" y="15703"/>
                  </a:lnTo>
                  <a:lnTo>
                    <a:pt x="3581" y="15652"/>
                  </a:lnTo>
                  <a:lnTo>
                    <a:pt x="3632" y="15600"/>
                  </a:lnTo>
                  <a:lnTo>
                    <a:pt x="3679" y="15546"/>
                  </a:lnTo>
                  <a:lnTo>
                    <a:pt x="3724" y="15488"/>
                  </a:lnTo>
                  <a:lnTo>
                    <a:pt x="3766" y="15429"/>
                  </a:lnTo>
                  <a:lnTo>
                    <a:pt x="3806" y="15368"/>
                  </a:lnTo>
                  <a:lnTo>
                    <a:pt x="3842" y="15304"/>
                  </a:lnTo>
                  <a:lnTo>
                    <a:pt x="3875" y="15240"/>
                  </a:lnTo>
                  <a:lnTo>
                    <a:pt x="3905" y="15173"/>
                  </a:lnTo>
                  <a:lnTo>
                    <a:pt x="3933" y="15104"/>
                  </a:lnTo>
                  <a:lnTo>
                    <a:pt x="3956" y="15035"/>
                  </a:lnTo>
                  <a:lnTo>
                    <a:pt x="3977" y="14962"/>
                  </a:lnTo>
                  <a:lnTo>
                    <a:pt x="3994" y="14890"/>
                  </a:lnTo>
                  <a:lnTo>
                    <a:pt x="4007" y="14815"/>
                  </a:lnTo>
                  <a:lnTo>
                    <a:pt x="4016" y="14740"/>
                  </a:lnTo>
                  <a:lnTo>
                    <a:pt x="4022" y="14664"/>
                  </a:lnTo>
                  <a:lnTo>
                    <a:pt x="4024" y="14586"/>
                  </a:lnTo>
                  <a:lnTo>
                    <a:pt x="4024" y="7030"/>
                  </a:lnTo>
                  <a:lnTo>
                    <a:pt x="4080" y="6986"/>
                  </a:lnTo>
                  <a:lnTo>
                    <a:pt x="4136" y="6941"/>
                  </a:lnTo>
                  <a:lnTo>
                    <a:pt x="4189" y="6895"/>
                  </a:lnTo>
                  <a:lnTo>
                    <a:pt x="4241" y="6846"/>
                  </a:lnTo>
                  <a:lnTo>
                    <a:pt x="4293" y="6796"/>
                  </a:lnTo>
                  <a:lnTo>
                    <a:pt x="4343" y="6746"/>
                  </a:lnTo>
                  <a:lnTo>
                    <a:pt x="4391" y="6694"/>
                  </a:lnTo>
                  <a:lnTo>
                    <a:pt x="4438" y="6639"/>
                  </a:lnTo>
                  <a:lnTo>
                    <a:pt x="4483" y="6584"/>
                  </a:lnTo>
                  <a:lnTo>
                    <a:pt x="4527" y="6529"/>
                  </a:lnTo>
                  <a:lnTo>
                    <a:pt x="4569" y="6470"/>
                  </a:lnTo>
                  <a:lnTo>
                    <a:pt x="4610" y="6412"/>
                  </a:lnTo>
                  <a:lnTo>
                    <a:pt x="4649" y="6351"/>
                  </a:lnTo>
                  <a:lnTo>
                    <a:pt x="4686" y="6291"/>
                  </a:lnTo>
                  <a:lnTo>
                    <a:pt x="4721" y="6229"/>
                  </a:lnTo>
                  <a:lnTo>
                    <a:pt x="4754" y="6165"/>
                  </a:lnTo>
                  <a:lnTo>
                    <a:pt x="4787" y="6101"/>
                  </a:lnTo>
                  <a:lnTo>
                    <a:pt x="4817" y="6036"/>
                  </a:lnTo>
                  <a:lnTo>
                    <a:pt x="4846" y="5969"/>
                  </a:lnTo>
                  <a:lnTo>
                    <a:pt x="4872" y="5902"/>
                  </a:lnTo>
                  <a:lnTo>
                    <a:pt x="4896" y="5834"/>
                  </a:lnTo>
                  <a:lnTo>
                    <a:pt x="4919" y="5765"/>
                  </a:lnTo>
                  <a:lnTo>
                    <a:pt x="4939" y="5695"/>
                  </a:lnTo>
                  <a:lnTo>
                    <a:pt x="4959" y="5624"/>
                  </a:lnTo>
                  <a:lnTo>
                    <a:pt x="4975" y="5552"/>
                  </a:lnTo>
                  <a:lnTo>
                    <a:pt x="4989" y="5479"/>
                  </a:lnTo>
                  <a:lnTo>
                    <a:pt x="5002" y="5407"/>
                  </a:lnTo>
                  <a:lnTo>
                    <a:pt x="5012" y="5332"/>
                  </a:lnTo>
                  <a:lnTo>
                    <a:pt x="5020" y="5258"/>
                  </a:lnTo>
                  <a:lnTo>
                    <a:pt x="5025" y="5183"/>
                  </a:lnTo>
                  <a:lnTo>
                    <a:pt x="5029" y="5106"/>
                  </a:lnTo>
                  <a:lnTo>
                    <a:pt x="5030" y="5030"/>
                  </a:lnTo>
                  <a:lnTo>
                    <a:pt x="5029" y="4953"/>
                  </a:lnTo>
                  <a:lnTo>
                    <a:pt x="5025" y="4877"/>
                  </a:lnTo>
                  <a:lnTo>
                    <a:pt x="5020" y="4801"/>
                  </a:lnTo>
                  <a:lnTo>
                    <a:pt x="5012" y="4727"/>
                  </a:lnTo>
                  <a:lnTo>
                    <a:pt x="5002" y="4653"/>
                  </a:lnTo>
                  <a:lnTo>
                    <a:pt x="4989" y="4580"/>
                  </a:lnTo>
                  <a:lnTo>
                    <a:pt x="4975" y="4508"/>
                  </a:lnTo>
                  <a:lnTo>
                    <a:pt x="4959" y="4435"/>
                  </a:lnTo>
                  <a:lnTo>
                    <a:pt x="4939" y="4365"/>
                  </a:lnTo>
                  <a:lnTo>
                    <a:pt x="4919" y="4294"/>
                  </a:lnTo>
                  <a:lnTo>
                    <a:pt x="4896" y="4226"/>
                  </a:lnTo>
                  <a:lnTo>
                    <a:pt x="4872" y="4158"/>
                  </a:lnTo>
                  <a:lnTo>
                    <a:pt x="4846" y="4090"/>
                  </a:lnTo>
                  <a:lnTo>
                    <a:pt x="4817" y="4024"/>
                  </a:lnTo>
                  <a:lnTo>
                    <a:pt x="4787" y="3958"/>
                  </a:lnTo>
                  <a:lnTo>
                    <a:pt x="4754" y="3894"/>
                  </a:lnTo>
                  <a:lnTo>
                    <a:pt x="4721" y="3831"/>
                  </a:lnTo>
                  <a:lnTo>
                    <a:pt x="4686" y="3768"/>
                  </a:lnTo>
                  <a:lnTo>
                    <a:pt x="4649" y="3708"/>
                  </a:lnTo>
                  <a:lnTo>
                    <a:pt x="4610" y="3648"/>
                  </a:lnTo>
                  <a:lnTo>
                    <a:pt x="4569" y="3589"/>
                  </a:lnTo>
                  <a:lnTo>
                    <a:pt x="4527" y="3532"/>
                  </a:lnTo>
                  <a:lnTo>
                    <a:pt x="4483" y="3476"/>
                  </a:lnTo>
                  <a:lnTo>
                    <a:pt x="4438" y="3420"/>
                  </a:lnTo>
                  <a:lnTo>
                    <a:pt x="4391" y="3366"/>
                  </a:lnTo>
                  <a:lnTo>
                    <a:pt x="4343" y="3314"/>
                  </a:lnTo>
                  <a:lnTo>
                    <a:pt x="4293" y="3263"/>
                  </a:lnTo>
                  <a:lnTo>
                    <a:pt x="4241" y="3213"/>
                  </a:lnTo>
                  <a:lnTo>
                    <a:pt x="4189" y="3165"/>
                  </a:lnTo>
                  <a:lnTo>
                    <a:pt x="4136" y="3118"/>
                  </a:lnTo>
                  <a:lnTo>
                    <a:pt x="4080" y="3073"/>
                  </a:lnTo>
                  <a:lnTo>
                    <a:pt x="4024" y="30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20" name="ï$ḻîḓê">
              <a:extLst>
                <a:ext uri="{FF2B5EF4-FFF2-40B4-BE49-F238E27FC236}">
                  <a16:creationId xmlns:a16="http://schemas.microsoft.com/office/drawing/2014/main" id="{AB70639D-D23F-45D6-A25A-FC1CF9748FF1}"/>
                </a:ext>
              </a:extLst>
            </p:cNvPr>
            <p:cNvSpPr/>
            <p:nvPr/>
          </p:nvSpPr>
          <p:spPr bwMode="auto">
            <a:xfrm>
              <a:off x="3381352" y="1493427"/>
              <a:ext cx="126322" cy="407036"/>
            </a:xfrm>
            <a:custGeom>
              <a:avLst/>
              <a:gdLst>
                <a:gd name="T0" fmla="*/ 3784 w 5029"/>
                <a:gd name="T1" fmla="*/ 11873 h 16095"/>
                <a:gd name="T2" fmla="*/ 3571 w 5029"/>
                <a:gd name="T3" fmla="*/ 12135 h 16095"/>
                <a:gd name="T4" fmla="*/ 3349 w 5029"/>
                <a:gd name="T5" fmla="*/ 12315 h 16095"/>
                <a:gd name="T6" fmla="*/ 3045 w 5029"/>
                <a:gd name="T7" fmla="*/ 12472 h 16095"/>
                <a:gd name="T8" fmla="*/ 2677 w 5029"/>
                <a:gd name="T9" fmla="*/ 12564 h 16095"/>
                <a:gd name="T10" fmla="*/ 2287 w 5029"/>
                <a:gd name="T11" fmla="*/ 12555 h 16095"/>
                <a:gd name="T12" fmla="*/ 1931 w 5029"/>
                <a:gd name="T13" fmla="*/ 12450 h 16095"/>
                <a:gd name="T14" fmla="*/ 1632 w 5029"/>
                <a:gd name="T15" fmla="*/ 12281 h 16095"/>
                <a:gd name="T16" fmla="*/ 1400 w 5029"/>
                <a:gd name="T17" fmla="*/ 12074 h 16095"/>
                <a:gd name="T18" fmla="*/ 1157 w 5029"/>
                <a:gd name="T19" fmla="*/ 11713 h 16095"/>
                <a:gd name="T20" fmla="*/ 1020 w 5029"/>
                <a:gd name="T21" fmla="*/ 11254 h 16095"/>
                <a:gd name="T22" fmla="*/ 1013 w 5029"/>
                <a:gd name="T23" fmla="*/ 10929 h 16095"/>
                <a:gd name="T24" fmla="*/ 1116 w 5029"/>
                <a:gd name="T25" fmla="*/ 10514 h 16095"/>
                <a:gd name="T26" fmla="*/ 1328 w 5029"/>
                <a:gd name="T27" fmla="*/ 10140 h 16095"/>
                <a:gd name="T28" fmla="*/ 1607 w 5029"/>
                <a:gd name="T29" fmla="*/ 9867 h 16095"/>
                <a:gd name="T30" fmla="*/ 1931 w 5029"/>
                <a:gd name="T31" fmla="*/ 9680 h 16095"/>
                <a:gd name="T32" fmla="*/ 2287 w 5029"/>
                <a:gd name="T33" fmla="*/ 9576 h 16095"/>
                <a:gd name="T34" fmla="*/ 2677 w 5029"/>
                <a:gd name="T35" fmla="*/ 9566 h 16095"/>
                <a:gd name="T36" fmla="*/ 3045 w 5029"/>
                <a:gd name="T37" fmla="*/ 9659 h 16095"/>
                <a:gd name="T38" fmla="*/ 3373 w 5029"/>
                <a:gd name="T39" fmla="*/ 9832 h 16095"/>
                <a:gd name="T40" fmla="*/ 3629 w 5029"/>
                <a:gd name="T41" fmla="*/ 10055 h 16095"/>
                <a:gd name="T42" fmla="*/ 3872 w 5029"/>
                <a:gd name="T43" fmla="*/ 10417 h 16095"/>
                <a:gd name="T44" fmla="*/ 4008 w 5029"/>
                <a:gd name="T45" fmla="*/ 10875 h 16095"/>
                <a:gd name="T46" fmla="*/ 4015 w 5029"/>
                <a:gd name="T47" fmla="*/ 11201 h 16095"/>
                <a:gd name="T48" fmla="*/ 3007 w 5029"/>
                <a:gd name="T49" fmla="*/ 14688 h 16095"/>
                <a:gd name="T50" fmla="*/ 2870 w 5029"/>
                <a:gd name="T51" fmla="*/ 14942 h 16095"/>
                <a:gd name="T52" fmla="*/ 2616 w 5029"/>
                <a:gd name="T53" fmla="*/ 15079 h 16095"/>
                <a:gd name="T54" fmla="*/ 2318 w 5029"/>
                <a:gd name="T55" fmla="*/ 15050 h 16095"/>
                <a:gd name="T56" fmla="*/ 2097 w 5029"/>
                <a:gd name="T57" fmla="*/ 14868 h 16095"/>
                <a:gd name="T58" fmla="*/ 2012 w 5029"/>
                <a:gd name="T59" fmla="*/ 14586 h 16095"/>
                <a:gd name="T60" fmla="*/ 2707 w 5029"/>
                <a:gd name="T61" fmla="*/ 13573 h 16095"/>
                <a:gd name="T62" fmla="*/ 2028 w 5029"/>
                <a:gd name="T63" fmla="*/ 1383 h 16095"/>
                <a:gd name="T64" fmla="*/ 2177 w 5029"/>
                <a:gd name="T65" fmla="*/ 1137 h 16095"/>
                <a:gd name="T66" fmla="*/ 2438 w 5029"/>
                <a:gd name="T67" fmla="*/ 1012 h 16095"/>
                <a:gd name="T68" fmla="*/ 2733 w 5029"/>
                <a:gd name="T69" fmla="*/ 1055 h 16095"/>
                <a:gd name="T70" fmla="*/ 2945 w 5029"/>
                <a:gd name="T71" fmla="*/ 1248 h 16095"/>
                <a:gd name="T72" fmla="*/ 3017 w 5029"/>
                <a:gd name="T73" fmla="*/ 8601 h 16095"/>
                <a:gd name="T74" fmla="*/ 2259 w 5029"/>
                <a:gd name="T75" fmla="*/ 8564 h 16095"/>
                <a:gd name="T76" fmla="*/ 3976 w 5029"/>
                <a:gd name="T77" fmla="*/ 1133 h 16095"/>
                <a:gd name="T78" fmla="*/ 3528 w 5029"/>
                <a:gd name="T79" fmla="*/ 392 h 16095"/>
                <a:gd name="T80" fmla="*/ 2744 w 5029"/>
                <a:gd name="T81" fmla="*/ 17 h 16095"/>
                <a:gd name="T82" fmla="*/ 1861 w 5029"/>
                <a:gd name="T83" fmla="*/ 149 h 16095"/>
                <a:gd name="T84" fmla="*/ 1224 w 5029"/>
                <a:gd name="T85" fmla="*/ 727 h 16095"/>
                <a:gd name="T86" fmla="*/ 1006 w 5029"/>
                <a:gd name="T87" fmla="*/ 9065 h 16095"/>
                <a:gd name="T88" fmla="*/ 420 w 5029"/>
                <a:gd name="T89" fmla="*/ 9683 h 16095"/>
                <a:gd name="T90" fmla="*/ 71 w 5029"/>
                <a:gd name="T91" fmla="*/ 10471 h 16095"/>
                <a:gd name="T92" fmla="*/ 18 w 5029"/>
                <a:gd name="T93" fmla="*/ 11368 h 16095"/>
                <a:gd name="T94" fmla="*/ 275 w 5029"/>
                <a:gd name="T95" fmla="*/ 12201 h 16095"/>
                <a:gd name="T96" fmla="*/ 788 w 5029"/>
                <a:gd name="T97" fmla="*/ 12882 h 16095"/>
                <a:gd name="T98" fmla="*/ 1097 w 5029"/>
                <a:gd name="T99" fmla="*/ 15104 h 16095"/>
                <a:gd name="T100" fmla="*/ 1612 w 5029"/>
                <a:gd name="T101" fmla="*/ 15795 h 16095"/>
                <a:gd name="T102" fmla="*/ 2437 w 5029"/>
                <a:gd name="T103" fmla="*/ 16093 h 16095"/>
                <a:gd name="T104" fmla="*/ 3296 w 5029"/>
                <a:gd name="T105" fmla="*/ 15877 h 16095"/>
                <a:gd name="T106" fmla="*/ 3875 w 5029"/>
                <a:gd name="T107" fmla="*/ 15240 h 16095"/>
                <a:gd name="T108" fmla="*/ 4135 w 5029"/>
                <a:gd name="T109" fmla="*/ 12977 h 16095"/>
                <a:gd name="T110" fmla="*/ 4685 w 5029"/>
                <a:gd name="T111" fmla="*/ 12327 h 16095"/>
                <a:gd name="T112" fmla="*/ 4989 w 5029"/>
                <a:gd name="T113" fmla="*/ 11515 h 16095"/>
                <a:gd name="T114" fmla="*/ 4989 w 5029"/>
                <a:gd name="T115" fmla="*/ 10616 h 16095"/>
                <a:gd name="T116" fmla="*/ 4685 w 5029"/>
                <a:gd name="T117" fmla="*/ 9804 h 16095"/>
                <a:gd name="T118" fmla="*/ 4135 w 5029"/>
                <a:gd name="T119" fmla="*/ 9154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29" h="16095">
                  <a:moveTo>
                    <a:pt x="3956" y="11488"/>
                  </a:moveTo>
                  <a:lnTo>
                    <a:pt x="3950" y="11508"/>
                  </a:lnTo>
                  <a:lnTo>
                    <a:pt x="3944" y="11528"/>
                  </a:lnTo>
                  <a:lnTo>
                    <a:pt x="3938" y="11547"/>
                  </a:lnTo>
                  <a:lnTo>
                    <a:pt x="3931" y="11567"/>
                  </a:lnTo>
                  <a:lnTo>
                    <a:pt x="3913" y="11617"/>
                  </a:lnTo>
                  <a:lnTo>
                    <a:pt x="3893" y="11666"/>
                  </a:lnTo>
                  <a:lnTo>
                    <a:pt x="3872" y="11713"/>
                  </a:lnTo>
                  <a:lnTo>
                    <a:pt x="3848" y="11760"/>
                  </a:lnTo>
                  <a:lnTo>
                    <a:pt x="3824" y="11807"/>
                  </a:lnTo>
                  <a:lnTo>
                    <a:pt x="3798" y="11851"/>
                  </a:lnTo>
                  <a:lnTo>
                    <a:pt x="3784" y="11873"/>
                  </a:lnTo>
                  <a:lnTo>
                    <a:pt x="3770" y="11895"/>
                  </a:lnTo>
                  <a:lnTo>
                    <a:pt x="3756" y="11916"/>
                  </a:lnTo>
                  <a:lnTo>
                    <a:pt x="3741" y="11938"/>
                  </a:lnTo>
                  <a:lnTo>
                    <a:pt x="3738" y="11941"/>
                  </a:lnTo>
                  <a:lnTo>
                    <a:pt x="3735" y="11946"/>
                  </a:lnTo>
                  <a:lnTo>
                    <a:pt x="3701" y="11990"/>
                  </a:lnTo>
                  <a:lnTo>
                    <a:pt x="3665" y="12033"/>
                  </a:lnTo>
                  <a:lnTo>
                    <a:pt x="3647" y="12054"/>
                  </a:lnTo>
                  <a:lnTo>
                    <a:pt x="3629" y="12074"/>
                  </a:lnTo>
                  <a:lnTo>
                    <a:pt x="3610" y="12094"/>
                  </a:lnTo>
                  <a:lnTo>
                    <a:pt x="3591" y="12115"/>
                  </a:lnTo>
                  <a:lnTo>
                    <a:pt x="3571" y="12135"/>
                  </a:lnTo>
                  <a:lnTo>
                    <a:pt x="3552" y="12154"/>
                  </a:lnTo>
                  <a:lnTo>
                    <a:pt x="3530" y="12172"/>
                  </a:lnTo>
                  <a:lnTo>
                    <a:pt x="3510" y="12191"/>
                  </a:lnTo>
                  <a:lnTo>
                    <a:pt x="3489" y="12209"/>
                  </a:lnTo>
                  <a:lnTo>
                    <a:pt x="3468" y="12226"/>
                  </a:lnTo>
                  <a:lnTo>
                    <a:pt x="3446" y="12244"/>
                  </a:lnTo>
                  <a:lnTo>
                    <a:pt x="3424" y="12261"/>
                  </a:lnTo>
                  <a:lnTo>
                    <a:pt x="3422" y="12263"/>
                  </a:lnTo>
                  <a:lnTo>
                    <a:pt x="3419" y="12265"/>
                  </a:lnTo>
                  <a:lnTo>
                    <a:pt x="3397" y="12281"/>
                  </a:lnTo>
                  <a:lnTo>
                    <a:pt x="3373" y="12299"/>
                  </a:lnTo>
                  <a:lnTo>
                    <a:pt x="3349" y="12315"/>
                  </a:lnTo>
                  <a:lnTo>
                    <a:pt x="3325" y="12330"/>
                  </a:lnTo>
                  <a:lnTo>
                    <a:pt x="3301" y="12345"/>
                  </a:lnTo>
                  <a:lnTo>
                    <a:pt x="3277" y="12360"/>
                  </a:lnTo>
                  <a:lnTo>
                    <a:pt x="3252" y="12374"/>
                  </a:lnTo>
                  <a:lnTo>
                    <a:pt x="3228" y="12388"/>
                  </a:lnTo>
                  <a:lnTo>
                    <a:pt x="3202" y="12401"/>
                  </a:lnTo>
                  <a:lnTo>
                    <a:pt x="3176" y="12414"/>
                  </a:lnTo>
                  <a:lnTo>
                    <a:pt x="3150" y="12426"/>
                  </a:lnTo>
                  <a:lnTo>
                    <a:pt x="3124" y="12438"/>
                  </a:lnTo>
                  <a:lnTo>
                    <a:pt x="3098" y="12450"/>
                  </a:lnTo>
                  <a:lnTo>
                    <a:pt x="3072" y="12461"/>
                  </a:lnTo>
                  <a:lnTo>
                    <a:pt x="3045" y="12472"/>
                  </a:lnTo>
                  <a:lnTo>
                    <a:pt x="3017" y="12482"/>
                  </a:lnTo>
                  <a:lnTo>
                    <a:pt x="2987" y="12492"/>
                  </a:lnTo>
                  <a:lnTo>
                    <a:pt x="2958" y="12502"/>
                  </a:lnTo>
                  <a:lnTo>
                    <a:pt x="2927" y="12511"/>
                  </a:lnTo>
                  <a:lnTo>
                    <a:pt x="2897" y="12520"/>
                  </a:lnTo>
                  <a:lnTo>
                    <a:pt x="2867" y="12528"/>
                  </a:lnTo>
                  <a:lnTo>
                    <a:pt x="2835" y="12536"/>
                  </a:lnTo>
                  <a:lnTo>
                    <a:pt x="2804" y="12543"/>
                  </a:lnTo>
                  <a:lnTo>
                    <a:pt x="2773" y="12549"/>
                  </a:lnTo>
                  <a:lnTo>
                    <a:pt x="2742" y="12555"/>
                  </a:lnTo>
                  <a:lnTo>
                    <a:pt x="2710" y="12560"/>
                  </a:lnTo>
                  <a:lnTo>
                    <a:pt x="2677" y="12564"/>
                  </a:lnTo>
                  <a:lnTo>
                    <a:pt x="2645" y="12568"/>
                  </a:lnTo>
                  <a:lnTo>
                    <a:pt x="2613" y="12570"/>
                  </a:lnTo>
                  <a:lnTo>
                    <a:pt x="2581" y="12572"/>
                  </a:lnTo>
                  <a:lnTo>
                    <a:pt x="2548" y="12574"/>
                  </a:lnTo>
                  <a:lnTo>
                    <a:pt x="2515" y="12574"/>
                  </a:lnTo>
                  <a:lnTo>
                    <a:pt x="2481" y="12574"/>
                  </a:lnTo>
                  <a:lnTo>
                    <a:pt x="2448" y="12572"/>
                  </a:lnTo>
                  <a:lnTo>
                    <a:pt x="2416" y="12570"/>
                  </a:lnTo>
                  <a:lnTo>
                    <a:pt x="2384" y="12568"/>
                  </a:lnTo>
                  <a:lnTo>
                    <a:pt x="2352" y="12564"/>
                  </a:lnTo>
                  <a:lnTo>
                    <a:pt x="2319" y="12560"/>
                  </a:lnTo>
                  <a:lnTo>
                    <a:pt x="2287" y="12555"/>
                  </a:lnTo>
                  <a:lnTo>
                    <a:pt x="2256" y="12549"/>
                  </a:lnTo>
                  <a:lnTo>
                    <a:pt x="2225" y="12543"/>
                  </a:lnTo>
                  <a:lnTo>
                    <a:pt x="2194" y="12536"/>
                  </a:lnTo>
                  <a:lnTo>
                    <a:pt x="2162" y="12528"/>
                  </a:lnTo>
                  <a:lnTo>
                    <a:pt x="2132" y="12520"/>
                  </a:lnTo>
                  <a:lnTo>
                    <a:pt x="2101" y="12511"/>
                  </a:lnTo>
                  <a:lnTo>
                    <a:pt x="2071" y="12502"/>
                  </a:lnTo>
                  <a:lnTo>
                    <a:pt x="2042" y="12492"/>
                  </a:lnTo>
                  <a:lnTo>
                    <a:pt x="2012" y="12482"/>
                  </a:lnTo>
                  <a:lnTo>
                    <a:pt x="1984" y="12472"/>
                  </a:lnTo>
                  <a:lnTo>
                    <a:pt x="1957" y="12461"/>
                  </a:lnTo>
                  <a:lnTo>
                    <a:pt x="1931" y="12450"/>
                  </a:lnTo>
                  <a:lnTo>
                    <a:pt x="1905" y="12438"/>
                  </a:lnTo>
                  <a:lnTo>
                    <a:pt x="1879" y="12426"/>
                  </a:lnTo>
                  <a:lnTo>
                    <a:pt x="1853" y="12414"/>
                  </a:lnTo>
                  <a:lnTo>
                    <a:pt x="1827" y="12401"/>
                  </a:lnTo>
                  <a:lnTo>
                    <a:pt x="1801" y="12388"/>
                  </a:lnTo>
                  <a:lnTo>
                    <a:pt x="1776" y="12374"/>
                  </a:lnTo>
                  <a:lnTo>
                    <a:pt x="1752" y="12360"/>
                  </a:lnTo>
                  <a:lnTo>
                    <a:pt x="1727" y="12345"/>
                  </a:lnTo>
                  <a:lnTo>
                    <a:pt x="1703" y="12330"/>
                  </a:lnTo>
                  <a:lnTo>
                    <a:pt x="1680" y="12315"/>
                  </a:lnTo>
                  <a:lnTo>
                    <a:pt x="1655" y="12299"/>
                  </a:lnTo>
                  <a:lnTo>
                    <a:pt x="1632" y="12281"/>
                  </a:lnTo>
                  <a:lnTo>
                    <a:pt x="1609" y="12265"/>
                  </a:lnTo>
                  <a:lnTo>
                    <a:pt x="1607" y="12263"/>
                  </a:lnTo>
                  <a:lnTo>
                    <a:pt x="1605" y="12261"/>
                  </a:lnTo>
                  <a:lnTo>
                    <a:pt x="1583" y="12244"/>
                  </a:lnTo>
                  <a:lnTo>
                    <a:pt x="1561" y="12226"/>
                  </a:lnTo>
                  <a:lnTo>
                    <a:pt x="1540" y="12209"/>
                  </a:lnTo>
                  <a:lnTo>
                    <a:pt x="1519" y="12191"/>
                  </a:lnTo>
                  <a:lnTo>
                    <a:pt x="1499" y="12172"/>
                  </a:lnTo>
                  <a:lnTo>
                    <a:pt x="1477" y="12154"/>
                  </a:lnTo>
                  <a:lnTo>
                    <a:pt x="1458" y="12135"/>
                  </a:lnTo>
                  <a:lnTo>
                    <a:pt x="1438" y="12115"/>
                  </a:lnTo>
                  <a:lnTo>
                    <a:pt x="1400" y="12074"/>
                  </a:lnTo>
                  <a:lnTo>
                    <a:pt x="1364" y="12033"/>
                  </a:lnTo>
                  <a:lnTo>
                    <a:pt x="1328" y="11990"/>
                  </a:lnTo>
                  <a:lnTo>
                    <a:pt x="1295" y="11946"/>
                  </a:lnTo>
                  <a:lnTo>
                    <a:pt x="1291" y="11941"/>
                  </a:lnTo>
                  <a:lnTo>
                    <a:pt x="1288" y="11938"/>
                  </a:lnTo>
                  <a:lnTo>
                    <a:pt x="1273" y="11916"/>
                  </a:lnTo>
                  <a:lnTo>
                    <a:pt x="1258" y="11895"/>
                  </a:lnTo>
                  <a:lnTo>
                    <a:pt x="1244" y="11873"/>
                  </a:lnTo>
                  <a:lnTo>
                    <a:pt x="1231" y="11851"/>
                  </a:lnTo>
                  <a:lnTo>
                    <a:pt x="1205" y="11807"/>
                  </a:lnTo>
                  <a:lnTo>
                    <a:pt x="1181" y="11760"/>
                  </a:lnTo>
                  <a:lnTo>
                    <a:pt x="1157" y="11713"/>
                  </a:lnTo>
                  <a:lnTo>
                    <a:pt x="1136" y="11666"/>
                  </a:lnTo>
                  <a:lnTo>
                    <a:pt x="1116" y="11617"/>
                  </a:lnTo>
                  <a:lnTo>
                    <a:pt x="1098" y="11567"/>
                  </a:lnTo>
                  <a:lnTo>
                    <a:pt x="1091" y="11547"/>
                  </a:lnTo>
                  <a:lnTo>
                    <a:pt x="1085" y="11528"/>
                  </a:lnTo>
                  <a:lnTo>
                    <a:pt x="1079" y="11508"/>
                  </a:lnTo>
                  <a:lnTo>
                    <a:pt x="1074" y="11488"/>
                  </a:lnTo>
                  <a:lnTo>
                    <a:pt x="1059" y="11438"/>
                  </a:lnTo>
                  <a:lnTo>
                    <a:pt x="1046" y="11385"/>
                  </a:lnTo>
                  <a:lnTo>
                    <a:pt x="1034" y="11334"/>
                  </a:lnTo>
                  <a:lnTo>
                    <a:pt x="1025" y="11282"/>
                  </a:lnTo>
                  <a:lnTo>
                    <a:pt x="1020" y="11254"/>
                  </a:lnTo>
                  <a:lnTo>
                    <a:pt x="1017" y="11228"/>
                  </a:lnTo>
                  <a:lnTo>
                    <a:pt x="1013" y="11201"/>
                  </a:lnTo>
                  <a:lnTo>
                    <a:pt x="1011" y="11175"/>
                  </a:lnTo>
                  <a:lnTo>
                    <a:pt x="1009" y="11148"/>
                  </a:lnTo>
                  <a:lnTo>
                    <a:pt x="1007" y="11121"/>
                  </a:lnTo>
                  <a:lnTo>
                    <a:pt x="1006" y="11092"/>
                  </a:lnTo>
                  <a:lnTo>
                    <a:pt x="1006" y="11065"/>
                  </a:lnTo>
                  <a:lnTo>
                    <a:pt x="1006" y="11037"/>
                  </a:lnTo>
                  <a:lnTo>
                    <a:pt x="1007" y="11010"/>
                  </a:lnTo>
                  <a:lnTo>
                    <a:pt x="1009" y="10983"/>
                  </a:lnTo>
                  <a:lnTo>
                    <a:pt x="1011" y="10956"/>
                  </a:lnTo>
                  <a:lnTo>
                    <a:pt x="1013" y="10929"/>
                  </a:lnTo>
                  <a:lnTo>
                    <a:pt x="1017" y="10901"/>
                  </a:lnTo>
                  <a:lnTo>
                    <a:pt x="1020" y="10875"/>
                  </a:lnTo>
                  <a:lnTo>
                    <a:pt x="1025" y="10848"/>
                  </a:lnTo>
                  <a:lnTo>
                    <a:pt x="1034" y="10796"/>
                  </a:lnTo>
                  <a:lnTo>
                    <a:pt x="1046" y="10744"/>
                  </a:lnTo>
                  <a:lnTo>
                    <a:pt x="1059" y="10693"/>
                  </a:lnTo>
                  <a:lnTo>
                    <a:pt x="1074" y="10642"/>
                  </a:lnTo>
                  <a:lnTo>
                    <a:pt x="1079" y="10622"/>
                  </a:lnTo>
                  <a:lnTo>
                    <a:pt x="1085" y="10603"/>
                  </a:lnTo>
                  <a:lnTo>
                    <a:pt x="1091" y="10582"/>
                  </a:lnTo>
                  <a:lnTo>
                    <a:pt x="1098" y="10563"/>
                  </a:lnTo>
                  <a:lnTo>
                    <a:pt x="1116" y="10514"/>
                  </a:lnTo>
                  <a:lnTo>
                    <a:pt x="1136" y="10465"/>
                  </a:lnTo>
                  <a:lnTo>
                    <a:pt x="1157" y="10417"/>
                  </a:lnTo>
                  <a:lnTo>
                    <a:pt x="1181" y="10370"/>
                  </a:lnTo>
                  <a:lnTo>
                    <a:pt x="1205" y="10324"/>
                  </a:lnTo>
                  <a:lnTo>
                    <a:pt x="1231" y="10279"/>
                  </a:lnTo>
                  <a:lnTo>
                    <a:pt x="1244" y="10257"/>
                  </a:lnTo>
                  <a:lnTo>
                    <a:pt x="1258" y="10235"/>
                  </a:lnTo>
                  <a:lnTo>
                    <a:pt x="1273" y="10213"/>
                  </a:lnTo>
                  <a:lnTo>
                    <a:pt x="1288" y="10192"/>
                  </a:lnTo>
                  <a:lnTo>
                    <a:pt x="1291" y="10188"/>
                  </a:lnTo>
                  <a:lnTo>
                    <a:pt x="1295" y="10184"/>
                  </a:lnTo>
                  <a:lnTo>
                    <a:pt x="1328" y="10140"/>
                  </a:lnTo>
                  <a:lnTo>
                    <a:pt x="1364" y="10098"/>
                  </a:lnTo>
                  <a:lnTo>
                    <a:pt x="1400" y="10055"/>
                  </a:lnTo>
                  <a:lnTo>
                    <a:pt x="1438" y="10015"/>
                  </a:lnTo>
                  <a:lnTo>
                    <a:pt x="1458" y="9996"/>
                  </a:lnTo>
                  <a:lnTo>
                    <a:pt x="1477" y="9977"/>
                  </a:lnTo>
                  <a:lnTo>
                    <a:pt x="1499" y="9958"/>
                  </a:lnTo>
                  <a:lnTo>
                    <a:pt x="1519" y="9939"/>
                  </a:lnTo>
                  <a:lnTo>
                    <a:pt x="1540" y="9921"/>
                  </a:lnTo>
                  <a:lnTo>
                    <a:pt x="1561" y="9903"/>
                  </a:lnTo>
                  <a:lnTo>
                    <a:pt x="1583" y="9885"/>
                  </a:lnTo>
                  <a:lnTo>
                    <a:pt x="1605" y="9869"/>
                  </a:lnTo>
                  <a:lnTo>
                    <a:pt x="1607" y="9867"/>
                  </a:lnTo>
                  <a:lnTo>
                    <a:pt x="1609" y="9864"/>
                  </a:lnTo>
                  <a:lnTo>
                    <a:pt x="1655" y="9832"/>
                  </a:lnTo>
                  <a:lnTo>
                    <a:pt x="1703" y="9800"/>
                  </a:lnTo>
                  <a:lnTo>
                    <a:pt x="1727" y="9785"/>
                  </a:lnTo>
                  <a:lnTo>
                    <a:pt x="1752" y="9771"/>
                  </a:lnTo>
                  <a:lnTo>
                    <a:pt x="1776" y="9757"/>
                  </a:lnTo>
                  <a:lnTo>
                    <a:pt x="1801" y="9743"/>
                  </a:lnTo>
                  <a:lnTo>
                    <a:pt x="1827" y="9729"/>
                  </a:lnTo>
                  <a:lnTo>
                    <a:pt x="1853" y="9716"/>
                  </a:lnTo>
                  <a:lnTo>
                    <a:pt x="1879" y="9704"/>
                  </a:lnTo>
                  <a:lnTo>
                    <a:pt x="1905" y="9692"/>
                  </a:lnTo>
                  <a:lnTo>
                    <a:pt x="1931" y="9680"/>
                  </a:lnTo>
                  <a:lnTo>
                    <a:pt x="1957" y="9669"/>
                  </a:lnTo>
                  <a:lnTo>
                    <a:pt x="1984" y="9659"/>
                  </a:lnTo>
                  <a:lnTo>
                    <a:pt x="2012" y="9649"/>
                  </a:lnTo>
                  <a:lnTo>
                    <a:pt x="2042" y="9639"/>
                  </a:lnTo>
                  <a:lnTo>
                    <a:pt x="2071" y="9629"/>
                  </a:lnTo>
                  <a:lnTo>
                    <a:pt x="2101" y="9620"/>
                  </a:lnTo>
                  <a:lnTo>
                    <a:pt x="2132" y="9611"/>
                  </a:lnTo>
                  <a:lnTo>
                    <a:pt x="2162" y="9603"/>
                  </a:lnTo>
                  <a:lnTo>
                    <a:pt x="2194" y="9595"/>
                  </a:lnTo>
                  <a:lnTo>
                    <a:pt x="2225" y="9588"/>
                  </a:lnTo>
                  <a:lnTo>
                    <a:pt x="2256" y="9582"/>
                  </a:lnTo>
                  <a:lnTo>
                    <a:pt x="2287" y="9576"/>
                  </a:lnTo>
                  <a:lnTo>
                    <a:pt x="2319" y="9570"/>
                  </a:lnTo>
                  <a:lnTo>
                    <a:pt x="2352" y="9566"/>
                  </a:lnTo>
                  <a:lnTo>
                    <a:pt x="2384" y="9563"/>
                  </a:lnTo>
                  <a:lnTo>
                    <a:pt x="2416" y="9560"/>
                  </a:lnTo>
                  <a:lnTo>
                    <a:pt x="2448" y="9558"/>
                  </a:lnTo>
                  <a:lnTo>
                    <a:pt x="2481" y="9556"/>
                  </a:lnTo>
                  <a:lnTo>
                    <a:pt x="2515" y="9556"/>
                  </a:lnTo>
                  <a:lnTo>
                    <a:pt x="2548" y="9556"/>
                  </a:lnTo>
                  <a:lnTo>
                    <a:pt x="2581" y="9558"/>
                  </a:lnTo>
                  <a:lnTo>
                    <a:pt x="2613" y="9560"/>
                  </a:lnTo>
                  <a:lnTo>
                    <a:pt x="2645" y="9563"/>
                  </a:lnTo>
                  <a:lnTo>
                    <a:pt x="2677" y="9566"/>
                  </a:lnTo>
                  <a:lnTo>
                    <a:pt x="2710" y="9570"/>
                  </a:lnTo>
                  <a:lnTo>
                    <a:pt x="2742" y="9576"/>
                  </a:lnTo>
                  <a:lnTo>
                    <a:pt x="2773" y="9582"/>
                  </a:lnTo>
                  <a:lnTo>
                    <a:pt x="2804" y="9588"/>
                  </a:lnTo>
                  <a:lnTo>
                    <a:pt x="2835" y="9595"/>
                  </a:lnTo>
                  <a:lnTo>
                    <a:pt x="2867" y="9603"/>
                  </a:lnTo>
                  <a:lnTo>
                    <a:pt x="2897" y="9611"/>
                  </a:lnTo>
                  <a:lnTo>
                    <a:pt x="2927" y="9620"/>
                  </a:lnTo>
                  <a:lnTo>
                    <a:pt x="2958" y="9629"/>
                  </a:lnTo>
                  <a:lnTo>
                    <a:pt x="2987" y="9639"/>
                  </a:lnTo>
                  <a:lnTo>
                    <a:pt x="3017" y="9649"/>
                  </a:lnTo>
                  <a:lnTo>
                    <a:pt x="3045" y="9659"/>
                  </a:lnTo>
                  <a:lnTo>
                    <a:pt x="3072" y="9669"/>
                  </a:lnTo>
                  <a:lnTo>
                    <a:pt x="3098" y="9680"/>
                  </a:lnTo>
                  <a:lnTo>
                    <a:pt x="3124" y="9692"/>
                  </a:lnTo>
                  <a:lnTo>
                    <a:pt x="3150" y="9704"/>
                  </a:lnTo>
                  <a:lnTo>
                    <a:pt x="3176" y="9716"/>
                  </a:lnTo>
                  <a:lnTo>
                    <a:pt x="3202" y="9729"/>
                  </a:lnTo>
                  <a:lnTo>
                    <a:pt x="3228" y="9743"/>
                  </a:lnTo>
                  <a:lnTo>
                    <a:pt x="3252" y="9757"/>
                  </a:lnTo>
                  <a:lnTo>
                    <a:pt x="3277" y="9771"/>
                  </a:lnTo>
                  <a:lnTo>
                    <a:pt x="3301" y="9785"/>
                  </a:lnTo>
                  <a:lnTo>
                    <a:pt x="3325" y="9800"/>
                  </a:lnTo>
                  <a:lnTo>
                    <a:pt x="3373" y="9832"/>
                  </a:lnTo>
                  <a:lnTo>
                    <a:pt x="3419" y="9864"/>
                  </a:lnTo>
                  <a:lnTo>
                    <a:pt x="3422" y="9867"/>
                  </a:lnTo>
                  <a:lnTo>
                    <a:pt x="3424" y="9869"/>
                  </a:lnTo>
                  <a:lnTo>
                    <a:pt x="3446" y="9885"/>
                  </a:lnTo>
                  <a:lnTo>
                    <a:pt x="3468" y="9903"/>
                  </a:lnTo>
                  <a:lnTo>
                    <a:pt x="3489" y="9921"/>
                  </a:lnTo>
                  <a:lnTo>
                    <a:pt x="3510" y="9939"/>
                  </a:lnTo>
                  <a:lnTo>
                    <a:pt x="3530" y="9958"/>
                  </a:lnTo>
                  <a:lnTo>
                    <a:pt x="3552" y="9977"/>
                  </a:lnTo>
                  <a:lnTo>
                    <a:pt x="3571" y="9996"/>
                  </a:lnTo>
                  <a:lnTo>
                    <a:pt x="3591" y="10015"/>
                  </a:lnTo>
                  <a:lnTo>
                    <a:pt x="3629" y="10055"/>
                  </a:lnTo>
                  <a:lnTo>
                    <a:pt x="3665" y="10098"/>
                  </a:lnTo>
                  <a:lnTo>
                    <a:pt x="3701" y="10140"/>
                  </a:lnTo>
                  <a:lnTo>
                    <a:pt x="3735" y="10184"/>
                  </a:lnTo>
                  <a:lnTo>
                    <a:pt x="3738" y="10188"/>
                  </a:lnTo>
                  <a:lnTo>
                    <a:pt x="3741" y="10192"/>
                  </a:lnTo>
                  <a:lnTo>
                    <a:pt x="3756" y="10213"/>
                  </a:lnTo>
                  <a:lnTo>
                    <a:pt x="3770" y="10235"/>
                  </a:lnTo>
                  <a:lnTo>
                    <a:pt x="3784" y="10257"/>
                  </a:lnTo>
                  <a:lnTo>
                    <a:pt x="3798" y="10279"/>
                  </a:lnTo>
                  <a:lnTo>
                    <a:pt x="3824" y="10324"/>
                  </a:lnTo>
                  <a:lnTo>
                    <a:pt x="3848" y="10370"/>
                  </a:lnTo>
                  <a:lnTo>
                    <a:pt x="3872" y="10417"/>
                  </a:lnTo>
                  <a:lnTo>
                    <a:pt x="3893" y="10465"/>
                  </a:lnTo>
                  <a:lnTo>
                    <a:pt x="3913" y="10514"/>
                  </a:lnTo>
                  <a:lnTo>
                    <a:pt x="3931" y="10563"/>
                  </a:lnTo>
                  <a:lnTo>
                    <a:pt x="3938" y="10582"/>
                  </a:lnTo>
                  <a:lnTo>
                    <a:pt x="3944" y="10603"/>
                  </a:lnTo>
                  <a:lnTo>
                    <a:pt x="3950" y="10622"/>
                  </a:lnTo>
                  <a:lnTo>
                    <a:pt x="3956" y="10642"/>
                  </a:lnTo>
                  <a:lnTo>
                    <a:pt x="3970" y="10693"/>
                  </a:lnTo>
                  <a:lnTo>
                    <a:pt x="3983" y="10744"/>
                  </a:lnTo>
                  <a:lnTo>
                    <a:pt x="3994" y="10796"/>
                  </a:lnTo>
                  <a:lnTo>
                    <a:pt x="4004" y="10848"/>
                  </a:lnTo>
                  <a:lnTo>
                    <a:pt x="4008" y="10875"/>
                  </a:lnTo>
                  <a:lnTo>
                    <a:pt x="4012" y="10901"/>
                  </a:lnTo>
                  <a:lnTo>
                    <a:pt x="4015" y="10929"/>
                  </a:lnTo>
                  <a:lnTo>
                    <a:pt x="4018" y="10956"/>
                  </a:lnTo>
                  <a:lnTo>
                    <a:pt x="4020" y="10983"/>
                  </a:lnTo>
                  <a:lnTo>
                    <a:pt x="4022" y="11010"/>
                  </a:lnTo>
                  <a:lnTo>
                    <a:pt x="4023" y="11037"/>
                  </a:lnTo>
                  <a:lnTo>
                    <a:pt x="4023" y="11065"/>
                  </a:lnTo>
                  <a:lnTo>
                    <a:pt x="4023" y="11092"/>
                  </a:lnTo>
                  <a:lnTo>
                    <a:pt x="4022" y="11121"/>
                  </a:lnTo>
                  <a:lnTo>
                    <a:pt x="4020" y="11148"/>
                  </a:lnTo>
                  <a:lnTo>
                    <a:pt x="4018" y="11175"/>
                  </a:lnTo>
                  <a:lnTo>
                    <a:pt x="4015" y="11201"/>
                  </a:lnTo>
                  <a:lnTo>
                    <a:pt x="4012" y="11228"/>
                  </a:lnTo>
                  <a:lnTo>
                    <a:pt x="4008" y="11254"/>
                  </a:lnTo>
                  <a:lnTo>
                    <a:pt x="4004" y="11282"/>
                  </a:lnTo>
                  <a:lnTo>
                    <a:pt x="3994" y="11334"/>
                  </a:lnTo>
                  <a:lnTo>
                    <a:pt x="3983" y="11385"/>
                  </a:lnTo>
                  <a:lnTo>
                    <a:pt x="3970" y="11438"/>
                  </a:lnTo>
                  <a:lnTo>
                    <a:pt x="3956" y="11488"/>
                  </a:lnTo>
                  <a:close/>
                  <a:moveTo>
                    <a:pt x="3017" y="14586"/>
                  </a:moveTo>
                  <a:lnTo>
                    <a:pt x="3016" y="14612"/>
                  </a:lnTo>
                  <a:lnTo>
                    <a:pt x="3014" y="14637"/>
                  </a:lnTo>
                  <a:lnTo>
                    <a:pt x="3011" y="14663"/>
                  </a:lnTo>
                  <a:lnTo>
                    <a:pt x="3007" y="14688"/>
                  </a:lnTo>
                  <a:lnTo>
                    <a:pt x="3001" y="14712"/>
                  </a:lnTo>
                  <a:lnTo>
                    <a:pt x="2995" y="14736"/>
                  </a:lnTo>
                  <a:lnTo>
                    <a:pt x="2987" y="14759"/>
                  </a:lnTo>
                  <a:lnTo>
                    <a:pt x="2978" y="14782"/>
                  </a:lnTo>
                  <a:lnTo>
                    <a:pt x="2968" y="14804"/>
                  </a:lnTo>
                  <a:lnTo>
                    <a:pt x="2957" y="14827"/>
                  </a:lnTo>
                  <a:lnTo>
                    <a:pt x="2945" y="14847"/>
                  </a:lnTo>
                  <a:lnTo>
                    <a:pt x="2932" y="14868"/>
                  </a:lnTo>
                  <a:lnTo>
                    <a:pt x="2918" y="14887"/>
                  </a:lnTo>
                  <a:lnTo>
                    <a:pt x="2903" y="14906"/>
                  </a:lnTo>
                  <a:lnTo>
                    <a:pt x="2887" y="14924"/>
                  </a:lnTo>
                  <a:lnTo>
                    <a:pt x="2870" y="14942"/>
                  </a:lnTo>
                  <a:lnTo>
                    <a:pt x="2852" y="14958"/>
                  </a:lnTo>
                  <a:lnTo>
                    <a:pt x="2834" y="14974"/>
                  </a:lnTo>
                  <a:lnTo>
                    <a:pt x="2815" y="14989"/>
                  </a:lnTo>
                  <a:lnTo>
                    <a:pt x="2795" y="15004"/>
                  </a:lnTo>
                  <a:lnTo>
                    <a:pt x="2775" y="15017"/>
                  </a:lnTo>
                  <a:lnTo>
                    <a:pt x="2754" y="15029"/>
                  </a:lnTo>
                  <a:lnTo>
                    <a:pt x="2733" y="15040"/>
                  </a:lnTo>
                  <a:lnTo>
                    <a:pt x="2711" y="15050"/>
                  </a:lnTo>
                  <a:lnTo>
                    <a:pt x="2688" y="15059"/>
                  </a:lnTo>
                  <a:lnTo>
                    <a:pt x="2664" y="15067"/>
                  </a:lnTo>
                  <a:lnTo>
                    <a:pt x="2640" y="15073"/>
                  </a:lnTo>
                  <a:lnTo>
                    <a:pt x="2616" y="15079"/>
                  </a:lnTo>
                  <a:lnTo>
                    <a:pt x="2591" y="15083"/>
                  </a:lnTo>
                  <a:lnTo>
                    <a:pt x="2566" y="15086"/>
                  </a:lnTo>
                  <a:lnTo>
                    <a:pt x="2541" y="15088"/>
                  </a:lnTo>
                  <a:lnTo>
                    <a:pt x="2515" y="15089"/>
                  </a:lnTo>
                  <a:lnTo>
                    <a:pt x="2488" y="15088"/>
                  </a:lnTo>
                  <a:lnTo>
                    <a:pt x="2463" y="15086"/>
                  </a:lnTo>
                  <a:lnTo>
                    <a:pt x="2438" y="15083"/>
                  </a:lnTo>
                  <a:lnTo>
                    <a:pt x="2413" y="15079"/>
                  </a:lnTo>
                  <a:lnTo>
                    <a:pt x="2389" y="15073"/>
                  </a:lnTo>
                  <a:lnTo>
                    <a:pt x="2365" y="15067"/>
                  </a:lnTo>
                  <a:lnTo>
                    <a:pt x="2341" y="15059"/>
                  </a:lnTo>
                  <a:lnTo>
                    <a:pt x="2318" y="15050"/>
                  </a:lnTo>
                  <a:lnTo>
                    <a:pt x="2296" y="15040"/>
                  </a:lnTo>
                  <a:lnTo>
                    <a:pt x="2275" y="15029"/>
                  </a:lnTo>
                  <a:lnTo>
                    <a:pt x="2254" y="15017"/>
                  </a:lnTo>
                  <a:lnTo>
                    <a:pt x="2233" y="15004"/>
                  </a:lnTo>
                  <a:lnTo>
                    <a:pt x="2214" y="14989"/>
                  </a:lnTo>
                  <a:lnTo>
                    <a:pt x="2195" y="14974"/>
                  </a:lnTo>
                  <a:lnTo>
                    <a:pt x="2177" y="14958"/>
                  </a:lnTo>
                  <a:lnTo>
                    <a:pt x="2158" y="14942"/>
                  </a:lnTo>
                  <a:lnTo>
                    <a:pt x="2142" y="14924"/>
                  </a:lnTo>
                  <a:lnTo>
                    <a:pt x="2126" y="14906"/>
                  </a:lnTo>
                  <a:lnTo>
                    <a:pt x="2111" y="14887"/>
                  </a:lnTo>
                  <a:lnTo>
                    <a:pt x="2097" y="14868"/>
                  </a:lnTo>
                  <a:lnTo>
                    <a:pt x="2084" y="14847"/>
                  </a:lnTo>
                  <a:lnTo>
                    <a:pt x="2072" y="14827"/>
                  </a:lnTo>
                  <a:lnTo>
                    <a:pt x="2061" y="14804"/>
                  </a:lnTo>
                  <a:lnTo>
                    <a:pt x="2051" y="14782"/>
                  </a:lnTo>
                  <a:lnTo>
                    <a:pt x="2042" y="14759"/>
                  </a:lnTo>
                  <a:lnTo>
                    <a:pt x="2034" y="14736"/>
                  </a:lnTo>
                  <a:lnTo>
                    <a:pt x="2028" y="14712"/>
                  </a:lnTo>
                  <a:lnTo>
                    <a:pt x="2022" y="14688"/>
                  </a:lnTo>
                  <a:lnTo>
                    <a:pt x="2018" y="14663"/>
                  </a:lnTo>
                  <a:lnTo>
                    <a:pt x="2015" y="14637"/>
                  </a:lnTo>
                  <a:lnTo>
                    <a:pt x="2013" y="14612"/>
                  </a:lnTo>
                  <a:lnTo>
                    <a:pt x="2012" y="14586"/>
                  </a:lnTo>
                  <a:lnTo>
                    <a:pt x="2012" y="13530"/>
                  </a:lnTo>
                  <a:lnTo>
                    <a:pt x="2073" y="13541"/>
                  </a:lnTo>
                  <a:lnTo>
                    <a:pt x="2134" y="13551"/>
                  </a:lnTo>
                  <a:lnTo>
                    <a:pt x="2197" y="13560"/>
                  </a:lnTo>
                  <a:lnTo>
                    <a:pt x="2259" y="13567"/>
                  </a:lnTo>
                  <a:lnTo>
                    <a:pt x="2322" y="13573"/>
                  </a:lnTo>
                  <a:lnTo>
                    <a:pt x="2386" y="13577"/>
                  </a:lnTo>
                  <a:lnTo>
                    <a:pt x="2450" y="13579"/>
                  </a:lnTo>
                  <a:lnTo>
                    <a:pt x="2515" y="13580"/>
                  </a:lnTo>
                  <a:lnTo>
                    <a:pt x="2579" y="13579"/>
                  </a:lnTo>
                  <a:lnTo>
                    <a:pt x="2643" y="13577"/>
                  </a:lnTo>
                  <a:lnTo>
                    <a:pt x="2707" y="13573"/>
                  </a:lnTo>
                  <a:lnTo>
                    <a:pt x="2770" y="13567"/>
                  </a:lnTo>
                  <a:lnTo>
                    <a:pt x="2832" y="13560"/>
                  </a:lnTo>
                  <a:lnTo>
                    <a:pt x="2895" y="13551"/>
                  </a:lnTo>
                  <a:lnTo>
                    <a:pt x="2956" y="13541"/>
                  </a:lnTo>
                  <a:lnTo>
                    <a:pt x="3017" y="13530"/>
                  </a:lnTo>
                  <a:lnTo>
                    <a:pt x="3017" y="14586"/>
                  </a:lnTo>
                  <a:close/>
                  <a:moveTo>
                    <a:pt x="2012" y="1509"/>
                  </a:moveTo>
                  <a:lnTo>
                    <a:pt x="2013" y="1483"/>
                  </a:lnTo>
                  <a:lnTo>
                    <a:pt x="2015" y="1458"/>
                  </a:lnTo>
                  <a:lnTo>
                    <a:pt x="2018" y="1432"/>
                  </a:lnTo>
                  <a:lnTo>
                    <a:pt x="2022" y="1407"/>
                  </a:lnTo>
                  <a:lnTo>
                    <a:pt x="2028" y="1383"/>
                  </a:lnTo>
                  <a:lnTo>
                    <a:pt x="2034" y="1359"/>
                  </a:lnTo>
                  <a:lnTo>
                    <a:pt x="2042" y="1336"/>
                  </a:lnTo>
                  <a:lnTo>
                    <a:pt x="2051" y="1313"/>
                  </a:lnTo>
                  <a:lnTo>
                    <a:pt x="2061" y="1291"/>
                  </a:lnTo>
                  <a:lnTo>
                    <a:pt x="2072" y="1269"/>
                  </a:lnTo>
                  <a:lnTo>
                    <a:pt x="2084" y="1248"/>
                  </a:lnTo>
                  <a:lnTo>
                    <a:pt x="2097" y="1227"/>
                  </a:lnTo>
                  <a:lnTo>
                    <a:pt x="2111" y="1208"/>
                  </a:lnTo>
                  <a:lnTo>
                    <a:pt x="2126" y="1189"/>
                  </a:lnTo>
                  <a:lnTo>
                    <a:pt x="2142" y="1171"/>
                  </a:lnTo>
                  <a:lnTo>
                    <a:pt x="2158" y="1153"/>
                  </a:lnTo>
                  <a:lnTo>
                    <a:pt x="2177" y="1137"/>
                  </a:lnTo>
                  <a:lnTo>
                    <a:pt x="2195" y="1121"/>
                  </a:lnTo>
                  <a:lnTo>
                    <a:pt x="2214" y="1106"/>
                  </a:lnTo>
                  <a:lnTo>
                    <a:pt x="2233" y="1091"/>
                  </a:lnTo>
                  <a:lnTo>
                    <a:pt x="2254" y="1078"/>
                  </a:lnTo>
                  <a:lnTo>
                    <a:pt x="2275" y="1066"/>
                  </a:lnTo>
                  <a:lnTo>
                    <a:pt x="2296" y="1055"/>
                  </a:lnTo>
                  <a:lnTo>
                    <a:pt x="2318" y="1045"/>
                  </a:lnTo>
                  <a:lnTo>
                    <a:pt x="2341" y="1036"/>
                  </a:lnTo>
                  <a:lnTo>
                    <a:pt x="2365" y="1029"/>
                  </a:lnTo>
                  <a:lnTo>
                    <a:pt x="2389" y="1022"/>
                  </a:lnTo>
                  <a:lnTo>
                    <a:pt x="2413" y="1016"/>
                  </a:lnTo>
                  <a:lnTo>
                    <a:pt x="2438" y="1012"/>
                  </a:lnTo>
                  <a:lnTo>
                    <a:pt x="2463" y="1009"/>
                  </a:lnTo>
                  <a:lnTo>
                    <a:pt x="2488" y="1007"/>
                  </a:lnTo>
                  <a:lnTo>
                    <a:pt x="2515" y="1006"/>
                  </a:lnTo>
                  <a:lnTo>
                    <a:pt x="2541" y="1007"/>
                  </a:lnTo>
                  <a:lnTo>
                    <a:pt x="2566" y="1009"/>
                  </a:lnTo>
                  <a:lnTo>
                    <a:pt x="2591" y="1012"/>
                  </a:lnTo>
                  <a:lnTo>
                    <a:pt x="2616" y="1016"/>
                  </a:lnTo>
                  <a:lnTo>
                    <a:pt x="2640" y="1022"/>
                  </a:lnTo>
                  <a:lnTo>
                    <a:pt x="2664" y="1029"/>
                  </a:lnTo>
                  <a:lnTo>
                    <a:pt x="2688" y="1036"/>
                  </a:lnTo>
                  <a:lnTo>
                    <a:pt x="2711" y="1045"/>
                  </a:lnTo>
                  <a:lnTo>
                    <a:pt x="2733" y="1055"/>
                  </a:lnTo>
                  <a:lnTo>
                    <a:pt x="2754" y="1066"/>
                  </a:lnTo>
                  <a:lnTo>
                    <a:pt x="2775" y="1078"/>
                  </a:lnTo>
                  <a:lnTo>
                    <a:pt x="2795" y="1091"/>
                  </a:lnTo>
                  <a:lnTo>
                    <a:pt x="2815" y="1106"/>
                  </a:lnTo>
                  <a:lnTo>
                    <a:pt x="2834" y="1121"/>
                  </a:lnTo>
                  <a:lnTo>
                    <a:pt x="2852" y="1137"/>
                  </a:lnTo>
                  <a:lnTo>
                    <a:pt x="2870" y="1153"/>
                  </a:lnTo>
                  <a:lnTo>
                    <a:pt x="2887" y="1171"/>
                  </a:lnTo>
                  <a:lnTo>
                    <a:pt x="2903" y="1189"/>
                  </a:lnTo>
                  <a:lnTo>
                    <a:pt x="2918" y="1208"/>
                  </a:lnTo>
                  <a:lnTo>
                    <a:pt x="2932" y="1227"/>
                  </a:lnTo>
                  <a:lnTo>
                    <a:pt x="2945" y="1248"/>
                  </a:lnTo>
                  <a:lnTo>
                    <a:pt x="2957" y="1269"/>
                  </a:lnTo>
                  <a:lnTo>
                    <a:pt x="2968" y="1291"/>
                  </a:lnTo>
                  <a:lnTo>
                    <a:pt x="2978" y="1313"/>
                  </a:lnTo>
                  <a:lnTo>
                    <a:pt x="2987" y="1336"/>
                  </a:lnTo>
                  <a:lnTo>
                    <a:pt x="2995" y="1359"/>
                  </a:lnTo>
                  <a:lnTo>
                    <a:pt x="3001" y="1383"/>
                  </a:lnTo>
                  <a:lnTo>
                    <a:pt x="3007" y="1407"/>
                  </a:lnTo>
                  <a:lnTo>
                    <a:pt x="3011" y="1432"/>
                  </a:lnTo>
                  <a:lnTo>
                    <a:pt x="3014" y="1458"/>
                  </a:lnTo>
                  <a:lnTo>
                    <a:pt x="3016" y="1483"/>
                  </a:lnTo>
                  <a:lnTo>
                    <a:pt x="3017" y="1509"/>
                  </a:lnTo>
                  <a:lnTo>
                    <a:pt x="3017" y="8601"/>
                  </a:lnTo>
                  <a:lnTo>
                    <a:pt x="2956" y="8590"/>
                  </a:lnTo>
                  <a:lnTo>
                    <a:pt x="2895" y="8579"/>
                  </a:lnTo>
                  <a:lnTo>
                    <a:pt x="2832" y="8571"/>
                  </a:lnTo>
                  <a:lnTo>
                    <a:pt x="2770" y="8564"/>
                  </a:lnTo>
                  <a:lnTo>
                    <a:pt x="2707" y="8558"/>
                  </a:lnTo>
                  <a:lnTo>
                    <a:pt x="2643" y="8553"/>
                  </a:lnTo>
                  <a:lnTo>
                    <a:pt x="2579" y="8551"/>
                  </a:lnTo>
                  <a:lnTo>
                    <a:pt x="2515" y="8550"/>
                  </a:lnTo>
                  <a:lnTo>
                    <a:pt x="2450" y="8551"/>
                  </a:lnTo>
                  <a:lnTo>
                    <a:pt x="2386" y="8553"/>
                  </a:lnTo>
                  <a:lnTo>
                    <a:pt x="2322" y="8558"/>
                  </a:lnTo>
                  <a:lnTo>
                    <a:pt x="2259" y="8564"/>
                  </a:lnTo>
                  <a:lnTo>
                    <a:pt x="2197" y="8571"/>
                  </a:lnTo>
                  <a:lnTo>
                    <a:pt x="2134" y="8579"/>
                  </a:lnTo>
                  <a:lnTo>
                    <a:pt x="2073" y="8590"/>
                  </a:lnTo>
                  <a:lnTo>
                    <a:pt x="2012" y="8601"/>
                  </a:lnTo>
                  <a:lnTo>
                    <a:pt x="2012" y="1509"/>
                  </a:lnTo>
                  <a:close/>
                  <a:moveTo>
                    <a:pt x="4023" y="9065"/>
                  </a:moveTo>
                  <a:lnTo>
                    <a:pt x="4023" y="1509"/>
                  </a:lnTo>
                  <a:lnTo>
                    <a:pt x="4021" y="1431"/>
                  </a:lnTo>
                  <a:lnTo>
                    <a:pt x="4015" y="1355"/>
                  </a:lnTo>
                  <a:lnTo>
                    <a:pt x="4006" y="1280"/>
                  </a:lnTo>
                  <a:lnTo>
                    <a:pt x="3992" y="1205"/>
                  </a:lnTo>
                  <a:lnTo>
                    <a:pt x="3976" y="1133"/>
                  </a:lnTo>
                  <a:lnTo>
                    <a:pt x="3955" y="1060"/>
                  </a:lnTo>
                  <a:lnTo>
                    <a:pt x="3932" y="991"/>
                  </a:lnTo>
                  <a:lnTo>
                    <a:pt x="3905" y="922"/>
                  </a:lnTo>
                  <a:lnTo>
                    <a:pt x="3875" y="855"/>
                  </a:lnTo>
                  <a:lnTo>
                    <a:pt x="3841" y="791"/>
                  </a:lnTo>
                  <a:lnTo>
                    <a:pt x="3805" y="727"/>
                  </a:lnTo>
                  <a:lnTo>
                    <a:pt x="3765" y="666"/>
                  </a:lnTo>
                  <a:lnTo>
                    <a:pt x="3724" y="607"/>
                  </a:lnTo>
                  <a:lnTo>
                    <a:pt x="3678" y="549"/>
                  </a:lnTo>
                  <a:lnTo>
                    <a:pt x="3631" y="495"/>
                  </a:lnTo>
                  <a:lnTo>
                    <a:pt x="3581" y="443"/>
                  </a:lnTo>
                  <a:lnTo>
                    <a:pt x="3528" y="392"/>
                  </a:lnTo>
                  <a:lnTo>
                    <a:pt x="3474" y="345"/>
                  </a:lnTo>
                  <a:lnTo>
                    <a:pt x="3417" y="300"/>
                  </a:lnTo>
                  <a:lnTo>
                    <a:pt x="3357" y="259"/>
                  </a:lnTo>
                  <a:lnTo>
                    <a:pt x="3296" y="219"/>
                  </a:lnTo>
                  <a:lnTo>
                    <a:pt x="3233" y="182"/>
                  </a:lnTo>
                  <a:lnTo>
                    <a:pt x="3168" y="149"/>
                  </a:lnTo>
                  <a:lnTo>
                    <a:pt x="3101" y="119"/>
                  </a:lnTo>
                  <a:lnTo>
                    <a:pt x="3033" y="92"/>
                  </a:lnTo>
                  <a:lnTo>
                    <a:pt x="2963" y="68"/>
                  </a:lnTo>
                  <a:lnTo>
                    <a:pt x="2891" y="47"/>
                  </a:lnTo>
                  <a:lnTo>
                    <a:pt x="2818" y="31"/>
                  </a:lnTo>
                  <a:lnTo>
                    <a:pt x="2744" y="17"/>
                  </a:lnTo>
                  <a:lnTo>
                    <a:pt x="2668" y="8"/>
                  </a:lnTo>
                  <a:lnTo>
                    <a:pt x="2592" y="2"/>
                  </a:lnTo>
                  <a:lnTo>
                    <a:pt x="2515" y="0"/>
                  </a:lnTo>
                  <a:lnTo>
                    <a:pt x="2437" y="2"/>
                  </a:lnTo>
                  <a:lnTo>
                    <a:pt x="2361" y="8"/>
                  </a:lnTo>
                  <a:lnTo>
                    <a:pt x="2285" y="17"/>
                  </a:lnTo>
                  <a:lnTo>
                    <a:pt x="2211" y="31"/>
                  </a:lnTo>
                  <a:lnTo>
                    <a:pt x="2137" y="47"/>
                  </a:lnTo>
                  <a:lnTo>
                    <a:pt x="2066" y="68"/>
                  </a:lnTo>
                  <a:lnTo>
                    <a:pt x="1996" y="92"/>
                  </a:lnTo>
                  <a:lnTo>
                    <a:pt x="1928" y="119"/>
                  </a:lnTo>
                  <a:lnTo>
                    <a:pt x="1861" y="149"/>
                  </a:lnTo>
                  <a:lnTo>
                    <a:pt x="1795" y="182"/>
                  </a:lnTo>
                  <a:lnTo>
                    <a:pt x="1733" y="219"/>
                  </a:lnTo>
                  <a:lnTo>
                    <a:pt x="1672" y="259"/>
                  </a:lnTo>
                  <a:lnTo>
                    <a:pt x="1612" y="300"/>
                  </a:lnTo>
                  <a:lnTo>
                    <a:pt x="1555" y="345"/>
                  </a:lnTo>
                  <a:lnTo>
                    <a:pt x="1501" y="392"/>
                  </a:lnTo>
                  <a:lnTo>
                    <a:pt x="1448" y="443"/>
                  </a:lnTo>
                  <a:lnTo>
                    <a:pt x="1398" y="495"/>
                  </a:lnTo>
                  <a:lnTo>
                    <a:pt x="1351" y="549"/>
                  </a:lnTo>
                  <a:lnTo>
                    <a:pt x="1305" y="607"/>
                  </a:lnTo>
                  <a:lnTo>
                    <a:pt x="1263" y="666"/>
                  </a:lnTo>
                  <a:lnTo>
                    <a:pt x="1224" y="727"/>
                  </a:lnTo>
                  <a:lnTo>
                    <a:pt x="1188" y="791"/>
                  </a:lnTo>
                  <a:lnTo>
                    <a:pt x="1154" y="855"/>
                  </a:lnTo>
                  <a:lnTo>
                    <a:pt x="1124" y="922"/>
                  </a:lnTo>
                  <a:lnTo>
                    <a:pt x="1097" y="991"/>
                  </a:lnTo>
                  <a:lnTo>
                    <a:pt x="1073" y="1060"/>
                  </a:lnTo>
                  <a:lnTo>
                    <a:pt x="1053" y="1133"/>
                  </a:lnTo>
                  <a:lnTo>
                    <a:pt x="1036" y="1205"/>
                  </a:lnTo>
                  <a:lnTo>
                    <a:pt x="1023" y="1280"/>
                  </a:lnTo>
                  <a:lnTo>
                    <a:pt x="1014" y="1355"/>
                  </a:lnTo>
                  <a:lnTo>
                    <a:pt x="1008" y="1431"/>
                  </a:lnTo>
                  <a:lnTo>
                    <a:pt x="1006" y="1509"/>
                  </a:lnTo>
                  <a:lnTo>
                    <a:pt x="1006" y="9065"/>
                  </a:lnTo>
                  <a:lnTo>
                    <a:pt x="949" y="9109"/>
                  </a:lnTo>
                  <a:lnTo>
                    <a:pt x="894" y="9154"/>
                  </a:lnTo>
                  <a:lnTo>
                    <a:pt x="841" y="9200"/>
                  </a:lnTo>
                  <a:lnTo>
                    <a:pt x="788" y="9249"/>
                  </a:lnTo>
                  <a:lnTo>
                    <a:pt x="737" y="9299"/>
                  </a:lnTo>
                  <a:lnTo>
                    <a:pt x="687" y="9349"/>
                  </a:lnTo>
                  <a:lnTo>
                    <a:pt x="638" y="9401"/>
                  </a:lnTo>
                  <a:lnTo>
                    <a:pt x="592" y="9456"/>
                  </a:lnTo>
                  <a:lnTo>
                    <a:pt x="547" y="9511"/>
                  </a:lnTo>
                  <a:lnTo>
                    <a:pt x="503" y="9567"/>
                  </a:lnTo>
                  <a:lnTo>
                    <a:pt x="460" y="9625"/>
                  </a:lnTo>
                  <a:lnTo>
                    <a:pt x="420" y="9683"/>
                  </a:lnTo>
                  <a:lnTo>
                    <a:pt x="381" y="9744"/>
                  </a:lnTo>
                  <a:lnTo>
                    <a:pt x="344" y="9804"/>
                  </a:lnTo>
                  <a:lnTo>
                    <a:pt x="308" y="9866"/>
                  </a:lnTo>
                  <a:lnTo>
                    <a:pt x="275" y="9930"/>
                  </a:lnTo>
                  <a:lnTo>
                    <a:pt x="243" y="9994"/>
                  </a:lnTo>
                  <a:lnTo>
                    <a:pt x="213" y="10059"/>
                  </a:lnTo>
                  <a:lnTo>
                    <a:pt x="184" y="10126"/>
                  </a:lnTo>
                  <a:lnTo>
                    <a:pt x="158" y="10193"/>
                  </a:lnTo>
                  <a:lnTo>
                    <a:pt x="133" y="10262"/>
                  </a:lnTo>
                  <a:lnTo>
                    <a:pt x="110" y="10330"/>
                  </a:lnTo>
                  <a:lnTo>
                    <a:pt x="90" y="10400"/>
                  </a:lnTo>
                  <a:lnTo>
                    <a:pt x="71" y="10471"/>
                  </a:lnTo>
                  <a:lnTo>
                    <a:pt x="55" y="10543"/>
                  </a:lnTo>
                  <a:lnTo>
                    <a:pt x="41" y="10616"/>
                  </a:lnTo>
                  <a:lnTo>
                    <a:pt x="28" y="10689"/>
                  </a:lnTo>
                  <a:lnTo>
                    <a:pt x="18" y="10763"/>
                  </a:lnTo>
                  <a:lnTo>
                    <a:pt x="10" y="10837"/>
                  </a:lnTo>
                  <a:lnTo>
                    <a:pt x="5" y="10912"/>
                  </a:lnTo>
                  <a:lnTo>
                    <a:pt x="1" y="10989"/>
                  </a:lnTo>
                  <a:lnTo>
                    <a:pt x="0" y="11065"/>
                  </a:lnTo>
                  <a:lnTo>
                    <a:pt x="1" y="11142"/>
                  </a:lnTo>
                  <a:lnTo>
                    <a:pt x="5" y="11218"/>
                  </a:lnTo>
                  <a:lnTo>
                    <a:pt x="10" y="11294"/>
                  </a:lnTo>
                  <a:lnTo>
                    <a:pt x="18" y="11368"/>
                  </a:lnTo>
                  <a:lnTo>
                    <a:pt x="28" y="11442"/>
                  </a:lnTo>
                  <a:lnTo>
                    <a:pt x="41" y="11515"/>
                  </a:lnTo>
                  <a:lnTo>
                    <a:pt x="55" y="11587"/>
                  </a:lnTo>
                  <a:lnTo>
                    <a:pt x="71" y="11660"/>
                  </a:lnTo>
                  <a:lnTo>
                    <a:pt x="90" y="11730"/>
                  </a:lnTo>
                  <a:lnTo>
                    <a:pt x="110" y="11801"/>
                  </a:lnTo>
                  <a:lnTo>
                    <a:pt x="133" y="11869"/>
                  </a:lnTo>
                  <a:lnTo>
                    <a:pt x="158" y="11937"/>
                  </a:lnTo>
                  <a:lnTo>
                    <a:pt x="184" y="12005"/>
                  </a:lnTo>
                  <a:lnTo>
                    <a:pt x="213" y="12071"/>
                  </a:lnTo>
                  <a:lnTo>
                    <a:pt x="243" y="12137"/>
                  </a:lnTo>
                  <a:lnTo>
                    <a:pt x="275" y="12201"/>
                  </a:lnTo>
                  <a:lnTo>
                    <a:pt x="308" y="12264"/>
                  </a:lnTo>
                  <a:lnTo>
                    <a:pt x="344" y="12327"/>
                  </a:lnTo>
                  <a:lnTo>
                    <a:pt x="381" y="12387"/>
                  </a:lnTo>
                  <a:lnTo>
                    <a:pt x="420" y="12447"/>
                  </a:lnTo>
                  <a:lnTo>
                    <a:pt x="460" y="12506"/>
                  </a:lnTo>
                  <a:lnTo>
                    <a:pt x="503" y="12564"/>
                  </a:lnTo>
                  <a:lnTo>
                    <a:pt x="547" y="12619"/>
                  </a:lnTo>
                  <a:lnTo>
                    <a:pt x="592" y="12675"/>
                  </a:lnTo>
                  <a:lnTo>
                    <a:pt x="638" y="12729"/>
                  </a:lnTo>
                  <a:lnTo>
                    <a:pt x="687" y="12781"/>
                  </a:lnTo>
                  <a:lnTo>
                    <a:pt x="737" y="12832"/>
                  </a:lnTo>
                  <a:lnTo>
                    <a:pt x="788" y="12882"/>
                  </a:lnTo>
                  <a:lnTo>
                    <a:pt x="841" y="12930"/>
                  </a:lnTo>
                  <a:lnTo>
                    <a:pt x="894" y="12977"/>
                  </a:lnTo>
                  <a:lnTo>
                    <a:pt x="949" y="13022"/>
                  </a:lnTo>
                  <a:lnTo>
                    <a:pt x="1006" y="13066"/>
                  </a:lnTo>
                  <a:lnTo>
                    <a:pt x="1006" y="14586"/>
                  </a:lnTo>
                  <a:lnTo>
                    <a:pt x="1008" y="14664"/>
                  </a:lnTo>
                  <a:lnTo>
                    <a:pt x="1014" y="14740"/>
                  </a:lnTo>
                  <a:lnTo>
                    <a:pt x="1023" y="14815"/>
                  </a:lnTo>
                  <a:lnTo>
                    <a:pt x="1036" y="14890"/>
                  </a:lnTo>
                  <a:lnTo>
                    <a:pt x="1053" y="14962"/>
                  </a:lnTo>
                  <a:lnTo>
                    <a:pt x="1073" y="15035"/>
                  </a:lnTo>
                  <a:lnTo>
                    <a:pt x="1097" y="15104"/>
                  </a:lnTo>
                  <a:lnTo>
                    <a:pt x="1124" y="15173"/>
                  </a:lnTo>
                  <a:lnTo>
                    <a:pt x="1154" y="15240"/>
                  </a:lnTo>
                  <a:lnTo>
                    <a:pt x="1188" y="15304"/>
                  </a:lnTo>
                  <a:lnTo>
                    <a:pt x="1224" y="15368"/>
                  </a:lnTo>
                  <a:lnTo>
                    <a:pt x="1263" y="15429"/>
                  </a:lnTo>
                  <a:lnTo>
                    <a:pt x="1305" y="15488"/>
                  </a:lnTo>
                  <a:lnTo>
                    <a:pt x="1351" y="15546"/>
                  </a:lnTo>
                  <a:lnTo>
                    <a:pt x="1398" y="15600"/>
                  </a:lnTo>
                  <a:lnTo>
                    <a:pt x="1448" y="15652"/>
                  </a:lnTo>
                  <a:lnTo>
                    <a:pt x="1501" y="15703"/>
                  </a:lnTo>
                  <a:lnTo>
                    <a:pt x="1555" y="15750"/>
                  </a:lnTo>
                  <a:lnTo>
                    <a:pt x="1612" y="15795"/>
                  </a:lnTo>
                  <a:lnTo>
                    <a:pt x="1672" y="15836"/>
                  </a:lnTo>
                  <a:lnTo>
                    <a:pt x="1733" y="15877"/>
                  </a:lnTo>
                  <a:lnTo>
                    <a:pt x="1795" y="15913"/>
                  </a:lnTo>
                  <a:lnTo>
                    <a:pt x="1861" y="15946"/>
                  </a:lnTo>
                  <a:lnTo>
                    <a:pt x="1928" y="15976"/>
                  </a:lnTo>
                  <a:lnTo>
                    <a:pt x="1996" y="16003"/>
                  </a:lnTo>
                  <a:lnTo>
                    <a:pt x="2066" y="16027"/>
                  </a:lnTo>
                  <a:lnTo>
                    <a:pt x="2137" y="16048"/>
                  </a:lnTo>
                  <a:lnTo>
                    <a:pt x="2211" y="16064"/>
                  </a:lnTo>
                  <a:lnTo>
                    <a:pt x="2285" y="16078"/>
                  </a:lnTo>
                  <a:lnTo>
                    <a:pt x="2361" y="16087"/>
                  </a:lnTo>
                  <a:lnTo>
                    <a:pt x="2437" y="16093"/>
                  </a:lnTo>
                  <a:lnTo>
                    <a:pt x="2515" y="16095"/>
                  </a:lnTo>
                  <a:lnTo>
                    <a:pt x="2592" y="16093"/>
                  </a:lnTo>
                  <a:lnTo>
                    <a:pt x="2668" y="16087"/>
                  </a:lnTo>
                  <a:lnTo>
                    <a:pt x="2744" y="16078"/>
                  </a:lnTo>
                  <a:lnTo>
                    <a:pt x="2818" y="16064"/>
                  </a:lnTo>
                  <a:lnTo>
                    <a:pt x="2891" y="16048"/>
                  </a:lnTo>
                  <a:lnTo>
                    <a:pt x="2963" y="16027"/>
                  </a:lnTo>
                  <a:lnTo>
                    <a:pt x="3033" y="16003"/>
                  </a:lnTo>
                  <a:lnTo>
                    <a:pt x="3101" y="15976"/>
                  </a:lnTo>
                  <a:lnTo>
                    <a:pt x="3168" y="15946"/>
                  </a:lnTo>
                  <a:lnTo>
                    <a:pt x="3233" y="15913"/>
                  </a:lnTo>
                  <a:lnTo>
                    <a:pt x="3296" y="15877"/>
                  </a:lnTo>
                  <a:lnTo>
                    <a:pt x="3357" y="15836"/>
                  </a:lnTo>
                  <a:lnTo>
                    <a:pt x="3417" y="15795"/>
                  </a:lnTo>
                  <a:lnTo>
                    <a:pt x="3474" y="15750"/>
                  </a:lnTo>
                  <a:lnTo>
                    <a:pt x="3528" y="15703"/>
                  </a:lnTo>
                  <a:lnTo>
                    <a:pt x="3581" y="15652"/>
                  </a:lnTo>
                  <a:lnTo>
                    <a:pt x="3631" y="15600"/>
                  </a:lnTo>
                  <a:lnTo>
                    <a:pt x="3678" y="15546"/>
                  </a:lnTo>
                  <a:lnTo>
                    <a:pt x="3724" y="15488"/>
                  </a:lnTo>
                  <a:lnTo>
                    <a:pt x="3765" y="15429"/>
                  </a:lnTo>
                  <a:lnTo>
                    <a:pt x="3805" y="15368"/>
                  </a:lnTo>
                  <a:lnTo>
                    <a:pt x="3841" y="15304"/>
                  </a:lnTo>
                  <a:lnTo>
                    <a:pt x="3875" y="15240"/>
                  </a:lnTo>
                  <a:lnTo>
                    <a:pt x="3905" y="15173"/>
                  </a:lnTo>
                  <a:lnTo>
                    <a:pt x="3932" y="15104"/>
                  </a:lnTo>
                  <a:lnTo>
                    <a:pt x="3955" y="15035"/>
                  </a:lnTo>
                  <a:lnTo>
                    <a:pt x="3976" y="14962"/>
                  </a:lnTo>
                  <a:lnTo>
                    <a:pt x="3992" y="14890"/>
                  </a:lnTo>
                  <a:lnTo>
                    <a:pt x="4006" y="14815"/>
                  </a:lnTo>
                  <a:lnTo>
                    <a:pt x="4015" y="14740"/>
                  </a:lnTo>
                  <a:lnTo>
                    <a:pt x="4021" y="14664"/>
                  </a:lnTo>
                  <a:lnTo>
                    <a:pt x="4023" y="14586"/>
                  </a:lnTo>
                  <a:lnTo>
                    <a:pt x="4023" y="13066"/>
                  </a:lnTo>
                  <a:lnTo>
                    <a:pt x="4080" y="13022"/>
                  </a:lnTo>
                  <a:lnTo>
                    <a:pt x="4135" y="12977"/>
                  </a:lnTo>
                  <a:lnTo>
                    <a:pt x="4188" y="12930"/>
                  </a:lnTo>
                  <a:lnTo>
                    <a:pt x="4241" y="12882"/>
                  </a:lnTo>
                  <a:lnTo>
                    <a:pt x="4292" y="12832"/>
                  </a:lnTo>
                  <a:lnTo>
                    <a:pt x="4342" y="12781"/>
                  </a:lnTo>
                  <a:lnTo>
                    <a:pt x="4391" y="12729"/>
                  </a:lnTo>
                  <a:lnTo>
                    <a:pt x="4437" y="12675"/>
                  </a:lnTo>
                  <a:lnTo>
                    <a:pt x="4482" y="12619"/>
                  </a:lnTo>
                  <a:lnTo>
                    <a:pt x="4526" y="12564"/>
                  </a:lnTo>
                  <a:lnTo>
                    <a:pt x="4569" y="12506"/>
                  </a:lnTo>
                  <a:lnTo>
                    <a:pt x="4609" y="12447"/>
                  </a:lnTo>
                  <a:lnTo>
                    <a:pt x="4648" y="12387"/>
                  </a:lnTo>
                  <a:lnTo>
                    <a:pt x="4685" y="12327"/>
                  </a:lnTo>
                  <a:lnTo>
                    <a:pt x="4721" y="12264"/>
                  </a:lnTo>
                  <a:lnTo>
                    <a:pt x="4755" y="12201"/>
                  </a:lnTo>
                  <a:lnTo>
                    <a:pt x="4786" y="12137"/>
                  </a:lnTo>
                  <a:lnTo>
                    <a:pt x="4816" y="12071"/>
                  </a:lnTo>
                  <a:lnTo>
                    <a:pt x="4845" y="12005"/>
                  </a:lnTo>
                  <a:lnTo>
                    <a:pt x="4871" y="11937"/>
                  </a:lnTo>
                  <a:lnTo>
                    <a:pt x="4896" y="11869"/>
                  </a:lnTo>
                  <a:lnTo>
                    <a:pt x="4919" y="11801"/>
                  </a:lnTo>
                  <a:lnTo>
                    <a:pt x="4939" y="11730"/>
                  </a:lnTo>
                  <a:lnTo>
                    <a:pt x="4958" y="11660"/>
                  </a:lnTo>
                  <a:lnTo>
                    <a:pt x="4974" y="11587"/>
                  </a:lnTo>
                  <a:lnTo>
                    <a:pt x="4989" y="11515"/>
                  </a:lnTo>
                  <a:lnTo>
                    <a:pt x="5001" y="11442"/>
                  </a:lnTo>
                  <a:lnTo>
                    <a:pt x="5011" y="11368"/>
                  </a:lnTo>
                  <a:lnTo>
                    <a:pt x="5019" y="11294"/>
                  </a:lnTo>
                  <a:lnTo>
                    <a:pt x="5024" y="11218"/>
                  </a:lnTo>
                  <a:lnTo>
                    <a:pt x="5028" y="11142"/>
                  </a:lnTo>
                  <a:lnTo>
                    <a:pt x="5029" y="11065"/>
                  </a:lnTo>
                  <a:lnTo>
                    <a:pt x="5028" y="10989"/>
                  </a:lnTo>
                  <a:lnTo>
                    <a:pt x="5024" y="10912"/>
                  </a:lnTo>
                  <a:lnTo>
                    <a:pt x="5019" y="10837"/>
                  </a:lnTo>
                  <a:lnTo>
                    <a:pt x="5011" y="10763"/>
                  </a:lnTo>
                  <a:lnTo>
                    <a:pt x="5001" y="10689"/>
                  </a:lnTo>
                  <a:lnTo>
                    <a:pt x="4989" y="10616"/>
                  </a:lnTo>
                  <a:lnTo>
                    <a:pt x="4974" y="10543"/>
                  </a:lnTo>
                  <a:lnTo>
                    <a:pt x="4958" y="10471"/>
                  </a:lnTo>
                  <a:lnTo>
                    <a:pt x="4939" y="10400"/>
                  </a:lnTo>
                  <a:lnTo>
                    <a:pt x="4919" y="10330"/>
                  </a:lnTo>
                  <a:lnTo>
                    <a:pt x="4896" y="10262"/>
                  </a:lnTo>
                  <a:lnTo>
                    <a:pt x="4871" y="10193"/>
                  </a:lnTo>
                  <a:lnTo>
                    <a:pt x="4845" y="10126"/>
                  </a:lnTo>
                  <a:lnTo>
                    <a:pt x="4816" y="10059"/>
                  </a:lnTo>
                  <a:lnTo>
                    <a:pt x="4786" y="9994"/>
                  </a:lnTo>
                  <a:lnTo>
                    <a:pt x="4755" y="9930"/>
                  </a:lnTo>
                  <a:lnTo>
                    <a:pt x="4721" y="9866"/>
                  </a:lnTo>
                  <a:lnTo>
                    <a:pt x="4685" y="9804"/>
                  </a:lnTo>
                  <a:lnTo>
                    <a:pt x="4648" y="9744"/>
                  </a:lnTo>
                  <a:lnTo>
                    <a:pt x="4609" y="9683"/>
                  </a:lnTo>
                  <a:lnTo>
                    <a:pt x="4569" y="9625"/>
                  </a:lnTo>
                  <a:lnTo>
                    <a:pt x="4526" y="9567"/>
                  </a:lnTo>
                  <a:lnTo>
                    <a:pt x="4482" y="9511"/>
                  </a:lnTo>
                  <a:lnTo>
                    <a:pt x="4437" y="9456"/>
                  </a:lnTo>
                  <a:lnTo>
                    <a:pt x="4391" y="9401"/>
                  </a:lnTo>
                  <a:lnTo>
                    <a:pt x="4342" y="9349"/>
                  </a:lnTo>
                  <a:lnTo>
                    <a:pt x="4292" y="9299"/>
                  </a:lnTo>
                  <a:lnTo>
                    <a:pt x="4241" y="9249"/>
                  </a:lnTo>
                  <a:lnTo>
                    <a:pt x="4188" y="9200"/>
                  </a:lnTo>
                  <a:lnTo>
                    <a:pt x="4135" y="9154"/>
                  </a:lnTo>
                  <a:lnTo>
                    <a:pt x="4080" y="9109"/>
                  </a:lnTo>
                  <a:lnTo>
                    <a:pt x="4023" y="90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21" name="íṣḷíḓé">
              <a:extLst>
                <a:ext uri="{FF2B5EF4-FFF2-40B4-BE49-F238E27FC236}">
                  <a16:creationId xmlns:a16="http://schemas.microsoft.com/office/drawing/2014/main" id="{9AB76126-A281-4EF3-9F85-DCD55A11C494}"/>
                </a:ext>
              </a:extLst>
            </p:cNvPr>
            <p:cNvSpPr/>
            <p:nvPr/>
          </p:nvSpPr>
          <p:spPr bwMode="auto">
            <a:xfrm>
              <a:off x="2893126" y="1693637"/>
              <a:ext cx="268740" cy="268739"/>
            </a:xfrm>
            <a:custGeom>
              <a:avLst/>
              <a:gdLst>
                <a:gd name="T0" fmla="*/ 8330 w 16095"/>
                <a:gd name="T1" fmla="*/ 13155 h 16095"/>
                <a:gd name="T2" fmla="*/ 8153 w 16095"/>
                <a:gd name="T3" fmla="*/ 13120 h 16095"/>
                <a:gd name="T4" fmla="*/ 5125 w 16095"/>
                <a:gd name="T5" fmla="*/ 12104 h 16095"/>
                <a:gd name="T6" fmla="*/ 5125 w 16095"/>
                <a:gd name="T7" fmla="*/ 12104 h 16095"/>
                <a:gd name="T8" fmla="*/ 4694 w 16095"/>
                <a:gd name="T9" fmla="*/ 11707 h 16095"/>
                <a:gd name="T10" fmla="*/ 1577 w 16095"/>
                <a:gd name="T11" fmla="*/ 10451 h 16095"/>
                <a:gd name="T12" fmla="*/ 15800 w 16095"/>
                <a:gd name="T13" fmla="*/ 45 h 16095"/>
                <a:gd name="T14" fmla="*/ 15716 w 16095"/>
                <a:gd name="T15" fmla="*/ 15 h 16095"/>
                <a:gd name="T16" fmla="*/ 15627 w 16095"/>
                <a:gd name="T17" fmla="*/ 1 h 16095"/>
                <a:gd name="T18" fmla="*/ 15537 w 16095"/>
                <a:gd name="T19" fmla="*/ 3 h 16095"/>
                <a:gd name="T20" fmla="*/ 15448 w 16095"/>
                <a:gd name="T21" fmla="*/ 21 h 16095"/>
                <a:gd name="T22" fmla="*/ 15362 w 16095"/>
                <a:gd name="T23" fmla="*/ 55 h 16095"/>
                <a:gd name="T24" fmla="*/ 210 w 16095"/>
                <a:gd name="T25" fmla="*/ 10154 h 16095"/>
                <a:gd name="T26" fmla="*/ 145 w 16095"/>
                <a:gd name="T27" fmla="*/ 10209 h 16095"/>
                <a:gd name="T28" fmla="*/ 91 w 16095"/>
                <a:gd name="T29" fmla="*/ 10275 h 16095"/>
                <a:gd name="T30" fmla="*/ 48 w 16095"/>
                <a:gd name="T31" fmla="*/ 10348 h 16095"/>
                <a:gd name="T32" fmla="*/ 18 w 16095"/>
                <a:gd name="T33" fmla="*/ 10428 h 16095"/>
                <a:gd name="T34" fmla="*/ 3 w 16095"/>
                <a:gd name="T35" fmla="*/ 10511 h 16095"/>
                <a:gd name="T36" fmla="*/ 1 w 16095"/>
                <a:gd name="T37" fmla="*/ 10597 h 16095"/>
                <a:gd name="T38" fmla="*/ 15 w 16095"/>
                <a:gd name="T39" fmla="*/ 10682 h 16095"/>
                <a:gd name="T40" fmla="*/ 42 w 16095"/>
                <a:gd name="T41" fmla="*/ 10764 h 16095"/>
                <a:gd name="T42" fmla="*/ 82 w 16095"/>
                <a:gd name="T43" fmla="*/ 10838 h 16095"/>
                <a:gd name="T44" fmla="*/ 134 w 16095"/>
                <a:gd name="T45" fmla="*/ 10904 h 16095"/>
                <a:gd name="T46" fmla="*/ 197 w 16095"/>
                <a:gd name="T47" fmla="*/ 10961 h 16095"/>
                <a:gd name="T48" fmla="*/ 269 w 16095"/>
                <a:gd name="T49" fmla="*/ 11007 h 16095"/>
                <a:gd name="T50" fmla="*/ 6102 w 16095"/>
                <a:gd name="T51" fmla="*/ 15842 h 16095"/>
                <a:gd name="T52" fmla="*/ 6148 w 16095"/>
                <a:gd name="T53" fmla="*/ 15910 h 16095"/>
                <a:gd name="T54" fmla="*/ 6206 w 16095"/>
                <a:gd name="T55" fmla="*/ 15968 h 16095"/>
                <a:gd name="T56" fmla="*/ 6270 w 16095"/>
                <a:gd name="T57" fmla="*/ 16018 h 16095"/>
                <a:gd name="T58" fmla="*/ 6341 w 16095"/>
                <a:gd name="T59" fmla="*/ 16055 h 16095"/>
                <a:gd name="T60" fmla="*/ 6419 w 16095"/>
                <a:gd name="T61" fmla="*/ 16081 h 16095"/>
                <a:gd name="T62" fmla="*/ 6499 w 16095"/>
                <a:gd name="T63" fmla="*/ 16093 h 16095"/>
                <a:gd name="T64" fmla="*/ 6572 w 16095"/>
                <a:gd name="T65" fmla="*/ 16094 h 16095"/>
                <a:gd name="T66" fmla="*/ 6652 w 16095"/>
                <a:gd name="T67" fmla="*/ 16082 h 16095"/>
                <a:gd name="T68" fmla="*/ 6729 w 16095"/>
                <a:gd name="T69" fmla="*/ 16058 h 16095"/>
                <a:gd name="T70" fmla="*/ 6800 w 16095"/>
                <a:gd name="T71" fmla="*/ 16022 h 16095"/>
                <a:gd name="T72" fmla="*/ 6866 w 16095"/>
                <a:gd name="T73" fmla="*/ 15974 h 16095"/>
                <a:gd name="T74" fmla="*/ 6922 w 16095"/>
                <a:gd name="T75" fmla="*/ 15917 h 16095"/>
                <a:gd name="T76" fmla="*/ 6970 w 16095"/>
                <a:gd name="T77" fmla="*/ 15851 h 16095"/>
                <a:gd name="T78" fmla="*/ 12958 w 16095"/>
                <a:gd name="T79" fmla="*/ 16081 h 16095"/>
                <a:gd name="T80" fmla="*/ 13077 w 16095"/>
                <a:gd name="T81" fmla="*/ 16095 h 16095"/>
                <a:gd name="T82" fmla="*/ 13157 w 16095"/>
                <a:gd name="T83" fmla="*/ 16089 h 16095"/>
                <a:gd name="T84" fmla="*/ 13234 w 16095"/>
                <a:gd name="T85" fmla="*/ 16070 h 16095"/>
                <a:gd name="T86" fmla="*/ 13309 w 16095"/>
                <a:gd name="T87" fmla="*/ 16038 h 16095"/>
                <a:gd name="T88" fmla="*/ 13415 w 16095"/>
                <a:gd name="T89" fmla="*/ 15964 h 16095"/>
                <a:gd name="T90" fmla="*/ 13504 w 16095"/>
                <a:gd name="T91" fmla="*/ 15858 h 16095"/>
                <a:gd name="T92" fmla="*/ 13561 w 16095"/>
                <a:gd name="T93" fmla="*/ 15730 h 16095"/>
                <a:gd name="T94" fmla="*/ 16093 w 16095"/>
                <a:gd name="T95" fmla="*/ 548 h 16095"/>
                <a:gd name="T96" fmla="*/ 16093 w 16095"/>
                <a:gd name="T97" fmla="*/ 457 h 16095"/>
                <a:gd name="T98" fmla="*/ 16076 w 16095"/>
                <a:gd name="T99" fmla="*/ 367 h 16095"/>
                <a:gd name="T100" fmla="*/ 16045 w 16095"/>
                <a:gd name="T101" fmla="*/ 284 h 16095"/>
                <a:gd name="T102" fmla="*/ 15997 w 16095"/>
                <a:gd name="T103" fmla="*/ 206 h 16095"/>
                <a:gd name="T104" fmla="*/ 15938 w 16095"/>
                <a:gd name="T105" fmla="*/ 138 h 16095"/>
                <a:gd name="T106" fmla="*/ 15865 w 16095"/>
                <a:gd name="T107" fmla="*/ 80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6095" h="16095">
                  <a:moveTo>
                    <a:pt x="12684" y="14892"/>
                  </a:moveTo>
                  <a:lnTo>
                    <a:pt x="8388" y="13174"/>
                  </a:lnTo>
                  <a:lnTo>
                    <a:pt x="8368" y="13167"/>
                  </a:lnTo>
                  <a:lnTo>
                    <a:pt x="8349" y="13161"/>
                  </a:lnTo>
                  <a:lnTo>
                    <a:pt x="8330" y="13155"/>
                  </a:lnTo>
                  <a:lnTo>
                    <a:pt x="8310" y="13149"/>
                  </a:lnTo>
                  <a:lnTo>
                    <a:pt x="8271" y="13140"/>
                  </a:lnTo>
                  <a:lnTo>
                    <a:pt x="8232" y="13132"/>
                  </a:lnTo>
                  <a:lnTo>
                    <a:pt x="8192" y="13125"/>
                  </a:lnTo>
                  <a:lnTo>
                    <a:pt x="8153" y="13120"/>
                  </a:lnTo>
                  <a:lnTo>
                    <a:pt x="8114" y="13117"/>
                  </a:lnTo>
                  <a:lnTo>
                    <a:pt x="8074" y="13114"/>
                  </a:lnTo>
                  <a:lnTo>
                    <a:pt x="14689" y="2860"/>
                  </a:lnTo>
                  <a:lnTo>
                    <a:pt x="12684" y="14892"/>
                  </a:lnTo>
                  <a:close/>
                  <a:moveTo>
                    <a:pt x="5125" y="12104"/>
                  </a:moveTo>
                  <a:lnTo>
                    <a:pt x="5123" y="12102"/>
                  </a:lnTo>
                  <a:lnTo>
                    <a:pt x="5121" y="12099"/>
                  </a:lnTo>
                  <a:lnTo>
                    <a:pt x="14648" y="1902"/>
                  </a:lnTo>
                  <a:lnTo>
                    <a:pt x="6527" y="14558"/>
                  </a:lnTo>
                  <a:lnTo>
                    <a:pt x="5125" y="12104"/>
                  </a:lnTo>
                  <a:close/>
                  <a:moveTo>
                    <a:pt x="1577" y="10451"/>
                  </a:moveTo>
                  <a:lnTo>
                    <a:pt x="13234" y="2679"/>
                  </a:lnTo>
                  <a:lnTo>
                    <a:pt x="4759" y="11751"/>
                  </a:lnTo>
                  <a:lnTo>
                    <a:pt x="4726" y="11729"/>
                  </a:lnTo>
                  <a:lnTo>
                    <a:pt x="4694" y="11707"/>
                  </a:lnTo>
                  <a:lnTo>
                    <a:pt x="4678" y="11697"/>
                  </a:lnTo>
                  <a:lnTo>
                    <a:pt x="4661" y="11687"/>
                  </a:lnTo>
                  <a:lnTo>
                    <a:pt x="4643" y="11677"/>
                  </a:lnTo>
                  <a:lnTo>
                    <a:pt x="4625" y="11669"/>
                  </a:lnTo>
                  <a:lnTo>
                    <a:pt x="1577" y="10451"/>
                  </a:lnTo>
                  <a:close/>
                  <a:moveTo>
                    <a:pt x="15865" y="80"/>
                  </a:moveTo>
                  <a:lnTo>
                    <a:pt x="15850" y="70"/>
                  </a:lnTo>
                  <a:lnTo>
                    <a:pt x="15833" y="61"/>
                  </a:lnTo>
                  <a:lnTo>
                    <a:pt x="15817" y="53"/>
                  </a:lnTo>
                  <a:lnTo>
                    <a:pt x="15800" y="45"/>
                  </a:lnTo>
                  <a:lnTo>
                    <a:pt x="15784" y="38"/>
                  </a:lnTo>
                  <a:lnTo>
                    <a:pt x="15767" y="31"/>
                  </a:lnTo>
                  <a:lnTo>
                    <a:pt x="15750" y="25"/>
                  </a:lnTo>
                  <a:lnTo>
                    <a:pt x="15733" y="20"/>
                  </a:lnTo>
                  <a:lnTo>
                    <a:pt x="15716" y="15"/>
                  </a:lnTo>
                  <a:lnTo>
                    <a:pt x="15698" y="11"/>
                  </a:lnTo>
                  <a:lnTo>
                    <a:pt x="15681" y="8"/>
                  </a:lnTo>
                  <a:lnTo>
                    <a:pt x="15662" y="5"/>
                  </a:lnTo>
                  <a:lnTo>
                    <a:pt x="15645" y="3"/>
                  </a:lnTo>
                  <a:lnTo>
                    <a:pt x="15627" y="1"/>
                  </a:lnTo>
                  <a:lnTo>
                    <a:pt x="15609" y="0"/>
                  </a:lnTo>
                  <a:lnTo>
                    <a:pt x="15592" y="0"/>
                  </a:lnTo>
                  <a:lnTo>
                    <a:pt x="15574" y="0"/>
                  </a:lnTo>
                  <a:lnTo>
                    <a:pt x="15556" y="1"/>
                  </a:lnTo>
                  <a:lnTo>
                    <a:pt x="15537" y="3"/>
                  </a:lnTo>
                  <a:lnTo>
                    <a:pt x="15520" y="5"/>
                  </a:lnTo>
                  <a:lnTo>
                    <a:pt x="15501" y="8"/>
                  </a:lnTo>
                  <a:lnTo>
                    <a:pt x="15483" y="12"/>
                  </a:lnTo>
                  <a:lnTo>
                    <a:pt x="15465" y="16"/>
                  </a:lnTo>
                  <a:lnTo>
                    <a:pt x="15448" y="21"/>
                  </a:lnTo>
                  <a:lnTo>
                    <a:pt x="15430" y="26"/>
                  </a:lnTo>
                  <a:lnTo>
                    <a:pt x="15413" y="32"/>
                  </a:lnTo>
                  <a:lnTo>
                    <a:pt x="15396" y="39"/>
                  </a:lnTo>
                  <a:lnTo>
                    <a:pt x="15379" y="47"/>
                  </a:lnTo>
                  <a:lnTo>
                    <a:pt x="15362" y="55"/>
                  </a:lnTo>
                  <a:lnTo>
                    <a:pt x="15346" y="64"/>
                  </a:lnTo>
                  <a:lnTo>
                    <a:pt x="15329" y="74"/>
                  </a:lnTo>
                  <a:lnTo>
                    <a:pt x="15313" y="84"/>
                  </a:lnTo>
                  <a:lnTo>
                    <a:pt x="224" y="10144"/>
                  </a:lnTo>
                  <a:lnTo>
                    <a:pt x="210" y="10154"/>
                  </a:lnTo>
                  <a:lnTo>
                    <a:pt x="196" y="10164"/>
                  </a:lnTo>
                  <a:lnTo>
                    <a:pt x="182" y="10175"/>
                  </a:lnTo>
                  <a:lnTo>
                    <a:pt x="169" y="10186"/>
                  </a:lnTo>
                  <a:lnTo>
                    <a:pt x="157" y="10197"/>
                  </a:lnTo>
                  <a:lnTo>
                    <a:pt x="145" y="10209"/>
                  </a:lnTo>
                  <a:lnTo>
                    <a:pt x="133" y="10222"/>
                  </a:lnTo>
                  <a:lnTo>
                    <a:pt x="122" y="10234"/>
                  </a:lnTo>
                  <a:lnTo>
                    <a:pt x="111" y="10247"/>
                  </a:lnTo>
                  <a:lnTo>
                    <a:pt x="100" y="10262"/>
                  </a:lnTo>
                  <a:lnTo>
                    <a:pt x="91" y="10275"/>
                  </a:lnTo>
                  <a:lnTo>
                    <a:pt x="80" y="10289"/>
                  </a:lnTo>
                  <a:lnTo>
                    <a:pt x="71" y="10304"/>
                  </a:lnTo>
                  <a:lnTo>
                    <a:pt x="63" y="10318"/>
                  </a:lnTo>
                  <a:lnTo>
                    <a:pt x="55" y="10333"/>
                  </a:lnTo>
                  <a:lnTo>
                    <a:pt x="48" y="10348"/>
                  </a:lnTo>
                  <a:lnTo>
                    <a:pt x="41" y="10363"/>
                  </a:lnTo>
                  <a:lnTo>
                    <a:pt x="34" y="10379"/>
                  </a:lnTo>
                  <a:lnTo>
                    <a:pt x="29" y="10395"/>
                  </a:lnTo>
                  <a:lnTo>
                    <a:pt x="23" y="10411"/>
                  </a:lnTo>
                  <a:lnTo>
                    <a:pt x="18" y="10428"/>
                  </a:lnTo>
                  <a:lnTo>
                    <a:pt x="14" y="10444"/>
                  </a:lnTo>
                  <a:lnTo>
                    <a:pt x="10" y="10460"/>
                  </a:lnTo>
                  <a:lnTo>
                    <a:pt x="7" y="10477"/>
                  </a:lnTo>
                  <a:lnTo>
                    <a:pt x="5" y="10494"/>
                  </a:lnTo>
                  <a:lnTo>
                    <a:pt x="3" y="10511"/>
                  </a:lnTo>
                  <a:lnTo>
                    <a:pt x="1" y="10528"/>
                  </a:lnTo>
                  <a:lnTo>
                    <a:pt x="0" y="10545"/>
                  </a:lnTo>
                  <a:lnTo>
                    <a:pt x="0" y="10562"/>
                  </a:lnTo>
                  <a:lnTo>
                    <a:pt x="0" y="10579"/>
                  </a:lnTo>
                  <a:lnTo>
                    <a:pt x="1" y="10597"/>
                  </a:lnTo>
                  <a:lnTo>
                    <a:pt x="3" y="10614"/>
                  </a:lnTo>
                  <a:lnTo>
                    <a:pt x="5" y="10632"/>
                  </a:lnTo>
                  <a:lnTo>
                    <a:pt x="8" y="10649"/>
                  </a:lnTo>
                  <a:lnTo>
                    <a:pt x="11" y="10666"/>
                  </a:lnTo>
                  <a:lnTo>
                    <a:pt x="15" y="10682"/>
                  </a:lnTo>
                  <a:lnTo>
                    <a:pt x="19" y="10699"/>
                  </a:lnTo>
                  <a:lnTo>
                    <a:pt x="24" y="10715"/>
                  </a:lnTo>
                  <a:lnTo>
                    <a:pt x="29" y="10731"/>
                  </a:lnTo>
                  <a:lnTo>
                    <a:pt x="35" y="10747"/>
                  </a:lnTo>
                  <a:lnTo>
                    <a:pt x="42" y="10764"/>
                  </a:lnTo>
                  <a:lnTo>
                    <a:pt x="49" y="10779"/>
                  </a:lnTo>
                  <a:lnTo>
                    <a:pt x="56" y="10794"/>
                  </a:lnTo>
                  <a:lnTo>
                    <a:pt x="64" y="10809"/>
                  </a:lnTo>
                  <a:lnTo>
                    <a:pt x="73" y="10824"/>
                  </a:lnTo>
                  <a:lnTo>
                    <a:pt x="82" y="10838"/>
                  </a:lnTo>
                  <a:lnTo>
                    <a:pt x="92" y="10852"/>
                  </a:lnTo>
                  <a:lnTo>
                    <a:pt x="102" y="10865"/>
                  </a:lnTo>
                  <a:lnTo>
                    <a:pt x="112" y="10878"/>
                  </a:lnTo>
                  <a:lnTo>
                    <a:pt x="123" y="10891"/>
                  </a:lnTo>
                  <a:lnTo>
                    <a:pt x="134" y="10904"/>
                  </a:lnTo>
                  <a:lnTo>
                    <a:pt x="146" y="10916"/>
                  </a:lnTo>
                  <a:lnTo>
                    <a:pt x="158" y="10929"/>
                  </a:lnTo>
                  <a:lnTo>
                    <a:pt x="171" y="10940"/>
                  </a:lnTo>
                  <a:lnTo>
                    <a:pt x="183" y="10951"/>
                  </a:lnTo>
                  <a:lnTo>
                    <a:pt x="197" y="10961"/>
                  </a:lnTo>
                  <a:lnTo>
                    <a:pt x="210" y="10972"/>
                  </a:lnTo>
                  <a:lnTo>
                    <a:pt x="224" y="10981"/>
                  </a:lnTo>
                  <a:lnTo>
                    <a:pt x="239" y="10990"/>
                  </a:lnTo>
                  <a:lnTo>
                    <a:pt x="253" y="10999"/>
                  </a:lnTo>
                  <a:lnTo>
                    <a:pt x="269" y="11007"/>
                  </a:lnTo>
                  <a:lnTo>
                    <a:pt x="285" y="11015"/>
                  </a:lnTo>
                  <a:lnTo>
                    <a:pt x="300" y="11022"/>
                  </a:lnTo>
                  <a:lnTo>
                    <a:pt x="316" y="11029"/>
                  </a:lnTo>
                  <a:lnTo>
                    <a:pt x="4251" y="12603"/>
                  </a:lnTo>
                  <a:lnTo>
                    <a:pt x="6102" y="15842"/>
                  </a:lnTo>
                  <a:lnTo>
                    <a:pt x="6110" y="15856"/>
                  </a:lnTo>
                  <a:lnTo>
                    <a:pt x="6119" y="15870"/>
                  </a:lnTo>
                  <a:lnTo>
                    <a:pt x="6128" y="15884"/>
                  </a:lnTo>
                  <a:lnTo>
                    <a:pt x="6138" y="15897"/>
                  </a:lnTo>
                  <a:lnTo>
                    <a:pt x="6148" y="15910"/>
                  </a:lnTo>
                  <a:lnTo>
                    <a:pt x="6159" y="15922"/>
                  </a:lnTo>
                  <a:lnTo>
                    <a:pt x="6170" y="15934"/>
                  </a:lnTo>
                  <a:lnTo>
                    <a:pt x="6181" y="15946"/>
                  </a:lnTo>
                  <a:lnTo>
                    <a:pt x="6194" y="15957"/>
                  </a:lnTo>
                  <a:lnTo>
                    <a:pt x="6206" y="15968"/>
                  </a:lnTo>
                  <a:lnTo>
                    <a:pt x="6218" y="15979"/>
                  </a:lnTo>
                  <a:lnTo>
                    <a:pt x="6230" y="15989"/>
                  </a:lnTo>
                  <a:lnTo>
                    <a:pt x="6243" y="15999"/>
                  </a:lnTo>
                  <a:lnTo>
                    <a:pt x="6257" y="16008"/>
                  </a:lnTo>
                  <a:lnTo>
                    <a:pt x="6270" y="16018"/>
                  </a:lnTo>
                  <a:lnTo>
                    <a:pt x="6284" y="16026"/>
                  </a:lnTo>
                  <a:lnTo>
                    <a:pt x="6298" y="16034"/>
                  </a:lnTo>
                  <a:lnTo>
                    <a:pt x="6312" y="16041"/>
                  </a:lnTo>
                  <a:lnTo>
                    <a:pt x="6326" y="16048"/>
                  </a:lnTo>
                  <a:lnTo>
                    <a:pt x="6341" y="16055"/>
                  </a:lnTo>
                  <a:lnTo>
                    <a:pt x="6357" y="16061"/>
                  </a:lnTo>
                  <a:lnTo>
                    <a:pt x="6372" y="16067"/>
                  </a:lnTo>
                  <a:lnTo>
                    <a:pt x="6388" y="16072"/>
                  </a:lnTo>
                  <a:lnTo>
                    <a:pt x="6403" y="16076"/>
                  </a:lnTo>
                  <a:lnTo>
                    <a:pt x="6419" y="16081"/>
                  </a:lnTo>
                  <a:lnTo>
                    <a:pt x="6435" y="16084"/>
                  </a:lnTo>
                  <a:lnTo>
                    <a:pt x="6451" y="16087"/>
                  </a:lnTo>
                  <a:lnTo>
                    <a:pt x="6467" y="16090"/>
                  </a:lnTo>
                  <a:lnTo>
                    <a:pt x="6483" y="16092"/>
                  </a:lnTo>
                  <a:lnTo>
                    <a:pt x="6499" y="16093"/>
                  </a:lnTo>
                  <a:lnTo>
                    <a:pt x="6516" y="16094"/>
                  </a:lnTo>
                  <a:lnTo>
                    <a:pt x="6533" y="16095"/>
                  </a:lnTo>
                  <a:lnTo>
                    <a:pt x="6539" y="16095"/>
                  </a:lnTo>
                  <a:lnTo>
                    <a:pt x="6555" y="16095"/>
                  </a:lnTo>
                  <a:lnTo>
                    <a:pt x="6572" y="16094"/>
                  </a:lnTo>
                  <a:lnTo>
                    <a:pt x="6588" y="16093"/>
                  </a:lnTo>
                  <a:lnTo>
                    <a:pt x="6604" y="16091"/>
                  </a:lnTo>
                  <a:lnTo>
                    <a:pt x="6620" y="16088"/>
                  </a:lnTo>
                  <a:lnTo>
                    <a:pt x="6636" y="16085"/>
                  </a:lnTo>
                  <a:lnTo>
                    <a:pt x="6652" y="16082"/>
                  </a:lnTo>
                  <a:lnTo>
                    <a:pt x="6667" y="16078"/>
                  </a:lnTo>
                  <a:lnTo>
                    <a:pt x="6683" y="16074"/>
                  </a:lnTo>
                  <a:lnTo>
                    <a:pt x="6699" y="16069"/>
                  </a:lnTo>
                  <a:lnTo>
                    <a:pt x="6714" y="16063"/>
                  </a:lnTo>
                  <a:lnTo>
                    <a:pt x="6729" y="16058"/>
                  </a:lnTo>
                  <a:lnTo>
                    <a:pt x="6743" y="16051"/>
                  </a:lnTo>
                  <a:lnTo>
                    <a:pt x="6758" y="16045"/>
                  </a:lnTo>
                  <a:lnTo>
                    <a:pt x="6772" y="16037"/>
                  </a:lnTo>
                  <a:lnTo>
                    <a:pt x="6786" y="16030"/>
                  </a:lnTo>
                  <a:lnTo>
                    <a:pt x="6800" y="16022"/>
                  </a:lnTo>
                  <a:lnTo>
                    <a:pt x="6813" y="16013"/>
                  </a:lnTo>
                  <a:lnTo>
                    <a:pt x="6827" y="16003"/>
                  </a:lnTo>
                  <a:lnTo>
                    <a:pt x="6840" y="15994"/>
                  </a:lnTo>
                  <a:lnTo>
                    <a:pt x="6852" y="15984"/>
                  </a:lnTo>
                  <a:lnTo>
                    <a:pt x="6866" y="15974"/>
                  </a:lnTo>
                  <a:lnTo>
                    <a:pt x="6878" y="15963"/>
                  </a:lnTo>
                  <a:lnTo>
                    <a:pt x="6889" y="15952"/>
                  </a:lnTo>
                  <a:lnTo>
                    <a:pt x="6901" y="15941"/>
                  </a:lnTo>
                  <a:lnTo>
                    <a:pt x="6912" y="15929"/>
                  </a:lnTo>
                  <a:lnTo>
                    <a:pt x="6922" y="15917"/>
                  </a:lnTo>
                  <a:lnTo>
                    <a:pt x="6933" y="15904"/>
                  </a:lnTo>
                  <a:lnTo>
                    <a:pt x="6943" y="15891"/>
                  </a:lnTo>
                  <a:lnTo>
                    <a:pt x="6952" y="15878"/>
                  </a:lnTo>
                  <a:lnTo>
                    <a:pt x="6961" y="15864"/>
                  </a:lnTo>
                  <a:lnTo>
                    <a:pt x="6970" y="15851"/>
                  </a:lnTo>
                  <a:lnTo>
                    <a:pt x="8014" y="14108"/>
                  </a:lnTo>
                  <a:lnTo>
                    <a:pt x="12890" y="16059"/>
                  </a:lnTo>
                  <a:lnTo>
                    <a:pt x="12913" y="16067"/>
                  </a:lnTo>
                  <a:lnTo>
                    <a:pt x="12936" y="16074"/>
                  </a:lnTo>
                  <a:lnTo>
                    <a:pt x="12958" y="16081"/>
                  </a:lnTo>
                  <a:lnTo>
                    <a:pt x="12983" y="16086"/>
                  </a:lnTo>
                  <a:lnTo>
                    <a:pt x="13006" y="16090"/>
                  </a:lnTo>
                  <a:lnTo>
                    <a:pt x="13030" y="16093"/>
                  </a:lnTo>
                  <a:lnTo>
                    <a:pt x="13053" y="16094"/>
                  </a:lnTo>
                  <a:lnTo>
                    <a:pt x="13077" y="16095"/>
                  </a:lnTo>
                  <a:lnTo>
                    <a:pt x="13093" y="16095"/>
                  </a:lnTo>
                  <a:lnTo>
                    <a:pt x="13109" y="16094"/>
                  </a:lnTo>
                  <a:lnTo>
                    <a:pt x="13124" y="16093"/>
                  </a:lnTo>
                  <a:lnTo>
                    <a:pt x="13141" y="16091"/>
                  </a:lnTo>
                  <a:lnTo>
                    <a:pt x="13157" y="16089"/>
                  </a:lnTo>
                  <a:lnTo>
                    <a:pt x="13173" y="16086"/>
                  </a:lnTo>
                  <a:lnTo>
                    <a:pt x="13188" y="16083"/>
                  </a:lnTo>
                  <a:lnTo>
                    <a:pt x="13204" y="16079"/>
                  </a:lnTo>
                  <a:lnTo>
                    <a:pt x="13219" y="16075"/>
                  </a:lnTo>
                  <a:lnTo>
                    <a:pt x="13234" y="16070"/>
                  </a:lnTo>
                  <a:lnTo>
                    <a:pt x="13250" y="16064"/>
                  </a:lnTo>
                  <a:lnTo>
                    <a:pt x="13265" y="16059"/>
                  </a:lnTo>
                  <a:lnTo>
                    <a:pt x="13279" y="16052"/>
                  </a:lnTo>
                  <a:lnTo>
                    <a:pt x="13294" y="16046"/>
                  </a:lnTo>
                  <a:lnTo>
                    <a:pt x="13309" y="16038"/>
                  </a:lnTo>
                  <a:lnTo>
                    <a:pt x="13324" y="16031"/>
                  </a:lnTo>
                  <a:lnTo>
                    <a:pt x="13348" y="16016"/>
                  </a:lnTo>
                  <a:lnTo>
                    <a:pt x="13371" y="15999"/>
                  </a:lnTo>
                  <a:lnTo>
                    <a:pt x="13394" y="15982"/>
                  </a:lnTo>
                  <a:lnTo>
                    <a:pt x="13415" y="15964"/>
                  </a:lnTo>
                  <a:lnTo>
                    <a:pt x="13435" y="15945"/>
                  </a:lnTo>
                  <a:lnTo>
                    <a:pt x="13454" y="15924"/>
                  </a:lnTo>
                  <a:lnTo>
                    <a:pt x="13473" y="15903"/>
                  </a:lnTo>
                  <a:lnTo>
                    <a:pt x="13489" y="15881"/>
                  </a:lnTo>
                  <a:lnTo>
                    <a:pt x="13504" y="15858"/>
                  </a:lnTo>
                  <a:lnTo>
                    <a:pt x="13518" y="15833"/>
                  </a:lnTo>
                  <a:lnTo>
                    <a:pt x="13531" y="15808"/>
                  </a:lnTo>
                  <a:lnTo>
                    <a:pt x="13542" y="15783"/>
                  </a:lnTo>
                  <a:lnTo>
                    <a:pt x="13552" y="15757"/>
                  </a:lnTo>
                  <a:lnTo>
                    <a:pt x="13561" y="15730"/>
                  </a:lnTo>
                  <a:lnTo>
                    <a:pt x="13568" y="15703"/>
                  </a:lnTo>
                  <a:lnTo>
                    <a:pt x="13573" y="15675"/>
                  </a:lnTo>
                  <a:lnTo>
                    <a:pt x="16088" y="585"/>
                  </a:lnTo>
                  <a:lnTo>
                    <a:pt x="16091" y="567"/>
                  </a:lnTo>
                  <a:lnTo>
                    <a:pt x="16093" y="548"/>
                  </a:lnTo>
                  <a:lnTo>
                    <a:pt x="16094" y="530"/>
                  </a:lnTo>
                  <a:lnTo>
                    <a:pt x="16095" y="512"/>
                  </a:lnTo>
                  <a:lnTo>
                    <a:pt x="16095" y="493"/>
                  </a:lnTo>
                  <a:lnTo>
                    <a:pt x="16094" y="475"/>
                  </a:lnTo>
                  <a:lnTo>
                    <a:pt x="16093" y="457"/>
                  </a:lnTo>
                  <a:lnTo>
                    <a:pt x="16091" y="439"/>
                  </a:lnTo>
                  <a:lnTo>
                    <a:pt x="16088" y="420"/>
                  </a:lnTo>
                  <a:lnTo>
                    <a:pt x="16085" y="402"/>
                  </a:lnTo>
                  <a:lnTo>
                    <a:pt x="16081" y="385"/>
                  </a:lnTo>
                  <a:lnTo>
                    <a:pt x="16076" y="367"/>
                  </a:lnTo>
                  <a:lnTo>
                    <a:pt x="16071" y="350"/>
                  </a:lnTo>
                  <a:lnTo>
                    <a:pt x="16066" y="333"/>
                  </a:lnTo>
                  <a:lnTo>
                    <a:pt x="16059" y="317"/>
                  </a:lnTo>
                  <a:lnTo>
                    <a:pt x="16052" y="300"/>
                  </a:lnTo>
                  <a:lnTo>
                    <a:pt x="16045" y="284"/>
                  </a:lnTo>
                  <a:lnTo>
                    <a:pt x="16037" y="268"/>
                  </a:lnTo>
                  <a:lnTo>
                    <a:pt x="16028" y="251"/>
                  </a:lnTo>
                  <a:lnTo>
                    <a:pt x="16019" y="236"/>
                  </a:lnTo>
                  <a:lnTo>
                    <a:pt x="16008" y="221"/>
                  </a:lnTo>
                  <a:lnTo>
                    <a:pt x="15997" y="206"/>
                  </a:lnTo>
                  <a:lnTo>
                    <a:pt x="15987" y="192"/>
                  </a:lnTo>
                  <a:lnTo>
                    <a:pt x="15975" y="178"/>
                  </a:lnTo>
                  <a:lnTo>
                    <a:pt x="15963" y="164"/>
                  </a:lnTo>
                  <a:lnTo>
                    <a:pt x="15951" y="151"/>
                  </a:lnTo>
                  <a:lnTo>
                    <a:pt x="15938" y="138"/>
                  </a:lnTo>
                  <a:lnTo>
                    <a:pt x="15924" y="126"/>
                  </a:lnTo>
                  <a:lnTo>
                    <a:pt x="15910" y="114"/>
                  </a:lnTo>
                  <a:lnTo>
                    <a:pt x="15896" y="102"/>
                  </a:lnTo>
                  <a:lnTo>
                    <a:pt x="15881" y="92"/>
                  </a:lnTo>
                  <a:lnTo>
                    <a:pt x="15865" y="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77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22" name="ïṡ1îḋe">
              <a:extLst>
                <a:ext uri="{FF2B5EF4-FFF2-40B4-BE49-F238E27FC236}">
                  <a16:creationId xmlns:a16="http://schemas.microsoft.com/office/drawing/2014/main" id="{D35122A0-F71F-43FB-92A5-4F820395E6B5}"/>
                </a:ext>
              </a:extLst>
            </p:cNvPr>
            <p:cNvSpPr/>
            <p:nvPr/>
          </p:nvSpPr>
          <p:spPr bwMode="auto">
            <a:xfrm>
              <a:off x="3700087" y="1153164"/>
              <a:ext cx="613339" cy="535789"/>
            </a:xfrm>
            <a:custGeom>
              <a:avLst/>
              <a:gdLst>
                <a:gd name="T0" fmla="*/ 1006 w 16095"/>
                <a:gd name="T1" fmla="*/ 3013 h 14060"/>
                <a:gd name="T2" fmla="*/ 5802 w 16095"/>
                <a:gd name="T3" fmla="*/ 1392 h 14060"/>
                <a:gd name="T4" fmla="*/ 6204 w 16095"/>
                <a:gd name="T5" fmla="*/ 1861 h 14060"/>
                <a:gd name="T6" fmla="*/ 6751 w 16095"/>
                <a:gd name="T7" fmla="*/ 2221 h 14060"/>
                <a:gd name="T8" fmla="*/ 7413 w 16095"/>
                <a:gd name="T9" fmla="*/ 2445 h 14060"/>
                <a:gd name="T10" fmla="*/ 8157 w 16095"/>
                <a:gd name="T11" fmla="*/ 2509 h 14060"/>
                <a:gd name="T12" fmla="*/ 8881 w 16095"/>
                <a:gd name="T13" fmla="*/ 2397 h 14060"/>
                <a:gd name="T14" fmla="*/ 9513 w 16095"/>
                <a:gd name="T15" fmla="*/ 2131 h 14060"/>
                <a:gd name="T16" fmla="*/ 10022 w 16095"/>
                <a:gd name="T17" fmla="*/ 1737 h 14060"/>
                <a:gd name="T18" fmla="*/ 10376 w 16095"/>
                <a:gd name="T19" fmla="*/ 1241 h 14060"/>
                <a:gd name="T20" fmla="*/ 9936 w 16095"/>
                <a:gd name="T21" fmla="*/ 1004 h 14060"/>
                <a:gd name="T22" fmla="*/ 9691 w 16095"/>
                <a:gd name="T23" fmla="*/ 1361 h 14060"/>
                <a:gd name="T24" fmla="*/ 9334 w 16095"/>
                <a:gd name="T25" fmla="*/ 1655 h 14060"/>
                <a:gd name="T26" fmla="*/ 8886 w 16095"/>
                <a:gd name="T27" fmla="*/ 1870 h 14060"/>
                <a:gd name="T28" fmla="*/ 8368 w 16095"/>
                <a:gd name="T29" fmla="*/ 1989 h 14060"/>
                <a:gd name="T30" fmla="*/ 7806 w 16095"/>
                <a:gd name="T31" fmla="*/ 1998 h 14060"/>
                <a:gd name="T32" fmla="*/ 7279 w 16095"/>
                <a:gd name="T33" fmla="*/ 1893 h 14060"/>
                <a:gd name="T34" fmla="*/ 6819 w 16095"/>
                <a:gd name="T35" fmla="*/ 1691 h 14060"/>
                <a:gd name="T36" fmla="*/ 6449 w 16095"/>
                <a:gd name="T37" fmla="*/ 1407 h 14060"/>
                <a:gd name="T38" fmla="*/ 6187 w 16095"/>
                <a:gd name="T39" fmla="*/ 1059 h 14060"/>
                <a:gd name="T40" fmla="*/ 13098 w 16095"/>
                <a:gd name="T41" fmla="*/ 147 h 14060"/>
                <a:gd name="T42" fmla="*/ 12827 w 16095"/>
                <a:gd name="T43" fmla="*/ 32 h 14060"/>
                <a:gd name="T44" fmla="*/ 3521 w 16095"/>
                <a:gd name="T45" fmla="*/ 0 h 14060"/>
                <a:gd name="T46" fmla="*/ 3228 w 16095"/>
                <a:gd name="T47" fmla="*/ 43 h 14060"/>
                <a:gd name="T48" fmla="*/ 2960 w 16095"/>
                <a:gd name="T49" fmla="*/ 170 h 14060"/>
                <a:gd name="T50" fmla="*/ 264 w 16095"/>
                <a:gd name="T51" fmla="*/ 2335 h 14060"/>
                <a:gd name="T52" fmla="*/ 112 w 16095"/>
                <a:gd name="T53" fmla="*/ 2554 h 14060"/>
                <a:gd name="T54" fmla="*/ 22 w 16095"/>
                <a:gd name="T55" fmla="*/ 2802 h 14060"/>
                <a:gd name="T56" fmla="*/ 1 w 16095"/>
                <a:gd name="T57" fmla="*/ 3065 h 14060"/>
                <a:gd name="T58" fmla="*/ 52 w 16095"/>
                <a:gd name="T59" fmla="*/ 3331 h 14060"/>
                <a:gd name="T60" fmla="*/ 1127 w 16095"/>
                <a:gd name="T61" fmla="*/ 6504 h 14060"/>
                <a:gd name="T62" fmla="*/ 1239 w 16095"/>
                <a:gd name="T63" fmla="*/ 6669 h 14060"/>
                <a:gd name="T64" fmla="*/ 1382 w 16095"/>
                <a:gd name="T65" fmla="*/ 6809 h 14060"/>
                <a:gd name="T66" fmla="*/ 1551 w 16095"/>
                <a:gd name="T67" fmla="*/ 6919 h 14060"/>
                <a:gd name="T68" fmla="*/ 1766 w 16095"/>
                <a:gd name="T69" fmla="*/ 7000 h 14060"/>
                <a:gd name="T70" fmla="*/ 2045 w 16095"/>
                <a:gd name="T71" fmla="*/ 7029 h 14060"/>
                <a:gd name="T72" fmla="*/ 2271 w 16095"/>
                <a:gd name="T73" fmla="*/ 6996 h 14060"/>
                <a:gd name="T74" fmla="*/ 2486 w 16095"/>
                <a:gd name="T75" fmla="*/ 6911 h 14060"/>
                <a:gd name="T76" fmla="*/ 2546 w 16095"/>
                <a:gd name="T77" fmla="*/ 13307 h 14060"/>
                <a:gd name="T78" fmla="*/ 2687 w 16095"/>
                <a:gd name="T79" fmla="*/ 13617 h 14060"/>
                <a:gd name="T80" fmla="*/ 2919 w 16095"/>
                <a:gd name="T81" fmla="*/ 13860 h 14060"/>
                <a:gd name="T82" fmla="*/ 3222 w 16095"/>
                <a:gd name="T83" fmla="*/ 14015 h 14060"/>
                <a:gd name="T84" fmla="*/ 12574 w 16095"/>
                <a:gd name="T85" fmla="*/ 14060 h 14060"/>
                <a:gd name="T86" fmla="*/ 12920 w 16095"/>
                <a:gd name="T87" fmla="*/ 13999 h 14060"/>
                <a:gd name="T88" fmla="*/ 13214 w 16095"/>
                <a:gd name="T89" fmla="*/ 13831 h 14060"/>
                <a:gd name="T90" fmla="*/ 13434 w 16095"/>
                <a:gd name="T91" fmla="*/ 13576 h 14060"/>
                <a:gd name="T92" fmla="*/ 13560 w 16095"/>
                <a:gd name="T93" fmla="*/ 13258 h 14060"/>
                <a:gd name="T94" fmla="*/ 13639 w 16095"/>
                <a:gd name="T95" fmla="*/ 6927 h 14060"/>
                <a:gd name="T96" fmla="*/ 13856 w 16095"/>
                <a:gd name="T97" fmla="*/ 7004 h 14060"/>
                <a:gd name="T98" fmla="*/ 14083 w 16095"/>
                <a:gd name="T99" fmla="*/ 7030 h 14060"/>
                <a:gd name="T100" fmla="*/ 14370 w 16095"/>
                <a:gd name="T101" fmla="*/ 6989 h 14060"/>
                <a:gd name="T102" fmla="*/ 14569 w 16095"/>
                <a:gd name="T103" fmla="*/ 6905 h 14060"/>
                <a:gd name="T104" fmla="*/ 14735 w 16095"/>
                <a:gd name="T105" fmla="*/ 6791 h 14060"/>
                <a:gd name="T106" fmla="*/ 14874 w 16095"/>
                <a:gd name="T107" fmla="*/ 6647 h 14060"/>
                <a:gd name="T108" fmla="*/ 14981 w 16095"/>
                <a:gd name="T109" fmla="*/ 6478 h 14060"/>
                <a:gd name="T110" fmla="*/ 16055 w 16095"/>
                <a:gd name="T111" fmla="*/ 3293 h 14060"/>
                <a:gd name="T112" fmla="*/ 16095 w 16095"/>
                <a:gd name="T113" fmla="*/ 3027 h 14060"/>
                <a:gd name="T114" fmla="*/ 16064 w 16095"/>
                <a:gd name="T115" fmla="*/ 2765 h 14060"/>
                <a:gd name="T116" fmla="*/ 15966 w 16095"/>
                <a:gd name="T117" fmla="*/ 2521 h 14060"/>
                <a:gd name="T118" fmla="*/ 15805 w 16095"/>
                <a:gd name="T119" fmla="*/ 2307 h 14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095" h="14060">
                  <a:moveTo>
                    <a:pt x="14083" y="6026"/>
                  </a:moveTo>
                  <a:lnTo>
                    <a:pt x="12574" y="5021"/>
                  </a:lnTo>
                  <a:lnTo>
                    <a:pt x="12574" y="13056"/>
                  </a:lnTo>
                  <a:lnTo>
                    <a:pt x="3521" y="13056"/>
                  </a:lnTo>
                  <a:lnTo>
                    <a:pt x="3521" y="5021"/>
                  </a:lnTo>
                  <a:lnTo>
                    <a:pt x="2012" y="6026"/>
                  </a:lnTo>
                  <a:lnTo>
                    <a:pt x="1006" y="3013"/>
                  </a:lnTo>
                  <a:lnTo>
                    <a:pt x="3521" y="1004"/>
                  </a:lnTo>
                  <a:lnTo>
                    <a:pt x="5622" y="1004"/>
                  </a:lnTo>
                  <a:lnTo>
                    <a:pt x="5650" y="1085"/>
                  </a:lnTo>
                  <a:lnTo>
                    <a:pt x="5683" y="1164"/>
                  </a:lnTo>
                  <a:lnTo>
                    <a:pt x="5719" y="1241"/>
                  </a:lnTo>
                  <a:lnTo>
                    <a:pt x="5758" y="1318"/>
                  </a:lnTo>
                  <a:lnTo>
                    <a:pt x="5802" y="1392"/>
                  </a:lnTo>
                  <a:lnTo>
                    <a:pt x="5850" y="1464"/>
                  </a:lnTo>
                  <a:lnTo>
                    <a:pt x="5900" y="1536"/>
                  </a:lnTo>
                  <a:lnTo>
                    <a:pt x="5954" y="1605"/>
                  </a:lnTo>
                  <a:lnTo>
                    <a:pt x="6011" y="1672"/>
                  </a:lnTo>
                  <a:lnTo>
                    <a:pt x="6073" y="1737"/>
                  </a:lnTo>
                  <a:lnTo>
                    <a:pt x="6136" y="1800"/>
                  </a:lnTo>
                  <a:lnTo>
                    <a:pt x="6204" y="1861"/>
                  </a:lnTo>
                  <a:lnTo>
                    <a:pt x="6274" y="1920"/>
                  </a:lnTo>
                  <a:lnTo>
                    <a:pt x="6346" y="1976"/>
                  </a:lnTo>
                  <a:lnTo>
                    <a:pt x="6422" y="2031"/>
                  </a:lnTo>
                  <a:lnTo>
                    <a:pt x="6500" y="2082"/>
                  </a:lnTo>
                  <a:lnTo>
                    <a:pt x="6582" y="2131"/>
                  </a:lnTo>
                  <a:lnTo>
                    <a:pt x="6665" y="2177"/>
                  </a:lnTo>
                  <a:lnTo>
                    <a:pt x="6751" y="2221"/>
                  </a:lnTo>
                  <a:lnTo>
                    <a:pt x="6839" y="2262"/>
                  </a:lnTo>
                  <a:lnTo>
                    <a:pt x="6930" y="2300"/>
                  </a:lnTo>
                  <a:lnTo>
                    <a:pt x="7022" y="2336"/>
                  </a:lnTo>
                  <a:lnTo>
                    <a:pt x="7117" y="2368"/>
                  </a:lnTo>
                  <a:lnTo>
                    <a:pt x="7215" y="2397"/>
                  </a:lnTo>
                  <a:lnTo>
                    <a:pt x="7313" y="2423"/>
                  </a:lnTo>
                  <a:lnTo>
                    <a:pt x="7413" y="2445"/>
                  </a:lnTo>
                  <a:lnTo>
                    <a:pt x="7515" y="2466"/>
                  </a:lnTo>
                  <a:lnTo>
                    <a:pt x="7619" y="2482"/>
                  </a:lnTo>
                  <a:lnTo>
                    <a:pt x="7724" y="2495"/>
                  </a:lnTo>
                  <a:lnTo>
                    <a:pt x="7830" y="2504"/>
                  </a:lnTo>
                  <a:lnTo>
                    <a:pt x="7939" y="2509"/>
                  </a:lnTo>
                  <a:lnTo>
                    <a:pt x="8048" y="2511"/>
                  </a:lnTo>
                  <a:lnTo>
                    <a:pt x="8157" y="2509"/>
                  </a:lnTo>
                  <a:lnTo>
                    <a:pt x="8265" y="2504"/>
                  </a:lnTo>
                  <a:lnTo>
                    <a:pt x="8371" y="2495"/>
                  </a:lnTo>
                  <a:lnTo>
                    <a:pt x="8476" y="2482"/>
                  </a:lnTo>
                  <a:lnTo>
                    <a:pt x="8580" y="2466"/>
                  </a:lnTo>
                  <a:lnTo>
                    <a:pt x="8682" y="2445"/>
                  </a:lnTo>
                  <a:lnTo>
                    <a:pt x="8783" y="2423"/>
                  </a:lnTo>
                  <a:lnTo>
                    <a:pt x="8881" y="2397"/>
                  </a:lnTo>
                  <a:lnTo>
                    <a:pt x="8978" y="2368"/>
                  </a:lnTo>
                  <a:lnTo>
                    <a:pt x="9073" y="2336"/>
                  </a:lnTo>
                  <a:lnTo>
                    <a:pt x="9165" y="2300"/>
                  </a:lnTo>
                  <a:lnTo>
                    <a:pt x="9256" y="2262"/>
                  </a:lnTo>
                  <a:lnTo>
                    <a:pt x="9344" y="2221"/>
                  </a:lnTo>
                  <a:lnTo>
                    <a:pt x="9430" y="2177"/>
                  </a:lnTo>
                  <a:lnTo>
                    <a:pt x="9513" y="2131"/>
                  </a:lnTo>
                  <a:lnTo>
                    <a:pt x="9595" y="2082"/>
                  </a:lnTo>
                  <a:lnTo>
                    <a:pt x="9673" y="2031"/>
                  </a:lnTo>
                  <a:lnTo>
                    <a:pt x="9749" y="1976"/>
                  </a:lnTo>
                  <a:lnTo>
                    <a:pt x="9821" y="1920"/>
                  </a:lnTo>
                  <a:lnTo>
                    <a:pt x="9891" y="1861"/>
                  </a:lnTo>
                  <a:lnTo>
                    <a:pt x="9959" y="1800"/>
                  </a:lnTo>
                  <a:lnTo>
                    <a:pt x="10022" y="1737"/>
                  </a:lnTo>
                  <a:lnTo>
                    <a:pt x="10084" y="1672"/>
                  </a:lnTo>
                  <a:lnTo>
                    <a:pt x="10141" y="1605"/>
                  </a:lnTo>
                  <a:lnTo>
                    <a:pt x="10195" y="1536"/>
                  </a:lnTo>
                  <a:lnTo>
                    <a:pt x="10245" y="1464"/>
                  </a:lnTo>
                  <a:lnTo>
                    <a:pt x="10293" y="1392"/>
                  </a:lnTo>
                  <a:lnTo>
                    <a:pt x="10337" y="1318"/>
                  </a:lnTo>
                  <a:lnTo>
                    <a:pt x="10376" y="1241"/>
                  </a:lnTo>
                  <a:lnTo>
                    <a:pt x="10412" y="1164"/>
                  </a:lnTo>
                  <a:lnTo>
                    <a:pt x="10445" y="1085"/>
                  </a:lnTo>
                  <a:lnTo>
                    <a:pt x="10473" y="1004"/>
                  </a:lnTo>
                  <a:lnTo>
                    <a:pt x="12574" y="1004"/>
                  </a:lnTo>
                  <a:lnTo>
                    <a:pt x="15089" y="3013"/>
                  </a:lnTo>
                  <a:lnTo>
                    <a:pt x="14083" y="6026"/>
                  </a:lnTo>
                  <a:close/>
                  <a:moveTo>
                    <a:pt x="9936" y="1004"/>
                  </a:moveTo>
                  <a:lnTo>
                    <a:pt x="9908" y="1059"/>
                  </a:lnTo>
                  <a:lnTo>
                    <a:pt x="9878" y="1112"/>
                  </a:lnTo>
                  <a:lnTo>
                    <a:pt x="9846" y="1164"/>
                  </a:lnTo>
                  <a:lnTo>
                    <a:pt x="9811" y="1215"/>
                  </a:lnTo>
                  <a:lnTo>
                    <a:pt x="9773" y="1264"/>
                  </a:lnTo>
                  <a:lnTo>
                    <a:pt x="9733" y="1314"/>
                  </a:lnTo>
                  <a:lnTo>
                    <a:pt x="9691" y="1361"/>
                  </a:lnTo>
                  <a:lnTo>
                    <a:pt x="9646" y="1407"/>
                  </a:lnTo>
                  <a:lnTo>
                    <a:pt x="9600" y="1452"/>
                  </a:lnTo>
                  <a:lnTo>
                    <a:pt x="9550" y="1495"/>
                  </a:lnTo>
                  <a:lnTo>
                    <a:pt x="9500" y="1538"/>
                  </a:lnTo>
                  <a:lnTo>
                    <a:pt x="9447" y="1579"/>
                  </a:lnTo>
                  <a:lnTo>
                    <a:pt x="9391" y="1617"/>
                  </a:lnTo>
                  <a:lnTo>
                    <a:pt x="9334" y="1655"/>
                  </a:lnTo>
                  <a:lnTo>
                    <a:pt x="9276" y="1691"/>
                  </a:lnTo>
                  <a:lnTo>
                    <a:pt x="9215" y="1725"/>
                  </a:lnTo>
                  <a:lnTo>
                    <a:pt x="9152" y="1758"/>
                  </a:lnTo>
                  <a:lnTo>
                    <a:pt x="9089" y="1789"/>
                  </a:lnTo>
                  <a:lnTo>
                    <a:pt x="9022" y="1818"/>
                  </a:lnTo>
                  <a:lnTo>
                    <a:pt x="8956" y="1845"/>
                  </a:lnTo>
                  <a:lnTo>
                    <a:pt x="8886" y="1870"/>
                  </a:lnTo>
                  <a:lnTo>
                    <a:pt x="8816" y="1893"/>
                  </a:lnTo>
                  <a:lnTo>
                    <a:pt x="8745" y="1914"/>
                  </a:lnTo>
                  <a:lnTo>
                    <a:pt x="8672" y="1933"/>
                  </a:lnTo>
                  <a:lnTo>
                    <a:pt x="8598" y="1951"/>
                  </a:lnTo>
                  <a:lnTo>
                    <a:pt x="8522" y="1965"/>
                  </a:lnTo>
                  <a:lnTo>
                    <a:pt x="8446" y="1978"/>
                  </a:lnTo>
                  <a:lnTo>
                    <a:pt x="8368" y="1989"/>
                  </a:lnTo>
                  <a:lnTo>
                    <a:pt x="8289" y="1998"/>
                  </a:lnTo>
                  <a:lnTo>
                    <a:pt x="8209" y="2004"/>
                  </a:lnTo>
                  <a:lnTo>
                    <a:pt x="8129" y="2008"/>
                  </a:lnTo>
                  <a:lnTo>
                    <a:pt x="8048" y="2009"/>
                  </a:lnTo>
                  <a:lnTo>
                    <a:pt x="7966" y="2008"/>
                  </a:lnTo>
                  <a:lnTo>
                    <a:pt x="7886" y="2004"/>
                  </a:lnTo>
                  <a:lnTo>
                    <a:pt x="7806" y="1998"/>
                  </a:lnTo>
                  <a:lnTo>
                    <a:pt x="7727" y="1989"/>
                  </a:lnTo>
                  <a:lnTo>
                    <a:pt x="7649" y="1978"/>
                  </a:lnTo>
                  <a:lnTo>
                    <a:pt x="7573" y="1965"/>
                  </a:lnTo>
                  <a:lnTo>
                    <a:pt x="7497" y="1951"/>
                  </a:lnTo>
                  <a:lnTo>
                    <a:pt x="7423" y="1933"/>
                  </a:lnTo>
                  <a:lnTo>
                    <a:pt x="7350" y="1914"/>
                  </a:lnTo>
                  <a:lnTo>
                    <a:pt x="7279" y="1893"/>
                  </a:lnTo>
                  <a:lnTo>
                    <a:pt x="7209" y="1870"/>
                  </a:lnTo>
                  <a:lnTo>
                    <a:pt x="7139" y="1845"/>
                  </a:lnTo>
                  <a:lnTo>
                    <a:pt x="7073" y="1818"/>
                  </a:lnTo>
                  <a:lnTo>
                    <a:pt x="7006" y="1789"/>
                  </a:lnTo>
                  <a:lnTo>
                    <a:pt x="6943" y="1758"/>
                  </a:lnTo>
                  <a:lnTo>
                    <a:pt x="6881" y="1725"/>
                  </a:lnTo>
                  <a:lnTo>
                    <a:pt x="6819" y="1691"/>
                  </a:lnTo>
                  <a:lnTo>
                    <a:pt x="6761" y="1655"/>
                  </a:lnTo>
                  <a:lnTo>
                    <a:pt x="6704" y="1617"/>
                  </a:lnTo>
                  <a:lnTo>
                    <a:pt x="6648" y="1579"/>
                  </a:lnTo>
                  <a:lnTo>
                    <a:pt x="6596" y="1538"/>
                  </a:lnTo>
                  <a:lnTo>
                    <a:pt x="6545" y="1495"/>
                  </a:lnTo>
                  <a:lnTo>
                    <a:pt x="6495" y="1452"/>
                  </a:lnTo>
                  <a:lnTo>
                    <a:pt x="6449" y="1407"/>
                  </a:lnTo>
                  <a:lnTo>
                    <a:pt x="6404" y="1361"/>
                  </a:lnTo>
                  <a:lnTo>
                    <a:pt x="6362" y="1314"/>
                  </a:lnTo>
                  <a:lnTo>
                    <a:pt x="6322" y="1264"/>
                  </a:lnTo>
                  <a:lnTo>
                    <a:pt x="6284" y="1215"/>
                  </a:lnTo>
                  <a:lnTo>
                    <a:pt x="6249" y="1164"/>
                  </a:lnTo>
                  <a:lnTo>
                    <a:pt x="6217" y="1112"/>
                  </a:lnTo>
                  <a:lnTo>
                    <a:pt x="6187" y="1059"/>
                  </a:lnTo>
                  <a:lnTo>
                    <a:pt x="6159" y="1004"/>
                  </a:lnTo>
                  <a:lnTo>
                    <a:pt x="9936" y="1004"/>
                  </a:lnTo>
                  <a:close/>
                  <a:moveTo>
                    <a:pt x="15718" y="2229"/>
                  </a:moveTo>
                  <a:lnTo>
                    <a:pt x="13203" y="220"/>
                  </a:lnTo>
                  <a:lnTo>
                    <a:pt x="13169" y="194"/>
                  </a:lnTo>
                  <a:lnTo>
                    <a:pt x="13135" y="170"/>
                  </a:lnTo>
                  <a:lnTo>
                    <a:pt x="13098" y="147"/>
                  </a:lnTo>
                  <a:lnTo>
                    <a:pt x="13061" y="126"/>
                  </a:lnTo>
                  <a:lnTo>
                    <a:pt x="13024" y="105"/>
                  </a:lnTo>
                  <a:lnTo>
                    <a:pt x="12986" y="87"/>
                  </a:lnTo>
                  <a:lnTo>
                    <a:pt x="12946" y="71"/>
                  </a:lnTo>
                  <a:lnTo>
                    <a:pt x="12907" y="56"/>
                  </a:lnTo>
                  <a:lnTo>
                    <a:pt x="12867" y="43"/>
                  </a:lnTo>
                  <a:lnTo>
                    <a:pt x="12827" y="32"/>
                  </a:lnTo>
                  <a:lnTo>
                    <a:pt x="12785" y="22"/>
                  </a:lnTo>
                  <a:lnTo>
                    <a:pt x="12743" y="14"/>
                  </a:lnTo>
                  <a:lnTo>
                    <a:pt x="12702" y="8"/>
                  </a:lnTo>
                  <a:lnTo>
                    <a:pt x="12660" y="4"/>
                  </a:lnTo>
                  <a:lnTo>
                    <a:pt x="12616" y="1"/>
                  </a:lnTo>
                  <a:lnTo>
                    <a:pt x="12574" y="0"/>
                  </a:lnTo>
                  <a:lnTo>
                    <a:pt x="3521" y="0"/>
                  </a:lnTo>
                  <a:lnTo>
                    <a:pt x="3479" y="1"/>
                  </a:lnTo>
                  <a:lnTo>
                    <a:pt x="3435" y="4"/>
                  </a:lnTo>
                  <a:lnTo>
                    <a:pt x="3393" y="8"/>
                  </a:lnTo>
                  <a:lnTo>
                    <a:pt x="3352" y="14"/>
                  </a:lnTo>
                  <a:lnTo>
                    <a:pt x="3310" y="22"/>
                  </a:lnTo>
                  <a:lnTo>
                    <a:pt x="3268" y="32"/>
                  </a:lnTo>
                  <a:lnTo>
                    <a:pt x="3228" y="43"/>
                  </a:lnTo>
                  <a:lnTo>
                    <a:pt x="3188" y="56"/>
                  </a:lnTo>
                  <a:lnTo>
                    <a:pt x="3149" y="71"/>
                  </a:lnTo>
                  <a:lnTo>
                    <a:pt x="3109" y="87"/>
                  </a:lnTo>
                  <a:lnTo>
                    <a:pt x="3071" y="105"/>
                  </a:lnTo>
                  <a:lnTo>
                    <a:pt x="3034" y="126"/>
                  </a:lnTo>
                  <a:lnTo>
                    <a:pt x="2997" y="147"/>
                  </a:lnTo>
                  <a:lnTo>
                    <a:pt x="2960" y="170"/>
                  </a:lnTo>
                  <a:lnTo>
                    <a:pt x="2926" y="194"/>
                  </a:lnTo>
                  <a:lnTo>
                    <a:pt x="2892" y="220"/>
                  </a:lnTo>
                  <a:lnTo>
                    <a:pt x="377" y="2229"/>
                  </a:lnTo>
                  <a:lnTo>
                    <a:pt x="347" y="2254"/>
                  </a:lnTo>
                  <a:lnTo>
                    <a:pt x="318" y="2280"/>
                  </a:lnTo>
                  <a:lnTo>
                    <a:pt x="290" y="2307"/>
                  </a:lnTo>
                  <a:lnTo>
                    <a:pt x="264" y="2335"/>
                  </a:lnTo>
                  <a:lnTo>
                    <a:pt x="237" y="2364"/>
                  </a:lnTo>
                  <a:lnTo>
                    <a:pt x="213" y="2393"/>
                  </a:lnTo>
                  <a:lnTo>
                    <a:pt x="191" y="2424"/>
                  </a:lnTo>
                  <a:lnTo>
                    <a:pt x="169" y="2455"/>
                  </a:lnTo>
                  <a:lnTo>
                    <a:pt x="148" y="2488"/>
                  </a:lnTo>
                  <a:lnTo>
                    <a:pt x="129" y="2521"/>
                  </a:lnTo>
                  <a:lnTo>
                    <a:pt x="112" y="2554"/>
                  </a:lnTo>
                  <a:lnTo>
                    <a:pt x="95" y="2588"/>
                  </a:lnTo>
                  <a:lnTo>
                    <a:pt x="79" y="2622"/>
                  </a:lnTo>
                  <a:lnTo>
                    <a:pt x="65" y="2657"/>
                  </a:lnTo>
                  <a:lnTo>
                    <a:pt x="52" y="2692"/>
                  </a:lnTo>
                  <a:lnTo>
                    <a:pt x="41" y="2729"/>
                  </a:lnTo>
                  <a:lnTo>
                    <a:pt x="31" y="2765"/>
                  </a:lnTo>
                  <a:lnTo>
                    <a:pt x="22" y="2802"/>
                  </a:lnTo>
                  <a:lnTo>
                    <a:pt x="15" y="2839"/>
                  </a:lnTo>
                  <a:lnTo>
                    <a:pt x="9" y="2876"/>
                  </a:lnTo>
                  <a:lnTo>
                    <a:pt x="5" y="2913"/>
                  </a:lnTo>
                  <a:lnTo>
                    <a:pt x="2" y="2952"/>
                  </a:lnTo>
                  <a:lnTo>
                    <a:pt x="0" y="2989"/>
                  </a:lnTo>
                  <a:lnTo>
                    <a:pt x="0" y="3027"/>
                  </a:lnTo>
                  <a:lnTo>
                    <a:pt x="1" y="3065"/>
                  </a:lnTo>
                  <a:lnTo>
                    <a:pt x="4" y="3103"/>
                  </a:lnTo>
                  <a:lnTo>
                    <a:pt x="8" y="3141"/>
                  </a:lnTo>
                  <a:lnTo>
                    <a:pt x="14" y="3180"/>
                  </a:lnTo>
                  <a:lnTo>
                    <a:pt x="21" y="3218"/>
                  </a:lnTo>
                  <a:lnTo>
                    <a:pt x="30" y="3256"/>
                  </a:lnTo>
                  <a:lnTo>
                    <a:pt x="40" y="3293"/>
                  </a:lnTo>
                  <a:lnTo>
                    <a:pt x="52" y="3331"/>
                  </a:lnTo>
                  <a:lnTo>
                    <a:pt x="1057" y="6344"/>
                  </a:lnTo>
                  <a:lnTo>
                    <a:pt x="1067" y="6371"/>
                  </a:lnTo>
                  <a:lnTo>
                    <a:pt x="1078" y="6398"/>
                  </a:lnTo>
                  <a:lnTo>
                    <a:pt x="1089" y="6425"/>
                  </a:lnTo>
                  <a:lnTo>
                    <a:pt x="1100" y="6452"/>
                  </a:lnTo>
                  <a:lnTo>
                    <a:pt x="1114" y="6478"/>
                  </a:lnTo>
                  <a:lnTo>
                    <a:pt x="1127" y="6504"/>
                  </a:lnTo>
                  <a:lnTo>
                    <a:pt x="1141" y="6529"/>
                  </a:lnTo>
                  <a:lnTo>
                    <a:pt x="1156" y="6553"/>
                  </a:lnTo>
                  <a:lnTo>
                    <a:pt x="1171" y="6577"/>
                  </a:lnTo>
                  <a:lnTo>
                    <a:pt x="1187" y="6601"/>
                  </a:lnTo>
                  <a:lnTo>
                    <a:pt x="1204" y="6624"/>
                  </a:lnTo>
                  <a:lnTo>
                    <a:pt x="1221" y="6647"/>
                  </a:lnTo>
                  <a:lnTo>
                    <a:pt x="1239" y="6669"/>
                  </a:lnTo>
                  <a:lnTo>
                    <a:pt x="1258" y="6692"/>
                  </a:lnTo>
                  <a:lnTo>
                    <a:pt x="1278" y="6713"/>
                  </a:lnTo>
                  <a:lnTo>
                    <a:pt x="1298" y="6733"/>
                  </a:lnTo>
                  <a:lnTo>
                    <a:pt x="1318" y="6753"/>
                  </a:lnTo>
                  <a:lnTo>
                    <a:pt x="1339" y="6772"/>
                  </a:lnTo>
                  <a:lnTo>
                    <a:pt x="1360" y="6791"/>
                  </a:lnTo>
                  <a:lnTo>
                    <a:pt x="1382" y="6809"/>
                  </a:lnTo>
                  <a:lnTo>
                    <a:pt x="1405" y="6827"/>
                  </a:lnTo>
                  <a:lnTo>
                    <a:pt x="1428" y="6844"/>
                  </a:lnTo>
                  <a:lnTo>
                    <a:pt x="1452" y="6860"/>
                  </a:lnTo>
                  <a:lnTo>
                    <a:pt x="1476" y="6875"/>
                  </a:lnTo>
                  <a:lnTo>
                    <a:pt x="1501" y="6890"/>
                  </a:lnTo>
                  <a:lnTo>
                    <a:pt x="1526" y="6905"/>
                  </a:lnTo>
                  <a:lnTo>
                    <a:pt x="1551" y="6919"/>
                  </a:lnTo>
                  <a:lnTo>
                    <a:pt x="1577" y="6932"/>
                  </a:lnTo>
                  <a:lnTo>
                    <a:pt x="1603" y="6944"/>
                  </a:lnTo>
                  <a:lnTo>
                    <a:pt x="1631" y="6956"/>
                  </a:lnTo>
                  <a:lnTo>
                    <a:pt x="1658" y="6966"/>
                  </a:lnTo>
                  <a:lnTo>
                    <a:pt x="1686" y="6976"/>
                  </a:lnTo>
                  <a:lnTo>
                    <a:pt x="1725" y="6989"/>
                  </a:lnTo>
                  <a:lnTo>
                    <a:pt x="1766" y="7000"/>
                  </a:lnTo>
                  <a:lnTo>
                    <a:pt x="1807" y="7009"/>
                  </a:lnTo>
                  <a:lnTo>
                    <a:pt x="1848" y="7016"/>
                  </a:lnTo>
                  <a:lnTo>
                    <a:pt x="1888" y="7022"/>
                  </a:lnTo>
                  <a:lnTo>
                    <a:pt x="1929" y="7027"/>
                  </a:lnTo>
                  <a:lnTo>
                    <a:pt x="1971" y="7029"/>
                  </a:lnTo>
                  <a:lnTo>
                    <a:pt x="2012" y="7030"/>
                  </a:lnTo>
                  <a:lnTo>
                    <a:pt x="2045" y="7029"/>
                  </a:lnTo>
                  <a:lnTo>
                    <a:pt x="2077" y="7028"/>
                  </a:lnTo>
                  <a:lnTo>
                    <a:pt x="2110" y="7025"/>
                  </a:lnTo>
                  <a:lnTo>
                    <a:pt x="2143" y="7021"/>
                  </a:lnTo>
                  <a:lnTo>
                    <a:pt x="2175" y="7017"/>
                  </a:lnTo>
                  <a:lnTo>
                    <a:pt x="2207" y="7011"/>
                  </a:lnTo>
                  <a:lnTo>
                    <a:pt x="2239" y="7004"/>
                  </a:lnTo>
                  <a:lnTo>
                    <a:pt x="2271" y="6996"/>
                  </a:lnTo>
                  <a:lnTo>
                    <a:pt x="2303" y="6987"/>
                  </a:lnTo>
                  <a:lnTo>
                    <a:pt x="2334" y="6977"/>
                  </a:lnTo>
                  <a:lnTo>
                    <a:pt x="2365" y="6966"/>
                  </a:lnTo>
                  <a:lnTo>
                    <a:pt x="2396" y="6954"/>
                  </a:lnTo>
                  <a:lnTo>
                    <a:pt x="2426" y="6941"/>
                  </a:lnTo>
                  <a:lnTo>
                    <a:pt x="2456" y="6927"/>
                  </a:lnTo>
                  <a:lnTo>
                    <a:pt x="2486" y="6911"/>
                  </a:lnTo>
                  <a:lnTo>
                    <a:pt x="2515" y="6895"/>
                  </a:lnTo>
                  <a:lnTo>
                    <a:pt x="2515" y="13056"/>
                  </a:lnTo>
                  <a:lnTo>
                    <a:pt x="2516" y="13107"/>
                  </a:lnTo>
                  <a:lnTo>
                    <a:pt x="2520" y="13158"/>
                  </a:lnTo>
                  <a:lnTo>
                    <a:pt x="2526" y="13208"/>
                  </a:lnTo>
                  <a:lnTo>
                    <a:pt x="2535" y="13258"/>
                  </a:lnTo>
                  <a:lnTo>
                    <a:pt x="2546" y="13307"/>
                  </a:lnTo>
                  <a:lnTo>
                    <a:pt x="2560" y="13354"/>
                  </a:lnTo>
                  <a:lnTo>
                    <a:pt x="2576" y="13401"/>
                  </a:lnTo>
                  <a:lnTo>
                    <a:pt x="2594" y="13446"/>
                  </a:lnTo>
                  <a:lnTo>
                    <a:pt x="2614" y="13491"/>
                  </a:lnTo>
                  <a:lnTo>
                    <a:pt x="2637" y="13535"/>
                  </a:lnTo>
                  <a:lnTo>
                    <a:pt x="2661" y="13576"/>
                  </a:lnTo>
                  <a:lnTo>
                    <a:pt x="2687" y="13617"/>
                  </a:lnTo>
                  <a:lnTo>
                    <a:pt x="2715" y="13656"/>
                  </a:lnTo>
                  <a:lnTo>
                    <a:pt x="2744" y="13694"/>
                  </a:lnTo>
                  <a:lnTo>
                    <a:pt x="2776" y="13731"/>
                  </a:lnTo>
                  <a:lnTo>
                    <a:pt x="2810" y="13766"/>
                  </a:lnTo>
                  <a:lnTo>
                    <a:pt x="2845" y="13799"/>
                  </a:lnTo>
                  <a:lnTo>
                    <a:pt x="2881" y="13831"/>
                  </a:lnTo>
                  <a:lnTo>
                    <a:pt x="2919" y="13860"/>
                  </a:lnTo>
                  <a:lnTo>
                    <a:pt x="2958" y="13888"/>
                  </a:lnTo>
                  <a:lnTo>
                    <a:pt x="3000" y="13914"/>
                  </a:lnTo>
                  <a:lnTo>
                    <a:pt x="3041" y="13938"/>
                  </a:lnTo>
                  <a:lnTo>
                    <a:pt x="3085" y="13961"/>
                  </a:lnTo>
                  <a:lnTo>
                    <a:pt x="3129" y="13981"/>
                  </a:lnTo>
                  <a:lnTo>
                    <a:pt x="3175" y="13999"/>
                  </a:lnTo>
                  <a:lnTo>
                    <a:pt x="3222" y="14015"/>
                  </a:lnTo>
                  <a:lnTo>
                    <a:pt x="3269" y="14028"/>
                  </a:lnTo>
                  <a:lnTo>
                    <a:pt x="3319" y="14040"/>
                  </a:lnTo>
                  <a:lnTo>
                    <a:pt x="3368" y="14048"/>
                  </a:lnTo>
                  <a:lnTo>
                    <a:pt x="3418" y="14055"/>
                  </a:lnTo>
                  <a:lnTo>
                    <a:pt x="3469" y="14059"/>
                  </a:lnTo>
                  <a:lnTo>
                    <a:pt x="3521" y="14060"/>
                  </a:lnTo>
                  <a:lnTo>
                    <a:pt x="12574" y="14060"/>
                  </a:lnTo>
                  <a:lnTo>
                    <a:pt x="12626" y="14059"/>
                  </a:lnTo>
                  <a:lnTo>
                    <a:pt x="12677" y="14055"/>
                  </a:lnTo>
                  <a:lnTo>
                    <a:pt x="12727" y="14048"/>
                  </a:lnTo>
                  <a:lnTo>
                    <a:pt x="12776" y="14040"/>
                  </a:lnTo>
                  <a:lnTo>
                    <a:pt x="12826" y="14028"/>
                  </a:lnTo>
                  <a:lnTo>
                    <a:pt x="12873" y="14015"/>
                  </a:lnTo>
                  <a:lnTo>
                    <a:pt x="12920" y="13999"/>
                  </a:lnTo>
                  <a:lnTo>
                    <a:pt x="12966" y="13981"/>
                  </a:lnTo>
                  <a:lnTo>
                    <a:pt x="13010" y="13961"/>
                  </a:lnTo>
                  <a:lnTo>
                    <a:pt x="13054" y="13938"/>
                  </a:lnTo>
                  <a:lnTo>
                    <a:pt x="13095" y="13914"/>
                  </a:lnTo>
                  <a:lnTo>
                    <a:pt x="13137" y="13888"/>
                  </a:lnTo>
                  <a:lnTo>
                    <a:pt x="13176" y="13860"/>
                  </a:lnTo>
                  <a:lnTo>
                    <a:pt x="13214" y="13831"/>
                  </a:lnTo>
                  <a:lnTo>
                    <a:pt x="13250" y="13799"/>
                  </a:lnTo>
                  <a:lnTo>
                    <a:pt x="13285" y="13766"/>
                  </a:lnTo>
                  <a:lnTo>
                    <a:pt x="13319" y="13731"/>
                  </a:lnTo>
                  <a:lnTo>
                    <a:pt x="13351" y="13694"/>
                  </a:lnTo>
                  <a:lnTo>
                    <a:pt x="13380" y="13656"/>
                  </a:lnTo>
                  <a:lnTo>
                    <a:pt x="13408" y="13617"/>
                  </a:lnTo>
                  <a:lnTo>
                    <a:pt x="13434" y="13576"/>
                  </a:lnTo>
                  <a:lnTo>
                    <a:pt x="13458" y="13535"/>
                  </a:lnTo>
                  <a:lnTo>
                    <a:pt x="13481" y="13491"/>
                  </a:lnTo>
                  <a:lnTo>
                    <a:pt x="13501" y="13446"/>
                  </a:lnTo>
                  <a:lnTo>
                    <a:pt x="13519" y="13401"/>
                  </a:lnTo>
                  <a:lnTo>
                    <a:pt x="13535" y="13354"/>
                  </a:lnTo>
                  <a:lnTo>
                    <a:pt x="13548" y="13307"/>
                  </a:lnTo>
                  <a:lnTo>
                    <a:pt x="13560" y="13258"/>
                  </a:lnTo>
                  <a:lnTo>
                    <a:pt x="13568" y="13208"/>
                  </a:lnTo>
                  <a:lnTo>
                    <a:pt x="13575" y="13158"/>
                  </a:lnTo>
                  <a:lnTo>
                    <a:pt x="13579" y="13107"/>
                  </a:lnTo>
                  <a:lnTo>
                    <a:pt x="13580" y="13056"/>
                  </a:lnTo>
                  <a:lnTo>
                    <a:pt x="13580" y="6895"/>
                  </a:lnTo>
                  <a:lnTo>
                    <a:pt x="13609" y="6911"/>
                  </a:lnTo>
                  <a:lnTo>
                    <a:pt x="13639" y="6927"/>
                  </a:lnTo>
                  <a:lnTo>
                    <a:pt x="13669" y="6941"/>
                  </a:lnTo>
                  <a:lnTo>
                    <a:pt x="13699" y="6954"/>
                  </a:lnTo>
                  <a:lnTo>
                    <a:pt x="13730" y="6966"/>
                  </a:lnTo>
                  <a:lnTo>
                    <a:pt x="13761" y="6977"/>
                  </a:lnTo>
                  <a:lnTo>
                    <a:pt x="13792" y="6987"/>
                  </a:lnTo>
                  <a:lnTo>
                    <a:pt x="13824" y="6996"/>
                  </a:lnTo>
                  <a:lnTo>
                    <a:pt x="13856" y="7004"/>
                  </a:lnTo>
                  <a:lnTo>
                    <a:pt x="13888" y="7011"/>
                  </a:lnTo>
                  <a:lnTo>
                    <a:pt x="13920" y="7017"/>
                  </a:lnTo>
                  <a:lnTo>
                    <a:pt x="13952" y="7021"/>
                  </a:lnTo>
                  <a:lnTo>
                    <a:pt x="13985" y="7025"/>
                  </a:lnTo>
                  <a:lnTo>
                    <a:pt x="14018" y="7028"/>
                  </a:lnTo>
                  <a:lnTo>
                    <a:pt x="14050" y="7029"/>
                  </a:lnTo>
                  <a:lnTo>
                    <a:pt x="14083" y="7030"/>
                  </a:lnTo>
                  <a:lnTo>
                    <a:pt x="14124" y="7029"/>
                  </a:lnTo>
                  <a:lnTo>
                    <a:pt x="14166" y="7027"/>
                  </a:lnTo>
                  <a:lnTo>
                    <a:pt x="14207" y="7022"/>
                  </a:lnTo>
                  <a:lnTo>
                    <a:pt x="14247" y="7016"/>
                  </a:lnTo>
                  <a:lnTo>
                    <a:pt x="14288" y="7009"/>
                  </a:lnTo>
                  <a:lnTo>
                    <a:pt x="14329" y="7000"/>
                  </a:lnTo>
                  <a:lnTo>
                    <a:pt x="14370" y="6989"/>
                  </a:lnTo>
                  <a:lnTo>
                    <a:pt x="14410" y="6976"/>
                  </a:lnTo>
                  <a:lnTo>
                    <a:pt x="14437" y="6966"/>
                  </a:lnTo>
                  <a:lnTo>
                    <a:pt x="14464" y="6956"/>
                  </a:lnTo>
                  <a:lnTo>
                    <a:pt x="14492" y="6944"/>
                  </a:lnTo>
                  <a:lnTo>
                    <a:pt x="14518" y="6932"/>
                  </a:lnTo>
                  <a:lnTo>
                    <a:pt x="14544" y="6919"/>
                  </a:lnTo>
                  <a:lnTo>
                    <a:pt x="14569" y="6905"/>
                  </a:lnTo>
                  <a:lnTo>
                    <a:pt x="14594" y="6890"/>
                  </a:lnTo>
                  <a:lnTo>
                    <a:pt x="14619" y="6875"/>
                  </a:lnTo>
                  <a:lnTo>
                    <a:pt x="14643" y="6860"/>
                  </a:lnTo>
                  <a:lnTo>
                    <a:pt x="14667" y="6844"/>
                  </a:lnTo>
                  <a:lnTo>
                    <a:pt x="14690" y="6827"/>
                  </a:lnTo>
                  <a:lnTo>
                    <a:pt x="14713" y="6809"/>
                  </a:lnTo>
                  <a:lnTo>
                    <a:pt x="14735" y="6791"/>
                  </a:lnTo>
                  <a:lnTo>
                    <a:pt x="14756" y="6772"/>
                  </a:lnTo>
                  <a:lnTo>
                    <a:pt x="14777" y="6753"/>
                  </a:lnTo>
                  <a:lnTo>
                    <a:pt x="14797" y="6733"/>
                  </a:lnTo>
                  <a:lnTo>
                    <a:pt x="14817" y="6713"/>
                  </a:lnTo>
                  <a:lnTo>
                    <a:pt x="14837" y="6692"/>
                  </a:lnTo>
                  <a:lnTo>
                    <a:pt x="14856" y="6669"/>
                  </a:lnTo>
                  <a:lnTo>
                    <a:pt x="14874" y="6647"/>
                  </a:lnTo>
                  <a:lnTo>
                    <a:pt x="14891" y="6624"/>
                  </a:lnTo>
                  <a:lnTo>
                    <a:pt x="14908" y="6601"/>
                  </a:lnTo>
                  <a:lnTo>
                    <a:pt x="14924" y="6577"/>
                  </a:lnTo>
                  <a:lnTo>
                    <a:pt x="14939" y="6553"/>
                  </a:lnTo>
                  <a:lnTo>
                    <a:pt x="14954" y="6529"/>
                  </a:lnTo>
                  <a:lnTo>
                    <a:pt x="14968" y="6504"/>
                  </a:lnTo>
                  <a:lnTo>
                    <a:pt x="14981" y="6478"/>
                  </a:lnTo>
                  <a:lnTo>
                    <a:pt x="14995" y="6452"/>
                  </a:lnTo>
                  <a:lnTo>
                    <a:pt x="15006" y="6425"/>
                  </a:lnTo>
                  <a:lnTo>
                    <a:pt x="15017" y="6398"/>
                  </a:lnTo>
                  <a:lnTo>
                    <a:pt x="15028" y="6371"/>
                  </a:lnTo>
                  <a:lnTo>
                    <a:pt x="15038" y="6344"/>
                  </a:lnTo>
                  <a:lnTo>
                    <a:pt x="16044" y="3331"/>
                  </a:lnTo>
                  <a:lnTo>
                    <a:pt x="16055" y="3293"/>
                  </a:lnTo>
                  <a:lnTo>
                    <a:pt x="16065" y="3256"/>
                  </a:lnTo>
                  <a:lnTo>
                    <a:pt x="16074" y="3218"/>
                  </a:lnTo>
                  <a:lnTo>
                    <a:pt x="16081" y="3180"/>
                  </a:lnTo>
                  <a:lnTo>
                    <a:pt x="16087" y="3141"/>
                  </a:lnTo>
                  <a:lnTo>
                    <a:pt x="16091" y="3103"/>
                  </a:lnTo>
                  <a:lnTo>
                    <a:pt x="16094" y="3065"/>
                  </a:lnTo>
                  <a:lnTo>
                    <a:pt x="16095" y="3027"/>
                  </a:lnTo>
                  <a:lnTo>
                    <a:pt x="16095" y="2989"/>
                  </a:lnTo>
                  <a:lnTo>
                    <a:pt x="16093" y="2952"/>
                  </a:lnTo>
                  <a:lnTo>
                    <a:pt x="16090" y="2913"/>
                  </a:lnTo>
                  <a:lnTo>
                    <a:pt x="16086" y="2876"/>
                  </a:lnTo>
                  <a:lnTo>
                    <a:pt x="16080" y="2839"/>
                  </a:lnTo>
                  <a:lnTo>
                    <a:pt x="16073" y="2802"/>
                  </a:lnTo>
                  <a:lnTo>
                    <a:pt x="16064" y="2765"/>
                  </a:lnTo>
                  <a:lnTo>
                    <a:pt x="16054" y="2729"/>
                  </a:lnTo>
                  <a:lnTo>
                    <a:pt x="16043" y="2692"/>
                  </a:lnTo>
                  <a:lnTo>
                    <a:pt x="16030" y="2657"/>
                  </a:lnTo>
                  <a:lnTo>
                    <a:pt x="16016" y="2622"/>
                  </a:lnTo>
                  <a:lnTo>
                    <a:pt x="16000" y="2588"/>
                  </a:lnTo>
                  <a:lnTo>
                    <a:pt x="15983" y="2554"/>
                  </a:lnTo>
                  <a:lnTo>
                    <a:pt x="15966" y="2521"/>
                  </a:lnTo>
                  <a:lnTo>
                    <a:pt x="15947" y="2488"/>
                  </a:lnTo>
                  <a:lnTo>
                    <a:pt x="15926" y="2455"/>
                  </a:lnTo>
                  <a:lnTo>
                    <a:pt x="15904" y="2424"/>
                  </a:lnTo>
                  <a:lnTo>
                    <a:pt x="15882" y="2393"/>
                  </a:lnTo>
                  <a:lnTo>
                    <a:pt x="15858" y="2364"/>
                  </a:lnTo>
                  <a:lnTo>
                    <a:pt x="15831" y="2335"/>
                  </a:lnTo>
                  <a:lnTo>
                    <a:pt x="15805" y="2307"/>
                  </a:lnTo>
                  <a:lnTo>
                    <a:pt x="15777" y="2280"/>
                  </a:lnTo>
                  <a:lnTo>
                    <a:pt x="15748" y="2254"/>
                  </a:lnTo>
                  <a:lnTo>
                    <a:pt x="15718" y="222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23" name="íṡḻîḋè">
              <a:extLst>
                <a:ext uri="{FF2B5EF4-FFF2-40B4-BE49-F238E27FC236}">
                  <a16:creationId xmlns:a16="http://schemas.microsoft.com/office/drawing/2014/main" id="{6C2578F3-890F-447F-B3DC-48AC9B0FDB75}"/>
                </a:ext>
              </a:extLst>
            </p:cNvPr>
            <p:cNvSpPr/>
            <p:nvPr/>
          </p:nvSpPr>
          <p:spPr bwMode="auto">
            <a:xfrm>
              <a:off x="4421748" y="160251"/>
              <a:ext cx="344793" cy="215594"/>
            </a:xfrm>
            <a:custGeom>
              <a:avLst/>
              <a:gdLst>
                <a:gd name="T0" fmla="*/ 13020 w 16095"/>
                <a:gd name="T1" fmla="*/ 8973 h 10072"/>
                <a:gd name="T2" fmla="*/ 12851 w 16095"/>
                <a:gd name="T3" fmla="*/ 9064 h 10072"/>
                <a:gd name="T4" fmla="*/ 3118 w 16095"/>
                <a:gd name="T5" fmla="*/ 9014 h 10072"/>
                <a:gd name="T6" fmla="*/ 3021 w 16095"/>
                <a:gd name="T7" fmla="*/ 8851 h 10072"/>
                <a:gd name="T8" fmla="*/ 1042 w 16095"/>
                <a:gd name="T9" fmla="*/ 5660 h 10072"/>
                <a:gd name="T10" fmla="*/ 1195 w 16095"/>
                <a:gd name="T11" fmla="*/ 5548 h 10072"/>
                <a:gd name="T12" fmla="*/ 10059 w 16095"/>
                <a:gd name="T13" fmla="*/ 5540 h 10072"/>
                <a:gd name="T14" fmla="*/ 14935 w 16095"/>
                <a:gd name="T15" fmla="*/ 5560 h 10072"/>
                <a:gd name="T16" fmla="*/ 15069 w 16095"/>
                <a:gd name="T17" fmla="*/ 5694 h 10072"/>
                <a:gd name="T18" fmla="*/ 7182 w 16095"/>
                <a:gd name="T19" fmla="*/ 2122 h 10072"/>
                <a:gd name="T20" fmla="*/ 5328 w 16095"/>
                <a:gd name="T21" fmla="*/ 3305 h 10072"/>
                <a:gd name="T22" fmla="*/ 4445 w 16095"/>
                <a:gd name="T23" fmla="*/ 3756 h 10072"/>
                <a:gd name="T24" fmla="*/ 6257 w 16095"/>
                <a:gd name="T25" fmla="*/ 1933 h 10072"/>
                <a:gd name="T26" fmla="*/ 8794 w 16095"/>
                <a:gd name="T27" fmla="*/ 1580 h 10072"/>
                <a:gd name="T28" fmla="*/ 10814 w 16095"/>
                <a:gd name="T29" fmla="*/ 2621 h 10072"/>
                <a:gd name="T30" fmla="*/ 11031 w 16095"/>
                <a:gd name="T31" fmla="*/ 3674 h 10072"/>
                <a:gd name="T32" fmla="*/ 9553 w 16095"/>
                <a:gd name="T33" fmla="*/ 2355 h 10072"/>
                <a:gd name="T34" fmla="*/ 7924 w 16095"/>
                <a:gd name="T35" fmla="*/ 4034 h 10072"/>
                <a:gd name="T36" fmla="*/ 7322 w 16095"/>
                <a:gd name="T37" fmla="*/ 4219 h 10072"/>
                <a:gd name="T38" fmla="*/ 6384 w 16095"/>
                <a:gd name="T39" fmla="*/ 4423 h 10072"/>
                <a:gd name="T40" fmla="*/ 7147 w 16095"/>
                <a:gd name="T41" fmla="*/ 3742 h 10072"/>
                <a:gd name="T42" fmla="*/ 8185 w 16095"/>
                <a:gd name="T43" fmla="*/ 3530 h 10072"/>
                <a:gd name="T44" fmla="*/ 9169 w 16095"/>
                <a:gd name="T45" fmla="*/ 3874 h 10072"/>
                <a:gd name="T46" fmla="*/ 9138 w 16095"/>
                <a:gd name="T47" fmla="*/ 4504 h 10072"/>
                <a:gd name="T48" fmla="*/ 8633 w 16095"/>
                <a:gd name="T49" fmla="*/ 4150 h 10072"/>
                <a:gd name="T50" fmla="*/ 10349 w 16095"/>
                <a:gd name="T51" fmla="*/ 4532 h 10072"/>
                <a:gd name="T52" fmla="*/ 9438 w 16095"/>
                <a:gd name="T53" fmla="*/ 3445 h 10072"/>
                <a:gd name="T54" fmla="*/ 8048 w 16095"/>
                <a:gd name="T55" fmla="*/ 3022 h 10072"/>
                <a:gd name="T56" fmla="*/ 6657 w 16095"/>
                <a:gd name="T57" fmla="*/ 3445 h 10072"/>
                <a:gd name="T58" fmla="*/ 5746 w 16095"/>
                <a:gd name="T59" fmla="*/ 4532 h 10072"/>
                <a:gd name="T60" fmla="*/ 6200 w 16095"/>
                <a:gd name="T61" fmla="*/ 3155 h 10072"/>
                <a:gd name="T62" fmla="*/ 7925 w 16095"/>
                <a:gd name="T63" fmla="*/ 2521 h 10072"/>
                <a:gd name="T64" fmla="*/ 9633 w 16095"/>
                <a:gd name="T65" fmla="*/ 2970 h 10072"/>
                <a:gd name="T66" fmla="*/ 10773 w 16095"/>
                <a:gd name="T67" fmla="*/ 4245 h 10072"/>
                <a:gd name="T68" fmla="*/ 10173 w 16095"/>
                <a:gd name="T69" fmla="*/ 978 h 10072"/>
                <a:gd name="T70" fmla="*/ 12273 w 16095"/>
                <a:gd name="T71" fmla="*/ 2821 h 10072"/>
                <a:gd name="T72" fmla="*/ 11152 w 16095"/>
                <a:gd name="T73" fmla="*/ 2245 h 10072"/>
                <a:gd name="T74" fmla="*/ 8885 w 16095"/>
                <a:gd name="T75" fmla="*/ 1085 h 10072"/>
                <a:gd name="T76" fmla="*/ 5992 w 16095"/>
                <a:gd name="T77" fmla="*/ 1502 h 10072"/>
                <a:gd name="T78" fmla="*/ 3945 w 16095"/>
                <a:gd name="T79" fmla="*/ 3628 h 10072"/>
                <a:gd name="T80" fmla="*/ 3980 w 16095"/>
                <a:gd name="T81" fmla="*/ 2580 h 10072"/>
                <a:gd name="T82" fmla="*/ 6731 w 16095"/>
                <a:gd name="T83" fmla="*/ 679 h 10072"/>
                <a:gd name="T84" fmla="*/ 13476 w 16095"/>
                <a:gd name="T85" fmla="*/ 4487 h 10072"/>
                <a:gd name="T86" fmla="*/ 15974 w 16095"/>
                <a:gd name="T87" fmla="*/ 2845 h 10072"/>
                <a:gd name="T88" fmla="*/ 16094 w 16095"/>
                <a:gd name="T89" fmla="*/ 2486 h 10072"/>
                <a:gd name="T90" fmla="*/ 15919 w 16095"/>
                <a:gd name="T91" fmla="*/ 2135 h 10072"/>
                <a:gd name="T92" fmla="*/ 15560 w 16095"/>
                <a:gd name="T93" fmla="*/ 2015 h 10072"/>
                <a:gd name="T94" fmla="*/ 12347 w 16095"/>
                <a:gd name="T95" fmla="*/ 2066 h 10072"/>
                <a:gd name="T96" fmla="*/ 9834 w 16095"/>
                <a:gd name="T97" fmla="*/ 297 h 10072"/>
                <a:gd name="T98" fmla="*/ 6349 w 16095"/>
                <a:gd name="T99" fmla="*/ 267 h 10072"/>
                <a:gd name="T100" fmla="*/ 3404 w 16095"/>
                <a:gd name="T101" fmla="*/ 2536 h 10072"/>
                <a:gd name="T102" fmla="*/ 884 w 16095"/>
                <a:gd name="T103" fmla="*/ 4589 h 10072"/>
                <a:gd name="T104" fmla="*/ 152 w 16095"/>
                <a:gd name="T105" fmla="*/ 5192 h 10072"/>
                <a:gd name="T106" fmla="*/ 9 w 16095"/>
                <a:gd name="T107" fmla="*/ 5929 h 10072"/>
                <a:gd name="T108" fmla="*/ 123 w 16095"/>
                <a:gd name="T109" fmla="*/ 6274 h 10072"/>
                <a:gd name="T110" fmla="*/ 2038 w 16095"/>
                <a:gd name="T111" fmla="*/ 9067 h 10072"/>
                <a:gd name="T112" fmla="*/ 2567 w 16095"/>
                <a:gd name="T113" fmla="*/ 9856 h 10072"/>
                <a:gd name="T114" fmla="*/ 13017 w 16095"/>
                <a:gd name="T115" fmla="*/ 10058 h 10072"/>
                <a:gd name="T116" fmla="*/ 13833 w 16095"/>
                <a:gd name="T117" fmla="*/ 9566 h 10072"/>
                <a:gd name="T118" fmla="*/ 15856 w 16095"/>
                <a:gd name="T119" fmla="*/ 6443 h 10072"/>
                <a:gd name="T120" fmla="*/ 16037 w 16095"/>
                <a:gd name="T121" fmla="*/ 6128 h 10072"/>
                <a:gd name="T122" fmla="*/ 16093 w 16095"/>
                <a:gd name="T123" fmla="*/ 5727 h 10072"/>
                <a:gd name="T124" fmla="*/ 15683 w 16095"/>
                <a:gd name="T125" fmla="*/ 4860 h 100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95" h="10072">
                  <a:moveTo>
                    <a:pt x="13077" y="8058"/>
                  </a:moveTo>
                  <a:lnTo>
                    <a:pt x="13077" y="8813"/>
                  </a:lnTo>
                  <a:lnTo>
                    <a:pt x="13076" y="8826"/>
                  </a:lnTo>
                  <a:lnTo>
                    <a:pt x="13076" y="8838"/>
                  </a:lnTo>
                  <a:lnTo>
                    <a:pt x="13074" y="8851"/>
                  </a:lnTo>
                  <a:lnTo>
                    <a:pt x="13072" y="8863"/>
                  </a:lnTo>
                  <a:lnTo>
                    <a:pt x="13069" y="8875"/>
                  </a:lnTo>
                  <a:lnTo>
                    <a:pt x="13066" y="8888"/>
                  </a:lnTo>
                  <a:lnTo>
                    <a:pt x="13062" y="8900"/>
                  </a:lnTo>
                  <a:lnTo>
                    <a:pt x="13057" y="8911"/>
                  </a:lnTo>
                  <a:lnTo>
                    <a:pt x="13052" y="8922"/>
                  </a:lnTo>
                  <a:lnTo>
                    <a:pt x="13047" y="8933"/>
                  </a:lnTo>
                  <a:lnTo>
                    <a:pt x="13041" y="8944"/>
                  </a:lnTo>
                  <a:lnTo>
                    <a:pt x="13034" y="8954"/>
                  </a:lnTo>
                  <a:lnTo>
                    <a:pt x="13027" y="8964"/>
                  </a:lnTo>
                  <a:lnTo>
                    <a:pt x="13020" y="8973"/>
                  </a:lnTo>
                  <a:lnTo>
                    <a:pt x="13012" y="8982"/>
                  </a:lnTo>
                  <a:lnTo>
                    <a:pt x="13003" y="8991"/>
                  </a:lnTo>
                  <a:lnTo>
                    <a:pt x="12995" y="8999"/>
                  </a:lnTo>
                  <a:lnTo>
                    <a:pt x="12986" y="9007"/>
                  </a:lnTo>
                  <a:lnTo>
                    <a:pt x="12976" y="9014"/>
                  </a:lnTo>
                  <a:lnTo>
                    <a:pt x="12967" y="9021"/>
                  </a:lnTo>
                  <a:lnTo>
                    <a:pt x="12955" y="9029"/>
                  </a:lnTo>
                  <a:lnTo>
                    <a:pt x="12945" y="9035"/>
                  </a:lnTo>
                  <a:lnTo>
                    <a:pt x="12934" y="9040"/>
                  </a:lnTo>
                  <a:lnTo>
                    <a:pt x="12923" y="9045"/>
                  </a:lnTo>
                  <a:lnTo>
                    <a:pt x="12912" y="9050"/>
                  </a:lnTo>
                  <a:lnTo>
                    <a:pt x="12900" y="9054"/>
                  </a:lnTo>
                  <a:lnTo>
                    <a:pt x="12888" y="9057"/>
                  </a:lnTo>
                  <a:lnTo>
                    <a:pt x="12876" y="9060"/>
                  </a:lnTo>
                  <a:lnTo>
                    <a:pt x="12864" y="9062"/>
                  </a:lnTo>
                  <a:lnTo>
                    <a:pt x="12851" y="9064"/>
                  </a:lnTo>
                  <a:lnTo>
                    <a:pt x="12839" y="9065"/>
                  </a:lnTo>
                  <a:lnTo>
                    <a:pt x="12826" y="9065"/>
                  </a:lnTo>
                  <a:lnTo>
                    <a:pt x="3269" y="9065"/>
                  </a:lnTo>
                  <a:lnTo>
                    <a:pt x="3256" y="9065"/>
                  </a:lnTo>
                  <a:lnTo>
                    <a:pt x="3243" y="9064"/>
                  </a:lnTo>
                  <a:lnTo>
                    <a:pt x="3231" y="9062"/>
                  </a:lnTo>
                  <a:lnTo>
                    <a:pt x="3219" y="9060"/>
                  </a:lnTo>
                  <a:lnTo>
                    <a:pt x="3206" y="9057"/>
                  </a:lnTo>
                  <a:lnTo>
                    <a:pt x="3195" y="9054"/>
                  </a:lnTo>
                  <a:lnTo>
                    <a:pt x="3183" y="9050"/>
                  </a:lnTo>
                  <a:lnTo>
                    <a:pt x="3172" y="9045"/>
                  </a:lnTo>
                  <a:lnTo>
                    <a:pt x="3161" y="9040"/>
                  </a:lnTo>
                  <a:lnTo>
                    <a:pt x="3150" y="9035"/>
                  </a:lnTo>
                  <a:lnTo>
                    <a:pt x="3139" y="9029"/>
                  </a:lnTo>
                  <a:lnTo>
                    <a:pt x="3128" y="9021"/>
                  </a:lnTo>
                  <a:lnTo>
                    <a:pt x="3118" y="9014"/>
                  </a:lnTo>
                  <a:lnTo>
                    <a:pt x="3109" y="9007"/>
                  </a:lnTo>
                  <a:lnTo>
                    <a:pt x="3100" y="8999"/>
                  </a:lnTo>
                  <a:lnTo>
                    <a:pt x="3091" y="8991"/>
                  </a:lnTo>
                  <a:lnTo>
                    <a:pt x="3083" y="8982"/>
                  </a:lnTo>
                  <a:lnTo>
                    <a:pt x="3075" y="8973"/>
                  </a:lnTo>
                  <a:lnTo>
                    <a:pt x="3068" y="8964"/>
                  </a:lnTo>
                  <a:lnTo>
                    <a:pt x="3061" y="8954"/>
                  </a:lnTo>
                  <a:lnTo>
                    <a:pt x="3054" y="8944"/>
                  </a:lnTo>
                  <a:lnTo>
                    <a:pt x="3048" y="8933"/>
                  </a:lnTo>
                  <a:lnTo>
                    <a:pt x="3043" y="8922"/>
                  </a:lnTo>
                  <a:lnTo>
                    <a:pt x="3038" y="8911"/>
                  </a:lnTo>
                  <a:lnTo>
                    <a:pt x="3033" y="8900"/>
                  </a:lnTo>
                  <a:lnTo>
                    <a:pt x="3029" y="8888"/>
                  </a:lnTo>
                  <a:lnTo>
                    <a:pt x="3026" y="8875"/>
                  </a:lnTo>
                  <a:lnTo>
                    <a:pt x="3023" y="8863"/>
                  </a:lnTo>
                  <a:lnTo>
                    <a:pt x="3021" y="8851"/>
                  </a:lnTo>
                  <a:lnTo>
                    <a:pt x="3019" y="8838"/>
                  </a:lnTo>
                  <a:lnTo>
                    <a:pt x="3018" y="8826"/>
                  </a:lnTo>
                  <a:lnTo>
                    <a:pt x="3018" y="8813"/>
                  </a:lnTo>
                  <a:lnTo>
                    <a:pt x="3018" y="8058"/>
                  </a:lnTo>
                  <a:lnTo>
                    <a:pt x="1006" y="5791"/>
                  </a:lnTo>
                  <a:lnTo>
                    <a:pt x="1006" y="5778"/>
                  </a:lnTo>
                  <a:lnTo>
                    <a:pt x="1007" y="5765"/>
                  </a:lnTo>
                  <a:lnTo>
                    <a:pt x="1009" y="5753"/>
                  </a:lnTo>
                  <a:lnTo>
                    <a:pt x="1011" y="5741"/>
                  </a:lnTo>
                  <a:lnTo>
                    <a:pt x="1014" y="5729"/>
                  </a:lnTo>
                  <a:lnTo>
                    <a:pt x="1017" y="5717"/>
                  </a:lnTo>
                  <a:lnTo>
                    <a:pt x="1021" y="5705"/>
                  </a:lnTo>
                  <a:lnTo>
                    <a:pt x="1026" y="5694"/>
                  </a:lnTo>
                  <a:lnTo>
                    <a:pt x="1031" y="5683"/>
                  </a:lnTo>
                  <a:lnTo>
                    <a:pt x="1036" y="5672"/>
                  </a:lnTo>
                  <a:lnTo>
                    <a:pt x="1042" y="5660"/>
                  </a:lnTo>
                  <a:lnTo>
                    <a:pt x="1049" y="5650"/>
                  </a:lnTo>
                  <a:lnTo>
                    <a:pt x="1056" y="5641"/>
                  </a:lnTo>
                  <a:lnTo>
                    <a:pt x="1063" y="5631"/>
                  </a:lnTo>
                  <a:lnTo>
                    <a:pt x="1071" y="5622"/>
                  </a:lnTo>
                  <a:lnTo>
                    <a:pt x="1079" y="5613"/>
                  </a:lnTo>
                  <a:lnTo>
                    <a:pt x="1088" y="5605"/>
                  </a:lnTo>
                  <a:lnTo>
                    <a:pt x="1097" y="5597"/>
                  </a:lnTo>
                  <a:lnTo>
                    <a:pt x="1107" y="5590"/>
                  </a:lnTo>
                  <a:lnTo>
                    <a:pt x="1117" y="5583"/>
                  </a:lnTo>
                  <a:lnTo>
                    <a:pt x="1127" y="5576"/>
                  </a:lnTo>
                  <a:lnTo>
                    <a:pt x="1138" y="5570"/>
                  </a:lnTo>
                  <a:lnTo>
                    <a:pt x="1149" y="5565"/>
                  </a:lnTo>
                  <a:lnTo>
                    <a:pt x="1160" y="5560"/>
                  </a:lnTo>
                  <a:lnTo>
                    <a:pt x="1171" y="5555"/>
                  </a:lnTo>
                  <a:lnTo>
                    <a:pt x="1183" y="5551"/>
                  </a:lnTo>
                  <a:lnTo>
                    <a:pt x="1195" y="5548"/>
                  </a:lnTo>
                  <a:lnTo>
                    <a:pt x="1207" y="5545"/>
                  </a:lnTo>
                  <a:lnTo>
                    <a:pt x="1219" y="5543"/>
                  </a:lnTo>
                  <a:lnTo>
                    <a:pt x="1231" y="5541"/>
                  </a:lnTo>
                  <a:lnTo>
                    <a:pt x="1244" y="5541"/>
                  </a:lnTo>
                  <a:lnTo>
                    <a:pt x="1257" y="5540"/>
                  </a:lnTo>
                  <a:lnTo>
                    <a:pt x="2515" y="5540"/>
                  </a:lnTo>
                  <a:lnTo>
                    <a:pt x="3018" y="5540"/>
                  </a:lnTo>
                  <a:lnTo>
                    <a:pt x="3521" y="5540"/>
                  </a:lnTo>
                  <a:lnTo>
                    <a:pt x="4024" y="5540"/>
                  </a:lnTo>
                  <a:lnTo>
                    <a:pt x="4527" y="5540"/>
                  </a:lnTo>
                  <a:lnTo>
                    <a:pt x="5030" y="5540"/>
                  </a:lnTo>
                  <a:lnTo>
                    <a:pt x="5533" y="5540"/>
                  </a:lnTo>
                  <a:lnTo>
                    <a:pt x="6036" y="5540"/>
                  </a:lnTo>
                  <a:lnTo>
                    <a:pt x="6539" y="5540"/>
                  </a:lnTo>
                  <a:lnTo>
                    <a:pt x="9556" y="5540"/>
                  </a:lnTo>
                  <a:lnTo>
                    <a:pt x="10059" y="5540"/>
                  </a:lnTo>
                  <a:lnTo>
                    <a:pt x="10562" y="5540"/>
                  </a:lnTo>
                  <a:lnTo>
                    <a:pt x="11065" y="5540"/>
                  </a:lnTo>
                  <a:lnTo>
                    <a:pt x="11568" y="5540"/>
                  </a:lnTo>
                  <a:lnTo>
                    <a:pt x="12071" y="5540"/>
                  </a:lnTo>
                  <a:lnTo>
                    <a:pt x="12574" y="5540"/>
                  </a:lnTo>
                  <a:lnTo>
                    <a:pt x="13077" y="5540"/>
                  </a:lnTo>
                  <a:lnTo>
                    <a:pt x="13580" y="5540"/>
                  </a:lnTo>
                  <a:lnTo>
                    <a:pt x="14838" y="5540"/>
                  </a:lnTo>
                  <a:lnTo>
                    <a:pt x="14851" y="5541"/>
                  </a:lnTo>
                  <a:lnTo>
                    <a:pt x="14863" y="5541"/>
                  </a:lnTo>
                  <a:lnTo>
                    <a:pt x="14876" y="5543"/>
                  </a:lnTo>
                  <a:lnTo>
                    <a:pt x="14888" y="5545"/>
                  </a:lnTo>
                  <a:lnTo>
                    <a:pt x="14900" y="5548"/>
                  </a:lnTo>
                  <a:lnTo>
                    <a:pt x="14912" y="5551"/>
                  </a:lnTo>
                  <a:lnTo>
                    <a:pt x="14924" y="5555"/>
                  </a:lnTo>
                  <a:lnTo>
                    <a:pt x="14935" y="5560"/>
                  </a:lnTo>
                  <a:lnTo>
                    <a:pt x="14946" y="5565"/>
                  </a:lnTo>
                  <a:lnTo>
                    <a:pt x="14957" y="5570"/>
                  </a:lnTo>
                  <a:lnTo>
                    <a:pt x="14967" y="5576"/>
                  </a:lnTo>
                  <a:lnTo>
                    <a:pt x="14977" y="5583"/>
                  </a:lnTo>
                  <a:lnTo>
                    <a:pt x="14987" y="5590"/>
                  </a:lnTo>
                  <a:lnTo>
                    <a:pt x="14998" y="5597"/>
                  </a:lnTo>
                  <a:lnTo>
                    <a:pt x="15007" y="5605"/>
                  </a:lnTo>
                  <a:lnTo>
                    <a:pt x="15015" y="5613"/>
                  </a:lnTo>
                  <a:lnTo>
                    <a:pt x="15024" y="5622"/>
                  </a:lnTo>
                  <a:lnTo>
                    <a:pt x="15032" y="5631"/>
                  </a:lnTo>
                  <a:lnTo>
                    <a:pt x="15039" y="5641"/>
                  </a:lnTo>
                  <a:lnTo>
                    <a:pt x="15046" y="5650"/>
                  </a:lnTo>
                  <a:lnTo>
                    <a:pt x="15052" y="5660"/>
                  </a:lnTo>
                  <a:lnTo>
                    <a:pt x="15058" y="5672"/>
                  </a:lnTo>
                  <a:lnTo>
                    <a:pt x="15064" y="5683"/>
                  </a:lnTo>
                  <a:lnTo>
                    <a:pt x="15069" y="5694"/>
                  </a:lnTo>
                  <a:lnTo>
                    <a:pt x="15073" y="5705"/>
                  </a:lnTo>
                  <a:lnTo>
                    <a:pt x="15077" y="5717"/>
                  </a:lnTo>
                  <a:lnTo>
                    <a:pt x="15081" y="5729"/>
                  </a:lnTo>
                  <a:lnTo>
                    <a:pt x="15084" y="5741"/>
                  </a:lnTo>
                  <a:lnTo>
                    <a:pt x="15086" y="5753"/>
                  </a:lnTo>
                  <a:lnTo>
                    <a:pt x="15087" y="5765"/>
                  </a:lnTo>
                  <a:lnTo>
                    <a:pt x="15088" y="5778"/>
                  </a:lnTo>
                  <a:lnTo>
                    <a:pt x="15089" y="5791"/>
                  </a:lnTo>
                  <a:lnTo>
                    <a:pt x="13077" y="8058"/>
                  </a:lnTo>
                  <a:close/>
                  <a:moveTo>
                    <a:pt x="8048" y="2014"/>
                  </a:moveTo>
                  <a:lnTo>
                    <a:pt x="7899" y="2017"/>
                  </a:lnTo>
                  <a:lnTo>
                    <a:pt x="7752" y="2027"/>
                  </a:lnTo>
                  <a:lnTo>
                    <a:pt x="7607" y="2042"/>
                  </a:lnTo>
                  <a:lnTo>
                    <a:pt x="7463" y="2063"/>
                  </a:lnTo>
                  <a:lnTo>
                    <a:pt x="7321" y="2090"/>
                  </a:lnTo>
                  <a:lnTo>
                    <a:pt x="7182" y="2122"/>
                  </a:lnTo>
                  <a:lnTo>
                    <a:pt x="7045" y="2160"/>
                  </a:lnTo>
                  <a:lnTo>
                    <a:pt x="6910" y="2204"/>
                  </a:lnTo>
                  <a:lnTo>
                    <a:pt x="6777" y="2252"/>
                  </a:lnTo>
                  <a:lnTo>
                    <a:pt x="6647" y="2306"/>
                  </a:lnTo>
                  <a:lnTo>
                    <a:pt x="6519" y="2364"/>
                  </a:lnTo>
                  <a:lnTo>
                    <a:pt x="6395" y="2428"/>
                  </a:lnTo>
                  <a:lnTo>
                    <a:pt x="6273" y="2496"/>
                  </a:lnTo>
                  <a:lnTo>
                    <a:pt x="6154" y="2569"/>
                  </a:lnTo>
                  <a:lnTo>
                    <a:pt x="6040" y="2646"/>
                  </a:lnTo>
                  <a:lnTo>
                    <a:pt x="5927" y="2729"/>
                  </a:lnTo>
                  <a:lnTo>
                    <a:pt x="5818" y="2814"/>
                  </a:lnTo>
                  <a:lnTo>
                    <a:pt x="5713" y="2905"/>
                  </a:lnTo>
                  <a:lnTo>
                    <a:pt x="5611" y="2998"/>
                  </a:lnTo>
                  <a:lnTo>
                    <a:pt x="5514" y="3097"/>
                  </a:lnTo>
                  <a:lnTo>
                    <a:pt x="5419" y="3199"/>
                  </a:lnTo>
                  <a:lnTo>
                    <a:pt x="5328" y="3305"/>
                  </a:lnTo>
                  <a:lnTo>
                    <a:pt x="5243" y="3413"/>
                  </a:lnTo>
                  <a:lnTo>
                    <a:pt x="5161" y="3525"/>
                  </a:lnTo>
                  <a:lnTo>
                    <a:pt x="5084" y="3641"/>
                  </a:lnTo>
                  <a:lnTo>
                    <a:pt x="5011" y="3760"/>
                  </a:lnTo>
                  <a:lnTo>
                    <a:pt x="4943" y="3882"/>
                  </a:lnTo>
                  <a:lnTo>
                    <a:pt x="4879" y="4007"/>
                  </a:lnTo>
                  <a:lnTo>
                    <a:pt x="4820" y="4135"/>
                  </a:lnTo>
                  <a:lnTo>
                    <a:pt x="4767" y="4265"/>
                  </a:lnTo>
                  <a:lnTo>
                    <a:pt x="4719" y="4397"/>
                  </a:lnTo>
                  <a:lnTo>
                    <a:pt x="4675" y="4532"/>
                  </a:lnTo>
                  <a:lnTo>
                    <a:pt x="4156" y="4532"/>
                  </a:lnTo>
                  <a:lnTo>
                    <a:pt x="4201" y="4371"/>
                  </a:lnTo>
                  <a:lnTo>
                    <a:pt x="4253" y="4213"/>
                  </a:lnTo>
                  <a:lnTo>
                    <a:pt x="4311" y="4057"/>
                  </a:lnTo>
                  <a:lnTo>
                    <a:pt x="4375" y="3905"/>
                  </a:lnTo>
                  <a:lnTo>
                    <a:pt x="4445" y="3756"/>
                  </a:lnTo>
                  <a:lnTo>
                    <a:pt x="4522" y="3610"/>
                  </a:lnTo>
                  <a:lnTo>
                    <a:pt x="4603" y="3468"/>
                  </a:lnTo>
                  <a:lnTo>
                    <a:pt x="4690" y="3329"/>
                  </a:lnTo>
                  <a:lnTo>
                    <a:pt x="4782" y="3194"/>
                  </a:lnTo>
                  <a:lnTo>
                    <a:pt x="4881" y="3063"/>
                  </a:lnTo>
                  <a:lnTo>
                    <a:pt x="4983" y="2937"/>
                  </a:lnTo>
                  <a:lnTo>
                    <a:pt x="5091" y="2814"/>
                  </a:lnTo>
                  <a:lnTo>
                    <a:pt x="5204" y="2696"/>
                  </a:lnTo>
                  <a:lnTo>
                    <a:pt x="5320" y="2583"/>
                  </a:lnTo>
                  <a:lnTo>
                    <a:pt x="5442" y="2475"/>
                  </a:lnTo>
                  <a:lnTo>
                    <a:pt x="5568" y="2371"/>
                  </a:lnTo>
                  <a:lnTo>
                    <a:pt x="5699" y="2273"/>
                  </a:lnTo>
                  <a:lnTo>
                    <a:pt x="5832" y="2180"/>
                  </a:lnTo>
                  <a:lnTo>
                    <a:pt x="5970" y="2092"/>
                  </a:lnTo>
                  <a:lnTo>
                    <a:pt x="6112" y="2009"/>
                  </a:lnTo>
                  <a:lnTo>
                    <a:pt x="6257" y="1933"/>
                  </a:lnTo>
                  <a:lnTo>
                    <a:pt x="6406" y="1862"/>
                  </a:lnTo>
                  <a:lnTo>
                    <a:pt x="6558" y="1798"/>
                  </a:lnTo>
                  <a:lnTo>
                    <a:pt x="6713" y="1739"/>
                  </a:lnTo>
                  <a:lnTo>
                    <a:pt x="6872" y="1687"/>
                  </a:lnTo>
                  <a:lnTo>
                    <a:pt x="7032" y="1642"/>
                  </a:lnTo>
                  <a:lnTo>
                    <a:pt x="7195" y="1602"/>
                  </a:lnTo>
                  <a:lnTo>
                    <a:pt x="7361" y="1570"/>
                  </a:lnTo>
                  <a:lnTo>
                    <a:pt x="7529" y="1544"/>
                  </a:lnTo>
                  <a:lnTo>
                    <a:pt x="7700" y="1526"/>
                  </a:lnTo>
                  <a:lnTo>
                    <a:pt x="7872" y="1515"/>
                  </a:lnTo>
                  <a:lnTo>
                    <a:pt x="8048" y="1511"/>
                  </a:lnTo>
                  <a:lnTo>
                    <a:pt x="8199" y="1514"/>
                  </a:lnTo>
                  <a:lnTo>
                    <a:pt x="8350" y="1522"/>
                  </a:lnTo>
                  <a:lnTo>
                    <a:pt x="8500" y="1536"/>
                  </a:lnTo>
                  <a:lnTo>
                    <a:pt x="8648" y="1556"/>
                  </a:lnTo>
                  <a:lnTo>
                    <a:pt x="8794" y="1580"/>
                  </a:lnTo>
                  <a:lnTo>
                    <a:pt x="8939" y="1611"/>
                  </a:lnTo>
                  <a:lnTo>
                    <a:pt x="9081" y="1646"/>
                  </a:lnTo>
                  <a:lnTo>
                    <a:pt x="9221" y="1686"/>
                  </a:lnTo>
                  <a:lnTo>
                    <a:pt x="9359" y="1731"/>
                  </a:lnTo>
                  <a:lnTo>
                    <a:pt x="9495" y="1782"/>
                  </a:lnTo>
                  <a:lnTo>
                    <a:pt x="9629" y="1836"/>
                  </a:lnTo>
                  <a:lnTo>
                    <a:pt x="9760" y="1896"/>
                  </a:lnTo>
                  <a:lnTo>
                    <a:pt x="9888" y="1959"/>
                  </a:lnTo>
                  <a:lnTo>
                    <a:pt x="10014" y="2028"/>
                  </a:lnTo>
                  <a:lnTo>
                    <a:pt x="10138" y="2100"/>
                  </a:lnTo>
                  <a:lnTo>
                    <a:pt x="10259" y="2177"/>
                  </a:lnTo>
                  <a:lnTo>
                    <a:pt x="10375" y="2258"/>
                  </a:lnTo>
                  <a:lnTo>
                    <a:pt x="10490" y="2343"/>
                  </a:lnTo>
                  <a:lnTo>
                    <a:pt x="10602" y="2431"/>
                  </a:lnTo>
                  <a:lnTo>
                    <a:pt x="10709" y="2524"/>
                  </a:lnTo>
                  <a:lnTo>
                    <a:pt x="10814" y="2621"/>
                  </a:lnTo>
                  <a:lnTo>
                    <a:pt x="10915" y="2720"/>
                  </a:lnTo>
                  <a:lnTo>
                    <a:pt x="11013" y="2824"/>
                  </a:lnTo>
                  <a:lnTo>
                    <a:pt x="11108" y="2931"/>
                  </a:lnTo>
                  <a:lnTo>
                    <a:pt x="11197" y="3041"/>
                  </a:lnTo>
                  <a:lnTo>
                    <a:pt x="11284" y="3154"/>
                  </a:lnTo>
                  <a:lnTo>
                    <a:pt x="11366" y="3270"/>
                  </a:lnTo>
                  <a:lnTo>
                    <a:pt x="11445" y="3390"/>
                  </a:lnTo>
                  <a:lnTo>
                    <a:pt x="11519" y="3512"/>
                  </a:lnTo>
                  <a:lnTo>
                    <a:pt x="11589" y="3637"/>
                  </a:lnTo>
                  <a:lnTo>
                    <a:pt x="11655" y="3765"/>
                  </a:lnTo>
                  <a:lnTo>
                    <a:pt x="11716" y="3895"/>
                  </a:lnTo>
                  <a:lnTo>
                    <a:pt x="11268" y="4120"/>
                  </a:lnTo>
                  <a:lnTo>
                    <a:pt x="11214" y="4006"/>
                  </a:lnTo>
                  <a:lnTo>
                    <a:pt x="11157" y="3893"/>
                  </a:lnTo>
                  <a:lnTo>
                    <a:pt x="11095" y="3782"/>
                  </a:lnTo>
                  <a:lnTo>
                    <a:pt x="11031" y="3674"/>
                  </a:lnTo>
                  <a:lnTo>
                    <a:pt x="10963" y="3569"/>
                  </a:lnTo>
                  <a:lnTo>
                    <a:pt x="10890" y="3466"/>
                  </a:lnTo>
                  <a:lnTo>
                    <a:pt x="10815" y="3366"/>
                  </a:lnTo>
                  <a:lnTo>
                    <a:pt x="10735" y="3268"/>
                  </a:lnTo>
                  <a:lnTo>
                    <a:pt x="10653" y="3175"/>
                  </a:lnTo>
                  <a:lnTo>
                    <a:pt x="10567" y="3083"/>
                  </a:lnTo>
                  <a:lnTo>
                    <a:pt x="10479" y="2995"/>
                  </a:lnTo>
                  <a:lnTo>
                    <a:pt x="10387" y="2910"/>
                  </a:lnTo>
                  <a:lnTo>
                    <a:pt x="10292" y="2828"/>
                  </a:lnTo>
                  <a:lnTo>
                    <a:pt x="10194" y="2750"/>
                  </a:lnTo>
                  <a:lnTo>
                    <a:pt x="10095" y="2675"/>
                  </a:lnTo>
                  <a:lnTo>
                    <a:pt x="9991" y="2604"/>
                  </a:lnTo>
                  <a:lnTo>
                    <a:pt x="9885" y="2535"/>
                  </a:lnTo>
                  <a:lnTo>
                    <a:pt x="9777" y="2471"/>
                  </a:lnTo>
                  <a:lnTo>
                    <a:pt x="9666" y="2411"/>
                  </a:lnTo>
                  <a:lnTo>
                    <a:pt x="9553" y="2355"/>
                  </a:lnTo>
                  <a:lnTo>
                    <a:pt x="9438" y="2301"/>
                  </a:lnTo>
                  <a:lnTo>
                    <a:pt x="9321" y="2254"/>
                  </a:lnTo>
                  <a:lnTo>
                    <a:pt x="9201" y="2210"/>
                  </a:lnTo>
                  <a:lnTo>
                    <a:pt x="9080" y="2170"/>
                  </a:lnTo>
                  <a:lnTo>
                    <a:pt x="8956" y="2134"/>
                  </a:lnTo>
                  <a:lnTo>
                    <a:pt x="8831" y="2103"/>
                  </a:lnTo>
                  <a:lnTo>
                    <a:pt x="8704" y="2076"/>
                  </a:lnTo>
                  <a:lnTo>
                    <a:pt x="8576" y="2055"/>
                  </a:lnTo>
                  <a:lnTo>
                    <a:pt x="8446" y="2037"/>
                  </a:lnTo>
                  <a:lnTo>
                    <a:pt x="8314" y="2025"/>
                  </a:lnTo>
                  <a:lnTo>
                    <a:pt x="8181" y="2017"/>
                  </a:lnTo>
                  <a:lnTo>
                    <a:pt x="8048" y="2014"/>
                  </a:lnTo>
                  <a:close/>
                  <a:moveTo>
                    <a:pt x="8048" y="4029"/>
                  </a:moveTo>
                  <a:lnTo>
                    <a:pt x="8006" y="4030"/>
                  </a:lnTo>
                  <a:lnTo>
                    <a:pt x="7965" y="4031"/>
                  </a:lnTo>
                  <a:lnTo>
                    <a:pt x="7924" y="4034"/>
                  </a:lnTo>
                  <a:lnTo>
                    <a:pt x="7884" y="4038"/>
                  </a:lnTo>
                  <a:lnTo>
                    <a:pt x="7843" y="4043"/>
                  </a:lnTo>
                  <a:lnTo>
                    <a:pt x="7803" y="4049"/>
                  </a:lnTo>
                  <a:lnTo>
                    <a:pt x="7764" y="4056"/>
                  </a:lnTo>
                  <a:lnTo>
                    <a:pt x="7725" y="4064"/>
                  </a:lnTo>
                  <a:lnTo>
                    <a:pt x="7685" y="4074"/>
                  </a:lnTo>
                  <a:lnTo>
                    <a:pt x="7647" y="4084"/>
                  </a:lnTo>
                  <a:lnTo>
                    <a:pt x="7609" y="4095"/>
                  </a:lnTo>
                  <a:lnTo>
                    <a:pt x="7572" y="4107"/>
                  </a:lnTo>
                  <a:lnTo>
                    <a:pt x="7534" y="4120"/>
                  </a:lnTo>
                  <a:lnTo>
                    <a:pt x="7498" y="4135"/>
                  </a:lnTo>
                  <a:lnTo>
                    <a:pt x="7462" y="4150"/>
                  </a:lnTo>
                  <a:lnTo>
                    <a:pt x="7426" y="4166"/>
                  </a:lnTo>
                  <a:lnTo>
                    <a:pt x="7391" y="4183"/>
                  </a:lnTo>
                  <a:lnTo>
                    <a:pt x="7356" y="4200"/>
                  </a:lnTo>
                  <a:lnTo>
                    <a:pt x="7322" y="4219"/>
                  </a:lnTo>
                  <a:lnTo>
                    <a:pt x="7289" y="4238"/>
                  </a:lnTo>
                  <a:lnTo>
                    <a:pt x="7256" y="4258"/>
                  </a:lnTo>
                  <a:lnTo>
                    <a:pt x="7223" y="4280"/>
                  </a:lnTo>
                  <a:lnTo>
                    <a:pt x="7190" y="4302"/>
                  </a:lnTo>
                  <a:lnTo>
                    <a:pt x="7159" y="4325"/>
                  </a:lnTo>
                  <a:lnTo>
                    <a:pt x="7129" y="4348"/>
                  </a:lnTo>
                  <a:lnTo>
                    <a:pt x="7098" y="4372"/>
                  </a:lnTo>
                  <a:lnTo>
                    <a:pt x="7069" y="4397"/>
                  </a:lnTo>
                  <a:lnTo>
                    <a:pt x="7040" y="4423"/>
                  </a:lnTo>
                  <a:lnTo>
                    <a:pt x="7011" y="4449"/>
                  </a:lnTo>
                  <a:lnTo>
                    <a:pt x="6984" y="4476"/>
                  </a:lnTo>
                  <a:lnTo>
                    <a:pt x="6957" y="4504"/>
                  </a:lnTo>
                  <a:lnTo>
                    <a:pt x="6931" y="4532"/>
                  </a:lnTo>
                  <a:lnTo>
                    <a:pt x="6315" y="4532"/>
                  </a:lnTo>
                  <a:lnTo>
                    <a:pt x="6348" y="4477"/>
                  </a:lnTo>
                  <a:lnTo>
                    <a:pt x="6384" y="4423"/>
                  </a:lnTo>
                  <a:lnTo>
                    <a:pt x="6421" y="4369"/>
                  </a:lnTo>
                  <a:lnTo>
                    <a:pt x="6459" y="4317"/>
                  </a:lnTo>
                  <a:lnTo>
                    <a:pt x="6499" y="4267"/>
                  </a:lnTo>
                  <a:lnTo>
                    <a:pt x="6541" y="4217"/>
                  </a:lnTo>
                  <a:lnTo>
                    <a:pt x="6584" y="4169"/>
                  </a:lnTo>
                  <a:lnTo>
                    <a:pt x="6629" y="4122"/>
                  </a:lnTo>
                  <a:lnTo>
                    <a:pt x="6674" y="4077"/>
                  </a:lnTo>
                  <a:lnTo>
                    <a:pt x="6723" y="4034"/>
                  </a:lnTo>
                  <a:lnTo>
                    <a:pt x="6771" y="3992"/>
                  </a:lnTo>
                  <a:lnTo>
                    <a:pt x="6821" y="3950"/>
                  </a:lnTo>
                  <a:lnTo>
                    <a:pt x="6873" y="3912"/>
                  </a:lnTo>
                  <a:lnTo>
                    <a:pt x="6925" y="3874"/>
                  </a:lnTo>
                  <a:lnTo>
                    <a:pt x="6979" y="3838"/>
                  </a:lnTo>
                  <a:lnTo>
                    <a:pt x="7035" y="3804"/>
                  </a:lnTo>
                  <a:lnTo>
                    <a:pt x="7090" y="3772"/>
                  </a:lnTo>
                  <a:lnTo>
                    <a:pt x="7147" y="3742"/>
                  </a:lnTo>
                  <a:lnTo>
                    <a:pt x="7207" y="3713"/>
                  </a:lnTo>
                  <a:lnTo>
                    <a:pt x="7266" y="3686"/>
                  </a:lnTo>
                  <a:lnTo>
                    <a:pt x="7326" y="3661"/>
                  </a:lnTo>
                  <a:lnTo>
                    <a:pt x="7388" y="3638"/>
                  </a:lnTo>
                  <a:lnTo>
                    <a:pt x="7450" y="3618"/>
                  </a:lnTo>
                  <a:lnTo>
                    <a:pt x="7513" y="3599"/>
                  </a:lnTo>
                  <a:lnTo>
                    <a:pt x="7577" y="3582"/>
                  </a:lnTo>
                  <a:lnTo>
                    <a:pt x="7642" y="3567"/>
                  </a:lnTo>
                  <a:lnTo>
                    <a:pt x="7707" y="3554"/>
                  </a:lnTo>
                  <a:lnTo>
                    <a:pt x="7774" y="3544"/>
                  </a:lnTo>
                  <a:lnTo>
                    <a:pt x="7841" y="3536"/>
                  </a:lnTo>
                  <a:lnTo>
                    <a:pt x="7910" y="3530"/>
                  </a:lnTo>
                  <a:lnTo>
                    <a:pt x="7978" y="3526"/>
                  </a:lnTo>
                  <a:lnTo>
                    <a:pt x="8048" y="3525"/>
                  </a:lnTo>
                  <a:lnTo>
                    <a:pt x="8117" y="3526"/>
                  </a:lnTo>
                  <a:lnTo>
                    <a:pt x="8185" y="3530"/>
                  </a:lnTo>
                  <a:lnTo>
                    <a:pt x="8253" y="3536"/>
                  </a:lnTo>
                  <a:lnTo>
                    <a:pt x="8320" y="3544"/>
                  </a:lnTo>
                  <a:lnTo>
                    <a:pt x="8387" y="3554"/>
                  </a:lnTo>
                  <a:lnTo>
                    <a:pt x="8453" y="3567"/>
                  </a:lnTo>
                  <a:lnTo>
                    <a:pt x="8517" y="3582"/>
                  </a:lnTo>
                  <a:lnTo>
                    <a:pt x="8582" y="3599"/>
                  </a:lnTo>
                  <a:lnTo>
                    <a:pt x="8645" y="3618"/>
                  </a:lnTo>
                  <a:lnTo>
                    <a:pt x="8707" y="3638"/>
                  </a:lnTo>
                  <a:lnTo>
                    <a:pt x="8769" y="3661"/>
                  </a:lnTo>
                  <a:lnTo>
                    <a:pt x="8829" y="3686"/>
                  </a:lnTo>
                  <a:lnTo>
                    <a:pt x="8888" y="3713"/>
                  </a:lnTo>
                  <a:lnTo>
                    <a:pt x="8947" y="3742"/>
                  </a:lnTo>
                  <a:lnTo>
                    <a:pt x="9004" y="3772"/>
                  </a:lnTo>
                  <a:lnTo>
                    <a:pt x="9060" y="3804"/>
                  </a:lnTo>
                  <a:lnTo>
                    <a:pt x="9116" y="3838"/>
                  </a:lnTo>
                  <a:lnTo>
                    <a:pt x="9169" y="3874"/>
                  </a:lnTo>
                  <a:lnTo>
                    <a:pt x="9222" y="3912"/>
                  </a:lnTo>
                  <a:lnTo>
                    <a:pt x="9274" y="3950"/>
                  </a:lnTo>
                  <a:lnTo>
                    <a:pt x="9324" y="3992"/>
                  </a:lnTo>
                  <a:lnTo>
                    <a:pt x="9372" y="4034"/>
                  </a:lnTo>
                  <a:lnTo>
                    <a:pt x="9420" y="4077"/>
                  </a:lnTo>
                  <a:lnTo>
                    <a:pt x="9466" y="4122"/>
                  </a:lnTo>
                  <a:lnTo>
                    <a:pt x="9510" y="4169"/>
                  </a:lnTo>
                  <a:lnTo>
                    <a:pt x="9553" y="4217"/>
                  </a:lnTo>
                  <a:lnTo>
                    <a:pt x="9596" y="4267"/>
                  </a:lnTo>
                  <a:lnTo>
                    <a:pt x="9635" y="4317"/>
                  </a:lnTo>
                  <a:lnTo>
                    <a:pt x="9674" y="4369"/>
                  </a:lnTo>
                  <a:lnTo>
                    <a:pt x="9710" y="4423"/>
                  </a:lnTo>
                  <a:lnTo>
                    <a:pt x="9747" y="4477"/>
                  </a:lnTo>
                  <a:lnTo>
                    <a:pt x="9780" y="4532"/>
                  </a:lnTo>
                  <a:lnTo>
                    <a:pt x="9164" y="4532"/>
                  </a:lnTo>
                  <a:lnTo>
                    <a:pt x="9138" y="4504"/>
                  </a:lnTo>
                  <a:lnTo>
                    <a:pt x="9111" y="4476"/>
                  </a:lnTo>
                  <a:lnTo>
                    <a:pt x="9083" y="4449"/>
                  </a:lnTo>
                  <a:lnTo>
                    <a:pt x="9054" y="4423"/>
                  </a:lnTo>
                  <a:lnTo>
                    <a:pt x="9025" y="4397"/>
                  </a:lnTo>
                  <a:lnTo>
                    <a:pt x="8996" y="4372"/>
                  </a:lnTo>
                  <a:lnTo>
                    <a:pt x="8966" y="4348"/>
                  </a:lnTo>
                  <a:lnTo>
                    <a:pt x="8935" y="4325"/>
                  </a:lnTo>
                  <a:lnTo>
                    <a:pt x="8904" y="4302"/>
                  </a:lnTo>
                  <a:lnTo>
                    <a:pt x="8871" y="4280"/>
                  </a:lnTo>
                  <a:lnTo>
                    <a:pt x="8839" y="4258"/>
                  </a:lnTo>
                  <a:lnTo>
                    <a:pt x="8806" y="4238"/>
                  </a:lnTo>
                  <a:lnTo>
                    <a:pt x="8773" y="4219"/>
                  </a:lnTo>
                  <a:lnTo>
                    <a:pt x="8739" y="4200"/>
                  </a:lnTo>
                  <a:lnTo>
                    <a:pt x="8703" y="4183"/>
                  </a:lnTo>
                  <a:lnTo>
                    <a:pt x="8668" y="4166"/>
                  </a:lnTo>
                  <a:lnTo>
                    <a:pt x="8633" y="4150"/>
                  </a:lnTo>
                  <a:lnTo>
                    <a:pt x="8597" y="4135"/>
                  </a:lnTo>
                  <a:lnTo>
                    <a:pt x="8560" y="4120"/>
                  </a:lnTo>
                  <a:lnTo>
                    <a:pt x="8523" y="4107"/>
                  </a:lnTo>
                  <a:lnTo>
                    <a:pt x="8485" y="4095"/>
                  </a:lnTo>
                  <a:lnTo>
                    <a:pt x="8447" y="4084"/>
                  </a:lnTo>
                  <a:lnTo>
                    <a:pt x="8409" y="4074"/>
                  </a:lnTo>
                  <a:lnTo>
                    <a:pt x="8370" y="4064"/>
                  </a:lnTo>
                  <a:lnTo>
                    <a:pt x="8331" y="4056"/>
                  </a:lnTo>
                  <a:lnTo>
                    <a:pt x="8292" y="4049"/>
                  </a:lnTo>
                  <a:lnTo>
                    <a:pt x="8252" y="4043"/>
                  </a:lnTo>
                  <a:lnTo>
                    <a:pt x="8211" y="4038"/>
                  </a:lnTo>
                  <a:lnTo>
                    <a:pt x="8171" y="4034"/>
                  </a:lnTo>
                  <a:lnTo>
                    <a:pt x="8130" y="4031"/>
                  </a:lnTo>
                  <a:lnTo>
                    <a:pt x="8089" y="4030"/>
                  </a:lnTo>
                  <a:lnTo>
                    <a:pt x="8048" y="4029"/>
                  </a:lnTo>
                  <a:close/>
                  <a:moveTo>
                    <a:pt x="10349" y="4532"/>
                  </a:moveTo>
                  <a:lnTo>
                    <a:pt x="10311" y="4450"/>
                  </a:lnTo>
                  <a:lnTo>
                    <a:pt x="10271" y="4369"/>
                  </a:lnTo>
                  <a:lnTo>
                    <a:pt x="10226" y="4290"/>
                  </a:lnTo>
                  <a:lnTo>
                    <a:pt x="10180" y="4213"/>
                  </a:lnTo>
                  <a:lnTo>
                    <a:pt x="10132" y="4138"/>
                  </a:lnTo>
                  <a:lnTo>
                    <a:pt x="10079" y="4063"/>
                  </a:lnTo>
                  <a:lnTo>
                    <a:pt x="10026" y="3992"/>
                  </a:lnTo>
                  <a:lnTo>
                    <a:pt x="9970" y="3922"/>
                  </a:lnTo>
                  <a:lnTo>
                    <a:pt x="9910" y="3855"/>
                  </a:lnTo>
                  <a:lnTo>
                    <a:pt x="9850" y="3789"/>
                  </a:lnTo>
                  <a:lnTo>
                    <a:pt x="9787" y="3726"/>
                  </a:lnTo>
                  <a:lnTo>
                    <a:pt x="9720" y="3664"/>
                  </a:lnTo>
                  <a:lnTo>
                    <a:pt x="9653" y="3606"/>
                  </a:lnTo>
                  <a:lnTo>
                    <a:pt x="9584" y="3549"/>
                  </a:lnTo>
                  <a:lnTo>
                    <a:pt x="9511" y="3496"/>
                  </a:lnTo>
                  <a:lnTo>
                    <a:pt x="9438" y="3445"/>
                  </a:lnTo>
                  <a:lnTo>
                    <a:pt x="9362" y="3395"/>
                  </a:lnTo>
                  <a:lnTo>
                    <a:pt x="9285" y="3350"/>
                  </a:lnTo>
                  <a:lnTo>
                    <a:pt x="9205" y="3307"/>
                  </a:lnTo>
                  <a:lnTo>
                    <a:pt x="9125" y="3265"/>
                  </a:lnTo>
                  <a:lnTo>
                    <a:pt x="9042" y="3228"/>
                  </a:lnTo>
                  <a:lnTo>
                    <a:pt x="8959" y="3194"/>
                  </a:lnTo>
                  <a:lnTo>
                    <a:pt x="8873" y="3162"/>
                  </a:lnTo>
                  <a:lnTo>
                    <a:pt x="8786" y="3133"/>
                  </a:lnTo>
                  <a:lnTo>
                    <a:pt x="8697" y="3107"/>
                  </a:lnTo>
                  <a:lnTo>
                    <a:pt x="8608" y="3085"/>
                  </a:lnTo>
                  <a:lnTo>
                    <a:pt x="8517" y="3066"/>
                  </a:lnTo>
                  <a:lnTo>
                    <a:pt x="8426" y="3051"/>
                  </a:lnTo>
                  <a:lnTo>
                    <a:pt x="8332" y="3038"/>
                  </a:lnTo>
                  <a:lnTo>
                    <a:pt x="8239" y="3029"/>
                  </a:lnTo>
                  <a:lnTo>
                    <a:pt x="8143" y="3024"/>
                  </a:lnTo>
                  <a:lnTo>
                    <a:pt x="8048" y="3022"/>
                  </a:lnTo>
                  <a:lnTo>
                    <a:pt x="7951" y="3024"/>
                  </a:lnTo>
                  <a:lnTo>
                    <a:pt x="7856" y="3029"/>
                  </a:lnTo>
                  <a:lnTo>
                    <a:pt x="7762" y="3038"/>
                  </a:lnTo>
                  <a:lnTo>
                    <a:pt x="7669" y="3051"/>
                  </a:lnTo>
                  <a:lnTo>
                    <a:pt x="7577" y="3066"/>
                  </a:lnTo>
                  <a:lnTo>
                    <a:pt x="7486" y="3085"/>
                  </a:lnTo>
                  <a:lnTo>
                    <a:pt x="7397" y="3107"/>
                  </a:lnTo>
                  <a:lnTo>
                    <a:pt x="7308" y="3133"/>
                  </a:lnTo>
                  <a:lnTo>
                    <a:pt x="7222" y="3162"/>
                  </a:lnTo>
                  <a:lnTo>
                    <a:pt x="7136" y="3194"/>
                  </a:lnTo>
                  <a:lnTo>
                    <a:pt x="7053" y="3228"/>
                  </a:lnTo>
                  <a:lnTo>
                    <a:pt x="6970" y="3265"/>
                  </a:lnTo>
                  <a:lnTo>
                    <a:pt x="6889" y="3307"/>
                  </a:lnTo>
                  <a:lnTo>
                    <a:pt x="6810" y="3350"/>
                  </a:lnTo>
                  <a:lnTo>
                    <a:pt x="6733" y="3395"/>
                  </a:lnTo>
                  <a:lnTo>
                    <a:pt x="6657" y="3445"/>
                  </a:lnTo>
                  <a:lnTo>
                    <a:pt x="6583" y="3496"/>
                  </a:lnTo>
                  <a:lnTo>
                    <a:pt x="6511" y="3549"/>
                  </a:lnTo>
                  <a:lnTo>
                    <a:pt x="6442" y="3606"/>
                  </a:lnTo>
                  <a:lnTo>
                    <a:pt x="6374" y="3664"/>
                  </a:lnTo>
                  <a:lnTo>
                    <a:pt x="6308" y="3726"/>
                  </a:lnTo>
                  <a:lnTo>
                    <a:pt x="6245" y="3789"/>
                  </a:lnTo>
                  <a:lnTo>
                    <a:pt x="6183" y="3855"/>
                  </a:lnTo>
                  <a:lnTo>
                    <a:pt x="6125" y="3922"/>
                  </a:lnTo>
                  <a:lnTo>
                    <a:pt x="6069" y="3992"/>
                  </a:lnTo>
                  <a:lnTo>
                    <a:pt x="6015" y="4063"/>
                  </a:lnTo>
                  <a:lnTo>
                    <a:pt x="5963" y="4138"/>
                  </a:lnTo>
                  <a:lnTo>
                    <a:pt x="5914" y="4213"/>
                  </a:lnTo>
                  <a:lnTo>
                    <a:pt x="5868" y="4290"/>
                  </a:lnTo>
                  <a:lnTo>
                    <a:pt x="5824" y="4369"/>
                  </a:lnTo>
                  <a:lnTo>
                    <a:pt x="5784" y="4450"/>
                  </a:lnTo>
                  <a:lnTo>
                    <a:pt x="5746" y="4532"/>
                  </a:lnTo>
                  <a:lnTo>
                    <a:pt x="5206" y="4532"/>
                  </a:lnTo>
                  <a:lnTo>
                    <a:pt x="5247" y="4424"/>
                  </a:lnTo>
                  <a:lnTo>
                    <a:pt x="5291" y="4317"/>
                  </a:lnTo>
                  <a:lnTo>
                    <a:pt x="5341" y="4212"/>
                  </a:lnTo>
                  <a:lnTo>
                    <a:pt x="5393" y="4109"/>
                  </a:lnTo>
                  <a:lnTo>
                    <a:pt x="5450" y="4010"/>
                  </a:lnTo>
                  <a:lnTo>
                    <a:pt x="5510" y="3912"/>
                  </a:lnTo>
                  <a:lnTo>
                    <a:pt x="5574" y="3816"/>
                  </a:lnTo>
                  <a:lnTo>
                    <a:pt x="5640" y="3724"/>
                  </a:lnTo>
                  <a:lnTo>
                    <a:pt x="5711" y="3634"/>
                  </a:lnTo>
                  <a:lnTo>
                    <a:pt x="5785" y="3546"/>
                  </a:lnTo>
                  <a:lnTo>
                    <a:pt x="5862" y="3462"/>
                  </a:lnTo>
                  <a:lnTo>
                    <a:pt x="5942" y="3380"/>
                  </a:lnTo>
                  <a:lnTo>
                    <a:pt x="6025" y="3302"/>
                  </a:lnTo>
                  <a:lnTo>
                    <a:pt x="6111" y="3227"/>
                  </a:lnTo>
                  <a:lnTo>
                    <a:pt x="6200" y="3155"/>
                  </a:lnTo>
                  <a:lnTo>
                    <a:pt x="6291" y="3086"/>
                  </a:lnTo>
                  <a:lnTo>
                    <a:pt x="6385" y="3021"/>
                  </a:lnTo>
                  <a:lnTo>
                    <a:pt x="6481" y="2959"/>
                  </a:lnTo>
                  <a:lnTo>
                    <a:pt x="6581" y="2901"/>
                  </a:lnTo>
                  <a:lnTo>
                    <a:pt x="6681" y="2846"/>
                  </a:lnTo>
                  <a:lnTo>
                    <a:pt x="6785" y="2796"/>
                  </a:lnTo>
                  <a:lnTo>
                    <a:pt x="6891" y="2750"/>
                  </a:lnTo>
                  <a:lnTo>
                    <a:pt x="6999" y="2706"/>
                  </a:lnTo>
                  <a:lnTo>
                    <a:pt x="7109" y="2668"/>
                  </a:lnTo>
                  <a:lnTo>
                    <a:pt x="7221" y="2634"/>
                  </a:lnTo>
                  <a:lnTo>
                    <a:pt x="7334" y="2604"/>
                  </a:lnTo>
                  <a:lnTo>
                    <a:pt x="7449" y="2578"/>
                  </a:lnTo>
                  <a:lnTo>
                    <a:pt x="7566" y="2556"/>
                  </a:lnTo>
                  <a:lnTo>
                    <a:pt x="7684" y="2540"/>
                  </a:lnTo>
                  <a:lnTo>
                    <a:pt x="7804" y="2528"/>
                  </a:lnTo>
                  <a:lnTo>
                    <a:pt x="7925" y="2521"/>
                  </a:lnTo>
                  <a:lnTo>
                    <a:pt x="8048" y="2518"/>
                  </a:lnTo>
                  <a:lnTo>
                    <a:pt x="8163" y="2520"/>
                  </a:lnTo>
                  <a:lnTo>
                    <a:pt x="8278" y="2527"/>
                  </a:lnTo>
                  <a:lnTo>
                    <a:pt x="8392" y="2538"/>
                  </a:lnTo>
                  <a:lnTo>
                    <a:pt x="8503" y="2552"/>
                  </a:lnTo>
                  <a:lnTo>
                    <a:pt x="8614" y="2571"/>
                  </a:lnTo>
                  <a:lnTo>
                    <a:pt x="8723" y="2595"/>
                  </a:lnTo>
                  <a:lnTo>
                    <a:pt x="8832" y="2622"/>
                  </a:lnTo>
                  <a:lnTo>
                    <a:pt x="8939" y="2653"/>
                  </a:lnTo>
                  <a:lnTo>
                    <a:pt x="9043" y="2687"/>
                  </a:lnTo>
                  <a:lnTo>
                    <a:pt x="9146" y="2726"/>
                  </a:lnTo>
                  <a:lnTo>
                    <a:pt x="9248" y="2768"/>
                  </a:lnTo>
                  <a:lnTo>
                    <a:pt x="9347" y="2813"/>
                  </a:lnTo>
                  <a:lnTo>
                    <a:pt x="9444" y="2862"/>
                  </a:lnTo>
                  <a:lnTo>
                    <a:pt x="9539" y="2915"/>
                  </a:lnTo>
                  <a:lnTo>
                    <a:pt x="9633" y="2970"/>
                  </a:lnTo>
                  <a:lnTo>
                    <a:pt x="9723" y="3029"/>
                  </a:lnTo>
                  <a:lnTo>
                    <a:pt x="9813" y="3091"/>
                  </a:lnTo>
                  <a:lnTo>
                    <a:pt x="9899" y="3157"/>
                  </a:lnTo>
                  <a:lnTo>
                    <a:pt x="9983" y="3224"/>
                  </a:lnTo>
                  <a:lnTo>
                    <a:pt x="10064" y="3296"/>
                  </a:lnTo>
                  <a:lnTo>
                    <a:pt x="10144" y="3369"/>
                  </a:lnTo>
                  <a:lnTo>
                    <a:pt x="10219" y="3446"/>
                  </a:lnTo>
                  <a:lnTo>
                    <a:pt x="10294" y="3525"/>
                  </a:lnTo>
                  <a:lnTo>
                    <a:pt x="10364" y="3607"/>
                  </a:lnTo>
                  <a:lnTo>
                    <a:pt x="10432" y="3690"/>
                  </a:lnTo>
                  <a:lnTo>
                    <a:pt x="10496" y="3778"/>
                  </a:lnTo>
                  <a:lnTo>
                    <a:pt x="10558" y="3867"/>
                  </a:lnTo>
                  <a:lnTo>
                    <a:pt x="10617" y="3958"/>
                  </a:lnTo>
                  <a:lnTo>
                    <a:pt x="10672" y="4052"/>
                  </a:lnTo>
                  <a:lnTo>
                    <a:pt x="10724" y="4148"/>
                  </a:lnTo>
                  <a:lnTo>
                    <a:pt x="10773" y="4245"/>
                  </a:lnTo>
                  <a:lnTo>
                    <a:pt x="10818" y="4345"/>
                  </a:lnTo>
                  <a:lnTo>
                    <a:pt x="10444" y="4532"/>
                  </a:lnTo>
                  <a:lnTo>
                    <a:pt x="10349" y="4532"/>
                  </a:lnTo>
                  <a:close/>
                  <a:moveTo>
                    <a:pt x="8048" y="504"/>
                  </a:moveTo>
                  <a:lnTo>
                    <a:pt x="8237" y="508"/>
                  </a:lnTo>
                  <a:lnTo>
                    <a:pt x="8424" y="518"/>
                  </a:lnTo>
                  <a:lnTo>
                    <a:pt x="8609" y="535"/>
                  </a:lnTo>
                  <a:lnTo>
                    <a:pt x="8793" y="559"/>
                  </a:lnTo>
                  <a:lnTo>
                    <a:pt x="8974" y="590"/>
                  </a:lnTo>
                  <a:lnTo>
                    <a:pt x="9153" y="627"/>
                  </a:lnTo>
                  <a:lnTo>
                    <a:pt x="9330" y="670"/>
                  </a:lnTo>
                  <a:lnTo>
                    <a:pt x="9504" y="720"/>
                  </a:lnTo>
                  <a:lnTo>
                    <a:pt x="9676" y="776"/>
                  </a:lnTo>
                  <a:lnTo>
                    <a:pt x="9844" y="837"/>
                  </a:lnTo>
                  <a:lnTo>
                    <a:pt x="10010" y="904"/>
                  </a:lnTo>
                  <a:lnTo>
                    <a:pt x="10173" y="978"/>
                  </a:lnTo>
                  <a:lnTo>
                    <a:pt x="10333" y="1057"/>
                  </a:lnTo>
                  <a:lnTo>
                    <a:pt x="10490" y="1140"/>
                  </a:lnTo>
                  <a:lnTo>
                    <a:pt x="10643" y="1230"/>
                  </a:lnTo>
                  <a:lnTo>
                    <a:pt x="10793" y="1324"/>
                  </a:lnTo>
                  <a:lnTo>
                    <a:pt x="10939" y="1424"/>
                  </a:lnTo>
                  <a:lnTo>
                    <a:pt x="11081" y="1529"/>
                  </a:lnTo>
                  <a:lnTo>
                    <a:pt x="11220" y="1639"/>
                  </a:lnTo>
                  <a:lnTo>
                    <a:pt x="11355" y="1754"/>
                  </a:lnTo>
                  <a:lnTo>
                    <a:pt x="11485" y="1872"/>
                  </a:lnTo>
                  <a:lnTo>
                    <a:pt x="11612" y="1995"/>
                  </a:lnTo>
                  <a:lnTo>
                    <a:pt x="11733" y="2123"/>
                  </a:lnTo>
                  <a:lnTo>
                    <a:pt x="11851" y="2255"/>
                  </a:lnTo>
                  <a:lnTo>
                    <a:pt x="11964" y="2390"/>
                  </a:lnTo>
                  <a:lnTo>
                    <a:pt x="12072" y="2530"/>
                  </a:lnTo>
                  <a:lnTo>
                    <a:pt x="12176" y="2674"/>
                  </a:lnTo>
                  <a:lnTo>
                    <a:pt x="12273" y="2821"/>
                  </a:lnTo>
                  <a:lnTo>
                    <a:pt x="12367" y="2972"/>
                  </a:lnTo>
                  <a:lnTo>
                    <a:pt x="12456" y="3126"/>
                  </a:lnTo>
                  <a:lnTo>
                    <a:pt x="12538" y="3285"/>
                  </a:lnTo>
                  <a:lnTo>
                    <a:pt x="12615" y="3446"/>
                  </a:lnTo>
                  <a:lnTo>
                    <a:pt x="12167" y="3669"/>
                  </a:lnTo>
                  <a:lnTo>
                    <a:pt x="12097" y="3523"/>
                  </a:lnTo>
                  <a:lnTo>
                    <a:pt x="12024" y="3381"/>
                  </a:lnTo>
                  <a:lnTo>
                    <a:pt x="11945" y="3241"/>
                  </a:lnTo>
                  <a:lnTo>
                    <a:pt x="11861" y="3104"/>
                  </a:lnTo>
                  <a:lnTo>
                    <a:pt x="11772" y="2971"/>
                  </a:lnTo>
                  <a:lnTo>
                    <a:pt x="11680" y="2841"/>
                  </a:lnTo>
                  <a:lnTo>
                    <a:pt x="11582" y="2714"/>
                  </a:lnTo>
                  <a:lnTo>
                    <a:pt x="11481" y="2592"/>
                  </a:lnTo>
                  <a:lnTo>
                    <a:pt x="11375" y="2473"/>
                  </a:lnTo>
                  <a:lnTo>
                    <a:pt x="11265" y="2357"/>
                  </a:lnTo>
                  <a:lnTo>
                    <a:pt x="11152" y="2245"/>
                  </a:lnTo>
                  <a:lnTo>
                    <a:pt x="11034" y="2137"/>
                  </a:lnTo>
                  <a:lnTo>
                    <a:pt x="10912" y="2035"/>
                  </a:lnTo>
                  <a:lnTo>
                    <a:pt x="10788" y="1935"/>
                  </a:lnTo>
                  <a:lnTo>
                    <a:pt x="10660" y="1840"/>
                  </a:lnTo>
                  <a:lnTo>
                    <a:pt x="10528" y="1751"/>
                  </a:lnTo>
                  <a:lnTo>
                    <a:pt x="10392" y="1665"/>
                  </a:lnTo>
                  <a:lnTo>
                    <a:pt x="10255" y="1583"/>
                  </a:lnTo>
                  <a:lnTo>
                    <a:pt x="10113" y="1508"/>
                  </a:lnTo>
                  <a:lnTo>
                    <a:pt x="9969" y="1436"/>
                  </a:lnTo>
                  <a:lnTo>
                    <a:pt x="9822" y="1370"/>
                  </a:lnTo>
                  <a:lnTo>
                    <a:pt x="9672" y="1309"/>
                  </a:lnTo>
                  <a:lnTo>
                    <a:pt x="9519" y="1253"/>
                  </a:lnTo>
                  <a:lnTo>
                    <a:pt x="9364" y="1203"/>
                  </a:lnTo>
                  <a:lnTo>
                    <a:pt x="9207" y="1158"/>
                  </a:lnTo>
                  <a:lnTo>
                    <a:pt x="9047" y="1119"/>
                  </a:lnTo>
                  <a:lnTo>
                    <a:pt x="8885" y="1085"/>
                  </a:lnTo>
                  <a:lnTo>
                    <a:pt x="8721" y="1058"/>
                  </a:lnTo>
                  <a:lnTo>
                    <a:pt x="8555" y="1035"/>
                  </a:lnTo>
                  <a:lnTo>
                    <a:pt x="8388" y="1020"/>
                  </a:lnTo>
                  <a:lnTo>
                    <a:pt x="8219" y="1010"/>
                  </a:lnTo>
                  <a:lnTo>
                    <a:pt x="8048" y="1007"/>
                  </a:lnTo>
                  <a:lnTo>
                    <a:pt x="7846" y="1012"/>
                  </a:lnTo>
                  <a:lnTo>
                    <a:pt x="7648" y="1025"/>
                  </a:lnTo>
                  <a:lnTo>
                    <a:pt x="7452" y="1047"/>
                  </a:lnTo>
                  <a:lnTo>
                    <a:pt x="7258" y="1077"/>
                  </a:lnTo>
                  <a:lnTo>
                    <a:pt x="7068" y="1114"/>
                  </a:lnTo>
                  <a:lnTo>
                    <a:pt x="6880" y="1160"/>
                  </a:lnTo>
                  <a:lnTo>
                    <a:pt x="6696" y="1214"/>
                  </a:lnTo>
                  <a:lnTo>
                    <a:pt x="6514" y="1274"/>
                  </a:lnTo>
                  <a:lnTo>
                    <a:pt x="6336" y="1343"/>
                  </a:lnTo>
                  <a:lnTo>
                    <a:pt x="6162" y="1419"/>
                  </a:lnTo>
                  <a:lnTo>
                    <a:pt x="5992" y="1502"/>
                  </a:lnTo>
                  <a:lnTo>
                    <a:pt x="5826" y="1590"/>
                  </a:lnTo>
                  <a:lnTo>
                    <a:pt x="5664" y="1687"/>
                  </a:lnTo>
                  <a:lnTo>
                    <a:pt x="5507" y="1790"/>
                  </a:lnTo>
                  <a:lnTo>
                    <a:pt x="5354" y="1899"/>
                  </a:lnTo>
                  <a:lnTo>
                    <a:pt x="5206" y="2013"/>
                  </a:lnTo>
                  <a:lnTo>
                    <a:pt x="5063" y="2134"/>
                  </a:lnTo>
                  <a:lnTo>
                    <a:pt x="4925" y="2261"/>
                  </a:lnTo>
                  <a:lnTo>
                    <a:pt x="4792" y="2393"/>
                  </a:lnTo>
                  <a:lnTo>
                    <a:pt x="4666" y="2530"/>
                  </a:lnTo>
                  <a:lnTo>
                    <a:pt x="4544" y="2673"/>
                  </a:lnTo>
                  <a:lnTo>
                    <a:pt x="4429" y="2821"/>
                  </a:lnTo>
                  <a:lnTo>
                    <a:pt x="4319" y="2973"/>
                  </a:lnTo>
                  <a:lnTo>
                    <a:pt x="4216" y="3130"/>
                  </a:lnTo>
                  <a:lnTo>
                    <a:pt x="4119" y="3293"/>
                  </a:lnTo>
                  <a:lnTo>
                    <a:pt x="4029" y="3458"/>
                  </a:lnTo>
                  <a:lnTo>
                    <a:pt x="3945" y="3628"/>
                  </a:lnTo>
                  <a:lnTo>
                    <a:pt x="3869" y="3802"/>
                  </a:lnTo>
                  <a:lnTo>
                    <a:pt x="3799" y="3979"/>
                  </a:lnTo>
                  <a:lnTo>
                    <a:pt x="3738" y="4161"/>
                  </a:lnTo>
                  <a:lnTo>
                    <a:pt x="3683" y="4345"/>
                  </a:lnTo>
                  <a:lnTo>
                    <a:pt x="3636" y="4532"/>
                  </a:lnTo>
                  <a:lnTo>
                    <a:pt x="3119" y="4532"/>
                  </a:lnTo>
                  <a:lnTo>
                    <a:pt x="3168" y="4319"/>
                  </a:lnTo>
                  <a:lnTo>
                    <a:pt x="3225" y="4109"/>
                  </a:lnTo>
                  <a:lnTo>
                    <a:pt x="3291" y="3903"/>
                  </a:lnTo>
                  <a:lnTo>
                    <a:pt x="3366" y="3700"/>
                  </a:lnTo>
                  <a:lnTo>
                    <a:pt x="3448" y="3502"/>
                  </a:lnTo>
                  <a:lnTo>
                    <a:pt x="3540" y="3309"/>
                  </a:lnTo>
                  <a:lnTo>
                    <a:pt x="3638" y="3119"/>
                  </a:lnTo>
                  <a:lnTo>
                    <a:pt x="3745" y="2935"/>
                  </a:lnTo>
                  <a:lnTo>
                    <a:pt x="3859" y="2755"/>
                  </a:lnTo>
                  <a:lnTo>
                    <a:pt x="3980" y="2580"/>
                  </a:lnTo>
                  <a:lnTo>
                    <a:pt x="4108" y="2412"/>
                  </a:lnTo>
                  <a:lnTo>
                    <a:pt x="4244" y="2249"/>
                  </a:lnTo>
                  <a:lnTo>
                    <a:pt x="4385" y="2092"/>
                  </a:lnTo>
                  <a:lnTo>
                    <a:pt x="4534" y="1941"/>
                  </a:lnTo>
                  <a:lnTo>
                    <a:pt x="4688" y="1796"/>
                  </a:lnTo>
                  <a:lnTo>
                    <a:pt x="4848" y="1657"/>
                  </a:lnTo>
                  <a:lnTo>
                    <a:pt x="5014" y="1526"/>
                  </a:lnTo>
                  <a:lnTo>
                    <a:pt x="5186" y="1401"/>
                  </a:lnTo>
                  <a:lnTo>
                    <a:pt x="5362" y="1283"/>
                  </a:lnTo>
                  <a:lnTo>
                    <a:pt x="5544" y="1173"/>
                  </a:lnTo>
                  <a:lnTo>
                    <a:pt x="5731" y="1071"/>
                  </a:lnTo>
                  <a:lnTo>
                    <a:pt x="5922" y="976"/>
                  </a:lnTo>
                  <a:lnTo>
                    <a:pt x="6118" y="889"/>
                  </a:lnTo>
                  <a:lnTo>
                    <a:pt x="6318" y="811"/>
                  </a:lnTo>
                  <a:lnTo>
                    <a:pt x="6522" y="740"/>
                  </a:lnTo>
                  <a:lnTo>
                    <a:pt x="6731" y="679"/>
                  </a:lnTo>
                  <a:lnTo>
                    <a:pt x="6942" y="627"/>
                  </a:lnTo>
                  <a:lnTo>
                    <a:pt x="7157" y="583"/>
                  </a:lnTo>
                  <a:lnTo>
                    <a:pt x="7376" y="549"/>
                  </a:lnTo>
                  <a:lnTo>
                    <a:pt x="7597" y="524"/>
                  </a:lnTo>
                  <a:lnTo>
                    <a:pt x="7821" y="509"/>
                  </a:lnTo>
                  <a:lnTo>
                    <a:pt x="8048" y="504"/>
                  </a:lnTo>
                  <a:close/>
                  <a:moveTo>
                    <a:pt x="12976" y="4532"/>
                  </a:moveTo>
                  <a:lnTo>
                    <a:pt x="12693" y="4532"/>
                  </a:lnTo>
                  <a:lnTo>
                    <a:pt x="12943" y="4407"/>
                  </a:lnTo>
                  <a:lnTo>
                    <a:pt x="12951" y="4438"/>
                  </a:lnTo>
                  <a:lnTo>
                    <a:pt x="12959" y="4469"/>
                  </a:lnTo>
                  <a:lnTo>
                    <a:pt x="12969" y="4501"/>
                  </a:lnTo>
                  <a:lnTo>
                    <a:pt x="12976" y="4532"/>
                  </a:lnTo>
                  <a:close/>
                  <a:moveTo>
                    <a:pt x="14838" y="4532"/>
                  </a:moveTo>
                  <a:lnTo>
                    <a:pt x="13484" y="4532"/>
                  </a:lnTo>
                  <a:lnTo>
                    <a:pt x="13476" y="4487"/>
                  </a:lnTo>
                  <a:lnTo>
                    <a:pt x="13466" y="4443"/>
                  </a:lnTo>
                  <a:lnTo>
                    <a:pt x="13456" y="4398"/>
                  </a:lnTo>
                  <a:lnTo>
                    <a:pt x="13446" y="4354"/>
                  </a:lnTo>
                  <a:lnTo>
                    <a:pt x="13436" y="4310"/>
                  </a:lnTo>
                  <a:lnTo>
                    <a:pt x="13425" y="4266"/>
                  </a:lnTo>
                  <a:lnTo>
                    <a:pt x="13414" y="4221"/>
                  </a:lnTo>
                  <a:lnTo>
                    <a:pt x="13403" y="4177"/>
                  </a:lnTo>
                  <a:lnTo>
                    <a:pt x="15816" y="2969"/>
                  </a:lnTo>
                  <a:lnTo>
                    <a:pt x="15839" y="2957"/>
                  </a:lnTo>
                  <a:lnTo>
                    <a:pt x="15862" y="2943"/>
                  </a:lnTo>
                  <a:lnTo>
                    <a:pt x="15883" y="2929"/>
                  </a:lnTo>
                  <a:lnTo>
                    <a:pt x="15903" y="2914"/>
                  </a:lnTo>
                  <a:lnTo>
                    <a:pt x="15922" y="2898"/>
                  </a:lnTo>
                  <a:lnTo>
                    <a:pt x="15940" y="2882"/>
                  </a:lnTo>
                  <a:lnTo>
                    <a:pt x="15957" y="2863"/>
                  </a:lnTo>
                  <a:lnTo>
                    <a:pt x="15974" y="2845"/>
                  </a:lnTo>
                  <a:lnTo>
                    <a:pt x="15989" y="2826"/>
                  </a:lnTo>
                  <a:lnTo>
                    <a:pt x="16003" y="2807"/>
                  </a:lnTo>
                  <a:lnTo>
                    <a:pt x="16018" y="2787"/>
                  </a:lnTo>
                  <a:lnTo>
                    <a:pt x="16030" y="2766"/>
                  </a:lnTo>
                  <a:lnTo>
                    <a:pt x="16041" y="2745"/>
                  </a:lnTo>
                  <a:lnTo>
                    <a:pt x="16052" y="2722"/>
                  </a:lnTo>
                  <a:lnTo>
                    <a:pt x="16061" y="2700"/>
                  </a:lnTo>
                  <a:lnTo>
                    <a:pt x="16069" y="2677"/>
                  </a:lnTo>
                  <a:lnTo>
                    <a:pt x="16076" y="2654"/>
                  </a:lnTo>
                  <a:lnTo>
                    <a:pt x="16082" y="2631"/>
                  </a:lnTo>
                  <a:lnTo>
                    <a:pt x="16087" y="2608"/>
                  </a:lnTo>
                  <a:lnTo>
                    <a:pt x="16091" y="2583"/>
                  </a:lnTo>
                  <a:lnTo>
                    <a:pt x="16093" y="2559"/>
                  </a:lnTo>
                  <a:lnTo>
                    <a:pt x="16095" y="2535"/>
                  </a:lnTo>
                  <a:lnTo>
                    <a:pt x="16095" y="2511"/>
                  </a:lnTo>
                  <a:lnTo>
                    <a:pt x="16094" y="2486"/>
                  </a:lnTo>
                  <a:lnTo>
                    <a:pt x="16092" y="2462"/>
                  </a:lnTo>
                  <a:lnTo>
                    <a:pt x="16088" y="2437"/>
                  </a:lnTo>
                  <a:lnTo>
                    <a:pt x="16084" y="2413"/>
                  </a:lnTo>
                  <a:lnTo>
                    <a:pt x="16078" y="2388"/>
                  </a:lnTo>
                  <a:lnTo>
                    <a:pt x="16071" y="2364"/>
                  </a:lnTo>
                  <a:lnTo>
                    <a:pt x="16063" y="2341"/>
                  </a:lnTo>
                  <a:lnTo>
                    <a:pt x="16053" y="2317"/>
                  </a:lnTo>
                  <a:lnTo>
                    <a:pt x="16042" y="2293"/>
                  </a:lnTo>
                  <a:lnTo>
                    <a:pt x="16030" y="2270"/>
                  </a:lnTo>
                  <a:lnTo>
                    <a:pt x="16017" y="2248"/>
                  </a:lnTo>
                  <a:lnTo>
                    <a:pt x="16002" y="2227"/>
                  </a:lnTo>
                  <a:lnTo>
                    <a:pt x="15987" y="2207"/>
                  </a:lnTo>
                  <a:lnTo>
                    <a:pt x="15971" y="2188"/>
                  </a:lnTo>
                  <a:lnTo>
                    <a:pt x="15954" y="2170"/>
                  </a:lnTo>
                  <a:lnTo>
                    <a:pt x="15937" y="2152"/>
                  </a:lnTo>
                  <a:lnTo>
                    <a:pt x="15919" y="2135"/>
                  </a:lnTo>
                  <a:lnTo>
                    <a:pt x="15900" y="2120"/>
                  </a:lnTo>
                  <a:lnTo>
                    <a:pt x="15880" y="2106"/>
                  </a:lnTo>
                  <a:lnTo>
                    <a:pt x="15860" y="2092"/>
                  </a:lnTo>
                  <a:lnTo>
                    <a:pt x="15839" y="2080"/>
                  </a:lnTo>
                  <a:lnTo>
                    <a:pt x="15817" y="2069"/>
                  </a:lnTo>
                  <a:lnTo>
                    <a:pt x="15796" y="2058"/>
                  </a:lnTo>
                  <a:lnTo>
                    <a:pt x="15774" y="2049"/>
                  </a:lnTo>
                  <a:lnTo>
                    <a:pt x="15751" y="2041"/>
                  </a:lnTo>
                  <a:lnTo>
                    <a:pt x="15728" y="2034"/>
                  </a:lnTo>
                  <a:lnTo>
                    <a:pt x="15705" y="2028"/>
                  </a:lnTo>
                  <a:lnTo>
                    <a:pt x="15681" y="2022"/>
                  </a:lnTo>
                  <a:lnTo>
                    <a:pt x="15657" y="2019"/>
                  </a:lnTo>
                  <a:lnTo>
                    <a:pt x="15633" y="2016"/>
                  </a:lnTo>
                  <a:lnTo>
                    <a:pt x="15609" y="2015"/>
                  </a:lnTo>
                  <a:lnTo>
                    <a:pt x="15584" y="2014"/>
                  </a:lnTo>
                  <a:lnTo>
                    <a:pt x="15560" y="2015"/>
                  </a:lnTo>
                  <a:lnTo>
                    <a:pt x="15536" y="2017"/>
                  </a:lnTo>
                  <a:lnTo>
                    <a:pt x="15511" y="2021"/>
                  </a:lnTo>
                  <a:lnTo>
                    <a:pt x="15486" y="2026"/>
                  </a:lnTo>
                  <a:lnTo>
                    <a:pt x="15462" y="2032"/>
                  </a:lnTo>
                  <a:lnTo>
                    <a:pt x="15438" y="2039"/>
                  </a:lnTo>
                  <a:lnTo>
                    <a:pt x="15414" y="2047"/>
                  </a:lnTo>
                  <a:lnTo>
                    <a:pt x="15391" y="2057"/>
                  </a:lnTo>
                  <a:lnTo>
                    <a:pt x="15367" y="2068"/>
                  </a:lnTo>
                  <a:lnTo>
                    <a:pt x="13065" y="3220"/>
                  </a:lnTo>
                  <a:lnTo>
                    <a:pt x="12980" y="3044"/>
                  </a:lnTo>
                  <a:lnTo>
                    <a:pt x="12888" y="2872"/>
                  </a:lnTo>
                  <a:lnTo>
                    <a:pt x="12790" y="2702"/>
                  </a:lnTo>
                  <a:lnTo>
                    <a:pt x="12688" y="2537"/>
                  </a:lnTo>
                  <a:lnTo>
                    <a:pt x="12579" y="2376"/>
                  </a:lnTo>
                  <a:lnTo>
                    <a:pt x="12466" y="2219"/>
                  </a:lnTo>
                  <a:lnTo>
                    <a:pt x="12347" y="2066"/>
                  </a:lnTo>
                  <a:lnTo>
                    <a:pt x="12223" y="1917"/>
                  </a:lnTo>
                  <a:lnTo>
                    <a:pt x="12093" y="1773"/>
                  </a:lnTo>
                  <a:lnTo>
                    <a:pt x="11960" y="1633"/>
                  </a:lnTo>
                  <a:lnTo>
                    <a:pt x="11821" y="1498"/>
                  </a:lnTo>
                  <a:lnTo>
                    <a:pt x="11677" y="1368"/>
                  </a:lnTo>
                  <a:lnTo>
                    <a:pt x="11529" y="1243"/>
                  </a:lnTo>
                  <a:lnTo>
                    <a:pt x="11377" y="1123"/>
                  </a:lnTo>
                  <a:lnTo>
                    <a:pt x="11220" y="1008"/>
                  </a:lnTo>
                  <a:lnTo>
                    <a:pt x="11060" y="898"/>
                  </a:lnTo>
                  <a:lnTo>
                    <a:pt x="10895" y="795"/>
                  </a:lnTo>
                  <a:lnTo>
                    <a:pt x="10727" y="697"/>
                  </a:lnTo>
                  <a:lnTo>
                    <a:pt x="10555" y="605"/>
                  </a:lnTo>
                  <a:lnTo>
                    <a:pt x="10380" y="519"/>
                  </a:lnTo>
                  <a:lnTo>
                    <a:pt x="10201" y="439"/>
                  </a:lnTo>
                  <a:lnTo>
                    <a:pt x="10019" y="365"/>
                  </a:lnTo>
                  <a:lnTo>
                    <a:pt x="9834" y="297"/>
                  </a:lnTo>
                  <a:lnTo>
                    <a:pt x="9645" y="237"/>
                  </a:lnTo>
                  <a:lnTo>
                    <a:pt x="9454" y="182"/>
                  </a:lnTo>
                  <a:lnTo>
                    <a:pt x="9261" y="135"/>
                  </a:lnTo>
                  <a:lnTo>
                    <a:pt x="9063" y="95"/>
                  </a:lnTo>
                  <a:lnTo>
                    <a:pt x="8865" y="60"/>
                  </a:lnTo>
                  <a:lnTo>
                    <a:pt x="8664" y="34"/>
                  </a:lnTo>
                  <a:lnTo>
                    <a:pt x="8460" y="16"/>
                  </a:lnTo>
                  <a:lnTo>
                    <a:pt x="8255" y="4"/>
                  </a:lnTo>
                  <a:lnTo>
                    <a:pt x="8048" y="0"/>
                  </a:lnTo>
                  <a:lnTo>
                    <a:pt x="7795" y="6"/>
                  </a:lnTo>
                  <a:lnTo>
                    <a:pt x="7546" y="23"/>
                  </a:lnTo>
                  <a:lnTo>
                    <a:pt x="7299" y="50"/>
                  </a:lnTo>
                  <a:lnTo>
                    <a:pt x="7056" y="90"/>
                  </a:lnTo>
                  <a:lnTo>
                    <a:pt x="6816" y="139"/>
                  </a:lnTo>
                  <a:lnTo>
                    <a:pt x="6581" y="198"/>
                  </a:lnTo>
                  <a:lnTo>
                    <a:pt x="6349" y="267"/>
                  </a:lnTo>
                  <a:lnTo>
                    <a:pt x="6123" y="347"/>
                  </a:lnTo>
                  <a:lnTo>
                    <a:pt x="5900" y="435"/>
                  </a:lnTo>
                  <a:lnTo>
                    <a:pt x="5683" y="533"/>
                  </a:lnTo>
                  <a:lnTo>
                    <a:pt x="5470" y="640"/>
                  </a:lnTo>
                  <a:lnTo>
                    <a:pt x="5263" y="755"/>
                  </a:lnTo>
                  <a:lnTo>
                    <a:pt x="5061" y="880"/>
                  </a:lnTo>
                  <a:lnTo>
                    <a:pt x="4866" y="1012"/>
                  </a:lnTo>
                  <a:lnTo>
                    <a:pt x="4676" y="1153"/>
                  </a:lnTo>
                  <a:lnTo>
                    <a:pt x="4493" y="1301"/>
                  </a:lnTo>
                  <a:lnTo>
                    <a:pt x="4315" y="1456"/>
                  </a:lnTo>
                  <a:lnTo>
                    <a:pt x="4144" y="1620"/>
                  </a:lnTo>
                  <a:lnTo>
                    <a:pt x="3982" y="1790"/>
                  </a:lnTo>
                  <a:lnTo>
                    <a:pt x="3826" y="1967"/>
                  </a:lnTo>
                  <a:lnTo>
                    <a:pt x="3678" y="2150"/>
                  </a:lnTo>
                  <a:lnTo>
                    <a:pt x="3537" y="2341"/>
                  </a:lnTo>
                  <a:lnTo>
                    <a:pt x="3404" y="2536"/>
                  </a:lnTo>
                  <a:lnTo>
                    <a:pt x="3280" y="2739"/>
                  </a:lnTo>
                  <a:lnTo>
                    <a:pt x="3164" y="2946"/>
                  </a:lnTo>
                  <a:lnTo>
                    <a:pt x="3057" y="3159"/>
                  </a:lnTo>
                  <a:lnTo>
                    <a:pt x="2958" y="3376"/>
                  </a:lnTo>
                  <a:lnTo>
                    <a:pt x="2870" y="3599"/>
                  </a:lnTo>
                  <a:lnTo>
                    <a:pt x="2790" y="3826"/>
                  </a:lnTo>
                  <a:lnTo>
                    <a:pt x="2720" y="4057"/>
                  </a:lnTo>
                  <a:lnTo>
                    <a:pt x="2661" y="4293"/>
                  </a:lnTo>
                  <a:lnTo>
                    <a:pt x="2610" y="4532"/>
                  </a:lnTo>
                  <a:lnTo>
                    <a:pt x="1257" y="4532"/>
                  </a:lnTo>
                  <a:lnTo>
                    <a:pt x="1193" y="4534"/>
                  </a:lnTo>
                  <a:lnTo>
                    <a:pt x="1129" y="4539"/>
                  </a:lnTo>
                  <a:lnTo>
                    <a:pt x="1066" y="4548"/>
                  </a:lnTo>
                  <a:lnTo>
                    <a:pt x="1004" y="4559"/>
                  </a:lnTo>
                  <a:lnTo>
                    <a:pt x="944" y="4573"/>
                  </a:lnTo>
                  <a:lnTo>
                    <a:pt x="884" y="4589"/>
                  </a:lnTo>
                  <a:lnTo>
                    <a:pt x="826" y="4609"/>
                  </a:lnTo>
                  <a:lnTo>
                    <a:pt x="769" y="4631"/>
                  </a:lnTo>
                  <a:lnTo>
                    <a:pt x="713" y="4657"/>
                  </a:lnTo>
                  <a:lnTo>
                    <a:pt x="659" y="4685"/>
                  </a:lnTo>
                  <a:lnTo>
                    <a:pt x="606" y="4715"/>
                  </a:lnTo>
                  <a:lnTo>
                    <a:pt x="555" y="4748"/>
                  </a:lnTo>
                  <a:lnTo>
                    <a:pt x="506" y="4783"/>
                  </a:lnTo>
                  <a:lnTo>
                    <a:pt x="458" y="4820"/>
                  </a:lnTo>
                  <a:lnTo>
                    <a:pt x="412" y="4860"/>
                  </a:lnTo>
                  <a:lnTo>
                    <a:pt x="369" y="4902"/>
                  </a:lnTo>
                  <a:lnTo>
                    <a:pt x="327" y="4945"/>
                  </a:lnTo>
                  <a:lnTo>
                    <a:pt x="288" y="4991"/>
                  </a:lnTo>
                  <a:lnTo>
                    <a:pt x="250" y="5039"/>
                  </a:lnTo>
                  <a:lnTo>
                    <a:pt x="215" y="5088"/>
                  </a:lnTo>
                  <a:lnTo>
                    <a:pt x="182" y="5139"/>
                  </a:lnTo>
                  <a:lnTo>
                    <a:pt x="152" y="5192"/>
                  </a:lnTo>
                  <a:lnTo>
                    <a:pt x="125" y="5247"/>
                  </a:lnTo>
                  <a:lnTo>
                    <a:pt x="99" y="5302"/>
                  </a:lnTo>
                  <a:lnTo>
                    <a:pt x="76" y="5359"/>
                  </a:lnTo>
                  <a:lnTo>
                    <a:pt x="56" y="5418"/>
                  </a:lnTo>
                  <a:lnTo>
                    <a:pt x="39" y="5477"/>
                  </a:lnTo>
                  <a:lnTo>
                    <a:pt x="25" y="5538"/>
                  </a:lnTo>
                  <a:lnTo>
                    <a:pt x="14" y="5600"/>
                  </a:lnTo>
                  <a:lnTo>
                    <a:pt x="7" y="5662"/>
                  </a:lnTo>
                  <a:lnTo>
                    <a:pt x="2" y="5727"/>
                  </a:lnTo>
                  <a:lnTo>
                    <a:pt x="0" y="5791"/>
                  </a:lnTo>
                  <a:lnTo>
                    <a:pt x="0" y="5815"/>
                  </a:lnTo>
                  <a:lnTo>
                    <a:pt x="1" y="5838"/>
                  </a:lnTo>
                  <a:lnTo>
                    <a:pt x="2" y="5861"/>
                  </a:lnTo>
                  <a:lnTo>
                    <a:pt x="4" y="5883"/>
                  </a:lnTo>
                  <a:lnTo>
                    <a:pt x="7" y="5906"/>
                  </a:lnTo>
                  <a:lnTo>
                    <a:pt x="9" y="5929"/>
                  </a:lnTo>
                  <a:lnTo>
                    <a:pt x="13" y="5952"/>
                  </a:lnTo>
                  <a:lnTo>
                    <a:pt x="17" y="5975"/>
                  </a:lnTo>
                  <a:lnTo>
                    <a:pt x="21" y="5997"/>
                  </a:lnTo>
                  <a:lnTo>
                    <a:pt x="26" y="6019"/>
                  </a:lnTo>
                  <a:lnTo>
                    <a:pt x="31" y="6041"/>
                  </a:lnTo>
                  <a:lnTo>
                    <a:pt x="37" y="6063"/>
                  </a:lnTo>
                  <a:lnTo>
                    <a:pt x="43" y="6085"/>
                  </a:lnTo>
                  <a:lnTo>
                    <a:pt x="50" y="6107"/>
                  </a:lnTo>
                  <a:lnTo>
                    <a:pt x="58" y="6128"/>
                  </a:lnTo>
                  <a:lnTo>
                    <a:pt x="65" y="6150"/>
                  </a:lnTo>
                  <a:lnTo>
                    <a:pt x="74" y="6171"/>
                  </a:lnTo>
                  <a:lnTo>
                    <a:pt x="82" y="6191"/>
                  </a:lnTo>
                  <a:lnTo>
                    <a:pt x="93" y="6212"/>
                  </a:lnTo>
                  <a:lnTo>
                    <a:pt x="102" y="6234"/>
                  </a:lnTo>
                  <a:lnTo>
                    <a:pt x="112" y="6254"/>
                  </a:lnTo>
                  <a:lnTo>
                    <a:pt x="123" y="6274"/>
                  </a:lnTo>
                  <a:lnTo>
                    <a:pt x="134" y="6294"/>
                  </a:lnTo>
                  <a:lnTo>
                    <a:pt x="145" y="6313"/>
                  </a:lnTo>
                  <a:lnTo>
                    <a:pt x="157" y="6332"/>
                  </a:lnTo>
                  <a:lnTo>
                    <a:pt x="170" y="6351"/>
                  </a:lnTo>
                  <a:lnTo>
                    <a:pt x="183" y="6371"/>
                  </a:lnTo>
                  <a:lnTo>
                    <a:pt x="196" y="6390"/>
                  </a:lnTo>
                  <a:lnTo>
                    <a:pt x="210" y="6408"/>
                  </a:lnTo>
                  <a:lnTo>
                    <a:pt x="224" y="6426"/>
                  </a:lnTo>
                  <a:lnTo>
                    <a:pt x="238" y="6443"/>
                  </a:lnTo>
                  <a:lnTo>
                    <a:pt x="253" y="6461"/>
                  </a:lnTo>
                  <a:lnTo>
                    <a:pt x="2012" y="8441"/>
                  </a:lnTo>
                  <a:lnTo>
                    <a:pt x="2012" y="8813"/>
                  </a:lnTo>
                  <a:lnTo>
                    <a:pt x="2014" y="8877"/>
                  </a:lnTo>
                  <a:lnTo>
                    <a:pt x="2019" y="8942"/>
                  </a:lnTo>
                  <a:lnTo>
                    <a:pt x="2026" y="9004"/>
                  </a:lnTo>
                  <a:lnTo>
                    <a:pt x="2038" y="9067"/>
                  </a:lnTo>
                  <a:lnTo>
                    <a:pt x="2052" y="9127"/>
                  </a:lnTo>
                  <a:lnTo>
                    <a:pt x="2068" y="9187"/>
                  </a:lnTo>
                  <a:lnTo>
                    <a:pt x="2088" y="9245"/>
                  </a:lnTo>
                  <a:lnTo>
                    <a:pt x="2110" y="9303"/>
                  </a:lnTo>
                  <a:lnTo>
                    <a:pt x="2137" y="9358"/>
                  </a:lnTo>
                  <a:lnTo>
                    <a:pt x="2164" y="9412"/>
                  </a:lnTo>
                  <a:lnTo>
                    <a:pt x="2194" y="9466"/>
                  </a:lnTo>
                  <a:lnTo>
                    <a:pt x="2227" y="9516"/>
                  </a:lnTo>
                  <a:lnTo>
                    <a:pt x="2262" y="9566"/>
                  </a:lnTo>
                  <a:lnTo>
                    <a:pt x="2300" y="9614"/>
                  </a:lnTo>
                  <a:lnTo>
                    <a:pt x="2339" y="9659"/>
                  </a:lnTo>
                  <a:lnTo>
                    <a:pt x="2381" y="9703"/>
                  </a:lnTo>
                  <a:lnTo>
                    <a:pt x="2424" y="9745"/>
                  </a:lnTo>
                  <a:lnTo>
                    <a:pt x="2471" y="9784"/>
                  </a:lnTo>
                  <a:lnTo>
                    <a:pt x="2518" y="9821"/>
                  </a:lnTo>
                  <a:lnTo>
                    <a:pt x="2567" y="9856"/>
                  </a:lnTo>
                  <a:lnTo>
                    <a:pt x="2617" y="9890"/>
                  </a:lnTo>
                  <a:lnTo>
                    <a:pt x="2671" y="9920"/>
                  </a:lnTo>
                  <a:lnTo>
                    <a:pt x="2725" y="9948"/>
                  </a:lnTo>
                  <a:lnTo>
                    <a:pt x="2780" y="9973"/>
                  </a:lnTo>
                  <a:lnTo>
                    <a:pt x="2838" y="9995"/>
                  </a:lnTo>
                  <a:lnTo>
                    <a:pt x="2896" y="10016"/>
                  </a:lnTo>
                  <a:lnTo>
                    <a:pt x="2955" y="10033"/>
                  </a:lnTo>
                  <a:lnTo>
                    <a:pt x="3016" y="10047"/>
                  </a:lnTo>
                  <a:lnTo>
                    <a:pt x="3078" y="10058"/>
                  </a:lnTo>
                  <a:lnTo>
                    <a:pt x="3141" y="10066"/>
                  </a:lnTo>
                  <a:lnTo>
                    <a:pt x="3205" y="10070"/>
                  </a:lnTo>
                  <a:lnTo>
                    <a:pt x="3269" y="10072"/>
                  </a:lnTo>
                  <a:lnTo>
                    <a:pt x="12826" y="10072"/>
                  </a:lnTo>
                  <a:lnTo>
                    <a:pt x="12890" y="10070"/>
                  </a:lnTo>
                  <a:lnTo>
                    <a:pt x="12953" y="10066"/>
                  </a:lnTo>
                  <a:lnTo>
                    <a:pt x="13017" y="10058"/>
                  </a:lnTo>
                  <a:lnTo>
                    <a:pt x="13078" y="10047"/>
                  </a:lnTo>
                  <a:lnTo>
                    <a:pt x="13140" y="10033"/>
                  </a:lnTo>
                  <a:lnTo>
                    <a:pt x="13199" y="10016"/>
                  </a:lnTo>
                  <a:lnTo>
                    <a:pt x="13257" y="9995"/>
                  </a:lnTo>
                  <a:lnTo>
                    <a:pt x="13315" y="9973"/>
                  </a:lnTo>
                  <a:lnTo>
                    <a:pt x="13370" y="9948"/>
                  </a:lnTo>
                  <a:lnTo>
                    <a:pt x="13424" y="9920"/>
                  </a:lnTo>
                  <a:lnTo>
                    <a:pt x="13477" y="9890"/>
                  </a:lnTo>
                  <a:lnTo>
                    <a:pt x="13528" y="9856"/>
                  </a:lnTo>
                  <a:lnTo>
                    <a:pt x="13577" y="9821"/>
                  </a:lnTo>
                  <a:lnTo>
                    <a:pt x="13624" y="9784"/>
                  </a:lnTo>
                  <a:lnTo>
                    <a:pt x="13671" y="9745"/>
                  </a:lnTo>
                  <a:lnTo>
                    <a:pt x="13714" y="9703"/>
                  </a:lnTo>
                  <a:lnTo>
                    <a:pt x="13756" y="9659"/>
                  </a:lnTo>
                  <a:lnTo>
                    <a:pt x="13795" y="9614"/>
                  </a:lnTo>
                  <a:lnTo>
                    <a:pt x="13833" y="9566"/>
                  </a:lnTo>
                  <a:lnTo>
                    <a:pt x="13868" y="9516"/>
                  </a:lnTo>
                  <a:lnTo>
                    <a:pt x="13900" y="9466"/>
                  </a:lnTo>
                  <a:lnTo>
                    <a:pt x="13931" y="9412"/>
                  </a:lnTo>
                  <a:lnTo>
                    <a:pt x="13958" y="9358"/>
                  </a:lnTo>
                  <a:lnTo>
                    <a:pt x="13984" y="9303"/>
                  </a:lnTo>
                  <a:lnTo>
                    <a:pt x="14007" y="9245"/>
                  </a:lnTo>
                  <a:lnTo>
                    <a:pt x="14026" y="9187"/>
                  </a:lnTo>
                  <a:lnTo>
                    <a:pt x="14043" y="9127"/>
                  </a:lnTo>
                  <a:lnTo>
                    <a:pt x="14057" y="9067"/>
                  </a:lnTo>
                  <a:lnTo>
                    <a:pt x="14068" y="9004"/>
                  </a:lnTo>
                  <a:lnTo>
                    <a:pt x="14076" y="8942"/>
                  </a:lnTo>
                  <a:lnTo>
                    <a:pt x="14081" y="8877"/>
                  </a:lnTo>
                  <a:lnTo>
                    <a:pt x="14083" y="8813"/>
                  </a:lnTo>
                  <a:lnTo>
                    <a:pt x="14083" y="8441"/>
                  </a:lnTo>
                  <a:lnTo>
                    <a:pt x="15840" y="6461"/>
                  </a:lnTo>
                  <a:lnTo>
                    <a:pt x="15856" y="6443"/>
                  </a:lnTo>
                  <a:lnTo>
                    <a:pt x="15871" y="6426"/>
                  </a:lnTo>
                  <a:lnTo>
                    <a:pt x="15885" y="6408"/>
                  </a:lnTo>
                  <a:lnTo>
                    <a:pt x="15899" y="6390"/>
                  </a:lnTo>
                  <a:lnTo>
                    <a:pt x="15912" y="6371"/>
                  </a:lnTo>
                  <a:lnTo>
                    <a:pt x="15925" y="6351"/>
                  </a:lnTo>
                  <a:lnTo>
                    <a:pt x="15937" y="6332"/>
                  </a:lnTo>
                  <a:lnTo>
                    <a:pt x="15949" y="6313"/>
                  </a:lnTo>
                  <a:lnTo>
                    <a:pt x="15961" y="6294"/>
                  </a:lnTo>
                  <a:lnTo>
                    <a:pt x="15972" y="6274"/>
                  </a:lnTo>
                  <a:lnTo>
                    <a:pt x="15982" y="6254"/>
                  </a:lnTo>
                  <a:lnTo>
                    <a:pt x="15992" y="6234"/>
                  </a:lnTo>
                  <a:lnTo>
                    <a:pt x="16002" y="6212"/>
                  </a:lnTo>
                  <a:lnTo>
                    <a:pt x="16012" y="6191"/>
                  </a:lnTo>
                  <a:lnTo>
                    <a:pt x="16021" y="6171"/>
                  </a:lnTo>
                  <a:lnTo>
                    <a:pt x="16029" y="6150"/>
                  </a:lnTo>
                  <a:lnTo>
                    <a:pt x="16037" y="6128"/>
                  </a:lnTo>
                  <a:lnTo>
                    <a:pt x="16044" y="6107"/>
                  </a:lnTo>
                  <a:lnTo>
                    <a:pt x="16051" y="6085"/>
                  </a:lnTo>
                  <a:lnTo>
                    <a:pt x="16058" y="6063"/>
                  </a:lnTo>
                  <a:lnTo>
                    <a:pt x="16063" y="6041"/>
                  </a:lnTo>
                  <a:lnTo>
                    <a:pt x="16069" y="6019"/>
                  </a:lnTo>
                  <a:lnTo>
                    <a:pt x="16074" y="5997"/>
                  </a:lnTo>
                  <a:lnTo>
                    <a:pt x="16078" y="5975"/>
                  </a:lnTo>
                  <a:lnTo>
                    <a:pt x="16082" y="5952"/>
                  </a:lnTo>
                  <a:lnTo>
                    <a:pt x="16085" y="5929"/>
                  </a:lnTo>
                  <a:lnTo>
                    <a:pt x="16088" y="5906"/>
                  </a:lnTo>
                  <a:lnTo>
                    <a:pt x="16090" y="5883"/>
                  </a:lnTo>
                  <a:lnTo>
                    <a:pt x="16092" y="5861"/>
                  </a:lnTo>
                  <a:lnTo>
                    <a:pt x="16093" y="5838"/>
                  </a:lnTo>
                  <a:lnTo>
                    <a:pt x="16094" y="5815"/>
                  </a:lnTo>
                  <a:lnTo>
                    <a:pt x="16095" y="5791"/>
                  </a:lnTo>
                  <a:lnTo>
                    <a:pt x="16093" y="5727"/>
                  </a:lnTo>
                  <a:lnTo>
                    <a:pt x="16088" y="5662"/>
                  </a:lnTo>
                  <a:lnTo>
                    <a:pt x="16080" y="5600"/>
                  </a:lnTo>
                  <a:lnTo>
                    <a:pt x="16069" y="5538"/>
                  </a:lnTo>
                  <a:lnTo>
                    <a:pt x="16055" y="5477"/>
                  </a:lnTo>
                  <a:lnTo>
                    <a:pt x="16038" y="5418"/>
                  </a:lnTo>
                  <a:lnTo>
                    <a:pt x="16019" y="5359"/>
                  </a:lnTo>
                  <a:lnTo>
                    <a:pt x="15995" y="5302"/>
                  </a:lnTo>
                  <a:lnTo>
                    <a:pt x="15970" y="5247"/>
                  </a:lnTo>
                  <a:lnTo>
                    <a:pt x="15942" y="5192"/>
                  </a:lnTo>
                  <a:lnTo>
                    <a:pt x="15912" y="5139"/>
                  </a:lnTo>
                  <a:lnTo>
                    <a:pt x="15880" y="5088"/>
                  </a:lnTo>
                  <a:lnTo>
                    <a:pt x="15845" y="5039"/>
                  </a:lnTo>
                  <a:lnTo>
                    <a:pt x="15807" y="4991"/>
                  </a:lnTo>
                  <a:lnTo>
                    <a:pt x="15767" y="4945"/>
                  </a:lnTo>
                  <a:lnTo>
                    <a:pt x="15726" y="4902"/>
                  </a:lnTo>
                  <a:lnTo>
                    <a:pt x="15683" y="4860"/>
                  </a:lnTo>
                  <a:lnTo>
                    <a:pt x="15636" y="4820"/>
                  </a:lnTo>
                  <a:lnTo>
                    <a:pt x="15589" y="4783"/>
                  </a:lnTo>
                  <a:lnTo>
                    <a:pt x="15540" y="4748"/>
                  </a:lnTo>
                  <a:lnTo>
                    <a:pt x="15488" y="4715"/>
                  </a:lnTo>
                  <a:lnTo>
                    <a:pt x="15436" y="4685"/>
                  </a:lnTo>
                  <a:lnTo>
                    <a:pt x="15382" y="4657"/>
                  </a:lnTo>
                  <a:lnTo>
                    <a:pt x="15326" y="4631"/>
                  </a:lnTo>
                  <a:lnTo>
                    <a:pt x="15269" y="4609"/>
                  </a:lnTo>
                  <a:lnTo>
                    <a:pt x="15211" y="4589"/>
                  </a:lnTo>
                  <a:lnTo>
                    <a:pt x="15151" y="4573"/>
                  </a:lnTo>
                  <a:lnTo>
                    <a:pt x="15090" y="4559"/>
                  </a:lnTo>
                  <a:lnTo>
                    <a:pt x="15029" y="4548"/>
                  </a:lnTo>
                  <a:lnTo>
                    <a:pt x="14965" y="4539"/>
                  </a:lnTo>
                  <a:lnTo>
                    <a:pt x="14902" y="4534"/>
                  </a:lnTo>
                  <a:lnTo>
                    <a:pt x="14838" y="45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5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24" name="ïsḻídê">
              <a:extLst>
                <a:ext uri="{FF2B5EF4-FFF2-40B4-BE49-F238E27FC236}">
                  <a16:creationId xmlns:a16="http://schemas.microsoft.com/office/drawing/2014/main" id="{D1404067-F3CA-4AE3-9AA2-6FF5A4974705}"/>
                </a:ext>
              </a:extLst>
            </p:cNvPr>
            <p:cNvSpPr/>
            <p:nvPr/>
          </p:nvSpPr>
          <p:spPr bwMode="auto">
            <a:xfrm>
              <a:off x="4504974" y="79403"/>
              <a:ext cx="24571" cy="80848"/>
            </a:xfrm>
            <a:custGeom>
              <a:avLst/>
              <a:gdLst>
                <a:gd name="T0" fmla="*/ 123 w 1136"/>
                <a:gd name="T1" fmla="*/ 3641 h 3777"/>
                <a:gd name="T2" fmla="*/ 162 w 1136"/>
                <a:gd name="T3" fmla="*/ 3696 h 3777"/>
                <a:gd name="T4" fmla="*/ 214 w 1136"/>
                <a:gd name="T5" fmla="*/ 3740 h 3777"/>
                <a:gd name="T6" fmla="*/ 276 w 1136"/>
                <a:gd name="T7" fmla="*/ 3767 h 3777"/>
                <a:gd name="T8" fmla="*/ 346 w 1136"/>
                <a:gd name="T9" fmla="*/ 3777 h 3777"/>
                <a:gd name="T10" fmla="*/ 396 w 1136"/>
                <a:gd name="T11" fmla="*/ 3772 h 3777"/>
                <a:gd name="T12" fmla="*/ 444 w 1136"/>
                <a:gd name="T13" fmla="*/ 3757 h 3777"/>
                <a:gd name="T14" fmla="*/ 487 w 1136"/>
                <a:gd name="T15" fmla="*/ 3734 h 3777"/>
                <a:gd name="T16" fmla="*/ 524 w 1136"/>
                <a:gd name="T17" fmla="*/ 3704 h 3777"/>
                <a:gd name="T18" fmla="*/ 555 w 1136"/>
                <a:gd name="T19" fmla="*/ 3665 h 3777"/>
                <a:gd name="T20" fmla="*/ 578 w 1136"/>
                <a:gd name="T21" fmla="*/ 3623 h 3777"/>
                <a:gd name="T22" fmla="*/ 593 w 1136"/>
                <a:gd name="T23" fmla="*/ 3575 h 3777"/>
                <a:gd name="T24" fmla="*/ 599 w 1136"/>
                <a:gd name="T25" fmla="*/ 3524 h 3777"/>
                <a:gd name="T26" fmla="*/ 589 w 1136"/>
                <a:gd name="T27" fmla="*/ 3461 h 3777"/>
                <a:gd name="T28" fmla="*/ 558 w 1136"/>
                <a:gd name="T29" fmla="*/ 3368 h 3777"/>
                <a:gd name="T30" fmla="*/ 520 w 1136"/>
                <a:gd name="T31" fmla="*/ 3197 h 3777"/>
                <a:gd name="T32" fmla="*/ 510 w 1136"/>
                <a:gd name="T33" fmla="*/ 3023 h 3777"/>
                <a:gd name="T34" fmla="*/ 526 w 1136"/>
                <a:gd name="T35" fmla="*/ 2844 h 3777"/>
                <a:gd name="T36" fmla="*/ 562 w 1136"/>
                <a:gd name="T37" fmla="*/ 2662 h 3777"/>
                <a:gd name="T38" fmla="*/ 616 w 1136"/>
                <a:gd name="T39" fmla="*/ 2476 h 3777"/>
                <a:gd name="T40" fmla="*/ 720 w 1136"/>
                <a:gd name="T41" fmla="*/ 2190 h 3777"/>
                <a:gd name="T42" fmla="*/ 889 w 1136"/>
                <a:gd name="T43" fmla="*/ 1780 h 3777"/>
                <a:gd name="T44" fmla="*/ 974 w 1136"/>
                <a:gd name="T45" fmla="*/ 1559 h 3777"/>
                <a:gd name="T46" fmla="*/ 1046 w 1136"/>
                <a:gd name="T47" fmla="*/ 1334 h 3777"/>
                <a:gd name="T48" fmla="*/ 1100 w 1136"/>
                <a:gd name="T49" fmla="*/ 1104 h 3777"/>
                <a:gd name="T50" fmla="*/ 1132 w 1136"/>
                <a:gd name="T51" fmla="*/ 871 h 3777"/>
                <a:gd name="T52" fmla="*/ 1132 w 1136"/>
                <a:gd name="T53" fmla="*/ 636 h 3777"/>
                <a:gd name="T54" fmla="*/ 1093 w 1136"/>
                <a:gd name="T55" fmla="*/ 398 h 3777"/>
                <a:gd name="T56" fmla="*/ 1012 w 1136"/>
                <a:gd name="T57" fmla="*/ 158 h 3777"/>
                <a:gd name="T58" fmla="*/ 976 w 1136"/>
                <a:gd name="T59" fmla="*/ 95 h 3777"/>
                <a:gd name="T60" fmla="*/ 923 w 1136"/>
                <a:gd name="T61" fmla="*/ 44 h 3777"/>
                <a:gd name="T62" fmla="*/ 858 w 1136"/>
                <a:gd name="T63" fmla="*/ 12 h 3777"/>
                <a:gd name="T64" fmla="*/ 783 w 1136"/>
                <a:gd name="T65" fmla="*/ 0 h 3777"/>
                <a:gd name="T66" fmla="*/ 733 w 1136"/>
                <a:gd name="T67" fmla="*/ 5 h 3777"/>
                <a:gd name="T68" fmla="*/ 687 w 1136"/>
                <a:gd name="T69" fmla="*/ 20 h 3777"/>
                <a:gd name="T70" fmla="*/ 645 w 1136"/>
                <a:gd name="T71" fmla="*/ 42 h 3777"/>
                <a:gd name="T72" fmla="*/ 609 w 1136"/>
                <a:gd name="T73" fmla="*/ 73 h 3777"/>
                <a:gd name="T74" fmla="*/ 578 w 1136"/>
                <a:gd name="T75" fmla="*/ 110 h 3777"/>
                <a:gd name="T76" fmla="*/ 555 w 1136"/>
                <a:gd name="T77" fmla="*/ 151 h 3777"/>
                <a:gd name="T78" fmla="*/ 541 w 1136"/>
                <a:gd name="T79" fmla="*/ 197 h 3777"/>
                <a:gd name="T80" fmla="*/ 536 w 1136"/>
                <a:gd name="T81" fmla="*/ 247 h 3777"/>
                <a:gd name="T82" fmla="*/ 540 w 1136"/>
                <a:gd name="T83" fmla="*/ 291 h 3777"/>
                <a:gd name="T84" fmla="*/ 553 w 1136"/>
                <a:gd name="T85" fmla="*/ 335 h 3777"/>
                <a:gd name="T86" fmla="*/ 574 w 1136"/>
                <a:gd name="T87" fmla="*/ 389 h 3777"/>
                <a:gd name="T88" fmla="*/ 625 w 1136"/>
                <a:gd name="T89" fmla="*/ 561 h 3777"/>
                <a:gd name="T90" fmla="*/ 642 w 1136"/>
                <a:gd name="T91" fmla="*/ 736 h 3777"/>
                <a:gd name="T92" fmla="*/ 632 w 1136"/>
                <a:gd name="T93" fmla="*/ 913 h 3777"/>
                <a:gd name="T94" fmla="*/ 599 w 1136"/>
                <a:gd name="T95" fmla="*/ 1092 h 3777"/>
                <a:gd name="T96" fmla="*/ 546 w 1136"/>
                <a:gd name="T97" fmla="*/ 1275 h 3777"/>
                <a:gd name="T98" fmla="*/ 462 w 1136"/>
                <a:gd name="T99" fmla="*/ 1511 h 3777"/>
                <a:gd name="T100" fmla="*/ 298 w 1136"/>
                <a:gd name="T101" fmla="*/ 1908 h 3777"/>
                <a:gd name="T102" fmla="*/ 190 w 1136"/>
                <a:gd name="T103" fmla="*/ 2178 h 3777"/>
                <a:gd name="T104" fmla="*/ 114 w 1136"/>
                <a:gd name="T105" fmla="*/ 2398 h 3777"/>
                <a:gd name="T106" fmla="*/ 52 w 1136"/>
                <a:gd name="T107" fmla="*/ 2623 h 3777"/>
                <a:gd name="T108" fmla="*/ 12 w 1136"/>
                <a:gd name="T109" fmla="*/ 2851 h 3777"/>
                <a:gd name="T110" fmla="*/ 0 w 1136"/>
                <a:gd name="T111" fmla="*/ 3083 h 3777"/>
                <a:gd name="T112" fmla="*/ 23 w 1136"/>
                <a:gd name="T113" fmla="*/ 3317 h 3777"/>
                <a:gd name="T114" fmla="*/ 86 w 1136"/>
                <a:gd name="T115" fmla="*/ 3551 h 3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36" h="3777">
                  <a:moveTo>
                    <a:pt x="118" y="3632"/>
                  </a:moveTo>
                  <a:lnTo>
                    <a:pt x="120" y="3637"/>
                  </a:lnTo>
                  <a:lnTo>
                    <a:pt x="122" y="3641"/>
                  </a:lnTo>
                  <a:lnTo>
                    <a:pt x="123" y="3641"/>
                  </a:lnTo>
                  <a:lnTo>
                    <a:pt x="132" y="3656"/>
                  </a:lnTo>
                  <a:lnTo>
                    <a:pt x="141" y="3670"/>
                  </a:lnTo>
                  <a:lnTo>
                    <a:pt x="151" y="3683"/>
                  </a:lnTo>
                  <a:lnTo>
                    <a:pt x="162" y="3696"/>
                  </a:lnTo>
                  <a:lnTo>
                    <a:pt x="174" y="3709"/>
                  </a:lnTo>
                  <a:lnTo>
                    <a:pt x="186" y="3720"/>
                  </a:lnTo>
                  <a:lnTo>
                    <a:pt x="200" y="3730"/>
                  </a:lnTo>
                  <a:lnTo>
                    <a:pt x="214" y="3740"/>
                  </a:lnTo>
                  <a:lnTo>
                    <a:pt x="228" y="3748"/>
                  </a:lnTo>
                  <a:lnTo>
                    <a:pt x="243" y="3756"/>
                  </a:lnTo>
                  <a:lnTo>
                    <a:pt x="260" y="3762"/>
                  </a:lnTo>
                  <a:lnTo>
                    <a:pt x="276" y="3767"/>
                  </a:lnTo>
                  <a:lnTo>
                    <a:pt x="293" y="3772"/>
                  </a:lnTo>
                  <a:lnTo>
                    <a:pt x="310" y="3775"/>
                  </a:lnTo>
                  <a:lnTo>
                    <a:pt x="328" y="3777"/>
                  </a:lnTo>
                  <a:lnTo>
                    <a:pt x="346" y="3777"/>
                  </a:lnTo>
                  <a:lnTo>
                    <a:pt x="359" y="3777"/>
                  </a:lnTo>
                  <a:lnTo>
                    <a:pt x="371" y="3776"/>
                  </a:lnTo>
                  <a:lnTo>
                    <a:pt x="384" y="3774"/>
                  </a:lnTo>
                  <a:lnTo>
                    <a:pt x="396" y="3772"/>
                  </a:lnTo>
                  <a:lnTo>
                    <a:pt x="408" y="3769"/>
                  </a:lnTo>
                  <a:lnTo>
                    <a:pt x="420" y="3766"/>
                  </a:lnTo>
                  <a:lnTo>
                    <a:pt x="433" y="3762"/>
                  </a:lnTo>
                  <a:lnTo>
                    <a:pt x="444" y="3757"/>
                  </a:lnTo>
                  <a:lnTo>
                    <a:pt x="456" y="3752"/>
                  </a:lnTo>
                  <a:lnTo>
                    <a:pt x="466" y="3747"/>
                  </a:lnTo>
                  <a:lnTo>
                    <a:pt x="477" y="3741"/>
                  </a:lnTo>
                  <a:lnTo>
                    <a:pt x="487" y="3734"/>
                  </a:lnTo>
                  <a:lnTo>
                    <a:pt x="497" y="3727"/>
                  </a:lnTo>
                  <a:lnTo>
                    <a:pt x="506" y="3720"/>
                  </a:lnTo>
                  <a:lnTo>
                    <a:pt x="516" y="3712"/>
                  </a:lnTo>
                  <a:lnTo>
                    <a:pt x="524" y="3704"/>
                  </a:lnTo>
                  <a:lnTo>
                    <a:pt x="533" y="3694"/>
                  </a:lnTo>
                  <a:lnTo>
                    <a:pt x="541" y="3685"/>
                  </a:lnTo>
                  <a:lnTo>
                    <a:pt x="548" y="3675"/>
                  </a:lnTo>
                  <a:lnTo>
                    <a:pt x="555" y="3665"/>
                  </a:lnTo>
                  <a:lnTo>
                    <a:pt x="562" y="3655"/>
                  </a:lnTo>
                  <a:lnTo>
                    <a:pt x="568" y="3644"/>
                  </a:lnTo>
                  <a:lnTo>
                    <a:pt x="573" y="3634"/>
                  </a:lnTo>
                  <a:lnTo>
                    <a:pt x="578" y="3623"/>
                  </a:lnTo>
                  <a:lnTo>
                    <a:pt x="583" y="3611"/>
                  </a:lnTo>
                  <a:lnTo>
                    <a:pt x="587" y="3599"/>
                  </a:lnTo>
                  <a:lnTo>
                    <a:pt x="590" y="3587"/>
                  </a:lnTo>
                  <a:lnTo>
                    <a:pt x="593" y="3575"/>
                  </a:lnTo>
                  <a:lnTo>
                    <a:pt x="595" y="3563"/>
                  </a:lnTo>
                  <a:lnTo>
                    <a:pt x="598" y="3549"/>
                  </a:lnTo>
                  <a:lnTo>
                    <a:pt x="599" y="3537"/>
                  </a:lnTo>
                  <a:lnTo>
                    <a:pt x="599" y="3524"/>
                  </a:lnTo>
                  <a:lnTo>
                    <a:pt x="599" y="3508"/>
                  </a:lnTo>
                  <a:lnTo>
                    <a:pt x="597" y="3492"/>
                  </a:lnTo>
                  <a:lnTo>
                    <a:pt x="593" y="3476"/>
                  </a:lnTo>
                  <a:lnTo>
                    <a:pt x="589" y="3461"/>
                  </a:lnTo>
                  <a:lnTo>
                    <a:pt x="590" y="3456"/>
                  </a:lnTo>
                  <a:lnTo>
                    <a:pt x="589" y="3452"/>
                  </a:lnTo>
                  <a:lnTo>
                    <a:pt x="572" y="3409"/>
                  </a:lnTo>
                  <a:lnTo>
                    <a:pt x="558" y="3368"/>
                  </a:lnTo>
                  <a:lnTo>
                    <a:pt x="546" y="3326"/>
                  </a:lnTo>
                  <a:lnTo>
                    <a:pt x="535" y="3283"/>
                  </a:lnTo>
                  <a:lnTo>
                    <a:pt x="527" y="3240"/>
                  </a:lnTo>
                  <a:lnTo>
                    <a:pt x="520" y="3197"/>
                  </a:lnTo>
                  <a:lnTo>
                    <a:pt x="515" y="3154"/>
                  </a:lnTo>
                  <a:lnTo>
                    <a:pt x="512" y="3110"/>
                  </a:lnTo>
                  <a:lnTo>
                    <a:pt x="510" y="3067"/>
                  </a:lnTo>
                  <a:lnTo>
                    <a:pt x="510" y="3023"/>
                  </a:lnTo>
                  <a:lnTo>
                    <a:pt x="512" y="2978"/>
                  </a:lnTo>
                  <a:lnTo>
                    <a:pt x="515" y="2934"/>
                  </a:lnTo>
                  <a:lnTo>
                    <a:pt x="520" y="2889"/>
                  </a:lnTo>
                  <a:lnTo>
                    <a:pt x="526" y="2844"/>
                  </a:lnTo>
                  <a:lnTo>
                    <a:pt x="533" y="2799"/>
                  </a:lnTo>
                  <a:lnTo>
                    <a:pt x="541" y="2754"/>
                  </a:lnTo>
                  <a:lnTo>
                    <a:pt x="551" y="2707"/>
                  </a:lnTo>
                  <a:lnTo>
                    <a:pt x="562" y="2662"/>
                  </a:lnTo>
                  <a:lnTo>
                    <a:pt x="574" y="2616"/>
                  </a:lnTo>
                  <a:lnTo>
                    <a:pt x="587" y="2569"/>
                  </a:lnTo>
                  <a:lnTo>
                    <a:pt x="601" y="2523"/>
                  </a:lnTo>
                  <a:lnTo>
                    <a:pt x="616" y="2476"/>
                  </a:lnTo>
                  <a:lnTo>
                    <a:pt x="632" y="2429"/>
                  </a:lnTo>
                  <a:lnTo>
                    <a:pt x="648" y="2382"/>
                  </a:lnTo>
                  <a:lnTo>
                    <a:pt x="683" y="2286"/>
                  </a:lnTo>
                  <a:lnTo>
                    <a:pt x="720" y="2190"/>
                  </a:lnTo>
                  <a:lnTo>
                    <a:pt x="759" y="2093"/>
                  </a:lnTo>
                  <a:lnTo>
                    <a:pt x="800" y="1995"/>
                  </a:lnTo>
                  <a:lnTo>
                    <a:pt x="845" y="1889"/>
                  </a:lnTo>
                  <a:lnTo>
                    <a:pt x="889" y="1780"/>
                  </a:lnTo>
                  <a:lnTo>
                    <a:pt x="910" y="1725"/>
                  </a:lnTo>
                  <a:lnTo>
                    <a:pt x="932" y="1670"/>
                  </a:lnTo>
                  <a:lnTo>
                    <a:pt x="953" y="1615"/>
                  </a:lnTo>
                  <a:lnTo>
                    <a:pt x="974" y="1559"/>
                  </a:lnTo>
                  <a:lnTo>
                    <a:pt x="993" y="1503"/>
                  </a:lnTo>
                  <a:lnTo>
                    <a:pt x="1011" y="1446"/>
                  </a:lnTo>
                  <a:lnTo>
                    <a:pt x="1029" y="1390"/>
                  </a:lnTo>
                  <a:lnTo>
                    <a:pt x="1046" y="1334"/>
                  </a:lnTo>
                  <a:lnTo>
                    <a:pt x="1061" y="1276"/>
                  </a:lnTo>
                  <a:lnTo>
                    <a:pt x="1076" y="1220"/>
                  </a:lnTo>
                  <a:lnTo>
                    <a:pt x="1089" y="1162"/>
                  </a:lnTo>
                  <a:lnTo>
                    <a:pt x="1100" y="1104"/>
                  </a:lnTo>
                  <a:lnTo>
                    <a:pt x="1112" y="1047"/>
                  </a:lnTo>
                  <a:lnTo>
                    <a:pt x="1120" y="988"/>
                  </a:lnTo>
                  <a:lnTo>
                    <a:pt x="1127" y="930"/>
                  </a:lnTo>
                  <a:lnTo>
                    <a:pt x="1132" y="871"/>
                  </a:lnTo>
                  <a:lnTo>
                    <a:pt x="1135" y="813"/>
                  </a:lnTo>
                  <a:lnTo>
                    <a:pt x="1136" y="753"/>
                  </a:lnTo>
                  <a:lnTo>
                    <a:pt x="1135" y="695"/>
                  </a:lnTo>
                  <a:lnTo>
                    <a:pt x="1132" y="636"/>
                  </a:lnTo>
                  <a:lnTo>
                    <a:pt x="1126" y="576"/>
                  </a:lnTo>
                  <a:lnTo>
                    <a:pt x="1118" y="517"/>
                  </a:lnTo>
                  <a:lnTo>
                    <a:pt x="1107" y="457"/>
                  </a:lnTo>
                  <a:lnTo>
                    <a:pt x="1093" y="398"/>
                  </a:lnTo>
                  <a:lnTo>
                    <a:pt x="1077" y="338"/>
                  </a:lnTo>
                  <a:lnTo>
                    <a:pt x="1059" y="278"/>
                  </a:lnTo>
                  <a:lnTo>
                    <a:pt x="1037" y="219"/>
                  </a:lnTo>
                  <a:lnTo>
                    <a:pt x="1012" y="158"/>
                  </a:lnTo>
                  <a:lnTo>
                    <a:pt x="1005" y="141"/>
                  </a:lnTo>
                  <a:lnTo>
                    <a:pt x="996" y="125"/>
                  </a:lnTo>
                  <a:lnTo>
                    <a:pt x="987" y="110"/>
                  </a:lnTo>
                  <a:lnTo>
                    <a:pt x="976" y="95"/>
                  </a:lnTo>
                  <a:lnTo>
                    <a:pt x="965" y="81"/>
                  </a:lnTo>
                  <a:lnTo>
                    <a:pt x="952" y="68"/>
                  </a:lnTo>
                  <a:lnTo>
                    <a:pt x="938" y="55"/>
                  </a:lnTo>
                  <a:lnTo>
                    <a:pt x="923" y="44"/>
                  </a:lnTo>
                  <a:lnTo>
                    <a:pt x="908" y="35"/>
                  </a:lnTo>
                  <a:lnTo>
                    <a:pt x="892" y="26"/>
                  </a:lnTo>
                  <a:lnTo>
                    <a:pt x="875" y="18"/>
                  </a:lnTo>
                  <a:lnTo>
                    <a:pt x="858" y="12"/>
                  </a:lnTo>
                  <a:lnTo>
                    <a:pt x="840" y="7"/>
                  </a:lnTo>
                  <a:lnTo>
                    <a:pt x="821" y="3"/>
                  </a:lnTo>
                  <a:lnTo>
                    <a:pt x="803" y="1"/>
                  </a:lnTo>
                  <a:lnTo>
                    <a:pt x="783" y="0"/>
                  </a:lnTo>
                  <a:lnTo>
                    <a:pt x="771" y="1"/>
                  </a:lnTo>
                  <a:lnTo>
                    <a:pt x="757" y="2"/>
                  </a:lnTo>
                  <a:lnTo>
                    <a:pt x="745" y="3"/>
                  </a:lnTo>
                  <a:lnTo>
                    <a:pt x="733" y="5"/>
                  </a:lnTo>
                  <a:lnTo>
                    <a:pt x="721" y="8"/>
                  </a:lnTo>
                  <a:lnTo>
                    <a:pt x="709" y="11"/>
                  </a:lnTo>
                  <a:lnTo>
                    <a:pt x="698" y="15"/>
                  </a:lnTo>
                  <a:lnTo>
                    <a:pt x="687" y="20"/>
                  </a:lnTo>
                  <a:lnTo>
                    <a:pt x="676" y="25"/>
                  </a:lnTo>
                  <a:lnTo>
                    <a:pt x="666" y="30"/>
                  </a:lnTo>
                  <a:lnTo>
                    <a:pt x="655" y="36"/>
                  </a:lnTo>
                  <a:lnTo>
                    <a:pt x="645" y="42"/>
                  </a:lnTo>
                  <a:lnTo>
                    <a:pt x="636" y="49"/>
                  </a:lnTo>
                  <a:lnTo>
                    <a:pt x="626" y="56"/>
                  </a:lnTo>
                  <a:lnTo>
                    <a:pt x="618" y="65"/>
                  </a:lnTo>
                  <a:lnTo>
                    <a:pt x="609" y="73"/>
                  </a:lnTo>
                  <a:lnTo>
                    <a:pt x="601" y="82"/>
                  </a:lnTo>
                  <a:lnTo>
                    <a:pt x="592" y="91"/>
                  </a:lnTo>
                  <a:lnTo>
                    <a:pt x="585" y="100"/>
                  </a:lnTo>
                  <a:lnTo>
                    <a:pt x="578" y="110"/>
                  </a:lnTo>
                  <a:lnTo>
                    <a:pt x="572" y="119"/>
                  </a:lnTo>
                  <a:lnTo>
                    <a:pt x="566" y="130"/>
                  </a:lnTo>
                  <a:lnTo>
                    <a:pt x="560" y="140"/>
                  </a:lnTo>
                  <a:lnTo>
                    <a:pt x="555" y="151"/>
                  </a:lnTo>
                  <a:lnTo>
                    <a:pt x="551" y="162"/>
                  </a:lnTo>
                  <a:lnTo>
                    <a:pt x="547" y="174"/>
                  </a:lnTo>
                  <a:lnTo>
                    <a:pt x="544" y="185"/>
                  </a:lnTo>
                  <a:lnTo>
                    <a:pt x="541" y="197"/>
                  </a:lnTo>
                  <a:lnTo>
                    <a:pt x="539" y="210"/>
                  </a:lnTo>
                  <a:lnTo>
                    <a:pt x="537" y="222"/>
                  </a:lnTo>
                  <a:lnTo>
                    <a:pt x="537" y="235"/>
                  </a:lnTo>
                  <a:lnTo>
                    <a:pt x="536" y="247"/>
                  </a:lnTo>
                  <a:lnTo>
                    <a:pt x="536" y="259"/>
                  </a:lnTo>
                  <a:lnTo>
                    <a:pt x="537" y="270"/>
                  </a:lnTo>
                  <a:lnTo>
                    <a:pt x="539" y="281"/>
                  </a:lnTo>
                  <a:lnTo>
                    <a:pt x="540" y="291"/>
                  </a:lnTo>
                  <a:lnTo>
                    <a:pt x="546" y="312"/>
                  </a:lnTo>
                  <a:lnTo>
                    <a:pt x="552" y="332"/>
                  </a:lnTo>
                  <a:lnTo>
                    <a:pt x="552" y="333"/>
                  </a:lnTo>
                  <a:lnTo>
                    <a:pt x="553" y="335"/>
                  </a:lnTo>
                  <a:lnTo>
                    <a:pt x="554" y="337"/>
                  </a:lnTo>
                  <a:lnTo>
                    <a:pt x="555" y="339"/>
                  </a:lnTo>
                  <a:lnTo>
                    <a:pt x="557" y="346"/>
                  </a:lnTo>
                  <a:lnTo>
                    <a:pt x="574" y="389"/>
                  </a:lnTo>
                  <a:lnTo>
                    <a:pt x="590" y="432"/>
                  </a:lnTo>
                  <a:lnTo>
                    <a:pt x="604" y="474"/>
                  </a:lnTo>
                  <a:lnTo>
                    <a:pt x="616" y="518"/>
                  </a:lnTo>
                  <a:lnTo>
                    <a:pt x="625" y="561"/>
                  </a:lnTo>
                  <a:lnTo>
                    <a:pt x="632" y="605"/>
                  </a:lnTo>
                  <a:lnTo>
                    <a:pt x="637" y="649"/>
                  </a:lnTo>
                  <a:lnTo>
                    <a:pt x="641" y="692"/>
                  </a:lnTo>
                  <a:lnTo>
                    <a:pt x="642" y="736"/>
                  </a:lnTo>
                  <a:lnTo>
                    <a:pt x="642" y="780"/>
                  </a:lnTo>
                  <a:lnTo>
                    <a:pt x="640" y="824"/>
                  </a:lnTo>
                  <a:lnTo>
                    <a:pt x="637" y="868"/>
                  </a:lnTo>
                  <a:lnTo>
                    <a:pt x="632" y="913"/>
                  </a:lnTo>
                  <a:lnTo>
                    <a:pt x="626" y="957"/>
                  </a:lnTo>
                  <a:lnTo>
                    <a:pt x="618" y="1002"/>
                  </a:lnTo>
                  <a:lnTo>
                    <a:pt x="609" y="1048"/>
                  </a:lnTo>
                  <a:lnTo>
                    <a:pt x="599" y="1092"/>
                  </a:lnTo>
                  <a:lnTo>
                    <a:pt x="587" y="1138"/>
                  </a:lnTo>
                  <a:lnTo>
                    <a:pt x="574" y="1184"/>
                  </a:lnTo>
                  <a:lnTo>
                    <a:pt x="561" y="1230"/>
                  </a:lnTo>
                  <a:lnTo>
                    <a:pt x="546" y="1275"/>
                  </a:lnTo>
                  <a:lnTo>
                    <a:pt x="531" y="1321"/>
                  </a:lnTo>
                  <a:lnTo>
                    <a:pt x="515" y="1369"/>
                  </a:lnTo>
                  <a:lnTo>
                    <a:pt x="498" y="1415"/>
                  </a:lnTo>
                  <a:lnTo>
                    <a:pt x="462" y="1511"/>
                  </a:lnTo>
                  <a:lnTo>
                    <a:pt x="423" y="1607"/>
                  </a:lnTo>
                  <a:lnTo>
                    <a:pt x="383" y="1703"/>
                  </a:lnTo>
                  <a:lnTo>
                    <a:pt x="342" y="1802"/>
                  </a:lnTo>
                  <a:lnTo>
                    <a:pt x="298" y="1908"/>
                  </a:lnTo>
                  <a:lnTo>
                    <a:pt x="253" y="2014"/>
                  </a:lnTo>
                  <a:lnTo>
                    <a:pt x="232" y="2069"/>
                  </a:lnTo>
                  <a:lnTo>
                    <a:pt x="211" y="2122"/>
                  </a:lnTo>
                  <a:lnTo>
                    <a:pt x="190" y="2178"/>
                  </a:lnTo>
                  <a:lnTo>
                    <a:pt x="170" y="2232"/>
                  </a:lnTo>
                  <a:lnTo>
                    <a:pt x="150" y="2287"/>
                  </a:lnTo>
                  <a:lnTo>
                    <a:pt x="132" y="2343"/>
                  </a:lnTo>
                  <a:lnTo>
                    <a:pt x="114" y="2398"/>
                  </a:lnTo>
                  <a:lnTo>
                    <a:pt x="97" y="2454"/>
                  </a:lnTo>
                  <a:lnTo>
                    <a:pt x="80" y="2510"/>
                  </a:lnTo>
                  <a:lnTo>
                    <a:pt x="65" y="2566"/>
                  </a:lnTo>
                  <a:lnTo>
                    <a:pt x="52" y="2623"/>
                  </a:lnTo>
                  <a:lnTo>
                    <a:pt x="39" y="2679"/>
                  </a:lnTo>
                  <a:lnTo>
                    <a:pt x="29" y="2737"/>
                  </a:lnTo>
                  <a:lnTo>
                    <a:pt x="20" y="2794"/>
                  </a:lnTo>
                  <a:lnTo>
                    <a:pt x="12" y="2851"/>
                  </a:lnTo>
                  <a:lnTo>
                    <a:pt x="6" y="2909"/>
                  </a:lnTo>
                  <a:lnTo>
                    <a:pt x="2" y="2966"/>
                  </a:lnTo>
                  <a:lnTo>
                    <a:pt x="0" y="3025"/>
                  </a:lnTo>
                  <a:lnTo>
                    <a:pt x="0" y="3083"/>
                  </a:lnTo>
                  <a:lnTo>
                    <a:pt x="2" y="3140"/>
                  </a:lnTo>
                  <a:lnTo>
                    <a:pt x="7" y="3199"/>
                  </a:lnTo>
                  <a:lnTo>
                    <a:pt x="14" y="3257"/>
                  </a:lnTo>
                  <a:lnTo>
                    <a:pt x="23" y="3317"/>
                  </a:lnTo>
                  <a:lnTo>
                    <a:pt x="34" y="3375"/>
                  </a:lnTo>
                  <a:lnTo>
                    <a:pt x="49" y="3434"/>
                  </a:lnTo>
                  <a:lnTo>
                    <a:pt x="66" y="3493"/>
                  </a:lnTo>
                  <a:lnTo>
                    <a:pt x="86" y="3551"/>
                  </a:lnTo>
                  <a:lnTo>
                    <a:pt x="110" y="3611"/>
                  </a:lnTo>
                  <a:lnTo>
                    <a:pt x="114" y="3622"/>
                  </a:lnTo>
                  <a:lnTo>
                    <a:pt x="118" y="36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25" name="ï$1îḍê">
              <a:extLst>
                <a:ext uri="{FF2B5EF4-FFF2-40B4-BE49-F238E27FC236}">
                  <a16:creationId xmlns:a16="http://schemas.microsoft.com/office/drawing/2014/main" id="{24C7841D-2873-408F-9044-A193FB702126}"/>
                </a:ext>
              </a:extLst>
            </p:cNvPr>
            <p:cNvSpPr/>
            <p:nvPr/>
          </p:nvSpPr>
          <p:spPr bwMode="auto">
            <a:xfrm>
              <a:off x="4636550" y="77818"/>
              <a:ext cx="23779" cy="80848"/>
            </a:xfrm>
            <a:custGeom>
              <a:avLst/>
              <a:gdLst>
                <a:gd name="T0" fmla="*/ 123 w 1136"/>
                <a:gd name="T1" fmla="*/ 3641 h 3776"/>
                <a:gd name="T2" fmla="*/ 162 w 1136"/>
                <a:gd name="T3" fmla="*/ 3695 h 3776"/>
                <a:gd name="T4" fmla="*/ 214 w 1136"/>
                <a:gd name="T5" fmla="*/ 3738 h 3776"/>
                <a:gd name="T6" fmla="*/ 277 w 1136"/>
                <a:gd name="T7" fmla="*/ 3766 h 3776"/>
                <a:gd name="T8" fmla="*/ 346 w 1136"/>
                <a:gd name="T9" fmla="*/ 3776 h 3776"/>
                <a:gd name="T10" fmla="*/ 396 w 1136"/>
                <a:gd name="T11" fmla="*/ 3770 h 3776"/>
                <a:gd name="T12" fmla="*/ 445 w 1136"/>
                <a:gd name="T13" fmla="*/ 3756 h 3776"/>
                <a:gd name="T14" fmla="*/ 487 w 1136"/>
                <a:gd name="T15" fmla="*/ 3732 h 3776"/>
                <a:gd name="T16" fmla="*/ 525 w 1136"/>
                <a:gd name="T17" fmla="*/ 3702 h 3776"/>
                <a:gd name="T18" fmla="*/ 555 w 1136"/>
                <a:gd name="T19" fmla="*/ 3664 h 3776"/>
                <a:gd name="T20" fmla="*/ 580 w 1136"/>
                <a:gd name="T21" fmla="*/ 3621 h 3776"/>
                <a:gd name="T22" fmla="*/ 594 w 1136"/>
                <a:gd name="T23" fmla="*/ 3574 h 3776"/>
                <a:gd name="T24" fmla="*/ 599 w 1136"/>
                <a:gd name="T25" fmla="*/ 3523 h 3776"/>
                <a:gd name="T26" fmla="*/ 590 w 1136"/>
                <a:gd name="T27" fmla="*/ 3460 h 3776"/>
                <a:gd name="T28" fmla="*/ 558 w 1136"/>
                <a:gd name="T29" fmla="*/ 3367 h 3776"/>
                <a:gd name="T30" fmla="*/ 520 w 1136"/>
                <a:gd name="T31" fmla="*/ 3195 h 3776"/>
                <a:gd name="T32" fmla="*/ 511 w 1136"/>
                <a:gd name="T33" fmla="*/ 3021 h 3776"/>
                <a:gd name="T34" fmla="*/ 526 w 1136"/>
                <a:gd name="T35" fmla="*/ 2843 h 3776"/>
                <a:gd name="T36" fmla="*/ 562 w 1136"/>
                <a:gd name="T37" fmla="*/ 2661 h 3776"/>
                <a:gd name="T38" fmla="*/ 616 w 1136"/>
                <a:gd name="T39" fmla="*/ 2474 h 3776"/>
                <a:gd name="T40" fmla="*/ 720 w 1136"/>
                <a:gd name="T41" fmla="*/ 2189 h 3776"/>
                <a:gd name="T42" fmla="*/ 889 w 1136"/>
                <a:gd name="T43" fmla="*/ 1778 h 3776"/>
                <a:gd name="T44" fmla="*/ 974 w 1136"/>
                <a:gd name="T45" fmla="*/ 1558 h 3776"/>
                <a:gd name="T46" fmla="*/ 1046 w 1136"/>
                <a:gd name="T47" fmla="*/ 1332 h 3776"/>
                <a:gd name="T48" fmla="*/ 1102 w 1136"/>
                <a:gd name="T49" fmla="*/ 1103 h 3776"/>
                <a:gd name="T50" fmla="*/ 1132 w 1136"/>
                <a:gd name="T51" fmla="*/ 870 h 3776"/>
                <a:gd name="T52" fmla="*/ 1132 w 1136"/>
                <a:gd name="T53" fmla="*/ 634 h 3776"/>
                <a:gd name="T54" fmla="*/ 1094 w 1136"/>
                <a:gd name="T55" fmla="*/ 396 h 3776"/>
                <a:gd name="T56" fmla="*/ 1012 w 1136"/>
                <a:gd name="T57" fmla="*/ 158 h 3776"/>
                <a:gd name="T58" fmla="*/ 976 w 1136"/>
                <a:gd name="T59" fmla="*/ 93 h 3776"/>
                <a:gd name="T60" fmla="*/ 924 w 1136"/>
                <a:gd name="T61" fmla="*/ 44 h 3776"/>
                <a:gd name="T62" fmla="*/ 858 w 1136"/>
                <a:gd name="T63" fmla="*/ 11 h 3776"/>
                <a:gd name="T64" fmla="*/ 783 w 1136"/>
                <a:gd name="T65" fmla="*/ 0 h 3776"/>
                <a:gd name="T66" fmla="*/ 733 w 1136"/>
                <a:gd name="T67" fmla="*/ 5 h 3776"/>
                <a:gd name="T68" fmla="*/ 687 w 1136"/>
                <a:gd name="T69" fmla="*/ 19 h 3776"/>
                <a:gd name="T70" fmla="*/ 646 w 1136"/>
                <a:gd name="T71" fmla="*/ 42 h 3776"/>
                <a:gd name="T72" fmla="*/ 609 w 1136"/>
                <a:gd name="T73" fmla="*/ 72 h 3776"/>
                <a:gd name="T74" fmla="*/ 579 w 1136"/>
                <a:gd name="T75" fmla="*/ 108 h 3776"/>
                <a:gd name="T76" fmla="*/ 556 w 1136"/>
                <a:gd name="T77" fmla="*/ 150 h 3776"/>
                <a:gd name="T78" fmla="*/ 541 w 1136"/>
                <a:gd name="T79" fmla="*/ 196 h 3776"/>
                <a:gd name="T80" fmla="*/ 536 w 1136"/>
                <a:gd name="T81" fmla="*/ 246 h 3776"/>
                <a:gd name="T82" fmla="*/ 541 w 1136"/>
                <a:gd name="T83" fmla="*/ 290 h 3776"/>
                <a:gd name="T84" fmla="*/ 553 w 1136"/>
                <a:gd name="T85" fmla="*/ 334 h 3776"/>
                <a:gd name="T86" fmla="*/ 576 w 1136"/>
                <a:gd name="T87" fmla="*/ 387 h 3776"/>
                <a:gd name="T88" fmla="*/ 625 w 1136"/>
                <a:gd name="T89" fmla="*/ 561 h 3776"/>
                <a:gd name="T90" fmla="*/ 642 w 1136"/>
                <a:gd name="T91" fmla="*/ 735 h 3776"/>
                <a:gd name="T92" fmla="*/ 632 w 1136"/>
                <a:gd name="T93" fmla="*/ 911 h 3776"/>
                <a:gd name="T94" fmla="*/ 599 w 1136"/>
                <a:gd name="T95" fmla="*/ 1091 h 3776"/>
                <a:gd name="T96" fmla="*/ 546 w 1136"/>
                <a:gd name="T97" fmla="*/ 1275 h 3776"/>
                <a:gd name="T98" fmla="*/ 462 w 1136"/>
                <a:gd name="T99" fmla="*/ 1509 h 3776"/>
                <a:gd name="T100" fmla="*/ 298 w 1136"/>
                <a:gd name="T101" fmla="*/ 1906 h 3776"/>
                <a:gd name="T102" fmla="*/ 190 w 1136"/>
                <a:gd name="T103" fmla="*/ 2176 h 3776"/>
                <a:gd name="T104" fmla="*/ 114 w 1136"/>
                <a:gd name="T105" fmla="*/ 2397 h 3776"/>
                <a:gd name="T106" fmla="*/ 52 w 1136"/>
                <a:gd name="T107" fmla="*/ 2621 h 3776"/>
                <a:gd name="T108" fmla="*/ 12 w 1136"/>
                <a:gd name="T109" fmla="*/ 2850 h 3776"/>
                <a:gd name="T110" fmla="*/ 0 w 1136"/>
                <a:gd name="T111" fmla="*/ 3082 h 3776"/>
                <a:gd name="T112" fmla="*/ 23 w 1136"/>
                <a:gd name="T113" fmla="*/ 3315 h 3776"/>
                <a:gd name="T114" fmla="*/ 87 w 1136"/>
                <a:gd name="T115" fmla="*/ 3551 h 37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36" h="3776">
                  <a:moveTo>
                    <a:pt x="118" y="3630"/>
                  </a:moveTo>
                  <a:lnTo>
                    <a:pt x="120" y="3636"/>
                  </a:lnTo>
                  <a:lnTo>
                    <a:pt x="122" y="3641"/>
                  </a:lnTo>
                  <a:lnTo>
                    <a:pt x="123" y="3641"/>
                  </a:lnTo>
                  <a:lnTo>
                    <a:pt x="132" y="3655"/>
                  </a:lnTo>
                  <a:lnTo>
                    <a:pt x="141" y="3669"/>
                  </a:lnTo>
                  <a:lnTo>
                    <a:pt x="151" y="3683"/>
                  </a:lnTo>
                  <a:lnTo>
                    <a:pt x="162" y="3695"/>
                  </a:lnTo>
                  <a:lnTo>
                    <a:pt x="174" y="3707"/>
                  </a:lnTo>
                  <a:lnTo>
                    <a:pt x="186" y="3718"/>
                  </a:lnTo>
                  <a:lnTo>
                    <a:pt x="200" y="3729"/>
                  </a:lnTo>
                  <a:lnTo>
                    <a:pt x="214" y="3738"/>
                  </a:lnTo>
                  <a:lnTo>
                    <a:pt x="228" y="3746"/>
                  </a:lnTo>
                  <a:lnTo>
                    <a:pt x="245" y="3754"/>
                  </a:lnTo>
                  <a:lnTo>
                    <a:pt x="260" y="3760"/>
                  </a:lnTo>
                  <a:lnTo>
                    <a:pt x="277" y="3766"/>
                  </a:lnTo>
                  <a:lnTo>
                    <a:pt x="293" y="3770"/>
                  </a:lnTo>
                  <a:lnTo>
                    <a:pt x="310" y="3773"/>
                  </a:lnTo>
                  <a:lnTo>
                    <a:pt x="328" y="3776"/>
                  </a:lnTo>
                  <a:lnTo>
                    <a:pt x="346" y="3776"/>
                  </a:lnTo>
                  <a:lnTo>
                    <a:pt x="359" y="3776"/>
                  </a:lnTo>
                  <a:lnTo>
                    <a:pt x="372" y="3775"/>
                  </a:lnTo>
                  <a:lnTo>
                    <a:pt x="384" y="3773"/>
                  </a:lnTo>
                  <a:lnTo>
                    <a:pt x="396" y="3770"/>
                  </a:lnTo>
                  <a:lnTo>
                    <a:pt x="410" y="3768"/>
                  </a:lnTo>
                  <a:lnTo>
                    <a:pt x="422" y="3764"/>
                  </a:lnTo>
                  <a:lnTo>
                    <a:pt x="433" y="3760"/>
                  </a:lnTo>
                  <a:lnTo>
                    <a:pt x="445" y="3756"/>
                  </a:lnTo>
                  <a:lnTo>
                    <a:pt x="456" y="3751"/>
                  </a:lnTo>
                  <a:lnTo>
                    <a:pt x="467" y="3745"/>
                  </a:lnTo>
                  <a:lnTo>
                    <a:pt x="477" y="3739"/>
                  </a:lnTo>
                  <a:lnTo>
                    <a:pt x="487" y="3732"/>
                  </a:lnTo>
                  <a:lnTo>
                    <a:pt x="497" y="3725"/>
                  </a:lnTo>
                  <a:lnTo>
                    <a:pt x="507" y="3718"/>
                  </a:lnTo>
                  <a:lnTo>
                    <a:pt x="516" y="3710"/>
                  </a:lnTo>
                  <a:lnTo>
                    <a:pt x="525" y="3702"/>
                  </a:lnTo>
                  <a:lnTo>
                    <a:pt x="533" y="3693"/>
                  </a:lnTo>
                  <a:lnTo>
                    <a:pt x="541" y="3684"/>
                  </a:lnTo>
                  <a:lnTo>
                    <a:pt x="548" y="3674"/>
                  </a:lnTo>
                  <a:lnTo>
                    <a:pt x="555" y="3664"/>
                  </a:lnTo>
                  <a:lnTo>
                    <a:pt x="562" y="3654"/>
                  </a:lnTo>
                  <a:lnTo>
                    <a:pt x="568" y="3644"/>
                  </a:lnTo>
                  <a:lnTo>
                    <a:pt x="575" y="3632"/>
                  </a:lnTo>
                  <a:lnTo>
                    <a:pt x="580" y="3621"/>
                  </a:lnTo>
                  <a:lnTo>
                    <a:pt x="584" y="3609"/>
                  </a:lnTo>
                  <a:lnTo>
                    <a:pt x="588" y="3598"/>
                  </a:lnTo>
                  <a:lnTo>
                    <a:pt x="591" y="3586"/>
                  </a:lnTo>
                  <a:lnTo>
                    <a:pt x="594" y="3574"/>
                  </a:lnTo>
                  <a:lnTo>
                    <a:pt x="596" y="3561"/>
                  </a:lnTo>
                  <a:lnTo>
                    <a:pt x="598" y="3549"/>
                  </a:lnTo>
                  <a:lnTo>
                    <a:pt x="599" y="3536"/>
                  </a:lnTo>
                  <a:lnTo>
                    <a:pt x="599" y="3523"/>
                  </a:lnTo>
                  <a:lnTo>
                    <a:pt x="599" y="3507"/>
                  </a:lnTo>
                  <a:lnTo>
                    <a:pt x="597" y="3490"/>
                  </a:lnTo>
                  <a:lnTo>
                    <a:pt x="594" y="3475"/>
                  </a:lnTo>
                  <a:lnTo>
                    <a:pt x="590" y="3460"/>
                  </a:lnTo>
                  <a:lnTo>
                    <a:pt x="591" y="3455"/>
                  </a:lnTo>
                  <a:lnTo>
                    <a:pt x="590" y="3450"/>
                  </a:lnTo>
                  <a:lnTo>
                    <a:pt x="573" y="3409"/>
                  </a:lnTo>
                  <a:lnTo>
                    <a:pt x="558" y="3367"/>
                  </a:lnTo>
                  <a:lnTo>
                    <a:pt x="546" y="3324"/>
                  </a:lnTo>
                  <a:lnTo>
                    <a:pt x="535" y="3282"/>
                  </a:lnTo>
                  <a:lnTo>
                    <a:pt x="527" y="3239"/>
                  </a:lnTo>
                  <a:lnTo>
                    <a:pt x="520" y="3195"/>
                  </a:lnTo>
                  <a:lnTo>
                    <a:pt x="515" y="3152"/>
                  </a:lnTo>
                  <a:lnTo>
                    <a:pt x="512" y="3109"/>
                  </a:lnTo>
                  <a:lnTo>
                    <a:pt x="511" y="3065"/>
                  </a:lnTo>
                  <a:lnTo>
                    <a:pt x="511" y="3021"/>
                  </a:lnTo>
                  <a:lnTo>
                    <a:pt x="512" y="2977"/>
                  </a:lnTo>
                  <a:lnTo>
                    <a:pt x="515" y="2932"/>
                  </a:lnTo>
                  <a:lnTo>
                    <a:pt x="520" y="2888"/>
                  </a:lnTo>
                  <a:lnTo>
                    <a:pt x="526" y="2843"/>
                  </a:lnTo>
                  <a:lnTo>
                    <a:pt x="533" y="2798"/>
                  </a:lnTo>
                  <a:lnTo>
                    <a:pt x="542" y="2752"/>
                  </a:lnTo>
                  <a:lnTo>
                    <a:pt x="551" y="2707"/>
                  </a:lnTo>
                  <a:lnTo>
                    <a:pt x="562" y="2661"/>
                  </a:lnTo>
                  <a:lnTo>
                    <a:pt x="575" y="2614"/>
                  </a:lnTo>
                  <a:lnTo>
                    <a:pt x="588" y="2568"/>
                  </a:lnTo>
                  <a:lnTo>
                    <a:pt x="602" y="2522"/>
                  </a:lnTo>
                  <a:lnTo>
                    <a:pt x="616" y="2474"/>
                  </a:lnTo>
                  <a:lnTo>
                    <a:pt x="632" y="2428"/>
                  </a:lnTo>
                  <a:lnTo>
                    <a:pt x="648" y="2381"/>
                  </a:lnTo>
                  <a:lnTo>
                    <a:pt x="683" y="2285"/>
                  </a:lnTo>
                  <a:lnTo>
                    <a:pt x="720" y="2189"/>
                  </a:lnTo>
                  <a:lnTo>
                    <a:pt x="760" y="2091"/>
                  </a:lnTo>
                  <a:lnTo>
                    <a:pt x="800" y="1994"/>
                  </a:lnTo>
                  <a:lnTo>
                    <a:pt x="845" y="1887"/>
                  </a:lnTo>
                  <a:lnTo>
                    <a:pt x="889" y="1778"/>
                  </a:lnTo>
                  <a:lnTo>
                    <a:pt x="912" y="1724"/>
                  </a:lnTo>
                  <a:lnTo>
                    <a:pt x="933" y="1668"/>
                  </a:lnTo>
                  <a:lnTo>
                    <a:pt x="954" y="1613"/>
                  </a:lnTo>
                  <a:lnTo>
                    <a:pt x="974" y="1558"/>
                  </a:lnTo>
                  <a:lnTo>
                    <a:pt x="993" y="1501"/>
                  </a:lnTo>
                  <a:lnTo>
                    <a:pt x="1012" y="1446"/>
                  </a:lnTo>
                  <a:lnTo>
                    <a:pt x="1029" y="1389"/>
                  </a:lnTo>
                  <a:lnTo>
                    <a:pt x="1046" y="1332"/>
                  </a:lnTo>
                  <a:lnTo>
                    <a:pt x="1062" y="1276"/>
                  </a:lnTo>
                  <a:lnTo>
                    <a:pt x="1076" y="1218"/>
                  </a:lnTo>
                  <a:lnTo>
                    <a:pt x="1090" y="1161"/>
                  </a:lnTo>
                  <a:lnTo>
                    <a:pt x="1102" y="1103"/>
                  </a:lnTo>
                  <a:lnTo>
                    <a:pt x="1112" y="1045"/>
                  </a:lnTo>
                  <a:lnTo>
                    <a:pt x="1120" y="987"/>
                  </a:lnTo>
                  <a:lnTo>
                    <a:pt x="1127" y="928"/>
                  </a:lnTo>
                  <a:lnTo>
                    <a:pt x="1132" y="870"/>
                  </a:lnTo>
                  <a:lnTo>
                    <a:pt x="1135" y="811"/>
                  </a:lnTo>
                  <a:lnTo>
                    <a:pt x="1136" y="753"/>
                  </a:lnTo>
                  <a:lnTo>
                    <a:pt x="1135" y="693"/>
                  </a:lnTo>
                  <a:lnTo>
                    <a:pt x="1132" y="634"/>
                  </a:lnTo>
                  <a:lnTo>
                    <a:pt x="1126" y="576"/>
                  </a:lnTo>
                  <a:lnTo>
                    <a:pt x="1118" y="516"/>
                  </a:lnTo>
                  <a:lnTo>
                    <a:pt x="1107" y="457"/>
                  </a:lnTo>
                  <a:lnTo>
                    <a:pt x="1094" y="396"/>
                  </a:lnTo>
                  <a:lnTo>
                    <a:pt x="1077" y="337"/>
                  </a:lnTo>
                  <a:lnTo>
                    <a:pt x="1059" y="278"/>
                  </a:lnTo>
                  <a:lnTo>
                    <a:pt x="1037" y="217"/>
                  </a:lnTo>
                  <a:lnTo>
                    <a:pt x="1012" y="158"/>
                  </a:lnTo>
                  <a:lnTo>
                    <a:pt x="1005" y="141"/>
                  </a:lnTo>
                  <a:lnTo>
                    <a:pt x="997" y="124"/>
                  </a:lnTo>
                  <a:lnTo>
                    <a:pt x="987" y="108"/>
                  </a:lnTo>
                  <a:lnTo>
                    <a:pt x="976" y="93"/>
                  </a:lnTo>
                  <a:lnTo>
                    <a:pt x="965" y="80"/>
                  </a:lnTo>
                  <a:lnTo>
                    <a:pt x="952" y="67"/>
                  </a:lnTo>
                  <a:lnTo>
                    <a:pt x="939" y="55"/>
                  </a:lnTo>
                  <a:lnTo>
                    <a:pt x="924" y="44"/>
                  </a:lnTo>
                  <a:lnTo>
                    <a:pt x="908" y="34"/>
                  </a:lnTo>
                  <a:lnTo>
                    <a:pt x="892" y="25"/>
                  </a:lnTo>
                  <a:lnTo>
                    <a:pt x="875" y="18"/>
                  </a:lnTo>
                  <a:lnTo>
                    <a:pt x="858" y="11"/>
                  </a:lnTo>
                  <a:lnTo>
                    <a:pt x="840" y="6"/>
                  </a:lnTo>
                  <a:lnTo>
                    <a:pt x="822" y="3"/>
                  </a:lnTo>
                  <a:lnTo>
                    <a:pt x="803" y="0"/>
                  </a:lnTo>
                  <a:lnTo>
                    <a:pt x="783" y="0"/>
                  </a:lnTo>
                  <a:lnTo>
                    <a:pt x="771" y="0"/>
                  </a:lnTo>
                  <a:lnTo>
                    <a:pt x="758" y="1"/>
                  </a:lnTo>
                  <a:lnTo>
                    <a:pt x="746" y="3"/>
                  </a:lnTo>
                  <a:lnTo>
                    <a:pt x="733" y="5"/>
                  </a:lnTo>
                  <a:lnTo>
                    <a:pt x="721" y="7"/>
                  </a:lnTo>
                  <a:lnTo>
                    <a:pt x="710" y="11"/>
                  </a:lnTo>
                  <a:lnTo>
                    <a:pt x="698" y="15"/>
                  </a:lnTo>
                  <a:lnTo>
                    <a:pt x="687" y="19"/>
                  </a:lnTo>
                  <a:lnTo>
                    <a:pt x="676" y="24"/>
                  </a:lnTo>
                  <a:lnTo>
                    <a:pt x="666" y="29"/>
                  </a:lnTo>
                  <a:lnTo>
                    <a:pt x="656" y="35"/>
                  </a:lnTo>
                  <a:lnTo>
                    <a:pt x="646" y="42"/>
                  </a:lnTo>
                  <a:lnTo>
                    <a:pt x="636" y="48"/>
                  </a:lnTo>
                  <a:lnTo>
                    <a:pt x="627" y="56"/>
                  </a:lnTo>
                  <a:lnTo>
                    <a:pt x="618" y="63"/>
                  </a:lnTo>
                  <a:lnTo>
                    <a:pt x="609" y="72"/>
                  </a:lnTo>
                  <a:lnTo>
                    <a:pt x="601" y="80"/>
                  </a:lnTo>
                  <a:lnTo>
                    <a:pt x="593" y="89"/>
                  </a:lnTo>
                  <a:lnTo>
                    <a:pt x="586" y="98"/>
                  </a:lnTo>
                  <a:lnTo>
                    <a:pt x="579" y="108"/>
                  </a:lnTo>
                  <a:lnTo>
                    <a:pt x="573" y="118"/>
                  </a:lnTo>
                  <a:lnTo>
                    <a:pt x="566" y="128"/>
                  </a:lnTo>
                  <a:lnTo>
                    <a:pt x="561" y="140"/>
                  </a:lnTo>
                  <a:lnTo>
                    <a:pt x="556" y="150"/>
                  </a:lnTo>
                  <a:lnTo>
                    <a:pt x="551" y="162"/>
                  </a:lnTo>
                  <a:lnTo>
                    <a:pt x="547" y="173"/>
                  </a:lnTo>
                  <a:lnTo>
                    <a:pt x="544" y="185"/>
                  </a:lnTo>
                  <a:lnTo>
                    <a:pt x="541" y="196"/>
                  </a:lnTo>
                  <a:lnTo>
                    <a:pt x="539" y="208"/>
                  </a:lnTo>
                  <a:lnTo>
                    <a:pt x="538" y="221"/>
                  </a:lnTo>
                  <a:lnTo>
                    <a:pt x="537" y="233"/>
                  </a:lnTo>
                  <a:lnTo>
                    <a:pt x="536" y="246"/>
                  </a:lnTo>
                  <a:lnTo>
                    <a:pt x="537" y="257"/>
                  </a:lnTo>
                  <a:lnTo>
                    <a:pt x="537" y="268"/>
                  </a:lnTo>
                  <a:lnTo>
                    <a:pt x="539" y="280"/>
                  </a:lnTo>
                  <a:lnTo>
                    <a:pt x="541" y="290"/>
                  </a:lnTo>
                  <a:lnTo>
                    <a:pt x="546" y="311"/>
                  </a:lnTo>
                  <a:lnTo>
                    <a:pt x="552" y="331"/>
                  </a:lnTo>
                  <a:lnTo>
                    <a:pt x="552" y="333"/>
                  </a:lnTo>
                  <a:lnTo>
                    <a:pt x="553" y="334"/>
                  </a:lnTo>
                  <a:lnTo>
                    <a:pt x="554" y="336"/>
                  </a:lnTo>
                  <a:lnTo>
                    <a:pt x="555" y="339"/>
                  </a:lnTo>
                  <a:lnTo>
                    <a:pt x="557" y="345"/>
                  </a:lnTo>
                  <a:lnTo>
                    <a:pt x="576" y="387"/>
                  </a:lnTo>
                  <a:lnTo>
                    <a:pt x="591" y="431"/>
                  </a:lnTo>
                  <a:lnTo>
                    <a:pt x="605" y="474"/>
                  </a:lnTo>
                  <a:lnTo>
                    <a:pt x="616" y="517"/>
                  </a:lnTo>
                  <a:lnTo>
                    <a:pt x="625" y="561"/>
                  </a:lnTo>
                  <a:lnTo>
                    <a:pt x="632" y="604"/>
                  </a:lnTo>
                  <a:lnTo>
                    <a:pt x="637" y="647"/>
                  </a:lnTo>
                  <a:lnTo>
                    <a:pt x="641" y="690"/>
                  </a:lnTo>
                  <a:lnTo>
                    <a:pt x="642" y="735"/>
                  </a:lnTo>
                  <a:lnTo>
                    <a:pt x="642" y="778"/>
                  </a:lnTo>
                  <a:lnTo>
                    <a:pt x="640" y="822"/>
                  </a:lnTo>
                  <a:lnTo>
                    <a:pt x="637" y="867"/>
                  </a:lnTo>
                  <a:lnTo>
                    <a:pt x="632" y="911"/>
                  </a:lnTo>
                  <a:lnTo>
                    <a:pt x="626" y="956"/>
                  </a:lnTo>
                  <a:lnTo>
                    <a:pt x="618" y="1001"/>
                  </a:lnTo>
                  <a:lnTo>
                    <a:pt x="609" y="1046"/>
                  </a:lnTo>
                  <a:lnTo>
                    <a:pt x="599" y="1091"/>
                  </a:lnTo>
                  <a:lnTo>
                    <a:pt x="588" y="1137"/>
                  </a:lnTo>
                  <a:lnTo>
                    <a:pt x="575" y="1182"/>
                  </a:lnTo>
                  <a:lnTo>
                    <a:pt x="561" y="1228"/>
                  </a:lnTo>
                  <a:lnTo>
                    <a:pt x="546" y="1275"/>
                  </a:lnTo>
                  <a:lnTo>
                    <a:pt x="531" y="1321"/>
                  </a:lnTo>
                  <a:lnTo>
                    <a:pt x="515" y="1367"/>
                  </a:lnTo>
                  <a:lnTo>
                    <a:pt x="498" y="1415"/>
                  </a:lnTo>
                  <a:lnTo>
                    <a:pt x="462" y="1509"/>
                  </a:lnTo>
                  <a:lnTo>
                    <a:pt x="424" y="1605"/>
                  </a:lnTo>
                  <a:lnTo>
                    <a:pt x="383" y="1703"/>
                  </a:lnTo>
                  <a:lnTo>
                    <a:pt x="342" y="1801"/>
                  </a:lnTo>
                  <a:lnTo>
                    <a:pt x="298" y="1906"/>
                  </a:lnTo>
                  <a:lnTo>
                    <a:pt x="254" y="2013"/>
                  </a:lnTo>
                  <a:lnTo>
                    <a:pt x="233" y="2067"/>
                  </a:lnTo>
                  <a:lnTo>
                    <a:pt x="211" y="2122"/>
                  </a:lnTo>
                  <a:lnTo>
                    <a:pt x="190" y="2176"/>
                  </a:lnTo>
                  <a:lnTo>
                    <a:pt x="170" y="2230"/>
                  </a:lnTo>
                  <a:lnTo>
                    <a:pt x="151" y="2286"/>
                  </a:lnTo>
                  <a:lnTo>
                    <a:pt x="132" y="2341"/>
                  </a:lnTo>
                  <a:lnTo>
                    <a:pt x="114" y="2397"/>
                  </a:lnTo>
                  <a:lnTo>
                    <a:pt x="97" y="2452"/>
                  </a:lnTo>
                  <a:lnTo>
                    <a:pt x="81" y="2508"/>
                  </a:lnTo>
                  <a:lnTo>
                    <a:pt x="66" y="2565"/>
                  </a:lnTo>
                  <a:lnTo>
                    <a:pt x="52" y="2621"/>
                  </a:lnTo>
                  <a:lnTo>
                    <a:pt x="40" y="2679"/>
                  </a:lnTo>
                  <a:lnTo>
                    <a:pt x="29" y="2735"/>
                  </a:lnTo>
                  <a:lnTo>
                    <a:pt x="20" y="2792"/>
                  </a:lnTo>
                  <a:lnTo>
                    <a:pt x="12" y="2850"/>
                  </a:lnTo>
                  <a:lnTo>
                    <a:pt x="6" y="2907"/>
                  </a:lnTo>
                  <a:lnTo>
                    <a:pt x="2" y="2966"/>
                  </a:lnTo>
                  <a:lnTo>
                    <a:pt x="0" y="3023"/>
                  </a:lnTo>
                  <a:lnTo>
                    <a:pt x="0" y="3082"/>
                  </a:lnTo>
                  <a:lnTo>
                    <a:pt x="3" y="3140"/>
                  </a:lnTo>
                  <a:lnTo>
                    <a:pt x="7" y="3198"/>
                  </a:lnTo>
                  <a:lnTo>
                    <a:pt x="14" y="3257"/>
                  </a:lnTo>
                  <a:lnTo>
                    <a:pt x="23" y="3315"/>
                  </a:lnTo>
                  <a:lnTo>
                    <a:pt x="35" y="3374"/>
                  </a:lnTo>
                  <a:lnTo>
                    <a:pt x="49" y="3433"/>
                  </a:lnTo>
                  <a:lnTo>
                    <a:pt x="67" y="3491"/>
                  </a:lnTo>
                  <a:lnTo>
                    <a:pt x="87" y="3551"/>
                  </a:lnTo>
                  <a:lnTo>
                    <a:pt x="110" y="3610"/>
                  </a:lnTo>
                  <a:lnTo>
                    <a:pt x="114" y="3620"/>
                  </a:lnTo>
                  <a:lnTo>
                    <a:pt x="118" y="36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26" name="í$ḷíḑè">
              <a:extLst>
                <a:ext uri="{FF2B5EF4-FFF2-40B4-BE49-F238E27FC236}">
                  <a16:creationId xmlns:a16="http://schemas.microsoft.com/office/drawing/2014/main" id="{FA1D697D-9A08-4BAC-987E-A4DBB42B98EE}"/>
                </a:ext>
              </a:extLst>
            </p:cNvPr>
            <p:cNvSpPr/>
            <p:nvPr/>
          </p:nvSpPr>
          <p:spPr bwMode="auto">
            <a:xfrm>
              <a:off x="4581066" y="31053"/>
              <a:ext cx="24571" cy="80848"/>
            </a:xfrm>
            <a:custGeom>
              <a:avLst/>
              <a:gdLst>
                <a:gd name="T0" fmla="*/ 123 w 1136"/>
                <a:gd name="T1" fmla="*/ 3641 h 3777"/>
                <a:gd name="T2" fmla="*/ 162 w 1136"/>
                <a:gd name="T3" fmla="*/ 3696 h 3777"/>
                <a:gd name="T4" fmla="*/ 213 w 1136"/>
                <a:gd name="T5" fmla="*/ 3739 h 3777"/>
                <a:gd name="T6" fmla="*/ 276 w 1136"/>
                <a:gd name="T7" fmla="*/ 3767 h 3777"/>
                <a:gd name="T8" fmla="*/ 346 w 1136"/>
                <a:gd name="T9" fmla="*/ 3777 h 3777"/>
                <a:gd name="T10" fmla="*/ 396 w 1136"/>
                <a:gd name="T11" fmla="*/ 3772 h 3777"/>
                <a:gd name="T12" fmla="*/ 444 w 1136"/>
                <a:gd name="T13" fmla="*/ 3757 h 3777"/>
                <a:gd name="T14" fmla="*/ 487 w 1136"/>
                <a:gd name="T15" fmla="*/ 3734 h 3777"/>
                <a:gd name="T16" fmla="*/ 524 w 1136"/>
                <a:gd name="T17" fmla="*/ 3702 h 3777"/>
                <a:gd name="T18" fmla="*/ 555 w 1136"/>
                <a:gd name="T19" fmla="*/ 3665 h 3777"/>
                <a:gd name="T20" fmla="*/ 578 w 1136"/>
                <a:gd name="T21" fmla="*/ 3622 h 3777"/>
                <a:gd name="T22" fmla="*/ 593 w 1136"/>
                <a:gd name="T23" fmla="*/ 3575 h 3777"/>
                <a:gd name="T24" fmla="*/ 598 w 1136"/>
                <a:gd name="T25" fmla="*/ 3523 h 3777"/>
                <a:gd name="T26" fmla="*/ 589 w 1136"/>
                <a:gd name="T27" fmla="*/ 3461 h 3777"/>
                <a:gd name="T28" fmla="*/ 558 w 1136"/>
                <a:gd name="T29" fmla="*/ 3367 h 3777"/>
                <a:gd name="T30" fmla="*/ 520 w 1136"/>
                <a:gd name="T31" fmla="*/ 3197 h 3777"/>
                <a:gd name="T32" fmla="*/ 510 w 1136"/>
                <a:gd name="T33" fmla="*/ 3023 h 3777"/>
                <a:gd name="T34" fmla="*/ 526 w 1136"/>
                <a:gd name="T35" fmla="*/ 2844 h 3777"/>
                <a:gd name="T36" fmla="*/ 562 w 1136"/>
                <a:gd name="T37" fmla="*/ 2662 h 3777"/>
                <a:gd name="T38" fmla="*/ 616 w 1136"/>
                <a:gd name="T39" fmla="*/ 2476 h 3777"/>
                <a:gd name="T40" fmla="*/ 720 w 1136"/>
                <a:gd name="T41" fmla="*/ 2190 h 3777"/>
                <a:gd name="T42" fmla="*/ 889 w 1136"/>
                <a:gd name="T43" fmla="*/ 1780 h 3777"/>
                <a:gd name="T44" fmla="*/ 973 w 1136"/>
                <a:gd name="T45" fmla="*/ 1558 h 3777"/>
                <a:gd name="T46" fmla="*/ 1046 w 1136"/>
                <a:gd name="T47" fmla="*/ 1334 h 3777"/>
                <a:gd name="T48" fmla="*/ 1100 w 1136"/>
                <a:gd name="T49" fmla="*/ 1104 h 3777"/>
                <a:gd name="T50" fmla="*/ 1132 w 1136"/>
                <a:gd name="T51" fmla="*/ 871 h 3777"/>
                <a:gd name="T52" fmla="*/ 1131 w 1136"/>
                <a:gd name="T53" fmla="*/ 636 h 3777"/>
                <a:gd name="T54" fmla="*/ 1093 w 1136"/>
                <a:gd name="T55" fmla="*/ 398 h 3777"/>
                <a:gd name="T56" fmla="*/ 1012 w 1136"/>
                <a:gd name="T57" fmla="*/ 158 h 3777"/>
                <a:gd name="T58" fmla="*/ 976 w 1136"/>
                <a:gd name="T59" fmla="*/ 95 h 3777"/>
                <a:gd name="T60" fmla="*/ 923 w 1136"/>
                <a:gd name="T61" fmla="*/ 44 h 3777"/>
                <a:gd name="T62" fmla="*/ 858 w 1136"/>
                <a:gd name="T63" fmla="*/ 12 h 3777"/>
                <a:gd name="T64" fmla="*/ 783 w 1136"/>
                <a:gd name="T65" fmla="*/ 0 h 3777"/>
                <a:gd name="T66" fmla="*/ 733 w 1136"/>
                <a:gd name="T67" fmla="*/ 5 h 3777"/>
                <a:gd name="T68" fmla="*/ 687 w 1136"/>
                <a:gd name="T69" fmla="*/ 19 h 3777"/>
                <a:gd name="T70" fmla="*/ 645 w 1136"/>
                <a:gd name="T71" fmla="*/ 42 h 3777"/>
                <a:gd name="T72" fmla="*/ 608 w 1136"/>
                <a:gd name="T73" fmla="*/ 73 h 3777"/>
                <a:gd name="T74" fmla="*/ 578 w 1136"/>
                <a:gd name="T75" fmla="*/ 109 h 3777"/>
                <a:gd name="T76" fmla="*/ 555 w 1136"/>
                <a:gd name="T77" fmla="*/ 151 h 3777"/>
                <a:gd name="T78" fmla="*/ 541 w 1136"/>
                <a:gd name="T79" fmla="*/ 197 h 3777"/>
                <a:gd name="T80" fmla="*/ 536 w 1136"/>
                <a:gd name="T81" fmla="*/ 247 h 3777"/>
                <a:gd name="T82" fmla="*/ 540 w 1136"/>
                <a:gd name="T83" fmla="*/ 291 h 3777"/>
                <a:gd name="T84" fmla="*/ 553 w 1136"/>
                <a:gd name="T85" fmla="*/ 334 h 3777"/>
                <a:gd name="T86" fmla="*/ 574 w 1136"/>
                <a:gd name="T87" fmla="*/ 389 h 3777"/>
                <a:gd name="T88" fmla="*/ 625 w 1136"/>
                <a:gd name="T89" fmla="*/ 561 h 3777"/>
                <a:gd name="T90" fmla="*/ 642 w 1136"/>
                <a:gd name="T91" fmla="*/ 735 h 3777"/>
                <a:gd name="T92" fmla="*/ 632 w 1136"/>
                <a:gd name="T93" fmla="*/ 913 h 3777"/>
                <a:gd name="T94" fmla="*/ 598 w 1136"/>
                <a:gd name="T95" fmla="*/ 1092 h 3777"/>
                <a:gd name="T96" fmla="*/ 546 w 1136"/>
                <a:gd name="T97" fmla="*/ 1275 h 3777"/>
                <a:gd name="T98" fmla="*/ 462 w 1136"/>
                <a:gd name="T99" fmla="*/ 1510 h 3777"/>
                <a:gd name="T100" fmla="*/ 298 w 1136"/>
                <a:gd name="T101" fmla="*/ 1908 h 3777"/>
                <a:gd name="T102" fmla="*/ 190 w 1136"/>
                <a:gd name="T103" fmla="*/ 2177 h 3777"/>
                <a:gd name="T104" fmla="*/ 114 w 1136"/>
                <a:gd name="T105" fmla="*/ 2397 h 3777"/>
                <a:gd name="T106" fmla="*/ 51 w 1136"/>
                <a:gd name="T107" fmla="*/ 2623 h 3777"/>
                <a:gd name="T108" fmla="*/ 12 w 1136"/>
                <a:gd name="T109" fmla="*/ 2850 h 3777"/>
                <a:gd name="T110" fmla="*/ 0 w 1136"/>
                <a:gd name="T111" fmla="*/ 3082 h 3777"/>
                <a:gd name="T112" fmla="*/ 23 w 1136"/>
                <a:gd name="T113" fmla="*/ 3316 h 3777"/>
                <a:gd name="T114" fmla="*/ 86 w 1136"/>
                <a:gd name="T115" fmla="*/ 3551 h 3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36" h="3777">
                  <a:moveTo>
                    <a:pt x="118" y="3632"/>
                  </a:moveTo>
                  <a:lnTo>
                    <a:pt x="120" y="3636"/>
                  </a:lnTo>
                  <a:lnTo>
                    <a:pt x="122" y="3641"/>
                  </a:lnTo>
                  <a:lnTo>
                    <a:pt x="123" y="3641"/>
                  </a:lnTo>
                  <a:lnTo>
                    <a:pt x="132" y="3656"/>
                  </a:lnTo>
                  <a:lnTo>
                    <a:pt x="141" y="3670"/>
                  </a:lnTo>
                  <a:lnTo>
                    <a:pt x="151" y="3683"/>
                  </a:lnTo>
                  <a:lnTo>
                    <a:pt x="162" y="3696"/>
                  </a:lnTo>
                  <a:lnTo>
                    <a:pt x="174" y="3708"/>
                  </a:lnTo>
                  <a:lnTo>
                    <a:pt x="186" y="3720"/>
                  </a:lnTo>
                  <a:lnTo>
                    <a:pt x="200" y="3730"/>
                  </a:lnTo>
                  <a:lnTo>
                    <a:pt x="213" y="3739"/>
                  </a:lnTo>
                  <a:lnTo>
                    <a:pt x="228" y="3748"/>
                  </a:lnTo>
                  <a:lnTo>
                    <a:pt x="243" y="3755"/>
                  </a:lnTo>
                  <a:lnTo>
                    <a:pt x="259" y="3762"/>
                  </a:lnTo>
                  <a:lnTo>
                    <a:pt x="276" y="3767"/>
                  </a:lnTo>
                  <a:lnTo>
                    <a:pt x="293" y="3771"/>
                  </a:lnTo>
                  <a:lnTo>
                    <a:pt x="310" y="3774"/>
                  </a:lnTo>
                  <a:lnTo>
                    <a:pt x="328" y="3776"/>
                  </a:lnTo>
                  <a:lnTo>
                    <a:pt x="346" y="3777"/>
                  </a:lnTo>
                  <a:lnTo>
                    <a:pt x="359" y="3777"/>
                  </a:lnTo>
                  <a:lnTo>
                    <a:pt x="371" y="3776"/>
                  </a:lnTo>
                  <a:lnTo>
                    <a:pt x="384" y="3774"/>
                  </a:lnTo>
                  <a:lnTo>
                    <a:pt x="396" y="3772"/>
                  </a:lnTo>
                  <a:lnTo>
                    <a:pt x="408" y="3769"/>
                  </a:lnTo>
                  <a:lnTo>
                    <a:pt x="420" y="3766"/>
                  </a:lnTo>
                  <a:lnTo>
                    <a:pt x="432" y="3762"/>
                  </a:lnTo>
                  <a:lnTo>
                    <a:pt x="444" y="3757"/>
                  </a:lnTo>
                  <a:lnTo>
                    <a:pt x="456" y="3752"/>
                  </a:lnTo>
                  <a:lnTo>
                    <a:pt x="466" y="3747"/>
                  </a:lnTo>
                  <a:lnTo>
                    <a:pt x="477" y="3740"/>
                  </a:lnTo>
                  <a:lnTo>
                    <a:pt x="487" y="3734"/>
                  </a:lnTo>
                  <a:lnTo>
                    <a:pt x="497" y="3727"/>
                  </a:lnTo>
                  <a:lnTo>
                    <a:pt x="506" y="3719"/>
                  </a:lnTo>
                  <a:lnTo>
                    <a:pt x="516" y="3712"/>
                  </a:lnTo>
                  <a:lnTo>
                    <a:pt x="524" y="3702"/>
                  </a:lnTo>
                  <a:lnTo>
                    <a:pt x="533" y="3693"/>
                  </a:lnTo>
                  <a:lnTo>
                    <a:pt x="541" y="3684"/>
                  </a:lnTo>
                  <a:lnTo>
                    <a:pt x="548" y="3675"/>
                  </a:lnTo>
                  <a:lnTo>
                    <a:pt x="555" y="3665"/>
                  </a:lnTo>
                  <a:lnTo>
                    <a:pt x="562" y="3655"/>
                  </a:lnTo>
                  <a:lnTo>
                    <a:pt x="568" y="3644"/>
                  </a:lnTo>
                  <a:lnTo>
                    <a:pt x="573" y="3633"/>
                  </a:lnTo>
                  <a:lnTo>
                    <a:pt x="578" y="3622"/>
                  </a:lnTo>
                  <a:lnTo>
                    <a:pt x="583" y="3611"/>
                  </a:lnTo>
                  <a:lnTo>
                    <a:pt x="587" y="3599"/>
                  </a:lnTo>
                  <a:lnTo>
                    <a:pt x="590" y="3587"/>
                  </a:lnTo>
                  <a:lnTo>
                    <a:pt x="593" y="3575"/>
                  </a:lnTo>
                  <a:lnTo>
                    <a:pt x="595" y="3562"/>
                  </a:lnTo>
                  <a:lnTo>
                    <a:pt x="597" y="3549"/>
                  </a:lnTo>
                  <a:lnTo>
                    <a:pt x="598" y="3536"/>
                  </a:lnTo>
                  <a:lnTo>
                    <a:pt x="598" y="3523"/>
                  </a:lnTo>
                  <a:lnTo>
                    <a:pt x="597" y="3507"/>
                  </a:lnTo>
                  <a:lnTo>
                    <a:pt x="595" y="3492"/>
                  </a:lnTo>
                  <a:lnTo>
                    <a:pt x="593" y="3476"/>
                  </a:lnTo>
                  <a:lnTo>
                    <a:pt x="589" y="3461"/>
                  </a:lnTo>
                  <a:lnTo>
                    <a:pt x="590" y="3456"/>
                  </a:lnTo>
                  <a:lnTo>
                    <a:pt x="589" y="3451"/>
                  </a:lnTo>
                  <a:lnTo>
                    <a:pt x="572" y="3409"/>
                  </a:lnTo>
                  <a:lnTo>
                    <a:pt x="558" y="3367"/>
                  </a:lnTo>
                  <a:lnTo>
                    <a:pt x="545" y="3325"/>
                  </a:lnTo>
                  <a:lnTo>
                    <a:pt x="535" y="3282"/>
                  </a:lnTo>
                  <a:lnTo>
                    <a:pt x="526" y="3240"/>
                  </a:lnTo>
                  <a:lnTo>
                    <a:pt x="520" y="3197"/>
                  </a:lnTo>
                  <a:lnTo>
                    <a:pt x="515" y="3154"/>
                  </a:lnTo>
                  <a:lnTo>
                    <a:pt x="512" y="3110"/>
                  </a:lnTo>
                  <a:lnTo>
                    <a:pt x="510" y="3066"/>
                  </a:lnTo>
                  <a:lnTo>
                    <a:pt x="510" y="3023"/>
                  </a:lnTo>
                  <a:lnTo>
                    <a:pt x="512" y="2978"/>
                  </a:lnTo>
                  <a:lnTo>
                    <a:pt x="515" y="2934"/>
                  </a:lnTo>
                  <a:lnTo>
                    <a:pt x="520" y="2889"/>
                  </a:lnTo>
                  <a:lnTo>
                    <a:pt x="526" y="2844"/>
                  </a:lnTo>
                  <a:lnTo>
                    <a:pt x="533" y="2799"/>
                  </a:lnTo>
                  <a:lnTo>
                    <a:pt x="541" y="2753"/>
                  </a:lnTo>
                  <a:lnTo>
                    <a:pt x="551" y="2707"/>
                  </a:lnTo>
                  <a:lnTo>
                    <a:pt x="562" y="2662"/>
                  </a:lnTo>
                  <a:lnTo>
                    <a:pt x="574" y="2616"/>
                  </a:lnTo>
                  <a:lnTo>
                    <a:pt x="586" y="2569"/>
                  </a:lnTo>
                  <a:lnTo>
                    <a:pt x="600" y="2522"/>
                  </a:lnTo>
                  <a:lnTo>
                    <a:pt x="616" y="2476"/>
                  </a:lnTo>
                  <a:lnTo>
                    <a:pt x="632" y="2428"/>
                  </a:lnTo>
                  <a:lnTo>
                    <a:pt x="648" y="2381"/>
                  </a:lnTo>
                  <a:lnTo>
                    <a:pt x="683" y="2286"/>
                  </a:lnTo>
                  <a:lnTo>
                    <a:pt x="720" y="2190"/>
                  </a:lnTo>
                  <a:lnTo>
                    <a:pt x="759" y="2093"/>
                  </a:lnTo>
                  <a:lnTo>
                    <a:pt x="800" y="1995"/>
                  </a:lnTo>
                  <a:lnTo>
                    <a:pt x="845" y="1887"/>
                  </a:lnTo>
                  <a:lnTo>
                    <a:pt x="889" y="1780"/>
                  </a:lnTo>
                  <a:lnTo>
                    <a:pt x="910" y="1724"/>
                  </a:lnTo>
                  <a:lnTo>
                    <a:pt x="932" y="1670"/>
                  </a:lnTo>
                  <a:lnTo>
                    <a:pt x="953" y="1615"/>
                  </a:lnTo>
                  <a:lnTo>
                    <a:pt x="973" y="1558"/>
                  </a:lnTo>
                  <a:lnTo>
                    <a:pt x="993" y="1503"/>
                  </a:lnTo>
                  <a:lnTo>
                    <a:pt x="1011" y="1446"/>
                  </a:lnTo>
                  <a:lnTo>
                    <a:pt x="1029" y="1390"/>
                  </a:lnTo>
                  <a:lnTo>
                    <a:pt x="1046" y="1334"/>
                  </a:lnTo>
                  <a:lnTo>
                    <a:pt x="1061" y="1276"/>
                  </a:lnTo>
                  <a:lnTo>
                    <a:pt x="1076" y="1219"/>
                  </a:lnTo>
                  <a:lnTo>
                    <a:pt x="1089" y="1161"/>
                  </a:lnTo>
                  <a:lnTo>
                    <a:pt x="1100" y="1104"/>
                  </a:lnTo>
                  <a:lnTo>
                    <a:pt x="1110" y="1045"/>
                  </a:lnTo>
                  <a:lnTo>
                    <a:pt x="1119" y="988"/>
                  </a:lnTo>
                  <a:lnTo>
                    <a:pt x="1127" y="930"/>
                  </a:lnTo>
                  <a:lnTo>
                    <a:pt x="1132" y="871"/>
                  </a:lnTo>
                  <a:lnTo>
                    <a:pt x="1135" y="813"/>
                  </a:lnTo>
                  <a:lnTo>
                    <a:pt x="1136" y="753"/>
                  </a:lnTo>
                  <a:lnTo>
                    <a:pt x="1135" y="695"/>
                  </a:lnTo>
                  <a:lnTo>
                    <a:pt x="1131" y="636"/>
                  </a:lnTo>
                  <a:lnTo>
                    <a:pt x="1126" y="576"/>
                  </a:lnTo>
                  <a:lnTo>
                    <a:pt x="1117" y="517"/>
                  </a:lnTo>
                  <a:lnTo>
                    <a:pt x="1106" y="457"/>
                  </a:lnTo>
                  <a:lnTo>
                    <a:pt x="1093" y="398"/>
                  </a:lnTo>
                  <a:lnTo>
                    <a:pt x="1077" y="337"/>
                  </a:lnTo>
                  <a:lnTo>
                    <a:pt x="1058" y="278"/>
                  </a:lnTo>
                  <a:lnTo>
                    <a:pt x="1037" y="219"/>
                  </a:lnTo>
                  <a:lnTo>
                    <a:pt x="1012" y="158"/>
                  </a:lnTo>
                  <a:lnTo>
                    <a:pt x="1005" y="141"/>
                  </a:lnTo>
                  <a:lnTo>
                    <a:pt x="996" y="125"/>
                  </a:lnTo>
                  <a:lnTo>
                    <a:pt x="987" y="109"/>
                  </a:lnTo>
                  <a:lnTo>
                    <a:pt x="976" y="95"/>
                  </a:lnTo>
                  <a:lnTo>
                    <a:pt x="965" y="81"/>
                  </a:lnTo>
                  <a:lnTo>
                    <a:pt x="952" y="67"/>
                  </a:lnTo>
                  <a:lnTo>
                    <a:pt x="937" y="55"/>
                  </a:lnTo>
                  <a:lnTo>
                    <a:pt x="923" y="44"/>
                  </a:lnTo>
                  <a:lnTo>
                    <a:pt x="908" y="34"/>
                  </a:lnTo>
                  <a:lnTo>
                    <a:pt x="892" y="25"/>
                  </a:lnTo>
                  <a:lnTo>
                    <a:pt x="875" y="18"/>
                  </a:lnTo>
                  <a:lnTo>
                    <a:pt x="858" y="12"/>
                  </a:lnTo>
                  <a:lnTo>
                    <a:pt x="840" y="7"/>
                  </a:lnTo>
                  <a:lnTo>
                    <a:pt x="821" y="3"/>
                  </a:lnTo>
                  <a:lnTo>
                    <a:pt x="802" y="1"/>
                  </a:lnTo>
                  <a:lnTo>
                    <a:pt x="783" y="0"/>
                  </a:lnTo>
                  <a:lnTo>
                    <a:pt x="769" y="0"/>
                  </a:lnTo>
                  <a:lnTo>
                    <a:pt x="757" y="1"/>
                  </a:lnTo>
                  <a:lnTo>
                    <a:pt x="745" y="3"/>
                  </a:lnTo>
                  <a:lnTo>
                    <a:pt x="733" y="5"/>
                  </a:lnTo>
                  <a:lnTo>
                    <a:pt x="721" y="8"/>
                  </a:lnTo>
                  <a:lnTo>
                    <a:pt x="709" y="11"/>
                  </a:lnTo>
                  <a:lnTo>
                    <a:pt x="698" y="15"/>
                  </a:lnTo>
                  <a:lnTo>
                    <a:pt x="687" y="19"/>
                  </a:lnTo>
                  <a:lnTo>
                    <a:pt x="676" y="24"/>
                  </a:lnTo>
                  <a:lnTo>
                    <a:pt x="665" y="30"/>
                  </a:lnTo>
                  <a:lnTo>
                    <a:pt x="655" y="36"/>
                  </a:lnTo>
                  <a:lnTo>
                    <a:pt x="645" y="42"/>
                  </a:lnTo>
                  <a:lnTo>
                    <a:pt x="636" y="49"/>
                  </a:lnTo>
                  <a:lnTo>
                    <a:pt x="626" y="56"/>
                  </a:lnTo>
                  <a:lnTo>
                    <a:pt x="618" y="64"/>
                  </a:lnTo>
                  <a:lnTo>
                    <a:pt x="608" y="73"/>
                  </a:lnTo>
                  <a:lnTo>
                    <a:pt x="600" y="81"/>
                  </a:lnTo>
                  <a:lnTo>
                    <a:pt x="592" y="90"/>
                  </a:lnTo>
                  <a:lnTo>
                    <a:pt x="585" y="100"/>
                  </a:lnTo>
                  <a:lnTo>
                    <a:pt x="578" y="109"/>
                  </a:lnTo>
                  <a:lnTo>
                    <a:pt x="572" y="119"/>
                  </a:lnTo>
                  <a:lnTo>
                    <a:pt x="566" y="129"/>
                  </a:lnTo>
                  <a:lnTo>
                    <a:pt x="560" y="140"/>
                  </a:lnTo>
                  <a:lnTo>
                    <a:pt x="555" y="151"/>
                  </a:lnTo>
                  <a:lnTo>
                    <a:pt x="551" y="162"/>
                  </a:lnTo>
                  <a:lnTo>
                    <a:pt x="547" y="173"/>
                  </a:lnTo>
                  <a:lnTo>
                    <a:pt x="544" y="185"/>
                  </a:lnTo>
                  <a:lnTo>
                    <a:pt x="541" y="197"/>
                  </a:lnTo>
                  <a:lnTo>
                    <a:pt x="539" y="209"/>
                  </a:lnTo>
                  <a:lnTo>
                    <a:pt x="537" y="222"/>
                  </a:lnTo>
                  <a:lnTo>
                    <a:pt x="537" y="234"/>
                  </a:lnTo>
                  <a:lnTo>
                    <a:pt x="536" y="247"/>
                  </a:lnTo>
                  <a:lnTo>
                    <a:pt x="536" y="258"/>
                  </a:lnTo>
                  <a:lnTo>
                    <a:pt x="537" y="269"/>
                  </a:lnTo>
                  <a:lnTo>
                    <a:pt x="539" y="280"/>
                  </a:lnTo>
                  <a:lnTo>
                    <a:pt x="540" y="291"/>
                  </a:lnTo>
                  <a:lnTo>
                    <a:pt x="545" y="312"/>
                  </a:lnTo>
                  <a:lnTo>
                    <a:pt x="552" y="332"/>
                  </a:lnTo>
                  <a:lnTo>
                    <a:pt x="552" y="333"/>
                  </a:lnTo>
                  <a:lnTo>
                    <a:pt x="553" y="334"/>
                  </a:lnTo>
                  <a:lnTo>
                    <a:pt x="553" y="337"/>
                  </a:lnTo>
                  <a:lnTo>
                    <a:pt x="555" y="339"/>
                  </a:lnTo>
                  <a:lnTo>
                    <a:pt x="557" y="345"/>
                  </a:lnTo>
                  <a:lnTo>
                    <a:pt x="574" y="389"/>
                  </a:lnTo>
                  <a:lnTo>
                    <a:pt x="590" y="431"/>
                  </a:lnTo>
                  <a:lnTo>
                    <a:pt x="603" y="474"/>
                  </a:lnTo>
                  <a:lnTo>
                    <a:pt x="615" y="518"/>
                  </a:lnTo>
                  <a:lnTo>
                    <a:pt x="625" y="561"/>
                  </a:lnTo>
                  <a:lnTo>
                    <a:pt x="632" y="604"/>
                  </a:lnTo>
                  <a:lnTo>
                    <a:pt x="637" y="648"/>
                  </a:lnTo>
                  <a:lnTo>
                    <a:pt x="640" y="692"/>
                  </a:lnTo>
                  <a:lnTo>
                    <a:pt x="642" y="735"/>
                  </a:lnTo>
                  <a:lnTo>
                    <a:pt x="642" y="780"/>
                  </a:lnTo>
                  <a:lnTo>
                    <a:pt x="640" y="824"/>
                  </a:lnTo>
                  <a:lnTo>
                    <a:pt x="637" y="868"/>
                  </a:lnTo>
                  <a:lnTo>
                    <a:pt x="632" y="913"/>
                  </a:lnTo>
                  <a:lnTo>
                    <a:pt x="626" y="957"/>
                  </a:lnTo>
                  <a:lnTo>
                    <a:pt x="618" y="1001"/>
                  </a:lnTo>
                  <a:lnTo>
                    <a:pt x="608" y="1046"/>
                  </a:lnTo>
                  <a:lnTo>
                    <a:pt x="598" y="1092"/>
                  </a:lnTo>
                  <a:lnTo>
                    <a:pt x="586" y="1137"/>
                  </a:lnTo>
                  <a:lnTo>
                    <a:pt x="574" y="1183"/>
                  </a:lnTo>
                  <a:lnTo>
                    <a:pt x="561" y="1229"/>
                  </a:lnTo>
                  <a:lnTo>
                    <a:pt x="546" y="1275"/>
                  </a:lnTo>
                  <a:lnTo>
                    <a:pt x="531" y="1321"/>
                  </a:lnTo>
                  <a:lnTo>
                    <a:pt x="514" y="1368"/>
                  </a:lnTo>
                  <a:lnTo>
                    <a:pt x="498" y="1415"/>
                  </a:lnTo>
                  <a:lnTo>
                    <a:pt x="462" y="1510"/>
                  </a:lnTo>
                  <a:lnTo>
                    <a:pt x="422" y="1605"/>
                  </a:lnTo>
                  <a:lnTo>
                    <a:pt x="383" y="1703"/>
                  </a:lnTo>
                  <a:lnTo>
                    <a:pt x="342" y="1802"/>
                  </a:lnTo>
                  <a:lnTo>
                    <a:pt x="298" y="1908"/>
                  </a:lnTo>
                  <a:lnTo>
                    <a:pt x="253" y="2014"/>
                  </a:lnTo>
                  <a:lnTo>
                    <a:pt x="232" y="2068"/>
                  </a:lnTo>
                  <a:lnTo>
                    <a:pt x="211" y="2122"/>
                  </a:lnTo>
                  <a:lnTo>
                    <a:pt x="190" y="2177"/>
                  </a:lnTo>
                  <a:lnTo>
                    <a:pt x="170" y="2232"/>
                  </a:lnTo>
                  <a:lnTo>
                    <a:pt x="150" y="2286"/>
                  </a:lnTo>
                  <a:lnTo>
                    <a:pt x="131" y="2342"/>
                  </a:lnTo>
                  <a:lnTo>
                    <a:pt x="114" y="2397"/>
                  </a:lnTo>
                  <a:lnTo>
                    <a:pt x="96" y="2454"/>
                  </a:lnTo>
                  <a:lnTo>
                    <a:pt x="80" y="2510"/>
                  </a:lnTo>
                  <a:lnTo>
                    <a:pt x="65" y="2565"/>
                  </a:lnTo>
                  <a:lnTo>
                    <a:pt x="51" y="2623"/>
                  </a:lnTo>
                  <a:lnTo>
                    <a:pt x="39" y="2679"/>
                  </a:lnTo>
                  <a:lnTo>
                    <a:pt x="29" y="2737"/>
                  </a:lnTo>
                  <a:lnTo>
                    <a:pt x="19" y="2793"/>
                  </a:lnTo>
                  <a:lnTo>
                    <a:pt x="12" y="2850"/>
                  </a:lnTo>
                  <a:lnTo>
                    <a:pt x="6" y="2909"/>
                  </a:lnTo>
                  <a:lnTo>
                    <a:pt x="2" y="2966"/>
                  </a:lnTo>
                  <a:lnTo>
                    <a:pt x="0" y="3025"/>
                  </a:lnTo>
                  <a:lnTo>
                    <a:pt x="0" y="3082"/>
                  </a:lnTo>
                  <a:lnTo>
                    <a:pt x="2" y="3140"/>
                  </a:lnTo>
                  <a:lnTo>
                    <a:pt x="7" y="3199"/>
                  </a:lnTo>
                  <a:lnTo>
                    <a:pt x="13" y="3257"/>
                  </a:lnTo>
                  <a:lnTo>
                    <a:pt x="23" y="3316"/>
                  </a:lnTo>
                  <a:lnTo>
                    <a:pt x="34" y="3375"/>
                  </a:lnTo>
                  <a:lnTo>
                    <a:pt x="49" y="3434"/>
                  </a:lnTo>
                  <a:lnTo>
                    <a:pt x="66" y="3493"/>
                  </a:lnTo>
                  <a:lnTo>
                    <a:pt x="86" y="3551"/>
                  </a:lnTo>
                  <a:lnTo>
                    <a:pt x="110" y="3611"/>
                  </a:lnTo>
                  <a:lnTo>
                    <a:pt x="114" y="3622"/>
                  </a:lnTo>
                  <a:lnTo>
                    <a:pt x="118" y="36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27" name="íṥ1ïḑé">
              <a:extLst>
                <a:ext uri="{FF2B5EF4-FFF2-40B4-BE49-F238E27FC236}">
                  <a16:creationId xmlns:a16="http://schemas.microsoft.com/office/drawing/2014/main" id="{DC59B2FB-EE04-4022-BF90-C62BF9CE9579}"/>
                </a:ext>
              </a:extLst>
            </p:cNvPr>
            <p:cNvSpPr/>
            <p:nvPr/>
          </p:nvSpPr>
          <p:spPr bwMode="auto">
            <a:xfrm>
              <a:off x="4859983" y="35853"/>
              <a:ext cx="238394" cy="347625"/>
            </a:xfrm>
            <a:custGeom>
              <a:avLst/>
              <a:gdLst>
                <a:gd name="T0" fmla="*/ 9581 w 11062"/>
                <a:gd name="T1" fmla="*/ 13339 h 16132"/>
                <a:gd name="T2" fmla="*/ 8775 w 11062"/>
                <a:gd name="T3" fmla="*/ 14325 h 16132"/>
                <a:gd name="T4" fmla="*/ 6999 w 11062"/>
                <a:gd name="T5" fmla="*/ 14980 h 16132"/>
                <a:gd name="T6" fmla="*/ 4346 w 11062"/>
                <a:gd name="T7" fmla="*/ 15077 h 16132"/>
                <a:gd name="T8" fmla="*/ 2649 w 11062"/>
                <a:gd name="T9" fmla="*/ 14454 h 16132"/>
                <a:gd name="T10" fmla="*/ 1519 w 11062"/>
                <a:gd name="T11" fmla="*/ 13302 h 16132"/>
                <a:gd name="T12" fmla="*/ 1023 w 11062"/>
                <a:gd name="T13" fmla="*/ 11870 h 16132"/>
                <a:gd name="T14" fmla="*/ 1038 w 11062"/>
                <a:gd name="T15" fmla="*/ 10686 h 16132"/>
                <a:gd name="T16" fmla="*/ 1161 w 11062"/>
                <a:gd name="T17" fmla="*/ 9659 h 16132"/>
                <a:gd name="T18" fmla="*/ 1368 w 11062"/>
                <a:gd name="T19" fmla="*/ 8565 h 16132"/>
                <a:gd name="T20" fmla="*/ 1751 w 11062"/>
                <a:gd name="T21" fmla="*/ 6782 h 16132"/>
                <a:gd name="T22" fmla="*/ 1969 w 11062"/>
                <a:gd name="T23" fmla="*/ 5444 h 16132"/>
                <a:gd name="T24" fmla="*/ 2066 w 11062"/>
                <a:gd name="T25" fmla="*/ 3973 h 16132"/>
                <a:gd name="T26" fmla="*/ 2442 w 11062"/>
                <a:gd name="T27" fmla="*/ 3510 h 16132"/>
                <a:gd name="T28" fmla="*/ 3378 w 11062"/>
                <a:gd name="T29" fmla="*/ 5418 h 16132"/>
                <a:gd name="T30" fmla="*/ 3921 w 11062"/>
                <a:gd name="T31" fmla="*/ 7026 h 16132"/>
                <a:gd name="T32" fmla="*/ 4134 w 11062"/>
                <a:gd name="T33" fmla="*/ 7893 h 16132"/>
                <a:gd name="T34" fmla="*/ 4981 w 11062"/>
                <a:gd name="T35" fmla="*/ 6640 h 16132"/>
                <a:gd name="T36" fmla="*/ 5652 w 11062"/>
                <a:gd name="T37" fmla="*/ 5541 h 16132"/>
                <a:gd name="T38" fmla="*/ 6048 w 11062"/>
                <a:gd name="T39" fmla="*/ 5124 h 16132"/>
                <a:gd name="T40" fmla="*/ 6276 w 11062"/>
                <a:gd name="T41" fmla="*/ 6127 h 16132"/>
                <a:gd name="T42" fmla="*/ 6449 w 11062"/>
                <a:gd name="T43" fmla="*/ 7550 h 16132"/>
                <a:gd name="T44" fmla="*/ 6532 w 11062"/>
                <a:gd name="T45" fmla="*/ 9200 h 16132"/>
                <a:gd name="T46" fmla="*/ 6940 w 11062"/>
                <a:gd name="T47" fmla="*/ 9209 h 16132"/>
                <a:gd name="T48" fmla="*/ 7692 w 11062"/>
                <a:gd name="T49" fmla="*/ 8420 h 16132"/>
                <a:gd name="T50" fmla="*/ 8583 w 11062"/>
                <a:gd name="T51" fmla="*/ 7268 h 16132"/>
                <a:gd name="T52" fmla="*/ 9393 w 11062"/>
                <a:gd name="T53" fmla="*/ 7890 h 16132"/>
                <a:gd name="T54" fmla="*/ 9897 w 11062"/>
                <a:gd name="T55" fmla="*/ 9499 h 16132"/>
                <a:gd name="T56" fmla="*/ 10055 w 11062"/>
                <a:gd name="T57" fmla="*/ 11059 h 16132"/>
                <a:gd name="T58" fmla="*/ 8546 w 11062"/>
                <a:gd name="T59" fmla="*/ 4537 h 16132"/>
                <a:gd name="T60" fmla="*/ 8332 w 11062"/>
                <a:gd name="T61" fmla="*/ 5604 h 16132"/>
                <a:gd name="T62" fmla="*/ 7919 w 11062"/>
                <a:gd name="T63" fmla="*/ 6448 h 16132"/>
                <a:gd name="T64" fmla="*/ 7572 w 11062"/>
                <a:gd name="T65" fmla="*/ 6944 h 16132"/>
                <a:gd name="T66" fmla="*/ 7322 w 11062"/>
                <a:gd name="T67" fmla="*/ 5677 h 16132"/>
                <a:gd name="T68" fmla="*/ 6610 w 11062"/>
                <a:gd name="T69" fmla="*/ 3988 h 16132"/>
                <a:gd name="T70" fmla="*/ 5839 w 11062"/>
                <a:gd name="T71" fmla="*/ 2871 h 16132"/>
                <a:gd name="T72" fmla="*/ 5524 w 11062"/>
                <a:gd name="T73" fmla="*/ 2624 h 16132"/>
                <a:gd name="T74" fmla="*/ 5435 w 11062"/>
                <a:gd name="T75" fmla="*/ 3254 h 16132"/>
                <a:gd name="T76" fmla="*/ 5137 w 11062"/>
                <a:gd name="T77" fmla="*/ 4285 h 16132"/>
                <a:gd name="T78" fmla="*/ 4503 w 11062"/>
                <a:gd name="T79" fmla="*/ 5519 h 16132"/>
                <a:gd name="T80" fmla="*/ 3295 w 11062"/>
                <a:gd name="T81" fmla="*/ 2924 h 16132"/>
                <a:gd name="T82" fmla="*/ 1805 w 11062"/>
                <a:gd name="T83" fmla="*/ 1110 h 16132"/>
                <a:gd name="T84" fmla="*/ 701 w 11062"/>
                <a:gd name="T85" fmla="*/ 145 h 16132"/>
                <a:gd name="T86" fmla="*/ 1011 w 11062"/>
                <a:gd name="T87" fmla="*/ 2771 h 16132"/>
                <a:gd name="T88" fmla="*/ 870 w 11062"/>
                <a:gd name="T89" fmla="*/ 6014 h 16132"/>
                <a:gd name="T90" fmla="*/ 290 w 11062"/>
                <a:gd name="T91" fmla="*/ 8820 h 16132"/>
                <a:gd name="T92" fmla="*/ 6 w 11062"/>
                <a:gd name="T93" fmla="*/ 11760 h 16132"/>
                <a:gd name="T94" fmla="*/ 554 w 11062"/>
                <a:gd name="T95" fmla="*/ 13649 h 16132"/>
                <a:gd name="T96" fmla="*/ 1906 w 11062"/>
                <a:gd name="T97" fmla="*/ 15167 h 16132"/>
                <a:gd name="T98" fmla="*/ 3939 w 11062"/>
                <a:gd name="T99" fmla="*/ 16031 h 16132"/>
                <a:gd name="T100" fmla="*/ 6884 w 11062"/>
                <a:gd name="T101" fmla="*/ 16016 h 16132"/>
                <a:gd name="T102" fmla="*/ 9121 w 11062"/>
                <a:gd name="T103" fmla="*/ 15301 h 16132"/>
                <a:gd name="T104" fmla="*/ 10305 w 11062"/>
                <a:gd name="T105" fmla="*/ 14100 h 16132"/>
                <a:gd name="T106" fmla="*/ 10866 w 11062"/>
                <a:gd name="T107" fmla="*/ 12606 h 16132"/>
                <a:gd name="T108" fmla="*/ 11039 w 11062"/>
                <a:gd name="T109" fmla="*/ 10358 h 16132"/>
                <a:gd name="T110" fmla="*/ 10527 w 11062"/>
                <a:gd name="T111" fmla="*/ 8031 h 16132"/>
                <a:gd name="T112" fmla="*/ 9405 w 11062"/>
                <a:gd name="T113" fmla="*/ 5745 h 16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062" h="16132">
                  <a:moveTo>
                    <a:pt x="9891" y="12362"/>
                  </a:moveTo>
                  <a:lnTo>
                    <a:pt x="9860" y="12483"/>
                  </a:lnTo>
                  <a:lnTo>
                    <a:pt x="9829" y="12606"/>
                  </a:lnTo>
                  <a:lnTo>
                    <a:pt x="9795" y="12729"/>
                  </a:lnTo>
                  <a:lnTo>
                    <a:pt x="9760" y="12852"/>
                  </a:lnTo>
                  <a:lnTo>
                    <a:pt x="9722" y="12975"/>
                  </a:lnTo>
                  <a:lnTo>
                    <a:pt x="9680" y="13097"/>
                  </a:lnTo>
                  <a:lnTo>
                    <a:pt x="9634" y="13219"/>
                  </a:lnTo>
                  <a:lnTo>
                    <a:pt x="9581" y="13339"/>
                  </a:lnTo>
                  <a:lnTo>
                    <a:pt x="9524" y="13458"/>
                  </a:lnTo>
                  <a:lnTo>
                    <a:pt x="9461" y="13576"/>
                  </a:lnTo>
                  <a:lnTo>
                    <a:pt x="9389" y="13691"/>
                  </a:lnTo>
                  <a:lnTo>
                    <a:pt x="9311" y="13805"/>
                  </a:lnTo>
                  <a:lnTo>
                    <a:pt x="9223" y="13915"/>
                  </a:lnTo>
                  <a:lnTo>
                    <a:pt x="9127" y="14023"/>
                  </a:lnTo>
                  <a:lnTo>
                    <a:pt x="9020" y="14128"/>
                  </a:lnTo>
                  <a:lnTo>
                    <a:pt x="8904" y="14228"/>
                  </a:lnTo>
                  <a:lnTo>
                    <a:pt x="8775" y="14325"/>
                  </a:lnTo>
                  <a:lnTo>
                    <a:pt x="8635" y="14419"/>
                  </a:lnTo>
                  <a:lnTo>
                    <a:pt x="8482" y="14508"/>
                  </a:lnTo>
                  <a:lnTo>
                    <a:pt x="8316" y="14591"/>
                  </a:lnTo>
                  <a:lnTo>
                    <a:pt x="8136" y="14670"/>
                  </a:lnTo>
                  <a:lnTo>
                    <a:pt x="7941" y="14744"/>
                  </a:lnTo>
                  <a:lnTo>
                    <a:pt x="7730" y="14812"/>
                  </a:lnTo>
                  <a:lnTo>
                    <a:pt x="7503" y="14875"/>
                  </a:lnTo>
                  <a:lnTo>
                    <a:pt x="7260" y="14930"/>
                  </a:lnTo>
                  <a:lnTo>
                    <a:pt x="6999" y="14980"/>
                  </a:lnTo>
                  <a:lnTo>
                    <a:pt x="6719" y="15023"/>
                  </a:lnTo>
                  <a:lnTo>
                    <a:pt x="6422" y="15058"/>
                  </a:lnTo>
                  <a:lnTo>
                    <a:pt x="6104" y="15086"/>
                  </a:lnTo>
                  <a:lnTo>
                    <a:pt x="5766" y="15107"/>
                  </a:lnTo>
                  <a:lnTo>
                    <a:pt x="5407" y="15120"/>
                  </a:lnTo>
                  <a:lnTo>
                    <a:pt x="5027" y="15124"/>
                  </a:lnTo>
                  <a:lnTo>
                    <a:pt x="4794" y="15119"/>
                  </a:lnTo>
                  <a:lnTo>
                    <a:pt x="4567" y="15103"/>
                  </a:lnTo>
                  <a:lnTo>
                    <a:pt x="4346" y="15077"/>
                  </a:lnTo>
                  <a:lnTo>
                    <a:pt x="4132" y="15042"/>
                  </a:lnTo>
                  <a:lnTo>
                    <a:pt x="3924" y="14998"/>
                  </a:lnTo>
                  <a:lnTo>
                    <a:pt x="3722" y="14944"/>
                  </a:lnTo>
                  <a:lnTo>
                    <a:pt x="3525" y="14882"/>
                  </a:lnTo>
                  <a:lnTo>
                    <a:pt x="3336" y="14811"/>
                  </a:lnTo>
                  <a:lnTo>
                    <a:pt x="3155" y="14734"/>
                  </a:lnTo>
                  <a:lnTo>
                    <a:pt x="2979" y="14648"/>
                  </a:lnTo>
                  <a:lnTo>
                    <a:pt x="2811" y="14554"/>
                  </a:lnTo>
                  <a:lnTo>
                    <a:pt x="2649" y="14454"/>
                  </a:lnTo>
                  <a:lnTo>
                    <a:pt x="2494" y="14347"/>
                  </a:lnTo>
                  <a:lnTo>
                    <a:pt x="2346" y="14235"/>
                  </a:lnTo>
                  <a:lnTo>
                    <a:pt x="2206" y="14117"/>
                  </a:lnTo>
                  <a:lnTo>
                    <a:pt x="2073" y="13992"/>
                  </a:lnTo>
                  <a:lnTo>
                    <a:pt x="1946" y="13863"/>
                  </a:lnTo>
                  <a:lnTo>
                    <a:pt x="1829" y="13729"/>
                  </a:lnTo>
                  <a:lnTo>
                    <a:pt x="1718" y="13590"/>
                  </a:lnTo>
                  <a:lnTo>
                    <a:pt x="1614" y="13448"/>
                  </a:lnTo>
                  <a:lnTo>
                    <a:pt x="1519" y="13302"/>
                  </a:lnTo>
                  <a:lnTo>
                    <a:pt x="1432" y="13152"/>
                  </a:lnTo>
                  <a:lnTo>
                    <a:pt x="1352" y="12998"/>
                  </a:lnTo>
                  <a:lnTo>
                    <a:pt x="1280" y="12843"/>
                  </a:lnTo>
                  <a:lnTo>
                    <a:pt x="1216" y="12685"/>
                  </a:lnTo>
                  <a:lnTo>
                    <a:pt x="1161" y="12524"/>
                  </a:lnTo>
                  <a:lnTo>
                    <a:pt x="1114" y="12363"/>
                  </a:lnTo>
                  <a:lnTo>
                    <a:pt x="1076" y="12200"/>
                  </a:lnTo>
                  <a:lnTo>
                    <a:pt x="1045" y="12035"/>
                  </a:lnTo>
                  <a:lnTo>
                    <a:pt x="1023" y="11870"/>
                  </a:lnTo>
                  <a:lnTo>
                    <a:pt x="1010" y="11706"/>
                  </a:lnTo>
                  <a:lnTo>
                    <a:pt x="1006" y="11540"/>
                  </a:lnTo>
                  <a:lnTo>
                    <a:pt x="1006" y="11414"/>
                  </a:lnTo>
                  <a:lnTo>
                    <a:pt x="1008" y="11289"/>
                  </a:lnTo>
                  <a:lnTo>
                    <a:pt x="1012" y="11166"/>
                  </a:lnTo>
                  <a:lnTo>
                    <a:pt x="1017" y="11044"/>
                  </a:lnTo>
                  <a:lnTo>
                    <a:pt x="1023" y="10924"/>
                  </a:lnTo>
                  <a:lnTo>
                    <a:pt x="1030" y="10804"/>
                  </a:lnTo>
                  <a:lnTo>
                    <a:pt x="1038" y="10686"/>
                  </a:lnTo>
                  <a:lnTo>
                    <a:pt x="1048" y="10568"/>
                  </a:lnTo>
                  <a:lnTo>
                    <a:pt x="1059" y="10453"/>
                  </a:lnTo>
                  <a:lnTo>
                    <a:pt x="1071" y="10337"/>
                  </a:lnTo>
                  <a:lnTo>
                    <a:pt x="1084" y="10222"/>
                  </a:lnTo>
                  <a:lnTo>
                    <a:pt x="1097" y="10108"/>
                  </a:lnTo>
                  <a:lnTo>
                    <a:pt x="1112" y="9995"/>
                  </a:lnTo>
                  <a:lnTo>
                    <a:pt x="1128" y="9883"/>
                  </a:lnTo>
                  <a:lnTo>
                    <a:pt x="1144" y="9771"/>
                  </a:lnTo>
                  <a:lnTo>
                    <a:pt x="1161" y="9659"/>
                  </a:lnTo>
                  <a:lnTo>
                    <a:pt x="1179" y="9548"/>
                  </a:lnTo>
                  <a:lnTo>
                    <a:pt x="1197" y="9438"/>
                  </a:lnTo>
                  <a:lnTo>
                    <a:pt x="1217" y="9328"/>
                  </a:lnTo>
                  <a:lnTo>
                    <a:pt x="1237" y="9218"/>
                  </a:lnTo>
                  <a:lnTo>
                    <a:pt x="1258" y="9110"/>
                  </a:lnTo>
                  <a:lnTo>
                    <a:pt x="1279" y="9001"/>
                  </a:lnTo>
                  <a:lnTo>
                    <a:pt x="1301" y="8892"/>
                  </a:lnTo>
                  <a:lnTo>
                    <a:pt x="1322" y="8783"/>
                  </a:lnTo>
                  <a:lnTo>
                    <a:pt x="1368" y="8565"/>
                  </a:lnTo>
                  <a:lnTo>
                    <a:pt x="1414" y="8348"/>
                  </a:lnTo>
                  <a:lnTo>
                    <a:pt x="1463" y="8130"/>
                  </a:lnTo>
                  <a:lnTo>
                    <a:pt x="1511" y="7911"/>
                  </a:lnTo>
                  <a:lnTo>
                    <a:pt x="1572" y="7631"/>
                  </a:lnTo>
                  <a:lnTo>
                    <a:pt x="1634" y="7351"/>
                  </a:lnTo>
                  <a:lnTo>
                    <a:pt x="1664" y="7210"/>
                  </a:lnTo>
                  <a:lnTo>
                    <a:pt x="1694" y="7068"/>
                  </a:lnTo>
                  <a:lnTo>
                    <a:pt x="1723" y="6926"/>
                  </a:lnTo>
                  <a:lnTo>
                    <a:pt x="1751" y="6782"/>
                  </a:lnTo>
                  <a:lnTo>
                    <a:pt x="1779" y="6638"/>
                  </a:lnTo>
                  <a:lnTo>
                    <a:pt x="1806" y="6493"/>
                  </a:lnTo>
                  <a:lnTo>
                    <a:pt x="1834" y="6347"/>
                  </a:lnTo>
                  <a:lnTo>
                    <a:pt x="1859" y="6200"/>
                  </a:lnTo>
                  <a:lnTo>
                    <a:pt x="1883" y="6051"/>
                  </a:lnTo>
                  <a:lnTo>
                    <a:pt x="1907" y="5901"/>
                  </a:lnTo>
                  <a:lnTo>
                    <a:pt x="1929" y="5750"/>
                  </a:lnTo>
                  <a:lnTo>
                    <a:pt x="1949" y="5598"/>
                  </a:lnTo>
                  <a:lnTo>
                    <a:pt x="1969" y="5444"/>
                  </a:lnTo>
                  <a:lnTo>
                    <a:pt x="1987" y="5287"/>
                  </a:lnTo>
                  <a:lnTo>
                    <a:pt x="2004" y="5130"/>
                  </a:lnTo>
                  <a:lnTo>
                    <a:pt x="2018" y="4971"/>
                  </a:lnTo>
                  <a:lnTo>
                    <a:pt x="2031" y="4809"/>
                  </a:lnTo>
                  <a:lnTo>
                    <a:pt x="2042" y="4646"/>
                  </a:lnTo>
                  <a:lnTo>
                    <a:pt x="2051" y="4482"/>
                  </a:lnTo>
                  <a:lnTo>
                    <a:pt x="2059" y="4314"/>
                  </a:lnTo>
                  <a:lnTo>
                    <a:pt x="2064" y="4145"/>
                  </a:lnTo>
                  <a:lnTo>
                    <a:pt x="2066" y="3973"/>
                  </a:lnTo>
                  <a:lnTo>
                    <a:pt x="2067" y="3798"/>
                  </a:lnTo>
                  <a:lnTo>
                    <a:pt x="2065" y="3622"/>
                  </a:lnTo>
                  <a:lnTo>
                    <a:pt x="2061" y="3443"/>
                  </a:lnTo>
                  <a:lnTo>
                    <a:pt x="2054" y="3261"/>
                  </a:lnTo>
                  <a:lnTo>
                    <a:pt x="2044" y="3076"/>
                  </a:lnTo>
                  <a:lnTo>
                    <a:pt x="2032" y="2890"/>
                  </a:lnTo>
                  <a:lnTo>
                    <a:pt x="2174" y="3093"/>
                  </a:lnTo>
                  <a:lnTo>
                    <a:pt x="2311" y="3300"/>
                  </a:lnTo>
                  <a:lnTo>
                    <a:pt x="2442" y="3510"/>
                  </a:lnTo>
                  <a:lnTo>
                    <a:pt x="2567" y="3722"/>
                  </a:lnTo>
                  <a:lnTo>
                    <a:pt x="2687" y="3935"/>
                  </a:lnTo>
                  <a:lnTo>
                    <a:pt x="2802" y="4150"/>
                  </a:lnTo>
                  <a:lnTo>
                    <a:pt x="2910" y="4365"/>
                  </a:lnTo>
                  <a:lnTo>
                    <a:pt x="3014" y="4578"/>
                  </a:lnTo>
                  <a:lnTo>
                    <a:pt x="3112" y="4792"/>
                  </a:lnTo>
                  <a:lnTo>
                    <a:pt x="3206" y="5003"/>
                  </a:lnTo>
                  <a:lnTo>
                    <a:pt x="3294" y="5213"/>
                  </a:lnTo>
                  <a:lnTo>
                    <a:pt x="3378" y="5418"/>
                  </a:lnTo>
                  <a:lnTo>
                    <a:pt x="3457" y="5620"/>
                  </a:lnTo>
                  <a:lnTo>
                    <a:pt x="3531" y="5818"/>
                  </a:lnTo>
                  <a:lnTo>
                    <a:pt x="3600" y="6011"/>
                  </a:lnTo>
                  <a:lnTo>
                    <a:pt x="3664" y="6198"/>
                  </a:lnTo>
                  <a:lnTo>
                    <a:pt x="3725" y="6379"/>
                  </a:lnTo>
                  <a:lnTo>
                    <a:pt x="3780" y="6553"/>
                  </a:lnTo>
                  <a:lnTo>
                    <a:pt x="3831" y="6719"/>
                  </a:lnTo>
                  <a:lnTo>
                    <a:pt x="3877" y="6877"/>
                  </a:lnTo>
                  <a:lnTo>
                    <a:pt x="3921" y="7026"/>
                  </a:lnTo>
                  <a:lnTo>
                    <a:pt x="3959" y="7166"/>
                  </a:lnTo>
                  <a:lnTo>
                    <a:pt x="3993" y="7295"/>
                  </a:lnTo>
                  <a:lnTo>
                    <a:pt x="4023" y="7414"/>
                  </a:lnTo>
                  <a:lnTo>
                    <a:pt x="4050" y="7521"/>
                  </a:lnTo>
                  <a:lnTo>
                    <a:pt x="4072" y="7615"/>
                  </a:lnTo>
                  <a:lnTo>
                    <a:pt x="4091" y="7697"/>
                  </a:lnTo>
                  <a:lnTo>
                    <a:pt x="4108" y="7766"/>
                  </a:lnTo>
                  <a:lnTo>
                    <a:pt x="4128" y="7860"/>
                  </a:lnTo>
                  <a:lnTo>
                    <a:pt x="4134" y="7893"/>
                  </a:lnTo>
                  <a:lnTo>
                    <a:pt x="4150" y="7869"/>
                  </a:lnTo>
                  <a:lnTo>
                    <a:pt x="4197" y="7804"/>
                  </a:lnTo>
                  <a:lnTo>
                    <a:pt x="4269" y="7699"/>
                  </a:lnTo>
                  <a:lnTo>
                    <a:pt x="4366" y="7560"/>
                  </a:lnTo>
                  <a:lnTo>
                    <a:pt x="4480" y="7392"/>
                  </a:lnTo>
                  <a:lnTo>
                    <a:pt x="4611" y="7200"/>
                  </a:lnTo>
                  <a:lnTo>
                    <a:pt x="4753" y="6987"/>
                  </a:lnTo>
                  <a:lnTo>
                    <a:pt x="4904" y="6758"/>
                  </a:lnTo>
                  <a:lnTo>
                    <a:pt x="4981" y="6640"/>
                  </a:lnTo>
                  <a:lnTo>
                    <a:pt x="5059" y="6519"/>
                  </a:lnTo>
                  <a:lnTo>
                    <a:pt x="5137" y="6396"/>
                  </a:lnTo>
                  <a:lnTo>
                    <a:pt x="5215" y="6273"/>
                  </a:lnTo>
                  <a:lnTo>
                    <a:pt x="5292" y="6149"/>
                  </a:lnTo>
                  <a:lnTo>
                    <a:pt x="5368" y="6025"/>
                  </a:lnTo>
                  <a:lnTo>
                    <a:pt x="5443" y="5901"/>
                  </a:lnTo>
                  <a:lnTo>
                    <a:pt x="5515" y="5779"/>
                  </a:lnTo>
                  <a:lnTo>
                    <a:pt x="5585" y="5659"/>
                  </a:lnTo>
                  <a:lnTo>
                    <a:pt x="5652" y="5541"/>
                  </a:lnTo>
                  <a:lnTo>
                    <a:pt x="5715" y="5426"/>
                  </a:lnTo>
                  <a:lnTo>
                    <a:pt x="5774" y="5315"/>
                  </a:lnTo>
                  <a:lnTo>
                    <a:pt x="5830" y="5208"/>
                  </a:lnTo>
                  <a:lnTo>
                    <a:pt x="5880" y="5106"/>
                  </a:lnTo>
                  <a:lnTo>
                    <a:pt x="5925" y="5008"/>
                  </a:lnTo>
                  <a:lnTo>
                    <a:pt x="5964" y="4916"/>
                  </a:lnTo>
                  <a:lnTo>
                    <a:pt x="5992" y="4978"/>
                  </a:lnTo>
                  <a:lnTo>
                    <a:pt x="6020" y="5046"/>
                  </a:lnTo>
                  <a:lnTo>
                    <a:pt x="6048" y="5124"/>
                  </a:lnTo>
                  <a:lnTo>
                    <a:pt x="6075" y="5209"/>
                  </a:lnTo>
                  <a:lnTo>
                    <a:pt x="6101" y="5300"/>
                  </a:lnTo>
                  <a:lnTo>
                    <a:pt x="6128" y="5399"/>
                  </a:lnTo>
                  <a:lnTo>
                    <a:pt x="6153" y="5505"/>
                  </a:lnTo>
                  <a:lnTo>
                    <a:pt x="6179" y="5617"/>
                  </a:lnTo>
                  <a:lnTo>
                    <a:pt x="6205" y="5736"/>
                  </a:lnTo>
                  <a:lnTo>
                    <a:pt x="6229" y="5861"/>
                  </a:lnTo>
                  <a:lnTo>
                    <a:pt x="6253" y="5991"/>
                  </a:lnTo>
                  <a:lnTo>
                    <a:pt x="6276" y="6127"/>
                  </a:lnTo>
                  <a:lnTo>
                    <a:pt x="6298" y="6267"/>
                  </a:lnTo>
                  <a:lnTo>
                    <a:pt x="6320" y="6413"/>
                  </a:lnTo>
                  <a:lnTo>
                    <a:pt x="6341" y="6564"/>
                  </a:lnTo>
                  <a:lnTo>
                    <a:pt x="6361" y="6719"/>
                  </a:lnTo>
                  <a:lnTo>
                    <a:pt x="6380" y="6878"/>
                  </a:lnTo>
                  <a:lnTo>
                    <a:pt x="6400" y="7041"/>
                  </a:lnTo>
                  <a:lnTo>
                    <a:pt x="6417" y="7208"/>
                  </a:lnTo>
                  <a:lnTo>
                    <a:pt x="6433" y="7377"/>
                  </a:lnTo>
                  <a:lnTo>
                    <a:pt x="6449" y="7550"/>
                  </a:lnTo>
                  <a:lnTo>
                    <a:pt x="6463" y="7726"/>
                  </a:lnTo>
                  <a:lnTo>
                    <a:pt x="6476" y="7904"/>
                  </a:lnTo>
                  <a:lnTo>
                    <a:pt x="6488" y="8085"/>
                  </a:lnTo>
                  <a:lnTo>
                    <a:pt x="6498" y="8268"/>
                  </a:lnTo>
                  <a:lnTo>
                    <a:pt x="6508" y="8451"/>
                  </a:lnTo>
                  <a:lnTo>
                    <a:pt x="6516" y="8637"/>
                  </a:lnTo>
                  <a:lnTo>
                    <a:pt x="6523" y="8824"/>
                  </a:lnTo>
                  <a:lnTo>
                    <a:pt x="6528" y="9012"/>
                  </a:lnTo>
                  <a:lnTo>
                    <a:pt x="6532" y="9200"/>
                  </a:lnTo>
                  <a:lnTo>
                    <a:pt x="6534" y="9390"/>
                  </a:lnTo>
                  <a:lnTo>
                    <a:pt x="6535" y="9578"/>
                  </a:lnTo>
                  <a:lnTo>
                    <a:pt x="6550" y="9565"/>
                  </a:lnTo>
                  <a:lnTo>
                    <a:pt x="6595" y="9528"/>
                  </a:lnTo>
                  <a:lnTo>
                    <a:pt x="6665" y="9465"/>
                  </a:lnTo>
                  <a:lnTo>
                    <a:pt x="6759" y="9380"/>
                  </a:lnTo>
                  <a:lnTo>
                    <a:pt x="6815" y="9329"/>
                  </a:lnTo>
                  <a:lnTo>
                    <a:pt x="6875" y="9272"/>
                  </a:lnTo>
                  <a:lnTo>
                    <a:pt x="6940" y="9209"/>
                  </a:lnTo>
                  <a:lnTo>
                    <a:pt x="7011" y="9142"/>
                  </a:lnTo>
                  <a:lnTo>
                    <a:pt x="7084" y="9069"/>
                  </a:lnTo>
                  <a:lnTo>
                    <a:pt x="7162" y="8991"/>
                  </a:lnTo>
                  <a:lnTo>
                    <a:pt x="7243" y="8908"/>
                  </a:lnTo>
                  <a:lnTo>
                    <a:pt x="7327" y="8819"/>
                  </a:lnTo>
                  <a:lnTo>
                    <a:pt x="7415" y="8726"/>
                  </a:lnTo>
                  <a:lnTo>
                    <a:pt x="7505" y="8629"/>
                  </a:lnTo>
                  <a:lnTo>
                    <a:pt x="7598" y="8527"/>
                  </a:lnTo>
                  <a:lnTo>
                    <a:pt x="7692" y="8420"/>
                  </a:lnTo>
                  <a:lnTo>
                    <a:pt x="7789" y="8308"/>
                  </a:lnTo>
                  <a:lnTo>
                    <a:pt x="7886" y="8192"/>
                  </a:lnTo>
                  <a:lnTo>
                    <a:pt x="7985" y="8072"/>
                  </a:lnTo>
                  <a:lnTo>
                    <a:pt x="8084" y="7948"/>
                  </a:lnTo>
                  <a:lnTo>
                    <a:pt x="8184" y="7820"/>
                  </a:lnTo>
                  <a:lnTo>
                    <a:pt x="8284" y="7688"/>
                  </a:lnTo>
                  <a:lnTo>
                    <a:pt x="8384" y="7552"/>
                  </a:lnTo>
                  <a:lnTo>
                    <a:pt x="8483" y="7412"/>
                  </a:lnTo>
                  <a:lnTo>
                    <a:pt x="8583" y="7268"/>
                  </a:lnTo>
                  <a:lnTo>
                    <a:pt x="8681" y="7121"/>
                  </a:lnTo>
                  <a:lnTo>
                    <a:pt x="8777" y="6971"/>
                  </a:lnTo>
                  <a:lnTo>
                    <a:pt x="8872" y="6817"/>
                  </a:lnTo>
                  <a:lnTo>
                    <a:pt x="8969" y="6995"/>
                  </a:lnTo>
                  <a:lnTo>
                    <a:pt x="9062" y="7174"/>
                  </a:lnTo>
                  <a:lnTo>
                    <a:pt x="9150" y="7352"/>
                  </a:lnTo>
                  <a:lnTo>
                    <a:pt x="9235" y="7532"/>
                  </a:lnTo>
                  <a:lnTo>
                    <a:pt x="9316" y="7710"/>
                  </a:lnTo>
                  <a:lnTo>
                    <a:pt x="9393" y="7890"/>
                  </a:lnTo>
                  <a:lnTo>
                    <a:pt x="9466" y="8069"/>
                  </a:lnTo>
                  <a:lnTo>
                    <a:pt x="9534" y="8248"/>
                  </a:lnTo>
                  <a:lnTo>
                    <a:pt x="9598" y="8428"/>
                  </a:lnTo>
                  <a:lnTo>
                    <a:pt x="9659" y="8607"/>
                  </a:lnTo>
                  <a:lnTo>
                    <a:pt x="9715" y="8787"/>
                  </a:lnTo>
                  <a:lnTo>
                    <a:pt x="9767" y="8965"/>
                  </a:lnTo>
                  <a:lnTo>
                    <a:pt x="9814" y="9144"/>
                  </a:lnTo>
                  <a:lnTo>
                    <a:pt x="9858" y="9321"/>
                  </a:lnTo>
                  <a:lnTo>
                    <a:pt x="9897" y="9499"/>
                  </a:lnTo>
                  <a:lnTo>
                    <a:pt x="9932" y="9675"/>
                  </a:lnTo>
                  <a:lnTo>
                    <a:pt x="9963" y="9852"/>
                  </a:lnTo>
                  <a:lnTo>
                    <a:pt x="9989" y="10027"/>
                  </a:lnTo>
                  <a:lnTo>
                    <a:pt x="10011" y="10201"/>
                  </a:lnTo>
                  <a:lnTo>
                    <a:pt x="10029" y="10375"/>
                  </a:lnTo>
                  <a:lnTo>
                    <a:pt x="10042" y="10547"/>
                  </a:lnTo>
                  <a:lnTo>
                    <a:pt x="10051" y="10720"/>
                  </a:lnTo>
                  <a:lnTo>
                    <a:pt x="10055" y="10890"/>
                  </a:lnTo>
                  <a:lnTo>
                    <a:pt x="10055" y="11059"/>
                  </a:lnTo>
                  <a:lnTo>
                    <a:pt x="10051" y="11227"/>
                  </a:lnTo>
                  <a:lnTo>
                    <a:pt x="10042" y="11394"/>
                  </a:lnTo>
                  <a:lnTo>
                    <a:pt x="10028" y="11559"/>
                  </a:lnTo>
                  <a:lnTo>
                    <a:pt x="10009" y="11723"/>
                  </a:lnTo>
                  <a:lnTo>
                    <a:pt x="9986" y="11885"/>
                  </a:lnTo>
                  <a:lnTo>
                    <a:pt x="9959" y="12046"/>
                  </a:lnTo>
                  <a:lnTo>
                    <a:pt x="9927" y="12205"/>
                  </a:lnTo>
                  <a:lnTo>
                    <a:pt x="9891" y="12362"/>
                  </a:lnTo>
                  <a:close/>
                  <a:moveTo>
                    <a:pt x="8546" y="4537"/>
                  </a:moveTo>
                  <a:lnTo>
                    <a:pt x="8540" y="4663"/>
                  </a:lnTo>
                  <a:lnTo>
                    <a:pt x="8529" y="4787"/>
                  </a:lnTo>
                  <a:lnTo>
                    <a:pt x="8513" y="4910"/>
                  </a:lnTo>
                  <a:lnTo>
                    <a:pt x="8492" y="5031"/>
                  </a:lnTo>
                  <a:lnTo>
                    <a:pt x="8467" y="5150"/>
                  </a:lnTo>
                  <a:lnTo>
                    <a:pt x="8438" y="5267"/>
                  </a:lnTo>
                  <a:lnTo>
                    <a:pt x="8406" y="5382"/>
                  </a:lnTo>
                  <a:lnTo>
                    <a:pt x="8370" y="5494"/>
                  </a:lnTo>
                  <a:lnTo>
                    <a:pt x="8332" y="5604"/>
                  </a:lnTo>
                  <a:lnTo>
                    <a:pt x="8290" y="5712"/>
                  </a:lnTo>
                  <a:lnTo>
                    <a:pt x="8247" y="5816"/>
                  </a:lnTo>
                  <a:lnTo>
                    <a:pt x="8203" y="5916"/>
                  </a:lnTo>
                  <a:lnTo>
                    <a:pt x="8157" y="6014"/>
                  </a:lnTo>
                  <a:lnTo>
                    <a:pt x="8110" y="6108"/>
                  </a:lnTo>
                  <a:lnTo>
                    <a:pt x="8061" y="6199"/>
                  </a:lnTo>
                  <a:lnTo>
                    <a:pt x="8014" y="6286"/>
                  </a:lnTo>
                  <a:lnTo>
                    <a:pt x="7966" y="6369"/>
                  </a:lnTo>
                  <a:lnTo>
                    <a:pt x="7919" y="6448"/>
                  </a:lnTo>
                  <a:lnTo>
                    <a:pt x="7871" y="6522"/>
                  </a:lnTo>
                  <a:lnTo>
                    <a:pt x="7826" y="6593"/>
                  </a:lnTo>
                  <a:lnTo>
                    <a:pt x="7782" y="6658"/>
                  </a:lnTo>
                  <a:lnTo>
                    <a:pt x="7741" y="6719"/>
                  </a:lnTo>
                  <a:lnTo>
                    <a:pt x="7700" y="6774"/>
                  </a:lnTo>
                  <a:lnTo>
                    <a:pt x="7663" y="6825"/>
                  </a:lnTo>
                  <a:lnTo>
                    <a:pt x="7629" y="6870"/>
                  </a:lnTo>
                  <a:lnTo>
                    <a:pt x="7599" y="6911"/>
                  </a:lnTo>
                  <a:lnTo>
                    <a:pt x="7572" y="6944"/>
                  </a:lnTo>
                  <a:lnTo>
                    <a:pt x="7549" y="6972"/>
                  </a:lnTo>
                  <a:lnTo>
                    <a:pt x="7516" y="7011"/>
                  </a:lnTo>
                  <a:lnTo>
                    <a:pt x="7505" y="7024"/>
                  </a:lnTo>
                  <a:lnTo>
                    <a:pt x="7499" y="6791"/>
                  </a:lnTo>
                  <a:lnTo>
                    <a:pt x="7483" y="6560"/>
                  </a:lnTo>
                  <a:lnTo>
                    <a:pt x="7456" y="6334"/>
                  </a:lnTo>
                  <a:lnTo>
                    <a:pt x="7420" y="6110"/>
                  </a:lnTo>
                  <a:lnTo>
                    <a:pt x="7376" y="5891"/>
                  </a:lnTo>
                  <a:lnTo>
                    <a:pt x="7322" y="5677"/>
                  </a:lnTo>
                  <a:lnTo>
                    <a:pt x="7263" y="5468"/>
                  </a:lnTo>
                  <a:lnTo>
                    <a:pt x="7197" y="5262"/>
                  </a:lnTo>
                  <a:lnTo>
                    <a:pt x="7124" y="5062"/>
                  </a:lnTo>
                  <a:lnTo>
                    <a:pt x="7047" y="4868"/>
                  </a:lnTo>
                  <a:lnTo>
                    <a:pt x="6966" y="4679"/>
                  </a:lnTo>
                  <a:lnTo>
                    <a:pt x="6880" y="4497"/>
                  </a:lnTo>
                  <a:lnTo>
                    <a:pt x="6792" y="4320"/>
                  </a:lnTo>
                  <a:lnTo>
                    <a:pt x="6702" y="4151"/>
                  </a:lnTo>
                  <a:lnTo>
                    <a:pt x="6610" y="3988"/>
                  </a:lnTo>
                  <a:lnTo>
                    <a:pt x="6517" y="3832"/>
                  </a:lnTo>
                  <a:lnTo>
                    <a:pt x="6425" y="3683"/>
                  </a:lnTo>
                  <a:lnTo>
                    <a:pt x="6333" y="3542"/>
                  </a:lnTo>
                  <a:lnTo>
                    <a:pt x="6243" y="3409"/>
                  </a:lnTo>
                  <a:lnTo>
                    <a:pt x="6154" y="3284"/>
                  </a:lnTo>
                  <a:lnTo>
                    <a:pt x="6070" y="3168"/>
                  </a:lnTo>
                  <a:lnTo>
                    <a:pt x="5987" y="3060"/>
                  </a:lnTo>
                  <a:lnTo>
                    <a:pt x="5911" y="2961"/>
                  </a:lnTo>
                  <a:lnTo>
                    <a:pt x="5839" y="2871"/>
                  </a:lnTo>
                  <a:lnTo>
                    <a:pt x="5772" y="2792"/>
                  </a:lnTo>
                  <a:lnTo>
                    <a:pt x="5712" y="2721"/>
                  </a:lnTo>
                  <a:lnTo>
                    <a:pt x="5660" y="2661"/>
                  </a:lnTo>
                  <a:lnTo>
                    <a:pt x="5614" y="2611"/>
                  </a:lnTo>
                  <a:lnTo>
                    <a:pt x="5552" y="2544"/>
                  </a:lnTo>
                  <a:lnTo>
                    <a:pt x="5530" y="2521"/>
                  </a:lnTo>
                  <a:lnTo>
                    <a:pt x="5529" y="2538"/>
                  </a:lnTo>
                  <a:lnTo>
                    <a:pt x="5527" y="2588"/>
                  </a:lnTo>
                  <a:lnTo>
                    <a:pt x="5524" y="2624"/>
                  </a:lnTo>
                  <a:lnTo>
                    <a:pt x="5521" y="2669"/>
                  </a:lnTo>
                  <a:lnTo>
                    <a:pt x="5516" y="2719"/>
                  </a:lnTo>
                  <a:lnTo>
                    <a:pt x="5510" y="2778"/>
                  </a:lnTo>
                  <a:lnTo>
                    <a:pt x="5503" y="2842"/>
                  </a:lnTo>
                  <a:lnTo>
                    <a:pt x="5493" y="2913"/>
                  </a:lnTo>
                  <a:lnTo>
                    <a:pt x="5482" y="2989"/>
                  </a:lnTo>
                  <a:lnTo>
                    <a:pt x="5469" y="3072"/>
                  </a:lnTo>
                  <a:lnTo>
                    <a:pt x="5453" y="3161"/>
                  </a:lnTo>
                  <a:lnTo>
                    <a:pt x="5435" y="3254"/>
                  </a:lnTo>
                  <a:lnTo>
                    <a:pt x="5414" y="3352"/>
                  </a:lnTo>
                  <a:lnTo>
                    <a:pt x="5391" y="3455"/>
                  </a:lnTo>
                  <a:lnTo>
                    <a:pt x="5365" y="3563"/>
                  </a:lnTo>
                  <a:lnTo>
                    <a:pt x="5336" y="3674"/>
                  </a:lnTo>
                  <a:lnTo>
                    <a:pt x="5304" y="3790"/>
                  </a:lnTo>
                  <a:lnTo>
                    <a:pt x="5268" y="3909"/>
                  </a:lnTo>
                  <a:lnTo>
                    <a:pt x="5227" y="4031"/>
                  </a:lnTo>
                  <a:lnTo>
                    <a:pt x="5184" y="4156"/>
                  </a:lnTo>
                  <a:lnTo>
                    <a:pt x="5137" y="4285"/>
                  </a:lnTo>
                  <a:lnTo>
                    <a:pt x="5086" y="4415"/>
                  </a:lnTo>
                  <a:lnTo>
                    <a:pt x="5029" y="4548"/>
                  </a:lnTo>
                  <a:lnTo>
                    <a:pt x="4969" y="4683"/>
                  </a:lnTo>
                  <a:lnTo>
                    <a:pt x="4904" y="4819"/>
                  </a:lnTo>
                  <a:lnTo>
                    <a:pt x="4834" y="4958"/>
                  </a:lnTo>
                  <a:lnTo>
                    <a:pt x="4759" y="5097"/>
                  </a:lnTo>
                  <a:lnTo>
                    <a:pt x="4680" y="5237"/>
                  </a:lnTo>
                  <a:lnTo>
                    <a:pt x="4594" y="5378"/>
                  </a:lnTo>
                  <a:lnTo>
                    <a:pt x="4503" y="5519"/>
                  </a:lnTo>
                  <a:lnTo>
                    <a:pt x="4403" y="5195"/>
                  </a:lnTo>
                  <a:lnTo>
                    <a:pt x="4293" y="4878"/>
                  </a:lnTo>
                  <a:lnTo>
                    <a:pt x="4173" y="4571"/>
                  </a:lnTo>
                  <a:lnTo>
                    <a:pt x="4043" y="4274"/>
                  </a:lnTo>
                  <a:lnTo>
                    <a:pt x="3906" y="3985"/>
                  </a:lnTo>
                  <a:lnTo>
                    <a:pt x="3762" y="3705"/>
                  </a:lnTo>
                  <a:lnTo>
                    <a:pt x="3611" y="3435"/>
                  </a:lnTo>
                  <a:lnTo>
                    <a:pt x="3455" y="3175"/>
                  </a:lnTo>
                  <a:lnTo>
                    <a:pt x="3295" y="2924"/>
                  </a:lnTo>
                  <a:lnTo>
                    <a:pt x="3131" y="2683"/>
                  </a:lnTo>
                  <a:lnTo>
                    <a:pt x="2965" y="2451"/>
                  </a:lnTo>
                  <a:lnTo>
                    <a:pt x="2797" y="2229"/>
                  </a:lnTo>
                  <a:lnTo>
                    <a:pt x="2628" y="2018"/>
                  </a:lnTo>
                  <a:lnTo>
                    <a:pt x="2459" y="1816"/>
                  </a:lnTo>
                  <a:lnTo>
                    <a:pt x="2292" y="1624"/>
                  </a:lnTo>
                  <a:lnTo>
                    <a:pt x="2126" y="1443"/>
                  </a:lnTo>
                  <a:lnTo>
                    <a:pt x="1964" y="1271"/>
                  </a:lnTo>
                  <a:lnTo>
                    <a:pt x="1805" y="1110"/>
                  </a:lnTo>
                  <a:lnTo>
                    <a:pt x="1651" y="960"/>
                  </a:lnTo>
                  <a:lnTo>
                    <a:pt x="1503" y="820"/>
                  </a:lnTo>
                  <a:lnTo>
                    <a:pt x="1361" y="691"/>
                  </a:lnTo>
                  <a:lnTo>
                    <a:pt x="1227" y="573"/>
                  </a:lnTo>
                  <a:lnTo>
                    <a:pt x="1102" y="465"/>
                  </a:lnTo>
                  <a:lnTo>
                    <a:pt x="985" y="368"/>
                  </a:lnTo>
                  <a:lnTo>
                    <a:pt x="879" y="283"/>
                  </a:lnTo>
                  <a:lnTo>
                    <a:pt x="784" y="209"/>
                  </a:lnTo>
                  <a:lnTo>
                    <a:pt x="701" y="145"/>
                  </a:lnTo>
                  <a:lnTo>
                    <a:pt x="631" y="93"/>
                  </a:lnTo>
                  <a:lnTo>
                    <a:pt x="534" y="23"/>
                  </a:lnTo>
                  <a:lnTo>
                    <a:pt x="501" y="0"/>
                  </a:lnTo>
                  <a:lnTo>
                    <a:pt x="630" y="507"/>
                  </a:lnTo>
                  <a:lnTo>
                    <a:pt x="742" y="995"/>
                  </a:lnTo>
                  <a:lnTo>
                    <a:pt x="834" y="1464"/>
                  </a:lnTo>
                  <a:lnTo>
                    <a:pt x="910" y="1916"/>
                  </a:lnTo>
                  <a:lnTo>
                    <a:pt x="968" y="2351"/>
                  </a:lnTo>
                  <a:lnTo>
                    <a:pt x="1011" y="2771"/>
                  </a:lnTo>
                  <a:lnTo>
                    <a:pt x="1040" y="3176"/>
                  </a:lnTo>
                  <a:lnTo>
                    <a:pt x="1056" y="3567"/>
                  </a:lnTo>
                  <a:lnTo>
                    <a:pt x="1059" y="3946"/>
                  </a:lnTo>
                  <a:lnTo>
                    <a:pt x="1050" y="4313"/>
                  </a:lnTo>
                  <a:lnTo>
                    <a:pt x="1030" y="4671"/>
                  </a:lnTo>
                  <a:lnTo>
                    <a:pt x="1001" y="5018"/>
                  </a:lnTo>
                  <a:lnTo>
                    <a:pt x="965" y="5358"/>
                  </a:lnTo>
                  <a:lnTo>
                    <a:pt x="920" y="5690"/>
                  </a:lnTo>
                  <a:lnTo>
                    <a:pt x="870" y="6014"/>
                  </a:lnTo>
                  <a:lnTo>
                    <a:pt x="813" y="6335"/>
                  </a:lnTo>
                  <a:lnTo>
                    <a:pt x="753" y="6650"/>
                  </a:lnTo>
                  <a:lnTo>
                    <a:pt x="689" y="6962"/>
                  </a:lnTo>
                  <a:lnTo>
                    <a:pt x="622" y="7271"/>
                  </a:lnTo>
                  <a:lnTo>
                    <a:pt x="554" y="7580"/>
                  </a:lnTo>
                  <a:lnTo>
                    <a:pt x="486" y="7888"/>
                  </a:lnTo>
                  <a:lnTo>
                    <a:pt x="418" y="8197"/>
                  </a:lnTo>
                  <a:lnTo>
                    <a:pt x="353" y="8507"/>
                  </a:lnTo>
                  <a:lnTo>
                    <a:pt x="290" y="8820"/>
                  </a:lnTo>
                  <a:lnTo>
                    <a:pt x="229" y="9137"/>
                  </a:lnTo>
                  <a:lnTo>
                    <a:pt x="175" y="9457"/>
                  </a:lnTo>
                  <a:lnTo>
                    <a:pt x="126" y="9784"/>
                  </a:lnTo>
                  <a:lnTo>
                    <a:pt x="83" y="10118"/>
                  </a:lnTo>
                  <a:lnTo>
                    <a:pt x="48" y="10460"/>
                  </a:lnTo>
                  <a:lnTo>
                    <a:pt x="22" y="10809"/>
                  </a:lnTo>
                  <a:lnTo>
                    <a:pt x="6" y="11169"/>
                  </a:lnTo>
                  <a:lnTo>
                    <a:pt x="0" y="11540"/>
                  </a:lnTo>
                  <a:lnTo>
                    <a:pt x="6" y="11760"/>
                  </a:lnTo>
                  <a:lnTo>
                    <a:pt x="23" y="11980"/>
                  </a:lnTo>
                  <a:lnTo>
                    <a:pt x="51" y="12198"/>
                  </a:lnTo>
                  <a:lnTo>
                    <a:pt x="91" y="12414"/>
                  </a:lnTo>
                  <a:lnTo>
                    <a:pt x="142" y="12627"/>
                  </a:lnTo>
                  <a:lnTo>
                    <a:pt x="203" y="12838"/>
                  </a:lnTo>
                  <a:lnTo>
                    <a:pt x="275" y="13047"/>
                  </a:lnTo>
                  <a:lnTo>
                    <a:pt x="358" y="13251"/>
                  </a:lnTo>
                  <a:lnTo>
                    <a:pt x="450" y="13452"/>
                  </a:lnTo>
                  <a:lnTo>
                    <a:pt x="554" y="13649"/>
                  </a:lnTo>
                  <a:lnTo>
                    <a:pt x="666" y="13841"/>
                  </a:lnTo>
                  <a:lnTo>
                    <a:pt x="789" y="14028"/>
                  </a:lnTo>
                  <a:lnTo>
                    <a:pt x="922" y="14210"/>
                  </a:lnTo>
                  <a:lnTo>
                    <a:pt x="1063" y="14386"/>
                  </a:lnTo>
                  <a:lnTo>
                    <a:pt x="1213" y="14556"/>
                  </a:lnTo>
                  <a:lnTo>
                    <a:pt x="1374" y="14719"/>
                  </a:lnTo>
                  <a:lnTo>
                    <a:pt x="1542" y="14876"/>
                  </a:lnTo>
                  <a:lnTo>
                    <a:pt x="1720" y="15025"/>
                  </a:lnTo>
                  <a:lnTo>
                    <a:pt x="1906" y="15167"/>
                  </a:lnTo>
                  <a:lnTo>
                    <a:pt x="2101" y="15300"/>
                  </a:lnTo>
                  <a:lnTo>
                    <a:pt x="2303" y="15425"/>
                  </a:lnTo>
                  <a:lnTo>
                    <a:pt x="2514" y="15541"/>
                  </a:lnTo>
                  <a:lnTo>
                    <a:pt x="2733" y="15648"/>
                  </a:lnTo>
                  <a:lnTo>
                    <a:pt x="2960" y="15746"/>
                  </a:lnTo>
                  <a:lnTo>
                    <a:pt x="3193" y="15834"/>
                  </a:lnTo>
                  <a:lnTo>
                    <a:pt x="3434" y="15910"/>
                  </a:lnTo>
                  <a:lnTo>
                    <a:pt x="3683" y="15977"/>
                  </a:lnTo>
                  <a:lnTo>
                    <a:pt x="3939" y="16031"/>
                  </a:lnTo>
                  <a:lnTo>
                    <a:pt x="4201" y="16075"/>
                  </a:lnTo>
                  <a:lnTo>
                    <a:pt x="4469" y="16107"/>
                  </a:lnTo>
                  <a:lnTo>
                    <a:pt x="4745" y="16126"/>
                  </a:lnTo>
                  <a:lnTo>
                    <a:pt x="5027" y="16132"/>
                  </a:lnTo>
                  <a:lnTo>
                    <a:pt x="5439" y="16127"/>
                  </a:lnTo>
                  <a:lnTo>
                    <a:pt x="5830" y="16113"/>
                  </a:lnTo>
                  <a:lnTo>
                    <a:pt x="6201" y="16090"/>
                  </a:lnTo>
                  <a:lnTo>
                    <a:pt x="6551" y="16057"/>
                  </a:lnTo>
                  <a:lnTo>
                    <a:pt x="6884" y="16016"/>
                  </a:lnTo>
                  <a:lnTo>
                    <a:pt x="7198" y="15967"/>
                  </a:lnTo>
                  <a:lnTo>
                    <a:pt x="7494" y="15909"/>
                  </a:lnTo>
                  <a:lnTo>
                    <a:pt x="7774" y="15844"/>
                  </a:lnTo>
                  <a:lnTo>
                    <a:pt x="8036" y="15771"/>
                  </a:lnTo>
                  <a:lnTo>
                    <a:pt x="8282" y="15690"/>
                  </a:lnTo>
                  <a:lnTo>
                    <a:pt x="8514" y="15603"/>
                  </a:lnTo>
                  <a:lnTo>
                    <a:pt x="8731" y="15509"/>
                  </a:lnTo>
                  <a:lnTo>
                    <a:pt x="8933" y="15408"/>
                  </a:lnTo>
                  <a:lnTo>
                    <a:pt x="9121" y="15301"/>
                  </a:lnTo>
                  <a:lnTo>
                    <a:pt x="9297" y="15188"/>
                  </a:lnTo>
                  <a:lnTo>
                    <a:pt x="9461" y="15069"/>
                  </a:lnTo>
                  <a:lnTo>
                    <a:pt x="9611" y="14945"/>
                  </a:lnTo>
                  <a:lnTo>
                    <a:pt x="9752" y="14816"/>
                  </a:lnTo>
                  <a:lnTo>
                    <a:pt x="9882" y="14681"/>
                  </a:lnTo>
                  <a:lnTo>
                    <a:pt x="10001" y="14543"/>
                  </a:lnTo>
                  <a:lnTo>
                    <a:pt x="10111" y="14399"/>
                  </a:lnTo>
                  <a:lnTo>
                    <a:pt x="10213" y="14252"/>
                  </a:lnTo>
                  <a:lnTo>
                    <a:pt x="10305" y="14100"/>
                  </a:lnTo>
                  <a:lnTo>
                    <a:pt x="10390" y="13945"/>
                  </a:lnTo>
                  <a:lnTo>
                    <a:pt x="10468" y="13787"/>
                  </a:lnTo>
                  <a:lnTo>
                    <a:pt x="10540" y="13625"/>
                  </a:lnTo>
                  <a:lnTo>
                    <a:pt x="10606" y="13461"/>
                  </a:lnTo>
                  <a:lnTo>
                    <a:pt x="10666" y="13294"/>
                  </a:lnTo>
                  <a:lnTo>
                    <a:pt x="10721" y="13124"/>
                  </a:lnTo>
                  <a:lnTo>
                    <a:pt x="10772" y="12954"/>
                  </a:lnTo>
                  <a:lnTo>
                    <a:pt x="10821" y="12781"/>
                  </a:lnTo>
                  <a:lnTo>
                    <a:pt x="10866" y="12606"/>
                  </a:lnTo>
                  <a:lnTo>
                    <a:pt x="10921" y="12364"/>
                  </a:lnTo>
                  <a:lnTo>
                    <a:pt x="10967" y="12119"/>
                  </a:lnTo>
                  <a:lnTo>
                    <a:pt x="11004" y="11873"/>
                  </a:lnTo>
                  <a:lnTo>
                    <a:pt x="11032" y="11624"/>
                  </a:lnTo>
                  <a:lnTo>
                    <a:pt x="11051" y="11374"/>
                  </a:lnTo>
                  <a:lnTo>
                    <a:pt x="11061" y="11122"/>
                  </a:lnTo>
                  <a:lnTo>
                    <a:pt x="11062" y="10868"/>
                  </a:lnTo>
                  <a:lnTo>
                    <a:pt x="11055" y="10614"/>
                  </a:lnTo>
                  <a:lnTo>
                    <a:pt x="11039" y="10358"/>
                  </a:lnTo>
                  <a:lnTo>
                    <a:pt x="11015" y="10101"/>
                  </a:lnTo>
                  <a:lnTo>
                    <a:pt x="10982" y="9843"/>
                  </a:lnTo>
                  <a:lnTo>
                    <a:pt x="10941" y="9584"/>
                  </a:lnTo>
                  <a:lnTo>
                    <a:pt x="10892" y="9325"/>
                  </a:lnTo>
                  <a:lnTo>
                    <a:pt x="10835" y="9066"/>
                  </a:lnTo>
                  <a:lnTo>
                    <a:pt x="10769" y="8807"/>
                  </a:lnTo>
                  <a:lnTo>
                    <a:pt x="10696" y="8548"/>
                  </a:lnTo>
                  <a:lnTo>
                    <a:pt x="10616" y="8289"/>
                  </a:lnTo>
                  <a:lnTo>
                    <a:pt x="10527" y="8031"/>
                  </a:lnTo>
                  <a:lnTo>
                    <a:pt x="10432" y="7772"/>
                  </a:lnTo>
                  <a:lnTo>
                    <a:pt x="10328" y="7514"/>
                  </a:lnTo>
                  <a:lnTo>
                    <a:pt x="10218" y="7257"/>
                  </a:lnTo>
                  <a:lnTo>
                    <a:pt x="10100" y="7002"/>
                  </a:lnTo>
                  <a:lnTo>
                    <a:pt x="9974" y="6747"/>
                  </a:lnTo>
                  <a:lnTo>
                    <a:pt x="9843" y="6494"/>
                  </a:lnTo>
                  <a:lnTo>
                    <a:pt x="9704" y="6243"/>
                  </a:lnTo>
                  <a:lnTo>
                    <a:pt x="9558" y="5993"/>
                  </a:lnTo>
                  <a:lnTo>
                    <a:pt x="9405" y="5745"/>
                  </a:lnTo>
                  <a:lnTo>
                    <a:pt x="9246" y="5498"/>
                  </a:lnTo>
                  <a:lnTo>
                    <a:pt x="9081" y="5254"/>
                  </a:lnTo>
                  <a:lnTo>
                    <a:pt x="8909" y="5013"/>
                  </a:lnTo>
                  <a:lnTo>
                    <a:pt x="8730" y="4774"/>
                  </a:lnTo>
                  <a:lnTo>
                    <a:pt x="8546" y="45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28" name="iśḻíḋé">
              <a:extLst>
                <a:ext uri="{FF2B5EF4-FFF2-40B4-BE49-F238E27FC236}">
                  <a16:creationId xmlns:a16="http://schemas.microsoft.com/office/drawing/2014/main" id="{0EF9BDB8-ACFB-4D9E-815C-A0D593EA1CDC}"/>
                </a:ext>
              </a:extLst>
            </p:cNvPr>
            <p:cNvSpPr/>
            <p:nvPr/>
          </p:nvSpPr>
          <p:spPr bwMode="auto">
            <a:xfrm>
              <a:off x="4899051" y="184152"/>
              <a:ext cx="153880" cy="124380"/>
            </a:xfrm>
            <a:custGeom>
              <a:avLst/>
              <a:gdLst>
                <a:gd name="T0" fmla="*/ 6161 w 7135"/>
                <a:gd name="T1" fmla="*/ 2475 h 5775"/>
                <a:gd name="T2" fmla="*/ 5762 w 7135"/>
                <a:gd name="T3" fmla="*/ 2876 h 5775"/>
                <a:gd name="T4" fmla="*/ 5263 w 7135"/>
                <a:gd name="T5" fmla="*/ 3283 h 5775"/>
                <a:gd name="T6" fmla="*/ 4610 w 7135"/>
                <a:gd name="T7" fmla="*/ 3704 h 5775"/>
                <a:gd name="T8" fmla="*/ 4041 w 7135"/>
                <a:gd name="T9" fmla="*/ 3621 h 5775"/>
                <a:gd name="T10" fmla="*/ 3918 w 7135"/>
                <a:gd name="T11" fmla="*/ 3141 h 5775"/>
                <a:gd name="T12" fmla="*/ 3836 w 7135"/>
                <a:gd name="T13" fmla="*/ 2666 h 5775"/>
                <a:gd name="T14" fmla="*/ 3788 w 7135"/>
                <a:gd name="T15" fmla="*/ 2122 h 5775"/>
                <a:gd name="T16" fmla="*/ 2970 w 7135"/>
                <a:gd name="T17" fmla="*/ 2186 h 5775"/>
                <a:gd name="T18" fmla="*/ 2646 w 7135"/>
                <a:gd name="T19" fmla="*/ 2694 h 5775"/>
                <a:gd name="T20" fmla="*/ 2288 w 7135"/>
                <a:gd name="T21" fmla="*/ 3226 h 5775"/>
                <a:gd name="T22" fmla="*/ 1744 w 7135"/>
                <a:gd name="T23" fmla="*/ 2191 h 5775"/>
                <a:gd name="T24" fmla="*/ 1302 w 7135"/>
                <a:gd name="T25" fmla="*/ 1101 h 5775"/>
                <a:gd name="T26" fmla="*/ 523 w 7135"/>
                <a:gd name="T27" fmla="*/ 1126 h 5775"/>
                <a:gd name="T28" fmla="*/ 322 w 7135"/>
                <a:gd name="T29" fmla="*/ 1803 h 5775"/>
                <a:gd name="T30" fmla="*/ 155 w 7135"/>
                <a:gd name="T31" fmla="*/ 2614 h 5775"/>
                <a:gd name="T32" fmla="*/ 42 w 7135"/>
                <a:gd name="T33" fmla="*/ 3654 h 5775"/>
                <a:gd name="T34" fmla="*/ 0 w 7135"/>
                <a:gd name="T35" fmla="*/ 5018 h 5775"/>
                <a:gd name="T36" fmla="*/ 15 w 7135"/>
                <a:gd name="T37" fmla="*/ 5105 h 5775"/>
                <a:gd name="T38" fmla="*/ 57 w 7135"/>
                <a:gd name="T39" fmla="*/ 5179 h 5775"/>
                <a:gd name="T40" fmla="*/ 120 w 7135"/>
                <a:gd name="T41" fmla="*/ 5234 h 5775"/>
                <a:gd name="T42" fmla="*/ 201 w 7135"/>
                <a:gd name="T43" fmla="*/ 5265 h 5775"/>
                <a:gd name="T44" fmla="*/ 289 w 7135"/>
                <a:gd name="T45" fmla="*/ 5267 h 5775"/>
                <a:gd name="T46" fmla="*/ 370 w 7135"/>
                <a:gd name="T47" fmla="*/ 5240 h 5775"/>
                <a:gd name="T48" fmla="*/ 437 w 7135"/>
                <a:gd name="T49" fmla="*/ 5188 h 5775"/>
                <a:gd name="T50" fmla="*/ 482 w 7135"/>
                <a:gd name="T51" fmla="*/ 5117 h 5775"/>
                <a:gd name="T52" fmla="*/ 502 w 7135"/>
                <a:gd name="T53" fmla="*/ 5032 h 5775"/>
                <a:gd name="T54" fmla="*/ 520 w 7135"/>
                <a:gd name="T55" fmla="*/ 4087 h 5775"/>
                <a:gd name="T56" fmla="*/ 584 w 7135"/>
                <a:gd name="T57" fmla="*/ 3203 h 5775"/>
                <a:gd name="T58" fmla="*/ 685 w 7135"/>
                <a:gd name="T59" fmla="*/ 2490 h 5775"/>
                <a:gd name="T60" fmla="*/ 816 w 7135"/>
                <a:gd name="T61" fmla="*/ 1897 h 5775"/>
                <a:gd name="T62" fmla="*/ 1026 w 7135"/>
                <a:gd name="T63" fmla="*/ 1774 h 5775"/>
                <a:gd name="T64" fmla="*/ 1436 w 7135"/>
                <a:gd name="T65" fmla="*/ 2753 h 5775"/>
                <a:gd name="T66" fmla="*/ 1949 w 7135"/>
                <a:gd name="T67" fmla="*/ 3914 h 5775"/>
                <a:gd name="T68" fmla="*/ 2728 w 7135"/>
                <a:gd name="T69" fmla="*/ 3474 h 5775"/>
                <a:gd name="T70" fmla="*/ 3116 w 7135"/>
                <a:gd name="T71" fmla="*/ 2895 h 5775"/>
                <a:gd name="T72" fmla="*/ 3343 w 7135"/>
                <a:gd name="T73" fmla="*/ 2782 h 5775"/>
                <a:gd name="T74" fmla="*/ 3419 w 7135"/>
                <a:gd name="T75" fmla="*/ 3221 h 5775"/>
                <a:gd name="T76" fmla="*/ 3595 w 7135"/>
                <a:gd name="T77" fmla="*/ 3883 h 5775"/>
                <a:gd name="T78" fmla="*/ 4108 w 7135"/>
                <a:gd name="T79" fmla="*/ 4532 h 5775"/>
                <a:gd name="T80" fmla="*/ 4902 w 7135"/>
                <a:gd name="T81" fmla="*/ 4116 h 5775"/>
                <a:gd name="T82" fmla="*/ 5527 w 7135"/>
                <a:gd name="T83" fmla="*/ 3714 h 5775"/>
                <a:gd name="T84" fmla="*/ 6017 w 7135"/>
                <a:gd name="T85" fmla="*/ 3324 h 5775"/>
                <a:gd name="T86" fmla="*/ 6411 w 7135"/>
                <a:gd name="T87" fmla="*/ 2943 h 5775"/>
                <a:gd name="T88" fmla="*/ 6624 w 7135"/>
                <a:gd name="T89" fmla="*/ 2997 h 5775"/>
                <a:gd name="T90" fmla="*/ 6623 w 7135"/>
                <a:gd name="T91" fmla="*/ 3626 h 5775"/>
                <a:gd name="T92" fmla="*/ 6567 w 7135"/>
                <a:gd name="T93" fmla="*/ 4245 h 5775"/>
                <a:gd name="T94" fmla="*/ 6457 w 7135"/>
                <a:gd name="T95" fmla="*/ 4831 h 5775"/>
                <a:gd name="T96" fmla="*/ 6297 w 7135"/>
                <a:gd name="T97" fmla="*/ 5360 h 5775"/>
                <a:gd name="T98" fmla="*/ 6251 w 7135"/>
                <a:gd name="T99" fmla="*/ 5502 h 5775"/>
                <a:gd name="T100" fmla="*/ 6259 w 7135"/>
                <a:gd name="T101" fmla="*/ 5587 h 5775"/>
                <a:gd name="T102" fmla="*/ 6295 w 7135"/>
                <a:gd name="T103" fmla="*/ 5664 h 5775"/>
                <a:gd name="T104" fmla="*/ 6353 w 7135"/>
                <a:gd name="T105" fmla="*/ 5726 h 5775"/>
                <a:gd name="T106" fmla="*/ 6431 w 7135"/>
                <a:gd name="T107" fmla="*/ 5765 h 5775"/>
                <a:gd name="T108" fmla="*/ 6522 w 7135"/>
                <a:gd name="T109" fmla="*/ 5775 h 5775"/>
                <a:gd name="T110" fmla="*/ 6641 w 7135"/>
                <a:gd name="T111" fmla="*/ 5733 h 5775"/>
                <a:gd name="T112" fmla="*/ 6728 w 7135"/>
                <a:gd name="T113" fmla="*/ 5635 h 5775"/>
                <a:gd name="T114" fmla="*/ 6926 w 7135"/>
                <a:gd name="T115" fmla="*/ 5033 h 5775"/>
                <a:gd name="T116" fmla="*/ 7072 w 7135"/>
                <a:gd name="T117" fmla="*/ 4273 h 5775"/>
                <a:gd name="T118" fmla="*/ 7134 w 7135"/>
                <a:gd name="T119" fmla="*/ 3469 h 5775"/>
                <a:gd name="T120" fmla="*/ 7108 w 7135"/>
                <a:gd name="T121" fmla="*/ 2658 h 5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135" h="5775">
                  <a:moveTo>
                    <a:pt x="6940" y="1575"/>
                  </a:moveTo>
                  <a:lnTo>
                    <a:pt x="6513" y="2072"/>
                  </a:lnTo>
                  <a:lnTo>
                    <a:pt x="6413" y="2188"/>
                  </a:lnTo>
                  <a:lnTo>
                    <a:pt x="6314" y="2303"/>
                  </a:lnTo>
                  <a:lnTo>
                    <a:pt x="6263" y="2361"/>
                  </a:lnTo>
                  <a:lnTo>
                    <a:pt x="6212" y="2418"/>
                  </a:lnTo>
                  <a:lnTo>
                    <a:pt x="6161" y="2475"/>
                  </a:lnTo>
                  <a:lnTo>
                    <a:pt x="6108" y="2532"/>
                  </a:lnTo>
                  <a:lnTo>
                    <a:pt x="6053" y="2590"/>
                  </a:lnTo>
                  <a:lnTo>
                    <a:pt x="5999" y="2647"/>
                  </a:lnTo>
                  <a:lnTo>
                    <a:pt x="5942" y="2704"/>
                  </a:lnTo>
                  <a:lnTo>
                    <a:pt x="5883" y="2761"/>
                  </a:lnTo>
                  <a:lnTo>
                    <a:pt x="5824" y="2818"/>
                  </a:lnTo>
                  <a:lnTo>
                    <a:pt x="5762" y="2876"/>
                  </a:lnTo>
                  <a:lnTo>
                    <a:pt x="5698" y="2933"/>
                  </a:lnTo>
                  <a:lnTo>
                    <a:pt x="5632" y="2992"/>
                  </a:lnTo>
                  <a:lnTo>
                    <a:pt x="5564" y="3049"/>
                  </a:lnTo>
                  <a:lnTo>
                    <a:pt x="5492" y="3108"/>
                  </a:lnTo>
                  <a:lnTo>
                    <a:pt x="5419" y="3166"/>
                  </a:lnTo>
                  <a:lnTo>
                    <a:pt x="5343" y="3225"/>
                  </a:lnTo>
                  <a:lnTo>
                    <a:pt x="5263" y="3283"/>
                  </a:lnTo>
                  <a:lnTo>
                    <a:pt x="5181" y="3343"/>
                  </a:lnTo>
                  <a:lnTo>
                    <a:pt x="5094" y="3402"/>
                  </a:lnTo>
                  <a:lnTo>
                    <a:pt x="5005" y="3462"/>
                  </a:lnTo>
                  <a:lnTo>
                    <a:pt x="4912" y="3521"/>
                  </a:lnTo>
                  <a:lnTo>
                    <a:pt x="4815" y="3582"/>
                  </a:lnTo>
                  <a:lnTo>
                    <a:pt x="4714" y="3642"/>
                  </a:lnTo>
                  <a:lnTo>
                    <a:pt x="4610" y="3704"/>
                  </a:lnTo>
                  <a:lnTo>
                    <a:pt x="4500" y="3765"/>
                  </a:lnTo>
                  <a:lnTo>
                    <a:pt x="4387" y="3828"/>
                  </a:lnTo>
                  <a:lnTo>
                    <a:pt x="4268" y="3890"/>
                  </a:lnTo>
                  <a:lnTo>
                    <a:pt x="4145" y="3953"/>
                  </a:lnTo>
                  <a:lnTo>
                    <a:pt x="4110" y="3844"/>
                  </a:lnTo>
                  <a:lnTo>
                    <a:pt x="4075" y="3734"/>
                  </a:lnTo>
                  <a:lnTo>
                    <a:pt x="4041" y="3621"/>
                  </a:lnTo>
                  <a:lnTo>
                    <a:pt x="4008" y="3506"/>
                  </a:lnTo>
                  <a:lnTo>
                    <a:pt x="3991" y="3448"/>
                  </a:lnTo>
                  <a:lnTo>
                    <a:pt x="3976" y="3388"/>
                  </a:lnTo>
                  <a:lnTo>
                    <a:pt x="3961" y="3328"/>
                  </a:lnTo>
                  <a:lnTo>
                    <a:pt x="3946" y="3266"/>
                  </a:lnTo>
                  <a:lnTo>
                    <a:pt x="3931" y="3204"/>
                  </a:lnTo>
                  <a:lnTo>
                    <a:pt x="3918" y="3141"/>
                  </a:lnTo>
                  <a:lnTo>
                    <a:pt x="3904" y="3077"/>
                  </a:lnTo>
                  <a:lnTo>
                    <a:pt x="3891" y="3011"/>
                  </a:lnTo>
                  <a:lnTo>
                    <a:pt x="3879" y="2944"/>
                  </a:lnTo>
                  <a:lnTo>
                    <a:pt x="3867" y="2877"/>
                  </a:lnTo>
                  <a:lnTo>
                    <a:pt x="3856" y="2807"/>
                  </a:lnTo>
                  <a:lnTo>
                    <a:pt x="3846" y="2738"/>
                  </a:lnTo>
                  <a:lnTo>
                    <a:pt x="3836" y="2666"/>
                  </a:lnTo>
                  <a:lnTo>
                    <a:pt x="3827" y="2593"/>
                  </a:lnTo>
                  <a:lnTo>
                    <a:pt x="3819" y="2518"/>
                  </a:lnTo>
                  <a:lnTo>
                    <a:pt x="3811" y="2442"/>
                  </a:lnTo>
                  <a:lnTo>
                    <a:pt x="3803" y="2365"/>
                  </a:lnTo>
                  <a:lnTo>
                    <a:pt x="3797" y="2285"/>
                  </a:lnTo>
                  <a:lnTo>
                    <a:pt x="3792" y="2204"/>
                  </a:lnTo>
                  <a:lnTo>
                    <a:pt x="3788" y="2122"/>
                  </a:lnTo>
                  <a:lnTo>
                    <a:pt x="3785" y="2038"/>
                  </a:lnTo>
                  <a:lnTo>
                    <a:pt x="3782" y="1951"/>
                  </a:lnTo>
                  <a:lnTo>
                    <a:pt x="3781" y="1864"/>
                  </a:lnTo>
                  <a:lnTo>
                    <a:pt x="3780" y="1774"/>
                  </a:lnTo>
                  <a:lnTo>
                    <a:pt x="3780" y="912"/>
                  </a:lnTo>
                  <a:lnTo>
                    <a:pt x="3017" y="2111"/>
                  </a:lnTo>
                  <a:lnTo>
                    <a:pt x="2970" y="2186"/>
                  </a:lnTo>
                  <a:lnTo>
                    <a:pt x="2923" y="2261"/>
                  </a:lnTo>
                  <a:lnTo>
                    <a:pt x="2877" y="2334"/>
                  </a:lnTo>
                  <a:lnTo>
                    <a:pt x="2830" y="2407"/>
                  </a:lnTo>
                  <a:lnTo>
                    <a:pt x="2785" y="2479"/>
                  </a:lnTo>
                  <a:lnTo>
                    <a:pt x="2739" y="2550"/>
                  </a:lnTo>
                  <a:lnTo>
                    <a:pt x="2693" y="2622"/>
                  </a:lnTo>
                  <a:lnTo>
                    <a:pt x="2646" y="2694"/>
                  </a:lnTo>
                  <a:lnTo>
                    <a:pt x="2599" y="2766"/>
                  </a:lnTo>
                  <a:lnTo>
                    <a:pt x="2551" y="2840"/>
                  </a:lnTo>
                  <a:lnTo>
                    <a:pt x="2502" y="2913"/>
                  </a:lnTo>
                  <a:lnTo>
                    <a:pt x="2450" y="2989"/>
                  </a:lnTo>
                  <a:lnTo>
                    <a:pt x="2398" y="3066"/>
                  </a:lnTo>
                  <a:lnTo>
                    <a:pt x="2344" y="3145"/>
                  </a:lnTo>
                  <a:lnTo>
                    <a:pt x="2288" y="3226"/>
                  </a:lnTo>
                  <a:lnTo>
                    <a:pt x="2229" y="3308"/>
                  </a:lnTo>
                  <a:lnTo>
                    <a:pt x="2141" y="3108"/>
                  </a:lnTo>
                  <a:lnTo>
                    <a:pt x="2055" y="2913"/>
                  </a:lnTo>
                  <a:lnTo>
                    <a:pt x="1973" y="2724"/>
                  </a:lnTo>
                  <a:lnTo>
                    <a:pt x="1893" y="2541"/>
                  </a:lnTo>
                  <a:lnTo>
                    <a:pt x="1817" y="2364"/>
                  </a:lnTo>
                  <a:lnTo>
                    <a:pt x="1744" y="2191"/>
                  </a:lnTo>
                  <a:lnTo>
                    <a:pt x="1672" y="2023"/>
                  </a:lnTo>
                  <a:lnTo>
                    <a:pt x="1605" y="1861"/>
                  </a:lnTo>
                  <a:lnTo>
                    <a:pt x="1540" y="1701"/>
                  </a:lnTo>
                  <a:lnTo>
                    <a:pt x="1476" y="1546"/>
                  </a:lnTo>
                  <a:lnTo>
                    <a:pt x="1416" y="1395"/>
                  </a:lnTo>
                  <a:lnTo>
                    <a:pt x="1358" y="1247"/>
                  </a:lnTo>
                  <a:lnTo>
                    <a:pt x="1302" y="1101"/>
                  </a:lnTo>
                  <a:lnTo>
                    <a:pt x="1249" y="959"/>
                  </a:lnTo>
                  <a:lnTo>
                    <a:pt x="1197" y="819"/>
                  </a:lnTo>
                  <a:lnTo>
                    <a:pt x="1148" y="681"/>
                  </a:lnTo>
                  <a:lnTo>
                    <a:pt x="907" y="0"/>
                  </a:lnTo>
                  <a:lnTo>
                    <a:pt x="646" y="762"/>
                  </a:lnTo>
                  <a:lnTo>
                    <a:pt x="584" y="943"/>
                  </a:lnTo>
                  <a:lnTo>
                    <a:pt x="523" y="1126"/>
                  </a:lnTo>
                  <a:lnTo>
                    <a:pt x="493" y="1217"/>
                  </a:lnTo>
                  <a:lnTo>
                    <a:pt x="463" y="1311"/>
                  </a:lnTo>
                  <a:lnTo>
                    <a:pt x="434" y="1406"/>
                  </a:lnTo>
                  <a:lnTo>
                    <a:pt x="405" y="1502"/>
                  </a:lnTo>
                  <a:lnTo>
                    <a:pt x="377" y="1599"/>
                  </a:lnTo>
                  <a:lnTo>
                    <a:pt x="348" y="1700"/>
                  </a:lnTo>
                  <a:lnTo>
                    <a:pt x="322" y="1803"/>
                  </a:lnTo>
                  <a:lnTo>
                    <a:pt x="295" y="1908"/>
                  </a:lnTo>
                  <a:lnTo>
                    <a:pt x="270" y="2017"/>
                  </a:lnTo>
                  <a:lnTo>
                    <a:pt x="245" y="2129"/>
                  </a:lnTo>
                  <a:lnTo>
                    <a:pt x="221" y="2244"/>
                  </a:lnTo>
                  <a:lnTo>
                    <a:pt x="199" y="2363"/>
                  </a:lnTo>
                  <a:lnTo>
                    <a:pt x="176" y="2487"/>
                  </a:lnTo>
                  <a:lnTo>
                    <a:pt x="155" y="2614"/>
                  </a:lnTo>
                  <a:lnTo>
                    <a:pt x="135" y="2747"/>
                  </a:lnTo>
                  <a:lnTo>
                    <a:pt x="116" y="2884"/>
                  </a:lnTo>
                  <a:lnTo>
                    <a:pt x="99" y="3026"/>
                  </a:lnTo>
                  <a:lnTo>
                    <a:pt x="83" y="3174"/>
                  </a:lnTo>
                  <a:lnTo>
                    <a:pt x="68" y="3329"/>
                  </a:lnTo>
                  <a:lnTo>
                    <a:pt x="54" y="3488"/>
                  </a:lnTo>
                  <a:lnTo>
                    <a:pt x="42" y="3654"/>
                  </a:lnTo>
                  <a:lnTo>
                    <a:pt x="31" y="3828"/>
                  </a:lnTo>
                  <a:lnTo>
                    <a:pt x="22" y="4007"/>
                  </a:lnTo>
                  <a:lnTo>
                    <a:pt x="14" y="4194"/>
                  </a:lnTo>
                  <a:lnTo>
                    <a:pt x="8" y="4388"/>
                  </a:lnTo>
                  <a:lnTo>
                    <a:pt x="4" y="4590"/>
                  </a:lnTo>
                  <a:lnTo>
                    <a:pt x="1" y="4801"/>
                  </a:lnTo>
                  <a:lnTo>
                    <a:pt x="0" y="5018"/>
                  </a:lnTo>
                  <a:lnTo>
                    <a:pt x="0" y="5032"/>
                  </a:lnTo>
                  <a:lnTo>
                    <a:pt x="1" y="5045"/>
                  </a:lnTo>
                  <a:lnTo>
                    <a:pt x="3" y="5057"/>
                  </a:lnTo>
                  <a:lnTo>
                    <a:pt x="5" y="5070"/>
                  </a:lnTo>
                  <a:lnTo>
                    <a:pt x="8" y="5082"/>
                  </a:lnTo>
                  <a:lnTo>
                    <a:pt x="11" y="5094"/>
                  </a:lnTo>
                  <a:lnTo>
                    <a:pt x="15" y="5105"/>
                  </a:lnTo>
                  <a:lnTo>
                    <a:pt x="20" y="5117"/>
                  </a:lnTo>
                  <a:lnTo>
                    <a:pt x="25" y="5128"/>
                  </a:lnTo>
                  <a:lnTo>
                    <a:pt x="30" y="5138"/>
                  </a:lnTo>
                  <a:lnTo>
                    <a:pt x="36" y="5150"/>
                  </a:lnTo>
                  <a:lnTo>
                    <a:pt x="43" y="5160"/>
                  </a:lnTo>
                  <a:lnTo>
                    <a:pt x="50" y="5170"/>
                  </a:lnTo>
                  <a:lnTo>
                    <a:pt x="57" y="5179"/>
                  </a:lnTo>
                  <a:lnTo>
                    <a:pt x="65" y="5188"/>
                  </a:lnTo>
                  <a:lnTo>
                    <a:pt x="73" y="5197"/>
                  </a:lnTo>
                  <a:lnTo>
                    <a:pt x="82" y="5205"/>
                  </a:lnTo>
                  <a:lnTo>
                    <a:pt x="91" y="5213"/>
                  </a:lnTo>
                  <a:lnTo>
                    <a:pt x="100" y="5221"/>
                  </a:lnTo>
                  <a:lnTo>
                    <a:pt x="110" y="5228"/>
                  </a:lnTo>
                  <a:lnTo>
                    <a:pt x="120" y="5234"/>
                  </a:lnTo>
                  <a:lnTo>
                    <a:pt x="131" y="5240"/>
                  </a:lnTo>
                  <a:lnTo>
                    <a:pt x="141" y="5246"/>
                  </a:lnTo>
                  <a:lnTo>
                    <a:pt x="152" y="5251"/>
                  </a:lnTo>
                  <a:lnTo>
                    <a:pt x="164" y="5255"/>
                  </a:lnTo>
                  <a:lnTo>
                    <a:pt x="176" y="5259"/>
                  </a:lnTo>
                  <a:lnTo>
                    <a:pt x="188" y="5262"/>
                  </a:lnTo>
                  <a:lnTo>
                    <a:pt x="201" y="5265"/>
                  </a:lnTo>
                  <a:lnTo>
                    <a:pt x="213" y="5267"/>
                  </a:lnTo>
                  <a:lnTo>
                    <a:pt x="225" y="5270"/>
                  </a:lnTo>
                  <a:lnTo>
                    <a:pt x="238" y="5271"/>
                  </a:lnTo>
                  <a:lnTo>
                    <a:pt x="251" y="5271"/>
                  </a:lnTo>
                  <a:lnTo>
                    <a:pt x="264" y="5271"/>
                  </a:lnTo>
                  <a:lnTo>
                    <a:pt x="277" y="5270"/>
                  </a:lnTo>
                  <a:lnTo>
                    <a:pt x="289" y="5267"/>
                  </a:lnTo>
                  <a:lnTo>
                    <a:pt x="301" y="5265"/>
                  </a:lnTo>
                  <a:lnTo>
                    <a:pt x="313" y="5262"/>
                  </a:lnTo>
                  <a:lnTo>
                    <a:pt x="325" y="5259"/>
                  </a:lnTo>
                  <a:lnTo>
                    <a:pt x="337" y="5255"/>
                  </a:lnTo>
                  <a:lnTo>
                    <a:pt x="348" y="5251"/>
                  </a:lnTo>
                  <a:lnTo>
                    <a:pt x="359" y="5246"/>
                  </a:lnTo>
                  <a:lnTo>
                    <a:pt x="370" y="5240"/>
                  </a:lnTo>
                  <a:lnTo>
                    <a:pt x="382" y="5234"/>
                  </a:lnTo>
                  <a:lnTo>
                    <a:pt x="392" y="5228"/>
                  </a:lnTo>
                  <a:lnTo>
                    <a:pt x="402" y="5221"/>
                  </a:lnTo>
                  <a:lnTo>
                    <a:pt x="411" y="5213"/>
                  </a:lnTo>
                  <a:lnTo>
                    <a:pt x="420" y="5205"/>
                  </a:lnTo>
                  <a:lnTo>
                    <a:pt x="429" y="5197"/>
                  </a:lnTo>
                  <a:lnTo>
                    <a:pt x="437" y="5188"/>
                  </a:lnTo>
                  <a:lnTo>
                    <a:pt x="445" y="5179"/>
                  </a:lnTo>
                  <a:lnTo>
                    <a:pt x="452" y="5170"/>
                  </a:lnTo>
                  <a:lnTo>
                    <a:pt x="459" y="5160"/>
                  </a:lnTo>
                  <a:lnTo>
                    <a:pt x="466" y="5150"/>
                  </a:lnTo>
                  <a:lnTo>
                    <a:pt x="472" y="5138"/>
                  </a:lnTo>
                  <a:lnTo>
                    <a:pt x="477" y="5128"/>
                  </a:lnTo>
                  <a:lnTo>
                    <a:pt x="482" y="5117"/>
                  </a:lnTo>
                  <a:lnTo>
                    <a:pt x="487" y="5105"/>
                  </a:lnTo>
                  <a:lnTo>
                    <a:pt x="491" y="5094"/>
                  </a:lnTo>
                  <a:lnTo>
                    <a:pt x="494" y="5082"/>
                  </a:lnTo>
                  <a:lnTo>
                    <a:pt x="497" y="5070"/>
                  </a:lnTo>
                  <a:lnTo>
                    <a:pt x="499" y="5057"/>
                  </a:lnTo>
                  <a:lnTo>
                    <a:pt x="501" y="5045"/>
                  </a:lnTo>
                  <a:lnTo>
                    <a:pt x="502" y="5032"/>
                  </a:lnTo>
                  <a:lnTo>
                    <a:pt x="502" y="5018"/>
                  </a:lnTo>
                  <a:lnTo>
                    <a:pt x="503" y="4851"/>
                  </a:lnTo>
                  <a:lnTo>
                    <a:pt x="504" y="4688"/>
                  </a:lnTo>
                  <a:lnTo>
                    <a:pt x="507" y="4530"/>
                  </a:lnTo>
                  <a:lnTo>
                    <a:pt x="510" y="4378"/>
                  </a:lnTo>
                  <a:lnTo>
                    <a:pt x="515" y="4230"/>
                  </a:lnTo>
                  <a:lnTo>
                    <a:pt x="520" y="4087"/>
                  </a:lnTo>
                  <a:lnTo>
                    <a:pt x="527" y="3949"/>
                  </a:lnTo>
                  <a:lnTo>
                    <a:pt x="534" y="3814"/>
                  </a:lnTo>
                  <a:lnTo>
                    <a:pt x="542" y="3684"/>
                  </a:lnTo>
                  <a:lnTo>
                    <a:pt x="551" y="3557"/>
                  </a:lnTo>
                  <a:lnTo>
                    <a:pt x="562" y="3435"/>
                  </a:lnTo>
                  <a:lnTo>
                    <a:pt x="573" y="3318"/>
                  </a:lnTo>
                  <a:lnTo>
                    <a:pt x="584" y="3203"/>
                  </a:lnTo>
                  <a:lnTo>
                    <a:pt x="596" y="3092"/>
                  </a:lnTo>
                  <a:lnTo>
                    <a:pt x="609" y="2984"/>
                  </a:lnTo>
                  <a:lnTo>
                    <a:pt x="623" y="2879"/>
                  </a:lnTo>
                  <a:lnTo>
                    <a:pt x="637" y="2777"/>
                  </a:lnTo>
                  <a:lnTo>
                    <a:pt x="653" y="2678"/>
                  </a:lnTo>
                  <a:lnTo>
                    <a:pt x="668" y="2583"/>
                  </a:lnTo>
                  <a:lnTo>
                    <a:pt x="685" y="2490"/>
                  </a:lnTo>
                  <a:lnTo>
                    <a:pt x="702" y="2398"/>
                  </a:lnTo>
                  <a:lnTo>
                    <a:pt x="719" y="2310"/>
                  </a:lnTo>
                  <a:lnTo>
                    <a:pt x="737" y="2224"/>
                  </a:lnTo>
                  <a:lnTo>
                    <a:pt x="757" y="2139"/>
                  </a:lnTo>
                  <a:lnTo>
                    <a:pt x="776" y="2056"/>
                  </a:lnTo>
                  <a:lnTo>
                    <a:pt x="796" y="1976"/>
                  </a:lnTo>
                  <a:lnTo>
                    <a:pt x="816" y="1897"/>
                  </a:lnTo>
                  <a:lnTo>
                    <a:pt x="837" y="1819"/>
                  </a:lnTo>
                  <a:lnTo>
                    <a:pt x="858" y="1743"/>
                  </a:lnTo>
                  <a:lnTo>
                    <a:pt x="880" y="1667"/>
                  </a:lnTo>
                  <a:lnTo>
                    <a:pt x="902" y="1593"/>
                  </a:lnTo>
                  <a:lnTo>
                    <a:pt x="924" y="1520"/>
                  </a:lnTo>
                  <a:lnTo>
                    <a:pt x="975" y="1646"/>
                  </a:lnTo>
                  <a:lnTo>
                    <a:pt x="1026" y="1774"/>
                  </a:lnTo>
                  <a:lnTo>
                    <a:pt x="1079" y="1905"/>
                  </a:lnTo>
                  <a:lnTo>
                    <a:pt x="1134" y="2038"/>
                  </a:lnTo>
                  <a:lnTo>
                    <a:pt x="1191" y="2175"/>
                  </a:lnTo>
                  <a:lnTo>
                    <a:pt x="1249" y="2314"/>
                  </a:lnTo>
                  <a:lnTo>
                    <a:pt x="1309" y="2456"/>
                  </a:lnTo>
                  <a:lnTo>
                    <a:pt x="1372" y="2603"/>
                  </a:lnTo>
                  <a:lnTo>
                    <a:pt x="1436" y="2753"/>
                  </a:lnTo>
                  <a:lnTo>
                    <a:pt x="1503" y="2906"/>
                  </a:lnTo>
                  <a:lnTo>
                    <a:pt x="1572" y="3063"/>
                  </a:lnTo>
                  <a:lnTo>
                    <a:pt x="1642" y="3225"/>
                  </a:lnTo>
                  <a:lnTo>
                    <a:pt x="1716" y="3390"/>
                  </a:lnTo>
                  <a:lnTo>
                    <a:pt x="1791" y="3561"/>
                  </a:lnTo>
                  <a:lnTo>
                    <a:pt x="1868" y="3735"/>
                  </a:lnTo>
                  <a:lnTo>
                    <a:pt x="1949" y="3914"/>
                  </a:lnTo>
                  <a:lnTo>
                    <a:pt x="2126" y="4310"/>
                  </a:lnTo>
                  <a:lnTo>
                    <a:pt x="2381" y="3960"/>
                  </a:lnTo>
                  <a:lnTo>
                    <a:pt x="2456" y="3856"/>
                  </a:lnTo>
                  <a:lnTo>
                    <a:pt x="2530" y="3755"/>
                  </a:lnTo>
                  <a:lnTo>
                    <a:pt x="2599" y="3658"/>
                  </a:lnTo>
                  <a:lnTo>
                    <a:pt x="2665" y="3565"/>
                  </a:lnTo>
                  <a:lnTo>
                    <a:pt x="2728" y="3474"/>
                  </a:lnTo>
                  <a:lnTo>
                    <a:pt x="2789" y="3386"/>
                  </a:lnTo>
                  <a:lnTo>
                    <a:pt x="2847" y="3300"/>
                  </a:lnTo>
                  <a:lnTo>
                    <a:pt x="2904" y="3217"/>
                  </a:lnTo>
                  <a:lnTo>
                    <a:pt x="2959" y="3135"/>
                  </a:lnTo>
                  <a:lnTo>
                    <a:pt x="3012" y="3054"/>
                  </a:lnTo>
                  <a:lnTo>
                    <a:pt x="3065" y="2974"/>
                  </a:lnTo>
                  <a:lnTo>
                    <a:pt x="3116" y="2895"/>
                  </a:lnTo>
                  <a:lnTo>
                    <a:pt x="3166" y="2816"/>
                  </a:lnTo>
                  <a:lnTo>
                    <a:pt x="3216" y="2737"/>
                  </a:lnTo>
                  <a:lnTo>
                    <a:pt x="3268" y="2657"/>
                  </a:lnTo>
                  <a:lnTo>
                    <a:pt x="3318" y="2577"/>
                  </a:lnTo>
                  <a:lnTo>
                    <a:pt x="3326" y="2647"/>
                  </a:lnTo>
                  <a:lnTo>
                    <a:pt x="3334" y="2715"/>
                  </a:lnTo>
                  <a:lnTo>
                    <a:pt x="3343" y="2782"/>
                  </a:lnTo>
                  <a:lnTo>
                    <a:pt x="3353" y="2848"/>
                  </a:lnTo>
                  <a:lnTo>
                    <a:pt x="3362" y="2912"/>
                  </a:lnTo>
                  <a:lnTo>
                    <a:pt x="3373" y="2976"/>
                  </a:lnTo>
                  <a:lnTo>
                    <a:pt x="3384" y="3038"/>
                  </a:lnTo>
                  <a:lnTo>
                    <a:pt x="3395" y="3101"/>
                  </a:lnTo>
                  <a:lnTo>
                    <a:pt x="3407" y="3161"/>
                  </a:lnTo>
                  <a:lnTo>
                    <a:pt x="3419" y="3221"/>
                  </a:lnTo>
                  <a:lnTo>
                    <a:pt x="3433" y="3280"/>
                  </a:lnTo>
                  <a:lnTo>
                    <a:pt x="3446" y="3339"/>
                  </a:lnTo>
                  <a:lnTo>
                    <a:pt x="3474" y="3453"/>
                  </a:lnTo>
                  <a:lnTo>
                    <a:pt x="3502" y="3564"/>
                  </a:lnTo>
                  <a:lnTo>
                    <a:pt x="3532" y="3672"/>
                  </a:lnTo>
                  <a:lnTo>
                    <a:pt x="3563" y="3778"/>
                  </a:lnTo>
                  <a:lnTo>
                    <a:pt x="3595" y="3883"/>
                  </a:lnTo>
                  <a:lnTo>
                    <a:pt x="3628" y="3986"/>
                  </a:lnTo>
                  <a:lnTo>
                    <a:pt x="3661" y="4088"/>
                  </a:lnTo>
                  <a:lnTo>
                    <a:pt x="3695" y="4188"/>
                  </a:lnTo>
                  <a:lnTo>
                    <a:pt x="3729" y="4287"/>
                  </a:lnTo>
                  <a:lnTo>
                    <a:pt x="3763" y="4387"/>
                  </a:lnTo>
                  <a:lnTo>
                    <a:pt x="3854" y="4653"/>
                  </a:lnTo>
                  <a:lnTo>
                    <a:pt x="4108" y="4532"/>
                  </a:lnTo>
                  <a:lnTo>
                    <a:pt x="4234" y="4472"/>
                  </a:lnTo>
                  <a:lnTo>
                    <a:pt x="4354" y="4412"/>
                  </a:lnTo>
                  <a:lnTo>
                    <a:pt x="4472" y="4352"/>
                  </a:lnTo>
                  <a:lnTo>
                    <a:pt x="4585" y="4293"/>
                  </a:lnTo>
                  <a:lnTo>
                    <a:pt x="4694" y="4233"/>
                  </a:lnTo>
                  <a:lnTo>
                    <a:pt x="4801" y="4175"/>
                  </a:lnTo>
                  <a:lnTo>
                    <a:pt x="4902" y="4116"/>
                  </a:lnTo>
                  <a:lnTo>
                    <a:pt x="5001" y="4058"/>
                  </a:lnTo>
                  <a:lnTo>
                    <a:pt x="5096" y="4000"/>
                  </a:lnTo>
                  <a:lnTo>
                    <a:pt x="5189" y="3942"/>
                  </a:lnTo>
                  <a:lnTo>
                    <a:pt x="5277" y="3884"/>
                  </a:lnTo>
                  <a:lnTo>
                    <a:pt x="5364" y="3828"/>
                  </a:lnTo>
                  <a:lnTo>
                    <a:pt x="5446" y="3770"/>
                  </a:lnTo>
                  <a:lnTo>
                    <a:pt x="5527" y="3714"/>
                  </a:lnTo>
                  <a:lnTo>
                    <a:pt x="5604" y="3657"/>
                  </a:lnTo>
                  <a:lnTo>
                    <a:pt x="5678" y="3601"/>
                  </a:lnTo>
                  <a:lnTo>
                    <a:pt x="5751" y="3545"/>
                  </a:lnTo>
                  <a:lnTo>
                    <a:pt x="5820" y="3489"/>
                  </a:lnTo>
                  <a:lnTo>
                    <a:pt x="5888" y="3433"/>
                  </a:lnTo>
                  <a:lnTo>
                    <a:pt x="5954" y="3379"/>
                  </a:lnTo>
                  <a:lnTo>
                    <a:pt x="6017" y="3324"/>
                  </a:lnTo>
                  <a:lnTo>
                    <a:pt x="6078" y="3269"/>
                  </a:lnTo>
                  <a:lnTo>
                    <a:pt x="6138" y="3214"/>
                  </a:lnTo>
                  <a:lnTo>
                    <a:pt x="6195" y="3159"/>
                  </a:lnTo>
                  <a:lnTo>
                    <a:pt x="6251" y="3106"/>
                  </a:lnTo>
                  <a:lnTo>
                    <a:pt x="6307" y="3051"/>
                  </a:lnTo>
                  <a:lnTo>
                    <a:pt x="6360" y="2998"/>
                  </a:lnTo>
                  <a:lnTo>
                    <a:pt x="6411" y="2943"/>
                  </a:lnTo>
                  <a:lnTo>
                    <a:pt x="6462" y="2890"/>
                  </a:lnTo>
                  <a:lnTo>
                    <a:pt x="6512" y="2837"/>
                  </a:lnTo>
                  <a:lnTo>
                    <a:pt x="6560" y="2783"/>
                  </a:lnTo>
                  <a:lnTo>
                    <a:pt x="6608" y="2731"/>
                  </a:lnTo>
                  <a:lnTo>
                    <a:pt x="6615" y="2818"/>
                  </a:lnTo>
                  <a:lnTo>
                    <a:pt x="6620" y="2907"/>
                  </a:lnTo>
                  <a:lnTo>
                    <a:pt x="6624" y="2997"/>
                  </a:lnTo>
                  <a:lnTo>
                    <a:pt x="6628" y="3087"/>
                  </a:lnTo>
                  <a:lnTo>
                    <a:pt x="6630" y="3176"/>
                  </a:lnTo>
                  <a:lnTo>
                    <a:pt x="6631" y="3266"/>
                  </a:lnTo>
                  <a:lnTo>
                    <a:pt x="6630" y="3356"/>
                  </a:lnTo>
                  <a:lnTo>
                    <a:pt x="6629" y="3446"/>
                  </a:lnTo>
                  <a:lnTo>
                    <a:pt x="6627" y="3535"/>
                  </a:lnTo>
                  <a:lnTo>
                    <a:pt x="6623" y="3626"/>
                  </a:lnTo>
                  <a:lnTo>
                    <a:pt x="6618" y="3715"/>
                  </a:lnTo>
                  <a:lnTo>
                    <a:pt x="6612" y="3805"/>
                  </a:lnTo>
                  <a:lnTo>
                    <a:pt x="6605" y="3893"/>
                  </a:lnTo>
                  <a:lnTo>
                    <a:pt x="6597" y="3982"/>
                  </a:lnTo>
                  <a:lnTo>
                    <a:pt x="6588" y="4071"/>
                  </a:lnTo>
                  <a:lnTo>
                    <a:pt x="6578" y="4158"/>
                  </a:lnTo>
                  <a:lnTo>
                    <a:pt x="6567" y="4245"/>
                  </a:lnTo>
                  <a:lnTo>
                    <a:pt x="6554" y="4332"/>
                  </a:lnTo>
                  <a:lnTo>
                    <a:pt x="6541" y="4418"/>
                  </a:lnTo>
                  <a:lnTo>
                    <a:pt x="6526" y="4502"/>
                  </a:lnTo>
                  <a:lnTo>
                    <a:pt x="6511" y="4586"/>
                  </a:lnTo>
                  <a:lnTo>
                    <a:pt x="6494" y="4669"/>
                  </a:lnTo>
                  <a:lnTo>
                    <a:pt x="6476" y="4750"/>
                  </a:lnTo>
                  <a:lnTo>
                    <a:pt x="6457" y="4831"/>
                  </a:lnTo>
                  <a:lnTo>
                    <a:pt x="6437" y="4911"/>
                  </a:lnTo>
                  <a:lnTo>
                    <a:pt x="6416" y="4989"/>
                  </a:lnTo>
                  <a:lnTo>
                    <a:pt x="6394" y="5067"/>
                  </a:lnTo>
                  <a:lnTo>
                    <a:pt x="6371" y="5142"/>
                  </a:lnTo>
                  <a:lnTo>
                    <a:pt x="6347" y="5216"/>
                  </a:lnTo>
                  <a:lnTo>
                    <a:pt x="6322" y="5289"/>
                  </a:lnTo>
                  <a:lnTo>
                    <a:pt x="6297" y="5360"/>
                  </a:lnTo>
                  <a:lnTo>
                    <a:pt x="6269" y="5429"/>
                  </a:lnTo>
                  <a:lnTo>
                    <a:pt x="6264" y="5441"/>
                  </a:lnTo>
                  <a:lnTo>
                    <a:pt x="6260" y="5453"/>
                  </a:lnTo>
                  <a:lnTo>
                    <a:pt x="6257" y="5466"/>
                  </a:lnTo>
                  <a:lnTo>
                    <a:pt x="6255" y="5478"/>
                  </a:lnTo>
                  <a:lnTo>
                    <a:pt x="6253" y="5490"/>
                  </a:lnTo>
                  <a:lnTo>
                    <a:pt x="6251" y="5502"/>
                  </a:lnTo>
                  <a:lnTo>
                    <a:pt x="6251" y="5515"/>
                  </a:lnTo>
                  <a:lnTo>
                    <a:pt x="6251" y="5528"/>
                  </a:lnTo>
                  <a:lnTo>
                    <a:pt x="6251" y="5540"/>
                  </a:lnTo>
                  <a:lnTo>
                    <a:pt x="6252" y="5552"/>
                  </a:lnTo>
                  <a:lnTo>
                    <a:pt x="6254" y="5564"/>
                  </a:lnTo>
                  <a:lnTo>
                    <a:pt x="6256" y="5575"/>
                  </a:lnTo>
                  <a:lnTo>
                    <a:pt x="6259" y="5587"/>
                  </a:lnTo>
                  <a:lnTo>
                    <a:pt x="6263" y="5599"/>
                  </a:lnTo>
                  <a:lnTo>
                    <a:pt x="6266" y="5610"/>
                  </a:lnTo>
                  <a:lnTo>
                    <a:pt x="6271" y="5621"/>
                  </a:lnTo>
                  <a:lnTo>
                    <a:pt x="6276" y="5632"/>
                  </a:lnTo>
                  <a:lnTo>
                    <a:pt x="6281" y="5644"/>
                  </a:lnTo>
                  <a:lnTo>
                    <a:pt x="6288" y="5654"/>
                  </a:lnTo>
                  <a:lnTo>
                    <a:pt x="6295" y="5664"/>
                  </a:lnTo>
                  <a:lnTo>
                    <a:pt x="6302" y="5674"/>
                  </a:lnTo>
                  <a:lnTo>
                    <a:pt x="6309" y="5683"/>
                  </a:lnTo>
                  <a:lnTo>
                    <a:pt x="6317" y="5693"/>
                  </a:lnTo>
                  <a:lnTo>
                    <a:pt x="6326" y="5702"/>
                  </a:lnTo>
                  <a:lnTo>
                    <a:pt x="6334" y="5710"/>
                  </a:lnTo>
                  <a:lnTo>
                    <a:pt x="6344" y="5718"/>
                  </a:lnTo>
                  <a:lnTo>
                    <a:pt x="6353" y="5726"/>
                  </a:lnTo>
                  <a:lnTo>
                    <a:pt x="6364" y="5733"/>
                  </a:lnTo>
                  <a:lnTo>
                    <a:pt x="6374" y="5739"/>
                  </a:lnTo>
                  <a:lnTo>
                    <a:pt x="6385" y="5745"/>
                  </a:lnTo>
                  <a:lnTo>
                    <a:pt x="6396" y="5751"/>
                  </a:lnTo>
                  <a:lnTo>
                    <a:pt x="6408" y="5756"/>
                  </a:lnTo>
                  <a:lnTo>
                    <a:pt x="6420" y="5761"/>
                  </a:lnTo>
                  <a:lnTo>
                    <a:pt x="6431" y="5765"/>
                  </a:lnTo>
                  <a:lnTo>
                    <a:pt x="6443" y="5768"/>
                  </a:lnTo>
                  <a:lnTo>
                    <a:pt x="6455" y="5771"/>
                  </a:lnTo>
                  <a:lnTo>
                    <a:pt x="6467" y="5773"/>
                  </a:lnTo>
                  <a:lnTo>
                    <a:pt x="6480" y="5774"/>
                  </a:lnTo>
                  <a:lnTo>
                    <a:pt x="6491" y="5775"/>
                  </a:lnTo>
                  <a:lnTo>
                    <a:pt x="6503" y="5775"/>
                  </a:lnTo>
                  <a:lnTo>
                    <a:pt x="6522" y="5775"/>
                  </a:lnTo>
                  <a:lnTo>
                    <a:pt x="6540" y="5773"/>
                  </a:lnTo>
                  <a:lnTo>
                    <a:pt x="6558" y="5769"/>
                  </a:lnTo>
                  <a:lnTo>
                    <a:pt x="6576" y="5765"/>
                  </a:lnTo>
                  <a:lnTo>
                    <a:pt x="6593" y="5759"/>
                  </a:lnTo>
                  <a:lnTo>
                    <a:pt x="6610" y="5750"/>
                  </a:lnTo>
                  <a:lnTo>
                    <a:pt x="6626" y="5742"/>
                  </a:lnTo>
                  <a:lnTo>
                    <a:pt x="6641" y="5733"/>
                  </a:lnTo>
                  <a:lnTo>
                    <a:pt x="6656" y="5722"/>
                  </a:lnTo>
                  <a:lnTo>
                    <a:pt x="6671" y="5710"/>
                  </a:lnTo>
                  <a:lnTo>
                    <a:pt x="6685" y="5697"/>
                  </a:lnTo>
                  <a:lnTo>
                    <a:pt x="6697" y="5683"/>
                  </a:lnTo>
                  <a:lnTo>
                    <a:pt x="6708" y="5668"/>
                  </a:lnTo>
                  <a:lnTo>
                    <a:pt x="6719" y="5652"/>
                  </a:lnTo>
                  <a:lnTo>
                    <a:pt x="6728" y="5635"/>
                  </a:lnTo>
                  <a:lnTo>
                    <a:pt x="6736" y="5617"/>
                  </a:lnTo>
                  <a:lnTo>
                    <a:pt x="6771" y="5525"/>
                  </a:lnTo>
                  <a:lnTo>
                    <a:pt x="6805" y="5431"/>
                  </a:lnTo>
                  <a:lnTo>
                    <a:pt x="6838" y="5334"/>
                  </a:lnTo>
                  <a:lnTo>
                    <a:pt x="6869" y="5235"/>
                  </a:lnTo>
                  <a:lnTo>
                    <a:pt x="6898" y="5134"/>
                  </a:lnTo>
                  <a:lnTo>
                    <a:pt x="6926" y="5033"/>
                  </a:lnTo>
                  <a:lnTo>
                    <a:pt x="6952" y="4928"/>
                  </a:lnTo>
                  <a:lnTo>
                    <a:pt x="6976" y="4822"/>
                  </a:lnTo>
                  <a:lnTo>
                    <a:pt x="6998" y="4715"/>
                  </a:lnTo>
                  <a:lnTo>
                    <a:pt x="7019" y="4606"/>
                  </a:lnTo>
                  <a:lnTo>
                    <a:pt x="7038" y="4496"/>
                  </a:lnTo>
                  <a:lnTo>
                    <a:pt x="7057" y="4385"/>
                  </a:lnTo>
                  <a:lnTo>
                    <a:pt x="7072" y="4273"/>
                  </a:lnTo>
                  <a:lnTo>
                    <a:pt x="7086" y="4160"/>
                  </a:lnTo>
                  <a:lnTo>
                    <a:pt x="7099" y="4046"/>
                  </a:lnTo>
                  <a:lnTo>
                    <a:pt x="7109" y="3932"/>
                  </a:lnTo>
                  <a:lnTo>
                    <a:pt x="7118" y="3817"/>
                  </a:lnTo>
                  <a:lnTo>
                    <a:pt x="7125" y="3701"/>
                  </a:lnTo>
                  <a:lnTo>
                    <a:pt x="7130" y="3585"/>
                  </a:lnTo>
                  <a:lnTo>
                    <a:pt x="7134" y="3469"/>
                  </a:lnTo>
                  <a:lnTo>
                    <a:pt x="7135" y="3353"/>
                  </a:lnTo>
                  <a:lnTo>
                    <a:pt x="7135" y="3236"/>
                  </a:lnTo>
                  <a:lnTo>
                    <a:pt x="7133" y="3120"/>
                  </a:lnTo>
                  <a:lnTo>
                    <a:pt x="7130" y="3004"/>
                  </a:lnTo>
                  <a:lnTo>
                    <a:pt x="7124" y="2888"/>
                  </a:lnTo>
                  <a:lnTo>
                    <a:pt x="7117" y="2773"/>
                  </a:lnTo>
                  <a:lnTo>
                    <a:pt x="7108" y="2658"/>
                  </a:lnTo>
                  <a:lnTo>
                    <a:pt x="7097" y="2544"/>
                  </a:lnTo>
                  <a:lnTo>
                    <a:pt x="7084" y="2430"/>
                  </a:lnTo>
                  <a:lnTo>
                    <a:pt x="7069" y="2318"/>
                  </a:lnTo>
                  <a:lnTo>
                    <a:pt x="7052" y="2207"/>
                  </a:lnTo>
                  <a:lnTo>
                    <a:pt x="7033" y="2097"/>
                  </a:lnTo>
                  <a:lnTo>
                    <a:pt x="6940" y="15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29" name="i$ḻîḓé">
              <a:extLst>
                <a:ext uri="{FF2B5EF4-FFF2-40B4-BE49-F238E27FC236}">
                  <a16:creationId xmlns:a16="http://schemas.microsoft.com/office/drawing/2014/main" id="{AB7B1245-7FED-45C5-B8D0-76B172542F64}"/>
                </a:ext>
              </a:extLst>
            </p:cNvPr>
            <p:cNvSpPr/>
            <p:nvPr/>
          </p:nvSpPr>
          <p:spPr bwMode="auto">
            <a:xfrm>
              <a:off x="4630596" y="1619697"/>
              <a:ext cx="467782" cy="335512"/>
            </a:xfrm>
            <a:custGeom>
              <a:avLst/>
              <a:gdLst>
                <a:gd name="T0" fmla="*/ 7962 w 16095"/>
                <a:gd name="T1" fmla="*/ 5014 h 11549"/>
                <a:gd name="T2" fmla="*/ 1276 w 16095"/>
                <a:gd name="T3" fmla="*/ 3458 h 11549"/>
                <a:gd name="T4" fmla="*/ 1143 w 16095"/>
                <a:gd name="T5" fmla="*/ 3357 h 11549"/>
                <a:gd name="T6" fmla="*/ 1050 w 16095"/>
                <a:gd name="T7" fmla="*/ 3220 h 11549"/>
                <a:gd name="T8" fmla="*/ 1008 w 16095"/>
                <a:gd name="T9" fmla="*/ 3056 h 11549"/>
                <a:gd name="T10" fmla="*/ 1022 w 16095"/>
                <a:gd name="T11" fmla="*/ 2885 h 11549"/>
                <a:gd name="T12" fmla="*/ 1090 w 16095"/>
                <a:gd name="T13" fmla="*/ 2734 h 11549"/>
                <a:gd name="T14" fmla="*/ 1204 w 16095"/>
                <a:gd name="T15" fmla="*/ 2613 h 11549"/>
                <a:gd name="T16" fmla="*/ 1354 w 16095"/>
                <a:gd name="T17" fmla="*/ 2535 h 11549"/>
                <a:gd name="T18" fmla="*/ 8076 w 16095"/>
                <a:gd name="T19" fmla="*/ 1005 h 11549"/>
                <a:gd name="T20" fmla="*/ 14781 w 16095"/>
                <a:gd name="T21" fmla="*/ 2550 h 11549"/>
                <a:gd name="T22" fmla="*/ 14923 w 16095"/>
                <a:gd name="T23" fmla="*/ 2640 h 11549"/>
                <a:gd name="T24" fmla="*/ 15026 w 16095"/>
                <a:gd name="T25" fmla="*/ 2769 h 11549"/>
                <a:gd name="T26" fmla="*/ 15082 w 16095"/>
                <a:gd name="T27" fmla="*/ 2926 h 11549"/>
                <a:gd name="T28" fmla="*/ 15082 w 16095"/>
                <a:gd name="T29" fmla="*/ 3099 h 11549"/>
                <a:gd name="T30" fmla="*/ 15026 w 16095"/>
                <a:gd name="T31" fmla="*/ 3257 h 11549"/>
                <a:gd name="T32" fmla="*/ 14923 w 16095"/>
                <a:gd name="T33" fmla="*/ 3386 h 11549"/>
                <a:gd name="T34" fmla="*/ 14781 w 16095"/>
                <a:gd name="T35" fmla="*/ 3476 h 11549"/>
                <a:gd name="T36" fmla="*/ 12557 w 16095"/>
                <a:gd name="T37" fmla="*/ 9147 h 11549"/>
                <a:gd name="T38" fmla="*/ 12133 w 16095"/>
                <a:gd name="T39" fmla="*/ 9634 h 11549"/>
                <a:gd name="T40" fmla="*/ 11142 w 16095"/>
                <a:gd name="T41" fmla="*/ 10111 h 11549"/>
                <a:gd name="T42" fmla="*/ 9586 w 16095"/>
                <a:gd name="T43" fmla="*/ 10454 h 11549"/>
                <a:gd name="T44" fmla="*/ 7499 w 16095"/>
                <a:gd name="T45" fmla="*/ 10534 h 11549"/>
                <a:gd name="T46" fmla="*/ 5660 w 16095"/>
                <a:gd name="T47" fmla="*/ 10307 h 11549"/>
                <a:gd name="T48" fmla="*/ 4387 w 16095"/>
                <a:gd name="T49" fmla="*/ 9882 h 11549"/>
                <a:gd name="T50" fmla="*/ 3680 w 16095"/>
                <a:gd name="T51" fmla="*/ 9384 h 11549"/>
                <a:gd name="T52" fmla="*/ 7715 w 16095"/>
                <a:gd name="T53" fmla="*/ 5989 h 11549"/>
                <a:gd name="T54" fmla="*/ 8048 w 16095"/>
                <a:gd name="T55" fmla="*/ 6026 h 11549"/>
                <a:gd name="T56" fmla="*/ 8388 w 16095"/>
                <a:gd name="T57" fmla="*/ 5988 h 11549"/>
                <a:gd name="T58" fmla="*/ 16061 w 16095"/>
                <a:gd name="T59" fmla="*/ 2690 h 11549"/>
                <a:gd name="T60" fmla="*/ 15875 w 16095"/>
                <a:gd name="T61" fmla="*/ 2227 h 11549"/>
                <a:gd name="T62" fmla="*/ 15551 w 16095"/>
                <a:gd name="T63" fmla="*/ 1852 h 11549"/>
                <a:gd name="T64" fmla="*/ 15113 w 16095"/>
                <a:gd name="T65" fmla="*/ 1601 h 11549"/>
                <a:gd name="T66" fmla="*/ 8214 w 16095"/>
                <a:gd name="T67" fmla="*/ 9 h 11549"/>
                <a:gd name="T68" fmla="*/ 7880 w 16095"/>
                <a:gd name="T69" fmla="*/ 9 h 11549"/>
                <a:gd name="T70" fmla="*/ 982 w 16095"/>
                <a:gd name="T71" fmla="*/ 1601 h 11549"/>
                <a:gd name="T72" fmla="*/ 544 w 16095"/>
                <a:gd name="T73" fmla="*/ 1852 h 11549"/>
                <a:gd name="T74" fmla="*/ 220 w 16095"/>
                <a:gd name="T75" fmla="*/ 2227 h 11549"/>
                <a:gd name="T76" fmla="*/ 34 w 16095"/>
                <a:gd name="T77" fmla="*/ 2690 h 11549"/>
                <a:gd name="T78" fmla="*/ 12 w 16095"/>
                <a:gd name="T79" fmla="*/ 3209 h 11549"/>
                <a:gd name="T80" fmla="*/ 159 w 16095"/>
                <a:gd name="T81" fmla="*/ 3691 h 11549"/>
                <a:gd name="T82" fmla="*/ 452 w 16095"/>
                <a:gd name="T83" fmla="*/ 4090 h 11549"/>
                <a:gd name="T84" fmla="*/ 863 w 16095"/>
                <a:gd name="T85" fmla="*/ 4376 h 11549"/>
                <a:gd name="T86" fmla="*/ 2520 w 16095"/>
                <a:gd name="T87" fmla="*/ 9163 h 11549"/>
                <a:gd name="T88" fmla="*/ 2898 w 16095"/>
                <a:gd name="T89" fmla="*/ 10104 h 11549"/>
                <a:gd name="T90" fmla="*/ 3950 w 16095"/>
                <a:gd name="T91" fmla="*/ 10878 h 11549"/>
                <a:gd name="T92" fmla="*/ 5765 w 16095"/>
                <a:gd name="T93" fmla="*/ 11391 h 11549"/>
                <a:gd name="T94" fmla="*/ 8416 w 16095"/>
                <a:gd name="T95" fmla="*/ 11545 h 11549"/>
                <a:gd name="T96" fmla="*/ 10860 w 16095"/>
                <a:gd name="T97" fmla="*/ 11292 h 11549"/>
                <a:gd name="T98" fmla="*/ 12476 w 16095"/>
                <a:gd name="T99" fmla="*/ 10706 h 11549"/>
                <a:gd name="T100" fmla="*/ 13351 w 16095"/>
                <a:gd name="T101" fmla="*/ 9880 h 11549"/>
                <a:gd name="T102" fmla="*/ 13580 w 16095"/>
                <a:gd name="T103" fmla="*/ 4790 h 11549"/>
                <a:gd name="T104" fmla="*/ 15345 w 16095"/>
                <a:gd name="T105" fmla="*/ 4316 h 11549"/>
                <a:gd name="T106" fmla="*/ 15729 w 16095"/>
                <a:gd name="T107" fmla="*/ 4000 h 11549"/>
                <a:gd name="T108" fmla="*/ 15987 w 16095"/>
                <a:gd name="T109" fmla="*/ 3576 h 11549"/>
                <a:gd name="T110" fmla="*/ 16094 w 16095"/>
                <a:gd name="T111" fmla="*/ 3079 h 11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095" h="11549">
                  <a:moveTo>
                    <a:pt x="8160" y="5008"/>
                  </a:moveTo>
                  <a:lnTo>
                    <a:pt x="8133" y="5014"/>
                  </a:lnTo>
                  <a:lnTo>
                    <a:pt x="8105" y="5018"/>
                  </a:lnTo>
                  <a:lnTo>
                    <a:pt x="8076" y="5020"/>
                  </a:lnTo>
                  <a:lnTo>
                    <a:pt x="8048" y="5021"/>
                  </a:lnTo>
                  <a:lnTo>
                    <a:pt x="8019" y="5020"/>
                  </a:lnTo>
                  <a:lnTo>
                    <a:pt x="7990" y="5018"/>
                  </a:lnTo>
                  <a:lnTo>
                    <a:pt x="7962" y="5014"/>
                  </a:lnTo>
                  <a:lnTo>
                    <a:pt x="7935" y="5008"/>
                  </a:lnTo>
                  <a:lnTo>
                    <a:pt x="1396" y="3502"/>
                  </a:lnTo>
                  <a:lnTo>
                    <a:pt x="1374" y="3497"/>
                  </a:lnTo>
                  <a:lnTo>
                    <a:pt x="1354" y="3491"/>
                  </a:lnTo>
                  <a:lnTo>
                    <a:pt x="1334" y="3484"/>
                  </a:lnTo>
                  <a:lnTo>
                    <a:pt x="1314" y="3476"/>
                  </a:lnTo>
                  <a:lnTo>
                    <a:pt x="1294" y="3467"/>
                  </a:lnTo>
                  <a:lnTo>
                    <a:pt x="1276" y="3458"/>
                  </a:lnTo>
                  <a:lnTo>
                    <a:pt x="1256" y="3448"/>
                  </a:lnTo>
                  <a:lnTo>
                    <a:pt x="1238" y="3437"/>
                  </a:lnTo>
                  <a:lnTo>
                    <a:pt x="1221" y="3425"/>
                  </a:lnTo>
                  <a:lnTo>
                    <a:pt x="1204" y="3413"/>
                  </a:lnTo>
                  <a:lnTo>
                    <a:pt x="1188" y="3400"/>
                  </a:lnTo>
                  <a:lnTo>
                    <a:pt x="1172" y="3386"/>
                  </a:lnTo>
                  <a:lnTo>
                    <a:pt x="1157" y="3372"/>
                  </a:lnTo>
                  <a:lnTo>
                    <a:pt x="1143" y="3357"/>
                  </a:lnTo>
                  <a:lnTo>
                    <a:pt x="1129" y="3341"/>
                  </a:lnTo>
                  <a:lnTo>
                    <a:pt x="1116" y="3325"/>
                  </a:lnTo>
                  <a:lnTo>
                    <a:pt x="1103" y="3309"/>
                  </a:lnTo>
                  <a:lnTo>
                    <a:pt x="1090" y="3292"/>
                  </a:lnTo>
                  <a:lnTo>
                    <a:pt x="1079" y="3275"/>
                  </a:lnTo>
                  <a:lnTo>
                    <a:pt x="1069" y="3257"/>
                  </a:lnTo>
                  <a:lnTo>
                    <a:pt x="1059" y="3238"/>
                  </a:lnTo>
                  <a:lnTo>
                    <a:pt x="1050" y="3220"/>
                  </a:lnTo>
                  <a:lnTo>
                    <a:pt x="1042" y="3201"/>
                  </a:lnTo>
                  <a:lnTo>
                    <a:pt x="1035" y="3181"/>
                  </a:lnTo>
                  <a:lnTo>
                    <a:pt x="1028" y="3160"/>
                  </a:lnTo>
                  <a:lnTo>
                    <a:pt x="1022" y="3140"/>
                  </a:lnTo>
                  <a:lnTo>
                    <a:pt x="1018" y="3119"/>
                  </a:lnTo>
                  <a:lnTo>
                    <a:pt x="1013" y="3099"/>
                  </a:lnTo>
                  <a:lnTo>
                    <a:pt x="1010" y="3077"/>
                  </a:lnTo>
                  <a:lnTo>
                    <a:pt x="1008" y="3056"/>
                  </a:lnTo>
                  <a:lnTo>
                    <a:pt x="1007" y="3035"/>
                  </a:lnTo>
                  <a:lnTo>
                    <a:pt x="1006" y="3013"/>
                  </a:lnTo>
                  <a:lnTo>
                    <a:pt x="1007" y="2991"/>
                  </a:lnTo>
                  <a:lnTo>
                    <a:pt x="1008" y="2970"/>
                  </a:lnTo>
                  <a:lnTo>
                    <a:pt x="1010" y="2948"/>
                  </a:lnTo>
                  <a:lnTo>
                    <a:pt x="1013" y="2926"/>
                  </a:lnTo>
                  <a:lnTo>
                    <a:pt x="1018" y="2905"/>
                  </a:lnTo>
                  <a:lnTo>
                    <a:pt x="1022" y="2885"/>
                  </a:lnTo>
                  <a:lnTo>
                    <a:pt x="1028" y="2865"/>
                  </a:lnTo>
                  <a:lnTo>
                    <a:pt x="1035" y="2845"/>
                  </a:lnTo>
                  <a:lnTo>
                    <a:pt x="1042" y="2825"/>
                  </a:lnTo>
                  <a:lnTo>
                    <a:pt x="1050" y="2806"/>
                  </a:lnTo>
                  <a:lnTo>
                    <a:pt x="1059" y="2788"/>
                  </a:lnTo>
                  <a:lnTo>
                    <a:pt x="1069" y="2769"/>
                  </a:lnTo>
                  <a:lnTo>
                    <a:pt x="1079" y="2751"/>
                  </a:lnTo>
                  <a:lnTo>
                    <a:pt x="1090" y="2734"/>
                  </a:lnTo>
                  <a:lnTo>
                    <a:pt x="1103" y="2717"/>
                  </a:lnTo>
                  <a:lnTo>
                    <a:pt x="1116" y="2701"/>
                  </a:lnTo>
                  <a:lnTo>
                    <a:pt x="1129" y="2684"/>
                  </a:lnTo>
                  <a:lnTo>
                    <a:pt x="1143" y="2668"/>
                  </a:lnTo>
                  <a:lnTo>
                    <a:pt x="1157" y="2654"/>
                  </a:lnTo>
                  <a:lnTo>
                    <a:pt x="1172" y="2640"/>
                  </a:lnTo>
                  <a:lnTo>
                    <a:pt x="1188" y="2626"/>
                  </a:lnTo>
                  <a:lnTo>
                    <a:pt x="1204" y="2613"/>
                  </a:lnTo>
                  <a:lnTo>
                    <a:pt x="1221" y="2601"/>
                  </a:lnTo>
                  <a:lnTo>
                    <a:pt x="1238" y="2589"/>
                  </a:lnTo>
                  <a:lnTo>
                    <a:pt x="1256" y="2578"/>
                  </a:lnTo>
                  <a:lnTo>
                    <a:pt x="1276" y="2568"/>
                  </a:lnTo>
                  <a:lnTo>
                    <a:pt x="1294" y="2559"/>
                  </a:lnTo>
                  <a:lnTo>
                    <a:pt x="1314" y="2550"/>
                  </a:lnTo>
                  <a:lnTo>
                    <a:pt x="1334" y="2542"/>
                  </a:lnTo>
                  <a:lnTo>
                    <a:pt x="1354" y="2535"/>
                  </a:lnTo>
                  <a:lnTo>
                    <a:pt x="1374" y="2529"/>
                  </a:lnTo>
                  <a:lnTo>
                    <a:pt x="1396" y="2524"/>
                  </a:lnTo>
                  <a:lnTo>
                    <a:pt x="7935" y="1017"/>
                  </a:lnTo>
                  <a:lnTo>
                    <a:pt x="7962" y="1011"/>
                  </a:lnTo>
                  <a:lnTo>
                    <a:pt x="7990" y="1007"/>
                  </a:lnTo>
                  <a:lnTo>
                    <a:pt x="8019" y="1005"/>
                  </a:lnTo>
                  <a:lnTo>
                    <a:pt x="8048" y="1004"/>
                  </a:lnTo>
                  <a:lnTo>
                    <a:pt x="8076" y="1005"/>
                  </a:lnTo>
                  <a:lnTo>
                    <a:pt x="8105" y="1007"/>
                  </a:lnTo>
                  <a:lnTo>
                    <a:pt x="8133" y="1011"/>
                  </a:lnTo>
                  <a:lnTo>
                    <a:pt x="8160" y="1017"/>
                  </a:lnTo>
                  <a:lnTo>
                    <a:pt x="14700" y="2524"/>
                  </a:lnTo>
                  <a:lnTo>
                    <a:pt x="14721" y="2529"/>
                  </a:lnTo>
                  <a:lnTo>
                    <a:pt x="14741" y="2535"/>
                  </a:lnTo>
                  <a:lnTo>
                    <a:pt x="14762" y="2542"/>
                  </a:lnTo>
                  <a:lnTo>
                    <a:pt x="14781" y="2550"/>
                  </a:lnTo>
                  <a:lnTo>
                    <a:pt x="14801" y="2559"/>
                  </a:lnTo>
                  <a:lnTo>
                    <a:pt x="14820" y="2568"/>
                  </a:lnTo>
                  <a:lnTo>
                    <a:pt x="14839" y="2578"/>
                  </a:lnTo>
                  <a:lnTo>
                    <a:pt x="14857" y="2589"/>
                  </a:lnTo>
                  <a:lnTo>
                    <a:pt x="14874" y="2601"/>
                  </a:lnTo>
                  <a:lnTo>
                    <a:pt x="14891" y="2613"/>
                  </a:lnTo>
                  <a:lnTo>
                    <a:pt x="14907" y="2626"/>
                  </a:lnTo>
                  <a:lnTo>
                    <a:pt x="14923" y="2640"/>
                  </a:lnTo>
                  <a:lnTo>
                    <a:pt x="14938" y="2654"/>
                  </a:lnTo>
                  <a:lnTo>
                    <a:pt x="14952" y="2668"/>
                  </a:lnTo>
                  <a:lnTo>
                    <a:pt x="14966" y="2684"/>
                  </a:lnTo>
                  <a:lnTo>
                    <a:pt x="14979" y="2701"/>
                  </a:lnTo>
                  <a:lnTo>
                    <a:pt x="14992" y="2717"/>
                  </a:lnTo>
                  <a:lnTo>
                    <a:pt x="15005" y="2734"/>
                  </a:lnTo>
                  <a:lnTo>
                    <a:pt x="15016" y="2751"/>
                  </a:lnTo>
                  <a:lnTo>
                    <a:pt x="15026" y="2769"/>
                  </a:lnTo>
                  <a:lnTo>
                    <a:pt x="15036" y="2788"/>
                  </a:lnTo>
                  <a:lnTo>
                    <a:pt x="15045" y="2806"/>
                  </a:lnTo>
                  <a:lnTo>
                    <a:pt x="15053" y="2825"/>
                  </a:lnTo>
                  <a:lnTo>
                    <a:pt x="15060" y="2845"/>
                  </a:lnTo>
                  <a:lnTo>
                    <a:pt x="15067" y="2865"/>
                  </a:lnTo>
                  <a:lnTo>
                    <a:pt x="15073" y="2885"/>
                  </a:lnTo>
                  <a:lnTo>
                    <a:pt x="15078" y="2905"/>
                  </a:lnTo>
                  <a:lnTo>
                    <a:pt x="15082" y="2926"/>
                  </a:lnTo>
                  <a:lnTo>
                    <a:pt x="15085" y="2948"/>
                  </a:lnTo>
                  <a:lnTo>
                    <a:pt x="15087" y="2970"/>
                  </a:lnTo>
                  <a:lnTo>
                    <a:pt x="15089" y="2991"/>
                  </a:lnTo>
                  <a:lnTo>
                    <a:pt x="15089" y="3013"/>
                  </a:lnTo>
                  <a:lnTo>
                    <a:pt x="15089" y="3035"/>
                  </a:lnTo>
                  <a:lnTo>
                    <a:pt x="15087" y="3056"/>
                  </a:lnTo>
                  <a:lnTo>
                    <a:pt x="15085" y="3077"/>
                  </a:lnTo>
                  <a:lnTo>
                    <a:pt x="15082" y="3099"/>
                  </a:lnTo>
                  <a:lnTo>
                    <a:pt x="15078" y="3119"/>
                  </a:lnTo>
                  <a:lnTo>
                    <a:pt x="15073" y="3140"/>
                  </a:lnTo>
                  <a:lnTo>
                    <a:pt x="15067" y="3160"/>
                  </a:lnTo>
                  <a:lnTo>
                    <a:pt x="15060" y="3181"/>
                  </a:lnTo>
                  <a:lnTo>
                    <a:pt x="15053" y="3201"/>
                  </a:lnTo>
                  <a:lnTo>
                    <a:pt x="15045" y="3220"/>
                  </a:lnTo>
                  <a:lnTo>
                    <a:pt x="15036" y="3238"/>
                  </a:lnTo>
                  <a:lnTo>
                    <a:pt x="15026" y="3257"/>
                  </a:lnTo>
                  <a:lnTo>
                    <a:pt x="15016" y="3275"/>
                  </a:lnTo>
                  <a:lnTo>
                    <a:pt x="15005" y="3292"/>
                  </a:lnTo>
                  <a:lnTo>
                    <a:pt x="14992" y="3309"/>
                  </a:lnTo>
                  <a:lnTo>
                    <a:pt x="14979" y="3325"/>
                  </a:lnTo>
                  <a:lnTo>
                    <a:pt x="14966" y="3341"/>
                  </a:lnTo>
                  <a:lnTo>
                    <a:pt x="14952" y="3357"/>
                  </a:lnTo>
                  <a:lnTo>
                    <a:pt x="14938" y="3372"/>
                  </a:lnTo>
                  <a:lnTo>
                    <a:pt x="14923" y="3386"/>
                  </a:lnTo>
                  <a:lnTo>
                    <a:pt x="14907" y="3400"/>
                  </a:lnTo>
                  <a:lnTo>
                    <a:pt x="14891" y="3413"/>
                  </a:lnTo>
                  <a:lnTo>
                    <a:pt x="14874" y="3425"/>
                  </a:lnTo>
                  <a:lnTo>
                    <a:pt x="14857" y="3437"/>
                  </a:lnTo>
                  <a:lnTo>
                    <a:pt x="14839" y="3448"/>
                  </a:lnTo>
                  <a:lnTo>
                    <a:pt x="14820" y="3458"/>
                  </a:lnTo>
                  <a:lnTo>
                    <a:pt x="14801" y="3467"/>
                  </a:lnTo>
                  <a:lnTo>
                    <a:pt x="14781" y="3476"/>
                  </a:lnTo>
                  <a:lnTo>
                    <a:pt x="14762" y="3484"/>
                  </a:lnTo>
                  <a:lnTo>
                    <a:pt x="14741" y="3491"/>
                  </a:lnTo>
                  <a:lnTo>
                    <a:pt x="14721" y="3497"/>
                  </a:lnTo>
                  <a:lnTo>
                    <a:pt x="14700" y="3502"/>
                  </a:lnTo>
                  <a:lnTo>
                    <a:pt x="8160" y="5008"/>
                  </a:lnTo>
                  <a:close/>
                  <a:moveTo>
                    <a:pt x="12574" y="9039"/>
                  </a:moveTo>
                  <a:lnTo>
                    <a:pt x="12570" y="9092"/>
                  </a:lnTo>
                  <a:lnTo>
                    <a:pt x="12557" y="9147"/>
                  </a:lnTo>
                  <a:lnTo>
                    <a:pt x="12535" y="9204"/>
                  </a:lnTo>
                  <a:lnTo>
                    <a:pt x="12504" y="9263"/>
                  </a:lnTo>
                  <a:lnTo>
                    <a:pt x="12464" y="9323"/>
                  </a:lnTo>
                  <a:lnTo>
                    <a:pt x="12415" y="9384"/>
                  </a:lnTo>
                  <a:lnTo>
                    <a:pt x="12358" y="9445"/>
                  </a:lnTo>
                  <a:lnTo>
                    <a:pt x="12292" y="9509"/>
                  </a:lnTo>
                  <a:lnTo>
                    <a:pt x="12216" y="9571"/>
                  </a:lnTo>
                  <a:lnTo>
                    <a:pt x="12133" y="9634"/>
                  </a:lnTo>
                  <a:lnTo>
                    <a:pt x="12039" y="9696"/>
                  </a:lnTo>
                  <a:lnTo>
                    <a:pt x="11937" y="9759"/>
                  </a:lnTo>
                  <a:lnTo>
                    <a:pt x="11827" y="9821"/>
                  </a:lnTo>
                  <a:lnTo>
                    <a:pt x="11708" y="9882"/>
                  </a:lnTo>
                  <a:lnTo>
                    <a:pt x="11579" y="9941"/>
                  </a:lnTo>
                  <a:lnTo>
                    <a:pt x="11443" y="10000"/>
                  </a:lnTo>
                  <a:lnTo>
                    <a:pt x="11297" y="10057"/>
                  </a:lnTo>
                  <a:lnTo>
                    <a:pt x="11142" y="10111"/>
                  </a:lnTo>
                  <a:lnTo>
                    <a:pt x="10979" y="10164"/>
                  </a:lnTo>
                  <a:lnTo>
                    <a:pt x="10806" y="10215"/>
                  </a:lnTo>
                  <a:lnTo>
                    <a:pt x="10625" y="10263"/>
                  </a:lnTo>
                  <a:lnTo>
                    <a:pt x="10435" y="10307"/>
                  </a:lnTo>
                  <a:lnTo>
                    <a:pt x="10235" y="10349"/>
                  </a:lnTo>
                  <a:lnTo>
                    <a:pt x="10028" y="10387"/>
                  </a:lnTo>
                  <a:lnTo>
                    <a:pt x="9811" y="10422"/>
                  </a:lnTo>
                  <a:lnTo>
                    <a:pt x="9586" y="10454"/>
                  </a:lnTo>
                  <a:lnTo>
                    <a:pt x="9351" y="10481"/>
                  </a:lnTo>
                  <a:lnTo>
                    <a:pt x="9109" y="10503"/>
                  </a:lnTo>
                  <a:lnTo>
                    <a:pt x="8856" y="10521"/>
                  </a:lnTo>
                  <a:lnTo>
                    <a:pt x="8596" y="10534"/>
                  </a:lnTo>
                  <a:lnTo>
                    <a:pt x="8326" y="10542"/>
                  </a:lnTo>
                  <a:lnTo>
                    <a:pt x="8048" y="10545"/>
                  </a:lnTo>
                  <a:lnTo>
                    <a:pt x="7769" y="10542"/>
                  </a:lnTo>
                  <a:lnTo>
                    <a:pt x="7499" y="10534"/>
                  </a:lnTo>
                  <a:lnTo>
                    <a:pt x="7239" y="10521"/>
                  </a:lnTo>
                  <a:lnTo>
                    <a:pt x="6986" y="10503"/>
                  </a:lnTo>
                  <a:lnTo>
                    <a:pt x="6744" y="10481"/>
                  </a:lnTo>
                  <a:lnTo>
                    <a:pt x="6509" y="10454"/>
                  </a:lnTo>
                  <a:lnTo>
                    <a:pt x="6284" y="10422"/>
                  </a:lnTo>
                  <a:lnTo>
                    <a:pt x="6067" y="10387"/>
                  </a:lnTo>
                  <a:lnTo>
                    <a:pt x="5860" y="10349"/>
                  </a:lnTo>
                  <a:lnTo>
                    <a:pt x="5660" y="10307"/>
                  </a:lnTo>
                  <a:lnTo>
                    <a:pt x="5470" y="10263"/>
                  </a:lnTo>
                  <a:lnTo>
                    <a:pt x="5289" y="10215"/>
                  </a:lnTo>
                  <a:lnTo>
                    <a:pt x="5116" y="10164"/>
                  </a:lnTo>
                  <a:lnTo>
                    <a:pt x="4953" y="10111"/>
                  </a:lnTo>
                  <a:lnTo>
                    <a:pt x="4798" y="10057"/>
                  </a:lnTo>
                  <a:lnTo>
                    <a:pt x="4652" y="10000"/>
                  </a:lnTo>
                  <a:lnTo>
                    <a:pt x="4516" y="9941"/>
                  </a:lnTo>
                  <a:lnTo>
                    <a:pt x="4387" y="9882"/>
                  </a:lnTo>
                  <a:lnTo>
                    <a:pt x="4268" y="9821"/>
                  </a:lnTo>
                  <a:lnTo>
                    <a:pt x="4158" y="9759"/>
                  </a:lnTo>
                  <a:lnTo>
                    <a:pt x="4056" y="9696"/>
                  </a:lnTo>
                  <a:lnTo>
                    <a:pt x="3963" y="9634"/>
                  </a:lnTo>
                  <a:lnTo>
                    <a:pt x="3879" y="9571"/>
                  </a:lnTo>
                  <a:lnTo>
                    <a:pt x="3803" y="9509"/>
                  </a:lnTo>
                  <a:lnTo>
                    <a:pt x="3737" y="9445"/>
                  </a:lnTo>
                  <a:lnTo>
                    <a:pt x="3680" y="9384"/>
                  </a:lnTo>
                  <a:lnTo>
                    <a:pt x="3631" y="9323"/>
                  </a:lnTo>
                  <a:lnTo>
                    <a:pt x="3591" y="9263"/>
                  </a:lnTo>
                  <a:lnTo>
                    <a:pt x="3561" y="9204"/>
                  </a:lnTo>
                  <a:lnTo>
                    <a:pt x="3539" y="9147"/>
                  </a:lnTo>
                  <a:lnTo>
                    <a:pt x="3525" y="9092"/>
                  </a:lnTo>
                  <a:lnTo>
                    <a:pt x="3521" y="9039"/>
                  </a:lnTo>
                  <a:lnTo>
                    <a:pt x="3521" y="5022"/>
                  </a:lnTo>
                  <a:lnTo>
                    <a:pt x="7715" y="5989"/>
                  </a:lnTo>
                  <a:lnTo>
                    <a:pt x="7756" y="5998"/>
                  </a:lnTo>
                  <a:lnTo>
                    <a:pt x="7797" y="6005"/>
                  </a:lnTo>
                  <a:lnTo>
                    <a:pt x="7839" y="6012"/>
                  </a:lnTo>
                  <a:lnTo>
                    <a:pt x="7881" y="6017"/>
                  </a:lnTo>
                  <a:lnTo>
                    <a:pt x="7923" y="6021"/>
                  </a:lnTo>
                  <a:lnTo>
                    <a:pt x="7964" y="6024"/>
                  </a:lnTo>
                  <a:lnTo>
                    <a:pt x="8006" y="6025"/>
                  </a:lnTo>
                  <a:lnTo>
                    <a:pt x="8048" y="6026"/>
                  </a:lnTo>
                  <a:lnTo>
                    <a:pt x="8090" y="6025"/>
                  </a:lnTo>
                  <a:lnTo>
                    <a:pt x="8131" y="6024"/>
                  </a:lnTo>
                  <a:lnTo>
                    <a:pt x="8173" y="6021"/>
                  </a:lnTo>
                  <a:lnTo>
                    <a:pt x="8215" y="6017"/>
                  </a:lnTo>
                  <a:lnTo>
                    <a:pt x="8258" y="6011"/>
                  </a:lnTo>
                  <a:lnTo>
                    <a:pt x="8300" y="6005"/>
                  </a:lnTo>
                  <a:lnTo>
                    <a:pt x="8343" y="5997"/>
                  </a:lnTo>
                  <a:lnTo>
                    <a:pt x="8388" y="5988"/>
                  </a:lnTo>
                  <a:lnTo>
                    <a:pt x="12574" y="5022"/>
                  </a:lnTo>
                  <a:lnTo>
                    <a:pt x="12574" y="9039"/>
                  </a:lnTo>
                  <a:close/>
                  <a:moveTo>
                    <a:pt x="16095" y="3013"/>
                  </a:moveTo>
                  <a:lnTo>
                    <a:pt x="16094" y="2947"/>
                  </a:lnTo>
                  <a:lnTo>
                    <a:pt x="16089" y="2881"/>
                  </a:lnTo>
                  <a:lnTo>
                    <a:pt x="16083" y="2817"/>
                  </a:lnTo>
                  <a:lnTo>
                    <a:pt x="16073" y="2754"/>
                  </a:lnTo>
                  <a:lnTo>
                    <a:pt x="16061" y="2690"/>
                  </a:lnTo>
                  <a:lnTo>
                    <a:pt x="16046" y="2628"/>
                  </a:lnTo>
                  <a:lnTo>
                    <a:pt x="16029" y="2568"/>
                  </a:lnTo>
                  <a:lnTo>
                    <a:pt x="16009" y="2508"/>
                  </a:lnTo>
                  <a:lnTo>
                    <a:pt x="15987" y="2449"/>
                  </a:lnTo>
                  <a:lnTo>
                    <a:pt x="15962" y="2391"/>
                  </a:lnTo>
                  <a:lnTo>
                    <a:pt x="15936" y="2335"/>
                  </a:lnTo>
                  <a:lnTo>
                    <a:pt x="15907" y="2280"/>
                  </a:lnTo>
                  <a:lnTo>
                    <a:pt x="15875" y="2227"/>
                  </a:lnTo>
                  <a:lnTo>
                    <a:pt x="15842" y="2173"/>
                  </a:lnTo>
                  <a:lnTo>
                    <a:pt x="15806" y="2123"/>
                  </a:lnTo>
                  <a:lnTo>
                    <a:pt x="15768" y="2074"/>
                  </a:lnTo>
                  <a:lnTo>
                    <a:pt x="15729" y="2026"/>
                  </a:lnTo>
                  <a:lnTo>
                    <a:pt x="15687" y="1979"/>
                  </a:lnTo>
                  <a:lnTo>
                    <a:pt x="15643" y="1935"/>
                  </a:lnTo>
                  <a:lnTo>
                    <a:pt x="15598" y="1893"/>
                  </a:lnTo>
                  <a:lnTo>
                    <a:pt x="15551" y="1852"/>
                  </a:lnTo>
                  <a:lnTo>
                    <a:pt x="15501" y="1814"/>
                  </a:lnTo>
                  <a:lnTo>
                    <a:pt x="15451" y="1777"/>
                  </a:lnTo>
                  <a:lnTo>
                    <a:pt x="15399" y="1741"/>
                  </a:lnTo>
                  <a:lnTo>
                    <a:pt x="15345" y="1709"/>
                  </a:lnTo>
                  <a:lnTo>
                    <a:pt x="15289" y="1679"/>
                  </a:lnTo>
                  <a:lnTo>
                    <a:pt x="15232" y="1650"/>
                  </a:lnTo>
                  <a:lnTo>
                    <a:pt x="15174" y="1625"/>
                  </a:lnTo>
                  <a:lnTo>
                    <a:pt x="15113" y="1601"/>
                  </a:lnTo>
                  <a:lnTo>
                    <a:pt x="15052" y="1580"/>
                  </a:lnTo>
                  <a:lnTo>
                    <a:pt x="14989" y="1561"/>
                  </a:lnTo>
                  <a:lnTo>
                    <a:pt x="14926" y="1545"/>
                  </a:lnTo>
                  <a:lnTo>
                    <a:pt x="8380" y="37"/>
                  </a:lnTo>
                  <a:lnTo>
                    <a:pt x="8339" y="28"/>
                  </a:lnTo>
                  <a:lnTo>
                    <a:pt x="8298" y="21"/>
                  </a:lnTo>
                  <a:lnTo>
                    <a:pt x="8256" y="15"/>
                  </a:lnTo>
                  <a:lnTo>
                    <a:pt x="8214" y="9"/>
                  </a:lnTo>
                  <a:lnTo>
                    <a:pt x="8172" y="5"/>
                  </a:lnTo>
                  <a:lnTo>
                    <a:pt x="8131" y="2"/>
                  </a:lnTo>
                  <a:lnTo>
                    <a:pt x="8090" y="1"/>
                  </a:lnTo>
                  <a:lnTo>
                    <a:pt x="8048" y="0"/>
                  </a:lnTo>
                  <a:lnTo>
                    <a:pt x="8006" y="1"/>
                  </a:lnTo>
                  <a:lnTo>
                    <a:pt x="7964" y="2"/>
                  </a:lnTo>
                  <a:lnTo>
                    <a:pt x="7922" y="5"/>
                  </a:lnTo>
                  <a:lnTo>
                    <a:pt x="7880" y="9"/>
                  </a:lnTo>
                  <a:lnTo>
                    <a:pt x="7837" y="15"/>
                  </a:lnTo>
                  <a:lnTo>
                    <a:pt x="7795" y="21"/>
                  </a:lnTo>
                  <a:lnTo>
                    <a:pt x="7752" y="29"/>
                  </a:lnTo>
                  <a:lnTo>
                    <a:pt x="7707" y="38"/>
                  </a:lnTo>
                  <a:lnTo>
                    <a:pt x="1170" y="1545"/>
                  </a:lnTo>
                  <a:lnTo>
                    <a:pt x="1106" y="1561"/>
                  </a:lnTo>
                  <a:lnTo>
                    <a:pt x="1043" y="1580"/>
                  </a:lnTo>
                  <a:lnTo>
                    <a:pt x="982" y="1601"/>
                  </a:lnTo>
                  <a:lnTo>
                    <a:pt x="921" y="1625"/>
                  </a:lnTo>
                  <a:lnTo>
                    <a:pt x="863" y="1650"/>
                  </a:lnTo>
                  <a:lnTo>
                    <a:pt x="806" y="1679"/>
                  </a:lnTo>
                  <a:lnTo>
                    <a:pt x="750" y="1709"/>
                  </a:lnTo>
                  <a:lnTo>
                    <a:pt x="696" y="1741"/>
                  </a:lnTo>
                  <a:lnTo>
                    <a:pt x="644" y="1777"/>
                  </a:lnTo>
                  <a:lnTo>
                    <a:pt x="594" y="1814"/>
                  </a:lnTo>
                  <a:lnTo>
                    <a:pt x="544" y="1852"/>
                  </a:lnTo>
                  <a:lnTo>
                    <a:pt x="497" y="1893"/>
                  </a:lnTo>
                  <a:lnTo>
                    <a:pt x="452" y="1935"/>
                  </a:lnTo>
                  <a:lnTo>
                    <a:pt x="407" y="1979"/>
                  </a:lnTo>
                  <a:lnTo>
                    <a:pt x="366" y="2026"/>
                  </a:lnTo>
                  <a:lnTo>
                    <a:pt x="327" y="2074"/>
                  </a:lnTo>
                  <a:lnTo>
                    <a:pt x="289" y="2123"/>
                  </a:lnTo>
                  <a:lnTo>
                    <a:pt x="253" y="2173"/>
                  </a:lnTo>
                  <a:lnTo>
                    <a:pt x="220" y="2227"/>
                  </a:lnTo>
                  <a:lnTo>
                    <a:pt x="188" y="2280"/>
                  </a:lnTo>
                  <a:lnTo>
                    <a:pt x="159" y="2335"/>
                  </a:lnTo>
                  <a:lnTo>
                    <a:pt x="133" y="2391"/>
                  </a:lnTo>
                  <a:lnTo>
                    <a:pt x="108" y="2449"/>
                  </a:lnTo>
                  <a:lnTo>
                    <a:pt x="86" y="2508"/>
                  </a:lnTo>
                  <a:lnTo>
                    <a:pt x="66" y="2568"/>
                  </a:lnTo>
                  <a:lnTo>
                    <a:pt x="49" y="2628"/>
                  </a:lnTo>
                  <a:lnTo>
                    <a:pt x="34" y="2690"/>
                  </a:lnTo>
                  <a:lnTo>
                    <a:pt x="22" y="2754"/>
                  </a:lnTo>
                  <a:lnTo>
                    <a:pt x="12" y="2817"/>
                  </a:lnTo>
                  <a:lnTo>
                    <a:pt x="6" y="2881"/>
                  </a:lnTo>
                  <a:lnTo>
                    <a:pt x="1" y="2947"/>
                  </a:lnTo>
                  <a:lnTo>
                    <a:pt x="0" y="3013"/>
                  </a:lnTo>
                  <a:lnTo>
                    <a:pt x="1" y="3079"/>
                  </a:lnTo>
                  <a:lnTo>
                    <a:pt x="6" y="3143"/>
                  </a:lnTo>
                  <a:lnTo>
                    <a:pt x="12" y="3209"/>
                  </a:lnTo>
                  <a:lnTo>
                    <a:pt x="22" y="3272"/>
                  </a:lnTo>
                  <a:lnTo>
                    <a:pt x="34" y="3335"/>
                  </a:lnTo>
                  <a:lnTo>
                    <a:pt x="49" y="3396"/>
                  </a:lnTo>
                  <a:lnTo>
                    <a:pt x="66" y="3458"/>
                  </a:lnTo>
                  <a:lnTo>
                    <a:pt x="86" y="3518"/>
                  </a:lnTo>
                  <a:lnTo>
                    <a:pt x="108" y="3576"/>
                  </a:lnTo>
                  <a:lnTo>
                    <a:pt x="133" y="3635"/>
                  </a:lnTo>
                  <a:lnTo>
                    <a:pt x="159" y="3691"/>
                  </a:lnTo>
                  <a:lnTo>
                    <a:pt x="188" y="3746"/>
                  </a:lnTo>
                  <a:lnTo>
                    <a:pt x="219" y="3800"/>
                  </a:lnTo>
                  <a:lnTo>
                    <a:pt x="253" y="3852"/>
                  </a:lnTo>
                  <a:lnTo>
                    <a:pt x="289" y="3903"/>
                  </a:lnTo>
                  <a:lnTo>
                    <a:pt x="327" y="3953"/>
                  </a:lnTo>
                  <a:lnTo>
                    <a:pt x="366" y="4000"/>
                  </a:lnTo>
                  <a:lnTo>
                    <a:pt x="407" y="4046"/>
                  </a:lnTo>
                  <a:lnTo>
                    <a:pt x="452" y="4090"/>
                  </a:lnTo>
                  <a:lnTo>
                    <a:pt x="497" y="4134"/>
                  </a:lnTo>
                  <a:lnTo>
                    <a:pt x="544" y="4174"/>
                  </a:lnTo>
                  <a:lnTo>
                    <a:pt x="594" y="4213"/>
                  </a:lnTo>
                  <a:lnTo>
                    <a:pt x="644" y="4249"/>
                  </a:lnTo>
                  <a:lnTo>
                    <a:pt x="696" y="4284"/>
                  </a:lnTo>
                  <a:lnTo>
                    <a:pt x="750" y="4316"/>
                  </a:lnTo>
                  <a:lnTo>
                    <a:pt x="806" y="4348"/>
                  </a:lnTo>
                  <a:lnTo>
                    <a:pt x="863" y="4376"/>
                  </a:lnTo>
                  <a:lnTo>
                    <a:pt x="921" y="4402"/>
                  </a:lnTo>
                  <a:lnTo>
                    <a:pt x="982" y="4425"/>
                  </a:lnTo>
                  <a:lnTo>
                    <a:pt x="1043" y="4446"/>
                  </a:lnTo>
                  <a:lnTo>
                    <a:pt x="1106" y="4465"/>
                  </a:lnTo>
                  <a:lnTo>
                    <a:pt x="1170" y="4481"/>
                  </a:lnTo>
                  <a:lnTo>
                    <a:pt x="2515" y="4790"/>
                  </a:lnTo>
                  <a:lnTo>
                    <a:pt x="2515" y="9039"/>
                  </a:lnTo>
                  <a:lnTo>
                    <a:pt x="2520" y="9163"/>
                  </a:lnTo>
                  <a:lnTo>
                    <a:pt x="2533" y="9287"/>
                  </a:lnTo>
                  <a:lnTo>
                    <a:pt x="2556" y="9408"/>
                  </a:lnTo>
                  <a:lnTo>
                    <a:pt x="2588" y="9529"/>
                  </a:lnTo>
                  <a:lnTo>
                    <a:pt x="2631" y="9648"/>
                  </a:lnTo>
                  <a:lnTo>
                    <a:pt x="2682" y="9766"/>
                  </a:lnTo>
                  <a:lnTo>
                    <a:pt x="2744" y="9880"/>
                  </a:lnTo>
                  <a:lnTo>
                    <a:pt x="2817" y="9994"/>
                  </a:lnTo>
                  <a:lnTo>
                    <a:pt x="2898" y="10104"/>
                  </a:lnTo>
                  <a:lnTo>
                    <a:pt x="2992" y="10212"/>
                  </a:lnTo>
                  <a:lnTo>
                    <a:pt x="3095" y="10317"/>
                  </a:lnTo>
                  <a:lnTo>
                    <a:pt x="3209" y="10418"/>
                  </a:lnTo>
                  <a:lnTo>
                    <a:pt x="3335" y="10518"/>
                  </a:lnTo>
                  <a:lnTo>
                    <a:pt x="3471" y="10613"/>
                  </a:lnTo>
                  <a:lnTo>
                    <a:pt x="3619" y="10706"/>
                  </a:lnTo>
                  <a:lnTo>
                    <a:pt x="3779" y="10794"/>
                  </a:lnTo>
                  <a:lnTo>
                    <a:pt x="3950" y="10878"/>
                  </a:lnTo>
                  <a:lnTo>
                    <a:pt x="4134" y="10959"/>
                  </a:lnTo>
                  <a:lnTo>
                    <a:pt x="4330" y="11035"/>
                  </a:lnTo>
                  <a:lnTo>
                    <a:pt x="4537" y="11106"/>
                  </a:lnTo>
                  <a:lnTo>
                    <a:pt x="4757" y="11174"/>
                  </a:lnTo>
                  <a:lnTo>
                    <a:pt x="4989" y="11235"/>
                  </a:lnTo>
                  <a:lnTo>
                    <a:pt x="5235" y="11292"/>
                  </a:lnTo>
                  <a:lnTo>
                    <a:pt x="5493" y="11344"/>
                  </a:lnTo>
                  <a:lnTo>
                    <a:pt x="5765" y="11391"/>
                  </a:lnTo>
                  <a:lnTo>
                    <a:pt x="6050" y="11432"/>
                  </a:lnTo>
                  <a:lnTo>
                    <a:pt x="6348" y="11467"/>
                  </a:lnTo>
                  <a:lnTo>
                    <a:pt x="6660" y="11496"/>
                  </a:lnTo>
                  <a:lnTo>
                    <a:pt x="6985" y="11519"/>
                  </a:lnTo>
                  <a:lnTo>
                    <a:pt x="7325" y="11535"/>
                  </a:lnTo>
                  <a:lnTo>
                    <a:pt x="7679" y="11545"/>
                  </a:lnTo>
                  <a:lnTo>
                    <a:pt x="8048" y="11549"/>
                  </a:lnTo>
                  <a:lnTo>
                    <a:pt x="8416" y="11545"/>
                  </a:lnTo>
                  <a:lnTo>
                    <a:pt x="8770" y="11535"/>
                  </a:lnTo>
                  <a:lnTo>
                    <a:pt x="9110" y="11519"/>
                  </a:lnTo>
                  <a:lnTo>
                    <a:pt x="9435" y="11496"/>
                  </a:lnTo>
                  <a:lnTo>
                    <a:pt x="9748" y="11467"/>
                  </a:lnTo>
                  <a:lnTo>
                    <a:pt x="10045" y="11432"/>
                  </a:lnTo>
                  <a:lnTo>
                    <a:pt x="10330" y="11391"/>
                  </a:lnTo>
                  <a:lnTo>
                    <a:pt x="10602" y="11344"/>
                  </a:lnTo>
                  <a:lnTo>
                    <a:pt x="10860" y="11292"/>
                  </a:lnTo>
                  <a:lnTo>
                    <a:pt x="11106" y="11235"/>
                  </a:lnTo>
                  <a:lnTo>
                    <a:pt x="11338" y="11174"/>
                  </a:lnTo>
                  <a:lnTo>
                    <a:pt x="11558" y="11106"/>
                  </a:lnTo>
                  <a:lnTo>
                    <a:pt x="11765" y="11035"/>
                  </a:lnTo>
                  <a:lnTo>
                    <a:pt x="11961" y="10959"/>
                  </a:lnTo>
                  <a:lnTo>
                    <a:pt x="12145" y="10878"/>
                  </a:lnTo>
                  <a:lnTo>
                    <a:pt x="12316" y="10794"/>
                  </a:lnTo>
                  <a:lnTo>
                    <a:pt x="12476" y="10706"/>
                  </a:lnTo>
                  <a:lnTo>
                    <a:pt x="12624" y="10613"/>
                  </a:lnTo>
                  <a:lnTo>
                    <a:pt x="12760" y="10518"/>
                  </a:lnTo>
                  <a:lnTo>
                    <a:pt x="12886" y="10418"/>
                  </a:lnTo>
                  <a:lnTo>
                    <a:pt x="13000" y="10317"/>
                  </a:lnTo>
                  <a:lnTo>
                    <a:pt x="13103" y="10212"/>
                  </a:lnTo>
                  <a:lnTo>
                    <a:pt x="13197" y="10104"/>
                  </a:lnTo>
                  <a:lnTo>
                    <a:pt x="13278" y="9994"/>
                  </a:lnTo>
                  <a:lnTo>
                    <a:pt x="13351" y="9880"/>
                  </a:lnTo>
                  <a:lnTo>
                    <a:pt x="13413" y="9766"/>
                  </a:lnTo>
                  <a:lnTo>
                    <a:pt x="13464" y="9648"/>
                  </a:lnTo>
                  <a:lnTo>
                    <a:pt x="13507" y="9529"/>
                  </a:lnTo>
                  <a:lnTo>
                    <a:pt x="13539" y="9408"/>
                  </a:lnTo>
                  <a:lnTo>
                    <a:pt x="13562" y="9287"/>
                  </a:lnTo>
                  <a:lnTo>
                    <a:pt x="13576" y="9163"/>
                  </a:lnTo>
                  <a:lnTo>
                    <a:pt x="13580" y="9039"/>
                  </a:lnTo>
                  <a:lnTo>
                    <a:pt x="13580" y="4790"/>
                  </a:lnTo>
                  <a:lnTo>
                    <a:pt x="14925" y="4481"/>
                  </a:lnTo>
                  <a:lnTo>
                    <a:pt x="14989" y="4465"/>
                  </a:lnTo>
                  <a:lnTo>
                    <a:pt x="15052" y="4446"/>
                  </a:lnTo>
                  <a:lnTo>
                    <a:pt x="15113" y="4425"/>
                  </a:lnTo>
                  <a:lnTo>
                    <a:pt x="15174" y="4402"/>
                  </a:lnTo>
                  <a:lnTo>
                    <a:pt x="15232" y="4376"/>
                  </a:lnTo>
                  <a:lnTo>
                    <a:pt x="15289" y="4348"/>
                  </a:lnTo>
                  <a:lnTo>
                    <a:pt x="15345" y="4316"/>
                  </a:lnTo>
                  <a:lnTo>
                    <a:pt x="15399" y="4284"/>
                  </a:lnTo>
                  <a:lnTo>
                    <a:pt x="15451" y="4249"/>
                  </a:lnTo>
                  <a:lnTo>
                    <a:pt x="15501" y="4213"/>
                  </a:lnTo>
                  <a:lnTo>
                    <a:pt x="15551" y="4174"/>
                  </a:lnTo>
                  <a:lnTo>
                    <a:pt x="15598" y="4134"/>
                  </a:lnTo>
                  <a:lnTo>
                    <a:pt x="15643" y="4090"/>
                  </a:lnTo>
                  <a:lnTo>
                    <a:pt x="15687" y="4046"/>
                  </a:lnTo>
                  <a:lnTo>
                    <a:pt x="15729" y="4000"/>
                  </a:lnTo>
                  <a:lnTo>
                    <a:pt x="15768" y="3953"/>
                  </a:lnTo>
                  <a:lnTo>
                    <a:pt x="15806" y="3903"/>
                  </a:lnTo>
                  <a:lnTo>
                    <a:pt x="15842" y="3852"/>
                  </a:lnTo>
                  <a:lnTo>
                    <a:pt x="15875" y="3800"/>
                  </a:lnTo>
                  <a:lnTo>
                    <a:pt x="15906" y="3746"/>
                  </a:lnTo>
                  <a:lnTo>
                    <a:pt x="15935" y="3691"/>
                  </a:lnTo>
                  <a:lnTo>
                    <a:pt x="15962" y="3635"/>
                  </a:lnTo>
                  <a:lnTo>
                    <a:pt x="15987" y="3576"/>
                  </a:lnTo>
                  <a:lnTo>
                    <a:pt x="16009" y="3518"/>
                  </a:lnTo>
                  <a:lnTo>
                    <a:pt x="16029" y="3458"/>
                  </a:lnTo>
                  <a:lnTo>
                    <a:pt x="16046" y="3396"/>
                  </a:lnTo>
                  <a:lnTo>
                    <a:pt x="16061" y="3335"/>
                  </a:lnTo>
                  <a:lnTo>
                    <a:pt x="16073" y="3272"/>
                  </a:lnTo>
                  <a:lnTo>
                    <a:pt x="16083" y="3209"/>
                  </a:lnTo>
                  <a:lnTo>
                    <a:pt x="16089" y="3143"/>
                  </a:lnTo>
                  <a:lnTo>
                    <a:pt x="16094" y="3079"/>
                  </a:lnTo>
                  <a:lnTo>
                    <a:pt x="16095" y="30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30" name="isľïḑé">
              <a:extLst>
                <a:ext uri="{FF2B5EF4-FFF2-40B4-BE49-F238E27FC236}">
                  <a16:creationId xmlns:a16="http://schemas.microsoft.com/office/drawing/2014/main" id="{F2D68274-0F5A-4B39-AAA7-4FCD19FBE7A8}"/>
                </a:ext>
              </a:extLst>
            </p:cNvPr>
            <p:cNvSpPr/>
            <p:nvPr/>
          </p:nvSpPr>
          <p:spPr bwMode="auto">
            <a:xfrm>
              <a:off x="5054288" y="1765946"/>
              <a:ext cx="29035" cy="160229"/>
            </a:xfrm>
            <a:custGeom>
              <a:avLst/>
              <a:gdLst>
                <a:gd name="T0" fmla="*/ 1 w 1006"/>
                <a:gd name="T1" fmla="*/ 5048 h 5524"/>
                <a:gd name="T2" fmla="*/ 10 w 1006"/>
                <a:gd name="T3" fmla="*/ 5123 h 5524"/>
                <a:gd name="T4" fmla="*/ 30 w 1006"/>
                <a:gd name="T5" fmla="*/ 5195 h 5524"/>
                <a:gd name="T6" fmla="*/ 60 w 1006"/>
                <a:gd name="T7" fmla="*/ 5262 h 5524"/>
                <a:gd name="T8" fmla="*/ 100 w 1006"/>
                <a:gd name="T9" fmla="*/ 5322 h 5524"/>
                <a:gd name="T10" fmla="*/ 147 w 1006"/>
                <a:gd name="T11" fmla="*/ 5377 h 5524"/>
                <a:gd name="T12" fmla="*/ 202 w 1006"/>
                <a:gd name="T13" fmla="*/ 5425 h 5524"/>
                <a:gd name="T14" fmla="*/ 264 w 1006"/>
                <a:gd name="T15" fmla="*/ 5464 h 5524"/>
                <a:gd name="T16" fmla="*/ 330 w 1006"/>
                <a:gd name="T17" fmla="*/ 5494 h 5524"/>
                <a:gd name="T18" fmla="*/ 401 w 1006"/>
                <a:gd name="T19" fmla="*/ 5514 h 5524"/>
                <a:gd name="T20" fmla="*/ 477 w 1006"/>
                <a:gd name="T21" fmla="*/ 5523 h 5524"/>
                <a:gd name="T22" fmla="*/ 554 w 1006"/>
                <a:gd name="T23" fmla="*/ 5522 h 5524"/>
                <a:gd name="T24" fmla="*/ 629 w 1006"/>
                <a:gd name="T25" fmla="*/ 5508 h 5524"/>
                <a:gd name="T26" fmla="*/ 699 w 1006"/>
                <a:gd name="T27" fmla="*/ 5485 h 5524"/>
                <a:gd name="T28" fmla="*/ 764 w 1006"/>
                <a:gd name="T29" fmla="*/ 5452 h 5524"/>
                <a:gd name="T30" fmla="*/ 823 w 1006"/>
                <a:gd name="T31" fmla="*/ 5410 h 5524"/>
                <a:gd name="T32" fmla="*/ 875 w 1006"/>
                <a:gd name="T33" fmla="*/ 5359 h 5524"/>
                <a:gd name="T34" fmla="*/ 921 w 1006"/>
                <a:gd name="T35" fmla="*/ 5303 h 5524"/>
                <a:gd name="T36" fmla="*/ 957 w 1006"/>
                <a:gd name="T37" fmla="*/ 5240 h 5524"/>
                <a:gd name="T38" fmla="*/ 983 w 1006"/>
                <a:gd name="T39" fmla="*/ 5171 h 5524"/>
                <a:gd name="T40" fmla="*/ 1000 w 1006"/>
                <a:gd name="T41" fmla="*/ 5098 h 5524"/>
                <a:gd name="T42" fmla="*/ 1006 w 1006"/>
                <a:gd name="T43" fmla="*/ 5022 h 5524"/>
                <a:gd name="T44" fmla="*/ 1003 w 1006"/>
                <a:gd name="T45" fmla="*/ 451 h 5524"/>
                <a:gd name="T46" fmla="*/ 990 w 1006"/>
                <a:gd name="T47" fmla="*/ 377 h 5524"/>
                <a:gd name="T48" fmla="*/ 967 w 1006"/>
                <a:gd name="T49" fmla="*/ 307 h 5524"/>
                <a:gd name="T50" fmla="*/ 934 w 1006"/>
                <a:gd name="T51" fmla="*/ 242 h 5524"/>
                <a:gd name="T52" fmla="*/ 891 w 1006"/>
                <a:gd name="T53" fmla="*/ 183 h 5524"/>
                <a:gd name="T54" fmla="*/ 841 w 1006"/>
                <a:gd name="T55" fmla="*/ 131 h 5524"/>
                <a:gd name="T56" fmla="*/ 785 w 1006"/>
                <a:gd name="T57" fmla="*/ 86 h 5524"/>
                <a:gd name="T58" fmla="*/ 721 w 1006"/>
                <a:gd name="T59" fmla="*/ 50 h 5524"/>
                <a:gd name="T60" fmla="*/ 653 w 1006"/>
                <a:gd name="T61" fmla="*/ 24 h 5524"/>
                <a:gd name="T62" fmla="*/ 580 w 1006"/>
                <a:gd name="T63" fmla="*/ 6 h 5524"/>
                <a:gd name="T64" fmla="*/ 503 w 1006"/>
                <a:gd name="T65" fmla="*/ 0 h 5524"/>
                <a:gd name="T66" fmla="*/ 427 w 1006"/>
                <a:gd name="T67" fmla="*/ 6 h 5524"/>
                <a:gd name="T68" fmla="*/ 353 w 1006"/>
                <a:gd name="T69" fmla="*/ 24 h 5524"/>
                <a:gd name="T70" fmla="*/ 285 w 1006"/>
                <a:gd name="T71" fmla="*/ 50 h 5524"/>
                <a:gd name="T72" fmla="*/ 221 w 1006"/>
                <a:gd name="T73" fmla="*/ 86 h 5524"/>
                <a:gd name="T74" fmla="*/ 165 w 1006"/>
                <a:gd name="T75" fmla="*/ 131 h 5524"/>
                <a:gd name="T76" fmla="*/ 115 w 1006"/>
                <a:gd name="T77" fmla="*/ 183 h 5524"/>
                <a:gd name="T78" fmla="*/ 73 w 1006"/>
                <a:gd name="T79" fmla="*/ 242 h 5524"/>
                <a:gd name="T80" fmla="*/ 39 w 1006"/>
                <a:gd name="T81" fmla="*/ 307 h 5524"/>
                <a:gd name="T82" fmla="*/ 16 w 1006"/>
                <a:gd name="T83" fmla="*/ 377 h 5524"/>
                <a:gd name="T84" fmla="*/ 2 w 1006"/>
                <a:gd name="T85" fmla="*/ 451 h 5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" h="5524">
                  <a:moveTo>
                    <a:pt x="0" y="503"/>
                  </a:moveTo>
                  <a:lnTo>
                    <a:pt x="0" y="5022"/>
                  </a:lnTo>
                  <a:lnTo>
                    <a:pt x="1" y="5048"/>
                  </a:lnTo>
                  <a:lnTo>
                    <a:pt x="2" y="5073"/>
                  </a:lnTo>
                  <a:lnTo>
                    <a:pt x="6" y="5098"/>
                  </a:lnTo>
                  <a:lnTo>
                    <a:pt x="10" y="5123"/>
                  </a:lnTo>
                  <a:lnTo>
                    <a:pt x="16" y="5147"/>
                  </a:lnTo>
                  <a:lnTo>
                    <a:pt x="22" y="5171"/>
                  </a:lnTo>
                  <a:lnTo>
                    <a:pt x="30" y="5195"/>
                  </a:lnTo>
                  <a:lnTo>
                    <a:pt x="39" y="5218"/>
                  </a:lnTo>
                  <a:lnTo>
                    <a:pt x="49" y="5240"/>
                  </a:lnTo>
                  <a:lnTo>
                    <a:pt x="60" y="5262"/>
                  </a:lnTo>
                  <a:lnTo>
                    <a:pt x="73" y="5282"/>
                  </a:lnTo>
                  <a:lnTo>
                    <a:pt x="86" y="5303"/>
                  </a:lnTo>
                  <a:lnTo>
                    <a:pt x="100" y="5322"/>
                  </a:lnTo>
                  <a:lnTo>
                    <a:pt x="115" y="5341"/>
                  </a:lnTo>
                  <a:lnTo>
                    <a:pt x="131" y="5359"/>
                  </a:lnTo>
                  <a:lnTo>
                    <a:pt x="147" y="5377"/>
                  </a:lnTo>
                  <a:lnTo>
                    <a:pt x="165" y="5393"/>
                  </a:lnTo>
                  <a:lnTo>
                    <a:pt x="183" y="5410"/>
                  </a:lnTo>
                  <a:lnTo>
                    <a:pt x="202" y="5425"/>
                  </a:lnTo>
                  <a:lnTo>
                    <a:pt x="221" y="5439"/>
                  </a:lnTo>
                  <a:lnTo>
                    <a:pt x="243" y="5452"/>
                  </a:lnTo>
                  <a:lnTo>
                    <a:pt x="264" y="5464"/>
                  </a:lnTo>
                  <a:lnTo>
                    <a:pt x="285" y="5475"/>
                  </a:lnTo>
                  <a:lnTo>
                    <a:pt x="307" y="5485"/>
                  </a:lnTo>
                  <a:lnTo>
                    <a:pt x="330" y="5494"/>
                  </a:lnTo>
                  <a:lnTo>
                    <a:pt x="353" y="5502"/>
                  </a:lnTo>
                  <a:lnTo>
                    <a:pt x="377" y="5508"/>
                  </a:lnTo>
                  <a:lnTo>
                    <a:pt x="401" y="5514"/>
                  </a:lnTo>
                  <a:lnTo>
                    <a:pt x="427" y="5518"/>
                  </a:lnTo>
                  <a:lnTo>
                    <a:pt x="452" y="5522"/>
                  </a:lnTo>
                  <a:lnTo>
                    <a:pt x="477" y="5523"/>
                  </a:lnTo>
                  <a:lnTo>
                    <a:pt x="503" y="5524"/>
                  </a:lnTo>
                  <a:lnTo>
                    <a:pt x="529" y="5523"/>
                  </a:lnTo>
                  <a:lnTo>
                    <a:pt x="554" y="5522"/>
                  </a:lnTo>
                  <a:lnTo>
                    <a:pt x="580" y="5518"/>
                  </a:lnTo>
                  <a:lnTo>
                    <a:pt x="605" y="5514"/>
                  </a:lnTo>
                  <a:lnTo>
                    <a:pt x="629" y="5508"/>
                  </a:lnTo>
                  <a:lnTo>
                    <a:pt x="653" y="5502"/>
                  </a:lnTo>
                  <a:lnTo>
                    <a:pt x="676" y="5494"/>
                  </a:lnTo>
                  <a:lnTo>
                    <a:pt x="699" y="5485"/>
                  </a:lnTo>
                  <a:lnTo>
                    <a:pt x="721" y="5475"/>
                  </a:lnTo>
                  <a:lnTo>
                    <a:pt x="742" y="5464"/>
                  </a:lnTo>
                  <a:lnTo>
                    <a:pt x="764" y="5452"/>
                  </a:lnTo>
                  <a:lnTo>
                    <a:pt x="785" y="5439"/>
                  </a:lnTo>
                  <a:lnTo>
                    <a:pt x="804" y="5425"/>
                  </a:lnTo>
                  <a:lnTo>
                    <a:pt x="823" y="5410"/>
                  </a:lnTo>
                  <a:lnTo>
                    <a:pt x="841" y="5393"/>
                  </a:lnTo>
                  <a:lnTo>
                    <a:pt x="859" y="5377"/>
                  </a:lnTo>
                  <a:lnTo>
                    <a:pt x="875" y="5359"/>
                  </a:lnTo>
                  <a:lnTo>
                    <a:pt x="891" y="5341"/>
                  </a:lnTo>
                  <a:lnTo>
                    <a:pt x="906" y="5322"/>
                  </a:lnTo>
                  <a:lnTo>
                    <a:pt x="921" y="5303"/>
                  </a:lnTo>
                  <a:lnTo>
                    <a:pt x="934" y="5282"/>
                  </a:lnTo>
                  <a:lnTo>
                    <a:pt x="946" y="5262"/>
                  </a:lnTo>
                  <a:lnTo>
                    <a:pt x="957" y="5240"/>
                  </a:lnTo>
                  <a:lnTo>
                    <a:pt x="967" y="5218"/>
                  </a:lnTo>
                  <a:lnTo>
                    <a:pt x="976" y="5195"/>
                  </a:lnTo>
                  <a:lnTo>
                    <a:pt x="983" y="5171"/>
                  </a:lnTo>
                  <a:lnTo>
                    <a:pt x="990" y="5147"/>
                  </a:lnTo>
                  <a:lnTo>
                    <a:pt x="996" y="5123"/>
                  </a:lnTo>
                  <a:lnTo>
                    <a:pt x="1000" y="5098"/>
                  </a:lnTo>
                  <a:lnTo>
                    <a:pt x="1003" y="5073"/>
                  </a:lnTo>
                  <a:lnTo>
                    <a:pt x="1005" y="5048"/>
                  </a:lnTo>
                  <a:lnTo>
                    <a:pt x="1006" y="5022"/>
                  </a:lnTo>
                  <a:lnTo>
                    <a:pt x="1006" y="503"/>
                  </a:lnTo>
                  <a:lnTo>
                    <a:pt x="1005" y="476"/>
                  </a:lnTo>
                  <a:lnTo>
                    <a:pt x="1003" y="451"/>
                  </a:lnTo>
                  <a:lnTo>
                    <a:pt x="1000" y="426"/>
                  </a:lnTo>
                  <a:lnTo>
                    <a:pt x="996" y="401"/>
                  </a:lnTo>
                  <a:lnTo>
                    <a:pt x="990" y="377"/>
                  </a:lnTo>
                  <a:lnTo>
                    <a:pt x="983" y="353"/>
                  </a:lnTo>
                  <a:lnTo>
                    <a:pt x="976" y="330"/>
                  </a:lnTo>
                  <a:lnTo>
                    <a:pt x="967" y="307"/>
                  </a:lnTo>
                  <a:lnTo>
                    <a:pt x="957" y="285"/>
                  </a:lnTo>
                  <a:lnTo>
                    <a:pt x="946" y="264"/>
                  </a:lnTo>
                  <a:lnTo>
                    <a:pt x="934" y="242"/>
                  </a:lnTo>
                  <a:lnTo>
                    <a:pt x="921" y="221"/>
                  </a:lnTo>
                  <a:lnTo>
                    <a:pt x="906" y="202"/>
                  </a:lnTo>
                  <a:lnTo>
                    <a:pt x="891" y="183"/>
                  </a:lnTo>
                  <a:lnTo>
                    <a:pt x="875" y="165"/>
                  </a:lnTo>
                  <a:lnTo>
                    <a:pt x="859" y="147"/>
                  </a:lnTo>
                  <a:lnTo>
                    <a:pt x="841" y="131"/>
                  </a:lnTo>
                  <a:lnTo>
                    <a:pt x="823" y="115"/>
                  </a:lnTo>
                  <a:lnTo>
                    <a:pt x="804" y="100"/>
                  </a:lnTo>
                  <a:lnTo>
                    <a:pt x="785" y="86"/>
                  </a:lnTo>
                  <a:lnTo>
                    <a:pt x="764" y="73"/>
                  </a:lnTo>
                  <a:lnTo>
                    <a:pt x="742" y="61"/>
                  </a:lnTo>
                  <a:lnTo>
                    <a:pt x="721" y="50"/>
                  </a:lnTo>
                  <a:lnTo>
                    <a:pt x="699" y="40"/>
                  </a:lnTo>
                  <a:lnTo>
                    <a:pt x="676" y="31"/>
                  </a:lnTo>
                  <a:lnTo>
                    <a:pt x="653" y="24"/>
                  </a:lnTo>
                  <a:lnTo>
                    <a:pt x="629" y="16"/>
                  </a:lnTo>
                  <a:lnTo>
                    <a:pt x="605" y="10"/>
                  </a:lnTo>
                  <a:lnTo>
                    <a:pt x="580" y="6"/>
                  </a:lnTo>
                  <a:lnTo>
                    <a:pt x="554" y="3"/>
                  </a:lnTo>
                  <a:lnTo>
                    <a:pt x="529" y="1"/>
                  </a:lnTo>
                  <a:lnTo>
                    <a:pt x="503" y="0"/>
                  </a:lnTo>
                  <a:lnTo>
                    <a:pt x="477" y="1"/>
                  </a:lnTo>
                  <a:lnTo>
                    <a:pt x="452" y="3"/>
                  </a:lnTo>
                  <a:lnTo>
                    <a:pt x="427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4"/>
                  </a:lnTo>
                  <a:lnTo>
                    <a:pt x="330" y="31"/>
                  </a:lnTo>
                  <a:lnTo>
                    <a:pt x="307" y="40"/>
                  </a:lnTo>
                  <a:lnTo>
                    <a:pt x="285" y="50"/>
                  </a:lnTo>
                  <a:lnTo>
                    <a:pt x="264" y="61"/>
                  </a:lnTo>
                  <a:lnTo>
                    <a:pt x="243" y="73"/>
                  </a:lnTo>
                  <a:lnTo>
                    <a:pt x="221" y="86"/>
                  </a:lnTo>
                  <a:lnTo>
                    <a:pt x="202" y="100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100" y="202"/>
                  </a:lnTo>
                  <a:lnTo>
                    <a:pt x="86" y="221"/>
                  </a:lnTo>
                  <a:lnTo>
                    <a:pt x="73" y="242"/>
                  </a:lnTo>
                  <a:lnTo>
                    <a:pt x="60" y="264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2" y="451"/>
                  </a:lnTo>
                  <a:lnTo>
                    <a:pt x="1" y="476"/>
                  </a:lnTo>
                  <a:lnTo>
                    <a:pt x="0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31" name="î$ḻíḋe">
              <a:extLst>
                <a:ext uri="{FF2B5EF4-FFF2-40B4-BE49-F238E27FC236}">
                  <a16:creationId xmlns:a16="http://schemas.microsoft.com/office/drawing/2014/main" id="{F11C49B2-009C-44F8-95EC-16474BEDA439}"/>
                </a:ext>
              </a:extLst>
            </p:cNvPr>
            <p:cNvSpPr/>
            <p:nvPr/>
          </p:nvSpPr>
          <p:spPr bwMode="auto">
            <a:xfrm>
              <a:off x="5040309" y="1941230"/>
              <a:ext cx="58069" cy="87104"/>
            </a:xfrm>
            <a:custGeom>
              <a:avLst/>
              <a:gdLst>
                <a:gd name="T0" fmla="*/ 903 w 2012"/>
                <a:gd name="T1" fmla="*/ 16 h 3013"/>
                <a:gd name="T2" fmla="*/ 755 w 2012"/>
                <a:gd name="T3" fmla="*/ 98 h 3013"/>
                <a:gd name="T4" fmla="*/ 615 w 2012"/>
                <a:gd name="T5" fmla="*/ 236 h 3013"/>
                <a:gd name="T6" fmla="*/ 485 w 2012"/>
                <a:gd name="T7" fmla="*/ 420 h 3013"/>
                <a:gd name="T8" fmla="*/ 366 w 2012"/>
                <a:gd name="T9" fmla="*/ 638 h 3013"/>
                <a:gd name="T10" fmla="*/ 262 w 2012"/>
                <a:gd name="T11" fmla="*/ 879 h 3013"/>
                <a:gd name="T12" fmla="*/ 172 w 2012"/>
                <a:gd name="T13" fmla="*/ 1130 h 3013"/>
                <a:gd name="T14" fmla="*/ 100 w 2012"/>
                <a:gd name="T15" fmla="*/ 1380 h 3013"/>
                <a:gd name="T16" fmla="*/ 45 w 2012"/>
                <a:gd name="T17" fmla="*/ 1617 h 3013"/>
                <a:gd name="T18" fmla="*/ 12 w 2012"/>
                <a:gd name="T19" fmla="*/ 1831 h 3013"/>
                <a:gd name="T20" fmla="*/ 0 w 2012"/>
                <a:gd name="T21" fmla="*/ 2009 h 3013"/>
                <a:gd name="T22" fmla="*/ 12 w 2012"/>
                <a:gd name="T23" fmla="*/ 2161 h 3013"/>
                <a:gd name="T24" fmla="*/ 45 w 2012"/>
                <a:gd name="T25" fmla="*/ 2307 h 3013"/>
                <a:gd name="T26" fmla="*/ 100 w 2012"/>
                <a:gd name="T27" fmla="*/ 2444 h 3013"/>
                <a:gd name="T28" fmla="*/ 172 w 2012"/>
                <a:gd name="T29" fmla="*/ 2570 h 3013"/>
                <a:gd name="T30" fmla="*/ 262 w 2012"/>
                <a:gd name="T31" fmla="*/ 2684 h 3013"/>
                <a:gd name="T32" fmla="*/ 366 w 2012"/>
                <a:gd name="T33" fmla="*/ 2784 h 3013"/>
                <a:gd name="T34" fmla="*/ 485 w 2012"/>
                <a:gd name="T35" fmla="*/ 2867 h 3013"/>
                <a:gd name="T36" fmla="*/ 615 w 2012"/>
                <a:gd name="T37" fmla="*/ 2934 h 3013"/>
                <a:gd name="T38" fmla="*/ 755 w 2012"/>
                <a:gd name="T39" fmla="*/ 2981 h 3013"/>
                <a:gd name="T40" fmla="*/ 903 w 2012"/>
                <a:gd name="T41" fmla="*/ 3008 h 3013"/>
                <a:gd name="T42" fmla="*/ 1057 w 2012"/>
                <a:gd name="T43" fmla="*/ 3012 h 3013"/>
                <a:gd name="T44" fmla="*/ 1208 w 2012"/>
                <a:gd name="T45" fmla="*/ 2993 h 3013"/>
                <a:gd name="T46" fmla="*/ 1352 w 2012"/>
                <a:gd name="T47" fmla="*/ 2952 h 3013"/>
                <a:gd name="T48" fmla="*/ 1486 w 2012"/>
                <a:gd name="T49" fmla="*/ 2891 h 3013"/>
                <a:gd name="T50" fmla="*/ 1608 w 2012"/>
                <a:gd name="T51" fmla="*/ 2813 h 3013"/>
                <a:gd name="T52" fmla="*/ 1717 w 2012"/>
                <a:gd name="T53" fmla="*/ 2719 h 3013"/>
                <a:gd name="T54" fmla="*/ 1812 w 2012"/>
                <a:gd name="T55" fmla="*/ 2609 h 3013"/>
                <a:gd name="T56" fmla="*/ 1890 w 2012"/>
                <a:gd name="T57" fmla="*/ 2488 h 3013"/>
                <a:gd name="T58" fmla="*/ 1951 w 2012"/>
                <a:gd name="T59" fmla="*/ 2354 h 3013"/>
                <a:gd name="T60" fmla="*/ 1992 w 2012"/>
                <a:gd name="T61" fmla="*/ 2211 h 3013"/>
                <a:gd name="T62" fmla="*/ 2011 w 2012"/>
                <a:gd name="T63" fmla="*/ 2060 h 3013"/>
                <a:gd name="T64" fmla="*/ 2007 w 2012"/>
                <a:gd name="T65" fmla="*/ 1895 h 3013"/>
                <a:gd name="T66" fmla="*/ 1980 w 2012"/>
                <a:gd name="T67" fmla="*/ 1692 h 3013"/>
                <a:gd name="T68" fmla="*/ 1933 w 2012"/>
                <a:gd name="T69" fmla="*/ 1461 h 3013"/>
                <a:gd name="T70" fmla="*/ 1866 w 2012"/>
                <a:gd name="T71" fmla="*/ 1213 h 3013"/>
                <a:gd name="T72" fmla="*/ 1783 w 2012"/>
                <a:gd name="T73" fmla="*/ 961 h 3013"/>
                <a:gd name="T74" fmla="*/ 1682 w 2012"/>
                <a:gd name="T75" fmla="*/ 716 h 3013"/>
                <a:gd name="T76" fmla="*/ 1568 w 2012"/>
                <a:gd name="T77" fmla="*/ 489 h 3013"/>
                <a:gd name="T78" fmla="*/ 1442 w 2012"/>
                <a:gd name="T79" fmla="*/ 292 h 3013"/>
                <a:gd name="T80" fmla="*/ 1305 w 2012"/>
                <a:gd name="T81" fmla="*/ 138 h 3013"/>
                <a:gd name="T82" fmla="*/ 1159 w 2012"/>
                <a:gd name="T83" fmla="*/ 36 h 3013"/>
                <a:gd name="T84" fmla="*/ 1006 w 2012"/>
                <a:gd name="T85" fmla="*/ 0 h 30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12" h="3013">
                  <a:moveTo>
                    <a:pt x="1006" y="0"/>
                  </a:moveTo>
                  <a:lnTo>
                    <a:pt x="955" y="4"/>
                  </a:lnTo>
                  <a:lnTo>
                    <a:pt x="903" y="16"/>
                  </a:lnTo>
                  <a:lnTo>
                    <a:pt x="853" y="36"/>
                  </a:lnTo>
                  <a:lnTo>
                    <a:pt x="804" y="63"/>
                  </a:lnTo>
                  <a:lnTo>
                    <a:pt x="755" y="98"/>
                  </a:lnTo>
                  <a:lnTo>
                    <a:pt x="707" y="138"/>
                  </a:lnTo>
                  <a:lnTo>
                    <a:pt x="660" y="184"/>
                  </a:lnTo>
                  <a:lnTo>
                    <a:pt x="615" y="236"/>
                  </a:lnTo>
                  <a:lnTo>
                    <a:pt x="570" y="292"/>
                  </a:lnTo>
                  <a:lnTo>
                    <a:pt x="527" y="355"/>
                  </a:lnTo>
                  <a:lnTo>
                    <a:pt x="485" y="420"/>
                  </a:lnTo>
                  <a:lnTo>
                    <a:pt x="444" y="489"/>
                  </a:lnTo>
                  <a:lnTo>
                    <a:pt x="405" y="563"/>
                  </a:lnTo>
                  <a:lnTo>
                    <a:pt x="366" y="638"/>
                  </a:lnTo>
                  <a:lnTo>
                    <a:pt x="330" y="716"/>
                  </a:lnTo>
                  <a:lnTo>
                    <a:pt x="295" y="797"/>
                  </a:lnTo>
                  <a:lnTo>
                    <a:pt x="262" y="879"/>
                  </a:lnTo>
                  <a:lnTo>
                    <a:pt x="230" y="961"/>
                  </a:lnTo>
                  <a:lnTo>
                    <a:pt x="200" y="1046"/>
                  </a:lnTo>
                  <a:lnTo>
                    <a:pt x="172" y="1130"/>
                  </a:lnTo>
                  <a:lnTo>
                    <a:pt x="146" y="1213"/>
                  </a:lnTo>
                  <a:lnTo>
                    <a:pt x="122" y="1298"/>
                  </a:lnTo>
                  <a:lnTo>
                    <a:pt x="100" y="1380"/>
                  </a:lnTo>
                  <a:lnTo>
                    <a:pt x="80" y="1461"/>
                  </a:lnTo>
                  <a:lnTo>
                    <a:pt x="61" y="1541"/>
                  </a:lnTo>
                  <a:lnTo>
                    <a:pt x="45" y="1617"/>
                  </a:lnTo>
                  <a:lnTo>
                    <a:pt x="32" y="1692"/>
                  </a:lnTo>
                  <a:lnTo>
                    <a:pt x="20" y="1764"/>
                  </a:lnTo>
                  <a:lnTo>
                    <a:pt x="12" y="1831"/>
                  </a:lnTo>
                  <a:lnTo>
                    <a:pt x="5" y="1895"/>
                  </a:lnTo>
                  <a:lnTo>
                    <a:pt x="1" y="1954"/>
                  </a:lnTo>
                  <a:lnTo>
                    <a:pt x="0" y="2009"/>
                  </a:lnTo>
                  <a:lnTo>
                    <a:pt x="1" y="2060"/>
                  </a:lnTo>
                  <a:lnTo>
                    <a:pt x="5" y="2111"/>
                  </a:lnTo>
                  <a:lnTo>
                    <a:pt x="12" y="2161"/>
                  </a:lnTo>
                  <a:lnTo>
                    <a:pt x="20" y="2211"/>
                  </a:lnTo>
                  <a:lnTo>
                    <a:pt x="32" y="2260"/>
                  </a:lnTo>
                  <a:lnTo>
                    <a:pt x="45" y="2307"/>
                  </a:lnTo>
                  <a:lnTo>
                    <a:pt x="61" y="2354"/>
                  </a:lnTo>
                  <a:lnTo>
                    <a:pt x="80" y="2399"/>
                  </a:lnTo>
                  <a:lnTo>
                    <a:pt x="100" y="2444"/>
                  </a:lnTo>
                  <a:lnTo>
                    <a:pt x="122" y="2488"/>
                  </a:lnTo>
                  <a:lnTo>
                    <a:pt x="146" y="2529"/>
                  </a:lnTo>
                  <a:lnTo>
                    <a:pt x="172" y="2570"/>
                  </a:lnTo>
                  <a:lnTo>
                    <a:pt x="200" y="2609"/>
                  </a:lnTo>
                  <a:lnTo>
                    <a:pt x="230" y="2647"/>
                  </a:lnTo>
                  <a:lnTo>
                    <a:pt x="262" y="2684"/>
                  </a:lnTo>
                  <a:lnTo>
                    <a:pt x="295" y="2719"/>
                  </a:lnTo>
                  <a:lnTo>
                    <a:pt x="330" y="2752"/>
                  </a:lnTo>
                  <a:lnTo>
                    <a:pt x="366" y="2784"/>
                  </a:lnTo>
                  <a:lnTo>
                    <a:pt x="405" y="2813"/>
                  </a:lnTo>
                  <a:lnTo>
                    <a:pt x="444" y="2841"/>
                  </a:lnTo>
                  <a:lnTo>
                    <a:pt x="485" y="2867"/>
                  </a:lnTo>
                  <a:lnTo>
                    <a:pt x="527" y="2891"/>
                  </a:lnTo>
                  <a:lnTo>
                    <a:pt x="570" y="2914"/>
                  </a:lnTo>
                  <a:lnTo>
                    <a:pt x="615" y="2934"/>
                  </a:lnTo>
                  <a:lnTo>
                    <a:pt x="660" y="2952"/>
                  </a:lnTo>
                  <a:lnTo>
                    <a:pt x="707" y="2968"/>
                  </a:lnTo>
                  <a:lnTo>
                    <a:pt x="755" y="2981"/>
                  </a:lnTo>
                  <a:lnTo>
                    <a:pt x="804" y="2993"/>
                  </a:lnTo>
                  <a:lnTo>
                    <a:pt x="853" y="3001"/>
                  </a:lnTo>
                  <a:lnTo>
                    <a:pt x="903" y="3008"/>
                  </a:lnTo>
                  <a:lnTo>
                    <a:pt x="955" y="3012"/>
                  </a:lnTo>
                  <a:lnTo>
                    <a:pt x="1006" y="3013"/>
                  </a:lnTo>
                  <a:lnTo>
                    <a:pt x="1057" y="3012"/>
                  </a:lnTo>
                  <a:lnTo>
                    <a:pt x="1109" y="3008"/>
                  </a:lnTo>
                  <a:lnTo>
                    <a:pt x="1159" y="3001"/>
                  </a:lnTo>
                  <a:lnTo>
                    <a:pt x="1208" y="2993"/>
                  </a:lnTo>
                  <a:lnTo>
                    <a:pt x="1258" y="2981"/>
                  </a:lnTo>
                  <a:lnTo>
                    <a:pt x="1305" y="2968"/>
                  </a:lnTo>
                  <a:lnTo>
                    <a:pt x="1352" y="2952"/>
                  </a:lnTo>
                  <a:lnTo>
                    <a:pt x="1397" y="2934"/>
                  </a:lnTo>
                  <a:lnTo>
                    <a:pt x="1442" y="2914"/>
                  </a:lnTo>
                  <a:lnTo>
                    <a:pt x="1486" y="2891"/>
                  </a:lnTo>
                  <a:lnTo>
                    <a:pt x="1527" y="2867"/>
                  </a:lnTo>
                  <a:lnTo>
                    <a:pt x="1568" y="2841"/>
                  </a:lnTo>
                  <a:lnTo>
                    <a:pt x="1608" y="2813"/>
                  </a:lnTo>
                  <a:lnTo>
                    <a:pt x="1646" y="2784"/>
                  </a:lnTo>
                  <a:lnTo>
                    <a:pt x="1682" y="2752"/>
                  </a:lnTo>
                  <a:lnTo>
                    <a:pt x="1717" y="2719"/>
                  </a:lnTo>
                  <a:lnTo>
                    <a:pt x="1750" y="2684"/>
                  </a:lnTo>
                  <a:lnTo>
                    <a:pt x="1783" y="2647"/>
                  </a:lnTo>
                  <a:lnTo>
                    <a:pt x="1812" y="2609"/>
                  </a:lnTo>
                  <a:lnTo>
                    <a:pt x="1840" y="2570"/>
                  </a:lnTo>
                  <a:lnTo>
                    <a:pt x="1866" y="2529"/>
                  </a:lnTo>
                  <a:lnTo>
                    <a:pt x="1890" y="2488"/>
                  </a:lnTo>
                  <a:lnTo>
                    <a:pt x="1912" y="2444"/>
                  </a:lnTo>
                  <a:lnTo>
                    <a:pt x="1933" y="2399"/>
                  </a:lnTo>
                  <a:lnTo>
                    <a:pt x="1951" y="2354"/>
                  </a:lnTo>
                  <a:lnTo>
                    <a:pt x="1967" y="2307"/>
                  </a:lnTo>
                  <a:lnTo>
                    <a:pt x="1980" y="2260"/>
                  </a:lnTo>
                  <a:lnTo>
                    <a:pt x="1992" y="2211"/>
                  </a:lnTo>
                  <a:lnTo>
                    <a:pt x="2000" y="2161"/>
                  </a:lnTo>
                  <a:lnTo>
                    <a:pt x="2007" y="2111"/>
                  </a:lnTo>
                  <a:lnTo>
                    <a:pt x="2011" y="2060"/>
                  </a:lnTo>
                  <a:lnTo>
                    <a:pt x="2012" y="2009"/>
                  </a:lnTo>
                  <a:lnTo>
                    <a:pt x="2011" y="1954"/>
                  </a:lnTo>
                  <a:lnTo>
                    <a:pt x="2007" y="1895"/>
                  </a:lnTo>
                  <a:lnTo>
                    <a:pt x="2000" y="1831"/>
                  </a:lnTo>
                  <a:lnTo>
                    <a:pt x="1992" y="1764"/>
                  </a:lnTo>
                  <a:lnTo>
                    <a:pt x="1980" y="1692"/>
                  </a:lnTo>
                  <a:lnTo>
                    <a:pt x="1967" y="1617"/>
                  </a:lnTo>
                  <a:lnTo>
                    <a:pt x="1951" y="1541"/>
                  </a:lnTo>
                  <a:lnTo>
                    <a:pt x="1933" y="1461"/>
                  </a:lnTo>
                  <a:lnTo>
                    <a:pt x="1912" y="1380"/>
                  </a:lnTo>
                  <a:lnTo>
                    <a:pt x="1890" y="1298"/>
                  </a:lnTo>
                  <a:lnTo>
                    <a:pt x="1866" y="1213"/>
                  </a:lnTo>
                  <a:lnTo>
                    <a:pt x="1840" y="1130"/>
                  </a:lnTo>
                  <a:lnTo>
                    <a:pt x="1812" y="1046"/>
                  </a:lnTo>
                  <a:lnTo>
                    <a:pt x="1783" y="961"/>
                  </a:lnTo>
                  <a:lnTo>
                    <a:pt x="1750" y="879"/>
                  </a:lnTo>
                  <a:lnTo>
                    <a:pt x="1717" y="797"/>
                  </a:lnTo>
                  <a:lnTo>
                    <a:pt x="1682" y="716"/>
                  </a:lnTo>
                  <a:lnTo>
                    <a:pt x="1646" y="638"/>
                  </a:lnTo>
                  <a:lnTo>
                    <a:pt x="1608" y="563"/>
                  </a:lnTo>
                  <a:lnTo>
                    <a:pt x="1568" y="489"/>
                  </a:lnTo>
                  <a:lnTo>
                    <a:pt x="1527" y="420"/>
                  </a:lnTo>
                  <a:lnTo>
                    <a:pt x="1486" y="355"/>
                  </a:lnTo>
                  <a:lnTo>
                    <a:pt x="1442" y="292"/>
                  </a:lnTo>
                  <a:lnTo>
                    <a:pt x="1397" y="236"/>
                  </a:lnTo>
                  <a:lnTo>
                    <a:pt x="1352" y="184"/>
                  </a:lnTo>
                  <a:lnTo>
                    <a:pt x="1305" y="138"/>
                  </a:lnTo>
                  <a:lnTo>
                    <a:pt x="1258" y="98"/>
                  </a:lnTo>
                  <a:lnTo>
                    <a:pt x="1208" y="63"/>
                  </a:lnTo>
                  <a:lnTo>
                    <a:pt x="1159" y="36"/>
                  </a:lnTo>
                  <a:lnTo>
                    <a:pt x="1109" y="16"/>
                  </a:lnTo>
                  <a:lnTo>
                    <a:pt x="1057" y="4"/>
                  </a:lnTo>
                  <a:lnTo>
                    <a:pt x="100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32" name="ísḷíḋé">
              <a:extLst>
                <a:ext uri="{FF2B5EF4-FFF2-40B4-BE49-F238E27FC236}">
                  <a16:creationId xmlns:a16="http://schemas.microsoft.com/office/drawing/2014/main" id="{F6B346F2-84E0-477D-80D6-1FCB1D6142F0}"/>
                </a:ext>
              </a:extLst>
            </p:cNvPr>
            <p:cNvSpPr/>
            <p:nvPr/>
          </p:nvSpPr>
          <p:spPr bwMode="auto">
            <a:xfrm>
              <a:off x="4821555" y="2306672"/>
              <a:ext cx="65098" cy="66304"/>
            </a:xfrm>
            <a:custGeom>
              <a:avLst/>
              <a:gdLst>
                <a:gd name="T0" fmla="*/ 903 w 2011"/>
                <a:gd name="T1" fmla="*/ 5 h 2014"/>
                <a:gd name="T2" fmla="*/ 754 w 2011"/>
                <a:gd name="T3" fmla="*/ 31 h 2014"/>
                <a:gd name="T4" fmla="*/ 614 w 2011"/>
                <a:gd name="T5" fmla="*/ 79 h 2014"/>
                <a:gd name="T6" fmla="*/ 483 w 2011"/>
                <a:gd name="T7" fmla="*/ 146 h 2014"/>
                <a:gd name="T8" fmla="*/ 366 w 2011"/>
                <a:gd name="T9" fmla="*/ 229 h 2014"/>
                <a:gd name="T10" fmla="*/ 261 w 2011"/>
                <a:gd name="T11" fmla="*/ 330 h 2014"/>
                <a:gd name="T12" fmla="*/ 172 w 2011"/>
                <a:gd name="T13" fmla="*/ 444 h 2014"/>
                <a:gd name="T14" fmla="*/ 99 w 2011"/>
                <a:gd name="T15" fmla="*/ 571 h 2014"/>
                <a:gd name="T16" fmla="*/ 45 w 2011"/>
                <a:gd name="T17" fmla="*/ 708 h 2014"/>
                <a:gd name="T18" fmla="*/ 11 w 2011"/>
                <a:gd name="T19" fmla="*/ 854 h 2014"/>
                <a:gd name="T20" fmla="*/ 0 w 2011"/>
                <a:gd name="T21" fmla="*/ 1007 h 2014"/>
                <a:gd name="T22" fmla="*/ 11 w 2011"/>
                <a:gd name="T23" fmla="*/ 1160 h 2014"/>
                <a:gd name="T24" fmla="*/ 45 w 2011"/>
                <a:gd name="T25" fmla="*/ 1306 h 2014"/>
                <a:gd name="T26" fmla="*/ 99 w 2011"/>
                <a:gd name="T27" fmla="*/ 1443 h 2014"/>
                <a:gd name="T28" fmla="*/ 172 w 2011"/>
                <a:gd name="T29" fmla="*/ 1570 h 2014"/>
                <a:gd name="T30" fmla="*/ 261 w 2011"/>
                <a:gd name="T31" fmla="*/ 1684 h 2014"/>
                <a:gd name="T32" fmla="*/ 366 w 2011"/>
                <a:gd name="T33" fmla="*/ 1785 h 2014"/>
                <a:gd name="T34" fmla="*/ 483 w 2011"/>
                <a:gd name="T35" fmla="*/ 1868 h 2014"/>
                <a:gd name="T36" fmla="*/ 614 w 2011"/>
                <a:gd name="T37" fmla="*/ 1935 h 2014"/>
                <a:gd name="T38" fmla="*/ 754 w 2011"/>
                <a:gd name="T39" fmla="*/ 1982 h 2014"/>
                <a:gd name="T40" fmla="*/ 903 w 2011"/>
                <a:gd name="T41" fmla="*/ 2009 h 2014"/>
                <a:gd name="T42" fmla="*/ 1057 w 2011"/>
                <a:gd name="T43" fmla="*/ 2013 h 2014"/>
                <a:gd name="T44" fmla="*/ 1208 w 2011"/>
                <a:gd name="T45" fmla="*/ 1994 h 2014"/>
                <a:gd name="T46" fmla="*/ 1351 w 2011"/>
                <a:gd name="T47" fmla="*/ 1953 h 2014"/>
                <a:gd name="T48" fmla="*/ 1484 w 2011"/>
                <a:gd name="T49" fmla="*/ 1892 h 2014"/>
                <a:gd name="T50" fmla="*/ 1607 w 2011"/>
                <a:gd name="T51" fmla="*/ 1814 h 2014"/>
                <a:gd name="T52" fmla="*/ 1717 w 2011"/>
                <a:gd name="T53" fmla="*/ 1719 h 2014"/>
                <a:gd name="T54" fmla="*/ 1811 w 2011"/>
                <a:gd name="T55" fmla="*/ 1609 h 2014"/>
                <a:gd name="T56" fmla="*/ 1890 w 2011"/>
                <a:gd name="T57" fmla="*/ 1487 h 2014"/>
                <a:gd name="T58" fmla="*/ 1950 w 2011"/>
                <a:gd name="T59" fmla="*/ 1353 h 2014"/>
                <a:gd name="T60" fmla="*/ 1991 w 2011"/>
                <a:gd name="T61" fmla="*/ 1209 h 2014"/>
                <a:gd name="T62" fmla="*/ 2010 w 2011"/>
                <a:gd name="T63" fmla="*/ 1058 h 2014"/>
                <a:gd name="T64" fmla="*/ 2006 w 2011"/>
                <a:gd name="T65" fmla="*/ 904 h 2014"/>
                <a:gd name="T66" fmla="*/ 1979 w 2011"/>
                <a:gd name="T67" fmla="*/ 755 h 2014"/>
                <a:gd name="T68" fmla="*/ 1932 w 2011"/>
                <a:gd name="T69" fmla="*/ 615 h 2014"/>
                <a:gd name="T70" fmla="*/ 1866 w 2011"/>
                <a:gd name="T71" fmla="*/ 485 h 2014"/>
                <a:gd name="T72" fmla="*/ 1781 w 2011"/>
                <a:gd name="T73" fmla="*/ 366 h 2014"/>
                <a:gd name="T74" fmla="*/ 1681 w 2011"/>
                <a:gd name="T75" fmla="*/ 261 h 2014"/>
                <a:gd name="T76" fmla="*/ 1568 w 2011"/>
                <a:gd name="T77" fmla="*/ 172 h 2014"/>
                <a:gd name="T78" fmla="*/ 1441 w 2011"/>
                <a:gd name="T79" fmla="*/ 99 h 2014"/>
                <a:gd name="T80" fmla="*/ 1304 w 2011"/>
                <a:gd name="T81" fmla="*/ 45 h 2014"/>
                <a:gd name="T82" fmla="*/ 1158 w 2011"/>
                <a:gd name="T83" fmla="*/ 11 h 2014"/>
                <a:gd name="T84" fmla="*/ 1005 w 2011"/>
                <a:gd name="T85" fmla="*/ 0 h 20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11" h="2014">
                  <a:moveTo>
                    <a:pt x="1005" y="0"/>
                  </a:moveTo>
                  <a:lnTo>
                    <a:pt x="953" y="1"/>
                  </a:lnTo>
                  <a:lnTo>
                    <a:pt x="903" y="5"/>
                  </a:lnTo>
                  <a:lnTo>
                    <a:pt x="853" y="11"/>
                  </a:lnTo>
                  <a:lnTo>
                    <a:pt x="802" y="20"/>
                  </a:lnTo>
                  <a:lnTo>
                    <a:pt x="754" y="31"/>
                  </a:lnTo>
                  <a:lnTo>
                    <a:pt x="707" y="45"/>
                  </a:lnTo>
                  <a:lnTo>
                    <a:pt x="659" y="61"/>
                  </a:lnTo>
                  <a:lnTo>
                    <a:pt x="614" y="79"/>
                  </a:lnTo>
                  <a:lnTo>
                    <a:pt x="570" y="99"/>
                  </a:lnTo>
                  <a:lnTo>
                    <a:pt x="526" y="121"/>
                  </a:lnTo>
                  <a:lnTo>
                    <a:pt x="483" y="146"/>
                  </a:lnTo>
                  <a:lnTo>
                    <a:pt x="443" y="172"/>
                  </a:lnTo>
                  <a:lnTo>
                    <a:pt x="404" y="200"/>
                  </a:lnTo>
                  <a:lnTo>
                    <a:pt x="366" y="229"/>
                  </a:lnTo>
                  <a:lnTo>
                    <a:pt x="329" y="261"/>
                  </a:lnTo>
                  <a:lnTo>
                    <a:pt x="294" y="295"/>
                  </a:lnTo>
                  <a:lnTo>
                    <a:pt x="261" y="330"/>
                  </a:lnTo>
                  <a:lnTo>
                    <a:pt x="229" y="366"/>
                  </a:lnTo>
                  <a:lnTo>
                    <a:pt x="200" y="404"/>
                  </a:lnTo>
                  <a:lnTo>
                    <a:pt x="172" y="444"/>
                  </a:lnTo>
                  <a:lnTo>
                    <a:pt x="145" y="485"/>
                  </a:lnTo>
                  <a:lnTo>
                    <a:pt x="121" y="526"/>
                  </a:lnTo>
                  <a:lnTo>
                    <a:pt x="99" y="571"/>
                  </a:lnTo>
                  <a:lnTo>
                    <a:pt x="79" y="615"/>
                  </a:lnTo>
                  <a:lnTo>
                    <a:pt x="61" y="660"/>
                  </a:lnTo>
                  <a:lnTo>
                    <a:pt x="45" y="708"/>
                  </a:lnTo>
                  <a:lnTo>
                    <a:pt x="31" y="755"/>
                  </a:lnTo>
                  <a:lnTo>
                    <a:pt x="20" y="804"/>
                  </a:lnTo>
                  <a:lnTo>
                    <a:pt x="11" y="854"/>
                  </a:lnTo>
                  <a:lnTo>
                    <a:pt x="5" y="904"/>
                  </a:lnTo>
                  <a:lnTo>
                    <a:pt x="1" y="955"/>
                  </a:lnTo>
                  <a:lnTo>
                    <a:pt x="0" y="1007"/>
                  </a:lnTo>
                  <a:lnTo>
                    <a:pt x="1" y="1058"/>
                  </a:lnTo>
                  <a:lnTo>
                    <a:pt x="5" y="1110"/>
                  </a:lnTo>
                  <a:lnTo>
                    <a:pt x="11" y="1160"/>
                  </a:lnTo>
                  <a:lnTo>
                    <a:pt x="20" y="1209"/>
                  </a:lnTo>
                  <a:lnTo>
                    <a:pt x="31" y="1259"/>
                  </a:lnTo>
                  <a:lnTo>
                    <a:pt x="45" y="1306"/>
                  </a:lnTo>
                  <a:lnTo>
                    <a:pt x="61" y="1353"/>
                  </a:lnTo>
                  <a:lnTo>
                    <a:pt x="79" y="1399"/>
                  </a:lnTo>
                  <a:lnTo>
                    <a:pt x="99" y="1443"/>
                  </a:lnTo>
                  <a:lnTo>
                    <a:pt x="121" y="1487"/>
                  </a:lnTo>
                  <a:lnTo>
                    <a:pt x="145" y="1529"/>
                  </a:lnTo>
                  <a:lnTo>
                    <a:pt x="172" y="1570"/>
                  </a:lnTo>
                  <a:lnTo>
                    <a:pt x="200" y="1609"/>
                  </a:lnTo>
                  <a:lnTo>
                    <a:pt x="229" y="1648"/>
                  </a:lnTo>
                  <a:lnTo>
                    <a:pt x="261" y="1684"/>
                  </a:lnTo>
                  <a:lnTo>
                    <a:pt x="294" y="1719"/>
                  </a:lnTo>
                  <a:lnTo>
                    <a:pt x="329" y="1752"/>
                  </a:lnTo>
                  <a:lnTo>
                    <a:pt x="366" y="1785"/>
                  </a:lnTo>
                  <a:lnTo>
                    <a:pt x="404" y="1814"/>
                  </a:lnTo>
                  <a:lnTo>
                    <a:pt x="443" y="1842"/>
                  </a:lnTo>
                  <a:lnTo>
                    <a:pt x="483" y="1868"/>
                  </a:lnTo>
                  <a:lnTo>
                    <a:pt x="526" y="1892"/>
                  </a:lnTo>
                  <a:lnTo>
                    <a:pt x="570" y="1914"/>
                  </a:lnTo>
                  <a:lnTo>
                    <a:pt x="614" y="1935"/>
                  </a:lnTo>
                  <a:lnTo>
                    <a:pt x="659" y="1953"/>
                  </a:lnTo>
                  <a:lnTo>
                    <a:pt x="707" y="1969"/>
                  </a:lnTo>
                  <a:lnTo>
                    <a:pt x="754" y="1982"/>
                  </a:lnTo>
                  <a:lnTo>
                    <a:pt x="802" y="1994"/>
                  </a:lnTo>
                  <a:lnTo>
                    <a:pt x="853" y="2003"/>
                  </a:lnTo>
                  <a:lnTo>
                    <a:pt x="903" y="2009"/>
                  </a:lnTo>
                  <a:lnTo>
                    <a:pt x="953" y="2013"/>
                  </a:lnTo>
                  <a:lnTo>
                    <a:pt x="1005" y="2014"/>
                  </a:lnTo>
                  <a:lnTo>
                    <a:pt x="1057" y="2013"/>
                  </a:lnTo>
                  <a:lnTo>
                    <a:pt x="1108" y="2009"/>
                  </a:lnTo>
                  <a:lnTo>
                    <a:pt x="1158" y="2003"/>
                  </a:lnTo>
                  <a:lnTo>
                    <a:pt x="1208" y="1994"/>
                  </a:lnTo>
                  <a:lnTo>
                    <a:pt x="1257" y="1982"/>
                  </a:lnTo>
                  <a:lnTo>
                    <a:pt x="1304" y="1969"/>
                  </a:lnTo>
                  <a:lnTo>
                    <a:pt x="1351" y="1953"/>
                  </a:lnTo>
                  <a:lnTo>
                    <a:pt x="1397" y="1935"/>
                  </a:lnTo>
                  <a:lnTo>
                    <a:pt x="1441" y="1914"/>
                  </a:lnTo>
                  <a:lnTo>
                    <a:pt x="1484" y="1892"/>
                  </a:lnTo>
                  <a:lnTo>
                    <a:pt x="1527" y="1868"/>
                  </a:lnTo>
                  <a:lnTo>
                    <a:pt x="1568" y="1842"/>
                  </a:lnTo>
                  <a:lnTo>
                    <a:pt x="1607" y="1814"/>
                  </a:lnTo>
                  <a:lnTo>
                    <a:pt x="1645" y="1785"/>
                  </a:lnTo>
                  <a:lnTo>
                    <a:pt x="1681" y="1752"/>
                  </a:lnTo>
                  <a:lnTo>
                    <a:pt x="1717" y="1719"/>
                  </a:lnTo>
                  <a:lnTo>
                    <a:pt x="1750" y="1684"/>
                  </a:lnTo>
                  <a:lnTo>
                    <a:pt x="1781" y="1648"/>
                  </a:lnTo>
                  <a:lnTo>
                    <a:pt x="1811" y="1609"/>
                  </a:lnTo>
                  <a:lnTo>
                    <a:pt x="1839" y="1570"/>
                  </a:lnTo>
                  <a:lnTo>
                    <a:pt x="1866" y="1529"/>
                  </a:lnTo>
                  <a:lnTo>
                    <a:pt x="1890" y="1487"/>
                  </a:lnTo>
                  <a:lnTo>
                    <a:pt x="1912" y="1443"/>
                  </a:lnTo>
                  <a:lnTo>
                    <a:pt x="1932" y="1399"/>
                  </a:lnTo>
                  <a:lnTo>
                    <a:pt x="1950" y="1353"/>
                  </a:lnTo>
                  <a:lnTo>
                    <a:pt x="1966" y="1306"/>
                  </a:lnTo>
                  <a:lnTo>
                    <a:pt x="1979" y="1259"/>
                  </a:lnTo>
                  <a:lnTo>
                    <a:pt x="1991" y="1209"/>
                  </a:lnTo>
                  <a:lnTo>
                    <a:pt x="1999" y="1160"/>
                  </a:lnTo>
                  <a:lnTo>
                    <a:pt x="2006" y="1110"/>
                  </a:lnTo>
                  <a:lnTo>
                    <a:pt x="2010" y="1058"/>
                  </a:lnTo>
                  <a:lnTo>
                    <a:pt x="2011" y="1007"/>
                  </a:lnTo>
                  <a:lnTo>
                    <a:pt x="2010" y="955"/>
                  </a:lnTo>
                  <a:lnTo>
                    <a:pt x="2006" y="904"/>
                  </a:lnTo>
                  <a:lnTo>
                    <a:pt x="1999" y="854"/>
                  </a:lnTo>
                  <a:lnTo>
                    <a:pt x="1991" y="804"/>
                  </a:lnTo>
                  <a:lnTo>
                    <a:pt x="1979" y="755"/>
                  </a:lnTo>
                  <a:lnTo>
                    <a:pt x="1966" y="708"/>
                  </a:lnTo>
                  <a:lnTo>
                    <a:pt x="1950" y="660"/>
                  </a:lnTo>
                  <a:lnTo>
                    <a:pt x="1932" y="615"/>
                  </a:lnTo>
                  <a:lnTo>
                    <a:pt x="1912" y="571"/>
                  </a:lnTo>
                  <a:lnTo>
                    <a:pt x="1890" y="526"/>
                  </a:lnTo>
                  <a:lnTo>
                    <a:pt x="1866" y="485"/>
                  </a:lnTo>
                  <a:lnTo>
                    <a:pt x="1839" y="444"/>
                  </a:lnTo>
                  <a:lnTo>
                    <a:pt x="1811" y="404"/>
                  </a:lnTo>
                  <a:lnTo>
                    <a:pt x="1781" y="366"/>
                  </a:lnTo>
                  <a:lnTo>
                    <a:pt x="1750" y="330"/>
                  </a:lnTo>
                  <a:lnTo>
                    <a:pt x="1717" y="295"/>
                  </a:lnTo>
                  <a:lnTo>
                    <a:pt x="1681" y="261"/>
                  </a:lnTo>
                  <a:lnTo>
                    <a:pt x="1645" y="229"/>
                  </a:lnTo>
                  <a:lnTo>
                    <a:pt x="1607" y="200"/>
                  </a:lnTo>
                  <a:lnTo>
                    <a:pt x="1568" y="172"/>
                  </a:lnTo>
                  <a:lnTo>
                    <a:pt x="1527" y="146"/>
                  </a:lnTo>
                  <a:lnTo>
                    <a:pt x="1484" y="121"/>
                  </a:lnTo>
                  <a:lnTo>
                    <a:pt x="1441" y="99"/>
                  </a:lnTo>
                  <a:lnTo>
                    <a:pt x="1397" y="79"/>
                  </a:lnTo>
                  <a:lnTo>
                    <a:pt x="1351" y="61"/>
                  </a:lnTo>
                  <a:lnTo>
                    <a:pt x="1304" y="45"/>
                  </a:lnTo>
                  <a:lnTo>
                    <a:pt x="1257" y="31"/>
                  </a:lnTo>
                  <a:lnTo>
                    <a:pt x="1208" y="20"/>
                  </a:lnTo>
                  <a:lnTo>
                    <a:pt x="1158" y="11"/>
                  </a:lnTo>
                  <a:lnTo>
                    <a:pt x="1108" y="5"/>
                  </a:lnTo>
                  <a:lnTo>
                    <a:pt x="1057" y="1"/>
                  </a:lnTo>
                  <a:lnTo>
                    <a:pt x="10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33" name="íṧļíḋê">
              <a:extLst>
                <a:ext uri="{FF2B5EF4-FFF2-40B4-BE49-F238E27FC236}">
                  <a16:creationId xmlns:a16="http://schemas.microsoft.com/office/drawing/2014/main" id="{77B6B23B-33E4-4EBB-93CC-56951E8DBF72}"/>
                </a:ext>
              </a:extLst>
            </p:cNvPr>
            <p:cNvSpPr/>
            <p:nvPr/>
          </p:nvSpPr>
          <p:spPr bwMode="auto">
            <a:xfrm>
              <a:off x="4558752" y="2028195"/>
              <a:ext cx="524401" cy="508733"/>
            </a:xfrm>
            <a:custGeom>
              <a:avLst/>
              <a:gdLst>
                <a:gd name="T0" fmla="*/ 8272 w 16095"/>
                <a:gd name="T1" fmla="*/ 10861 h 15614"/>
                <a:gd name="T2" fmla="*/ 7663 w 16095"/>
                <a:gd name="T3" fmla="*/ 10157 h 15614"/>
                <a:gd name="T4" fmla="*/ 7592 w 16095"/>
                <a:gd name="T5" fmla="*/ 9193 h 15614"/>
                <a:gd name="T6" fmla="*/ 8095 w 16095"/>
                <a:gd name="T7" fmla="*/ 8404 h 15614"/>
                <a:gd name="T8" fmla="*/ 8976 w 16095"/>
                <a:gd name="T9" fmla="*/ 8061 h 15614"/>
                <a:gd name="T10" fmla="*/ 13895 w 16095"/>
                <a:gd name="T11" fmla="*/ 8004 h 15614"/>
                <a:gd name="T12" fmla="*/ 14225 w 16095"/>
                <a:gd name="T13" fmla="*/ 7822 h 15614"/>
                <a:gd name="T14" fmla="*/ 14471 w 16095"/>
                <a:gd name="T15" fmla="*/ 7513 h 15614"/>
                <a:gd name="T16" fmla="*/ 14715 w 16095"/>
                <a:gd name="T17" fmla="*/ 7669 h 15614"/>
                <a:gd name="T18" fmla="*/ 14993 w 16095"/>
                <a:gd name="T19" fmla="*/ 8335 h 15614"/>
                <a:gd name="T20" fmla="*/ 15089 w 16095"/>
                <a:gd name="T21" fmla="*/ 9066 h 15614"/>
                <a:gd name="T22" fmla="*/ 14939 w 16095"/>
                <a:gd name="T23" fmla="*/ 9973 h 15614"/>
                <a:gd name="T24" fmla="*/ 14509 w 16095"/>
                <a:gd name="T25" fmla="*/ 10768 h 15614"/>
                <a:gd name="T26" fmla="*/ 13502 w 16095"/>
                <a:gd name="T27" fmla="*/ 13368 h 15614"/>
                <a:gd name="T28" fmla="*/ 12873 w 16095"/>
                <a:gd name="T29" fmla="*/ 14256 h 15614"/>
                <a:gd name="T30" fmla="*/ 11820 w 16095"/>
                <a:gd name="T31" fmla="*/ 14607 h 15614"/>
                <a:gd name="T32" fmla="*/ 1782 w 16095"/>
                <a:gd name="T33" fmla="*/ 14305 h 15614"/>
                <a:gd name="T34" fmla="*/ 1113 w 16095"/>
                <a:gd name="T35" fmla="*/ 13450 h 15614"/>
                <a:gd name="T36" fmla="*/ 1239 w 16095"/>
                <a:gd name="T37" fmla="*/ 5079 h 15614"/>
                <a:gd name="T38" fmla="*/ 1927 w 16095"/>
                <a:gd name="T39" fmla="*/ 5411 h 15614"/>
                <a:gd name="T40" fmla="*/ 2704 w 16095"/>
                <a:gd name="T41" fmla="*/ 5539 h 15614"/>
                <a:gd name="T42" fmla="*/ 13317 w 16095"/>
                <a:gd name="T43" fmla="*/ 5601 h 15614"/>
                <a:gd name="T44" fmla="*/ 13531 w 16095"/>
                <a:gd name="T45" fmla="*/ 5826 h 15614"/>
                <a:gd name="T46" fmla="*/ 8796 w 16095"/>
                <a:gd name="T47" fmla="*/ 7065 h 15614"/>
                <a:gd name="T48" fmla="*/ 7362 w 16095"/>
                <a:gd name="T49" fmla="*/ 7705 h 15614"/>
                <a:gd name="T50" fmla="*/ 6590 w 16095"/>
                <a:gd name="T51" fmla="*/ 9062 h 15614"/>
                <a:gd name="T52" fmla="*/ 6787 w 16095"/>
                <a:gd name="T53" fmla="*/ 10662 h 15614"/>
                <a:gd name="T54" fmla="*/ 7854 w 16095"/>
                <a:gd name="T55" fmla="*/ 11784 h 15614"/>
                <a:gd name="T56" fmla="*/ 12574 w 16095"/>
                <a:gd name="T57" fmla="*/ 4029 h 15614"/>
                <a:gd name="T58" fmla="*/ 2279 w 16095"/>
                <a:gd name="T59" fmla="*/ 4461 h 15614"/>
                <a:gd name="T60" fmla="*/ 12574 w 16095"/>
                <a:gd name="T61" fmla="*/ 3526 h 15614"/>
                <a:gd name="T62" fmla="*/ 13203 w 16095"/>
                <a:gd name="T63" fmla="*/ 1023 h 15614"/>
                <a:gd name="T64" fmla="*/ 13465 w 16095"/>
                <a:gd name="T65" fmla="*/ 1191 h 15614"/>
                <a:gd name="T66" fmla="*/ 13580 w 16095"/>
                <a:gd name="T67" fmla="*/ 1485 h 15614"/>
                <a:gd name="T68" fmla="*/ 13305 w 16095"/>
                <a:gd name="T69" fmla="*/ 4552 h 15614"/>
                <a:gd name="T70" fmla="*/ 13074 w 16095"/>
                <a:gd name="T71" fmla="*/ 1963 h 15614"/>
                <a:gd name="T72" fmla="*/ 12946 w 16095"/>
                <a:gd name="T73" fmla="*/ 1676 h 15614"/>
                <a:gd name="T74" fmla="*/ 12675 w 16095"/>
                <a:gd name="T75" fmla="*/ 1521 h 15614"/>
                <a:gd name="T76" fmla="*/ 1816 w 16095"/>
                <a:gd name="T77" fmla="*/ 1550 h 15614"/>
                <a:gd name="T78" fmla="*/ 1581 w 16095"/>
                <a:gd name="T79" fmla="*/ 1754 h 15614"/>
                <a:gd name="T80" fmla="*/ 1508 w 16095"/>
                <a:gd name="T81" fmla="*/ 4000 h 15614"/>
                <a:gd name="T82" fmla="*/ 1194 w 16095"/>
                <a:gd name="T83" fmla="*/ 3561 h 15614"/>
                <a:gd name="T84" fmla="*/ 1026 w 16095"/>
                <a:gd name="T85" fmla="*/ 3034 h 15614"/>
                <a:gd name="T86" fmla="*/ 1113 w 16095"/>
                <a:gd name="T87" fmla="*/ 2164 h 15614"/>
                <a:gd name="T88" fmla="*/ 1782 w 16095"/>
                <a:gd name="T89" fmla="*/ 1309 h 15614"/>
                <a:gd name="T90" fmla="*/ 14587 w 16095"/>
                <a:gd name="T91" fmla="*/ 6044 h 15614"/>
                <a:gd name="T92" fmla="*/ 14437 w 16095"/>
                <a:gd name="T93" fmla="*/ 856 h 15614"/>
                <a:gd name="T94" fmla="*/ 13796 w 16095"/>
                <a:gd name="T95" fmla="*/ 182 h 15614"/>
                <a:gd name="T96" fmla="*/ 2624 w 16095"/>
                <a:gd name="T97" fmla="*/ 4 h 15614"/>
                <a:gd name="T98" fmla="*/ 1008 w 16095"/>
                <a:gd name="T99" fmla="*/ 634 h 15614"/>
                <a:gd name="T100" fmla="*/ 88 w 16095"/>
                <a:gd name="T101" fmla="*/ 2079 h 15614"/>
                <a:gd name="T102" fmla="*/ 168 w 16095"/>
                <a:gd name="T103" fmla="*/ 13795 h 15614"/>
                <a:gd name="T104" fmla="*/ 1220 w 16095"/>
                <a:gd name="T105" fmla="*/ 15141 h 15614"/>
                <a:gd name="T106" fmla="*/ 11820 w 16095"/>
                <a:gd name="T107" fmla="*/ 15614 h 15614"/>
                <a:gd name="T108" fmla="*/ 13474 w 16095"/>
                <a:gd name="T109" fmla="*/ 15063 h 15614"/>
                <a:gd name="T110" fmla="*/ 14461 w 16095"/>
                <a:gd name="T111" fmla="*/ 13667 h 15614"/>
                <a:gd name="T112" fmla="*/ 15382 w 16095"/>
                <a:gd name="T113" fmla="*/ 11280 h 15614"/>
                <a:gd name="T114" fmla="*/ 16072 w 16095"/>
                <a:gd name="T115" fmla="*/ 8642 h 15614"/>
                <a:gd name="T116" fmla="*/ 14769 w 16095"/>
                <a:gd name="T117" fmla="*/ 6190 h 15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095" h="15614">
                  <a:moveTo>
                    <a:pt x="14223" y="11081"/>
                  </a:moveTo>
                  <a:lnTo>
                    <a:pt x="9053" y="11081"/>
                  </a:lnTo>
                  <a:lnTo>
                    <a:pt x="8976" y="11079"/>
                  </a:lnTo>
                  <a:lnTo>
                    <a:pt x="8900" y="11073"/>
                  </a:lnTo>
                  <a:lnTo>
                    <a:pt x="8824" y="11064"/>
                  </a:lnTo>
                  <a:lnTo>
                    <a:pt x="8750" y="11050"/>
                  </a:lnTo>
                  <a:lnTo>
                    <a:pt x="8677" y="11034"/>
                  </a:lnTo>
                  <a:lnTo>
                    <a:pt x="8606" y="11012"/>
                  </a:lnTo>
                  <a:lnTo>
                    <a:pt x="8535" y="10989"/>
                  </a:lnTo>
                  <a:lnTo>
                    <a:pt x="8467" y="10962"/>
                  </a:lnTo>
                  <a:lnTo>
                    <a:pt x="8400" y="10932"/>
                  </a:lnTo>
                  <a:lnTo>
                    <a:pt x="8335" y="10899"/>
                  </a:lnTo>
                  <a:lnTo>
                    <a:pt x="8272" y="10861"/>
                  </a:lnTo>
                  <a:lnTo>
                    <a:pt x="8210" y="10822"/>
                  </a:lnTo>
                  <a:lnTo>
                    <a:pt x="8151" y="10781"/>
                  </a:lnTo>
                  <a:lnTo>
                    <a:pt x="8095" y="10735"/>
                  </a:lnTo>
                  <a:lnTo>
                    <a:pt x="8039" y="10688"/>
                  </a:lnTo>
                  <a:lnTo>
                    <a:pt x="7987" y="10638"/>
                  </a:lnTo>
                  <a:lnTo>
                    <a:pt x="7937" y="10585"/>
                  </a:lnTo>
                  <a:lnTo>
                    <a:pt x="7890" y="10531"/>
                  </a:lnTo>
                  <a:lnTo>
                    <a:pt x="7844" y="10473"/>
                  </a:lnTo>
                  <a:lnTo>
                    <a:pt x="7803" y="10414"/>
                  </a:lnTo>
                  <a:lnTo>
                    <a:pt x="7764" y="10353"/>
                  </a:lnTo>
                  <a:lnTo>
                    <a:pt x="7727" y="10289"/>
                  </a:lnTo>
                  <a:lnTo>
                    <a:pt x="7693" y="10225"/>
                  </a:lnTo>
                  <a:lnTo>
                    <a:pt x="7663" y="10157"/>
                  </a:lnTo>
                  <a:lnTo>
                    <a:pt x="7636" y="10089"/>
                  </a:lnTo>
                  <a:lnTo>
                    <a:pt x="7613" y="10019"/>
                  </a:lnTo>
                  <a:lnTo>
                    <a:pt x="7592" y="9947"/>
                  </a:lnTo>
                  <a:lnTo>
                    <a:pt x="7576" y="9874"/>
                  </a:lnTo>
                  <a:lnTo>
                    <a:pt x="7562" y="9800"/>
                  </a:lnTo>
                  <a:lnTo>
                    <a:pt x="7553" y="9724"/>
                  </a:lnTo>
                  <a:lnTo>
                    <a:pt x="7547" y="9647"/>
                  </a:lnTo>
                  <a:lnTo>
                    <a:pt x="7545" y="9570"/>
                  </a:lnTo>
                  <a:lnTo>
                    <a:pt x="7547" y="9492"/>
                  </a:lnTo>
                  <a:lnTo>
                    <a:pt x="7553" y="9416"/>
                  </a:lnTo>
                  <a:lnTo>
                    <a:pt x="7562" y="9340"/>
                  </a:lnTo>
                  <a:lnTo>
                    <a:pt x="7576" y="9266"/>
                  </a:lnTo>
                  <a:lnTo>
                    <a:pt x="7592" y="9193"/>
                  </a:lnTo>
                  <a:lnTo>
                    <a:pt x="7613" y="9121"/>
                  </a:lnTo>
                  <a:lnTo>
                    <a:pt x="7636" y="9051"/>
                  </a:lnTo>
                  <a:lnTo>
                    <a:pt x="7663" y="8983"/>
                  </a:lnTo>
                  <a:lnTo>
                    <a:pt x="7693" y="8915"/>
                  </a:lnTo>
                  <a:lnTo>
                    <a:pt x="7727" y="8851"/>
                  </a:lnTo>
                  <a:lnTo>
                    <a:pt x="7764" y="8787"/>
                  </a:lnTo>
                  <a:lnTo>
                    <a:pt x="7803" y="8726"/>
                  </a:lnTo>
                  <a:lnTo>
                    <a:pt x="7844" y="8666"/>
                  </a:lnTo>
                  <a:lnTo>
                    <a:pt x="7890" y="8609"/>
                  </a:lnTo>
                  <a:lnTo>
                    <a:pt x="7937" y="8554"/>
                  </a:lnTo>
                  <a:lnTo>
                    <a:pt x="7987" y="8502"/>
                  </a:lnTo>
                  <a:lnTo>
                    <a:pt x="8039" y="8452"/>
                  </a:lnTo>
                  <a:lnTo>
                    <a:pt x="8095" y="8404"/>
                  </a:lnTo>
                  <a:lnTo>
                    <a:pt x="8151" y="8359"/>
                  </a:lnTo>
                  <a:lnTo>
                    <a:pt x="8210" y="8318"/>
                  </a:lnTo>
                  <a:lnTo>
                    <a:pt x="8272" y="8278"/>
                  </a:lnTo>
                  <a:lnTo>
                    <a:pt x="8335" y="8241"/>
                  </a:lnTo>
                  <a:lnTo>
                    <a:pt x="8400" y="8208"/>
                  </a:lnTo>
                  <a:lnTo>
                    <a:pt x="8467" y="8178"/>
                  </a:lnTo>
                  <a:lnTo>
                    <a:pt x="8535" y="8151"/>
                  </a:lnTo>
                  <a:lnTo>
                    <a:pt x="8606" y="8127"/>
                  </a:lnTo>
                  <a:lnTo>
                    <a:pt x="8677" y="8106"/>
                  </a:lnTo>
                  <a:lnTo>
                    <a:pt x="8750" y="8090"/>
                  </a:lnTo>
                  <a:lnTo>
                    <a:pt x="8824" y="8076"/>
                  </a:lnTo>
                  <a:lnTo>
                    <a:pt x="8900" y="8067"/>
                  </a:lnTo>
                  <a:lnTo>
                    <a:pt x="8976" y="8061"/>
                  </a:lnTo>
                  <a:lnTo>
                    <a:pt x="9053" y="8059"/>
                  </a:lnTo>
                  <a:lnTo>
                    <a:pt x="13580" y="8059"/>
                  </a:lnTo>
                  <a:lnTo>
                    <a:pt x="13609" y="8058"/>
                  </a:lnTo>
                  <a:lnTo>
                    <a:pt x="13639" y="8057"/>
                  </a:lnTo>
                  <a:lnTo>
                    <a:pt x="13668" y="8054"/>
                  </a:lnTo>
                  <a:lnTo>
                    <a:pt x="13697" y="8051"/>
                  </a:lnTo>
                  <a:lnTo>
                    <a:pt x="13725" y="8047"/>
                  </a:lnTo>
                  <a:lnTo>
                    <a:pt x="13754" y="8042"/>
                  </a:lnTo>
                  <a:lnTo>
                    <a:pt x="13782" y="8036"/>
                  </a:lnTo>
                  <a:lnTo>
                    <a:pt x="13811" y="8029"/>
                  </a:lnTo>
                  <a:lnTo>
                    <a:pt x="13840" y="8022"/>
                  </a:lnTo>
                  <a:lnTo>
                    <a:pt x="13867" y="8014"/>
                  </a:lnTo>
                  <a:lnTo>
                    <a:pt x="13895" y="8004"/>
                  </a:lnTo>
                  <a:lnTo>
                    <a:pt x="13922" y="7994"/>
                  </a:lnTo>
                  <a:lnTo>
                    <a:pt x="13949" y="7984"/>
                  </a:lnTo>
                  <a:lnTo>
                    <a:pt x="13976" y="7973"/>
                  </a:lnTo>
                  <a:lnTo>
                    <a:pt x="14004" y="7961"/>
                  </a:lnTo>
                  <a:lnTo>
                    <a:pt x="14030" y="7949"/>
                  </a:lnTo>
                  <a:lnTo>
                    <a:pt x="14055" y="7935"/>
                  </a:lnTo>
                  <a:lnTo>
                    <a:pt x="14081" y="7921"/>
                  </a:lnTo>
                  <a:lnTo>
                    <a:pt x="14106" y="7907"/>
                  </a:lnTo>
                  <a:lnTo>
                    <a:pt x="14130" y="7891"/>
                  </a:lnTo>
                  <a:lnTo>
                    <a:pt x="14155" y="7874"/>
                  </a:lnTo>
                  <a:lnTo>
                    <a:pt x="14179" y="7858"/>
                  </a:lnTo>
                  <a:lnTo>
                    <a:pt x="14202" y="7840"/>
                  </a:lnTo>
                  <a:lnTo>
                    <a:pt x="14225" y="7822"/>
                  </a:lnTo>
                  <a:lnTo>
                    <a:pt x="14247" y="7803"/>
                  </a:lnTo>
                  <a:lnTo>
                    <a:pt x="14268" y="7784"/>
                  </a:lnTo>
                  <a:lnTo>
                    <a:pt x="14289" y="7764"/>
                  </a:lnTo>
                  <a:lnTo>
                    <a:pt x="14310" y="7743"/>
                  </a:lnTo>
                  <a:lnTo>
                    <a:pt x="14331" y="7721"/>
                  </a:lnTo>
                  <a:lnTo>
                    <a:pt x="14350" y="7699"/>
                  </a:lnTo>
                  <a:lnTo>
                    <a:pt x="14368" y="7677"/>
                  </a:lnTo>
                  <a:lnTo>
                    <a:pt x="14386" y="7654"/>
                  </a:lnTo>
                  <a:lnTo>
                    <a:pt x="14405" y="7627"/>
                  </a:lnTo>
                  <a:lnTo>
                    <a:pt x="14423" y="7599"/>
                  </a:lnTo>
                  <a:lnTo>
                    <a:pt x="14440" y="7571"/>
                  </a:lnTo>
                  <a:lnTo>
                    <a:pt x="14456" y="7542"/>
                  </a:lnTo>
                  <a:lnTo>
                    <a:pt x="14471" y="7513"/>
                  </a:lnTo>
                  <a:lnTo>
                    <a:pt x="14486" y="7483"/>
                  </a:lnTo>
                  <a:lnTo>
                    <a:pt x="14499" y="7452"/>
                  </a:lnTo>
                  <a:lnTo>
                    <a:pt x="14512" y="7421"/>
                  </a:lnTo>
                  <a:lnTo>
                    <a:pt x="14516" y="7414"/>
                  </a:lnTo>
                  <a:lnTo>
                    <a:pt x="14520" y="7406"/>
                  </a:lnTo>
                  <a:lnTo>
                    <a:pt x="14525" y="7399"/>
                  </a:lnTo>
                  <a:lnTo>
                    <a:pt x="14529" y="7391"/>
                  </a:lnTo>
                  <a:lnTo>
                    <a:pt x="14562" y="7435"/>
                  </a:lnTo>
                  <a:lnTo>
                    <a:pt x="14594" y="7481"/>
                  </a:lnTo>
                  <a:lnTo>
                    <a:pt x="14625" y="7527"/>
                  </a:lnTo>
                  <a:lnTo>
                    <a:pt x="14657" y="7573"/>
                  </a:lnTo>
                  <a:lnTo>
                    <a:pt x="14686" y="7621"/>
                  </a:lnTo>
                  <a:lnTo>
                    <a:pt x="14715" y="7669"/>
                  </a:lnTo>
                  <a:lnTo>
                    <a:pt x="14742" y="7717"/>
                  </a:lnTo>
                  <a:lnTo>
                    <a:pt x="14768" y="7766"/>
                  </a:lnTo>
                  <a:lnTo>
                    <a:pt x="14794" y="7815"/>
                  </a:lnTo>
                  <a:lnTo>
                    <a:pt x="14818" y="7865"/>
                  </a:lnTo>
                  <a:lnTo>
                    <a:pt x="14843" y="7916"/>
                  </a:lnTo>
                  <a:lnTo>
                    <a:pt x="14865" y="7966"/>
                  </a:lnTo>
                  <a:lnTo>
                    <a:pt x="14886" y="8018"/>
                  </a:lnTo>
                  <a:lnTo>
                    <a:pt x="14907" y="8070"/>
                  </a:lnTo>
                  <a:lnTo>
                    <a:pt x="14926" y="8122"/>
                  </a:lnTo>
                  <a:lnTo>
                    <a:pt x="14944" y="8175"/>
                  </a:lnTo>
                  <a:lnTo>
                    <a:pt x="14961" y="8228"/>
                  </a:lnTo>
                  <a:lnTo>
                    <a:pt x="14978" y="8281"/>
                  </a:lnTo>
                  <a:lnTo>
                    <a:pt x="14993" y="8335"/>
                  </a:lnTo>
                  <a:lnTo>
                    <a:pt x="15008" y="8389"/>
                  </a:lnTo>
                  <a:lnTo>
                    <a:pt x="15020" y="8444"/>
                  </a:lnTo>
                  <a:lnTo>
                    <a:pt x="15032" y="8499"/>
                  </a:lnTo>
                  <a:lnTo>
                    <a:pt x="15043" y="8554"/>
                  </a:lnTo>
                  <a:lnTo>
                    <a:pt x="15053" y="8610"/>
                  </a:lnTo>
                  <a:lnTo>
                    <a:pt x="15061" y="8666"/>
                  </a:lnTo>
                  <a:lnTo>
                    <a:pt x="15069" y="8723"/>
                  </a:lnTo>
                  <a:lnTo>
                    <a:pt x="15075" y="8779"/>
                  </a:lnTo>
                  <a:lnTo>
                    <a:pt x="15080" y="8837"/>
                  </a:lnTo>
                  <a:lnTo>
                    <a:pt x="15084" y="8893"/>
                  </a:lnTo>
                  <a:lnTo>
                    <a:pt x="15087" y="8950"/>
                  </a:lnTo>
                  <a:lnTo>
                    <a:pt x="15089" y="9008"/>
                  </a:lnTo>
                  <a:lnTo>
                    <a:pt x="15089" y="9066"/>
                  </a:lnTo>
                  <a:lnTo>
                    <a:pt x="15088" y="9139"/>
                  </a:lnTo>
                  <a:lnTo>
                    <a:pt x="15086" y="9210"/>
                  </a:lnTo>
                  <a:lnTo>
                    <a:pt x="15081" y="9283"/>
                  </a:lnTo>
                  <a:lnTo>
                    <a:pt x="15075" y="9353"/>
                  </a:lnTo>
                  <a:lnTo>
                    <a:pt x="15067" y="9425"/>
                  </a:lnTo>
                  <a:lnTo>
                    <a:pt x="15057" y="9495"/>
                  </a:lnTo>
                  <a:lnTo>
                    <a:pt x="15045" y="9565"/>
                  </a:lnTo>
                  <a:lnTo>
                    <a:pt x="15032" y="9634"/>
                  </a:lnTo>
                  <a:lnTo>
                    <a:pt x="15017" y="9704"/>
                  </a:lnTo>
                  <a:lnTo>
                    <a:pt x="15000" y="9771"/>
                  </a:lnTo>
                  <a:lnTo>
                    <a:pt x="14981" y="9840"/>
                  </a:lnTo>
                  <a:lnTo>
                    <a:pt x="14961" y="9906"/>
                  </a:lnTo>
                  <a:lnTo>
                    <a:pt x="14939" y="9973"/>
                  </a:lnTo>
                  <a:lnTo>
                    <a:pt x="14916" y="10039"/>
                  </a:lnTo>
                  <a:lnTo>
                    <a:pt x="14891" y="10104"/>
                  </a:lnTo>
                  <a:lnTo>
                    <a:pt x="14864" y="10168"/>
                  </a:lnTo>
                  <a:lnTo>
                    <a:pt x="14836" y="10233"/>
                  </a:lnTo>
                  <a:lnTo>
                    <a:pt x="14805" y="10295"/>
                  </a:lnTo>
                  <a:lnTo>
                    <a:pt x="14773" y="10358"/>
                  </a:lnTo>
                  <a:lnTo>
                    <a:pt x="14740" y="10419"/>
                  </a:lnTo>
                  <a:lnTo>
                    <a:pt x="14706" y="10480"/>
                  </a:lnTo>
                  <a:lnTo>
                    <a:pt x="14670" y="10539"/>
                  </a:lnTo>
                  <a:lnTo>
                    <a:pt x="14631" y="10597"/>
                  </a:lnTo>
                  <a:lnTo>
                    <a:pt x="14592" y="10655"/>
                  </a:lnTo>
                  <a:lnTo>
                    <a:pt x="14551" y="10712"/>
                  </a:lnTo>
                  <a:lnTo>
                    <a:pt x="14509" y="10768"/>
                  </a:lnTo>
                  <a:lnTo>
                    <a:pt x="14464" y="10823"/>
                  </a:lnTo>
                  <a:lnTo>
                    <a:pt x="14419" y="10876"/>
                  </a:lnTo>
                  <a:lnTo>
                    <a:pt x="14372" y="10929"/>
                  </a:lnTo>
                  <a:lnTo>
                    <a:pt x="14324" y="10981"/>
                  </a:lnTo>
                  <a:lnTo>
                    <a:pt x="14274" y="11032"/>
                  </a:lnTo>
                  <a:lnTo>
                    <a:pt x="14223" y="11081"/>
                  </a:lnTo>
                  <a:close/>
                  <a:moveTo>
                    <a:pt x="13580" y="12844"/>
                  </a:moveTo>
                  <a:lnTo>
                    <a:pt x="13578" y="12934"/>
                  </a:lnTo>
                  <a:lnTo>
                    <a:pt x="13571" y="13024"/>
                  </a:lnTo>
                  <a:lnTo>
                    <a:pt x="13560" y="13113"/>
                  </a:lnTo>
                  <a:lnTo>
                    <a:pt x="13545" y="13199"/>
                  </a:lnTo>
                  <a:lnTo>
                    <a:pt x="13525" y="13284"/>
                  </a:lnTo>
                  <a:lnTo>
                    <a:pt x="13502" y="13368"/>
                  </a:lnTo>
                  <a:lnTo>
                    <a:pt x="13474" y="13450"/>
                  </a:lnTo>
                  <a:lnTo>
                    <a:pt x="13442" y="13530"/>
                  </a:lnTo>
                  <a:lnTo>
                    <a:pt x="13407" y="13608"/>
                  </a:lnTo>
                  <a:lnTo>
                    <a:pt x="13368" y="13684"/>
                  </a:lnTo>
                  <a:lnTo>
                    <a:pt x="13326" y="13758"/>
                  </a:lnTo>
                  <a:lnTo>
                    <a:pt x="13279" y="13830"/>
                  </a:lnTo>
                  <a:lnTo>
                    <a:pt x="13231" y="13898"/>
                  </a:lnTo>
                  <a:lnTo>
                    <a:pt x="13179" y="13965"/>
                  </a:lnTo>
                  <a:lnTo>
                    <a:pt x="13123" y="14029"/>
                  </a:lnTo>
                  <a:lnTo>
                    <a:pt x="13065" y="14091"/>
                  </a:lnTo>
                  <a:lnTo>
                    <a:pt x="13004" y="14148"/>
                  </a:lnTo>
                  <a:lnTo>
                    <a:pt x="12939" y="14204"/>
                  </a:lnTo>
                  <a:lnTo>
                    <a:pt x="12873" y="14256"/>
                  </a:lnTo>
                  <a:lnTo>
                    <a:pt x="12805" y="14305"/>
                  </a:lnTo>
                  <a:lnTo>
                    <a:pt x="12733" y="14352"/>
                  </a:lnTo>
                  <a:lnTo>
                    <a:pt x="12659" y="14394"/>
                  </a:lnTo>
                  <a:lnTo>
                    <a:pt x="12583" y="14432"/>
                  </a:lnTo>
                  <a:lnTo>
                    <a:pt x="12505" y="14468"/>
                  </a:lnTo>
                  <a:lnTo>
                    <a:pt x="12425" y="14500"/>
                  </a:lnTo>
                  <a:lnTo>
                    <a:pt x="12343" y="14527"/>
                  </a:lnTo>
                  <a:lnTo>
                    <a:pt x="12259" y="14551"/>
                  </a:lnTo>
                  <a:lnTo>
                    <a:pt x="12175" y="14571"/>
                  </a:lnTo>
                  <a:lnTo>
                    <a:pt x="12088" y="14586"/>
                  </a:lnTo>
                  <a:lnTo>
                    <a:pt x="12000" y="14598"/>
                  </a:lnTo>
                  <a:lnTo>
                    <a:pt x="11910" y="14605"/>
                  </a:lnTo>
                  <a:lnTo>
                    <a:pt x="11820" y="14607"/>
                  </a:lnTo>
                  <a:lnTo>
                    <a:pt x="2766" y="14607"/>
                  </a:lnTo>
                  <a:lnTo>
                    <a:pt x="2676" y="14605"/>
                  </a:lnTo>
                  <a:lnTo>
                    <a:pt x="2586" y="14598"/>
                  </a:lnTo>
                  <a:lnTo>
                    <a:pt x="2498" y="14586"/>
                  </a:lnTo>
                  <a:lnTo>
                    <a:pt x="2411" y="14571"/>
                  </a:lnTo>
                  <a:lnTo>
                    <a:pt x="2327" y="14551"/>
                  </a:lnTo>
                  <a:lnTo>
                    <a:pt x="2243" y="14527"/>
                  </a:lnTo>
                  <a:lnTo>
                    <a:pt x="2161" y="14500"/>
                  </a:lnTo>
                  <a:lnTo>
                    <a:pt x="2081" y="14468"/>
                  </a:lnTo>
                  <a:lnTo>
                    <a:pt x="2003" y="14432"/>
                  </a:lnTo>
                  <a:lnTo>
                    <a:pt x="1927" y="14394"/>
                  </a:lnTo>
                  <a:lnTo>
                    <a:pt x="1853" y="14352"/>
                  </a:lnTo>
                  <a:lnTo>
                    <a:pt x="1782" y="14305"/>
                  </a:lnTo>
                  <a:lnTo>
                    <a:pt x="1713" y="14256"/>
                  </a:lnTo>
                  <a:lnTo>
                    <a:pt x="1647" y="14204"/>
                  </a:lnTo>
                  <a:lnTo>
                    <a:pt x="1582" y="14148"/>
                  </a:lnTo>
                  <a:lnTo>
                    <a:pt x="1521" y="14091"/>
                  </a:lnTo>
                  <a:lnTo>
                    <a:pt x="1464" y="14029"/>
                  </a:lnTo>
                  <a:lnTo>
                    <a:pt x="1408" y="13965"/>
                  </a:lnTo>
                  <a:lnTo>
                    <a:pt x="1356" y="13898"/>
                  </a:lnTo>
                  <a:lnTo>
                    <a:pt x="1307" y="13830"/>
                  </a:lnTo>
                  <a:lnTo>
                    <a:pt x="1260" y="13758"/>
                  </a:lnTo>
                  <a:lnTo>
                    <a:pt x="1218" y="13684"/>
                  </a:lnTo>
                  <a:lnTo>
                    <a:pt x="1180" y="13608"/>
                  </a:lnTo>
                  <a:lnTo>
                    <a:pt x="1145" y="13530"/>
                  </a:lnTo>
                  <a:lnTo>
                    <a:pt x="1113" y="13450"/>
                  </a:lnTo>
                  <a:lnTo>
                    <a:pt x="1085" y="13368"/>
                  </a:lnTo>
                  <a:lnTo>
                    <a:pt x="1061" y="13284"/>
                  </a:lnTo>
                  <a:lnTo>
                    <a:pt x="1041" y="13199"/>
                  </a:lnTo>
                  <a:lnTo>
                    <a:pt x="1026" y="13113"/>
                  </a:lnTo>
                  <a:lnTo>
                    <a:pt x="1015" y="13024"/>
                  </a:lnTo>
                  <a:lnTo>
                    <a:pt x="1008" y="12934"/>
                  </a:lnTo>
                  <a:lnTo>
                    <a:pt x="1006" y="12844"/>
                  </a:lnTo>
                  <a:lnTo>
                    <a:pt x="1006" y="4905"/>
                  </a:lnTo>
                  <a:lnTo>
                    <a:pt x="1051" y="4942"/>
                  </a:lnTo>
                  <a:lnTo>
                    <a:pt x="1097" y="4977"/>
                  </a:lnTo>
                  <a:lnTo>
                    <a:pt x="1144" y="5013"/>
                  </a:lnTo>
                  <a:lnTo>
                    <a:pt x="1191" y="5046"/>
                  </a:lnTo>
                  <a:lnTo>
                    <a:pt x="1239" y="5079"/>
                  </a:lnTo>
                  <a:lnTo>
                    <a:pt x="1289" y="5111"/>
                  </a:lnTo>
                  <a:lnTo>
                    <a:pt x="1338" y="5142"/>
                  </a:lnTo>
                  <a:lnTo>
                    <a:pt x="1389" y="5172"/>
                  </a:lnTo>
                  <a:lnTo>
                    <a:pt x="1439" y="5201"/>
                  </a:lnTo>
                  <a:lnTo>
                    <a:pt x="1492" y="5228"/>
                  </a:lnTo>
                  <a:lnTo>
                    <a:pt x="1544" y="5255"/>
                  </a:lnTo>
                  <a:lnTo>
                    <a:pt x="1596" y="5281"/>
                  </a:lnTo>
                  <a:lnTo>
                    <a:pt x="1651" y="5305"/>
                  </a:lnTo>
                  <a:lnTo>
                    <a:pt x="1705" y="5328"/>
                  </a:lnTo>
                  <a:lnTo>
                    <a:pt x="1759" y="5350"/>
                  </a:lnTo>
                  <a:lnTo>
                    <a:pt x="1815" y="5371"/>
                  </a:lnTo>
                  <a:lnTo>
                    <a:pt x="1871" y="5391"/>
                  </a:lnTo>
                  <a:lnTo>
                    <a:pt x="1927" y="5411"/>
                  </a:lnTo>
                  <a:lnTo>
                    <a:pt x="1984" y="5428"/>
                  </a:lnTo>
                  <a:lnTo>
                    <a:pt x="2042" y="5444"/>
                  </a:lnTo>
                  <a:lnTo>
                    <a:pt x="2099" y="5459"/>
                  </a:lnTo>
                  <a:lnTo>
                    <a:pt x="2158" y="5473"/>
                  </a:lnTo>
                  <a:lnTo>
                    <a:pt x="2217" y="5486"/>
                  </a:lnTo>
                  <a:lnTo>
                    <a:pt x="2276" y="5497"/>
                  </a:lnTo>
                  <a:lnTo>
                    <a:pt x="2337" y="5507"/>
                  </a:lnTo>
                  <a:lnTo>
                    <a:pt x="2396" y="5516"/>
                  </a:lnTo>
                  <a:lnTo>
                    <a:pt x="2458" y="5523"/>
                  </a:lnTo>
                  <a:lnTo>
                    <a:pt x="2518" y="5529"/>
                  </a:lnTo>
                  <a:lnTo>
                    <a:pt x="2580" y="5534"/>
                  </a:lnTo>
                  <a:lnTo>
                    <a:pt x="2642" y="5537"/>
                  </a:lnTo>
                  <a:lnTo>
                    <a:pt x="2704" y="5539"/>
                  </a:lnTo>
                  <a:lnTo>
                    <a:pt x="2766" y="5540"/>
                  </a:lnTo>
                  <a:lnTo>
                    <a:pt x="11065" y="5540"/>
                  </a:lnTo>
                  <a:lnTo>
                    <a:pt x="13077" y="5540"/>
                  </a:lnTo>
                  <a:lnTo>
                    <a:pt x="13103" y="5541"/>
                  </a:lnTo>
                  <a:lnTo>
                    <a:pt x="13128" y="5543"/>
                  </a:lnTo>
                  <a:lnTo>
                    <a:pt x="13154" y="5546"/>
                  </a:lnTo>
                  <a:lnTo>
                    <a:pt x="13179" y="5551"/>
                  </a:lnTo>
                  <a:lnTo>
                    <a:pt x="13203" y="5557"/>
                  </a:lnTo>
                  <a:lnTo>
                    <a:pt x="13227" y="5564"/>
                  </a:lnTo>
                  <a:lnTo>
                    <a:pt x="13250" y="5571"/>
                  </a:lnTo>
                  <a:lnTo>
                    <a:pt x="13273" y="5580"/>
                  </a:lnTo>
                  <a:lnTo>
                    <a:pt x="13295" y="5590"/>
                  </a:lnTo>
                  <a:lnTo>
                    <a:pt x="13317" y="5601"/>
                  </a:lnTo>
                  <a:lnTo>
                    <a:pt x="13338" y="5613"/>
                  </a:lnTo>
                  <a:lnTo>
                    <a:pt x="13358" y="5626"/>
                  </a:lnTo>
                  <a:lnTo>
                    <a:pt x="13378" y="5640"/>
                  </a:lnTo>
                  <a:lnTo>
                    <a:pt x="13397" y="5655"/>
                  </a:lnTo>
                  <a:lnTo>
                    <a:pt x="13415" y="5671"/>
                  </a:lnTo>
                  <a:lnTo>
                    <a:pt x="13433" y="5688"/>
                  </a:lnTo>
                  <a:lnTo>
                    <a:pt x="13449" y="5706"/>
                  </a:lnTo>
                  <a:lnTo>
                    <a:pt x="13465" y="5724"/>
                  </a:lnTo>
                  <a:lnTo>
                    <a:pt x="13481" y="5743"/>
                  </a:lnTo>
                  <a:lnTo>
                    <a:pt x="13495" y="5762"/>
                  </a:lnTo>
                  <a:lnTo>
                    <a:pt x="13508" y="5783"/>
                  </a:lnTo>
                  <a:lnTo>
                    <a:pt x="13520" y="5804"/>
                  </a:lnTo>
                  <a:lnTo>
                    <a:pt x="13531" y="5826"/>
                  </a:lnTo>
                  <a:lnTo>
                    <a:pt x="13541" y="5848"/>
                  </a:lnTo>
                  <a:lnTo>
                    <a:pt x="13550" y="5871"/>
                  </a:lnTo>
                  <a:lnTo>
                    <a:pt x="13558" y="5894"/>
                  </a:lnTo>
                  <a:lnTo>
                    <a:pt x="13564" y="5918"/>
                  </a:lnTo>
                  <a:lnTo>
                    <a:pt x="13570" y="5942"/>
                  </a:lnTo>
                  <a:lnTo>
                    <a:pt x="13574" y="5968"/>
                  </a:lnTo>
                  <a:lnTo>
                    <a:pt x="13578" y="5993"/>
                  </a:lnTo>
                  <a:lnTo>
                    <a:pt x="13580" y="6018"/>
                  </a:lnTo>
                  <a:lnTo>
                    <a:pt x="13580" y="6044"/>
                  </a:lnTo>
                  <a:lnTo>
                    <a:pt x="13580" y="7051"/>
                  </a:lnTo>
                  <a:lnTo>
                    <a:pt x="9053" y="7051"/>
                  </a:lnTo>
                  <a:lnTo>
                    <a:pt x="8924" y="7055"/>
                  </a:lnTo>
                  <a:lnTo>
                    <a:pt x="8796" y="7065"/>
                  </a:lnTo>
                  <a:lnTo>
                    <a:pt x="8670" y="7081"/>
                  </a:lnTo>
                  <a:lnTo>
                    <a:pt x="8546" y="7103"/>
                  </a:lnTo>
                  <a:lnTo>
                    <a:pt x="8425" y="7131"/>
                  </a:lnTo>
                  <a:lnTo>
                    <a:pt x="8306" y="7164"/>
                  </a:lnTo>
                  <a:lnTo>
                    <a:pt x="8188" y="7205"/>
                  </a:lnTo>
                  <a:lnTo>
                    <a:pt x="8075" y="7249"/>
                  </a:lnTo>
                  <a:lnTo>
                    <a:pt x="7963" y="7299"/>
                  </a:lnTo>
                  <a:lnTo>
                    <a:pt x="7854" y="7356"/>
                  </a:lnTo>
                  <a:lnTo>
                    <a:pt x="7750" y="7416"/>
                  </a:lnTo>
                  <a:lnTo>
                    <a:pt x="7647" y="7482"/>
                  </a:lnTo>
                  <a:lnTo>
                    <a:pt x="7549" y="7552"/>
                  </a:lnTo>
                  <a:lnTo>
                    <a:pt x="7454" y="7627"/>
                  </a:lnTo>
                  <a:lnTo>
                    <a:pt x="7362" y="7705"/>
                  </a:lnTo>
                  <a:lnTo>
                    <a:pt x="7275" y="7789"/>
                  </a:lnTo>
                  <a:lnTo>
                    <a:pt x="7191" y="7877"/>
                  </a:lnTo>
                  <a:lnTo>
                    <a:pt x="7113" y="7968"/>
                  </a:lnTo>
                  <a:lnTo>
                    <a:pt x="7039" y="8063"/>
                  </a:lnTo>
                  <a:lnTo>
                    <a:pt x="6968" y="8162"/>
                  </a:lnTo>
                  <a:lnTo>
                    <a:pt x="6903" y="8264"/>
                  </a:lnTo>
                  <a:lnTo>
                    <a:pt x="6842" y="8369"/>
                  </a:lnTo>
                  <a:lnTo>
                    <a:pt x="6787" y="8478"/>
                  </a:lnTo>
                  <a:lnTo>
                    <a:pt x="6737" y="8590"/>
                  </a:lnTo>
                  <a:lnTo>
                    <a:pt x="6691" y="8704"/>
                  </a:lnTo>
                  <a:lnTo>
                    <a:pt x="6651" y="8820"/>
                  </a:lnTo>
                  <a:lnTo>
                    <a:pt x="6618" y="8940"/>
                  </a:lnTo>
                  <a:lnTo>
                    <a:pt x="6590" y="9062"/>
                  </a:lnTo>
                  <a:lnTo>
                    <a:pt x="6568" y="9186"/>
                  </a:lnTo>
                  <a:lnTo>
                    <a:pt x="6552" y="9312"/>
                  </a:lnTo>
                  <a:lnTo>
                    <a:pt x="6542" y="9440"/>
                  </a:lnTo>
                  <a:lnTo>
                    <a:pt x="6539" y="9570"/>
                  </a:lnTo>
                  <a:lnTo>
                    <a:pt x="6542" y="9700"/>
                  </a:lnTo>
                  <a:lnTo>
                    <a:pt x="6552" y="9828"/>
                  </a:lnTo>
                  <a:lnTo>
                    <a:pt x="6568" y="9954"/>
                  </a:lnTo>
                  <a:lnTo>
                    <a:pt x="6590" y="10078"/>
                  </a:lnTo>
                  <a:lnTo>
                    <a:pt x="6618" y="10199"/>
                  </a:lnTo>
                  <a:lnTo>
                    <a:pt x="6651" y="10319"/>
                  </a:lnTo>
                  <a:lnTo>
                    <a:pt x="6691" y="10436"/>
                  </a:lnTo>
                  <a:lnTo>
                    <a:pt x="6737" y="10550"/>
                  </a:lnTo>
                  <a:lnTo>
                    <a:pt x="6787" y="10662"/>
                  </a:lnTo>
                  <a:lnTo>
                    <a:pt x="6842" y="10771"/>
                  </a:lnTo>
                  <a:lnTo>
                    <a:pt x="6903" y="10876"/>
                  </a:lnTo>
                  <a:lnTo>
                    <a:pt x="6968" y="10978"/>
                  </a:lnTo>
                  <a:lnTo>
                    <a:pt x="7039" y="11077"/>
                  </a:lnTo>
                  <a:lnTo>
                    <a:pt x="7113" y="11172"/>
                  </a:lnTo>
                  <a:lnTo>
                    <a:pt x="7191" y="11263"/>
                  </a:lnTo>
                  <a:lnTo>
                    <a:pt x="7275" y="11351"/>
                  </a:lnTo>
                  <a:lnTo>
                    <a:pt x="7362" y="11434"/>
                  </a:lnTo>
                  <a:lnTo>
                    <a:pt x="7454" y="11513"/>
                  </a:lnTo>
                  <a:lnTo>
                    <a:pt x="7549" y="11588"/>
                  </a:lnTo>
                  <a:lnTo>
                    <a:pt x="7647" y="11658"/>
                  </a:lnTo>
                  <a:lnTo>
                    <a:pt x="7750" y="11724"/>
                  </a:lnTo>
                  <a:lnTo>
                    <a:pt x="7854" y="11784"/>
                  </a:lnTo>
                  <a:lnTo>
                    <a:pt x="7963" y="11839"/>
                  </a:lnTo>
                  <a:lnTo>
                    <a:pt x="8075" y="11891"/>
                  </a:lnTo>
                  <a:lnTo>
                    <a:pt x="8188" y="11935"/>
                  </a:lnTo>
                  <a:lnTo>
                    <a:pt x="8306" y="11975"/>
                  </a:lnTo>
                  <a:lnTo>
                    <a:pt x="8425" y="12009"/>
                  </a:lnTo>
                  <a:lnTo>
                    <a:pt x="8546" y="12037"/>
                  </a:lnTo>
                  <a:lnTo>
                    <a:pt x="8670" y="12059"/>
                  </a:lnTo>
                  <a:lnTo>
                    <a:pt x="8796" y="12075"/>
                  </a:lnTo>
                  <a:lnTo>
                    <a:pt x="8924" y="12085"/>
                  </a:lnTo>
                  <a:lnTo>
                    <a:pt x="9053" y="12088"/>
                  </a:lnTo>
                  <a:lnTo>
                    <a:pt x="13580" y="12088"/>
                  </a:lnTo>
                  <a:lnTo>
                    <a:pt x="13580" y="12844"/>
                  </a:lnTo>
                  <a:close/>
                  <a:moveTo>
                    <a:pt x="12574" y="4029"/>
                  </a:moveTo>
                  <a:lnTo>
                    <a:pt x="12574" y="4533"/>
                  </a:lnTo>
                  <a:lnTo>
                    <a:pt x="11065" y="4533"/>
                  </a:lnTo>
                  <a:lnTo>
                    <a:pt x="2766" y="4533"/>
                  </a:lnTo>
                  <a:lnTo>
                    <a:pt x="2716" y="4532"/>
                  </a:lnTo>
                  <a:lnTo>
                    <a:pt x="2666" y="4530"/>
                  </a:lnTo>
                  <a:lnTo>
                    <a:pt x="2615" y="4526"/>
                  </a:lnTo>
                  <a:lnTo>
                    <a:pt x="2566" y="4521"/>
                  </a:lnTo>
                  <a:lnTo>
                    <a:pt x="2517" y="4514"/>
                  </a:lnTo>
                  <a:lnTo>
                    <a:pt x="2469" y="4506"/>
                  </a:lnTo>
                  <a:lnTo>
                    <a:pt x="2420" y="4497"/>
                  </a:lnTo>
                  <a:lnTo>
                    <a:pt x="2373" y="4486"/>
                  </a:lnTo>
                  <a:lnTo>
                    <a:pt x="2326" y="4474"/>
                  </a:lnTo>
                  <a:lnTo>
                    <a:pt x="2279" y="4461"/>
                  </a:lnTo>
                  <a:lnTo>
                    <a:pt x="2233" y="4446"/>
                  </a:lnTo>
                  <a:lnTo>
                    <a:pt x="2188" y="4430"/>
                  </a:lnTo>
                  <a:lnTo>
                    <a:pt x="2143" y="4413"/>
                  </a:lnTo>
                  <a:lnTo>
                    <a:pt x="2098" y="4396"/>
                  </a:lnTo>
                  <a:lnTo>
                    <a:pt x="2055" y="4377"/>
                  </a:lnTo>
                  <a:lnTo>
                    <a:pt x="2011" y="4357"/>
                  </a:lnTo>
                  <a:lnTo>
                    <a:pt x="2011" y="4029"/>
                  </a:lnTo>
                  <a:lnTo>
                    <a:pt x="12574" y="4029"/>
                  </a:lnTo>
                  <a:close/>
                  <a:moveTo>
                    <a:pt x="12574" y="3526"/>
                  </a:moveTo>
                  <a:lnTo>
                    <a:pt x="2011" y="3526"/>
                  </a:lnTo>
                  <a:lnTo>
                    <a:pt x="2011" y="3022"/>
                  </a:lnTo>
                  <a:lnTo>
                    <a:pt x="12574" y="3022"/>
                  </a:lnTo>
                  <a:lnTo>
                    <a:pt x="12574" y="3526"/>
                  </a:lnTo>
                  <a:close/>
                  <a:moveTo>
                    <a:pt x="12574" y="2518"/>
                  </a:moveTo>
                  <a:lnTo>
                    <a:pt x="2011" y="2518"/>
                  </a:lnTo>
                  <a:lnTo>
                    <a:pt x="2011" y="2015"/>
                  </a:lnTo>
                  <a:lnTo>
                    <a:pt x="12574" y="2015"/>
                  </a:lnTo>
                  <a:lnTo>
                    <a:pt x="12574" y="2518"/>
                  </a:lnTo>
                  <a:close/>
                  <a:moveTo>
                    <a:pt x="2766" y="1007"/>
                  </a:moveTo>
                  <a:lnTo>
                    <a:pt x="11065" y="1007"/>
                  </a:lnTo>
                  <a:lnTo>
                    <a:pt x="13077" y="1007"/>
                  </a:lnTo>
                  <a:lnTo>
                    <a:pt x="13103" y="1008"/>
                  </a:lnTo>
                  <a:lnTo>
                    <a:pt x="13128" y="1010"/>
                  </a:lnTo>
                  <a:lnTo>
                    <a:pt x="13154" y="1013"/>
                  </a:lnTo>
                  <a:lnTo>
                    <a:pt x="13179" y="1017"/>
                  </a:lnTo>
                  <a:lnTo>
                    <a:pt x="13203" y="1023"/>
                  </a:lnTo>
                  <a:lnTo>
                    <a:pt x="13227" y="1031"/>
                  </a:lnTo>
                  <a:lnTo>
                    <a:pt x="13250" y="1038"/>
                  </a:lnTo>
                  <a:lnTo>
                    <a:pt x="13273" y="1047"/>
                  </a:lnTo>
                  <a:lnTo>
                    <a:pt x="13295" y="1057"/>
                  </a:lnTo>
                  <a:lnTo>
                    <a:pt x="13317" y="1068"/>
                  </a:lnTo>
                  <a:lnTo>
                    <a:pt x="13338" y="1080"/>
                  </a:lnTo>
                  <a:lnTo>
                    <a:pt x="13358" y="1093"/>
                  </a:lnTo>
                  <a:lnTo>
                    <a:pt x="13378" y="1107"/>
                  </a:lnTo>
                  <a:lnTo>
                    <a:pt x="13397" y="1122"/>
                  </a:lnTo>
                  <a:lnTo>
                    <a:pt x="13415" y="1138"/>
                  </a:lnTo>
                  <a:lnTo>
                    <a:pt x="13433" y="1155"/>
                  </a:lnTo>
                  <a:lnTo>
                    <a:pt x="13449" y="1173"/>
                  </a:lnTo>
                  <a:lnTo>
                    <a:pt x="13465" y="1191"/>
                  </a:lnTo>
                  <a:lnTo>
                    <a:pt x="13481" y="1210"/>
                  </a:lnTo>
                  <a:lnTo>
                    <a:pt x="13495" y="1230"/>
                  </a:lnTo>
                  <a:lnTo>
                    <a:pt x="13508" y="1250"/>
                  </a:lnTo>
                  <a:lnTo>
                    <a:pt x="13520" y="1271"/>
                  </a:lnTo>
                  <a:lnTo>
                    <a:pt x="13531" y="1292"/>
                  </a:lnTo>
                  <a:lnTo>
                    <a:pt x="13541" y="1316"/>
                  </a:lnTo>
                  <a:lnTo>
                    <a:pt x="13550" y="1338"/>
                  </a:lnTo>
                  <a:lnTo>
                    <a:pt x="13558" y="1361"/>
                  </a:lnTo>
                  <a:lnTo>
                    <a:pt x="13564" y="1385"/>
                  </a:lnTo>
                  <a:lnTo>
                    <a:pt x="13570" y="1409"/>
                  </a:lnTo>
                  <a:lnTo>
                    <a:pt x="13574" y="1434"/>
                  </a:lnTo>
                  <a:lnTo>
                    <a:pt x="13578" y="1460"/>
                  </a:lnTo>
                  <a:lnTo>
                    <a:pt x="13580" y="1485"/>
                  </a:lnTo>
                  <a:lnTo>
                    <a:pt x="13580" y="1511"/>
                  </a:lnTo>
                  <a:lnTo>
                    <a:pt x="13580" y="2770"/>
                  </a:lnTo>
                  <a:lnTo>
                    <a:pt x="13580" y="3022"/>
                  </a:lnTo>
                  <a:lnTo>
                    <a:pt x="13580" y="4626"/>
                  </a:lnTo>
                  <a:lnTo>
                    <a:pt x="13551" y="4616"/>
                  </a:lnTo>
                  <a:lnTo>
                    <a:pt x="13521" y="4606"/>
                  </a:lnTo>
                  <a:lnTo>
                    <a:pt x="13491" y="4597"/>
                  </a:lnTo>
                  <a:lnTo>
                    <a:pt x="13459" y="4587"/>
                  </a:lnTo>
                  <a:lnTo>
                    <a:pt x="13429" y="4579"/>
                  </a:lnTo>
                  <a:lnTo>
                    <a:pt x="13398" y="4571"/>
                  </a:lnTo>
                  <a:lnTo>
                    <a:pt x="13367" y="4564"/>
                  </a:lnTo>
                  <a:lnTo>
                    <a:pt x="13336" y="4558"/>
                  </a:lnTo>
                  <a:lnTo>
                    <a:pt x="13305" y="4552"/>
                  </a:lnTo>
                  <a:lnTo>
                    <a:pt x="13272" y="4547"/>
                  </a:lnTo>
                  <a:lnTo>
                    <a:pt x="13240" y="4543"/>
                  </a:lnTo>
                  <a:lnTo>
                    <a:pt x="13208" y="4539"/>
                  </a:lnTo>
                  <a:lnTo>
                    <a:pt x="13176" y="4537"/>
                  </a:lnTo>
                  <a:lnTo>
                    <a:pt x="13144" y="4535"/>
                  </a:lnTo>
                  <a:lnTo>
                    <a:pt x="13110" y="4533"/>
                  </a:lnTo>
                  <a:lnTo>
                    <a:pt x="13077" y="4533"/>
                  </a:lnTo>
                  <a:lnTo>
                    <a:pt x="13077" y="4533"/>
                  </a:lnTo>
                  <a:lnTo>
                    <a:pt x="13077" y="4029"/>
                  </a:lnTo>
                  <a:lnTo>
                    <a:pt x="13077" y="3022"/>
                  </a:lnTo>
                  <a:lnTo>
                    <a:pt x="13077" y="2015"/>
                  </a:lnTo>
                  <a:lnTo>
                    <a:pt x="13076" y="1989"/>
                  </a:lnTo>
                  <a:lnTo>
                    <a:pt x="13074" y="1963"/>
                  </a:lnTo>
                  <a:lnTo>
                    <a:pt x="13071" y="1938"/>
                  </a:lnTo>
                  <a:lnTo>
                    <a:pt x="13066" y="1913"/>
                  </a:lnTo>
                  <a:lnTo>
                    <a:pt x="13061" y="1889"/>
                  </a:lnTo>
                  <a:lnTo>
                    <a:pt x="13054" y="1865"/>
                  </a:lnTo>
                  <a:lnTo>
                    <a:pt x="13046" y="1841"/>
                  </a:lnTo>
                  <a:lnTo>
                    <a:pt x="13037" y="1818"/>
                  </a:lnTo>
                  <a:lnTo>
                    <a:pt x="13027" y="1796"/>
                  </a:lnTo>
                  <a:lnTo>
                    <a:pt x="13016" y="1774"/>
                  </a:lnTo>
                  <a:lnTo>
                    <a:pt x="13004" y="1754"/>
                  </a:lnTo>
                  <a:lnTo>
                    <a:pt x="12991" y="1733"/>
                  </a:lnTo>
                  <a:lnTo>
                    <a:pt x="12977" y="1714"/>
                  </a:lnTo>
                  <a:lnTo>
                    <a:pt x="12962" y="1694"/>
                  </a:lnTo>
                  <a:lnTo>
                    <a:pt x="12946" y="1676"/>
                  </a:lnTo>
                  <a:lnTo>
                    <a:pt x="12929" y="1658"/>
                  </a:lnTo>
                  <a:lnTo>
                    <a:pt x="12912" y="1642"/>
                  </a:lnTo>
                  <a:lnTo>
                    <a:pt x="12894" y="1626"/>
                  </a:lnTo>
                  <a:lnTo>
                    <a:pt x="12875" y="1611"/>
                  </a:lnTo>
                  <a:lnTo>
                    <a:pt x="12855" y="1597"/>
                  </a:lnTo>
                  <a:lnTo>
                    <a:pt x="12835" y="1584"/>
                  </a:lnTo>
                  <a:lnTo>
                    <a:pt x="12814" y="1571"/>
                  </a:lnTo>
                  <a:lnTo>
                    <a:pt x="12792" y="1560"/>
                  </a:lnTo>
                  <a:lnTo>
                    <a:pt x="12769" y="1550"/>
                  </a:lnTo>
                  <a:lnTo>
                    <a:pt x="12746" y="1541"/>
                  </a:lnTo>
                  <a:lnTo>
                    <a:pt x="12723" y="1534"/>
                  </a:lnTo>
                  <a:lnTo>
                    <a:pt x="12700" y="1527"/>
                  </a:lnTo>
                  <a:lnTo>
                    <a:pt x="12675" y="1521"/>
                  </a:lnTo>
                  <a:lnTo>
                    <a:pt x="12651" y="1517"/>
                  </a:lnTo>
                  <a:lnTo>
                    <a:pt x="12626" y="1514"/>
                  </a:lnTo>
                  <a:lnTo>
                    <a:pt x="12599" y="1512"/>
                  </a:lnTo>
                  <a:lnTo>
                    <a:pt x="12574" y="1511"/>
                  </a:lnTo>
                  <a:lnTo>
                    <a:pt x="2011" y="1511"/>
                  </a:lnTo>
                  <a:lnTo>
                    <a:pt x="1986" y="1512"/>
                  </a:lnTo>
                  <a:lnTo>
                    <a:pt x="1960" y="1514"/>
                  </a:lnTo>
                  <a:lnTo>
                    <a:pt x="1934" y="1517"/>
                  </a:lnTo>
                  <a:lnTo>
                    <a:pt x="1910" y="1521"/>
                  </a:lnTo>
                  <a:lnTo>
                    <a:pt x="1886" y="1527"/>
                  </a:lnTo>
                  <a:lnTo>
                    <a:pt x="1862" y="1534"/>
                  </a:lnTo>
                  <a:lnTo>
                    <a:pt x="1839" y="1541"/>
                  </a:lnTo>
                  <a:lnTo>
                    <a:pt x="1816" y="1550"/>
                  </a:lnTo>
                  <a:lnTo>
                    <a:pt x="1794" y="1560"/>
                  </a:lnTo>
                  <a:lnTo>
                    <a:pt x="1771" y="1571"/>
                  </a:lnTo>
                  <a:lnTo>
                    <a:pt x="1750" y="1584"/>
                  </a:lnTo>
                  <a:lnTo>
                    <a:pt x="1730" y="1597"/>
                  </a:lnTo>
                  <a:lnTo>
                    <a:pt x="1710" y="1611"/>
                  </a:lnTo>
                  <a:lnTo>
                    <a:pt x="1691" y="1626"/>
                  </a:lnTo>
                  <a:lnTo>
                    <a:pt x="1673" y="1642"/>
                  </a:lnTo>
                  <a:lnTo>
                    <a:pt x="1656" y="1658"/>
                  </a:lnTo>
                  <a:lnTo>
                    <a:pt x="1639" y="1676"/>
                  </a:lnTo>
                  <a:lnTo>
                    <a:pt x="1624" y="1694"/>
                  </a:lnTo>
                  <a:lnTo>
                    <a:pt x="1608" y="1714"/>
                  </a:lnTo>
                  <a:lnTo>
                    <a:pt x="1594" y="1733"/>
                  </a:lnTo>
                  <a:lnTo>
                    <a:pt x="1581" y="1754"/>
                  </a:lnTo>
                  <a:lnTo>
                    <a:pt x="1569" y="1774"/>
                  </a:lnTo>
                  <a:lnTo>
                    <a:pt x="1558" y="1796"/>
                  </a:lnTo>
                  <a:lnTo>
                    <a:pt x="1548" y="1818"/>
                  </a:lnTo>
                  <a:lnTo>
                    <a:pt x="1539" y="1841"/>
                  </a:lnTo>
                  <a:lnTo>
                    <a:pt x="1531" y="1865"/>
                  </a:lnTo>
                  <a:lnTo>
                    <a:pt x="1524" y="1889"/>
                  </a:lnTo>
                  <a:lnTo>
                    <a:pt x="1519" y="1913"/>
                  </a:lnTo>
                  <a:lnTo>
                    <a:pt x="1514" y="1938"/>
                  </a:lnTo>
                  <a:lnTo>
                    <a:pt x="1511" y="1963"/>
                  </a:lnTo>
                  <a:lnTo>
                    <a:pt x="1509" y="1989"/>
                  </a:lnTo>
                  <a:lnTo>
                    <a:pt x="1508" y="2015"/>
                  </a:lnTo>
                  <a:lnTo>
                    <a:pt x="1508" y="3022"/>
                  </a:lnTo>
                  <a:lnTo>
                    <a:pt x="1508" y="4000"/>
                  </a:lnTo>
                  <a:lnTo>
                    <a:pt x="1480" y="3970"/>
                  </a:lnTo>
                  <a:lnTo>
                    <a:pt x="1452" y="3940"/>
                  </a:lnTo>
                  <a:lnTo>
                    <a:pt x="1424" y="3909"/>
                  </a:lnTo>
                  <a:lnTo>
                    <a:pt x="1397" y="3876"/>
                  </a:lnTo>
                  <a:lnTo>
                    <a:pt x="1372" y="3843"/>
                  </a:lnTo>
                  <a:lnTo>
                    <a:pt x="1347" y="3810"/>
                  </a:lnTo>
                  <a:lnTo>
                    <a:pt x="1323" y="3777"/>
                  </a:lnTo>
                  <a:lnTo>
                    <a:pt x="1299" y="3741"/>
                  </a:lnTo>
                  <a:lnTo>
                    <a:pt x="1277" y="3706"/>
                  </a:lnTo>
                  <a:lnTo>
                    <a:pt x="1254" y="3671"/>
                  </a:lnTo>
                  <a:lnTo>
                    <a:pt x="1233" y="3635"/>
                  </a:lnTo>
                  <a:lnTo>
                    <a:pt x="1213" y="3598"/>
                  </a:lnTo>
                  <a:lnTo>
                    <a:pt x="1194" y="3561"/>
                  </a:lnTo>
                  <a:lnTo>
                    <a:pt x="1175" y="3523"/>
                  </a:lnTo>
                  <a:lnTo>
                    <a:pt x="1158" y="3484"/>
                  </a:lnTo>
                  <a:lnTo>
                    <a:pt x="1141" y="3446"/>
                  </a:lnTo>
                  <a:lnTo>
                    <a:pt x="1125" y="3407"/>
                  </a:lnTo>
                  <a:lnTo>
                    <a:pt x="1110" y="3367"/>
                  </a:lnTo>
                  <a:lnTo>
                    <a:pt x="1096" y="3327"/>
                  </a:lnTo>
                  <a:lnTo>
                    <a:pt x="1083" y="3286"/>
                  </a:lnTo>
                  <a:lnTo>
                    <a:pt x="1071" y="3246"/>
                  </a:lnTo>
                  <a:lnTo>
                    <a:pt x="1060" y="3204"/>
                  </a:lnTo>
                  <a:lnTo>
                    <a:pt x="1050" y="3162"/>
                  </a:lnTo>
                  <a:lnTo>
                    <a:pt x="1041" y="3120"/>
                  </a:lnTo>
                  <a:lnTo>
                    <a:pt x="1033" y="3077"/>
                  </a:lnTo>
                  <a:lnTo>
                    <a:pt x="1026" y="3034"/>
                  </a:lnTo>
                  <a:lnTo>
                    <a:pt x="1020" y="2991"/>
                  </a:lnTo>
                  <a:lnTo>
                    <a:pt x="1015" y="2948"/>
                  </a:lnTo>
                  <a:lnTo>
                    <a:pt x="1011" y="2903"/>
                  </a:lnTo>
                  <a:lnTo>
                    <a:pt x="1008" y="2860"/>
                  </a:lnTo>
                  <a:lnTo>
                    <a:pt x="1007" y="2815"/>
                  </a:lnTo>
                  <a:lnTo>
                    <a:pt x="1006" y="2770"/>
                  </a:lnTo>
                  <a:lnTo>
                    <a:pt x="1008" y="2680"/>
                  </a:lnTo>
                  <a:lnTo>
                    <a:pt x="1015" y="2590"/>
                  </a:lnTo>
                  <a:lnTo>
                    <a:pt x="1026" y="2501"/>
                  </a:lnTo>
                  <a:lnTo>
                    <a:pt x="1041" y="2415"/>
                  </a:lnTo>
                  <a:lnTo>
                    <a:pt x="1061" y="2330"/>
                  </a:lnTo>
                  <a:lnTo>
                    <a:pt x="1085" y="2246"/>
                  </a:lnTo>
                  <a:lnTo>
                    <a:pt x="1113" y="2164"/>
                  </a:lnTo>
                  <a:lnTo>
                    <a:pt x="1145" y="2084"/>
                  </a:lnTo>
                  <a:lnTo>
                    <a:pt x="1180" y="2006"/>
                  </a:lnTo>
                  <a:lnTo>
                    <a:pt x="1218" y="1930"/>
                  </a:lnTo>
                  <a:lnTo>
                    <a:pt x="1260" y="1857"/>
                  </a:lnTo>
                  <a:lnTo>
                    <a:pt x="1307" y="1785"/>
                  </a:lnTo>
                  <a:lnTo>
                    <a:pt x="1356" y="1716"/>
                  </a:lnTo>
                  <a:lnTo>
                    <a:pt x="1408" y="1649"/>
                  </a:lnTo>
                  <a:lnTo>
                    <a:pt x="1464" y="1585"/>
                  </a:lnTo>
                  <a:lnTo>
                    <a:pt x="1521" y="1524"/>
                  </a:lnTo>
                  <a:lnTo>
                    <a:pt x="1582" y="1466"/>
                  </a:lnTo>
                  <a:lnTo>
                    <a:pt x="1647" y="1410"/>
                  </a:lnTo>
                  <a:lnTo>
                    <a:pt x="1713" y="1358"/>
                  </a:lnTo>
                  <a:lnTo>
                    <a:pt x="1782" y="1309"/>
                  </a:lnTo>
                  <a:lnTo>
                    <a:pt x="1853" y="1262"/>
                  </a:lnTo>
                  <a:lnTo>
                    <a:pt x="1927" y="1220"/>
                  </a:lnTo>
                  <a:lnTo>
                    <a:pt x="2003" y="1182"/>
                  </a:lnTo>
                  <a:lnTo>
                    <a:pt x="2081" y="1146"/>
                  </a:lnTo>
                  <a:lnTo>
                    <a:pt x="2161" y="1114"/>
                  </a:lnTo>
                  <a:lnTo>
                    <a:pt x="2243" y="1087"/>
                  </a:lnTo>
                  <a:lnTo>
                    <a:pt x="2327" y="1063"/>
                  </a:lnTo>
                  <a:lnTo>
                    <a:pt x="2411" y="1044"/>
                  </a:lnTo>
                  <a:lnTo>
                    <a:pt x="2498" y="1028"/>
                  </a:lnTo>
                  <a:lnTo>
                    <a:pt x="2586" y="1016"/>
                  </a:lnTo>
                  <a:lnTo>
                    <a:pt x="2676" y="1009"/>
                  </a:lnTo>
                  <a:lnTo>
                    <a:pt x="2766" y="1007"/>
                  </a:lnTo>
                  <a:close/>
                  <a:moveTo>
                    <a:pt x="14587" y="6044"/>
                  </a:moveTo>
                  <a:lnTo>
                    <a:pt x="14586" y="6044"/>
                  </a:lnTo>
                  <a:lnTo>
                    <a:pt x="14586" y="3022"/>
                  </a:lnTo>
                  <a:lnTo>
                    <a:pt x="14586" y="2770"/>
                  </a:lnTo>
                  <a:lnTo>
                    <a:pt x="14586" y="1511"/>
                  </a:lnTo>
                  <a:lnTo>
                    <a:pt x="14584" y="1433"/>
                  </a:lnTo>
                  <a:lnTo>
                    <a:pt x="14578" y="1357"/>
                  </a:lnTo>
                  <a:lnTo>
                    <a:pt x="14569" y="1281"/>
                  </a:lnTo>
                  <a:lnTo>
                    <a:pt x="14556" y="1207"/>
                  </a:lnTo>
                  <a:lnTo>
                    <a:pt x="14539" y="1133"/>
                  </a:lnTo>
                  <a:lnTo>
                    <a:pt x="14519" y="1062"/>
                  </a:lnTo>
                  <a:lnTo>
                    <a:pt x="14495" y="991"/>
                  </a:lnTo>
                  <a:lnTo>
                    <a:pt x="14467" y="923"/>
                  </a:lnTo>
                  <a:lnTo>
                    <a:pt x="14437" y="856"/>
                  </a:lnTo>
                  <a:lnTo>
                    <a:pt x="14404" y="791"/>
                  </a:lnTo>
                  <a:lnTo>
                    <a:pt x="14368" y="727"/>
                  </a:lnTo>
                  <a:lnTo>
                    <a:pt x="14329" y="666"/>
                  </a:lnTo>
                  <a:lnTo>
                    <a:pt x="14286" y="607"/>
                  </a:lnTo>
                  <a:lnTo>
                    <a:pt x="14242" y="550"/>
                  </a:lnTo>
                  <a:lnTo>
                    <a:pt x="14194" y="495"/>
                  </a:lnTo>
                  <a:lnTo>
                    <a:pt x="14144" y="442"/>
                  </a:lnTo>
                  <a:lnTo>
                    <a:pt x="14092" y="393"/>
                  </a:lnTo>
                  <a:lnTo>
                    <a:pt x="14037" y="346"/>
                  </a:lnTo>
                  <a:lnTo>
                    <a:pt x="13980" y="300"/>
                  </a:lnTo>
                  <a:lnTo>
                    <a:pt x="13921" y="258"/>
                  </a:lnTo>
                  <a:lnTo>
                    <a:pt x="13860" y="219"/>
                  </a:lnTo>
                  <a:lnTo>
                    <a:pt x="13796" y="182"/>
                  </a:lnTo>
                  <a:lnTo>
                    <a:pt x="13731" y="149"/>
                  </a:lnTo>
                  <a:lnTo>
                    <a:pt x="13665" y="119"/>
                  </a:lnTo>
                  <a:lnTo>
                    <a:pt x="13596" y="92"/>
                  </a:lnTo>
                  <a:lnTo>
                    <a:pt x="13526" y="67"/>
                  </a:lnTo>
                  <a:lnTo>
                    <a:pt x="13454" y="47"/>
                  </a:lnTo>
                  <a:lnTo>
                    <a:pt x="13381" y="30"/>
                  </a:lnTo>
                  <a:lnTo>
                    <a:pt x="13307" y="17"/>
                  </a:lnTo>
                  <a:lnTo>
                    <a:pt x="13231" y="8"/>
                  </a:lnTo>
                  <a:lnTo>
                    <a:pt x="13155" y="2"/>
                  </a:lnTo>
                  <a:lnTo>
                    <a:pt x="13077" y="0"/>
                  </a:lnTo>
                  <a:lnTo>
                    <a:pt x="11065" y="0"/>
                  </a:lnTo>
                  <a:lnTo>
                    <a:pt x="2766" y="0"/>
                  </a:lnTo>
                  <a:lnTo>
                    <a:pt x="2624" y="4"/>
                  </a:lnTo>
                  <a:lnTo>
                    <a:pt x="2484" y="14"/>
                  </a:lnTo>
                  <a:lnTo>
                    <a:pt x="2346" y="32"/>
                  </a:lnTo>
                  <a:lnTo>
                    <a:pt x="2209" y="56"/>
                  </a:lnTo>
                  <a:lnTo>
                    <a:pt x="2075" y="88"/>
                  </a:lnTo>
                  <a:lnTo>
                    <a:pt x="1944" y="125"/>
                  </a:lnTo>
                  <a:lnTo>
                    <a:pt x="1816" y="168"/>
                  </a:lnTo>
                  <a:lnTo>
                    <a:pt x="1690" y="218"/>
                  </a:lnTo>
                  <a:lnTo>
                    <a:pt x="1568" y="274"/>
                  </a:lnTo>
                  <a:lnTo>
                    <a:pt x="1449" y="335"/>
                  </a:lnTo>
                  <a:lnTo>
                    <a:pt x="1333" y="402"/>
                  </a:lnTo>
                  <a:lnTo>
                    <a:pt x="1220" y="473"/>
                  </a:lnTo>
                  <a:lnTo>
                    <a:pt x="1113" y="551"/>
                  </a:lnTo>
                  <a:lnTo>
                    <a:pt x="1008" y="634"/>
                  </a:lnTo>
                  <a:lnTo>
                    <a:pt x="907" y="720"/>
                  </a:lnTo>
                  <a:lnTo>
                    <a:pt x="811" y="812"/>
                  </a:lnTo>
                  <a:lnTo>
                    <a:pt x="719" y="909"/>
                  </a:lnTo>
                  <a:lnTo>
                    <a:pt x="633" y="1009"/>
                  </a:lnTo>
                  <a:lnTo>
                    <a:pt x="550" y="1114"/>
                  </a:lnTo>
                  <a:lnTo>
                    <a:pt x="473" y="1223"/>
                  </a:lnTo>
                  <a:lnTo>
                    <a:pt x="401" y="1335"/>
                  </a:lnTo>
                  <a:lnTo>
                    <a:pt x="334" y="1451"/>
                  </a:lnTo>
                  <a:lnTo>
                    <a:pt x="274" y="1570"/>
                  </a:lnTo>
                  <a:lnTo>
                    <a:pt x="217" y="1693"/>
                  </a:lnTo>
                  <a:lnTo>
                    <a:pt x="168" y="1819"/>
                  </a:lnTo>
                  <a:lnTo>
                    <a:pt x="125" y="1947"/>
                  </a:lnTo>
                  <a:lnTo>
                    <a:pt x="88" y="2079"/>
                  </a:lnTo>
                  <a:lnTo>
                    <a:pt x="56" y="2213"/>
                  </a:lnTo>
                  <a:lnTo>
                    <a:pt x="32" y="2349"/>
                  </a:lnTo>
                  <a:lnTo>
                    <a:pt x="14" y="2487"/>
                  </a:lnTo>
                  <a:lnTo>
                    <a:pt x="4" y="2628"/>
                  </a:lnTo>
                  <a:lnTo>
                    <a:pt x="0" y="2770"/>
                  </a:lnTo>
                  <a:lnTo>
                    <a:pt x="0" y="12844"/>
                  </a:lnTo>
                  <a:lnTo>
                    <a:pt x="4" y="12986"/>
                  </a:lnTo>
                  <a:lnTo>
                    <a:pt x="14" y="13127"/>
                  </a:lnTo>
                  <a:lnTo>
                    <a:pt x="32" y="13265"/>
                  </a:lnTo>
                  <a:lnTo>
                    <a:pt x="56" y="13401"/>
                  </a:lnTo>
                  <a:lnTo>
                    <a:pt x="88" y="13535"/>
                  </a:lnTo>
                  <a:lnTo>
                    <a:pt x="125" y="13667"/>
                  </a:lnTo>
                  <a:lnTo>
                    <a:pt x="168" y="13795"/>
                  </a:lnTo>
                  <a:lnTo>
                    <a:pt x="217" y="13921"/>
                  </a:lnTo>
                  <a:lnTo>
                    <a:pt x="274" y="14044"/>
                  </a:lnTo>
                  <a:lnTo>
                    <a:pt x="334" y="14163"/>
                  </a:lnTo>
                  <a:lnTo>
                    <a:pt x="401" y="14279"/>
                  </a:lnTo>
                  <a:lnTo>
                    <a:pt x="473" y="14391"/>
                  </a:lnTo>
                  <a:lnTo>
                    <a:pt x="550" y="14500"/>
                  </a:lnTo>
                  <a:lnTo>
                    <a:pt x="633" y="14605"/>
                  </a:lnTo>
                  <a:lnTo>
                    <a:pt x="719" y="14705"/>
                  </a:lnTo>
                  <a:lnTo>
                    <a:pt x="811" y="14802"/>
                  </a:lnTo>
                  <a:lnTo>
                    <a:pt x="907" y="14894"/>
                  </a:lnTo>
                  <a:lnTo>
                    <a:pt x="1008" y="14980"/>
                  </a:lnTo>
                  <a:lnTo>
                    <a:pt x="1113" y="15063"/>
                  </a:lnTo>
                  <a:lnTo>
                    <a:pt x="1220" y="15141"/>
                  </a:lnTo>
                  <a:lnTo>
                    <a:pt x="1333" y="15212"/>
                  </a:lnTo>
                  <a:lnTo>
                    <a:pt x="1449" y="15280"/>
                  </a:lnTo>
                  <a:lnTo>
                    <a:pt x="1568" y="15340"/>
                  </a:lnTo>
                  <a:lnTo>
                    <a:pt x="1690" y="15396"/>
                  </a:lnTo>
                  <a:lnTo>
                    <a:pt x="1816" y="15446"/>
                  </a:lnTo>
                  <a:lnTo>
                    <a:pt x="1944" y="15489"/>
                  </a:lnTo>
                  <a:lnTo>
                    <a:pt x="2075" y="15526"/>
                  </a:lnTo>
                  <a:lnTo>
                    <a:pt x="2209" y="15558"/>
                  </a:lnTo>
                  <a:lnTo>
                    <a:pt x="2346" y="15582"/>
                  </a:lnTo>
                  <a:lnTo>
                    <a:pt x="2484" y="15600"/>
                  </a:lnTo>
                  <a:lnTo>
                    <a:pt x="2624" y="15610"/>
                  </a:lnTo>
                  <a:lnTo>
                    <a:pt x="2766" y="15614"/>
                  </a:lnTo>
                  <a:lnTo>
                    <a:pt x="11820" y="15614"/>
                  </a:lnTo>
                  <a:lnTo>
                    <a:pt x="11962" y="15610"/>
                  </a:lnTo>
                  <a:lnTo>
                    <a:pt x="12102" y="15600"/>
                  </a:lnTo>
                  <a:lnTo>
                    <a:pt x="12240" y="15582"/>
                  </a:lnTo>
                  <a:lnTo>
                    <a:pt x="12377" y="15558"/>
                  </a:lnTo>
                  <a:lnTo>
                    <a:pt x="12510" y="15526"/>
                  </a:lnTo>
                  <a:lnTo>
                    <a:pt x="12642" y="15489"/>
                  </a:lnTo>
                  <a:lnTo>
                    <a:pt x="12770" y="15446"/>
                  </a:lnTo>
                  <a:lnTo>
                    <a:pt x="12895" y="15396"/>
                  </a:lnTo>
                  <a:lnTo>
                    <a:pt x="13018" y="15340"/>
                  </a:lnTo>
                  <a:lnTo>
                    <a:pt x="13138" y="15280"/>
                  </a:lnTo>
                  <a:lnTo>
                    <a:pt x="13253" y="15212"/>
                  </a:lnTo>
                  <a:lnTo>
                    <a:pt x="13366" y="15141"/>
                  </a:lnTo>
                  <a:lnTo>
                    <a:pt x="13474" y="15063"/>
                  </a:lnTo>
                  <a:lnTo>
                    <a:pt x="13578" y="14980"/>
                  </a:lnTo>
                  <a:lnTo>
                    <a:pt x="13679" y="14894"/>
                  </a:lnTo>
                  <a:lnTo>
                    <a:pt x="13775" y="14802"/>
                  </a:lnTo>
                  <a:lnTo>
                    <a:pt x="13867" y="14705"/>
                  </a:lnTo>
                  <a:lnTo>
                    <a:pt x="13953" y="14605"/>
                  </a:lnTo>
                  <a:lnTo>
                    <a:pt x="14036" y="14500"/>
                  </a:lnTo>
                  <a:lnTo>
                    <a:pt x="14113" y="14391"/>
                  </a:lnTo>
                  <a:lnTo>
                    <a:pt x="14185" y="14279"/>
                  </a:lnTo>
                  <a:lnTo>
                    <a:pt x="14252" y="14163"/>
                  </a:lnTo>
                  <a:lnTo>
                    <a:pt x="14313" y="14044"/>
                  </a:lnTo>
                  <a:lnTo>
                    <a:pt x="14369" y="13921"/>
                  </a:lnTo>
                  <a:lnTo>
                    <a:pt x="14418" y="13795"/>
                  </a:lnTo>
                  <a:lnTo>
                    <a:pt x="14461" y="13667"/>
                  </a:lnTo>
                  <a:lnTo>
                    <a:pt x="14499" y="13535"/>
                  </a:lnTo>
                  <a:lnTo>
                    <a:pt x="14530" y="13401"/>
                  </a:lnTo>
                  <a:lnTo>
                    <a:pt x="14554" y="13265"/>
                  </a:lnTo>
                  <a:lnTo>
                    <a:pt x="14572" y="13127"/>
                  </a:lnTo>
                  <a:lnTo>
                    <a:pt x="14583" y="12986"/>
                  </a:lnTo>
                  <a:lnTo>
                    <a:pt x="14586" y="12844"/>
                  </a:lnTo>
                  <a:lnTo>
                    <a:pt x="14586" y="12088"/>
                  </a:lnTo>
                  <a:lnTo>
                    <a:pt x="14587" y="12088"/>
                  </a:lnTo>
                  <a:lnTo>
                    <a:pt x="14769" y="11942"/>
                  </a:lnTo>
                  <a:lnTo>
                    <a:pt x="14940" y="11788"/>
                  </a:lnTo>
                  <a:lnTo>
                    <a:pt x="15099" y="11626"/>
                  </a:lnTo>
                  <a:lnTo>
                    <a:pt x="15247" y="11457"/>
                  </a:lnTo>
                  <a:lnTo>
                    <a:pt x="15382" y="11280"/>
                  </a:lnTo>
                  <a:lnTo>
                    <a:pt x="15506" y="11099"/>
                  </a:lnTo>
                  <a:lnTo>
                    <a:pt x="15618" y="10912"/>
                  </a:lnTo>
                  <a:lnTo>
                    <a:pt x="15718" y="10718"/>
                  </a:lnTo>
                  <a:lnTo>
                    <a:pt x="15806" y="10522"/>
                  </a:lnTo>
                  <a:lnTo>
                    <a:pt x="15883" y="10321"/>
                  </a:lnTo>
                  <a:lnTo>
                    <a:pt x="15948" y="10117"/>
                  </a:lnTo>
                  <a:lnTo>
                    <a:pt x="16000" y="9910"/>
                  </a:lnTo>
                  <a:lnTo>
                    <a:pt x="16042" y="9701"/>
                  </a:lnTo>
                  <a:lnTo>
                    <a:pt x="16072" y="9490"/>
                  </a:lnTo>
                  <a:lnTo>
                    <a:pt x="16089" y="9279"/>
                  </a:lnTo>
                  <a:lnTo>
                    <a:pt x="16095" y="9066"/>
                  </a:lnTo>
                  <a:lnTo>
                    <a:pt x="16089" y="8854"/>
                  </a:lnTo>
                  <a:lnTo>
                    <a:pt x="16072" y="8642"/>
                  </a:lnTo>
                  <a:lnTo>
                    <a:pt x="16042" y="8432"/>
                  </a:lnTo>
                  <a:lnTo>
                    <a:pt x="16000" y="8222"/>
                  </a:lnTo>
                  <a:lnTo>
                    <a:pt x="15948" y="8016"/>
                  </a:lnTo>
                  <a:lnTo>
                    <a:pt x="15883" y="7811"/>
                  </a:lnTo>
                  <a:lnTo>
                    <a:pt x="15806" y="7611"/>
                  </a:lnTo>
                  <a:lnTo>
                    <a:pt x="15718" y="7413"/>
                  </a:lnTo>
                  <a:lnTo>
                    <a:pt x="15618" y="7221"/>
                  </a:lnTo>
                  <a:lnTo>
                    <a:pt x="15506" y="7033"/>
                  </a:lnTo>
                  <a:lnTo>
                    <a:pt x="15382" y="6852"/>
                  </a:lnTo>
                  <a:lnTo>
                    <a:pt x="15247" y="6676"/>
                  </a:lnTo>
                  <a:lnTo>
                    <a:pt x="15099" y="6507"/>
                  </a:lnTo>
                  <a:lnTo>
                    <a:pt x="14940" y="6344"/>
                  </a:lnTo>
                  <a:lnTo>
                    <a:pt x="14769" y="6190"/>
                  </a:lnTo>
                  <a:lnTo>
                    <a:pt x="14587" y="60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34" name="ïṩ1îḍe">
              <a:extLst>
                <a:ext uri="{FF2B5EF4-FFF2-40B4-BE49-F238E27FC236}">
                  <a16:creationId xmlns:a16="http://schemas.microsoft.com/office/drawing/2014/main" id="{CE660B93-4B74-4C8B-BF50-64999A756169}"/>
                </a:ext>
              </a:extLst>
            </p:cNvPr>
            <p:cNvSpPr/>
            <p:nvPr/>
          </p:nvSpPr>
          <p:spPr bwMode="auto">
            <a:xfrm>
              <a:off x="4143833" y="2524105"/>
              <a:ext cx="403593" cy="404523"/>
            </a:xfrm>
            <a:custGeom>
              <a:avLst/>
              <a:gdLst>
                <a:gd name="T0" fmla="*/ 15014 w 16058"/>
                <a:gd name="T1" fmla="*/ 14913 h 16095"/>
                <a:gd name="T2" fmla="*/ 14893 w 16058"/>
                <a:gd name="T3" fmla="*/ 15041 h 16095"/>
                <a:gd name="T4" fmla="*/ 14719 w 16058"/>
                <a:gd name="T5" fmla="*/ 15089 h 16095"/>
                <a:gd name="T6" fmla="*/ 1179 w 16058"/>
                <a:gd name="T7" fmla="*/ 15049 h 16095"/>
                <a:gd name="T8" fmla="*/ 1052 w 16058"/>
                <a:gd name="T9" fmla="*/ 14927 h 16095"/>
                <a:gd name="T10" fmla="*/ 1004 w 16058"/>
                <a:gd name="T11" fmla="*/ 14754 h 16095"/>
                <a:gd name="T12" fmla="*/ 1044 w 16058"/>
                <a:gd name="T13" fmla="*/ 2690 h 16095"/>
                <a:gd name="T14" fmla="*/ 1165 w 16058"/>
                <a:gd name="T15" fmla="*/ 2563 h 16095"/>
                <a:gd name="T16" fmla="*/ 1338 w 16058"/>
                <a:gd name="T17" fmla="*/ 2515 h 16095"/>
                <a:gd name="T18" fmla="*/ 3562 w 16058"/>
                <a:gd name="T19" fmla="*/ 3739 h 16095"/>
                <a:gd name="T20" fmla="*/ 3733 w 16058"/>
                <a:gd name="T21" fmla="*/ 3938 h 16095"/>
                <a:gd name="T22" fmla="*/ 3988 w 16058"/>
                <a:gd name="T23" fmla="*/ 4023 h 16095"/>
                <a:gd name="T24" fmla="*/ 4253 w 16058"/>
                <a:gd name="T25" fmla="*/ 3963 h 16095"/>
                <a:gd name="T26" fmla="*/ 4444 w 16058"/>
                <a:gd name="T27" fmla="*/ 3781 h 16095"/>
                <a:gd name="T28" fmla="*/ 4516 w 16058"/>
                <a:gd name="T29" fmla="*/ 3521 h 16095"/>
                <a:gd name="T30" fmla="*/ 7566 w 16058"/>
                <a:gd name="T31" fmla="*/ 3717 h 16095"/>
                <a:gd name="T32" fmla="*/ 7729 w 16058"/>
                <a:gd name="T33" fmla="*/ 3924 h 16095"/>
                <a:gd name="T34" fmla="*/ 7978 w 16058"/>
                <a:gd name="T35" fmla="*/ 4021 h 16095"/>
                <a:gd name="T36" fmla="*/ 8247 w 16058"/>
                <a:gd name="T37" fmla="*/ 3974 h 16095"/>
                <a:gd name="T38" fmla="*/ 8446 w 16058"/>
                <a:gd name="T39" fmla="*/ 3802 h 16095"/>
                <a:gd name="T40" fmla="*/ 8530 w 16058"/>
                <a:gd name="T41" fmla="*/ 3547 h 16095"/>
                <a:gd name="T42" fmla="*/ 11572 w 16058"/>
                <a:gd name="T43" fmla="*/ 3694 h 16095"/>
                <a:gd name="T44" fmla="*/ 11724 w 16058"/>
                <a:gd name="T45" fmla="*/ 3909 h 16095"/>
                <a:gd name="T46" fmla="*/ 11967 w 16058"/>
                <a:gd name="T47" fmla="*/ 4018 h 16095"/>
                <a:gd name="T48" fmla="*/ 12238 w 16058"/>
                <a:gd name="T49" fmla="*/ 3985 h 16095"/>
                <a:gd name="T50" fmla="*/ 12446 w 16058"/>
                <a:gd name="T51" fmla="*/ 3822 h 16095"/>
                <a:gd name="T52" fmla="*/ 12542 w 16058"/>
                <a:gd name="T53" fmla="*/ 3572 h 16095"/>
                <a:gd name="T54" fmla="*/ 14835 w 16058"/>
                <a:gd name="T55" fmla="*/ 2535 h 16095"/>
                <a:gd name="T56" fmla="*/ 14978 w 16058"/>
                <a:gd name="T57" fmla="*/ 2637 h 16095"/>
                <a:gd name="T58" fmla="*/ 15050 w 16058"/>
                <a:gd name="T59" fmla="*/ 2799 h 16095"/>
                <a:gd name="T60" fmla="*/ 12535 w 16058"/>
                <a:gd name="T61" fmla="*/ 401 h 16095"/>
                <a:gd name="T62" fmla="*/ 12415 w 16058"/>
                <a:gd name="T63" fmla="*/ 165 h 16095"/>
                <a:gd name="T64" fmla="*/ 12193 w 16058"/>
                <a:gd name="T65" fmla="*/ 22 h 16095"/>
                <a:gd name="T66" fmla="*/ 11918 w 16058"/>
                <a:gd name="T67" fmla="*/ 16 h 16095"/>
                <a:gd name="T68" fmla="*/ 11688 w 16058"/>
                <a:gd name="T69" fmla="*/ 147 h 16095"/>
                <a:gd name="T70" fmla="*/ 11558 w 16058"/>
                <a:gd name="T71" fmla="*/ 377 h 16095"/>
                <a:gd name="T72" fmla="*/ 8525 w 16058"/>
                <a:gd name="T73" fmla="*/ 427 h 16095"/>
                <a:gd name="T74" fmla="*/ 8416 w 16058"/>
                <a:gd name="T75" fmla="*/ 183 h 16095"/>
                <a:gd name="T76" fmla="*/ 8202 w 16058"/>
                <a:gd name="T77" fmla="*/ 30 h 16095"/>
                <a:gd name="T78" fmla="*/ 7928 w 16058"/>
                <a:gd name="T79" fmla="*/ 10 h 16095"/>
                <a:gd name="T80" fmla="*/ 7692 w 16058"/>
                <a:gd name="T81" fmla="*/ 131 h 16095"/>
                <a:gd name="T82" fmla="*/ 7549 w 16058"/>
                <a:gd name="T83" fmla="*/ 353 h 16095"/>
                <a:gd name="T84" fmla="*/ 4513 w 16058"/>
                <a:gd name="T85" fmla="*/ 452 h 16095"/>
                <a:gd name="T86" fmla="*/ 4417 w 16058"/>
                <a:gd name="T87" fmla="*/ 202 h 16095"/>
                <a:gd name="T88" fmla="*/ 4210 w 16058"/>
                <a:gd name="T89" fmla="*/ 39 h 16095"/>
                <a:gd name="T90" fmla="*/ 3938 w 16058"/>
                <a:gd name="T91" fmla="*/ 6 h 16095"/>
                <a:gd name="T92" fmla="*/ 3695 w 16058"/>
                <a:gd name="T93" fmla="*/ 115 h 16095"/>
                <a:gd name="T94" fmla="*/ 3543 w 16058"/>
                <a:gd name="T95" fmla="*/ 330 h 16095"/>
                <a:gd name="T96" fmla="*/ 1201 w 16058"/>
                <a:gd name="T97" fmla="*/ 1516 h 16095"/>
                <a:gd name="T98" fmla="*/ 538 w 16058"/>
                <a:gd name="T99" fmla="*/ 1775 h 16095"/>
                <a:gd name="T100" fmla="*/ 105 w 16058"/>
                <a:gd name="T101" fmla="*/ 2328 h 16095"/>
                <a:gd name="T102" fmla="*/ 7 w 16058"/>
                <a:gd name="T103" fmla="*/ 14891 h 16095"/>
                <a:gd name="T104" fmla="*/ 266 w 16058"/>
                <a:gd name="T105" fmla="*/ 15556 h 16095"/>
                <a:gd name="T106" fmla="*/ 817 w 16058"/>
                <a:gd name="T107" fmla="*/ 15989 h 16095"/>
                <a:gd name="T108" fmla="*/ 14857 w 16058"/>
                <a:gd name="T109" fmla="*/ 16088 h 16095"/>
                <a:gd name="T110" fmla="*/ 15520 w 16058"/>
                <a:gd name="T111" fmla="*/ 15828 h 16095"/>
                <a:gd name="T112" fmla="*/ 15953 w 16058"/>
                <a:gd name="T113" fmla="*/ 15276 h 16095"/>
                <a:gd name="T114" fmla="*/ 16051 w 16058"/>
                <a:gd name="T115" fmla="*/ 2713 h 16095"/>
                <a:gd name="T116" fmla="*/ 15792 w 16058"/>
                <a:gd name="T117" fmla="*/ 2047 h 16095"/>
                <a:gd name="T118" fmla="*/ 15241 w 16058"/>
                <a:gd name="T119" fmla="*/ 1615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058" h="16095">
                  <a:moveTo>
                    <a:pt x="15054" y="14754"/>
                  </a:moveTo>
                  <a:lnTo>
                    <a:pt x="15053" y="14771"/>
                  </a:lnTo>
                  <a:lnTo>
                    <a:pt x="15052" y="14788"/>
                  </a:lnTo>
                  <a:lnTo>
                    <a:pt x="15050" y="14804"/>
                  </a:lnTo>
                  <a:lnTo>
                    <a:pt x="15047" y="14821"/>
                  </a:lnTo>
                  <a:lnTo>
                    <a:pt x="15043" y="14838"/>
                  </a:lnTo>
                  <a:lnTo>
                    <a:pt x="15039" y="14854"/>
                  </a:lnTo>
                  <a:lnTo>
                    <a:pt x="15034" y="14869"/>
                  </a:lnTo>
                  <a:lnTo>
                    <a:pt x="15028" y="14884"/>
                  </a:lnTo>
                  <a:lnTo>
                    <a:pt x="15021" y="14899"/>
                  </a:lnTo>
                  <a:lnTo>
                    <a:pt x="15014" y="14913"/>
                  </a:lnTo>
                  <a:lnTo>
                    <a:pt x="15006" y="14927"/>
                  </a:lnTo>
                  <a:lnTo>
                    <a:pt x="14997" y="14941"/>
                  </a:lnTo>
                  <a:lnTo>
                    <a:pt x="14988" y="14954"/>
                  </a:lnTo>
                  <a:lnTo>
                    <a:pt x="14978" y="14967"/>
                  </a:lnTo>
                  <a:lnTo>
                    <a:pt x="14967" y="14979"/>
                  </a:lnTo>
                  <a:lnTo>
                    <a:pt x="14956" y="14990"/>
                  </a:lnTo>
                  <a:lnTo>
                    <a:pt x="14945" y="15002"/>
                  </a:lnTo>
                  <a:lnTo>
                    <a:pt x="14932" y="15013"/>
                  </a:lnTo>
                  <a:lnTo>
                    <a:pt x="14920" y="15023"/>
                  </a:lnTo>
                  <a:lnTo>
                    <a:pt x="14907" y="15032"/>
                  </a:lnTo>
                  <a:lnTo>
                    <a:pt x="14893" y="15041"/>
                  </a:lnTo>
                  <a:lnTo>
                    <a:pt x="14879" y="15049"/>
                  </a:lnTo>
                  <a:lnTo>
                    <a:pt x="14865" y="15056"/>
                  </a:lnTo>
                  <a:lnTo>
                    <a:pt x="14850" y="15063"/>
                  </a:lnTo>
                  <a:lnTo>
                    <a:pt x="14835" y="15069"/>
                  </a:lnTo>
                  <a:lnTo>
                    <a:pt x="14820" y="15074"/>
                  </a:lnTo>
                  <a:lnTo>
                    <a:pt x="14803" y="15079"/>
                  </a:lnTo>
                  <a:lnTo>
                    <a:pt x="14787" y="15082"/>
                  </a:lnTo>
                  <a:lnTo>
                    <a:pt x="14770" y="15085"/>
                  </a:lnTo>
                  <a:lnTo>
                    <a:pt x="14754" y="15087"/>
                  </a:lnTo>
                  <a:lnTo>
                    <a:pt x="14737" y="15089"/>
                  </a:lnTo>
                  <a:lnTo>
                    <a:pt x="14719" y="15089"/>
                  </a:lnTo>
                  <a:lnTo>
                    <a:pt x="1338" y="15089"/>
                  </a:lnTo>
                  <a:lnTo>
                    <a:pt x="1321" y="15089"/>
                  </a:lnTo>
                  <a:lnTo>
                    <a:pt x="1304" y="15087"/>
                  </a:lnTo>
                  <a:lnTo>
                    <a:pt x="1288" y="15085"/>
                  </a:lnTo>
                  <a:lnTo>
                    <a:pt x="1271" y="15082"/>
                  </a:lnTo>
                  <a:lnTo>
                    <a:pt x="1255" y="15079"/>
                  </a:lnTo>
                  <a:lnTo>
                    <a:pt x="1238" y="15074"/>
                  </a:lnTo>
                  <a:lnTo>
                    <a:pt x="1223" y="15069"/>
                  </a:lnTo>
                  <a:lnTo>
                    <a:pt x="1208" y="15063"/>
                  </a:lnTo>
                  <a:lnTo>
                    <a:pt x="1193" y="15056"/>
                  </a:lnTo>
                  <a:lnTo>
                    <a:pt x="1179" y="15049"/>
                  </a:lnTo>
                  <a:lnTo>
                    <a:pt x="1165" y="15041"/>
                  </a:lnTo>
                  <a:lnTo>
                    <a:pt x="1151" y="15032"/>
                  </a:lnTo>
                  <a:lnTo>
                    <a:pt x="1138" y="15023"/>
                  </a:lnTo>
                  <a:lnTo>
                    <a:pt x="1125" y="15013"/>
                  </a:lnTo>
                  <a:lnTo>
                    <a:pt x="1113" y="15002"/>
                  </a:lnTo>
                  <a:lnTo>
                    <a:pt x="1102" y="14990"/>
                  </a:lnTo>
                  <a:lnTo>
                    <a:pt x="1091" y="14979"/>
                  </a:lnTo>
                  <a:lnTo>
                    <a:pt x="1080" y="14967"/>
                  </a:lnTo>
                  <a:lnTo>
                    <a:pt x="1070" y="14954"/>
                  </a:lnTo>
                  <a:lnTo>
                    <a:pt x="1061" y="14941"/>
                  </a:lnTo>
                  <a:lnTo>
                    <a:pt x="1052" y="14927"/>
                  </a:lnTo>
                  <a:lnTo>
                    <a:pt x="1044" y="14913"/>
                  </a:lnTo>
                  <a:lnTo>
                    <a:pt x="1037" y="14899"/>
                  </a:lnTo>
                  <a:lnTo>
                    <a:pt x="1030" y="14884"/>
                  </a:lnTo>
                  <a:lnTo>
                    <a:pt x="1024" y="14869"/>
                  </a:lnTo>
                  <a:lnTo>
                    <a:pt x="1019" y="14854"/>
                  </a:lnTo>
                  <a:lnTo>
                    <a:pt x="1014" y="14838"/>
                  </a:lnTo>
                  <a:lnTo>
                    <a:pt x="1011" y="14821"/>
                  </a:lnTo>
                  <a:lnTo>
                    <a:pt x="1008" y="14804"/>
                  </a:lnTo>
                  <a:lnTo>
                    <a:pt x="1006" y="14788"/>
                  </a:lnTo>
                  <a:lnTo>
                    <a:pt x="1004" y="14771"/>
                  </a:lnTo>
                  <a:lnTo>
                    <a:pt x="1004" y="14754"/>
                  </a:lnTo>
                  <a:lnTo>
                    <a:pt x="1004" y="2850"/>
                  </a:lnTo>
                  <a:lnTo>
                    <a:pt x="1004" y="2833"/>
                  </a:lnTo>
                  <a:lnTo>
                    <a:pt x="1006" y="2816"/>
                  </a:lnTo>
                  <a:lnTo>
                    <a:pt x="1008" y="2799"/>
                  </a:lnTo>
                  <a:lnTo>
                    <a:pt x="1011" y="2782"/>
                  </a:lnTo>
                  <a:lnTo>
                    <a:pt x="1014" y="2766"/>
                  </a:lnTo>
                  <a:lnTo>
                    <a:pt x="1019" y="2750"/>
                  </a:lnTo>
                  <a:lnTo>
                    <a:pt x="1024" y="2735"/>
                  </a:lnTo>
                  <a:lnTo>
                    <a:pt x="1030" y="2720"/>
                  </a:lnTo>
                  <a:lnTo>
                    <a:pt x="1037" y="2705"/>
                  </a:lnTo>
                  <a:lnTo>
                    <a:pt x="1044" y="2690"/>
                  </a:lnTo>
                  <a:lnTo>
                    <a:pt x="1052" y="2676"/>
                  </a:lnTo>
                  <a:lnTo>
                    <a:pt x="1061" y="2663"/>
                  </a:lnTo>
                  <a:lnTo>
                    <a:pt x="1070" y="2650"/>
                  </a:lnTo>
                  <a:lnTo>
                    <a:pt x="1080" y="2637"/>
                  </a:lnTo>
                  <a:lnTo>
                    <a:pt x="1091" y="2624"/>
                  </a:lnTo>
                  <a:lnTo>
                    <a:pt x="1102" y="2613"/>
                  </a:lnTo>
                  <a:lnTo>
                    <a:pt x="1113" y="2602"/>
                  </a:lnTo>
                  <a:lnTo>
                    <a:pt x="1125" y="2591"/>
                  </a:lnTo>
                  <a:lnTo>
                    <a:pt x="1138" y="2581"/>
                  </a:lnTo>
                  <a:lnTo>
                    <a:pt x="1151" y="2572"/>
                  </a:lnTo>
                  <a:lnTo>
                    <a:pt x="1165" y="2563"/>
                  </a:lnTo>
                  <a:lnTo>
                    <a:pt x="1179" y="2555"/>
                  </a:lnTo>
                  <a:lnTo>
                    <a:pt x="1193" y="2548"/>
                  </a:lnTo>
                  <a:lnTo>
                    <a:pt x="1208" y="2541"/>
                  </a:lnTo>
                  <a:lnTo>
                    <a:pt x="1223" y="2535"/>
                  </a:lnTo>
                  <a:lnTo>
                    <a:pt x="1238" y="2530"/>
                  </a:lnTo>
                  <a:lnTo>
                    <a:pt x="1255" y="2525"/>
                  </a:lnTo>
                  <a:lnTo>
                    <a:pt x="1271" y="2522"/>
                  </a:lnTo>
                  <a:lnTo>
                    <a:pt x="1288" y="2519"/>
                  </a:lnTo>
                  <a:lnTo>
                    <a:pt x="1304" y="2517"/>
                  </a:lnTo>
                  <a:lnTo>
                    <a:pt x="1321" y="2515"/>
                  </a:lnTo>
                  <a:lnTo>
                    <a:pt x="1338" y="2515"/>
                  </a:lnTo>
                  <a:lnTo>
                    <a:pt x="3513" y="2515"/>
                  </a:lnTo>
                  <a:lnTo>
                    <a:pt x="3513" y="3521"/>
                  </a:lnTo>
                  <a:lnTo>
                    <a:pt x="3514" y="3547"/>
                  </a:lnTo>
                  <a:lnTo>
                    <a:pt x="3515" y="3572"/>
                  </a:lnTo>
                  <a:lnTo>
                    <a:pt x="3519" y="3597"/>
                  </a:lnTo>
                  <a:lnTo>
                    <a:pt x="3523" y="3622"/>
                  </a:lnTo>
                  <a:lnTo>
                    <a:pt x="3529" y="3647"/>
                  </a:lnTo>
                  <a:lnTo>
                    <a:pt x="3535" y="3671"/>
                  </a:lnTo>
                  <a:lnTo>
                    <a:pt x="3543" y="3694"/>
                  </a:lnTo>
                  <a:lnTo>
                    <a:pt x="3552" y="3717"/>
                  </a:lnTo>
                  <a:lnTo>
                    <a:pt x="3562" y="3739"/>
                  </a:lnTo>
                  <a:lnTo>
                    <a:pt x="3573" y="3760"/>
                  </a:lnTo>
                  <a:lnTo>
                    <a:pt x="3585" y="3781"/>
                  </a:lnTo>
                  <a:lnTo>
                    <a:pt x="3598" y="3802"/>
                  </a:lnTo>
                  <a:lnTo>
                    <a:pt x="3612" y="3822"/>
                  </a:lnTo>
                  <a:lnTo>
                    <a:pt x="3627" y="3841"/>
                  </a:lnTo>
                  <a:lnTo>
                    <a:pt x="3643" y="3859"/>
                  </a:lnTo>
                  <a:lnTo>
                    <a:pt x="3659" y="3877"/>
                  </a:lnTo>
                  <a:lnTo>
                    <a:pt x="3677" y="3893"/>
                  </a:lnTo>
                  <a:lnTo>
                    <a:pt x="3695" y="3909"/>
                  </a:lnTo>
                  <a:lnTo>
                    <a:pt x="3714" y="3924"/>
                  </a:lnTo>
                  <a:lnTo>
                    <a:pt x="3733" y="3938"/>
                  </a:lnTo>
                  <a:lnTo>
                    <a:pt x="3755" y="3951"/>
                  </a:lnTo>
                  <a:lnTo>
                    <a:pt x="3776" y="3963"/>
                  </a:lnTo>
                  <a:lnTo>
                    <a:pt x="3797" y="3974"/>
                  </a:lnTo>
                  <a:lnTo>
                    <a:pt x="3819" y="3985"/>
                  </a:lnTo>
                  <a:lnTo>
                    <a:pt x="3842" y="3994"/>
                  </a:lnTo>
                  <a:lnTo>
                    <a:pt x="3865" y="4002"/>
                  </a:lnTo>
                  <a:lnTo>
                    <a:pt x="3889" y="4008"/>
                  </a:lnTo>
                  <a:lnTo>
                    <a:pt x="3913" y="4014"/>
                  </a:lnTo>
                  <a:lnTo>
                    <a:pt x="3938" y="4018"/>
                  </a:lnTo>
                  <a:lnTo>
                    <a:pt x="3963" y="4021"/>
                  </a:lnTo>
                  <a:lnTo>
                    <a:pt x="3988" y="4023"/>
                  </a:lnTo>
                  <a:lnTo>
                    <a:pt x="4015" y="4024"/>
                  </a:lnTo>
                  <a:lnTo>
                    <a:pt x="4041" y="4023"/>
                  </a:lnTo>
                  <a:lnTo>
                    <a:pt x="4066" y="4021"/>
                  </a:lnTo>
                  <a:lnTo>
                    <a:pt x="4091" y="4018"/>
                  </a:lnTo>
                  <a:lnTo>
                    <a:pt x="4116" y="4014"/>
                  </a:lnTo>
                  <a:lnTo>
                    <a:pt x="4140" y="4008"/>
                  </a:lnTo>
                  <a:lnTo>
                    <a:pt x="4164" y="4002"/>
                  </a:lnTo>
                  <a:lnTo>
                    <a:pt x="4187" y="3994"/>
                  </a:lnTo>
                  <a:lnTo>
                    <a:pt x="4210" y="3985"/>
                  </a:lnTo>
                  <a:lnTo>
                    <a:pt x="4232" y="3974"/>
                  </a:lnTo>
                  <a:lnTo>
                    <a:pt x="4253" y="3963"/>
                  </a:lnTo>
                  <a:lnTo>
                    <a:pt x="4274" y="3951"/>
                  </a:lnTo>
                  <a:lnTo>
                    <a:pt x="4295" y="3938"/>
                  </a:lnTo>
                  <a:lnTo>
                    <a:pt x="4315" y="3924"/>
                  </a:lnTo>
                  <a:lnTo>
                    <a:pt x="4334" y="3909"/>
                  </a:lnTo>
                  <a:lnTo>
                    <a:pt x="4352" y="3893"/>
                  </a:lnTo>
                  <a:lnTo>
                    <a:pt x="4369" y="3877"/>
                  </a:lnTo>
                  <a:lnTo>
                    <a:pt x="4386" y="3859"/>
                  </a:lnTo>
                  <a:lnTo>
                    <a:pt x="4402" y="3841"/>
                  </a:lnTo>
                  <a:lnTo>
                    <a:pt x="4417" y="3822"/>
                  </a:lnTo>
                  <a:lnTo>
                    <a:pt x="4431" y="3802"/>
                  </a:lnTo>
                  <a:lnTo>
                    <a:pt x="4444" y="3781"/>
                  </a:lnTo>
                  <a:lnTo>
                    <a:pt x="4456" y="3760"/>
                  </a:lnTo>
                  <a:lnTo>
                    <a:pt x="4467" y="3739"/>
                  </a:lnTo>
                  <a:lnTo>
                    <a:pt x="4477" y="3717"/>
                  </a:lnTo>
                  <a:lnTo>
                    <a:pt x="4486" y="3694"/>
                  </a:lnTo>
                  <a:lnTo>
                    <a:pt x="4493" y="3671"/>
                  </a:lnTo>
                  <a:lnTo>
                    <a:pt x="4500" y="3647"/>
                  </a:lnTo>
                  <a:lnTo>
                    <a:pt x="4506" y="3622"/>
                  </a:lnTo>
                  <a:lnTo>
                    <a:pt x="4510" y="3597"/>
                  </a:lnTo>
                  <a:lnTo>
                    <a:pt x="4513" y="3572"/>
                  </a:lnTo>
                  <a:lnTo>
                    <a:pt x="4515" y="3547"/>
                  </a:lnTo>
                  <a:lnTo>
                    <a:pt x="4516" y="3521"/>
                  </a:lnTo>
                  <a:lnTo>
                    <a:pt x="4516" y="2515"/>
                  </a:lnTo>
                  <a:lnTo>
                    <a:pt x="7527" y="2515"/>
                  </a:lnTo>
                  <a:lnTo>
                    <a:pt x="7527" y="3521"/>
                  </a:lnTo>
                  <a:lnTo>
                    <a:pt x="7528" y="3547"/>
                  </a:lnTo>
                  <a:lnTo>
                    <a:pt x="7529" y="3572"/>
                  </a:lnTo>
                  <a:lnTo>
                    <a:pt x="7533" y="3597"/>
                  </a:lnTo>
                  <a:lnTo>
                    <a:pt x="7537" y="3622"/>
                  </a:lnTo>
                  <a:lnTo>
                    <a:pt x="7543" y="3647"/>
                  </a:lnTo>
                  <a:lnTo>
                    <a:pt x="7549" y="3671"/>
                  </a:lnTo>
                  <a:lnTo>
                    <a:pt x="7557" y="3694"/>
                  </a:lnTo>
                  <a:lnTo>
                    <a:pt x="7566" y="3717"/>
                  </a:lnTo>
                  <a:lnTo>
                    <a:pt x="7576" y="3739"/>
                  </a:lnTo>
                  <a:lnTo>
                    <a:pt x="7587" y="3760"/>
                  </a:lnTo>
                  <a:lnTo>
                    <a:pt x="7599" y="3781"/>
                  </a:lnTo>
                  <a:lnTo>
                    <a:pt x="7612" y="3802"/>
                  </a:lnTo>
                  <a:lnTo>
                    <a:pt x="7627" y="3822"/>
                  </a:lnTo>
                  <a:lnTo>
                    <a:pt x="7642" y="3841"/>
                  </a:lnTo>
                  <a:lnTo>
                    <a:pt x="7658" y="3859"/>
                  </a:lnTo>
                  <a:lnTo>
                    <a:pt x="7674" y="3877"/>
                  </a:lnTo>
                  <a:lnTo>
                    <a:pt x="7692" y="3893"/>
                  </a:lnTo>
                  <a:lnTo>
                    <a:pt x="7710" y="3909"/>
                  </a:lnTo>
                  <a:lnTo>
                    <a:pt x="7729" y="3924"/>
                  </a:lnTo>
                  <a:lnTo>
                    <a:pt x="7748" y="3938"/>
                  </a:lnTo>
                  <a:lnTo>
                    <a:pt x="7769" y="3951"/>
                  </a:lnTo>
                  <a:lnTo>
                    <a:pt x="7790" y="3963"/>
                  </a:lnTo>
                  <a:lnTo>
                    <a:pt x="7811" y="3974"/>
                  </a:lnTo>
                  <a:lnTo>
                    <a:pt x="7833" y="3985"/>
                  </a:lnTo>
                  <a:lnTo>
                    <a:pt x="7856" y="3994"/>
                  </a:lnTo>
                  <a:lnTo>
                    <a:pt x="7879" y="4002"/>
                  </a:lnTo>
                  <a:lnTo>
                    <a:pt x="7904" y="4008"/>
                  </a:lnTo>
                  <a:lnTo>
                    <a:pt x="7928" y="4014"/>
                  </a:lnTo>
                  <a:lnTo>
                    <a:pt x="7953" y="4018"/>
                  </a:lnTo>
                  <a:lnTo>
                    <a:pt x="7978" y="4021"/>
                  </a:lnTo>
                  <a:lnTo>
                    <a:pt x="8003" y="4023"/>
                  </a:lnTo>
                  <a:lnTo>
                    <a:pt x="8029" y="4024"/>
                  </a:lnTo>
                  <a:lnTo>
                    <a:pt x="8055" y="4023"/>
                  </a:lnTo>
                  <a:lnTo>
                    <a:pt x="8080" y="4021"/>
                  </a:lnTo>
                  <a:lnTo>
                    <a:pt x="8105" y="4018"/>
                  </a:lnTo>
                  <a:lnTo>
                    <a:pt x="8130" y="4014"/>
                  </a:lnTo>
                  <a:lnTo>
                    <a:pt x="8154" y="4008"/>
                  </a:lnTo>
                  <a:lnTo>
                    <a:pt x="8179" y="4002"/>
                  </a:lnTo>
                  <a:lnTo>
                    <a:pt x="8202" y="3994"/>
                  </a:lnTo>
                  <a:lnTo>
                    <a:pt x="8224" y="3985"/>
                  </a:lnTo>
                  <a:lnTo>
                    <a:pt x="8247" y="3974"/>
                  </a:lnTo>
                  <a:lnTo>
                    <a:pt x="8268" y="3963"/>
                  </a:lnTo>
                  <a:lnTo>
                    <a:pt x="8289" y="3951"/>
                  </a:lnTo>
                  <a:lnTo>
                    <a:pt x="8309" y="3938"/>
                  </a:lnTo>
                  <a:lnTo>
                    <a:pt x="8329" y="3924"/>
                  </a:lnTo>
                  <a:lnTo>
                    <a:pt x="8348" y="3909"/>
                  </a:lnTo>
                  <a:lnTo>
                    <a:pt x="8366" y="3893"/>
                  </a:lnTo>
                  <a:lnTo>
                    <a:pt x="8383" y="3877"/>
                  </a:lnTo>
                  <a:lnTo>
                    <a:pt x="8400" y="3859"/>
                  </a:lnTo>
                  <a:lnTo>
                    <a:pt x="8416" y="3841"/>
                  </a:lnTo>
                  <a:lnTo>
                    <a:pt x="8431" y="3822"/>
                  </a:lnTo>
                  <a:lnTo>
                    <a:pt x="8446" y="3802"/>
                  </a:lnTo>
                  <a:lnTo>
                    <a:pt x="8459" y="3781"/>
                  </a:lnTo>
                  <a:lnTo>
                    <a:pt x="8471" y="3760"/>
                  </a:lnTo>
                  <a:lnTo>
                    <a:pt x="8482" y="3739"/>
                  </a:lnTo>
                  <a:lnTo>
                    <a:pt x="8492" y="3717"/>
                  </a:lnTo>
                  <a:lnTo>
                    <a:pt x="8501" y="3694"/>
                  </a:lnTo>
                  <a:lnTo>
                    <a:pt x="8508" y="3671"/>
                  </a:lnTo>
                  <a:lnTo>
                    <a:pt x="8515" y="3647"/>
                  </a:lnTo>
                  <a:lnTo>
                    <a:pt x="8521" y="3622"/>
                  </a:lnTo>
                  <a:lnTo>
                    <a:pt x="8525" y="3597"/>
                  </a:lnTo>
                  <a:lnTo>
                    <a:pt x="8528" y="3572"/>
                  </a:lnTo>
                  <a:lnTo>
                    <a:pt x="8530" y="3547"/>
                  </a:lnTo>
                  <a:lnTo>
                    <a:pt x="8531" y="3521"/>
                  </a:lnTo>
                  <a:lnTo>
                    <a:pt x="8531" y="2515"/>
                  </a:lnTo>
                  <a:lnTo>
                    <a:pt x="11542" y="2515"/>
                  </a:lnTo>
                  <a:lnTo>
                    <a:pt x="11542" y="3521"/>
                  </a:lnTo>
                  <a:lnTo>
                    <a:pt x="11543" y="3547"/>
                  </a:lnTo>
                  <a:lnTo>
                    <a:pt x="11545" y="3572"/>
                  </a:lnTo>
                  <a:lnTo>
                    <a:pt x="11548" y="3597"/>
                  </a:lnTo>
                  <a:lnTo>
                    <a:pt x="11552" y="3622"/>
                  </a:lnTo>
                  <a:lnTo>
                    <a:pt x="11558" y="3647"/>
                  </a:lnTo>
                  <a:lnTo>
                    <a:pt x="11564" y="3671"/>
                  </a:lnTo>
                  <a:lnTo>
                    <a:pt x="11572" y="3694"/>
                  </a:lnTo>
                  <a:lnTo>
                    <a:pt x="11581" y="3717"/>
                  </a:lnTo>
                  <a:lnTo>
                    <a:pt x="11591" y="3739"/>
                  </a:lnTo>
                  <a:lnTo>
                    <a:pt x="11602" y="3760"/>
                  </a:lnTo>
                  <a:lnTo>
                    <a:pt x="11614" y="3781"/>
                  </a:lnTo>
                  <a:lnTo>
                    <a:pt x="11627" y="3802"/>
                  </a:lnTo>
                  <a:lnTo>
                    <a:pt x="11641" y="3822"/>
                  </a:lnTo>
                  <a:lnTo>
                    <a:pt x="11656" y="3841"/>
                  </a:lnTo>
                  <a:lnTo>
                    <a:pt x="11672" y="3859"/>
                  </a:lnTo>
                  <a:lnTo>
                    <a:pt x="11688" y="3877"/>
                  </a:lnTo>
                  <a:lnTo>
                    <a:pt x="11706" y="3893"/>
                  </a:lnTo>
                  <a:lnTo>
                    <a:pt x="11724" y="3909"/>
                  </a:lnTo>
                  <a:lnTo>
                    <a:pt x="11743" y="3924"/>
                  </a:lnTo>
                  <a:lnTo>
                    <a:pt x="11762" y="3938"/>
                  </a:lnTo>
                  <a:lnTo>
                    <a:pt x="11784" y="3951"/>
                  </a:lnTo>
                  <a:lnTo>
                    <a:pt x="11805" y="3963"/>
                  </a:lnTo>
                  <a:lnTo>
                    <a:pt x="11826" y="3974"/>
                  </a:lnTo>
                  <a:lnTo>
                    <a:pt x="11848" y="3985"/>
                  </a:lnTo>
                  <a:lnTo>
                    <a:pt x="11871" y="3994"/>
                  </a:lnTo>
                  <a:lnTo>
                    <a:pt x="11894" y="4002"/>
                  </a:lnTo>
                  <a:lnTo>
                    <a:pt x="11918" y="4008"/>
                  </a:lnTo>
                  <a:lnTo>
                    <a:pt x="11942" y="4014"/>
                  </a:lnTo>
                  <a:lnTo>
                    <a:pt x="11967" y="4018"/>
                  </a:lnTo>
                  <a:lnTo>
                    <a:pt x="11992" y="4021"/>
                  </a:lnTo>
                  <a:lnTo>
                    <a:pt x="12017" y="4023"/>
                  </a:lnTo>
                  <a:lnTo>
                    <a:pt x="12044" y="4024"/>
                  </a:lnTo>
                  <a:lnTo>
                    <a:pt x="12070" y="4023"/>
                  </a:lnTo>
                  <a:lnTo>
                    <a:pt x="12095" y="4021"/>
                  </a:lnTo>
                  <a:lnTo>
                    <a:pt x="12120" y="4018"/>
                  </a:lnTo>
                  <a:lnTo>
                    <a:pt x="12145" y="4014"/>
                  </a:lnTo>
                  <a:lnTo>
                    <a:pt x="12169" y="4008"/>
                  </a:lnTo>
                  <a:lnTo>
                    <a:pt x="12193" y="4002"/>
                  </a:lnTo>
                  <a:lnTo>
                    <a:pt x="12216" y="3994"/>
                  </a:lnTo>
                  <a:lnTo>
                    <a:pt x="12238" y="3985"/>
                  </a:lnTo>
                  <a:lnTo>
                    <a:pt x="12261" y="3974"/>
                  </a:lnTo>
                  <a:lnTo>
                    <a:pt x="12282" y="3963"/>
                  </a:lnTo>
                  <a:lnTo>
                    <a:pt x="12303" y="3951"/>
                  </a:lnTo>
                  <a:lnTo>
                    <a:pt x="12324" y="3938"/>
                  </a:lnTo>
                  <a:lnTo>
                    <a:pt x="12344" y="3924"/>
                  </a:lnTo>
                  <a:lnTo>
                    <a:pt x="12363" y="3909"/>
                  </a:lnTo>
                  <a:lnTo>
                    <a:pt x="12381" y="3893"/>
                  </a:lnTo>
                  <a:lnTo>
                    <a:pt x="12398" y="3877"/>
                  </a:lnTo>
                  <a:lnTo>
                    <a:pt x="12415" y="3859"/>
                  </a:lnTo>
                  <a:lnTo>
                    <a:pt x="12431" y="3841"/>
                  </a:lnTo>
                  <a:lnTo>
                    <a:pt x="12446" y="3822"/>
                  </a:lnTo>
                  <a:lnTo>
                    <a:pt x="12460" y="3802"/>
                  </a:lnTo>
                  <a:lnTo>
                    <a:pt x="12473" y="3781"/>
                  </a:lnTo>
                  <a:lnTo>
                    <a:pt x="12485" y="3760"/>
                  </a:lnTo>
                  <a:lnTo>
                    <a:pt x="12496" y="3739"/>
                  </a:lnTo>
                  <a:lnTo>
                    <a:pt x="12506" y="3717"/>
                  </a:lnTo>
                  <a:lnTo>
                    <a:pt x="12515" y="3694"/>
                  </a:lnTo>
                  <a:lnTo>
                    <a:pt x="12522" y="3671"/>
                  </a:lnTo>
                  <a:lnTo>
                    <a:pt x="12529" y="3647"/>
                  </a:lnTo>
                  <a:lnTo>
                    <a:pt x="12535" y="3622"/>
                  </a:lnTo>
                  <a:lnTo>
                    <a:pt x="12539" y="3597"/>
                  </a:lnTo>
                  <a:lnTo>
                    <a:pt x="12542" y="3572"/>
                  </a:lnTo>
                  <a:lnTo>
                    <a:pt x="12544" y="3547"/>
                  </a:lnTo>
                  <a:lnTo>
                    <a:pt x="12545" y="3521"/>
                  </a:lnTo>
                  <a:lnTo>
                    <a:pt x="12545" y="2515"/>
                  </a:lnTo>
                  <a:lnTo>
                    <a:pt x="14719" y="2515"/>
                  </a:lnTo>
                  <a:lnTo>
                    <a:pt x="14737" y="2515"/>
                  </a:lnTo>
                  <a:lnTo>
                    <a:pt x="14754" y="2517"/>
                  </a:lnTo>
                  <a:lnTo>
                    <a:pt x="14770" y="2519"/>
                  </a:lnTo>
                  <a:lnTo>
                    <a:pt x="14787" y="2522"/>
                  </a:lnTo>
                  <a:lnTo>
                    <a:pt x="14803" y="2525"/>
                  </a:lnTo>
                  <a:lnTo>
                    <a:pt x="14820" y="2530"/>
                  </a:lnTo>
                  <a:lnTo>
                    <a:pt x="14835" y="2535"/>
                  </a:lnTo>
                  <a:lnTo>
                    <a:pt x="14850" y="2541"/>
                  </a:lnTo>
                  <a:lnTo>
                    <a:pt x="14865" y="2548"/>
                  </a:lnTo>
                  <a:lnTo>
                    <a:pt x="14879" y="2555"/>
                  </a:lnTo>
                  <a:lnTo>
                    <a:pt x="14893" y="2563"/>
                  </a:lnTo>
                  <a:lnTo>
                    <a:pt x="14907" y="2572"/>
                  </a:lnTo>
                  <a:lnTo>
                    <a:pt x="14920" y="2581"/>
                  </a:lnTo>
                  <a:lnTo>
                    <a:pt x="14932" y="2591"/>
                  </a:lnTo>
                  <a:lnTo>
                    <a:pt x="14945" y="2602"/>
                  </a:lnTo>
                  <a:lnTo>
                    <a:pt x="14956" y="2613"/>
                  </a:lnTo>
                  <a:lnTo>
                    <a:pt x="14967" y="2624"/>
                  </a:lnTo>
                  <a:lnTo>
                    <a:pt x="14978" y="2637"/>
                  </a:lnTo>
                  <a:lnTo>
                    <a:pt x="14988" y="2650"/>
                  </a:lnTo>
                  <a:lnTo>
                    <a:pt x="14997" y="2663"/>
                  </a:lnTo>
                  <a:lnTo>
                    <a:pt x="15006" y="2676"/>
                  </a:lnTo>
                  <a:lnTo>
                    <a:pt x="15014" y="2690"/>
                  </a:lnTo>
                  <a:lnTo>
                    <a:pt x="15021" y="2705"/>
                  </a:lnTo>
                  <a:lnTo>
                    <a:pt x="15028" y="2720"/>
                  </a:lnTo>
                  <a:lnTo>
                    <a:pt x="15034" y="2735"/>
                  </a:lnTo>
                  <a:lnTo>
                    <a:pt x="15039" y="2750"/>
                  </a:lnTo>
                  <a:lnTo>
                    <a:pt x="15043" y="2766"/>
                  </a:lnTo>
                  <a:lnTo>
                    <a:pt x="15047" y="2782"/>
                  </a:lnTo>
                  <a:lnTo>
                    <a:pt x="15050" y="2799"/>
                  </a:lnTo>
                  <a:lnTo>
                    <a:pt x="15052" y="2816"/>
                  </a:lnTo>
                  <a:lnTo>
                    <a:pt x="15053" y="2833"/>
                  </a:lnTo>
                  <a:lnTo>
                    <a:pt x="15054" y="2850"/>
                  </a:lnTo>
                  <a:lnTo>
                    <a:pt x="15054" y="14754"/>
                  </a:lnTo>
                  <a:close/>
                  <a:moveTo>
                    <a:pt x="14719" y="1509"/>
                  </a:moveTo>
                  <a:lnTo>
                    <a:pt x="12545" y="1509"/>
                  </a:lnTo>
                  <a:lnTo>
                    <a:pt x="12545" y="503"/>
                  </a:lnTo>
                  <a:lnTo>
                    <a:pt x="12544" y="477"/>
                  </a:lnTo>
                  <a:lnTo>
                    <a:pt x="12542" y="452"/>
                  </a:lnTo>
                  <a:lnTo>
                    <a:pt x="12539" y="427"/>
                  </a:lnTo>
                  <a:lnTo>
                    <a:pt x="12535" y="401"/>
                  </a:lnTo>
                  <a:lnTo>
                    <a:pt x="12529" y="377"/>
                  </a:lnTo>
                  <a:lnTo>
                    <a:pt x="12522" y="353"/>
                  </a:lnTo>
                  <a:lnTo>
                    <a:pt x="12515" y="330"/>
                  </a:lnTo>
                  <a:lnTo>
                    <a:pt x="12506" y="307"/>
                  </a:lnTo>
                  <a:lnTo>
                    <a:pt x="12496" y="285"/>
                  </a:lnTo>
                  <a:lnTo>
                    <a:pt x="12485" y="264"/>
                  </a:lnTo>
                  <a:lnTo>
                    <a:pt x="12473" y="242"/>
                  </a:lnTo>
                  <a:lnTo>
                    <a:pt x="12460" y="221"/>
                  </a:lnTo>
                  <a:lnTo>
                    <a:pt x="12446" y="202"/>
                  </a:lnTo>
                  <a:lnTo>
                    <a:pt x="12431" y="183"/>
                  </a:lnTo>
                  <a:lnTo>
                    <a:pt x="12415" y="165"/>
                  </a:lnTo>
                  <a:lnTo>
                    <a:pt x="12398" y="147"/>
                  </a:lnTo>
                  <a:lnTo>
                    <a:pt x="12381" y="131"/>
                  </a:lnTo>
                  <a:lnTo>
                    <a:pt x="12363" y="115"/>
                  </a:lnTo>
                  <a:lnTo>
                    <a:pt x="12344" y="100"/>
                  </a:lnTo>
                  <a:lnTo>
                    <a:pt x="12324" y="86"/>
                  </a:lnTo>
                  <a:lnTo>
                    <a:pt x="12303" y="72"/>
                  </a:lnTo>
                  <a:lnTo>
                    <a:pt x="12282" y="60"/>
                  </a:lnTo>
                  <a:lnTo>
                    <a:pt x="12261" y="49"/>
                  </a:lnTo>
                  <a:lnTo>
                    <a:pt x="12238" y="39"/>
                  </a:lnTo>
                  <a:lnTo>
                    <a:pt x="12216" y="30"/>
                  </a:lnTo>
                  <a:lnTo>
                    <a:pt x="12193" y="22"/>
                  </a:lnTo>
                  <a:lnTo>
                    <a:pt x="12169" y="16"/>
                  </a:lnTo>
                  <a:lnTo>
                    <a:pt x="12145" y="10"/>
                  </a:lnTo>
                  <a:lnTo>
                    <a:pt x="12120" y="6"/>
                  </a:lnTo>
                  <a:lnTo>
                    <a:pt x="12095" y="3"/>
                  </a:lnTo>
                  <a:lnTo>
                    <a:pt x="12070" y="1"/>
                  </a:lnTo>
                  <a:lnTo>
                    <a:pt x="12044" y="0"/>
                  </a:lnTo>
                  <a:lnTo>
                    <a:pt x="12017" y="1"/>
                  </a:lnTo>
                  <a:lnTo>
                    <a:pt x="11992" y="3"/>
                  </a:lnTo>
                  <a:lnTo>
                    <a:pt x="11967" y="6"/>
                  </a:lnTo>
                  <a:lnTo>
                    <a:pt x="11942" y="10"/>
                  </a:lnTo>
                  <a:lnTo>
                    <a:pt x="11918" y="16"/>
                  </a:lnTo>
                  <a:lnTo>
                    <a:pt x="11894" y="22"/>
                  </a:lnTo>
                  <a:lnTo>
                    <a:pt x="11871" y="30"/>
                  </a:lnTo>
                  <a:lnTo>
                    <a:pt x="11848" y="39"/>
                  </a:lnTo>
                  <a:lnTo>
                    <a:pt x="11826" y="49"/>
                  </a:lnTo>
                  <a:lnTo>
                    <a:pt x="11805" y="60"/>
                  </a:lnTo>
                  <a:lnTo>
                    <a:pt x="11784" y="72"/>
                  </a:lnTo>
                  <a:lnTo>
                    <a:pt x="11762" y="86"/>
                  </a:lnTo>
                  <a:lnTo>
                    <a:pt x="11743" y="100"/>
                  </a:lnTo>
                  <a:lnTo>
                    <a:pt x="11724" y="115"/>
                  </a:lnTo>
                  <a:lnTo>
                    <a:pt x="11706" y="131"/>
                  </a:lnTo>
                  <a:lnTo>
                    <a:pt x="11688" y="147"/>
                  </a:lnTo>
                  <a:lnTo>
                    <a:pt x="11672" y="165"/>
                  </a:lnTo>
                  <a:lnTo>
                    <a:pt x="11656" y="183"/>
                  </a:lnTo>
                  <a:lnTo>
                    <a:pt x="11641" y="202"/>
                  </a:lnTo>
                  <a:lnTo>
                    <a:pt x="11627" y="221"/>
                  </a:lnTo>
                  <a:lnTo>
                    <a:pt x="11614" y="242"/>
                  </a:lnTo>
                  <a:lnTo>
                    <a:pt x="11602" y="264"/>
                  </a:lnTo>
                  <a:lnTo>
                    <a:pt x="11591" y="285"/>
                  </a:lnTo>
                  <a:lnTo>
                    <a:pt x="11581" y="307"/>
                  </a:lnTo>
                  <a:lnTo>
                    <a:pt x="11572" y="330"/>
                  </a:lnTo>
                  <a:lnTo>
                    <a:pt x="11564" y="353"/>
                  </a:lnTo>
                  <a:lnTo>
                    <a:pt x="11558" y="377"/>
                  </a:lnTo>
                  <a:lnTo>
                    <a:pt x="11552" y="401"/>
                  </a:lnTo>
                  <a:lnTo>
                    <a:pt x="11548" y="427"/>
                  </a:lnTo>
                  <a:lnTo>
                    <a:pt x="11545" y="452"/>
                  </a:lnTo>
                  <a:lnTo>
                    <a:pt x="11543" y="477"/>
                  </a:lnTo>
                  <a:lnTo>
                    <a:pt x="11542" y="503"/>
                  </a:lnTo>
                  <a:lnTo>
                    <a:pt x="11542" y="1509"/>
                  </a:lnTo>
                  <a:lnTo>
                    <a:pt x="8531" y="1509"/>
                  </a:lnTo>
                  <a:lnTo>
                    <a:pt x="8531" y="503"/>
                  </a:lnTo>
                  <a:lnTo>
                    <a:pt x="8530" y="477"/>
                  </a:lnTo>
                  <a:lnTo>
                    <a:pt x="8528" y="452"/>
                  </a:lnTo>
                  <a:lnTo>
                    <a:pt x="8525" y="427"/>
                  </a:lnTo>
                  <a:lnTo>
                    <a:pt x="8521" y="401"/>
                  </a:lnTo>
                  <a:lnTo>
                    <a:pt x="8515" y="377"/>
                  </a:lnTo>
                  <a:lnTo>
                    <a:pt x="8508" y="353"/>
                  </a:lnTo>
                  <a:lnTo>
                    <a:pt x="8501" y="330"/>
                  </a:lnTo>
                  <a:lnTo>
                    <a:pt x="8492" y="307"/>
                  </a:lnTo>
                  <a:lnTo>
                    <a:pt x="8482" y="285"/>
                  </a:lnTo>
                  <a:lnTo>
                    <a:pt x="8471" y="264"/>
                  </a:lnTo>
                  <a:lnTo>
                    <a:pt x="8459" y="242"/>
                  </a:lnTo>
                  <a:lnTo>
                    <a:pt x="8446" y="221"/>
                  </a:lnTo>
                  <a:lnTo>
                    <a:pt x="8431" y="202"/>
                  </a:lnTo>
                  <a:lnTo>
                    <a:pt x="8416" y="183"/>
                  </a:lnTo>
                  <a:lnTo>
                    <a:pt x="8400" y="165"/>
                  </a:lnTo>
                  <a:lnTo>
                    <a:pt x="8383" y="147"/>
                  </a:lnTo>
                  <a:lnTo>
                    <a:pt x="8366" y="131"/>
                  </a:lnTo>
                  <a:lnTo>
                    <a:pt x="8348" y="115"/>
                  </a:lnTo>
                  <a:lnTo>
                    <a:pt x="8329" y="100"/>
                  </a:lnTo>
                  <a:lnTo>
                    <a:pt x="8309" y="86"/>
                  </a:lnTo>
                  <a:lnTo>
                    <a:pt x="8289" y="72"/>
                  </a:lnTo>
                  <a:lnTo>
                    <a:pt x="8268" y="60"/>
                  </a:lnTo>
                  <a:lnTo>
                    <a:pt x="8247" y="49"/>
                  </a:lnTo>
                  <a:lnTo>
                    <a:pt x="8224" y="39"/>
                  </a:lnTo>
                  <a:lnTo>
                    <a:pt x="8202" y="30"/>
                  </a:lnTo>
                  <a:lnTo>
                    <a:pt x="8179" y="22"/>
                  </a:lnTo>
                  <a:lnTo>
                    <a:pt x="8154" y="16"/>
                  </a:lnTo>
                  <a:lnTo>
                    <a:pt x="8130" y="10"/>
                  </a:lnTo>
                  <a:lnTo>
                    <a:pt x="8105" y="6"/>
                  </a:lnTo>
                  <a:lnTo>
                    <a:pt x="8080" y="3"/>
                  </a:lnTo>
                  <a:lnTo>
                    <a:pt x="8055" y="1"/>
                  </a:lnTo>
                  <a:lnTo>
                    <a:pt x="8029" y="0"/>
                  </a:lnTo>
                  <a:lnTo>
                    <a:pt x="8003" y="1"/>
                  </a:lnTo>
                  <a:lnTo>
                    <a:pt x="7978" y="3"/>
                  </a:lnTo>
                  <a:lnTo>
                    <a:pt x="7953" y="6"/>
                  </a:lnTo>
                  <a:lnTo>
                    <a:pt x="7928" y="10"/>
                  </a:lnTo>
                  <a:lnTo>
                    <a:pt x="7904" y="16"/>
                  </a:lnTo>
                  <a:lnTo>
                    <a:pt x="7879" y="22"/>
                  </a:lnTo>
                  <a:lnTo>
                    <a:pt x="7856" y="30"/>
                  </a:lnTo>
                  <a:lnTo>
                    <a:pt x="7833" y="39"/>
                  </a:lnTo>
                  <a:lnTo>
                    <a:pt x="7811" y="49"/>
                  </a:lnTo>
                  <a:lnTo>
                    <a:pt x="7790" y="60"/>
                  </a:lnTo>
                  <a:lnTo>
                    <a:pt x="7769" y="72"/>
                  </a:lnTo>
                  <a:lnTo>
                    <a:pt x="7748" y="86"/>
                  </a:lnTo>
                  <a:lnTo>
                    <a:pt x="7729" y="100"/>
                  </a:lnTo>
                  <a:lnTo>
                    <a:pt x="7710" y="115"/>
                  </a:lnTo>
                  <a:lnTo>
                    <a:pt x="7692" y="131"/>
                  </a:lnTo>
                  <a:lnTo>
                    <a:pt x="7674" y="147"/>
                  </a:lnTo>
                  <a:lnTo>
                    <a:pt x="7658" y="165"/>
                  </a:lnTo>
                  <a:lnTo>
                    <a:pt x="7642" y="183"/>
                  </a:lnTo>
                  <a:lnTo>
                    <a:pt x="7627" y="202"/>
                  </a:lnTo>
                  <a:lnTo>
                    <a:pt x="7612" y="221"/>
                  </a:lnTo>
                  <a:lnTo>
                    <a:pt x="7599" y="242"/>
                  </a:lnTo>
                  <a:lnTo>
                    <a:pt x="7587" y="264"/>
                  </a:lnTo>
                  <a:lnTo>
                    <a:pt x="7576" y="285"/>
                  </a:lnTo>
                  <a:lnTo>
                    <a:pt x="7566" y="307"/>
                  </a:lnTo>
                  <a:lnTo>
                    <a:pt x="7557" y="330"/>
                  </a:lnTo>
                  <a:lnTo>
                    <a:pt x="7549" y="353"/>
                  </a:lnTo>
                  <a:lnTo>
                    <a:pt x="7543" y="377"/>
                  </a:lnTo>
                  <a:lnTo>
                    <a:pt x="7537" y="401"/>
                  </a:lnTo>
                  <a:lnTo>
                    <a:pt x="7533" y="427"/>
                  </a:lnTo>
                  <a:lnTo>
                    <a:pt x="7529" y="452"/>
                  </a:lnTo>
                  <a:lnTo>
                    <a:pt x="7528" y="477"/>
                  </a:lnTo>
                  <a:lnTo>
                    <a:pt x="7527" y="503"/>
                  </a:lnTo>
                  <a:lnTo>
                    <a:pt x="7527" y="1509"/>
                  </a:lnTo>
                  <a:lnTo>
                    <a:pt x="4516" y="1509"/>
                  </a:lnTo>
                  <a:lnTo>
                    <a:pt x="4516" y="503"/>
                  </a:lnTo>
                  <a:lnTo>
                    <a:pt x="4515" y="477"/>
                  </a:lnTo>
                  <a:lnTo>
                    <a:pt x="4513" y="452"/>
                  </a:lnTo>
                  <a:lnTo>
                    <a:pt x="4510" y="427"/>
                  </a:lnTo>
                  <a:lnTo>
                    <a:pt x="4506" y="401"/>
                  </a:lnTo>
                  <a:lnTo>
                    <a:pt x="4500" y="377"/>
                  </a:lnTo>
                  <a:lnTo>
                    <a:pt x="4493" y="353"/>
                  </a:lnTo>
                  <a:lnTo>
                    <a:pt x="4486" y="330"/>
                  </a:lnTo>
                  <a:lnTo>
                    <a:pt x="4477" y="307"/>
                  </a:lnTo>
                  <a:lnTo>
                    <a:pt x="4467" y="285"/>
                  </a:lnTo>
                  <a:lnTo>
                    <a:pt x="4456" y="264"/>
                  </a:lnTo>
                  <a:lnTo>
                    <a:pt x="4444" y="242"/>
                  </a:lnTo>
                  <a:lnTo>
                    <a:pt x="4431" y="221"/>
                  </a:lnTo>
                  <a:lnTo>
                    <a:pt x="4417" y="202"/>
                  </a:lnTo>
                  <a:lnTo>
                    <a:pt x="4402" y="183"/>
                  </a:lnTo>
                  <a:lnTo>
                    <a:pt x="4386" y="165"/>
                  </a:lnTo>
                  <a:lnTo>
                    <a:pt x="4369" y="147"/>
                  </a:lnTo>
                  <a:lnTo>
                    <a:pt x="4352" y="131"/>
                  </a:lnTo>
                  <a:lnTo>
                    <a:pt x="4334" y="115"/>
                  </a:lnTo>
                  <a:lnTo>
                    <a:pt x="4315" y="100"/>
                  </a:lnTo>
                  <a:lnTo>
                    <a:pt x="4295" y="86"/>
                  </a:lnTo>
                  <a:lnTo>
                    <a:pt x="4274" y="72"/>
                  </a:lnTo>
                  <a:lnTo>
                    <a:pt x="4253" y="60"/>
                  </a:lnTo>
                  <a:lnTo>
                    <a:pt x="4232" y="49"/>
                  </a:lnTo>
                  <a:lnTo>
                    <a:pt x="4210" y="39"/>
                  </a:lnTo>
                  <a:lnTo>
                    <a:pt x="4187" y="30"/>
                  </a:lnTo>
                  <a:lnTo>
                    <a:pt x="4164" y="22"/>
                  </a:lnTo>
                  <a:lnTo>
                    <a:pt x="4140" y="16"/>
                  </a:lnTo>
                  <a:lnTo>
                    <a:pt x="4116" y="10"/>
                  </a:lnTo>
                  <a:lnTo>
                    <a:pt x="4091" y="6"/>
                  </a:lnTo>
                  <a:lnTo>
                    <a:pt x="4066" y="3"/>
                  </a:lnTo>
                  <a:lnTo>
                    <a:pt x="4041" y="1"/>
                  </a:lnTo>
                  <a:lnTo>
                    <a:pt x="4015" y="0"/>
                  </a:lnTo>
                  <a:lnTo>
                    <a:pt x="3988" y="1"/>
                  </a:lnTo>
                  <a:lnTo>
                    <a:pt x="3963" y="3"/>
                  </a:lnTo>
                  <a:lnTo>
                    <a:pt x="3938" y="6"/>
                  </a:lnTo>
                  <a:lnTo>
                    <a:pt x="3913" y="10"/>
                  </a:lnTo>
                  <a:lnTo>
                    <a:pt x="3889" y="16"/>
                  </a:lnTo>
                  <a:lnTo>
                    <a:pt x="3865" y="22"/>
                  </a:lnTo>
                  <a:lnTo>
                    <a:pt x="3842" y="30"/>
                  </a:lnTo>
                  <a:lnTo>
                    <a:pt x="3819" y="39"/>
                  </a:lnTo>
                  <a:lnTo>
                    <a:pt x="3797" y="49"/>
                  </a:lnTo>
                  <a:lnTo>
                    <a:pt x="3776" y="60"/>
                  </a:lnTo>
                  <a:lnTo>
                    <a:pt x="3755" y="72"/>
                  </a:lnTo>
                  <a:lnTo>
                    <a:pt x="3733" y="86"/>
                  </a:lnTo>
                  <a:lnTo>
                    <a:pt x="3714" y="100"/>
                  </a:lnTo>
                  <a:lnTo>
                    <a:pt x="3695" y="115"/>
                  </a:lnTo>
                  <a:lnTo>
                    <a:pt x="3677" y="131"/>
                  </a:lnTo>
                  <a:lnTo>
                    <a:pt x="3659" y="147"/>
                  </a:lnTo>
                  <a:lnTo>
                    <a:pt x="3643" y="165"/>
                  </a:lnTo>
                  <a:lnTo>
                    <a:pt x="3627" y="183"/>
                  </a:lnTo>
                  <a:lnTo>
                    <a:pt x="3612" y="202"/>
                  </a:lnTo>
                  <a:lnTo>
                    <a:pt x="3598" y="221"/>
                  </a:lnTo>
                  <a:lnTo>
                    <a:pt x="3585" y="242"/>
                  </a:lnTo>
                  <a:lnTo>
                    <a:pt x="3573" y="264"/>
                  </a:lnTo>
                  <a:lnTo>
                    <a:pt x="3562" y="285"/>
                  </a:lnTo>
                  <a:lnTo>
                    <a:pt x="3552" y="307"/>
                  </a:lnTo>
                  <a:lnTo>
                    <a:pt x="3543" y="330"/>
                  </a:lnTo>
                  <a:lnTo>
                    <a:pt x="3535" y="353"/>
                  </a:lnTo>
                  <a:lnTo>
                    <a:pt x="3529" y="377"/>
                  </a:lnTo>
                  <a:lnTo>
                    <a:pt x="3523" y="401"/>
                  </a:lnTo>
                  <a:lnTo>
                    <a:pt x="3519" y="427"/>
                  </a:lnTo>
                  <a:lnTo>
                    <a:pt x="3515" y="452"/>
                  </a:lnTo>
                  <a:lnTo>
                    <a:pt x="3514" y="477"/>
                  </a:lnTo>
                  <a:lnTo>
                    <a:pt x="3513" y="503"/>
                  </a:lnTo>
                  <a:lnTo>
                    <a:pt x="3513" y="1509"/>
                  </a:lnTo>
                  <a:lnTo>
                    <a:pt x="1338" y="1509"/>
                  </a:lnTo>
                  <a:lnTo>
                    <a:pt x="1270" y="1511"/>
                  </a:lnTo>
                  <a:lnTo>
                    <a:pt x="1201" y="1516"/>
                  </a:lnTo>
                  <a:lnTo>
                    <a:pt x="1134" y="1524"/>
                  </a:lnTo>
                  <a:lnTo>
                    <a:pt x="1069" y="1536"/>
                  </a:lnTo>
                  <a:lnTo>
                    <a:pt x="1004" y="1551"/>
                  </a:lnTo>
                  <a:lnTo>
                    <a:pt x="940" y="1569"/>
                  </a:lnTo>
                  <a:lnTo>
                    <a:pt x="878" y="1590"/>
                  </a:lnTo>
                  <a:lnTo>
                    <a:pt x="817" y="1615"/>
                  </a:lnTo>
                  <a:lnTo>
                    <a:pt x="758" y="1641"/>
                  </a:lnTo>
                  <a:lnTo>
                    <a:pt x="701" y="1671"/>
                  </a:lnTo>
                  <a:lnTo>
                    <a:pt x="644" y="1703"/>
                  </a:lnTo>
                  <a:lnTo>
                    <a:pt x="590" y="1738"/>
                  </a:lnTo>
                  <a:lnTo>
                    <a:pt x="538" y="1775"/>
                  </a:lnTo>
                  <a:lnTo>
                    <a:pt x="487" y="1815"/>
                  </a:lnTo>
                  <a:lnTo>
                    <a:pt x="439" y="1857"/>
                  </a:lnTo>
                  <a:lnTo>
                    <a:pt x="391" y="1901"/>
                  </a:lnTo>
                  <a:lnTo>
                    <a:pt x="347" y="1949"/>
                  </a:lnTo>
                  <a:lnTo>
                    <a:pt x="305" y="1997"/>
                  </a:lnTo>
                  <a:lnTo>
                    <a:pt x="266" y="2047"/>
                  </a:lnTo>
                  <a:lnTo>
                    <a:pt x="229" y="2100"/>
                  </a:lnTo>
                  <a:lnTo>
                    <a:pt x="194" y="2155"/>
                  </a:lnTo>
                  <a:lnTo>
                    <a:pt x="162" y="2210"/>
                  </a:lnTo>
                  <a:lnTo>
                    <a:pt x="131" y="2268"/>
                  </a:lnTo>
                  <a:lnTo>
                    <a:pt x="105" y="2328"/>
                  </a:lnTo>
                  <a:lnTo>
                    <a:pt x="81" y="2389"/>
                  </a:lnTo>
                  <a:lnTo>
                    <a:pt x="60" y="2450"/>
                  </a:lnTo>
                  <a:lnTo>
                    <a:pt x="42" y="2515"/>
                  </a:lnTo>
                  <a:lnTo>
                    <a:pt x="27" y="2579"/>
                  </a:lnTo>
                  <a:lnTo>
                    <a:pt x="15" y="2646"/>
                  </a:lnTo>
                  <a:lnTo>
                    <a:pt x="7" y="2713"/>
                  </a:lnTo>
                  <a:lnTo>
                    <a:pt x="2" y="2780"/>
                  </a:lnTo>
                  <a:lnTo>
                    <a:pt x="0" y="2850"/>
                  </a:lnTo>
                  <a:lnTo>
                    <a:pt x="0" y="14754"/>
                  </a:lnTo>
                  <a:lnTo>
                    <a:pt x="2" y="14822"/>
                  </a:lnTo>
                  <a:lnTo>
                    <a:pt x="7" y="14891"/>
                  </a:lnTo>
                  <a:lnTo>
                    <a:pt x="15" y="14958"/>
                  </a:lnTo>
                  <a:lnTo>
                    <a:pt x="27" y="15024"/>
                  </a:lnTo>
                  <a:lnTo>
                    <a:pt x="42" y="15089"/>
                  </a:lnTo>
                  <a:lnTo>
                    <a:pt x="60" y="15152"/>
                  </a:lnTo>
                  <a:lnTo>
                    <a:pt x="81" y="15215"/>
                  </a:lnTo>
                  <a:lnTo>
                    <a:pt x="105" y="15276"/>
                  </a:lnTo>
                  <a:lnTo>
                    <a:pt x="131" y="15336"/>
                  </a:lnTo>
                  <a:lnTo>
                    <a:pt x="162" y="15393"/>
                  </a:lnTo>
                  <a:lnTo>
                    <a:pt x="194" y="15449"/>
                  </a:lnTo>
                  <a:lnTo>
                    <a:pt x="229" y="15504"/>
                  </a:lnTo>
                  <a:lnTo>
                    <a:pt x="266" y="15556"/>
                  </a:lnTo>
                  <a:lnTo>
                    <a:pt x="305" y="15607"/>
                  </a:lnTo>
                  <a:lnTo>
                    <a:pt x="347" y="15655"/>
                  </a:lnTo>
                  <a:lnTo>
                    <a:pt x="391" y="15702"/>
                  </a:lnTo>
                  <a:lnTo>
                    <a:pt x="439" y="15747"/>
                  </a:lnTo>
                  <a:lnTo>
                    <a:pt x="487" y="15789"/>
                  </a:lnTo>
                  <a:lnTo>
                    <a:pt x="538" y="15828"/>
                  </a:lnTo>
                  <a:lnTo>
                    <a:pt x="590" y="15866"/>
                  </a:lnTo>
                  <a:lnTo>
                    <a:pt x="644" y="15901"/>
                  </a:lnTo>
                  <a:lnTo>
                    <a:pt x="701" y="15933"/>
                  </a:lnTo>
                  <a:lnTo>
                    <a:pt x="758" y="15963"/>
                  </a:lnTo>
                  <a:lnTo>
                    <a:pt x="817" y="15989"/>
                  </a:lnTo>
                  <a:lnTo>
                    <a:pt x="878" y="16014"/>
                  </a:lnTo>
                  <a:lnTo>
                    <a:pt x="940" y="16035"/>
                  </a:lnTo>
                  <a:lnTo>
                    <a:pt x="1004" y="16053"/>
                  </a:lnTo>
                  <a:lnTo>
                    <a:pt x="1069" y="16068"/>
                  </a:lnTo>
                  <a:lnTo>
                    <a:pt x="1134" y="16080"/>
                  </a:lnTo>
                  <a:lnTo>
                    <a:pt x="1201" y="16088"/>
                  </a:lnTo>
                  <a:lnTo>
                    <a:pt x="1270" y="16093"/>
                  </a:lnTo>
                  <a:lnTo>
                    <a:pt x="1338" y="16095"/>
                  </a:lnTo>
                  <a:lnTo>
                    <a:pt x="14719" y="16095"/>
                  </a:lnTo>
                  <a:lnTo>
                    <a:pt x="14788" y="16093"/>
                  </a:lnTo>
                  <a:lnTo>
                    <a:pt x="14857" y="16088"/>
                  </a:lnTo>
                  <a:lnTo>
                    <a:pt x="14924" y="16080"/>
                  </a:lnTo>
                  <a:lnTo>
                    <a:pt x="14989" y="16068"/>
                  </a:lnTo>
                  <a:lnTo>
                    <a:pt x="15054" y="16053"/>
                  </a:lnTo>
                  <a:lnTo>
                    <a:pt x="15118" y="16035"/>
                  </a:lnTo>
                  <a:lnTo>
                    <a:pt x="15180" y="16014"/>
                  </a:lnTo>
                  <a:lnTo>
                    <a:pt x="15241" y="15989"/>
                  </a:lnTo>
                  <a:lnTo>
                    <a:pt x="15300" y="15963"/>
                  </a:lnTo>
                  <a:lnTo>
                    <a:pt x="15357" y="15933"/>
                  </a:lnTo>
                  <a:lnTo>
                    <a:pt x="15414" y="15901"/>
                  </a:lnTo>
                  <a:lnTo>
                    <a:pt x="15468" y="15866"/>
                  </a:lnTo>
                  <a:lnTo>
                    <a:pt x="15520" y="15828"/>
                  </a:lnTo>
                  <a:lnTo>
                    <a:pt x="15571" y="15789"/>
                  </a:lnTo>
                  <a:lnTo>
                    <a:pt x="15619" y="15747"/>
                  </a:lnTo>
                  <a:lnTo>
                    <a:pt x="15666" y="15702"/>
                  </a:lnTo>
                  <a:lnTo>
                    <a:pt x="15711" y="15655"/>
                  </a:lnTo>
                  <a:lnTo>
                    <a:pt x="15752" y="15607"/>
                  </a:lnTo>
                  <a:lnTo>
                    <a:pt x="15792" y="15556"/>
                  </a:lnTo>
                  <a:lnTo>
                    <a:pt x="15829" y="15504"/>
                  </a:lnTo>
                  <a:lnTo>
                    <a:pt x="15864" y="15449"/>
                  </a:lnTo>
                  <a:lnTo>
                    <a:pt x="15896" y="15393"/>
                  </a:lnTo>
                  <a:lnTo>
                    <a:pt x="15926" y="15336"/>
                  </a:lnTo>
                  <a:lnTo>
                    <a:pt x="15953" y="15276"/>
                  </a:lnTo>
                  <a:lnTo>
                    <a:pt x="15977" y="15215"/>
                  </a:lnTo>
                  <a:lnTo>
                    <a:pt x="15998" y="15152"/>
                  </a:lnTo>
                  <a:lnTo>
                    <a:pt x="16016" y="15089"/>
                  </a:lnTo>
                  <a:lnTo>
                    <a:pt x="16031" y="15024"/>
                  </a:lnTo>
                  <a:lnTo>
                    <a:pt x="16043" y="14958"/>
                  </a:lnTo>
                  <a:lnTo>
                    <a:pt x="16051" y="14891"/>
                  </a:lnTo>
                  <a:lnTo>
                    <a:pt x="16056" y="14822"/>
                  </a:lnTo>
                  <a:lnTo>
                    <a:pt x="16058" y="14754"/>
                  </a:lnTo>
                  <a:lnTo>
                    <a:pt x="16058" y="2850"/>
                  </a:lnTo>
                  <a:lnTo>
                    <a:pt x="16056" y="2780"/>
                  </a:lnTo>
                  <a:lnTo>
                    <a:pt x="16051" y="2713"/>
                  </a:lnTo>
                  <a:lnTo>
                    <a:pt x="16043" y="2646"/>
                  </a:lnTo>
                  <a:lnTo>
                    <a:pt x="16031" y="2579"/>
                  </a:lnTo>
                  <a:lnTo>
                    <a:pt x="16016" y="2515"/>
                  </a:lnTo>
                  <a:lnTo>
                    <a:pt x="15998" y="2450"/>
                  </a:lnTo>
                  <a:lnTo>
                    <a:pt x="15977" y="2389"/>
                  </a:lnTo>
                  <a:lnTo>
                    <a:pt x="15953" y="2328"/>
                  </a:lnTo>
                  <a:lnTo>
                    <a:pt x="15926" y="2268"/>
                  </a:lnTo>
                  <a:lnTo>
                    <a:pt x="15896" y="2210"/>
                  </a:lnTo>
                  <a:lnTo>
                    <a:pt x="15864" y="2155"/>
                  </a:lnTo>
                  <a:lnTo>
                    <a:pt x="15829" y="2100"/>
                  </a:lnTo>
                  <a:lnTo>
                    <a:pt x="15792" y="2047"/>
                  </a:lnTo>
                  <a:lnTo>
                    <a:pt x="15752" y="1997"/>
                  </a:lnTo>
                  <a:lnTo>
                    <a:pt x="15711" y="1949"/>
                  </a:lnTo>
                  <a:lnTo>
                    <a:pt x="15666" y="1901"/>
                  </a:lnTo>
                  <a:lnTo>
                    <a:pt x="15619" y="1857"/>
                  </a:lnTo>
                  <a:lnTo>
                    <a:pt x="15571" y="1815"/>
                  </a:lnTo>
                  <a:lnTo>
                    <a:pt x="15520" y="1775"/>
                  </a:lnTo>
                  <a:lnTo>
                    <a:pt x="15468" y="1738"/>
                  </a:lnTo>
                  <a:lnTo>
                    <a:pt x="15414" y="1703"/>
                  </a:lnTo>
                  <a:lnTo>
                    <a:pt x="15357" y="1671"/>
                  </a:lnTo>
                  <a:lnTo>
                    <a:pt x="15300" y="1641"/>
                  </a:lnTo>
                  <a:lnTo>
                    <a:pt x="15241" y="1615"/>
                  </a:lnTo>
                  <a:lnTo>
                    <a:pt x="15180" y="1590"/>
                  </a:lnTo>
                  <a:lnTo>
                    <a:pt x="15118" y="1569"/>
                  </a:lnTo>
                  <a:lnTo>
                    <a:pt x="15054" y="1551"/>
                  </a:lnTo>
                  <a:lnTo>
                    <a:pt x="14989" y="1536"/>
                  </a:lnTo>
                  <a:lnTo>
                    <a:pt x="14924" y="1524"/>
                  </a:lnTo>
                  <a:lnTo>
                    <a:pt x="14857" y="1516"/>
                  </a:lnTo>
                  <a:lnTo>
                    <a:pt x="14788" y="1511"/>
                  </a:lnTo>
                  <a:lnTo>
                    <a:pt x="14719" y="15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35" name="ïṧľidè">
              <a:extLst>
                <a:ext uri="{FF2B5EF4-FFF2-40B4-BE49-F238E27FC236}">
                  <a16:creationId xmlns:a16="http://schemas.microsoft.com/office/drawing/2014/main" id="{CCCCBC8F-9B5C-42E1-93E1-1885A69FA2E8}"/>
                </a:ext>
              </a:extLst>
            </p:cNvPr>
            <p:cNvSpPr/>
            <p:nvPr/>
          </p:nvSpPr>
          <p:spPr bwMode="auto">
            <a:xfrm>
              <a:off x="4232177" y="2675686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36" name="ïṥḻîḍè">
              <a:extLst>
                <a:ext uri="{FF2B5EF4-FFF2-40B4-BE49-F238E27FC236}">
                  <a16:creationId xmlns:a16="http://schemas.microsoft.com/office/drawing/2014/main" id="{30BED60A-FEC9-4666-96AD-A3B859EF4F49}"/>
                </a:ext>
              </a:extLst>
            </p:cNvPr>
            <p:cNvSpPr/>
            <p:nvPr/>
          </p:nvSpPr>
          <p:spPr bwMode="auto">
            <a:xfrm>
              <a:off x="4232177" y="2738922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37" name="îṣḻïďe">
              <a:extLst>
                <a:ext uri="{FF2B5EF4-FFF2-40B4-BE49-F238E27FC236}">
                  <a16:creationId xmlns:a16="http://schemas.microsoft.com/office/drawing/2014/main" id="{CB393EC2-2613-4567-B708-777DF3FABA9A}"/>
                </a:ext>
              </a:extLst>
            </p:cNvPr>
            <p:cNvSpPr/>
            <p:nvPr/>
          </p:nvSpPr>
          <p:spPr bwMode="auto">
            <a:xfrm>
              <a:off x="4232177" y="2802158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38" name="ïṧ1iḋê">
              <a:extLst>
                <a:ext uri="{FF2B5EF4-FFF2-40B4-BE49-F238E27FC236}">
                  <a16:creationId xmlns:a16="http://schemas.microsoft.com/office/drawing/2014/main" id="{088944BE-AACA-4093-A32C-F518EAEABF99}"/>
                </a:ext>
              </a:extLst>
            </p:cNvPr>
            <p:cNvSpPr/>
            <p:nvPr/>
          </p:nvSpPr>
          <p:spPr bwMode="auto">
            <a:xfrm>
              <a:off x="4320521" y="2802158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39" name="išḻîďe">
              <a:extLst>
                <a:ext uri="{FF2B5EF4-FFF2-40B4-BE49-F238E27FC236}">
                  <a16:creationId xmlns:a16="http://schemas.microsoft.com/office/drawing/2014/main" id="{F9AF2DE2-36E2-420E-8171-DE7646FC1975}"/>
                </a:ext>
              </a:extLst>
            </p:cNvPr>
            <p:cNvSpPr/>
            <p:nvPr/>
          </p:nvSpPr>
          <p:spPr bwMode="auto">
            <a:xfrm>
              <a:off x="4320521" y="2738922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40" name="îSḷïḑé">
              <a:extLst>
                <a:ext uri="{FF2B5EF4-FFF2-40B4-BE49-F238E27FC236}">
                  <a16:creationId xmlns:a16="http://schemas.microsoft.com/office/drawing/2014/main" id="{8600E0BF-1F89-4EEB-9550-2D515DBCFED1}"/>
                </a:ext>
              </a:extLst>
            </p:cNvPr>
            <p:cNvSpPr/>
            <p:nvPr/>
          </p:nvSpPr>
          <p:spPr bwMode="auto">
            <a:xfrm>
              <a:off x="4320521" y="2675686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41" name="î$ḻíḑé">
              <a:extLst>
                <a:ext uri="{FF2B5EF4-FFF2-40B4-BE49-F238E27FC236}">
                  <a16:creationId xmlns:a16="http://schemas.microsoft.com/office/drawing/2014/main" id="{E9FB316E-E4F8-4F2F-B89A-741034633A0F}"/>
                </a:ext>
              </a:extLst>
            </p:cNvPr>
            <p:cNvSpPr/>
            <p:nvPr/>
          </p:nvSpPr>
          <p:spPr bwMode="auto">
            <a:xfrm>
              <a:off x="4408866" y="2802158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42" name="ïṧľiḓé">
              <a:extLst>
                <a:ext uri="{FF2B5EF4-FFF2-40B4-BE49-F238E27FC236}">
                  <a16:creationId xmlns:a16="http://schemas.microsoft.com/office/drawing/2014/main" id="{789C1E39-3C26-4DF7-95B2-5576D995EC30}"/>
                </a:ext>
              </a:extLst>
            </p:cNvPr>
            <p:cNvSpPr/>
            <p:nvPr/>
          </p:nvSpPr>
          <p:spPr bwMode="auto">
            <a:xfrm>
              <a:off x="4408866" y="2738922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43" name="ïsľïḓé">
              <a:extLst>
                <a:ext uri="{FF2B5EF4-FFF2-40B4-BE49-F238E27FC236}">
                  <a16:creationId xmlns:a16="http://schemas.microsoft.com/office/drawing/2014/main" id="{6EBC17E0-E9D5-47CA-B2B5-3B5DADCF2FBE}"/>
                </a:ext>
              </a:extLst>
            </p:cNvPr>
            <p:cNvSpPr/>
            <p:nvPr/>
          </p:nvSpPr>
          <p:spPr bwMode="auto">
            <a:xfrm>
              <a:off x="4408866" y="2675686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44" name="iṣļîdè">
              <a:extLst>
                <a:ext uri="{FF2B5EF4-FFF2-40B4-BE49-F238E27FC236}">
                  <a16:creationId xmlns:a16="http://schemas.microsoft.com/office/drawing/2014/main" id="{B562FF29-4566-4142-AB05-98229AAF5E70}"/>
                </a:ext>
              </a:extLst>
            </p:cNvPr>
            <p:cNvSpPr/>
            <p:nvPr/>
          </p:nvSpPr>
          <p:spPr bwMode="auto">
            <a:xfrm>
              <a:off x="2621874" y="2019340"/>
              <a:ext cx="402604" cy="401679"/>
            </a:xfrm>
            <a:custGeom>
              <a:avLst/>
              <a:gdLst>
                <a:gd name="T0" fmla="*/ 15050 w 16095"/>
                <a:gd name="T1" fmla="*/ 7221 h 16058"/>
                <a:gd name="T2" fmla="*/ 14924 w 16095"/>
                <a:gd name="T3" fmla="*/ 7397 h 16058"/>
                <a:gd name="T4" fmla="*/ 14736 w 16095"/>
                <a:gd name="T5" fmla="*/ 7505 h 16058"/>
                <a:gd name="T6" fmla="*/ 13077 w 16095"/>
                <a:gd name="T7" fmla="*/ 4015 h 16058"/>
                <a:gd name="T8" fmla="*/ 13328 w 16095"/>
                <a:gd name="T9" fmla="*/ 4081 h 16058"/>
                <a:gd name="T10" fmla="*/ 15001 w 16095"/>
                <a:gd name="T11" fmla="*/ 6239 h 16058"/>
                <a:gd name="T12" fmla="*/ 15074 w 16095"/>
                <a:gd name="T13" fmla="*/ 6403 h 16058"/>
                <a:gd name="T14" fmla="*/ 10562 w 16095"/>
                <a:gd name="T15" fmla="*/ 15054 h 16058"/>
                <a:gd name="T16" fmla="*/ 10523 w 16095"/>
                <a:gd name="T17" fmla="*/ 9841 h 16058"/>
                <a:gd name="T18" fmla="*/ 10397 w 16095"/>
                <a:gd name="T19" fmla="*/ 9665 h 16058"/>
                <a:gd name="T20" fmla="*/ 10209 w 16095"/>
                <a:gd name="T21" fmla="*/ 9557 h 16058"/>
                <a:gd name="T22" fmla="*/ 6236 w 16095"/>
                <a:gd name="T23" fmla="*/ 9537 h 16058"/>
                <a:gd name="T24" fmla="*/ 6027 w 16095"/>
                <a:gd name="T25" fmla="*/ 9607 h 16058"/>
                <a:gd name="T26" fmla="*/ 5870 w 16095"/>
                <a:gd name="T27" fmla="*/ 9755 h 16058"/>
                <a:gd name="T28" fmla="*/ 5790 w 16095"/>
                <a:gd name="T29" fmla="*/ 9960 h 16058"/>
                <a:gd name="T30" fmla="*/ 10059 w 16095"/>
                <a:gd name="T31" fmla="*/ 15054 h 16058"/>
                <a:gd name="T32" fmla="*/ 1010 w 16095"/>
                <a:gd name="T33" fmla="*/ 6462 h 16058"/>
                <a:gd name="T34" fmla="*/ 1063 w 16095"/>
                <a:gd name="T35" fmla="*/ 6291 h 16058"/>
                <a:gd name="T36" fmla="*/ 2696 w 16095"/>
                <a:gd name="T37" fmla="*/ 4131 h 16058"/>
                <a:gd name="T38" fmla="*/ 2930 w 16095"/>
                <a:gd name="T39" fmla="*/ 4023 h 16058"/>
                <a:gd name="T40" fmla="*/ 1432 w 16095"/>
                <a:gd name="T41" fmla="*/ 7521 h 16058"/>
                <a:gd name="T42" fmla="*/ 1227 w 16095"/>
                <a:gd name="T43" fmla="*/ 7442 h 16058"/>
                <a:gd name="T44" fmla="*/ 1078 w 16095"/>
                <a:gd name="T45" fmla="*/ 7285 h 16058"/>
                <a:gd name="T46" fmla="*/ 1009 w 16095"/>
                <a:gd name="T47" fmla="*/ 7077 h 16058"/>
                <a:gd name="T48" fmla="*/ 9439 w 16095"/>
                <a:gd name="T49" fmla="*/ 4015 h 16058"/>
                <a:gd name="T50" fmla="*/ 5127 w 16095"/>
                <a:gd name="T51" fmla="*/ 7527 h 16058"/>
                <a:gd name="T52" fmla="*/ 13077 w 16095"/>
                <a:gd name="T53" fmla="*/ 1004 h 16058"/>
                <a:gd name="T54" fmla="*/ 14110 w 16095"/>
                <a:gd name="T55" fmla="*/ 3426 h 16058"/>
                <a:gd name="T56" fmla="*/ 14022 w 16095"/>
                <a:gd name="T57" fmla="*/ 658 h 16058"/>
                <a:gd name="T58" fmla="*/ 13788 w 16095"/>
                <a:gd name="T59" fmla="*/ 294 h 16058"/>
                <a:gd name="T60" fmla="*/ 13423 w 16095"/>
                <a:gd name="T61" fmla="*/ 61 h 16058"/>
                <a:gd name="T62" fmla="*/ 2967 w 16095"/>
                <a:gd name="T63" fmla="*/ 1 h 16058"/>
                <a:gd name="T64" fmla="*/ 2538 w 16095"/>
                <a:gd name="T65" fmla="*/ 121 h 16058"/>
                <a:gd name="T66" fmla="*/ 2212 w 16095"/>
                <a:gd name="T67" fmla="*/ 403 h 16058"/>
                <a:gd name="T68" fmla="*/ 2032 w 16095"/>
                <a:gd name="T69" fmla="*/ 802 h 16058"/>
                <a:gd name="T70" fmla="*/ 1906 w 16095"/>
                <a:gd name="T71" fmla="*/ 3503 h 16058"/>
                <a:gd name="T72" fmla="*/ 233 w 16095"/>
                <a:gd name="T73" fmla="*/ 5720 h 16058"/>
                <a:gd name="T74" fmla="*/ 110 w 16095"/>
                <a:gd name="T75" fmla="*/ 5962 h 16058"/>
                <a:gd name="T76" fmla="*/ 31 w 16095"/>
                <a:gd name="T77" fmla="*/ 6222 h 16058"/>
                <a:gd name="T78" fmla="*/ 0 w 16095"/>
                <a:gd name="T79" fmla="*/ 6493 h 16058"/>
                <a:gd name="T80" fmla="*/ 92 w 16095"/>
                <a:gd name="T81" fmla="*/ 7542 h 16058"/>
                <a:gd name="T82" fmla="*/ 443 w 16095"/>
                <a:gd name="T83" fmla="*/ 8089 h 16058"/>
                <a:gd name="T84" fmla="*/ 991 w 16095"/>
                <a:gd name="T85" fmla="*/ 8439 h 16058"/>
                <a:gd name="T86" fmla="*/ 1510 w 16095"/>
                <a:gd name="T87" fmla="*/ 15106 h 16058"/>
                <a:gd name="T88" fmla="*/ 1631 w 16095"/>
                <a:gd name="T89" fmla="*/ 15533 h 16058"/>
                <a:gd name="T90" fmla="*/ 1913 w 16095"/>
                <a:gd name="T91" fmla="*/ 15858 h 16058"/>
                <a:gd name="T92" fmla="*/ 2312 w 16095"/>
                <a:gd name="T93" fmla="*/ 16038 h 16058"/>
                <a:gd name="T94" fmla="*/ 13782 w 16095"/>
                <a:gd name="T95" fmla="*/ 16038 h 16058"/>
                <a:gd name="T96" fmla="*/ 14182 w 16095"/>
                <a:gd name="T97" fmla="*/ 15858 h 16058"/>
                <a:gd name="T98" fmla="*/ 14464 w 16095"/>
                <a:gd name="T99" fmla="*/ 15533 h 16058"/>
                <a:gd name="T100" fmla="*/ 14585 w 16095"/>
                <a:gd name="T101" fmla="*/ 15106 h 16058"/>
                <a:gd name="T102" fmla="*/ 15104 w 16095"/>
                <a:gd name="T103" fmla="*/ 8439 h 16058"/>
                <a:gd name="T104" fmla="*/ 15652 w 16095"/>
                <a:gd name="T105" fmla="*/ 8089 h 16058"/>
                <a:gd name="T106" fmla="*/ 16003 w 16095"/>
                <a:gd name="T107" fmla="*/ 7542 h 16058"/>
                <a:gd name="T108" fmla="*/ 16095 w 16095"/>
                <a:gd name="T109" fmla="*/ 6493 h 16058"/>
                <a:gd name="T110" fmla="*/ 16064 w 16095"/>
                <a:gd name="T111" fmla="*/ 6222 h 16058"/>
                <a:gd name="T112" fmla="*/ 15985 w 16095"/>
                <a:gd name="T113" fmla="*/ 5963 h 16058"/>
                <a:gd name="T114" fmla="*/ 15862 w 16095"/>
                <a:gd name="T115" fmla="*/ 5720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095" h="16058">
                  <a:moveTo>
                    <a:pt x="15089" y="7025"/>
                  </a:moveTo>
                  <a:lnTo>
                    <a:pt x="15088" y="7051"/>
                  </a:lnTo>
                  <a:lnTo>
                    <a:pt x="15086" y="7077"/>
                  </a:lnTo>
                  <a:lnTo>
                    <a:pt x="15083" y="7102"/>
                  </a:lnTo>
                  <a:lnTo>
                    <a:pt x="15079" y="7127"/>
                  </a:lnTo>
                  <a:lnTo>
                    <a:pt x="15073" y="7151"/>
                  </a:lnTo>
                  <a:lnTo>
                    <a:pt x="15066" y="7175"/>
                  </a:lnTo>
                  <a:lnTo>
                    <a:pt x="15059" y="7198"/>
                  </a:lnTo>
                  <a:lnTo>
                    <a:pt x="15050" y="7221"/>
                  </a:lnTo>
                  <a:lnTo>
                    <a:pt x="15040" y="7243"/>
                  </a:lnTo>
                  <a:lnTo>
                    <a:pt x="15029" y="7264"/>
                  </a:lnTo>
                  <a:lnTo>
                    <a:pt x="15017" y="7285"/>
                  </a:lnTo>
                  <a:lnTo>
                    <a:pt x="15004" y="7306"/>
                  </a:lnTo>
                  <a:lnTo>
                    <a:pt x="14989" y="7325"/>
                  </a:lnTo>
                  <a:lnTo>
                    <a:pt x="14974" y="7345"/>
                  </a:lnTo>
                  <a:lnTo>
                    <a:pt x="14958" y="7363"/>
                  </a:lnTo>
                  <a:lnTo>
                    <a:pt x="14942" y="7381"/>
                  </a:lnTo>
                  <a:lnTo>
                    <a:pt x="14924" y="7397"/>
                  </a:lnTo>
                  <a:lnTo>
                    <a:pt x="14906" y="7413"/>
                  </a:lnTo>
                  <a:lnTo>
                    <a:pt x="14887" y="7428"/>
                  </a:lnTo>
                  <a:lnTo>
                    <a:pt x="14867" y="7442"/>
                  </a:lnTo>
                  <a:lnTo>
                    <a:pt x="14847" y="7455"/>
                  </a:lnTo>
                  <a:lnTo>
                    <a:pt x="14826" y="7467"/>
                  </a:lnTo>
                  <a:lnTo>
                    <a:pt x="14804" y="7478"/>
                  </a:lnTo>
                  <a:lnTo>
                    <a:pt x="14782" y="7488"/>
                  </a:lnTo>
                  <a:lnTo>
                    <a:pt x="14759" y="7497"/>
                  </a:lnTo>
                  <a:lnTo>
                    <a:pt x="14736" y="7505"/>
                  </a:lnTo>
                  <a:lnTo>
                    <a:pt x="14712" y="7511"/>
                  </a:lnTo>
                  <a:lnTo>
                    <a:pt x="14688" y="7517"/>
                  </a:lnTo>
                  <a:lnTo>
                    <a:pt x="14663" y="7521"/>
                  </a:lnTo>
                  <a:lnTo>
                    <a:pt x="14637" y="7524"/>
                  </a:lnTo>
                  <a:lnTo>
                    <a:pt x="14612" y="7526"/>
                  </a:lnTo>
                  <a:lnTo>
                    <a:pt x="14586" y="7527"/>
                  </a:lnTo>
                  <a:lnTo>
                    <a:pt x="13654" y="7527"/>
                  </a:lnTo>
                  <a:lnTo>
                    <a:pt x="11642" y="4015"/>
                  </a:lnTo>
                  <a:lnTo>
                    <a:pt x="13077" y="4015"/>
                  </a:lnTo>
                  <a:lnTo>
                    <a:pt x="13106" y="4016"/>
                  </a:lnTo>
                  <a:lnTo>
                    <a:pt x="13137" y="4018"/>
                  </a:lnTo>
                  <a:lnTo>
                    <a:pt x="13165" y="4023"/>
                  </a:lnTo>
                  <a:lnTo>
                    <a:pt x="13194" y="4029"/>
                  </a:lnTo>
                  <a:lnTo>
                    <a:pt x="13222" y="4036"/>
                  </a:lnTo>
                  <a:lnTo>
                    <a:pt x="13249" y="4045"/>
                  </a:lnTo>
                  <a:lnTo>
                    <a:pt x="13276" y="4056"/>
                  </a:lnTo>
                  <a:lnTo>
                    <a:pt x="13303" y="4068"/>
                  </a:lnTo>
                  <a:lnTo>
                    <a:pt x="13328" y="4081"/>
                  </a:lnTo>
                  <a:lnTo>
                    <a:pt x="13352" y="4096"/>
                  </a:lnTo>
                  <a:lnTo>
                    <a:pt x="13376" y="4113"/>
                  </a:lnTo>
                  <a:lnTo>
                    <a:pt x="13399" y="4131"/>
                  </a:lnTo>
                  <a:lnTo>
                    <a:pt x="13420" y="4150"/>
                  </a:lnTo>
                  <a:lnTo>
                    <a:pt x="13441" y="4170"/>
                  </a:lnTo>
                  <a:lnTo>
                    <a:pt x="13461" y="4192"/>
                  </a:lnTo>
                  <a:lnTo>
                    <a:pt x="13480" y="4215"/>
                  </a:lnTo>
                  <a:lnTo>
                    <a:pt x="14988" y="6222"/>
                  </a:lnTo>
                  <a:lnTo>
                    <a:pt x="15001" y="6239"/>
                  </a:lnTo>
                  <a:lnTo>
                    <a:pt x="15012" y="6256"/>
                  </a:lnTo>
                  <a:lnTo>
                    <a:pt x="15022" y="6274"/>
                  </a:lnTo>
                  <a:lnTo>
                    <a:pt x="15032" y="6291"/>
                  </a:lnTo>
                  <a:lnTo>
                    <a:pt x="15041" y="6309"/>
                  </a:lnTo>
                  <a:lnTo>
                    <a:pt x="15049" y="6327"/>
                  </a:lnTo>
                  <a:lnTo>
                    <a:pt x="15057" y="6346"/>
                  </a:lnTo>
                  <a:lnTo>
                    <a:pt x="15063" y="6365"/>
                  </a:lnTo>
                  <a:lnTo>
                    <a:pt x="15069" y="6384"/>
                  </a:lnTo>
                  <a:lnTo>
                    <a:pt x="15074" y="6403"/>
                  </a:lnTo>
                  <a:lnTo>
                    <a:pt x="15079" y="6423"/>
                  </a:lnTo>
                  <a:lnTo>
                    <a:pt x="15082" y="6443"/>
                  </a:lnTo>
                  <a:lnTo>
                    <a:pt x="15085" y="6462"/>
                  </a:lnTo>
                  <a:lnTo>
                    <a:pt x="15087" y="6483"/>
                  </a:lnTo>
                  <a:lnTo>
                    <a:pt x="15089" y="6503"/>
                  </a:lnTo>
                  <a:lnTo>
                    <a:pt x="15089" y="6524"/>
                  </a:lnTo>
                  <a:lnTo>
                    <a:pt x="15089" y="7025"/>
                  </a:lnTo>
                  <a:close/>
                  <a:moveTo>
                    <a:pt x="13580" y="15054"/>
                  </a:moveTo>
                  <a:lnTo>
                    <a:pt x="10562" y="15054"/>
                  </a:lnTo>
                  <a:lnTo>
                    <a:pt x="10562" y="10036"/>
                  </a:lnTo>
                  <a:lnTo>
                    <a:pt x="10561" y="10010"/>
                  </a:lnTo>
                  <a:lnTo>
                    <a:pt x="10559" y="9985"/>
                  </a:lnTo>
                  <a:lnTo>
                    <a:pt x="10556" y="9960"/>
                  </a:lnTo>
                  <a:lnTo>
                    <a:pt x="10552" y="9935"/>
                  </a:lnTo>
                  <a:lnTo>
                    <a:pt x="10546" y="9911"/>
                  </a:lnTo>
                  <a:lnTo>
                    <a:pt x="10539" y="9887"/>
                  </a:lnTo>
                  <a:lnTo>
                    <a:pt x="10532" y="9864"/>
                  </a:lnTo>
                  <a:lnTo>
                    <a:pt x="10523" y="9841"/>
                  </a:lnTo>
                  <a:lnTo>
                    <a:pt x="10513" y="9818"/>
                  </a:lnTo>
                  <a:lnTo>
                    <a:pt x="10502" y="9797"/>
                  </a:lnTo>
                  <a:lnTo>
                    <a:pt x="10490" y="9776"/>
                  </a:lnTo>
                  <a:lnTo>
                    <a:pt x="10477" y="9755"/>
                  </a:lnTo>
                  <a:lnTo>
                    <a:pt x="10463" y="9736"/>
                  </a:lnTo>
                  <a:lnTo>
                    <a:pt x="10448" y="9717"/>
                  </a:lnTo>
                  <a:lnTo>
                    <a:pt x="10432" y="9699"/>
                  </a:lnTo>
                  <a:lnTo>
                    <a:pt x="10415" y="9681"/>
                  </a:lnTo>
                  <a:lnTo>
                    <a:pt x="10397" y="9665"/>
                  </a:lnTo>
                  <a:lnTo>
                    <a:pt x="10379" y="9649"/>
                  </a:lnTo>
                  <a:lnTo>
                    <a:pt x="10360" y="9634"/>
                  </a:lnTo>
                  <a:lnTo>
                    <a:pt x="10340" y="9620"/>
                  </a:lnTo>
                  <a:lnTo>
                    <a:pt x="10320" y="9607"/>
                  </a:lnTo>
                  <a:lnTo>
                    <a:pt x="10299" y="9595"/>
                  </a:lnTo>
                  <a:lnTo>
                    <a:pt x="10278" y="9584"/>
                  </a:lnTo>
                  <a:lnTo>
                    <a:pt x="10256" y="9574"/>
                  </a:lnTo>
                  <a:lnTo>
                    <a:pt x="10232" y="9565"/>
                  </a:lnTo>
                  <a:lnTo>
                    <a:pt x="10209" y="9557"/>
                  </a:lnTo>
                  <a:lnTo>
                    <a:pt x="10185" y="9550"/>
                  </a:lnTo>
                  <a:lnTo>
                    <a:pt x="10161" y="9544"/>
                  </a:lnTo>
                  <a:lnTo>
                    <a:pt x="10136" y="9540"/>
                  </a:lnTo>
                  <a:lnTo>
                    <a:pt x="10111" y="9537"/>
                  </a:lnTo>
                  <a:lnTo>
                    <a:pt x="10086" y="9535"/>
                  </a:lnTo>
                  <a:lnTo>
                    <a:pt x="10059" y="9534"/>
                  </a:lnTo>
                  <a:lnTo>
                    <a:pt x="6287" y="9534"/>
                  </a:lnTo>
                  <a:lnTo>
                    <a:pt x="6261" y="9535"/>
                  </a:lnTo>
                  <a:lnTo>
                    <a:pt x="6236" y="9537"/>
                  </a:lnTo>
                  <a:lnTo>
                    <a:pt x="6211" y="9540"/>
                  </a:lnTo>
                  <a:lnTo>
                    <a:pt x="6186" y="9544"/>
                  </a:lnTo>
                  <a:lnTo>
                    <a:pt x="6161" y="9550"/>
                  </a:lnTo>
                  <a:lnTo>
                    <a:pt x="6137" y="9557"/>
                  </a:lnTo>
                  <a:lnTo>
                    <a:pt x="6114" y="9565"/>
                  </a:lnTo>
                  <a:lnTo>
                    <a:pt x="6091" y="9574"/>
                  </a:lnTo>
                  <a:lnTo>
                    <a:pt x="6069" y="9584"/>
                  </a:lnTo>
                  <a:lnTo>
                    <a:pt x="6048" y="9595"/>
                  </a:lnTo>
                  <a:lnTo>
                    <a:pt x="6027" y="9607"/>
                  </a:lnTo>
                  <a:lnTo>
                    <a:pt x="6005" y="9620"/>
                  </a:lnTo>
                  <a:lnTo>
                    <a:pt x="5986" y="9634"/>
                  </a:lnTo>
                  <a:lnTo>
                    <a:pt x="5967" y="9649"/>
                  </a:lnTo>
                  <a:lnTo>
                    <a:pt x="5949" y="9665"/>
                  </a:lnTo>
                  <a:lnTo>
                    <a:pt x="5931" y="9681"/>
                  </a:lnTo>
                  <a:lnTo>
                    <a:pt x="5915" y="9699"/>
                  </a:lnTo>
                  <a:lnTo>
                    <a:pt x="5899" y="9717"/>
                  </a:lnTo>
                  <a:lnTo>
                    <a:pt x="5884" y="9736"/>
                  </a:lnTo>
                  <a:lnTo>
                    <a:pt x="5870" y="9755"/>
                  </a:lnTo>
                  <a:lnTo>
                    <a:pt x="5857" y="9776"/>
                  </a:lnTo>
                  <a:lnTo>
                    <a:pt x="5844" y="9797"/>
                  </a:lnTo>
                  <a:lnTo>
                    <a:pt x="5833" y="9818"/>
                  </a:lnTo>
                  <a:lnTo>
                    <a:pt x="5823" y="9841"/>
                  </a:lnTo>
                  <a:lnTo>
                    <a:pt x="5814" y="9864"/>
                  </a:lnTo>
                  <a:lnTo>
                    <a:pt x="5806" y="9887"/>
                  </a:lnTo>
                  <a:lnTo>
                    <a:pt x="5800" y="9911"/>
                  </a:lnTo>
                  <a:lnTo>
                    <a:pt x="5794" y="9935"/>
                  </a:lnTo>
                  <a:lnTo>
                    <a:pt x="5790" y="9960"/>
                  </a:lnTo>
                  <a:lnTo>
                    <a:pt x="5787" y="9985"/>
                  </a:lnTo>
                  <a:lnTo>
                    <a:pt x="5785" y="10010"/>
                  </a:lnTo>
                  <a:lnTo>
                    <a:pt x="5784" y="10036"/>
                  </a:lnTo>
                  <a:lnTo>
                    <a:pt x="5784" y="15054"/>
                  </a:lnTo>
                  <a:lnTo>
                    <a:pt x="2515" y="15054"/>
                  </a:lnTo>
                  <a:lnTo>
                    <a:pt x="2515" y="8531"/>
                  </a:lnTo>
                  <a:lnTo>
                    <a:pt x="13580" y="8531"/>
                  </a:lnTo>
                  <a:lnTo>
                    <a:pt x="13580" y="15054"/>
                  </a:lnTo>
                  <a:close/>
                  <a:moveTo>
                    <a:pt x="10059" y="15054"/>
                  </a:moveTo>
                  <a:lnTo>
                    <a:pt x="6287" y="15054"/>
                  </a:lnTo>
                  <a:lnTo>
                    <a:pt x="6287" y="10036"/>
                  </a:lnTo>
                  <a:lnTo>
                    <a:pt x="10059" y="10036"/>
                  </a:lnTo>
                  <a:lnTo>
                    <a:pt x="10059" y="15054"/>
                  </a:lnTo>
                  <a:close/>
                  <a:moveTo>
                    <a:pt x="1006" y="7025"/>
                  </a:moveTo>
                  <a:lnTo>
                    <a:pt x="1006" y="6524"/>
                  </a:lnTo>
                  <a:lnTo>
                    <a:pt x="1006" y="6503"/>
                  </a:lnTo>
                  <a:lnTo>
                    <a:pt x="1008" y="6483"/>
                  </a:lnTo>
                  <a:lnTo>
                    <a:pt x="1010" y="6462"/>
                  </a:lnTo>
                  <a:lnTo>
                    <a:pt x="1012" y="6443"/>
                  </a:lnTo>
                  <a:lnTo>
                    <a:pt x="1016" y="6423"/>
                  </a:lnTo>
                  <a:lnTo>
                    <a:pt x="1020" y="6403"/>
                  </a:lnTo>
                  <a:lnTo>
                    <a:pt x="1026" y="6384"/>
                  </a:lnTo>
                  <a:lnTo>
                    <a:pt x="1032" y="6365"/>
                  </a:lnTo>
                  <a:lnTo>
                    <a:pt x="1038" y="6346"/>
                  </a:lnTo>
                  <a:lnTo>
                    <a:pt x="1046" y="6327"/>
                  </a:lnTo>
                  <a:lnTo>
                    <a:pt x="1054" y="6309"/>
                  </a:lnTo>
                  <a:lnTo>
                    <a:pt x="1063" y="6291"/>
                  </a:lnTo>
                  <a:lnTo>
                    <a:pt x="1073" y="6274"/>
                  </a:lnTo>
                  <a:lnTo>
                    <a:pt x="1083" y="6256"/>
                  </a:lnTo>
                  <a:lnTo>
                    <a:pt x="1094" y="6239"/>
                  </a:lnTo>
                  <a:lnTo>
                    <a:pt x="1107" y="6222"/>
                  </a:lnTo>
                  <a:lnTo>
                    <a:pt x="2615" y="4215"/>
                  </a:lnTo>
                  <a:lnTo>
                    <a:pt x="2634" y="4192"/>
                  </a:lnTo>
                  <a:lnTo>
                    <a:pt x="2654" y="4170"/>
                  </a:lnTo>
                  <a:lnTo>
                    <a:pt x="2674" y="4150"/>
                  </a:lnTo>
                  <a:lnTo>
                    <a:pt x="2696" y="4131"/>
                  </a:lnTo>
                  <a:lnTo>
                    <a:pt x="2719" y="4113"/>
                  </a:lnTo>
                  <a:lnTo>
                    <a:pt x="2743" y="4096"/>
                  </a:lnTo>
                  <a:lnTo>
                    <a:pt x="2767" y="4081"/>
                  </a:lnTo>
                  <a:lnTo>
                    <a:pt x="2792" y="4068"/>
                  </a:lnTo>
                  <a:lnTo>
                    <a:pt x="2819" y="4056"/>
                  </a:lnTo>
                  <a:lnTo>
                    <a:pt x="2846" y="4045"/>
                  </a:lnTo>
                  <a:lnTo>
                    <a:pt x="2873" y="4036"/>
                  </a:lnTo>
                  <a:lnTo>
                    <a:pt x="2901" y="4029"/>
                  </a:lnTo>
                  <a:lnTo>
                    <a:pt x="2930" y="4023"/>
                  </a:lnTo>
                  <a:lnTo>
                    <a:pt x="2958" y="4018"/>
                  </a:lnTo>
                  <a:lnTo>
                    <a:pt x="2989" y="4016"/>
                  </a:lnTo>
                  <a:lnTo>
                    <a:pt x="3018" y="4015"/>
                  </a:lnTo>
                  <a:lnTo>
                    <a:pt x="4452" y="4015"/>
                  </a:lnTo>
                  <a:lnTo>
                    <a:pt x="2440" y="7527"/>
                  </a:lnTo>
                  <a:lnTo>
                    <a:pt x="1509" y="7527"/>
                  </a:lnTo>
                  <a:lnTo>
                    <a:pt x="1483" y="7526"/>
                  </a:lnTo>
                  <a:lnTo>
                    <a:pt x="1458" y="7524"/>
                  </a:lnTo>
                  <a:lnTo>
                    <a:pt x="1432" y="7521"/>
                  </a:lnTo>
                  <a:lnTo>
                    <a:pt x="1407" y="7517"/>
                  </a:lnTo>
                  <a:lnTo>
                    <a:pt x="1383" y="7511"/>
                  </a:lnTo>
                  <a:lnTo>
                    <a:pt x="1359" y="7505"/>
                  </a:lnTo>
                  <a:lnTo>
                    <a:pt x="1336" y="7497"/>
                  </a:lnTo>
                  <a:lnTo>
                    <a:pt x="1313" y="7488"/>
                  </a:lnTo>
                  <a:lnTo>
                    <a:pt x="1291" y="7478"/>
                  </a:lnTo>
                  <a:lnTo>
                    <a:pt x="1269" y="7467"/>
                  </a:lnTo>
                  <a:lnTo>
                    <a:pt x="1248" y="7455"/>
                  </a:lnTo>
                  <a:lnTo>
                    <a:pt x="1227" y="7442"/>
                  </a:lnTo>
                  <a:lnTo>
                    <a:pt x="1208" y="7428"/>
                  </a:lnTo>
                  <a:lnTo>
                    <a:pt x="1189" y="7413"/>
                  </a:lnTo>
                  <a:lnTo>
                    <a:pt x="1171" y="7397"/>
                  </a:lnTo>
                  <a:lnTo>
                    <a:pt x="1153" y="7381"/>
                  </a:lnTo>
                  <a:lnTo>
                    <a:pt x="1137" y="7363"/>
                  </a:lnTo>
                  <a:lnTo>
                    <a:pt x="1121" y="7345"/>
                  </a:lnTo>
                  <a:lnTo>
                    <a:pt x="1106" y="7325"/>
                  </a:lnTo>
                  <a:lnTo>
                    <a:pt x="1091" y="7306"/>
                  </a:lnTo>
                  <a:lnTo>
                    <a:pt x="1078" y="7285"/>
                  </a:lnTo>
                  <a:lnTo>
                    <a:pt x="1066" y="7264"/>
                  </a:lnTo>
                  <a:lnTo>
                    <a:pt x="1055" y="7243"/>
                  </a:lnTo>
                  <a:lnTo>
                    <a:pt x="1045" y="7221"/>
                  </a:lnTo>
                  <a:lnTo>
                    <a:pt x="1036" y="7198"/>
                  </a:lnTo>
                  <a:lnTo>
                    <a:pt x="1028" y="7175"/>
                  </a:lnTo>
                  <a:lnTo>
                    <a:pt x="1022" y="7151"/>
                  </a:lnTo>
                  <a:lnTo>
                    <a:pt x="1016" y="7127"/>
                  </a:lnTo>
                  <a:lnTo>
                    <a:pt x="1012" y="7102"/>
                  </a:lnTo>
                  <a:lnTo>
                    <a:pt x="1009" y="7077"/>
                  </a:lnTo>
                  <a:lnTo>
                    <a:pt x="1007" y="7051"/>
                  </a:lnTo>
                  <a:lnTo>
                    <a:pt x="1006" y="7025"/>
                  </a:lnTo>
                  <a:close/>
                  <a:moveTo>
                    <a:pt x="9962" y="4015"/>
                  </a:moveTo>
                  <a:lnTo>
                    <a:pt x="11062" y="4015"/>
                  </a:lnTo>
                  <a:lnTo>
                    <a:pt x="13074" y="7527"/>
                  </a:lnTo>
                  <a:lnTo>
                    <a:pt x="10968" y="7527"/>
                  </a:lnTo>
                  <a:lnTo>
                    <a:pt x="9962" y="4015"/>
                  </a:lnTo>
                  <a:close/>
                  <a:moveTo>
                    <a:pt x="8299" y="4015"/>
                  </a:moveTo>
                  <a:lnTo>
                    <a:pt x="9439" y="4015"/>
                  </a:lnTo>
                  <a:lnTo>
                    <a:pt x="10444" y="7527"/>
                  </a:lnTo>
                  <a:lnTo>
                    <a:pt x="8299" y="7527"/>
                  </a:lnTo>
                  <a:lnTo>
                    <a:pt x="8299" y="4015"/>
                  </a:lnTo>
                  <a:close/>
                  <a:moveTo>
                    <a:pt x="6656" y="4015"/>
                  </a:moveTo>
                  <a:lnTo>
                    <a:pt x="7796" y="4015"/>
                  </a:lnTo>
                  <a:lnTo>
                    <a:pt x="7796" y="7527"/>
                  </a:lnTo>
                  <a:lnTo>
                    <a:pt x="5650" y="7527"/>
                  </a:lnTo>
                  <a:lnTo>
                    <a:pt x="6656" y="4015"/>
                  </a:lnTo>
                  <a:close/>
                  <a:moveTo>
                    <a:pt x="5127" y="7527"/>
                  </a:moveTo>
                  <a:lnTo>
                    <a:pt x="3020" y="7527"/>
                  </a:lnTo>
                  <a:lnTo>
                    <a:pt x="5032" y="4015"/>
                  </a:lnTo>
                  <a:lnTo>
                    <a:pt x="6132" y="4015"/>
                  </a:lnTo>
                  <a:lnTo>
                    <a:pt x="5127" y="7527"/>
                  </a:lnTo>
                  <a:close/>
                  <a:moveTo>
                    <a:pt x="13077" y="1004"/>
                  </a:moveTo>
                  <a:lnTo>
                    <a:pt x="13077" y="3011"/>
                  </a:lnTo>
                  <a:lnTo>
                    <a:pt x="3018" y="3011"/>
                  </a:lnTo>
                  <a:lnTo>
                    <a:pt x="3018" y="1004"/>
                  </a:lnTo>
                  <a:lnTo>
                    <a:pt x="13077" y="1004"/>
                  </a:lnTo>
                  <a:close/>
                  <a:moveTo>
                    <a:pt x="15793" y="5620"/>
                  </a:moveTo>
                  <a:lnTo>
                    <a:pt x="14284" y="3614"/>
                  </a:lnTo>
                  <a:lnTo>
                    <a:pt x="14262" y="3585"/>
                  </a:lnTo>
                  <a:lnTo>
                    <a:pt x="14239" y="3557"/>
                  </a:lnTo>
                  <a:lnTo>
                    <a:pt x="14214" y="3530"/>
                  </a:lnTo>
                  <a:lnTo>
                    <a:pt x="14189" y="3503"/>
                  </a:lnTo>
                  <a:lnTo>
                    <a:pt x="14164" y="3477"/>
                  </a:lnTo>
                  <a:lnTo>
                    <a:pt x="14137" y="3451"/>
                  </a:lnTo>
                  <a:lnTo>
                    <a:pt x="14110" y="3426"/>
                  </a:lnTo>
                  <a:lnTo>
                    <a:pt x="14083" y="3401"/>
                  </a:lnTo>
                  <a:lnTo>
                    <a:pt x="14083" y="1004"/>
                  </a:lnTo>
                  <a:lnTo>
                    <a:pt x="14082" y="952"/>
                  </a:lnTo>
                  <a:lnTo>
                    <a:pt x="14078" y="901"/>
                  </a:lnTo>
                  <a:lnTo>
                    <a:pt x="14072" y="851"/>
                  </a:lnTo>
                  <a:lnTo>
                    <a:pt x="14063" y="802"/>
                  </a:lnTo>
                  <a:lnTo>
                    <a:pt x="14052" y="753"/>
                  </a:lnTo>
                  <a:lnTo>
                    <a:pt x="14038" y="706"/>
                  </a:lnTo>
                  <a:lnTo>
                    <a:pt x="14022" y="658"/>
                  </a:lnTo>
                  <a:lnTo>
                    <a:pt x="14004" y="613"/>
                  </a:lnTo>
                  <a:lnTo>
                    <a:pt x="13984" y="569"/>
                  </a:lnTo>
                  <a:lnTo>
                    <a:pt x="13961" y="526"/>
                  </a:lnTo>
                  <a:lnTo>
                    <a:pt x="13937" y="484"/>
                  </a:lnTo>
                  <a:lnTo>
                    <a:pt x="13911" y="443"/>
                  </a:lnTo>
                  <a:lnTo>
                    <a:pt x="13883" y="403"/>
                  </a:lnTo>
                  <a:lnTo>
                    <a:pt x="13854" y="365"/>
                  </a:lnTo>
                  <a:lnTo>
                    <a:pt x="13822" y="329"/>
                  </a:lnTo>
                  <a:lnTo>
                    <a:pt x="13788" y="294"/>
                  </a:lnTo>
                  <a:lnTo>
                    <a:pt x="13753" y="261"/>
                  </a:lnTo>
                  <a:lnTo>
                    <a:pt x="13717" y="229"/>
                  </a:lnTo>
                  <a:lnTo>
                    <a:pt x="13679" y="200"/>
                  </a:lnTo>
                  <a:lnTo>
                    <a:pt x="13640" y="172"/>
                  </a:lnTo>
                  <a:lnTo>
                    <a:pt x="13598" y="146"/>
                  </a:lnTo>
                  <a:lnTo>
                    <a:pt x="13557" y="121"/>
                  </a:lnTo>
                  <a:lnTo>
                    <a:pt x="13513" y="99"/>
                  </a:lnTo>
                  <a:lnTo>
                    <a:pt x="13468" y="79"/>
                  </a:lnTo>
                  <a:lnTo>
                    <a:pt x="13423" y="61"/>
                  </a:lnTo>
                  <a:lnTo>
                    <a:pt x="13376" y="45"/>
                  </a:lnTo>
                  <a:lnTo>
                    <a:pt x="13329" y="32"/>
                  </a:lnTo>
                  <a:lnTo>
                    <a:pt x="13279" y="20"/>
                  </a:lnTo>
                  <a:lnTo>
                    <a:pt x="13230" y="12"/>
                  </a:lnTo>
                  <a:lnTo>
                    <a:pt x="13180" y="5"/>
                  </a:lnTo>
                  <a:lnTo>
                    <a:pt x="13128" y="1"/>
                  </a:lnTo>
                  <a:lnTo>
                    <a:pt x="13077" y="0"/>
                  </a:lnTo>
                  <a:lnTo>
                    <a:pt x="3018" y="0"/>
                  </a:lnTo>
                  <a:lnTo>
                    <a:pt x="2967" y="1"/>
                  </a:lnTo>
                  <a:lnTo>
                    <a:pt x="2915" y="5"/>
                  </a:lnTo>
                  <a:lnTo>
                    <a:pt x="2865" y="12"/>
                  </a:lnTo>
                  <a:lnTo>
                    <a:pt x="2815" y="20"/>
                  </a:lnTo>
                  <a:lnTo>
                    <a:pt x="2766" y="32"/>
                  </a:lnTo>
                  <a:lnTo>
                    <a:pt x="2718" y="45"/>
                  </a:lnTo>
                  <a:lnTo>
                    <a:pt x="2672" y="61"/>
                  </a:lnTo>
                  <a:lnTo>
                    <a:pt x="2627" y="79"/>
                  </a:lnTo>
                  <a:lnTo>
                    <a:pt x="2581" y="99"/>
                  </a:lnTo>
                  <a:lnTo>
                    <a:pt x="2538" y="121"/>
                  </a:lnTo>
                  <a:lnTo>
                    <a:pt x="2496" y="146"/>
                  </a:lnTo>
                  <a:lnTo>
                    <a:pt x="2455" y="172"/>
                  </a:lnTo>
                  <a:lnTo>
                    <a:pt x="2416" y="200"/>
                  </a:lnTo>
                  <a:lnTo>
                    <a:pt x="2378" y="229"/>
                  </a:lnTo>
                  <a:lnTo>
                    <a:pt x="2341" y="261"/>
                  </a:lnTo>
                  <a:lnTo>
                    <a:pt x="2307" y="294"/>
                  </a:lnTo>
                  <a:lnTo>
                    <a:pt x="2273" y="329"/>
                  </a:lnTo>
                  <a:lnTo>
                    <a:pt x="2241" y="365"/>
                  </a:lnTo>
                  <a:lnTo>
                    <a:pt x="2212" y="403"/>
                  </a:lnTo>
                  <a:lnTo>
                    <a:pt x="2184" y="443"/>
                  </a:lnTo>
                  <a:lnTo>
                    <a:pt x="2158" y="484"/>
                  </a:lnTo>
                  <a:lnTo>
                    <a:pt x="2134" y="526"/>
                  </a:lnTo>
                  <a:lnTo>
                    <a:pt x="2111" y="569"/>
                  </a:lnTo>
                  <a:lnTo>
                    <a:pt x="2091" y="613"/>
                  </a:lnTo>
                  <a:lnTo>
                    <a:pt x="2073" y="658"/>
                  </a:lnTo>
                  <a:lnTo>
                    <a:pt x="2057" y="706"/>
                  </a:lnTo>
                  <a:lnTo>
                    <a:pt x="2043" y="753"/>
                  </a:lnTo>
                  <a:lnTo>
                    <a:pt x="2032" y="802"/>
                  </a:lnTo>
                  <a:lnTo>
                    <a:pt x="2023" y="851"/>
                  </a:lnTo>
                  <a:lnTo>
                    <a:pt x="2017" y="901"/>
                  </a:lnTo>
                  <a:lnTo>
                    <a:pt x="2013" y="952"/>
                  </a:lnTo>
                  <a:lnTo>
                    <a:pt x="2012" y="1004"/>
                  </a:lnTo>
                  <a:lnTo>
                    <a:pt x="2012" y="3402"/>
                  </a:lnTo>
                  <a:lnTo>
                    <a:pt x="1985" y="3426"/>
                  </a:lnTo>
                  <a:lnTo>
                    <a:pt x="1959" y="3451"/>
                  </a:lnTo>
                  <a:lnTo>
                    <a:pt x="1931" y="3477"/>
                  </a:lnTo>
                  <a:lnTo>
                    <a:pt x="1906" y="3503"/>
                  </a:lnTo>
                  <a:lnTo>
                    <a:pt x="1881" y="3529"/>
                  </a:lnTo>
                  <a:lnTo>
                    <a:pt x="1857" y="3556"/>
                  </a:lnTo>
                  <a:lnTo>
                    <a:pt x="1833" y="3584"/>
                  </a:lnTo>
                  <a:lnTo>
                    <a:pt x="1811" y="3613"/>
                  </a:lnTo>
                  <a:lnTo>
                    <a:pt x="303" y="5619"/>
                  </a:lnTo>
                  <a:lnTo>
                    <a:pt x="285" y="5644"/>
                  </a:lnTo>
                  <a:lnTo>
                    <a:pt x="268" y="5669"/>
                  </a:lnTo>
                  <a:lnTo>
                    <a:pt x="250" y="5695"/>
                  </a:lnTo>
                  <a:lnTo>
                    <a:pt x="233" y="5720"/>
                  </a:lnTo>
                  <a:lnTo>
                    <a:pt x="217" y="5746"/>
                  </a:lnTo>
                  <a:lnTo>
                    <a:pt x="202" y="5772"/>
                  </a:lnTo>
                  <a:lnTo>
                    <a:pt x="187" y="5798"/>
                  </a:lnTo>
                  <a:lnTo>
                    <a:pt x="173" y="5825"/>
                  </a:lnTo>
                  <a:lnTo>
                    <a:pt x="159" y="5851"/>
                  </a:lnTo>
                  <a:lnTo>
                    <a:pt x="146" y="5879"/>
                  </a:lnTo>
                  <a:lnTo>
                    <a:pt x="133" y="5906"/>
                  </a:lnTo>
                  <a:lnTo>
                    <a:pt x="121" y="5934"/>
                  </a:lnTo>
                  <a:lnTo>
                    <a:pt x="110" y="5962"/>
                  </a:lnTo>
                  <a:lnTo>
                    <a:pt x="99" y="5991"/>
                  </a:lnTo>
                  <a:lnTo>
                    <a:pt x="88" y="6019"/>
                  </a:lnTo>
                  <a:lnTo>
                    <a:pt x="78" y="6047"/>
                  </a:lnTo>
                  <a:lnTo>
                    <a:pt x="68" y="6076"/>
                  </a:lnTo>
                  <a:lnTo>
                    <a:pt x="60" y="6105"/>
                  </a:lnTo>
                  <a:lnTo>
                    <a:pt x="51" y="6134"/>
                  </a:lnTo>
                  <a:lnTo>
                    <a:pt x="44" y="6163"/>
                  </a:lnTo>
                  <a:lnTo>
                    <a:pt x="37" y="6193"/>
                  </a:lnTo>
                  <a:lnTo>
                    <a:pt x="31" y="6222"/>
                  </a:lnTo>
                  <a:lnTo>
                    <a:pt x="25" y="6253"/>
                  </a:lnTo>
                  <a:lnTo>
                    <a:pt x="20" y="6282"/>
                  </a:lnTo>
                  <a:lnTo>
                    <a:pt x="15" y="6312"/>
                  </a:lnTo>
                  <a:lnTo>
                    <a:pt x="11" y="6342"/>
                  </a:lnTo>
                  <a:lnTo>
                    <a:pt x="8" y="6372"/>
                  </a:lnTo>
                  <a:lnTo>
                    <a:pt x="5" y="6402"/>
                  </a:lnTo>
                  <a:lnTo>
                    <a:pt x="3" y="6432"/>
                  </a:lnTo>
                  <a:lnTo>
                    <a:pt x="1" y="6463"/>
                  </a:lnTo>
                  <a:lnTo>
                    <a:pt x="0" y="6493"/>
                  </a:lnTo>
                  <a:lnTo>
                    <a:pt x="0" y="6524"/>
                  </a:lnTo>
                  <a:lnTo>
                    <a:pt x="0" y="7025"/>
                  </a:lnTo>
                  <a:lnTo>
                    <a:pt x="2" y="7103"/>
                  </a:lnTo>
                  <a:lnTo>
                    <a:pt x="8" y="7179"/>
                  </a:lnTo>
                  <a:lnTo>
                    <a:pt x="17" y="7254"/>
                  </a:lnTo>
                  <a:lnTo>
                    <a:pt x="31" y="7328"/>
                  </a:lnTo>
                  <a:lnTo>
                    <a:pt x="47" y="7401"/>
                  </a:lnTo>
                  <a:lnTo>
                    <a:pt x="68" y="7473"/>
                  </a:lnTo>
                  <a:lnTo>
                    <a:pt x="92" y="7542"/>
                  </a:lnTo>
                  <a:lnTo>
                    <a:pt x="119" y="7610"/>
                  </a:lnTo>
                  <a:lnTo>
                    <a:pt x="149" y="7678"/>
                  </a:lnTo>
                  <a:lnTo>
                    <a:pt x="182" y="7742"/>
                  </a:lnTo>
                  <a:lnTo>
                    <a:pt x="218" y="7805"/>
                  </a:lnTo>
                  <a:lnTo>
                    <a:pt x="259" y="7866"/>
                  </a:lnTo>
                  <a:lnTo>
                    <a:pt x="300" y="7926"/>
                  </a:lnTo>
                  <a:lnTo>
                    <a:pt x="345" y="7983"/>
                  </a:lnTo>
                  <a:lnTo>
                    <a:pt x="392" y="8037"/>
                  </a:lnTo>
                  <a:lnTo>
                    <a:pt x="443" y="8089"/>
                  </a:lnTo>
                  <a:lnTo>
                    <a:pt x="495" y="8139"/>
                  </a:lnTo>
                  <a:lnTo>
                    <a:pt x="549" y="8187"/>
                  </a:lnTo>
                  <a:lnTo>
                    <a:pt x="607" y="8232"/>
                  </a:lnTo>
                  <a:lnTo>
                    <a:pt x="666" y="8273"/>
                  </a:lnTo>
                  <a:lnTo>
                    <a:pt x="727" y="8313"/>
                  </a:lnTo>
                  <a:lnTo>
                    <a:pt x="791" y="8349"/>
                  </a:lnTo>
                  <a:lnTo>
                    <a:pt x="855" y="8382"/>
                  </a:lnTo>
                  <a:lnTo>
                    <a:pt x="922" y="8412"/>
                  </a:lnTo>
                  <a:lnTo>
                    <a:pt x="991" y="8439"/>
                  </a:lnTo>
                  <a:lnTo>
                    <a:pt x="1060" y="8464"/>
                  </a:lnTo>
                  <a:lnTo>
                    <a:pt x="1133" y="8484"/>
                  </a:lnTo>
                  <a:lnTo>
                    <a:pt x="1205" y="8501"/>
                  </a:lnTo>
                  <a:lnTo>
                    <a:pt x="1280" y="8514"/>
                  </a:lnTo>
                  <a:lnTo>
                    <a:pt x="1355" y="8523"/>
                  </a:lnTo>
                  <a:lnTo>
                    <a:pt x="1431" y="8529"/>
                  </a:lnTo>
                  <a:lnTo>
                    <a:pt x="1509" y="8531"/>
                  </a:lnTo>
                  <a:lnTo>
                    <a:pt x="1509" y="15054"/>
                  </a:lnTo>
                  <a:lnTo>
                    <a:pt x="1510" y="15106"/>
                  </a:lnTo>
                  <a:lnTo>
                    <a:pt x="1514" y="15157"/>
                  </a:lnTo>
                  <a:lnTo>
                    <a:pt x="1520" y="15207"/>
                  </a:lnTo>
                  <a:lnTo>
                    <a:pt x="1529" y="15257"/>
                  </a:lnTo>
                  <a:lnTo>
                    <a:pt x="1540" y="15305"/>
                  </a:lnTo>
                  <a:lnTo>
                    <a:pt x="1554" y="15352"/>
                  </a:lnTo>
                  <a:lnTo>
                    <a:pt x="1570" y="15400"/>
                  </a:lnTo>
                  <a:lnTo>
                    <a:pt x="1588" y="15445"/>
                  </a:lnTo>
                  <a:lnTo>
                    <a:pt x="1608" y="15489"/>
                  </a:lnTo>
                  <a:lnTo>
                    <a:pt x="1631" y="15533"/>
                  </a:lnTo>
                  <a:lnTo>
                    <a:pt x="1655" y="15574"/>
                  </a:lnTo>
                  <a:lnTo>
                    <a:pt x="1681" y="15615"/>
                  </a:lnTo>
                  <a:lnTo>
                    <a:pt x="1709" y="15655"/>
                  </a:lnTo>
                  <a:lnTo>
                    <a:pt x="1738" y="15693"/>
                  </a:lnTo>
                  <a:lnTo>
                    <a:pt x="1770" y="15729"/>
                  </a:lnTo>
                  <a:lnTo>
                    <a:pt x="1804" y="15764"/>
                  </a:lnTo>
                  <a:lnTo>
                    <a:pt x="1839" y="15797"/>
                  </a:lnTo>
                  <a:lnTo>
                    <a:pt x="1875" y="15829"/>
                  </a:lnTo>
                  <a:lnTo>
                    <a:pt x="1913" y="15858"/>
                  </a:lnTo>
                  <a:lnTo>
                    <a:pt x="1953" y="15886"/>
                  </a:lnTo>
                  <a:lnTo>
                    <a:pt x="1993" y="15912"/>
                  </a:lnTo>
                  <a:lnTo>
                    <a:pt x="2035" y="15937"/>
                  </a:lnTo>
                  <a:lnTo>
                    <a:pt x="2078" y="15959"/>
                  </a:lnTo>
                  <a:lnTo>
                    <a:pt x="2124" y="15979"/>
                  </a:lnTo>
                  <a:lnTo>
                    <a:pt x="2169" y="15997"/>
                  </a:lnTo>
                  <a:lnTo>
                    <a:pt x="2216" y="16013"/>
                  </a:lnTo>
                  <a:lnTo>
                    <a:pt x="2263" y="16026"/>
                  </a:lnTo>
                  <a:lnTo>
                    <a:pt x="2312" y="16038"/>
                  </a:lnTo>
                  <a:lnTo>
                    <a:pt x="2362" y="16046"/>
                  </a:lnTo>
                  <a:lnTo>
                    <a:pt x="2412" y="16053"/>
                  </a:lnTo>
                  <a:lnTo>
                    <a:pt x="2464" y="16057"/>
                  </a:lnTo>
                  <a:lnTo>
                    <a:pt x="2515" y="16058"/>
                  </a:lnTo>
                  <a:lnTo>
                    <a:pt x="13580" y="16058"/>
                  </a:lnTo>
                  <a:lnTo>
                    <a:pt x="13632" y="16057"/>
                  </a:lnTo>
                  <a:lnTo>
                    <a:pt x="13683" y="16053"/>
                  </a:lnTo>
                  <a:lnTo>
                    <a:pt x="13733" y="16046"/>
                  </a:lnTo>
                  <a:lnTo>
                    <a:pt x="13782" y="16038"/>
                  </a:lnTo>
                  <a:lnTo>
                    <a:pt x="13832" y="16026"/>
                  </a:lnTo>
                  <a:lnTo>
                    <a:pt x="13879" y="16013"/>
                  </a:lnTo>
                  <a:lnTo>
                    <a:pt x="13926" y="15997"/>
                  </a:lnTo>
                  <a:lnTo>
                    <a:pt x="13971" y="15979"/>
                  </a:lnTo>
                  <a:lnTo>
                    <a:pt x="14016" y="15959"/>
                  </a:lnTo>
                  <a:lnTo>
                    <a:pt x="14060" y="15937"/>
                  </a:lnTo>
                  <a:lnTo>
                    <a:pt x="14101" y="15912"/>
                  </a:lnTo>
                  <a:lnTo>
                    <a:pt x="14142" y="15886"/>
                  </a:lnTo>
                  <a:lnTo>
                    <a:pt x="14182" y="15858"/>
                  </a:lnTo>
                  <a:lnTo>
                    <a:pt x="14220" y="15829"/>
                  </a:lnTo>
                  <a:lnTo>
                    <a:pt x="14256" y="15797"/>
                  </a:lnTo>
                  <a:lnTo>
                    <a:pt x="14291" y="15764"/>
                  </a:lnTo>
                  <a:lnTo>
                    <a:pt x="14325" y="15729"/>
                  </a:lnTo>
                  <a:lnTo>
                    <a:pt x="14356" y="15693"/>
                  </a:lnTo>
                  <a:lnTo>
                    <a:pt x="14386" y="15655"/>
                  </a:lnTo>
                  <a:lnTo>
                    <a:pt x="14414" y="15615"/>
                  </a:lnTo>
                  <a:lnTo>
                    <a:pt x="14440" y="15574"/>
                  </a:lnTo>
                  <a:lnTo>
                    <a:pt x="14464" y="15533"/>
                  </a:lnTo>
                  <a:lnTo>
                    <a:pt x="14487" y="15489"/>
                  </a:lnTo>
                  <a:lnTo>
                    <a:pt x="14507" y="15445"/>
                  </a:lnTo>
                  <a:lnTo>
                    <a:pt x="14525" y="15400"/>
                  </a:lnTo>
                  <a:lnTo>
                    <a:pt x="14541" y="15352"/>
                  </a:lnTo>
                  <a:lnTo>
                    <a:pt x="14554" y="15305"/>
                  </a:lnTo>
                  <a:lnTo>
                    <a:pt x="14566" y="15257"/>
                  </a:lnTo>
                  <a:lnTo>
                    <a:pt x="14574" y="15207"/>
                  </a:lnTo>
                  <a:lnTo>
                    <a:pt x="14581" y="15157"/>
                  </a:lnTo>
                  <a:lnTo>
                    <a:pt x="14585" y="15106"/>
                  </a:lnTo>
                  <a:lnTo>
                    <a:pt x="14586" y="15054"/>
                  </a:lnTo>
                  <a:lnTo>
                    <a:pt x="14586" y="8531"/>
                  </a:lnTo>
                  <a:lnTo>
                    <a:pt x="14664" y="8529"/>
                  </a:lnTo>
                  <a:lnTo>
                    <a:pt x="14740" y="8523"/>
                  </a:lnTo>
                  <a:lnTo>
                    <a:pt x="14815" y="8514"/>
                  </a:lnTo>
                  <a:lnTo>
                    <a:pt x="14890" y="8501"/>
                  </a:lnTo>
                  <a:lnTo>
                    <a:pt x="14962" y="8484"/>
                  </a:lnTo>
                  <a:lnTo>
                    <a:pt x="15034" y="8464"/>
                  </a:lnTo>
                  <a:lnTo>
                    <a:pt x="15104" y="8439"/>
                  </a:lnTo>
                  <a:lnTo>
                    <a:pt x="15173" y="8412"/>
                  </a:lnTo>
                  <a:lnTo>
                    <a:pt x="15240" y="8382"/>
                  </a:lnTo>
                  <a:lnTo>
                    <a:pt x="15304" y="8349"/>
                  </a:lnTo>
                  <a:lnTo>
                    <a:pt x="15368" y="8313"/>
                  </a:lnTo>
                  <a:lnTo>
                    <a:pt x="15429" y="8273"/>
                  </a:lnTo>
                  <a:lnTo>
                    <a:pt x="15488" y="8232"/>
                  </a:lnTo>
                  <a:lnTo>
                    <a:pt x="15545" y="8187"/>
                  </a:lnTo>
                  <a:lnTo>
                    <a:pt x="15600" y="8139"/>
                  </a:lnTo>
                  <a:lnTo>
                    <a:pt x="15652" y="8089"/>
                  </a:lnTo>
                  <a:lnTo>
                    <a:pt x="15703" y="8037"/>
                  </a:lnTo>
                  <a:lnTo>
                    <a:pt x="15750" y="7983"/>
                  </a:lnTo>
                  <a:lnTo>
                    <a:pt x="15795" y="7926"/>
                  </a:lnTo>
                  <a:lnTo>
                    <a:pt x="15836" y="7866"/>
                  </a:lnTo>
                  <a:lnTo>
                    <a:pt x="15876" y="7805"/>
                  </a:lnTo>
                  <a:lnTo>
                    <a:pt x="15913" y="7742"/>
                  </a:lnTo>
                  <a:lnTo>
                    <a:pt x="15946" y="7678"/>
                  </a:lnTo>
                  <a:lnTo>
                    <a:pt x="15976" y="7610"/>
                  </a:lnTo>
                  <a:lnTo>
                    <a:pt x="16003" y="7542"/>
                  </a:lnTo>
                  <a:lnTo>
                    <a:pt x="16027" y="7473"/>
                  </a:lnTo>
                  <a:lnTo>
                    <a:pt x="16048" y="7401"/>
                  </a:lnTo>
                  <a:lnTo>
                    <a:pt x="16064" y="7328"/>
                  </a:lnTo>
                  <a:lnTo>
                    <a:pt x="16078" y="7254"/>
                  </a:lnTo>
                  <a:lnTo>
                    <a:pt x="16087" y="7179"/>
                  </a:lnTo>
                  <a:lnTo>
                    <a:pt x="16093" y="7103"/>
                  </a:lnTo>
                  <a:lnTo>
                    <a:pt x="16095" y="7025"/>
                  </a:lnTo>
                  <a:lnTo>
                    <a:pt x="16095" y="6524"/>
                  </a:lnTo>
                  <a:lnTo>
                    <a:pt x="16095" y="6493"/>
                  </a:lnTo>
                  <a:lnTo>
                    <a:pt x="16094" y="6463"/>
                  </a:lnTo>
                  <a:lnTo>
                    <a:pt x="16092" y="6432"/>
                  </a:lnTo>
                  <a:lnTo>
                    <a:pt x="16090" y="6402"/>
                  </a:lnTo>
                  <a:lnTo>
                    <a:pt x="16087" y="6372"/>
                  </a:lnTo>
                  <a:lnTo>
                    <a:pt x="16084" y="6342"/>
                  </a:lnTo>
                  <a:lnTo>
                    <a:pt x="16080" y="6312"/>
                  </a:lnTo>
                  <a:lnTo>
                    <a:pt x="16075" y="6282"/>
                  </a:lnTo>
                  <a:lnTo>
                    <a:pt x="16070" y="6253"/>
                  </a:lnTo>
                  <a:lnTo>
                    <a:pt x="16064" y="6222"/>
                  </a:lnTo>
                  <a:lnTo>
                    <a:pt x="16058" y="6193"/>
                  </a:lnTo>
                  <a:lnTo>
                    <a:pt x="16051" y="6163"/>
                  </a:lnTo>
                  <a:lnTo>
                    <a:pt x="16044" y="6134"/>
                  </a:lnTo>
                  <a:lnTo>
                    <a:pt x="16035" y="6105"/>
                  </a:lnTo>
                  <a:lnTo>
                    <a:pt x="16027" y="6076"/>
                  </a:lnTo>
                  <a:lnTo>
                    <a:pt x="16018" y="6047"/>
                  </a:lnTo>
                  <a:lnTo>
                    <a:pt x="16007" y="6019"/>
                  </a:lnTo>
                  <a:lnTo>
                    <a:pt x="15996" y="5991"/>
                  </a:lnTo>
                  <a:lnTo>
                    <a:pt x="15985" y="5963"/>
                  </a:lnTo>
                  <a:lnTo>
                    <a:pt x="15974" y="5934"/>
                  </a:lnTo>
                  <a:lnTo>
                    <a:pt x="15962" y="5906"/>
                  </a:lnTo>
                  <a:lnTo>
                    <a:pt x="15949" y="5879"/>
                  </a:lnTo>
                  <a:lnTo>
                    <a:pt x="15936" y="5852"/>
                  </a:lnTo>
                  <a:lnTo>
                    <a:pt x="15922" y="5825"/>
                  </a:lnTo>
                  <a:lnTo>
                    <a:pt x="15908" y="5798"/>
                  </a:lnTo>
                  <a:lnTo>
                    <a:pt x="15893" y="5772"/>
                  </a:lnTo>
                  <a:lnTo>
                    <a:pt x="15878" y="5746"/>
                  </a:lnTo>
                  <a:lnTo>
                    <a:pt x="15862" y="5720"/>
                  </a:lnTo>
                  <a:lnTo>
                    <a:pt x="15846" y="5695"/>
                  </a:lnTo>
                  <a:lnTo>
                    <a:pt x="15828" y="5669"/>
                  </a:lnTo>
                  <a:lnTo>
                    <a:pt x="15811" y="5644"/>
                  </a:lnTo>
                  <a:lnTo>
                    <a:pt x="15793" y="56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45" name="îśļîďè">
              <a:extLst>
                <a:ext uri="{FF2B5EF4-FFF2-40B4-BE49-F238E27FC236}">
                  <a16:creationId xmlns:a16="http://schemas.microsoft.com/office/drawing/2014/main" id="{8F9BEEF4-0DB9-4FA8-8857-261692874752}"/>
                </a:ext>
              </a:extLst>
            </p:cNvPr>
            <p:cNvSpPr/>
            <p:nvPr/>
          </p:nvSpPr>
          <p:spPr bwMode="auto">
            <a:xfrm>
              <a:off x="3700087" y="1717618"/>
              <a:ext cx="325956" cy="295234"/>
            </a:xfrm>
            <a:custGeom>
              <a:avLst/>
              <a:gdLst>
                <a:gd name="T0" fmla="*/ 13271 w 16095"/>
                <a:gd name="T1" fmla="*/ 332 h 14578"/>
                <a:gd name="T2" fmla="*/ 11351 w 16095"/>
                <a:gd name="T3" fmla="*/ 5 h 14578"/>
                <a:gd name="T4" fmla="*/ 9463 w 16095"/>
                <a:gd name="T5" fmla="*/ 518 h 14578"/>
                <a:gd name="T6" fmla="*/ 789 w 16095"/>
                <a:gd name="T7" fmla="*/ 8840 h 14578"/>
                <a:gd name="T8" fmla="*/ 101 w 16095"/>
                <a:gd name="T9" fmla="*/ 10223 h 14578"/>
                <a:gd name="T10" fmla="*/ 64 w 16095"/>
                <a:gd name="T11" fmla="*/ 11733 h 14578"/>
                <a:gd name="T12" fmla="*/ 680 w 16095"/>
                <a:gd name="T13" fmla="*/ 13142 h 14578"/>
                <a:gd name="T14" fmla="*/ 1881 w 16095"/>
                <a:gd name="T15" fmla="*/ 14176 h 14578"/>
                <a:gd name="T16" fmla="*/ 3350 w 16095"/>
                <a:gd name="T17" fmla="*/ 14574 h 14578"/>
                <a:gd name="T18" fmla="*/ 4844 w 16095"/>
                <a:gd name="T19" fmla="*/ 14321 h 14578"/>
                <a:gd name="T20" fmla="*/ 13346 w 16095"/>
                <a:gd name="T21" fmla="*/ 6301 h 14578"/>
                <a:gd name="T22" fmla="*/ 13942 w 16095"/>
                <a:gd name="T23" fmla="*/ 5355 h 14578"/>
                <a:gd name="T24" fmla="*/ 14071 w 16095"/>
                <a:gd name="T25" fmla="*/ 4284 h 14578"/>
                <a:gd name="T26" fmla="*/ 13735 w 16095"/>
                <a:gd name="T27" fmla="*/ 3247 h 14578"/>
                <a:gd name="T28" fmla="*/ 12951 w 16095"/>
                <a:gd name="T29" fmla="*/ 2425 h 14578"/>
                <a:gd name="T30" fmla="*/ 11928 w 16095"/>
                <a:gd name="T31" fmla="*/ 2037 h 14578"/>
                <a:gd name="T32" fmla="*/ 10852 w 16095"/>
                <a:gd name="T33" fmla="*/ 2115 h 14578"/>
                <a:gd name="T34" fmla="*/ 9884 w 16095"/>
                <a:gd name="T35" fmla="*/ 2658 h 14578"/>
                <a:gd name="T36" fmla="*/ 4173 w 16095"/>
                <a:gd name="T37" fmla="*/ 8404 h 14578"/>
                <a:gd name="T38" fmla="*/ 4125 w 16095"/>
                <a:gd name="T39" fmla="*/ 8617 h 14578"/>
                <a:gd name="T40" fmla="*/ 4173 w 16095"/>
                <a:gd name="T41" fmla="*/ 8828 h 14578"/>
                <a:gd name="T42" fmla="*/ 4311 w 16095"/>
                <a:gd name="T43" fmla="*/ 9007 h 14578"/>
                <a:gd name="T44" fmla="*/ 4509 w 16095"/>
                <a:gd name="T45" fmla="*/ 9105 h 14578"/>
                <a:gd name="T46" fmla="*/ 4725 w 16095"/>
                <a:gd name="T47" fmla="*/ 9110 h 14578"/>
                <a:gd name="T48" fmla="*/ 4926 w 16095"/>
                <a:gd name="T49" fmla="*/ 9022 h 14578"/>
                <a:gd name="T50" fmla="*/ 10802 w 16095"/>
                <a:gd name="T51" fmla="*/ 3226 h 14578"/>
                <a:gd name="T52" fmla="*/ 11423 w 16095"/>
                <a:gd name="T53" fmla="*/ 3024 h 14578"/>
                <a:gd name="T54" fmla="*/ 12067 w 16095"/>
                <a:gd name="T55" fmla="*/ 3101 h 14578"/>
                <a:gd name="T56" fmla="*/ 12635 w 16095"/>
                <a:gd name="T57" fmla="*/ 3458 h 14578"/>
                <a:gd name="T58" fmla="*/ 12992 w 16095"/>
                <a:gd name="T59" fmla="*/ 4025 h 14578"/>
                <a:gd name="T60" fmla="*/ 13069 w 16095"/>
                <a:gd name="T61" fmla="*/ 4669 h 14578"/>
                <a:gd name="T62" fmla="*/ 12868 w 16095"/>
                <a:gd name="T63" fmla="*/ 5291 h 14578"/>
                <a:gd name="T64" fmla="*/ 5006 w 16095"/>
                <a:gd name="T65" fmla="*/ 13088 h 14578"/>
                <a:gd name="T66" fmla="*/ 3999 w 16095"/>
                <a:gd name="T67" fmla="*/ 13528 h 14578"/>
                <a:gd name="T68" fmla="*/ 2920 w 16095"/>
                <a:gd name="T69" fmla="*/ 13502 h 14578"/>
                <a:gd name="T70" fmla="*/ 1931 w 16095"/>
                <a:gd name="T71" fmla="*/ 13011 h 14578"/>
                <a:gd name="T72" fmla="*/ 1237 w 16095"/>
                <a:gd name="T73" fmla="*/ 12119 h 14578"/>
                <a:gd name="T74" fmla="*/ 1004 w 16095"/>
                <a:gd name="T75" fmla="*/ 11060 h 14578"/>
                <a:gd name="T76" fmla="*/ 1237 w 16095"/>
                <a:gd name="T77" fmla="*/ 10003 h 14578"/>
                <a:gd name="T78" fmla="*/ 9139 w 16095"/>
                <a:gd name="T79" fmla="*/ 1982 h 14578"/>
                <a:gd name="T80" fmla="*/ 10495 w 16095"/>
                <a:gd name="T81" fmla="*/ 1221 h 14578"/>
                <a:gd name="T82" fmla="*/ 12003 w 16095"/>
                <a:gd name="T83" fmla="*/ 1113 h 14578"/>
                <a:gd name="T84" fmla="*/ 13433 w 16095"/>
                <a:gd name="T85" fmla="*/ 1657 h 14578"/>
                <a:gd name="T86" fmla="*/ 14530 w 16095"/>
                <a:gd name="T87" fmla="*/ 2808 h 14578"/>
                <a:gd name="T88" fmla="*/ 15002 w 16095"/>
                <a:gd name="T89" fmla="*/ 4258 h 14578"/>
                <a:gd name="T90" fmla="*/ 14820 w 16095"/>
                <a:gd name="T91" fmla="*/ 5759 h 14578"/>
                <a:gd name="T92" fmla="*/ 13987 w 16095"/>
                <a:gd name="T93" fmla="*/ 7083 h 14578"/>
                <a:gd name="T94" fmla="*/ 8431 w 16095"/>
                <a:gd name="T95" fmla="*/ 12692 h 14578"/>
                <a:gd name="T96" fmla="*/ 8395 w 16095"/>
                <a:gd name="T97" fmla="*/ 12905 h 14578"/>
                <a:gd name="T98" fmla="*/ 8451 w 16095"/>
                <a:gd name="T99" fmla="*/ 13115 h 14578"/>
                <a:gd name="T100" fmla="*/ 8600 w 16095"/>
                <a:gd name="T101" fmla="*/ 13286 h 14578"/>
                <a:gd name="T102" fmla="*/ 8801 w 16095"/>
                <a:gd name="T103" fmla="*/ 13375 h 14578"/>
                <a:gd name="T104" fmla="*/ 9017 w 16095"/>
                <a:gd name="T105" fmla="*/ 13370 h 14578"/>
                <a:gd name="T106" fmla="*/ 9214 w 16095"/>
                <a:gd name="T107" fmla="*/ 13271 h 14578"/>
                <a:gd name="T108" fmla="*/ 15577 w 16095"/>
                <a:gd name="T109" fmla="*/ 6628 h 14578"/>
                <a:gd name="T110" fmla="*/ 16090 w 16095"/>
                <a:gd name="T111" fmla="*/ 4742 h 14578"/>
                <a:gd name="T112" fmla="*/ 15763 w 16095"/>
                <a:gd name="T113" fmla="*/ 2822 h 14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4578">
                  <a:moveTo>
                    <a:pt x="14768" y="1326"/>
                  </a:moveTo>
                  <a:lnTo>
                    <a:pt x="14600" y="1165"/>
                  </a:lnTo>
                  <a:lnTo>
                    <a:pt x="14425" y="1015"/>
                  </a:lnTo>
                  <a:lnTo>
                    <a:pt x="14244" y="875"/>
                  </a:lnTo>
                  <a:lnTo>
                    <a:pt x="14059" y="746"/>
                  </a:lnTo>
                  <a:lnTo>
                    <a:pt x="13868" y="626"/>
                  </a:lnTo>
                  <a:lnTo>
                    <a:pt x="13673" y="518"/>
                  </a:lnTo>
                  <a:lnTo>
                    <a:pt x="13474" y="419"/>
                  </a:lnTo>
                  <a:lnTo>
                    <a:pt x="13271" y="332"/>
                  </a:lnTo>
                  <a:lnTo>
                    <a:pt x="13065" y="253"/>
                  </a:lnTo>
                  <a:lnTo>
                    <a:pt x="12857" y="187"/>
                  </a:lnTo>
                  <a:lnTo>
                    <a:pt x="12646" y="130"/>
                  </a:lnTo>
                  <a:lnTo>
                    <a:pt x="12432" y="83"/>
                  </a:lnTo>
                  <a:lnTo>
                    <a:pt x="12218" y="46"/>
                  </a:lnTo>
                  <a:lnTo>
                    <a:pt x="12002" y="21"/>
                  </a:lnTo>
                  <a:lnTo>
                    <a:pt x="11786" y="5"/>
                  </a:lnTo>
                  <a:lnTo>
                    <a:pt x="11568" y="0"/>
                  </a:lnTo>
                  <a:lnTo>
                    <a:pt x="11351" y="5"/>
                  </a:lnTo>
                  <a:lnTo>
                    <a:pt x="11134" y="21"/>
                  </a:lnTo>
                  <a:lnTo>
                    <a:pt x="10918" y="46"/>
                  </a:lnTo>
                  <a:lnTo>
                    <a:pt x="10703" y="83"/>
                  </a:lnTo>
                  <a:lnTo>
                    <a:pt x="10490" y="130"/>
                  </a:lnTo>
                  <a:lnTo>
                    <a:pt x="10280" y="187"/>
                  </a:lnTo>
                  <a:lnTo>
                    <a:pt x="10070" y="253"/>
                  </a:lnTo>
                  <a:lnTo>
                    <a:pt x="9864" y="332"/>
                  </a:lnTo>
                  <a:lnTo>
                    <a:pt x="9662" y="419"/>
                  </a:lnTo>
                  <a:lnTo>
                    <a:pt x="9463" y="518"/>
                  </a:lnTo>
                  <a:lnTo>
                    <a:pt x="9268" y="626"/>
                  </a:lnTo>
                  <a:lnTo>
                    <a:pt x="9078" y="746"/>
                  </a:lnTo>
                  <a:lnTo>
                    <a:pt x="8891" y="875"/>
                  </a:lnTo>
                  <a:lnTo>
                    <a:pt x="8711" y="1015"/>
                  </a:lnTo>
                  <a:lnTo>
                    <a:pt x="8536" y="1165"/>
                  </a:lnTo>
                  <a:lnTo>
                    <a:pt x="8367" y="1326"/>
                  </a:lnTo>
                  <a:lnTo>
                    <a:pt x="1029" y="8572"/>
                  </a:lnTo>
                  <a:lnTo>
                    <a:pt x="904" y="8704"/>
                  </a:lnTo>
                  <a:lnTo>
                    <a:pt x="789" y="8840"/>
                  </a:lnTo>
                  <a:lnTo>
                    <a:pt x="680" y="8979"/>
                  </a:lnTo>
                  <a:lnTo>
                    <a:pt x="579" y="9124"/>
                  </a:lnTo>
                  <a:lnTo>
                    <a:pt x="487" y="9272"/>
                  </a:lnTo>
                  <a:lnTo>
                    <a:pt x="402" y="9424"/>
                  </a:lnTo>
                  <a:lnTo>
                    <a:pt x="326" y="9579"/>
                  </a:lnTo>
                  <a:lnTo>
                    <a:pt x="258" y="9736"/>
                  </a:lnTo>
                  <a:lnTo>
                    <a:pt x="197" y="9896"/>
                  </a:lnTo>
                  <a:lnTo>
                    <a:pt x="145" y="10058"/>
                  </a:lnTo>
                  <a:lnTo>
                    <a:pt x="101" y="10223"/>
                  </a:lnTo>
                  <a:lnTo>
                    <a:pt x="64" y="10388"/>
                  </a:lnTo>
                  <a:lnTo>
                    <a:pt x="36" y="10556"/>
                  </a:lnTo>
                  <a:lnTo>
                    <a:pt x="16" y="10724"/>
                  </a:lnTo>
                  <a:lnTo>
                    <a:pt x="4" y="10892"/>
                  </a:lnTo>
                  <a:lnTo>
                    <a:pt x="0" y="11060"/>
                  </a:lnTo>
                  <a:lnTo>
                    <a:pt x="4" y="11229"/>
                  </a:lnTo>
                  <a:lnTo>
                    <a:pt x="16" y="11398"/>
                  </a:lnTo>
                  <a:lnTo>
                    <a:pt x="36" y="11566"/>
                  </a:lnTo>
                  <a:lnTo>
                    <a:pt x="64" y="11733"/>
                  </a:lnTo>
                  <a:lnTo>
                    <a:pt x="101" y="11899"/>
                  </a:lnTo>
                  <a:lnTo>
                    <a:pt x="145" y="12064"/>
                  </a:lnTo>
                  <a:lnTo>
                    <a:pt x="197" y="12226"/>
                  </a:lnTo>
                  <a:lnTo>
                    <a:pt x="258" y="12385"/>
                  </a:lnTo>
                  <a:lnTo>
                    <a:pt x="326" y="12543"/>
                  </a:lnTo>
                  <a:lnTo>
                    <a:pt x="402" y="12698"/>
                  </a:lnTo>
                  <a:lnTo>
                    <a:pt x="487" y="12850"/>
                  </a:lnTo>
                  <a:lnTo>
                    <a:pt x="579" y="12998"/>
                  </a:lnTo>
                  <a:lnTo>
                    <a:pt x="680" y="13142"/>
                  </a:lnTo>
                  <a:lnTo>
                    <a:pt x="789" y="13282"/>
                  </a:lnTo>
                  <a:lnTo>
                    <a:pt x="904" y="13418"/>
                  </a:lnTo>
                  <a:lnTo>
                    <a:pt x="1029" y="13550"/>
                  </a:lnTo>
                  <a:lnTo>
                    <a:pt x="1161" y="13673"/>
                  </a:lnTo>
                  <a:lnTo>
                    <a:pt x="1297" y="13790"/>
                  </a:lnTo>
                  <a:lnTo>
                    <a:pt x="1436" y="13898"/>
                  </a:lnTo>
                  <a:lnTo>
                    <a:pt x="1581" y="13999"/>
                  </a:lnTo>
                  <a:lnTo>
                    <a:pt x="1729" y="14091"/>
                  </a:lnTo>
                  <a:lnTo>
                    <a:pt x="1881" y="14176"/>
                  </a:lnTo>
                  <a:lnTo>
                    <a:pt x="2036" y="14252"/>
                  </a:lnTo>
                  <a:lnTo>
                    <a:pt x="2193" y="14321"/>
                  </a:lnTo>
                  <a:lnTo>
                    <a:pt x="2354" y="14381"/>
                  </a:lnTo>
                  <a:lnTo>
                    <a:pt x="2516" y="14433"/>
                  </a:lnTo>
                  <a:lnTo>
                    <a:pt x="2680" y="14477"/>
                  </a:lnTo>
                  <a:lnTo>
                    <a:pt x="2846" y="14514"/>
                  </a:lnTo>
                  <a:lnTo>
                    <a:pt x="3013" y="14542"/>
                  </a:lnTo>
                  <a:lnTo>
                    <a:pt x="3181" y="14562"/>
                  </a:lnTo>
                  <a:lnTo>
                    <a:pt x="3350" y="14574"/>
                  </a:lnTo>
                  <a:lnTo>
                    <a:pt x="3519" y="14578"/>
                  </a:lnTo>
                  <a:lnTo>
                    <a:pt x="3688" y="14574"/>
                  </a:lnTo>
                  <a:lnTo>
                    <a:pt x="3857" y="14562"/>
                  </a:lnTo>
                  <a:lnTo>
                    <a:pt x="4025" y="14542"/>
                  </a:lnTo>
                  <a:lnTo>
                    <a:pt x="4192" y="14514"/>
                  </a:lnTo>
                  <a:lnTo>
                    <a:pt x="4358" y="14477"/>
                  </a:lnTo>
                  <a:lnTo>
                    <a:pt x="4522" y="14433"/>
                  </a:lnTo>
                  <a:lnTo>
                    <a:pt x="4684" y="14381"/>
                  </a:lnTo>
                  <a:lnTo>
                    <a:pt x="4844" y="14321"/>
                  </a:lnTo>
                  <a:lnTo>
                    <a:pt x="5002" y="14252"/>
                  </a:lnTo>
                  <a:lnTo>
                    <a:pt x="5156" y="14176"/>
                  </a:lnTo>
                  <a:lnTo>
                    <a:pt x="5308" y="14091"/>
                  </a:lnTo>
                  <a:lnTo>
                    <a:pt x="5456" y="13999"/>
                  </a:lnTo>
                  <a:lnTo>
                    <a:pt x="5601" y="13898"/>
                  </a:lnTo>
                  <a:lnTo>
                    <a:pt x="5741" y="13790"/>
                  </a:lnTo>
                  <a:lnTo>
                    <a:pt x="5877" y="13673"/>
                  </a:lnTo>
                  <a:lnTo>
                    <a:pt x="6007" y="13550"/>
                  </a:lnTo>
                  <a:lnTo>
                    <a:pt x="13346" y="6301"/>
                  </a:lnTo>
                  <a:lnTo>
                    <a:pt x="13435" y="6208"/>
                  </a:lnTo>
                  <a:lnTo>
                    <a:pt x="13519" y="6110"/>
                  </a:lnTo>
                  <a:lnTo>
                    <a:pt x="13596" y="6011"/>
                  </a:lnTo>
                  <a:lnTo>
                    <a:pt x="13669" y="5907"/>
                  </a:lnTo>
                  <a:lnTo>
                    <a:pt x="13735" y="5802"/>
                  </a:lnTo>
                  <a:lnTo>
                    <a:pt x="13795" y="5693"/>
                  </a:lnTo>
                  <a:lnTo>
                    <a:pt x="13850" y="5582"/>
                  </a:lnTo>
                  <a:lnTo>
                    <a:pt x="13899" y="5470"/>
                  </a:lnTo>
                  <a:lnTo>
                    <a:pt x="13942" y="5355"/>
                  </a:lnTo>
                  <a:lnTo>
                    <a:pt x="13980" y="5240"/>
                  </a:lnTo>
                  <a:lnTo>
                    <a:pt x="14011" y="5123"/>
                  </a:lnTo>
                  <a:lnTo>
                    <a:pt x="14037" y="5004"/>
                  </a:lnTo>
                  <a:lnTo>
                    <a:pt x="14057" y="4885"/>
                  </a:lnTo>
                  <a:lnTo>
                    <a:pt x="14071" y="4765"/>
                  </a:lnTo>
                  <a:lnTo>
                    <a:pt x="14080" y="4645"/>
                  </a:lnTo>
                  <a:lnTo>
                    <a:pt x="14083" y="4524"/>
                  </a:lnTo>
                  <a:lnTo>
                    <a:pt x="14080" y="4404"/>
                  </a:lnTo>
                  <a:lnTo>
                    <a:pt x="14071" y="4284"/>
                  </a:lnTo>
                  <a:lnTo>
                    <a:pt x="14057" y="4164"/>
                  </a:lnTo>
                  <a:lnTo>
                    <a:pt x="14037" y="4044"/>
                  </a:lnTo>
                  <a:lnTo>
                    <a:pt x="14011" y="3926"/>
                  </a:lnTo>
                  <a:lnTo>
                    <a:pt x="13980" y="3809"/>
                  </a:lnTo>
                  <a:lnTo>
                    <a:pt x="13942" y="3693"/>
                  </a:lnTo>
                  <a:lnTo>
                    <a:pt x="13899" y="3579"/>
                  </a:lnTo>
                  <a:lnTo>
                    <a:pt x="13850" y="3466"/>
                  </a:lnTo>
                  <a:lnTo>
                    <a:pt x="13795" y="3356"/>
                  </a:lnTo>
                  <a:lnTo>
                    <a:pt x="13735" y="3247"/>
                  </a:lnTo>
                  <a:lnTo>
                    <a:pt x="13669" y="3142"/>
                  </a:lnTo>
                  <a:lnTo>
                    <a:pt x="13596" y="3038"/>
                  </a:lnTo>
                  <a:lnTo>
                    <a:pt x="13519" y="2939"/>
                  </a:lnTo>
                  <a:lnTo>
                    <a:pt x="13435" y="2841"/>
                  </a:lnTo>
                  <a:lnTo>
                    <a:pt x="13346" y="2748"/>
                  </a:lnTo>
                  <a:lnTo>
                    <a:pt x="13252" y="2658"/>
                  </a:lnTo>
                  <a:lnTo>
                    <a:pt x="13156" y="2575"/>
                  </a:lnTo>
                  <a:lnTo>
                    <a:pt x="13055" y="2497"/>
                  </a:lnTo>
                  <a:lnTo>
                    <a:pt x="12951" y="2425"/>
                  </a:lnTo>
                  <a:lnTo>
                    <a:pt x="12846" y="2359"/>
                  </a:lnTo>
                  <a:lnTo>
                    <a:pt x="12737" y="2299"/>
                  </a:lnTo>
                  <a:lnTo>
                    <a:pt x="12627" y="2244"/>
                  </a:lnTo>
                  <a:lnTo>
                    <a:pt x="12514" y="2196"/>
                  </a:lnTo>
                  <a:lnTo>
                    <a:pt x="12400" y="2152"/>
                  </a:lnTo>
                  <a:lnTo>
                    <a:pt x="12284" y="2115"/>
                  </a:lnTo>
                  <a:lnTo>
                    <a:pt x="12167" y="2083"/>
                  </a:lnTo>
                  <a:lnTo>
                    <a:pt x="12048" y="2057"/>
                  </a:lnTo>
                  <a:lnTo>
                    <a:pt x="11928" y="2037"/>
                  </a:lnTo>
                  <a:lnTo>
                    <a:pt x="11809" y="2023"/>
                  </a:lnTo>
                  <a:lnTo>
                    <a:pt x="11689" y="2015"/>
                  </a:lnTo>
                  <a:lnTo>
                    <a:pt x="11568" y="2012"/>
                  </a:lnTo>
                  <a:lnTo>
                    <a:pt x="11448" y="2015"/>
                  </a:lnTo>
                  <a:lnTo>
                    <a:pt x="11327" y="2023"/>
                  </a:lnTo>
                  <a:lnTo>
                    <a:pt x="11207" y="2037"/>
                  </a:lnTo>
                  <a:lnTo>
                    <a:pt x="11087" y="2057"/>
                  </a:lnTo>
                  <a:lnTo>
                    <a:pt x="10969" y="2083"/>
                  </a:lnTo>
                  <a:lnTo>
                    <a:pt x="10852" y="2115"/>
                  </a:lnTo>
                  <a:lnTo>
                    <a:pt x="10736" y="2152"/>
                  </a:lnTo>
                  <a:lnTo>
                    <a:pt x="10622" y="2196"/>
                  </a:lnTo>
                  <a:lnTo>
                    <a:pt x="10509" y="2244"/>
                  </a:lnTo>
                  <a:lnTo>
                    <a:pt x="10398" y="2299"/>
                  </a:lnTo>
                  <a:lnTo>
                    <a:pt x="10291" y="2359"/>
                  </a:lnTo>
                  <a:lnTo>
                    <a:pt x="10184" y="2425"/>
                  </a:lnTo>
                  <a:lnTo>
                    <a:pt x="10082" y="2497"/>
                  </a:lnTo>
                  <a:lnTo>
                    <a:pt x="9981" y="2575"/>
                  </a:lnTo>
                  <a:lnTo>
                    <a:pt x="9884" y="2658"/>
                  </a:lnTo>
                  <a:lnTo>
                    <a:pt x="9790" y="2748"/>
                  </a:lnTo>
                  <a:lnTo>
                    <a:pt x="4273" y="8261"/>
                  </a:lnTo>
                  <a:lnTo>
                    <a:pt x="4255" y="8279"/>
                  </a:lnTo>
                  <a:lnTo>
                    <a:pt x="4239" y="8299"/>
                  </a:lnTo>
                  <a:lnTo>
                    <a:pt x="4223" y="8319"/>
                  </a:lnTo>
                  <a:lnTo>
                    <a:pt x="4209" y="8339"/>
                  </a:lnTo>
                  <a:lnTo>
                    <a:pt x="4196" y="8361"/>
                  </a:lnTo>
                  <a:lnTo>
                    <a:pt x="4184" y="8382"/>
                  </a:lnTo>
                  <a:lnTo>
                    <a:pt x="4173" y="8404"/>
                  </a:lnTo>
                  <a:lnTo>
                    <a:pt x="4163" y="8427"/>
                  </a:lnTo>
                  <a:lnTo>
                    <a:pt x="4154" y="8450"/>
                  </a:lnTo>
                  <a:lnTo>
                    <a:pt x="4146" y="8473"/>
                  </a:lnTo>
                  <a:lnTo>
                    <a:pt x="4140" y="8497"/>
                  </a:lnTo>
                  <a:lnTo>
                    <a:pt x="4134" y="8520"/>
                  </a:lnTo>
                  <a:lnTo>
                    <a:pt x="4130" y="8544"/>
                  </a:lnTo>
                  <a:lnTo>
                    <a:pt x="4128" y="8568"/>
                  </a:lnTo>
                  <a:lnTo>
                    <a:pt x="4126" y="8592"/>
                  </a:lnTo>
                  <a:lnTo>
                    <a:pt x="4125" y="8617"/>
                  </a:lnTo>
                  <a:lnTo>
                    <a:pt x="4126" y="8640"/>
                  </a:lnTo>
                  <a:lnTo>
                    <a:pt x="4128" y="8664"/>
                  </a:lnTo>
                  <a:lnTo>
                    <a:pt x="4130" y="8688"/>
                  </a:lnTo>
                  <a:lnTo>
                    <a:pt x="4134" y="8712"/>
                  </a:lnTo>
                  <a:lnTo>
                    <a:pt x="4140" y="8736"/>
                  </a:lnTo>
                  <a:lnTo>
                    <a:pt x="4146" y="8759"/>
                  </a:lnTo>
                  <a:lnTo>
                    <a:pt x="4154" y="8782"/>
                  </a:lnTo>
                  <a:lnTo>
                    <a:pt x="4163" y="8806"/>
                  </a:lnTo>
                  <a:lnTo>
                    <a:pt x="4173" y="8828"/>
                  </a:lnTo>
                  <a:lnTo>
                    <a:pt x="4184" y="8850"/>
                  </a:lnTo>
                  <a:lnTo>
                    <a:pt x="4196" y="8872"/>
                  </a:lnTo>
                  <a:lnTo>
                    <a:pt x="4209" y="8893"/>
                  </a:lnTo>
                  <a:lnTo>
                    <a:pt x="4223" y="8913"/>
                  </a:lnTo>
                  <a:lnTo>
                    <a:pt x="4239" y="8933"/>
                  </a:lnTo>
                  <a:lnTo>
                    <a:pt x="4255" y="8953"/>
                  </a:lnTo>
                  <a:lnTo>
                    <a:pt x="4273" y="8971"/>
                  </a:lnTo>
                  <a:lnTo>
                    <a:pt x="4292" y="8989"/>
                  </a:lnTo>
                  <a:lnTo>
                    <a:pt x="4311" y="9007"/>
                  </a:lnTo>
                  <a:lnTo>
                    <a:pt x="4332" y="9022"/>
                  </a:lnTo>
                  <a:lnTo>
                    <a:pt x="4352" y="9036"/>
                  </a:lnTo>
                  <a:lnTo>
                    <a:pt x="4373" y="9050"/>
                  </a:lnTo>
                  <a:lnTo>
                    <a:pt x="4395" y="9062"/>
                  </a:lnTo>
                  <a:lnTo>
                    <a:pt x="4417" y="9073"/>
                  </a:lnTo>
                  <a:lnTo>
                    <a:pt x="4439" y="9082"/>
                  </a:lnTo>
                  <a:lnTo>
                    <a:pt x="4462" y="9091"/>
                  </a:lnTo>
                  <a:lnTo>
                    <a:pt x="4485" y="9098"/>
                  </a:lnTo>
                  <a:lnTo>
                    <a:pt x="4509" y="9105"/>
                  </a:lnTo>
                  <a:lnTo>
                    <a:pt x="4533" y="9110"/>
                  </a:lnTo>
                  <a:lnTo>
                    <a:pt x="4557" y="9114"/>
                  </a:lnTo>
                  <a:lnTo>
                    <a:pt x="4580" y="9117"/>
                  </a:lnTo>
                  <a:lnTo>
                    <a:pt x="4604" y="9118"/>
                  </a:lnTo>
                  <a:lnTo>
                    <a:pt x="4628" y="9119"/>
                  </a:lnTo>
                  <a:lnTo>
                    <a:pt x="4652" y="9118"/>
                  </a:lnTo>
                  <a:lnTo>
                    <a:pt x="4677" y="9117"/>
                  </a:lnTo>
                  <a:lnTo>
                    <a:pt x="4701" y="9114"/>
                  </a:lnTo>
                  <a:lnTo>
                    <a:pt x="4725" y="9110"/>
                  </a:lnTo>
                  <a:lnTo>
                    <a:pt x="4748" y="9105"/>
                  </a:lnTo>
                  <a:lnTo>
                    <a:pt x="4772" y="9098"/>
                  </a:lnTo>
                  <a:lnTo>
                    <a:pt x="4795" y="9091"/>
                  </a:lnTo>
                  <a:lnTo>
                    <a:pt x="4817" y="9082"/>
                  </a:lnTo>
                  <a:lnTo>
                    <a:pt x="4841" y="9073"/>
                  </a:lnTo>
                  <a:lnTo>
                    <a:pt x="4863" y="9062"/>
                  </a:lnTo>
                  <a:lnTo>
                    <a:pt x="4884" y="9050"/>
                  </a:lnTo>
                  <a:lnTo>
                    <a:pt x="4905" y="9036"/>
                  </a:lnTo>
                  <a:lnTo>
                    <a:pt x="4926" y="9022"/>
                  </a:lnTo>
                  <a:lnTo>
                    <a:pt x="4946" y="9007"/>
                  </a:lnTo>
                  <a:lnTo>
                    <a:pt x="4965" y="8989"/>
                  </a:lnTo>
                  <a:lnTo>
                    <a:pt x="4984" y="8971"/>
                  </a:lnTo>
                  <a:lnTo>
                    <a:pt x="10501" y="3458"/>
                  </a:lnTo>
                  <a:lnTo>
                    <a:pt x="10557" y="3405"/>
                  </a:lnTo>
                  <a:lnTo>
                    <a:pt x="10616" y="3355"/>
                  </a:lnTo>
                  <a:lnTo>
                    <a:pt x="10676" y="3308"/>
                  </a:lnTo>
                  <a:lnTo>
                    <a:pt x="10738" y="3265"/>
                  </a:lnTo>
                  <a:lnTo>
                    <a:pt x="10802" y="3226"/>
                  </a:lnTo>
                  <a:lnTo>
                    <a:pt x="10866" y="3190"/>
                  </a:lnTo>
                  <a:lnTo>
                    <a:pt x="10933" y="3157"/>
                  </a:lnTo>
                  <a:lnTo>
                    <a:pt x="11000" y="3128"/>
                  </a:lnTo>
                  <a:lnTo>
                    <a:pt x="11069" y="3101"/>
                  </a:lnTo>
                  <a:lnTo>
                    <a:pt x="11139" y="3079"/>
                  </a:lnTo>
                  <a:lnTo>
                    <a:pt x="11209" y="3060"/>
                  </a:lnTo>
                  <a:lnTo>
                    <a:pt x="11280" y="3045"/>
                  </a:lnTo>
                  <a:lnTo>
                    <a:pt x="11352" y="3033"/>
                  </a:lnTo>
                  <a:lnTo>
                    <a:pt x="11423" y="3024"/>
                  </a:lnTo>
                  <a:lnTo>
                    <a:pt x="11496" y="3019"/>
                  </a:lnTo>
                  <a:lnTo>
                    <a:pt x="11568" y="3017"/>
                  </a:lnTo>
                  <a:lnTo>
                    <a:pt x="11641" y="3019"/>
                  </a:lnTo>
                  <a:lnTo>
                    <a:pt x="11713" y="3024"/>
                  </a:lnTo>
                  <a:lnTo>
                    <a:pt x="11785" y="3033"/>
                  </a:lnTo>
                  <a:lnTo>
                    <a:pt x="11857" y="3045"/>
                  </a:lnTo>
                  <a:lnTo>
                    <a:pt x="11927" y="3060"/>
                  </a:lnTo>
                  <a:lnTo>
                    <a:pt x="11998" y="3079"/>
                  </a:lnTo>
                  <a:lnTo>
                    <a:pt x="12067" y="3101"/>
                  </a:lnTo>
                  <a:lnTo>
                    <a:pt x="12137" y="3128"/>
                  </a:lnTo>
                  <a:lnTo>
                    <a:pt x="12204" y="3157"/>
                  </a:lnTo>
                  <a:lnTo>
                    <a:pt x="12270" y="3190"/>
                  </a:lnTo>
                  <a:lnTo>
                    <a:pt x="12335" y="3226"/>
                  </a:lnTo>
                  <a:lnTo>
                    <a:pt x="12398" y="3265"/>
                  </a:lnTo>
                  <a:lnTo>
                    <a:pt x="12461" y="3308"/>
                  </a:lnTo>
                  <a:lnTo>
                    <a:pt x="12521" y="3355"/>
                  </a:lnTo>
                  <a:lnTo>
                    <a:pt x="12579" y="3405"/>
                  </a:lnTo>
                  <a:lnTo>
                    <a:pt x="12635" y="3458"/>
                  </a:lnTo>
                  <a:lnTo>
                    <a:pt x="12689" y="3515"/>
                  </a:lnTo>
                  <a:lnTo>
                    <a:pt x="12738" y="3572"/>
                  </a:lnTo>
                  <a:lnTo>
                    <a:pt x="12785" y="3632"/>
                  </a:lnTo>
                  <a:lnTo>
                    <a:pt x="12828" y="3695"/>
                  </a:lnTo>
                  <a:lnTo>
                    <a:pt x="12868" y="3758"/>
                  </a:lnTo>
                  <a:lnTo>
                    <a:pt x="12904" y="3823"/>
                  </a:lnTo>
                  <a:lnTo>
                    <a:pt x="12936" y="3890"/>
                  </a:lnTo>
                  <a:lnTo>
                    <a:pt x="12967" y="3957"/>
                  </a:lnTo>
                  <a:lnTo>
                    <a:pt x="12992" y="4025"/>
                  </a:lnTo>
                  <a:lnTo>
                    <a:pt x="13015" y="4095"/>
                  </a:lnTo>
                  <a:lnTo>
                    <a:pt x="13033" y="4165"/>
                  </a:lnTo>
                  <a:lnTo>
                    <a:pt x="13049" y="4236"/>
                  </a:lnTo>
                  <a:lnTo>
                    <a:pt x="13061" y="4308"/>
                  </a:lnTo>
                  <a:lnTo>
                    <a:pt x="13069" y="4380"/>
                  </a:lnTo>
                  <a:lnTo>
                    <a:pt x="13075" y="4452"/>
                  </a:lnTo>
                  <a:lnTo>
                    <a:pt x="13076" y="4524"/>
                  </a:lnTo>
                  <a:lnTo>
                    <a:pt x="13075" y="4596"/>
                  </a:lnTo>
                  <a:lnTo>
                    <a:pt x="13069" y="4669"/>
                  </a:lnTo>
                  <a:lnTo>
                    <a:pt x="13061" y="4741"/>
                  </a:lnTo>
                  <a:lnTo>
                    <a:pt x="13049" y="4812"/>
                  </a:lnTo>
                  <a:lnTo>
                    <a:pt x="13033" y="4884"/>
                  </a:lnTo>
                  <a:lnTo>
                    <a:pt x="13015" y="4954"/>
                  </a:lnTo>
                  <a:lnTo>
                    <a:pt x="12992" y="5024"/>
                  </a:lnTo>
                  <a:lnTo>
                    <a:pt x="12967" y="5092"/>
                  </a:lnTo>
                  <a:lnTo>
                    <a:pt x="12936" y="5159"/>
                  </a:lnTo>
                  <a:lnTo>
                    <a:pt x="12904" y="5226"/>
                  </a:lnTo>
                  <a:lnTo>
                    <a:pt x="12868" y="5291"/>
                  </a:lnTo>
                  <a:lnTo>
                    <a:pt x="12828" y="5354"/>
                  </a:lnTo>
                  <a:lnTo>
                    <a:pt x="12785" y="5417"/>
                  </a:lnTo>
                  <a:lnTo>
                    <a:pt x="12738" y="5476"/>
                  </a:lnTo>
                  <a:lnTo>
                    <a:pt x="12689" y="5534"/>
                  </a:lnTo>
                  <a:lnTo>
                    <a:pt x="12635" y="5591"/>
                  </a:lnTo>
                  <a:lnTo>
                    <a:pt x="5297" y="12838"/>
                  </a:lnTo>
                  <a:lnTo>
                    <a:pt x="5203" y="12927"/>
                  </a:lnTo>
                  <a:lnTo>
                    <a:pt x="5106" y="13011"/>
                  </a:lnTo>
                  <a:lnTo>
                    <a:pt x="5006" y="13088"/>
                  </a:lnTo>
                  <a:lnTo>
                    <a:pt x="4902" y="13160"/>
                  </a:lnTo>
                  <a:lnTo>
                    <a:pt x="4796" y="13226"/>
                  </a:lnTo>
                  <a:lnTo>
                    <a:pt x="4688" y="13286"/>
                  </a:lnTo>
                  <a:lnTo>
                    <a:pt x="4577" y="13341"/>
                  </a:lnTo>
                  <a:lnTo>
                    <a:pt x="4465" y="13390"/>
                  </a:lnTo>
                  <a:lnTo>
                    <a:pt x="4351" y="13433"/>
                  </a:lnTo>
                  <a:lnTo>
                    <a:pt x="4235" y="13470"/>
                  </a:lnTo>
                  <a:lnTo>
                    <a:pt x="4117" y="13502"/>
                  </a:lnTo>
                  <a:lnTo>
                    <a:pt x="3999" y="13528"/>
                  </a:lnTo>
                  <a:lnTo>
                    <a:pt x="3880" y="13549"/>
                  </a:lnTo>
                  <a:lnTo>
                    <a:pt x="3760" y="13563"/>
                  </a:lnTo>
                  <a:lnTo>
                    <a:pt x="3639" y="13571"/>
                  </a:lnTo>
                  <a:lnTo>
                    <a:pt x="3519" y="13574"/>
                  </a:lnTo>
                  <a:lnTo>
                    <a:pt x="3398" y="13571"/>
                  </a:lnTo>
                  <a:lnTo>
                    <a:pt x="3277" y="13563"/>
                  </a:lnTo>
                  <a:lnTo>
                    <a:pt x="3158" y="13549"/>
                  </a:lnTo>
                  <a:lnTo>
                    <a:pt x="3039" y="13528"/>
                  </a:lnTo>
                  <a:lnTo>
                    <a:pt x="2920" y="13502"/>
                  </a:lnTo>
                  <a:lnTo>
                    <a:pt x="2803" y="13470"/>
                  </a:lnTo>
                  <a:lnTo>
                    <a:pt x="2687" y="13433"/>
                  </a:lnTo>
                  <a:lnTo>
                    <a:pt x="2572" y="13390"/>
                  </a:lnTo>
                  <a:lnTo>
                    <a:pt x="2460" y="13341"/>
                  </a:lnTo>
                  <a:lnTo>
                    <a:pt x="2350" y="13286"/>
                  </a:lnTo>
                  <a:lnTo>
                    <a:pt x="2241" y="13226"/>
                  </a:lnTo>
                  <a:lnTo>
                    <a:pt x="2136" y="13160"/>
                  </a:lnTo>
                  <a:lnTo>
                    <a:pt x="2032" y="13088"/>
                  </a:lnTo>
                  <a:lnTo>
                    <a:pt x="1931" y="13011"/>
                  </a:lnTo>
                  <a:lnTo>
                    <a:pt x="1835" y="12927"/>
                  </a:lnTo>
                  <a:lnTo>
                    <a:pt x="1740" y="12838"/>
                  </a:lnTo>
                  <a:lnTo>
                    <a:pt x="1652" y="12744"/>
                  </a:lnTo>
                  <a:lnTo>
                    <a:pt x="1568" y="12647"/>
                  </a:lnTo>
                  <a:lnTo>
                    <a:pt x="1491" y="12546"/>
                  </a:lnTo>
                  <a:lnTo>
                    <a:pt x="1418" y="12444"/>
                  </a:lnTo>
                  <a:lnTo>
                    <a:pt x="1352" y="12338"/>
                  </a:lnTo>
                  <a:lnTo>
                    <a:pt x="1292" y="12230"/>
                  </a:lnTo>
                  <a:lnTo>
                    <a:pt x="1237" y="12119"/>
                  </a:lnTo>
                  <a:lnTo>
                    <a:pt x="1188" y="12006"/>
                  </a:lnTo>
                  <a:lnTo>
                    <a:pt x="1145" y="11892"/>
                  </a:lnTo>
                  <a:lnTo>
                    <a:pt x="1108" y="11776"/>
                  </a:lnTo>
                  <a:lnTo>
                    <a:pt x="1076" y="11660"/>
                  </a:lnTo>
                  <a:lnTo>
                    <a:pt x="1050" y="11541"/>
                  </a:lnTo>
                  <a:lnTo>
                    <a:pt x="1030" y="11421"/>
                  </a:lnTo>
                  <a:lnTo>
                    <a:pt x="1016" y="11302"/>
                  </a:lnTo>
                  <a:lnTo>
                    <a:pt x="1007" y="11181"/>
                  </a:lnTo>
                  <a:lnTo>
                    <a:pt x="1004" y="11060"/>
                  </a:lnTo>
                  <a:lnTo>
                    <a:pt x="1007" y="10940"/>
                  </a:lnTo>
                  <a:lnTo>
                    <a:pt x="1016" y="10820"/>
                  </a:lnTo>
                  <a:lnTo>
                    <a:pt x="1030" y="10701"/>
                  </a:lnTo>
                  <a:lnTo>
                    <a:pt x="1050" y="10581"/>
                  </a:lnTo>
                  <a:lnTo>
                    <a:pt x="1076" y="10462"/>
                  </a:lnTo>
                  <a:lnTo>
                    <a:pt x="1108" y="10346"/>
                  </a:lnTo>
                  <a:lnTo>
                    <a:pt x="1145" y="10229"/>
                  </a:lnTo>
                  <a:lnTo>
                    <a:pt x="1188" y="10115"/>
                  </a:lnTo>
                  <a:lnTo>
                    <a:pt x="1237" y="10003"/>
                  </a:lnTo>
                  <a:lnTo>
                    <a:pt x="1292" y="9892"/>
                  </a:lnTo>
                  <a:lnTo>
                    <a:pt x="1352" y="9784"/>
                  </a:lnTo>
                  <a:lnTo>
                    <a:pt x="1418" y="9678"/>
                  </a:lnTo>
                  <a:lnTo>
                    <a:pt x="1491" y="9575"/>
                  </a:lnTo>
                  <a:lnTo>
                    <a:pt x="1568" y="9475"/>
                  </a:lnTo>
                  <a:lnTo>
                    <a:pt x="1652" y="9378"/>
                  </a:lnTo>
                  <a:lnTo>
                    <a:pt x="1740" y="9284"/>
                  </a:lnTo>
                  <a:lnTo>
                    <a:pt x="9007" y="2108"/>
                  </a:lnTo>
                  <a:lnTo>
                    <a:pt x="9139" y="1982"/>
                  </a:lnTo>
                  <a:lnTo>
                    <a:pt x="9275" y="1866"/>
                  </a:lnTo>
                  <a:lnTo>
                    <a:pt x="9415" y="1757"/>
                  </a:lnTo>
                  <a:lnTo>
                    <a:pt x="9559" y="1657"/>
                  </a:lnTo>
                  <a:lnTo>
                    <a:pt x="9707" y="1564"/>
                  </a:lnTo>
                  <a:lnTo>
                    <a:pt x="9859" y="1480"/>
                  </a:lnTo>
                  <a:lnTo>
                    <a:pt x="10014" y="1402"/>
                  </a:lnTo>
                  <a:lnTo>
                    <a:pt x="10172" y="1334"/>
                  </a:lnTo>
                  <a:lnTo>
                    <a:pt x="10332" y="1274"/>
                  </a:lnTo>
                  <a:lnTo>
                    <a:pt x="10495" y="1221"/>
                  </a:lnTo>
                  <a:lnTo>
                    <a:pt x="10659" y="1177"/>
                  </a:lnTo>
                  <a:lnTo>
                    <a:pt x="10825" y="1141"/>
                  </a:lnTo>
                  <a:lnTo>
                    <a:pt x="10992" y="1113"/>
                  </a:lnTo>
                  <a:lnTo>
                    <a:pt x="11160" y="1093"/>
                  </a:lnTo>
                  <a:lnTo>
                    <a:pt x="11328" y="1081"/>
                  </a:lnTo>
                  <a:lnTo>
                    <a:pt x="11497" y="1077"/>
                  </a:lnTo>
                  <a:lnTo>
                    <a:pt x="11666" y="1081"/>
                  </a:lnTo>
                  <a:lnTo>
                    <a:pt x="11835" y="1093"/>
                  </a:lnTo>
                  <a:lnTo>
                    <a:pt x="12003" y="1113"/>
                  </a:lnTo>
                  <a:lnTo>
                    <a:pt x="12170" y="1141"/>
                  </a:lnTo>
                  <a:lnTo>
                    <a:pt x="12335" y="1177"/>
                  </a:lnTo>
                  <a:lnTo>
                    <a:pt x="12500" y="1221"/>
                  </a:lnTo>
                  <a:lnTo>
                    <a:pt x="12662" y="1274"/>
                  </a:lnTo>
                  <a:lnTo>
                    <a:pt x="12822" y="1334"/>
                  </a:lnTo>
                  <a:lnTo>
                    <a:pt x="12980" y="1402"/>
                  </a:lnTo>
                  <a:lnTo>
                    <a:pt x="13135" y="1480"/>
                  </a:lnTo>
                  <a:lnTo>
                    <a:pt x="13285" y="1564"/>
                  </a:lnTo>
                  <a:lnTo>
                    <a:pt x="13433" y="1657"/>
                  </a:lnTo>
                  <a:lnTo>
                    <a:pt x="13578" y="1757"/>
                  </a:lnTo>
                  <a:lnTo>
                    <a:pt x="13718" y="1866"/>
                  </a:lnTo>
                  <a:lnTo>
                    <a:pt x="13855" y="1982"/>
                  </a:lnTo>
                  <a:lnTo>
                    <a:pt x="13986" y="2108"/>
                  </a:lnTo>
                  <a:lnTo>
                    <a:pt x="14110" y="2239"/>
                  </a:lnTo>
                  <a:lnTo>
                    <a:pt x="14228" y="2376"/>
                  </a:lnTo>
                  <a:lnTo>
                    <a:pt x="14337" y="2515"/>
                  </a:lnTo>
                  <a:lnTo>
                    <a:pt x="14437" y="2660"/>
                  </a:lnTo>
                  <a:lnTo>
                    <a:pt x="14530" y="2808"/>
                  </a:lnTo>
                  <a:lnTo>
                    <a:pt x="14614" y="2960"/>
                  </a:lnTo>
                  <a:lnTo>
                    <a:pt x="14692" y="3114"/>
                  </a:lnTo>
                  <a:lnTo>
                    <a:pt x="14760" y="3272"/>
                  </a:lnTo>
                  <a:lnTo>
                    <a:pt x="14820" y="3432"/>
                  </a:lnTo>
                  <a:lnTo>
                    <a:pt x="14873" y="3594"/>
                  </a:lnTo>
                  <a:lnTo>
                    <a:pt x="14917" y="3758"/>
                  </a:lnTo>
                  <a:lnTo>
                    <a:pt x="14953" y="3924"/>
                  </a:lnTo>
                  <a:lnTo>
                    <a:pt x="14981" y="4091"/>
                  </a:lnTo>
                  <a:lnTo>
                    <a:pt x="15002" y="4258"/>
                  </a:lnTo>
                  <a:lnTo>
                    <a:pt x="15014" y="4427"/>
                  </a:lnTo>
                  <a:lnTo>
                    <a:pt x="15018" y="4596"/>
                  </a:lnTo>
                  <a:lnTo>
                    <a:pt x="15014" y="4765"/>
                  </a:lnTo>
                  <a:lnTo>
                    <a:pt x="15002" y="4933"/>
                  </a:lnTo>
                  <a:lnTo>
                    <a:pt x="14981" y="5101"/>
                  </a:lnTo>
                  <a:lnTo>
                    <a:pt x="14953" y="5268"/>
                  </a:lnTo>
                  <a:lnTo>
                    <a:pt x="14917" y="5434"/>
                  </a:lnTo>
                  <a:lnTo>
                    <a:pt x="14873" y="5598"/>
                  </a:lnTo>
                  <a:lnTo>
                    <a:pt x="14820" y="5759"/>
                  </a:lnTo>
                  <a:lnTo>
                    <a:pt x="14760" y="5919"/>
                  </a:lnTo>
                  <a:lnTo>
                    <a:pt x="14692" y="6077"/>
                  </a:lnTo>
                  <a:lnTo>
                    <a:pt x="14615" y="6232"/>
                  </a:lnTo>
                  <a:lnTo>
                    <a:pt x="14531" y="6384"/>
                  </a:lnTo>
                  <a:lnTo>
                    <a:pt x="14438" y="6531"/>
                  </a:lnTo>
                  <a:lnTo>
                    <a:pt x="14338" y="6676"/>
                  </a:lnTo>
                  <a:lnTo>
                    <a:pt x="14228" y="6816"/>
                  </a:lnTo>
                  <a:lnTo>
                    <a:pt x="14111" y="6953"/>
                  </a:lnTo>
                  <a:lnTo>
                    <a:pt x="13987" y="7083"/>
                  </a:lnTo>
                  <a:lnTo>
                    <a:pt x="8541" y="12525"/>
                  </a:lnTo>
                  <a:lnTo>
                    <a:pt x="8523" y="12544"/>
                  </a:lnTo>
                  <a:lnTo>
                    <a:pt x="8507" y="12563"/>
                  </a:lnTo>
                  <a:lnTo>
                    <a:pt x="8491" y="12583"/>
                  </a:lnTo>
                  <a:lnTo>
                    <a:pt x="8477" y="12605"/>
                  </a:lnTo>
                  <a:lnTo>
                    <a:pt x="8464" y="12626"/>
                  </a:lnTo>
                  <a:lnTo>
                    <a:pt x="8451" y="12648"/>
                  </a:lnTo>
                  <a:lnTo>
                    <a:pt x="8441" y="12670"/>
                  </a:lnTo>
                  <a:lnTo>
                    <a:pt x="8431" y="12692"/>
                  </a:lnTo>
                  <a:lnTo>
                    <a:pt x="8422" y="12715"/>
                  </a:lnTo>
                  <a:lnTo>
                    <a:pt x="8415" y="12738"/>
                  </a:lnTo>
                  <a:lnTo>
                    <a:pt x="8408" y="12761"/>
                  </a:lnTo>
                  <a:lnTo>
                    <a:pt x="8403" y="12786"/>
                  </a:lnTo>
                  <a:lnTo>
                    <a:pt x="8399" y="12810"/>
                  </a:lnTo>
                  <a:lnTo>
                    <a:pt x="8396" y="12833"/>
                  </a:lnTo>
                  <a:lnTo>
                    <a:pt x="8395" y="12857"/>
                  </a:lnTo>
                  <a:lnTo>
                    <a:pt x="8394" y="12881"/>
                  </a:lnTo>
                  <a:lnTo>
                    <a:pt x="8395" y="12905"/>
                  </a:lnTo>
                  <a:lnTo>
                    <a:pt x="8396" y="12929"/>
                  </a:lnTo>
                  <a:lnTo>
                    <a:pt x="8399" y="12953"/>
                  </a:lnTo>
                  <a:lnTo>
                    <a:pt x="8403" y="12978"/>
                  </a:lnTo>
                  <a:lnTo>
                    <a:pt x="8408" y="13001"/>
                  </a:lnTo>
                  <a:lnTo>
                    <a:pt x="8415" y="13025"/>
                  </a:lnTo>
                  <a:lnTo>
                    <a:pt x="8422" y="13048"/>
                  </a:lnTo>
                  <a:lnTo>
                    <a:pt x="8431" y="13070"/>
                  </a:lnTo>
                  <a:lnTo>
                    <a:pt x="8441" y="13093"/>
                  </a:lnTo>
                  <a:lnTo>
                    <a:pt x="8451" y="13115"/>
                  </a:lnTo>
                  <a:lnTo>
                    <a:pt x="8464" y="13136"/>
                  </a:lnTo>
                  <a:lnTo>
                    <a:pt x="8477" y="13157"/>
                  </a:lnTo>
                  <a:lnTo>
                    <a:pt x="8491" y="13179"/>
                  </a:lnTo>
                  <a:lnTo>
                    <a:pt x="8507" y="13199"/>
                  </a:lnTo>
                  <a:lnTo>
                    <a:pt x="8523" y="13218"/>
                  </a:lnTo>
                  <a:lnTo>
                    <a:pt x="8541" y="13237"/>
                  </a:lnTo>
                  <a:lnTo>
                    <a:pt x="8561" y="13254"/>
                  </a:lnTo>
                  <a:lnTo>
                    <a:pt x="8580" y="13271"/>
                  </a:lnTo>
                  <a:lnTo>
                    <a:pt x="8600" y="13286"/>
                  </a:lnTo>
                  <a:lnTo>
                    <a:pt x="8621" y="13301"/>
                  </a:lnTo>
                  <a:lnTo>
                    <a:pt x="8642" y="13314"/>
                  </a:lnTo>
                  <a:lnTo>
                    <a:pt x="8663" y="13326"/>
                  </a:lnTo>
                  <a:lnTo>
                    <a:pt x="8685" y="13337"/>
                  </a:lnTo>
                  <a:lnTo>
                    <a:pt x="8708" y="13348"/>
                  </a:lnTo>
                  <a:lnTo>
                    <a:pt x="8731" y="13356"/>
                  </a:lnTo>
                  <a:lnTo>
                    <a:pt x="8754" y="13364"/>
                  </a:lnTo>
                  <a:lnTo>
                    <a:pt x="8778" y="13370"/>
                  </a:lnTo>
                  <a:lnTo>
                    <a:pt x="8801" y="13375"/>
                  </a:lnTo>
                  <a:lnTo>
                    <a:pt x="8825" y="13379"/>
                  </a:lnTo>
                  <a:lnTo>
                    <a:pt x="8849" y="13382"/>
                  </a:lnTo>
                  <a:lnTo>
                    <a:pt x="8873" y="13384"/>
                  </a:lnTo>
                  <a:lnTo>
                    <a:pt x="8898" y="13385"/>
                  </a:lnTo>
                  <a:lnTo>
                    <a:pt x="8922" y="13384"/>
                  </a:lnTo>
                  <a:lnTo>
                    <a:pt x="8946" y="13382"/>
                  </a:lnTo>
                  <a:lnTo>
                    <a:pt x="8969" y="13379"/>
                  </a:lnTo>
                  <a:lnTo>
                    <a:pt x="8993" y="13375"/>
                  </a:lnTo>
                  <a:lnTo>
                    <a:pt x="9017" y="13370"/>
                  </a:lnTo>
                  <a:lnTo>
                    <a:pt x="9040" y="13364"/>
                  </a:lnTo>
                  <a:lnTo>
                    <a:pt x="9063" y="13356"/>
                  </a:lnTo>
                  <a:lnTo>
                    <a:pt x="9087" y="13348"/>
                  </a:lnTo>
                  <a:lnTo>
                    <a:pt x="9109" y="13337"/>
                  </a:lnTo>
                  <a:lnTo>
                    <a:pt x="9131" y="13326"/>
                  </a:lnTo>
                  <a:lnTo>
                    <a:pt x="9153" y="13314"/>
                  </a:lnTo>
                  <a:lnTo>
                    <a:pt x="9174" y="13301"/>
                  </a:lnTo>
                  <a:lnTo>
                    <a:pt x="9194" y="13286"/>
                  </a:lnTo>
                  <a:lnTo>
                    <a:pt x="9214" y="13271"/>
                  </a:lnTo>
                  <a:lnTo>
                    <a:pt x="9234" y="13254"/>
                  </a:lnTo>
                  <a:lnTo>
                    <a:pt x="9253" y="13237"/>
                  </a:lnTo>
                  <a:lnTo>
                    <a:pt x="14768" y="7724"/>
                  </a:lnTo>
                  <a:lnTo>
                    <a:pt x="14929" y="7555"/>
                  </a:lnTo>
                  <a:lnTo>
                    <a:pt x="15080" y="7380"/>
                  </a:lnTo>
                  <a:lnTo>
                    <a:pt x="15220" y="7200"/>
                  </a:lnTo>
                  <a:lnTo>
                    <a:pt x="15349" y="7014"/>
                  </a:lnTo>
                  <a:lnTo>
                    <a:pt x="15468" y="6823"/>
                  </a:lnTo>
                  <a:lnTo>
                    <a:pt x="15577" y="6628"/>
                  </a:lnTo>
                  <a:lnTo>
                    <a:pt x="15676" y="6430"/>
                  </a:lnTo>
                  <a:lnTo>
                    <a:pt x="15763" y="6227"/>
                  </a:lnTo>
                  <a:lnTo>
                    <a:pt x="15842" y="6021"/>
                  </a:lnTo>
                  <a:lnTo>
                    <a:pt x="15909" y="5813"/>
                  </a:lnTo>
                  <a:lnTo>
                    <a:pt x="15965" y="5602"/>
                  </a:lnTo>
                  <a:lnTo>
                    <a:pt x="16013" y="5388"/>
                  </a:lnTo>
                  <a:lnTo>
                    <a:pt x="16049" y="5174"/>
                  </a:lnTo>
                  <a:lnTo>
                    <a:pt x="16074" y="4958"/>
                  </a:lnTo>
                  <a:lnTo>
                    <a:pt x="16090" y="4742"/>
                  </a:lnTo>
                  <a:lnTo>
                    <a:pt x="16095" y="4525"/>
                  </a:lnTo>
                  <a:lnTo>
                    <a:pt x="16090" y="4308"/>
                  </a:lnTo>
                  <a:lnTo>
                    <a:pt x="16074" y="4091"/>
                  </a:lnTo>
                  <a:lnTo>
                    <a:pt x="16049" y="3875"/>
                  </a:lnTo>
                  <a:lnTo>
                    <a:pt x="16013" y="3660"/>
                  </a:lnTo>
                  <a:lnTo>
                    <a:pt x="15965" y="3447"/>
                  </a:lnTo>
                  <a:lnTo>
                    <a:pt x="15909" y="3236"/>
                  </a:lnTo>
                  <a:lnTo>
                    <a:pt x="15842" y="3028"/>
                  </a:lnTo>
                  <a:lnTo>
                    <a:pt x="15763" y="2822"/>
                  </a:lnTo>
                  <a:lnTo>
                    <a:pt x="15676" y="2620"/>
                  </a:lnTo>
                  <a:lnTo>
                    <a:pt x="15577" y="2421"/>
                  </a:lnTo>
                  <a:lnTo>
                    <a:pt x="15468" y="2226"/>
                  </a:lnTo>
                  <a:lnTo>
                    <a:pt x="15349" y="2036"/>
                  </a:lnTo>
                  <a:lnTo>
                    <a:pt x="15220" y="1850"/>
                  </a:lnTo>
                  <a:lnTo>
                    <a:pt x="15080" y="1669"/>
                  </a:lnTo>
                  <a:lnTo>
                    <a:pt x="14929" y="1495"/>
                  </a:lnTo>
                  <a:lnTo>
                    <a:pt x="14768" y="13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46" name="îṧ1íḋé">
              <a:extLst>
                <a:ext uri="{FF2B5EF4-FFF2-40B4-BE49-F238E27FC236}">
                  <a16:creationId xmlns:a16="http://schemas.microsoft.com/office/drawing/2014/main" id="{1317EC6C-9A67-4C6B-AD43-C2D1283CDB53}"/>
                </a:ext>
              </a:extLst>
            </p:cNvPr>
            <p:cNvSpPr/>
            <p:nvPr/>
          </p:nvSpPr>
          <p:spPr bwMode="auto">
            <a:xfrm>
              <a:off x="3719883" y="2452159"/>
              <a:ext cx="366358" cy="366358"/>
            </a:xfrm>
            <a:custGeom>
              <a:avLst/>
              <a:gdLst>
                <a:gd name="T0" fmla="*/ 4167 w 16092"/>
                <a:gd name="T1" fmla="*/ 13921 h 16091"/>
                <a:gd name="T2" fmla="*/ 2857 w 16092"/>
                <a:gd name="T3" fmla="*/ 12802 h 16091"/>
                <a:gd name="T4" fmla="*/ 1872 w 16092"/>
                <a:gd name="T5" fmla="*/ 11423 h 16091"/>
                <a:gd name="T6" fmla="*/ 1245 w 16092"/>
                <a:gd name="T7" fmla="*/ 9857 h 16091"/>
                <a:gd name="T8" fmla="*/ 1007 w 16092"/>
                <a:gd name="T9" fmla="*/ 8176 h 16091"/>
                <a:gd name="T10" fmla="*/ 1188 w 16092"/>
                <a:gd name="T11" fmla="*/ 6453 h 16091"/>
                <a:gd name="T12" fmla="*/ 1812 w 16092"/>
                <a:gd name="T13" fmla="*/ 4775 h 16091"/>
                <a:gd name="T14" fmla="*/ 2807 w 16092"/>
                <a:gd name="T15" fmla="*/ 3343 h 16091"/>
                <a:gd name="T16" fmla="*/ 4090 w 16092"/>
                <a:gd name="T17" fmla="*/ 2225 h 16091"/>
                <a:gd name="T18" fmla="*/ 5590 w 16092"/>
                <a:gd name="T19" fmla="*/ 1452 h 16091"/>
                <a:gd name="T20" fmla="*/ 7234 w 16092"/>
                <a:gd name="T21" fmla="*/ 1054 h 16091"/>
                <a:gd name="T22" fmla="*/ 8949 w 16092"/>
                <a:gd name="T23" fmla="*/ 1063 h 16091"/>
                <a:gd name="T24" fmla="*/ 10662 w 16092"/>
                <a:gd name="T25" fmla="*/ 1511 h 16091"/>
                <a:gd name="T26" fmla="*/ 12211 w 16092"/>
                <a:gd name="T27" fmla="*/ 2370 h 16091"/>
                <a:gd name="T28" fmla="*/ 13458 w 16092"/>
                <a:gd name="T29" fmla="*/ 3547 h 16091"/>
                <a:gd name="T30" fmla="*/ 14374 w 16092"/>
                <a:gd name="T31" fmla="*/ 4968 h 16091"/>
                <a:gd name="T32" fmla="*/ 14925 w 16092"/>
                <a:gd name="T33" fmla="*/ 6564 h 16091"/>
                <a:gd name="T34" fmla="*/ 15082 w 16092"/>
                <a:gd name="T35" fmla="*/ 8259 h 16091"/>
                <a:gd name="T36" fmla="*/ 14814 w 16092"/>
                <a:gd name="T37" fmla="*/ 9982 h 16091"/>
                <a:gd name="T38" fmla="*/ 14107 w 16092"/>
                <a:gd name="T39" fmla="*/ 11626 h 16091"/>
                <a:gd name="T40" fmla="*/ 13049 w 16092"/>
                <a:gd name="T41" fmla="*/ 12998 h 16091"/>
                <a:gd name="T42" fmla="*/ 11716 w 16092"/>
                <a:gd name="T43" fmla="*/ 14049 h 16091"/>
                <a:gd name="T44" fmla="*/ 10181 w 16092"/>
                <a:gd name="T45" fmla="*/ 14750 h 16091"/>
                <a:gd name="T46" fmla="*/ 8518 w 16092"/>
                <a:gd name="T47" fmla="*/ 15069 h 16091"/>
                <a:gd name="T48" fmla="*/ 6797 w 16092"/>
                <a:gd name="T49" fmla="*/ 14974 h 16091"/>
                <a:gd name="T50" fmla="*/ 11036 w 16092"/>
                <a:gd name="T51" fmla="*/ 576 h 16091"/>
                <a:gd name="T52" fmla="*/ 9076 w 16092"/>
                <a:gd name="T53" fmla="*/ 64 h 16091"/>
                <a:gd name="T54" fmla="*/ 7115 w 16092"/>
                <a:gd name="T55" fmla="*/ 52 h 16091"/>
                <a:gd name="T56" fmla="*/ 5238 w 16092"/>
                <a:gd name="T57" fmla="*/ 506 h 16091"/>
                <a:gd name="T58" fmla="*/ 3525 w 16092"/>
                <a:gd name="T59" fmla="*/ 1390 h 16091"/>
                <a:gd name="T60" fmla="*/ 2058 w 16092"/>
                <a:gd name="T61" fmla="*/ 2669 h 16091"/>
                <a:gd name="T62" fmla="*/ 921 w 16092"/>
                <a:gd name="T63" fmla="*/ 4306 h 16091"/>
                <a:gd name="T64" fmla="*/ 207 w 16092"/>
                <a:gd name="T65" fmla="*/ 6227 h 16091"/>
                <a:gd name="T66" fmla="*/ 0 w 16092"/>
                <a:gd name="T67" fmla="*/ 8197 h 16091"/>
                <a:gd name="T68" fmla="*/ 272 w 16092"/>
                <a:gd name="T69" fmla="*/ 10118 h 16091"/>
                <a:gd name="T70" fmla="*/ 987 w 16092"/>
                <a:gd name="T71" fmla="*/ 11906 h 16091"/>
                <a:gd name="T72" fmla="*/ 2111 w 16092"/>
                <a:gd name="T73" fmla="*/ 13482 h 16091"/>
                <a:gd name="T74" fmla="*/ 3610 w 16092"/>
                <a:gd name="T75" fmla="*/ 14760 h 16091"/>
                <a:gd name="T76" fmla="*/ 5443 w 16092"/>
                <a:gd name="T77" fmla="*/ 15658 h 16091"/>
                <a:gd name="T78" fmla="*/ 7410 w 16092"/>
                <a:gd name="T79" fmla="*/ 16068 h 16091"/>
                <a:gd name="T80" fmla="*/ 9360 w 16092"/>
                <a:gd name="T81" fmla="*/ 15984 h 16091"/>
                <a:gd name="T82" fmla="*/ 11211 w 16092"/>
                <a:gd name="T83" fmla="*/ 15441 h 16091"/>
                <a:gd name="T84" fmla="*/ 12882 w 16092"/>
                <a:gd name="T85" fmla="*/ 14476 h 16091"/>
                <a:gd name="T86" fmla="*/ 14289 w 16092"/>
                <a:gd name="T87" fmla="*/ 13122 h 16091"/>
                <a:gd name="T88" fmla="*/ 15351 w 16092"/>
                <a:gd name="T89" fmla="*/ 11416 h 16091"/>
                <a:gd name="T90" fmla="*/ 15965 w 16092"/>
                <a:gd name="T91" fmla="*/ 9470 h 16091"/>
                <a:gd name="T92" fmla="*/ 16075 w 16092"/>
                <a:gd name="T93" fmla="*/ 7503 h 16091"/>
                <a:gd name="T94" fmla="*/ 15711 w 16092"/>
                <a:gd name="T95" fmla="*/ 5602 h 16091"/>
                <a:gd name="T96" fmla="*/ 14911 w 16092"/>
                <a:gd name="T97" fmla="*/ 3850 h 16091"/>
                <a:gd name="T98" fmla="*/ 13708 w 16092"/>
                <a:gd name="T99" fmla="*/ 2328 h 16091"/>
                <a:gd name="T100" fmla="*/ 12139 w 16092"/>
                <a:gd name="T101" fmla="*/ 1119 h 16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092" h="16091">
                  <a:moveTo>
                    <a:pt x="5429" y="14581"/>
                  </a:moveTo>
                  <a:lnTo>
                    <a:pt x="5096" y="14438"/>
                  </a:lnTo>
                  <a:lnTo>
                    <a:pt x="4775" y="14279"/>
                  </a:lnTo>
                  <a:lnTo>
                    <a:pt x="4465" y="14107"/>
                  </a:lnTo>
                  <a:lnTo>
                    <a:pt x="4167" y="13921"/>
                  </a:lnTo>
                  <a:lnTo>
                    <a:pt x="3880" y="13721"/>
                  </a:lnTo>
                  <a:lnTo>
                    <a:pt x="3605" y="13509"/>
                  </a:lnTo>
                  <a:lnTo>
                    <a:pt x="3343" y="13284"/>
                  </a:lnTo>
                  <a:lnTo>
                    <a:pt x="3093" y="13049"/>
                  </a:lnTo>
                  <a:lnTo>
                    <a:pt x="2857" y="12802"/>
                  </a:lnTo>
                  <a:lnTo>
                    <a:pt x="2633" y="12544"/>
                  </a:lnTo>
                  <a:lnTo>
                    <a:pt x="2422" y="12277"/>
                  </a:lnTo>
                  <a:lnTo>
                    <a:pt x="2225" y="12001"/>
                  </a:lnTo>
                  <a:lnTo>
                    <a:pt x="2042" y="11716"/>
                  </a:lnTo>
                  <a:lnTo>
                    <a:pt x="1872" y="11423"/>
                  </a:lnTo>
                  <a:lnTo>
                    <a:pt x="1717" y="11123"/>
                  </a:lnTo>
                  <a:lnTo>
                    <a:pt x="1577" y="10815"/>
                  </a:lnTo>
                  <a:lnTo>
                    <a:pt x="1452" y="10501"/>
                  </a:lnTo>
                  <a:lnTo>
                    <a:pt x="1341" y="10182"/>
                  </a:lnTo>
                  <a:lnTo>
                    <a:pt x="1245" y="9857"/>
                  </a:lnTo>
                  <a:lnTo>
                    <a:pt x="1166" y="9527"/>
                  </a:lnTo>
                  <a:lnTo>
                    <a:pt x="1102" y="9194"/>
                  </a:lnTo>
                  <a:lnTo>
                    <a:pt x="1054" y="8857"/>
                  </a:lnTo>
                  <a:lnTo>
                    <a:pt x="1022" y="8518"/>
                  </a:lnTo>
                  <a:lnTo>
                    <a:pt x="1007" y="8176"/>
                  </a:lnTo>
                  <a:lnTo>
                    <a:pt x="1009" y="7832"/>
                  </a:lnTo>
                  <a:lnTo>
                    <a:pt x="1027" y="7488"/>
                  </a:lnTo>
                  <a:lnTo>
                    <a:pt x="1063" y="7143"/>
                  </a:lnTo>
                  <a:lnTo>
                    <a:pt x="1117" y="6797"/>
                  </a:lnTo>
                  <a:lnTo>
                    <a:pt x="1188" y="6453"/>
                  </a:lnTo>
                  <a:lnTo>
                    <a:pt x="1277" y="6109"/>
                  </a:lnTo>
                  <a:lnTo>
                    <a:pt x="1384" y="5768"/>
                  </a:lnTo>
                  <a:lnTo>
                    <a:pt x="1510" y="5429"/>
                  </a:lnTo>
                  <a:lnTo>
                    <a:pt x="1654" y="5096"/>
                  </a:lnTo>
                  <a:lnTo>
                    <a:pt x="1812" y="4775"/>
                  </a:lnTo>
                  <a:lnTo>
                    <a:pt x="1984" y="4465"/>
                  </a:lnTo>
                  <a:lnTo>
                    <a:pt x="2170" y="4167"/>
                  </a:lnTo>
                  <a:lnTo>
                    <a:pt x="2370" y="3880"/>
                  </a:lnTo>
                  <a:lnTo>
                    <a:pt x="2582" y="3605"/>
                  </a:lnTo>
                  <a:lnTo>
                    <a:pt x="2807" y="3343"/>
                  </a:lnTo>
                  <a:lnTo>
                    <a:pt x="3042" y="3093"/>
                  </a:lnTo>
                  <a:lnTo>
                    <a:pt x="3289" y="2857"/>
                  </a:lnTo>
                  <a:lnTo>
                    <a:pt x="3547" y="2633"/>
                  </a:lnTo>
                  <a:lnTo>
                    <a:pt x="3814" y="2422"/>
                  </a:lnTo>
                  <a:lnTo>
                    <a:pt x="4090" y="2225"/>
                  </a:lnTo>
                  <a:lnTo>
                    <a:pt x="4375" y="2042"/>
                  </a:lnTo>
                  <a:lnTo>
                    <a:pt x="4669" y="1873"/>
                  </a:lnTo>
                  <a:lnTo>
                    <a:pt x="4968" y="1718"/>
                  </a:lnTo>
                  <a:lnTo>
                    <a:pt x="5276" y="1577"/>
                  </a:lnTo>
                  <a:lnTo>
                    <a:pt x="5590" y="1452"/>
                  </a:lnTo>
                  <a:lnTo>
                    <a:pt x="5910" y="1341"/>
                  </a:lnTo>
                  <a:lnTo>
                    <a:pt x="6234" y="1245"/>
                  </a:lnTo>
                  <a:lnTo>
                    <a:pt x="6564" y="1166"/>
                  </a:lnTo>
                  <a:lnTo>
                    <a:pt x="6897" y="1103"/>
                  </a:lnTo>
                  <a:lnTo>
                    <a:pt x="7234" y="1054"/>
                  </a:lnTo>
                  <a:lnTo>
                    <a:pt x="7573" y="1022"/>
                  </a:lnTo>
                  <a:lnTo>
                    <a:pt x="7915" y="1007"/>
                  </a:lnTo>
                  <a:lnTo>
                    <a:pt x="8259" y="1009"/>
                  </a:lnTo>
                  <a:lnTo>
                    <a:pt x="8603" y="1028"/>
                  </a:lnTo>
                  <a:lnTo>
                    <a:pt x="8949" y="1063"/>
                  </a:lnTo>
                  <a:lnTo>
                    <a:pt x="9294" y="1117"/>
                  </a:lnTo>
                  <a:lnTo>
                    <a:pt x="9638" y="1188"/>
                  </a:lnTo>
                  <a:lnTo>
                    <a:pt x="9982" y="1278"/>
                  </a:lnTo>
                  <a:lnTo>
                    <a:pt x="10323" y="1385"/>
                  </a:lnTo>
                  <a:lnTo>
                    <a:pt x="10662" y="1511"/>
                  </a:lnTo>
                  <a:lnTo>
                    <a:pt x="10995" y="1654"/>
                  </a:lnTo>
                  <a:lnTo>
                    <a:pt x="11316" y="1812"/>
                  </a:lnTo>
                  <a:lnTo>
                    <a:pt x="11626" y="1984"/>
                  </a:lnTo>
                  <a:lnTo>
                    <a:pt x="11924" y="2171"/>
                  </a:lnTo>
                  <a:lnTo>
                    <a:pt x="12211" y="2370"/>
                  </a:lnTo>
                  <a:lnTo>
                    <a:pt x="12486" y="2582"/>
                  </a:lnTo>
                  <a:lnTo>
                    <a:pt x="12748" y="2807"/>
                  </a:lnTo>
                  <a:lnTo>
                    <a:pt x="12998" y="3043"/>
                  </a:lnTo>
                  <a:lnTo>
                    <a:pt x="13234" y="3289"/>
                  </a:lnTo>
                  <a:lnTo>
                    <a:pt x="13458" y="3547"/>
                  </a:lnTo>
                  <a:lnTo>
                    <a:pt x="13669" y="3814"/>
                  </a:lnTo>
                  <a:lnTo>
                    <a:pt x="13866" y="4090"/>
                  </a:lnTo>
                  <a:lnTo>
                    <a:pt x="14049" y="4375"/>
                  </a:lnTo>
                  <a:lnTo>
                    <a:pt x="14219" y="4669"/>
                  </a:lnTo>
                  <a:lnTo>
                    <a:pt x="14374" y="4968"/>
                  </a:lnTo>
                  <a:lnTo>
                    <a:pt x="14514" y="5276"/>
                  </a:lnTo>
                  <a:lnTo>
                    <a:pt x="14639" y="5590"/>
                  </a:lnTo>
                  <a:lnTo>
                    <a:pt x="14750" y="5910"/>
                  </a:lnTo>
                  <a:lnTo>
                    <a:pt x="14846" y="6234"/>
                  </a:lnTo>
                  <a:lnTo>
                    <a:pt x="14925" y="6564"/>
                  </a:lnTo>
                  <a:lnTo>
                    <a:pt x="14989" y="6897"/>
                  </a:lnTo>
                  <a:lnTo>
                    <a:pt x="15037" y="7234"/>
                  </a:lnTo>
                  <a:lnTo>
                    <a:pt x="15069" y="7573"/>
                  </a:lnTo>
                  <a:lnTo>
                    <a:pt x="15084" y="7915"/>
                  </a:lnTo>
                  <a:lnTo>
                    <a:pt x="15082" y="8259"/>
                  </a:lnTo>
                  <a:lnTo>
                    <a:pt x="15064" y="8603"/>
                  </a:lnTo>
                  <a:lnTo>
                    <a:pt x="15028" y="8949"/>
                  </a:lnTo>
                  <a:lnTo>
                    <a:pt x="14974" y="9294"/>
                  </a:lnTo>
                  <a:lnTo>
                    <a:pt x="14903" y="9638"/>
                  </a:lnTo>
                  <a:lnTo>
                    <a:pt x="14814" y="9982"/>
                  </a:lnTo>
                  <a:lnTo>
                    <a:pt x="14707" y="10323"/>
                  </a:lnTo>
                  <a:lnTo>
                    <a:pt x="14581" y="10662"/>
                  </a:lnTo>
                  <a:lnTo>
                    <a:pt x="14437" y="10995"/>
                  </a:lnTo>
                  <a:lnTo>
                    <a:pt x="14279" y="11316"/>
                  </a:lnTo>
                  <a:lnTo>
                    <a:pt x="14107" y="11626"/>
                  </a:lnTo>
                  <a:lnTo>
                    <a:pt x="13921" y="11924"/>
                  </a:lnTo>
                  <a:lnTo>
                    <a:pt x="13721" y="12211"/>
                  </a:lnTo>
                  <a:lnTo>
                    <a:pt x="13509" y="12486"/>
                  </a:lnTo>
                  <a:lnTo>
                    <a:pt x="13284" y="12748"/>
                  </a:lnTo>
                  <a:lnTo>
                    <a:pt x="13049" y="12998"/>
                  </a:lnTo>
                  <a:lnTo>
                    <a:pt x="12802" y="13235"/>
                  </a:lnTo>
                  <a:lnTo>
                    <a:pt x="12544" y="13458"/>
                  </a:lnTo>
                  <a:lnTo>
                    <a:pt x="12277" y="13669"/>
                  </a:lnTo>
                  <a:lnTo>
                    <a:pt x="12001" y="13866"/>
                  </a:lnTo>
                  <a:lnTo>
                    <a:pt x="11716" y="14049"/>
                  </a:lnTo>
                  <a:lnTo>
                    <a:pt x="11422" y="14219"/>
                  </a:lnTo>
                  <a:lnTo>
                    <a:pt x="11123" y="14374"/>
                  </a:lnTo>
                  <a:lnTo>
                    <a:pt x="10815" y="14514"/>
                  </a:lnTo>
                  <a:lnTo>
                    <a:pt x="10501" y="14639"/>
                  </a:lnTo>
                  <a:lnTo>
                    <a:pt x="10181" y="14750"/>
                  </a:lnTo>
                  <a:lnTo>
                    <a:pt x="9857" y="14846"/>
                  </a:lnTo>
                  <a:lnTo>
                    <a:pt x="9527" y="14925"/>
                  </a:lnTo>
                  <a:lnTo>
                    <a:pt x="9194" y="14989"/>
                  </a:lnTo>
                  <a:lnTo>
                    <a:pt x="8857" y="15037"/>
                  </a:lnTo>
                  <a:lnTo>
                    <a:pt x="8518" y="15069"/>
                  </a:lnTo>
                  <a:lnTo>
                    <a:pt x="8176" y="15084"/>
                  </a:lnTo>
                  <a:lnTo>
                    <a:pt x="7832" y="15082"/>
                  </a:lnTo>
                  <a:lnTo>
                    <a:pt x="7487" y="15064"/>
                  </a:lnTo>
                  <a:lnTo>
                    <a:pt x="7142" y="15028"/>
                  </a:lnTo>
                  <a:lnTo>
                    <a:pt x="6797" y="14974"/>
                  </a:lnTo>
                  <a:lnTo>
                    <a:pt x="6453" y="14903"/>
                  </a:lnTo>
                  <a:lnTo>
                    <a:pt x="6109" y="14814"/>
                  </a:lnTo>
                  <a:lnTo>
                    <a:pt x="5768" y="14707"/>
                  </a:lnTo>
                  <a:lnTo>
                    <a:pt x="5429" y="14581"/>
                  </a:lnTo>
                  <a:close/>
                  <a:moveTo>
                    <a:pt x="11036" y="576"/>
                  </a:moveTo>
                  <a:lnTo>
                    <a:pt x="10648" y="433"/>
                  </a:lnTo>
                  <a:lnTo>
                    <a:pt x="10258" y="310"/>
                  </a:lnTo>
                  <a:lnTo>
                    <a:pt x="9864" y="207"/>
                  </a:lnTo>
                  <a:lnTo>
                    <a:pt x="9470" y="126"/>
                  </a:lnTo>
                  <a:lnTo>
                    <a:pt x="9076" y="64"/>
                  </a:lnTo>
                  <a:lnTo>
                    <a:pt x="8681" y="23"/>
                  </a:lnTo>
                  <a:lnTo>
                    <a:pt x="8287" y="2"/>
                  </a:lnTo>
                  <a:lnTo>
                    <a:pt x="7895" y="0"/>
                  </a:lnTo>
                  <a:lnTo>
                    <a:pt x="7503" y="17"/>
                  </a:lnTo>
                  <a:lnTo>
                    <a:pt x="7115" y="52"/>
                  </a:lnTo>
                  <a:lnTo>
                    <a:pt x="6731" y="108"/>
                  </a:lnTo>
                  <a:lnTo>
                    <a:pt x="6349" y="180"/>
                  </a:lnTo>
                  <a:lnTo>
                    <a:pt x="5973" y="272"/>
                  </a:lnTo>
                  <a:lnTo>
                    <a:pt x="5603" y="380"/>
                  </a:lnTo>
                  <a:lnTo>
                    <a:pt x="5238" y="506"/>
                  </a:lnTo>
                  <a:lnTo>
                    <a:pt x="4880" y="650"/>
                  </a:lnTo>
                  <a:lnTo>
                    <a:pt x="4529" y="810"/>
                  </a:lnTo>
                  <a:lnTo>
                    <a:pt x="4185" y="987"/>
                  </a:lnTo>
                  <a:lnTo>
                    <a:pt x="3851" y="1180"/>
                  </a:lnTo>
                  <a:lnTo>
                    <a:pt x="3525" y="1390"/>
                  </a:lnTo>
                  <a:lnTo>
                    <a:pt x="3209" y="1616"/>
                  </a:lnTo>
                  <a:lnTo>
                    <a:pt x="2904" y="1856"/>
                  </a:lnTo>
                  <a:lnTo>
                    <a:pt x="2610" y="2111"/>
                  </a:lnTo>
                  <a:lnTo>
                    <a:pt x="2328" y="2383"/>
                  </a:lnTo>
                  <a:lnTo>
                    <a:pt x="2058" y="2669"/>
                  </a:lnTo>
                  <a:lnTo>
                    <a:pt x="1803" y="2969"/>
                  </a:lnTo>
                  <a:lnTo>
                    <a:pt x="1559" y="3282"/>
                  </a:lnTo>
                  <a:lnTo>
                    <a:pt x="1332" y="3610"/>
                  </a:lnTo>
                  <a:lnTo>
                    <a:pt x="1119" y="3951"/>
                  </a:lnTo>
                  <a:lnTo>
                    <a:pt x="921" y="4306"/>
                  </a:lnTo>
                  <a:lnTo>
                    <a:pt x="740" y="4675"/>
                  </a:lnTo>
                  <a:lnTo>
                    <a:pt x="577" y="5055"/>
                  </a:lnTo>
                  <a:lnTo>
                    <a:pt x="433" y="5443"/>
                  </a:lnTo>
                  <a:lnTo>
                    <a:pt x="310" y="5833"/>
                  </a:lnTo>
                  <a:lnTo>
                    <a:pt x="207" y="6227"/>
                  </a:lnTo>
                  <a:lnTo>
                    <a:pt x="126" y="6621"/>
                  </a:lnTo>
                  <a:lnTo>
                    <a:pt x="64" y="7015"/>
                  </a:lnTo>
                  <a:lnTo>
                    <a:pt x="23" y="7411"/>
                  </a:lnTo>
                  <a:lnTo>
                    <a:pt x="2" y="7804"/>
                  </a:lnTo>
                  <a:lnTo>
                    <a:pt x="0" y="8197"/>
                  </a:lnTo>
                  <a:lnTo>
                    <a:pt x="17" y="8588"/>
                  </a:lnTo>
                  <a:lnTo>
                    <a:pt x="52" y="8976"/>
                  </a:lnTo>
                  <a:lnTo>
                    <a:pt x="108" y="9360"/>
                  </a:lnTo>
                  <a:lnTo>
                    <a:pt x="180" y="9742"/>
                  </a:lnTo>
                  <a:lnTo>
                    <a:pt x="272" y="10118"/>
                  </a:lnTo>
                  <a:lnTo>
                    <a:pt x="380" y="10489"/>
                  </a:lnTo>
                  <a:lnTo>
                    <a:pt x="506" y="10854"/>
                  </a:lnTo>
                  <a:lnTo>
                    <a:pt x="650" y="11212"/>
                  </a:lnTo>
                  <a:lnTo>
                    <a:pt x="810" y="11563"/>
                  </a:lnTo>
                  <a:lnTo>
                    <a:pt x="987" y="11906"/>
                  </a:lnTo>
                  <a:lnTo>
                    <a:pt x="1180" y="12241"/>
                  </a:lnTo>
                  <a:lnTo>
                    <a:pt x="1389" y="12566"/>
                  </a:lnTo>
                  <a:lnTo>
                    <a:pt x="1615" y="12882"/>
                  </a:lnTo>
                  <a:lnTo>
                    <a:pt x="1856" y="13188"/>
                  </a:lnTo>
                  <a:lnTo>
                    <a:pt x="2111" y="13482"/>
                  </a:lnTo>
                  <a:lnTo>
                    <a:pt x="2383" y="13763"/>
                  </a:lnTo>
                  <a:lnTo>
                    <a:pt x="2669" y="14033"/>
                  </a:lnTo>
                  <a:lnTo>
                    <a:pt x="2969" y="14289"/>
                  </a:lnTo>
                  <a:lnTo>
                    <a:pt x="3282" y="14532"/>
                  </a:lnTo>
                  <a:lnTo>
                    <a:pt x="3610" y="14760"/>
                  </a:lnTo>
                  <a:lnTo>
                    <a:pt x="3951" y="14972"/>
                  </a:lnTo>
                  <a:lnTo>
                    <a:pt x="4306" y="15170"/>
                  </a:lnTo>
                  <a:lnTo>
                    <a:pt x="4675" y="15351"/>
                  </a:lnTo>
                  <a:lnTo>
                    <a:pt x="5055" y="15514"/>
                  </a:lnTo>
                  <a:lnTo>
                    <a:pt x="5443" y="15658"/>
                  </a:lnTo>
                  <a:lnTo>
                    <a:pt x="5833" y="15781"/>
                  </a:lnTo>
                  <a:lnTo>
                    <a:pt x="6227" y="15884"/>
                  </a:lnTo>
                  <a:lnTo>
                    <a:pt x="6621" y="15965"/>
                  </a:lnTo>
                  <a:lnTo>
                    <a:pt x="7015" y="16027"/>
                  </a:lnTo>
                  <a:lnTo>
                    <a:pt x="7410" y="16068"/>
                  </a:lnTo>
                  <a:lnTo>
                    <a:pt x="7804" y="16089"/>
                  </a:lnTo>
                  <a:lnTo>
                    <a:pt x="8196" y="16091"/>
                  </a:lnTo>
                  <a:lnTo>
                    <a:pt x="8588" y="16074"/>
                  </a:lnTo>
                  <a:lnTo>
                    <a:pt x="8976" y="16039"/>
                  </a:lnTo>
                  <a:lnTo>
                    <a:pt x="9360" y="15984"/>
                  </a:lnTo>
                  <a:lnTo>
                    <a:pt x="9742" y="15911"/>
                  </a:lnTo>
                  <a:lnTo>
                    <a:pt x="10118" y="15820"/>
                  </a:lnTo>
                  <a:lnTo>
                    <a:pt x="10488" y="15711"/>
                  </a:lnTo>
                  <a:lnTo>
                    <a:pt x="10853" y="15585"/>
                  </a:lnTo>
                  <a:lnTo>
                    <a:pt x="11211" y="15441"/>
                  </a:lnTo>
                  <a:lnTo>
                    <a:pt x="11563" y="15281"/>
                  </a:lnTo>
                  <a:lnTo>
                    <a:pt x="11906" y="15104"/>
                  </a:lnTo>
                  <a:lnTo>
                    <a:pt x="12241" y="14911"/>
                  </a:lnTo>
                  <a:lnTo>
                    <a:pt x="12566" y="14702"/>
                  </a:lnTo>
                  <a:lnTo>
                    <a:pt x="12882" y="14476"/>
                  </a:lnTo>
                  <a:lnTo>
                    <a:pt x="13187" y="14235"/>
                  </a:lnTo>
                  <a:lnTo>
                    <a:pt x="13481" y="13980"/>
                  </a:lnTo>
                  <a:lnTo>
                    <a:pt x="13763" y="13708"/>
                  </a:lnTo>
                  <a:lnTo>
                    <a:pt x="14033" y="13423"/>
                  </a:lnTo>
                  <a:lnTo>
                    <a:pt x="14289" y="13122"/>
                  </a:lnTo>
                  <a:lnTo>
                    <a:pt x="14532" y="12809"/>
                  </a:lnTo>
                  <a:lnTo>
                    <a:pt x="14760" y="12481"/>
                  </a:lnTo>
                  <a:lnTo>
                    <a:pt x="14972" y="12140"/>
                  </a:lnTo>
                  <a:lnTo>
                    <a:pt x="15170" y="11785"/>
                  </a:lnTo>
                  <a:lnTo>
                    <a:pt x="15351" y="11416"/>
                  </a:lnTo>
                  <a:lnTo>
                    <a:pt x="15515" y="11036"/>
                  </a:lnTo>
                  <a:lnTo>
                    <a:pt x="15658" y="10648"/>
                  </a:lnTo>
                  <a:lnTo>
                    <a:pt x="15781" y="10258"/>
                  </a:lnTo>
                  <a:lnTo>
                    <a:pt x="15884" y="9864"/>
                  </a:lnTo>
                  <a:lnTo>
                    <a:pt x="15965" y="9470"/>
                  </a:lnTo>
                  <a:lnTo>
                    <a:pt x="16027" y="9076"/>
                  </a:lnTo>
                  <a:lnTo>
                    <a:pt x="16068" y="8680"/>
                  </a:lnTo>
                  <a:lnTo>
                    <a:pt x="16089" y="8287"/>
                  </a:lnTo>
                  <a:lnTo>
                    <a:pt x="16092" y="7894"/>
                  </a:lnTo>
                  <a:lnTo>
                    <a:pt x="16075" y="7503"/>
                  </a:lnTo>
                  <a:lnTo>
                    <a:pt x="16039" y="7115"/>
                  </a:lnTo>
                  <a:lnTo>
                    <a:pt x="15984" y="6731"/>
                  </a:lnTo>
                  <a:lnTo>
                    <a:pt x="15911" y="6349"/>
                  </a:lnTo>
                  <a:lnTo>
                    <a:pt x="15820" y="5973"/>
                  </a:lnTo>
                  <a:lnTo>
                    <a:pt x="15711" y="5602"/>
                  </a:lnTo>
                  <a:lnTo>
                    <a:pt x="15585" y="5238"/>
                  </a:lnTo>
                  <a:lnTo>
                    <a:pt x="15441" y="4879"/>
                  </a:lnTo>
                  <a:lnTo>
                    <a:pt x="15281" y="4528"/>
                  </a:lnTo>
                  <a:lnTo>
                    <a:pt x="15104" y="4185"/>
                  </a:lnTo>
                  <a:lnTo>
                    <a:pt x="14911" y="3850"/>
                  </a:lnTo>
                  <a:lnTo>
                    <a:pt x="14701" y="3525"/>
                  </a:lnTo>
                  <a:lnTo>
                    <a:pt x="14476" y="3209"/>
                  </a:lnTo>
                  <a:lnTo>
                    <a:pt x="14235" y="2904"/>
                  </a:lnTo>
                  <a:lnTo>
                    <a:pt x="13980" y="2610"/>
                  </a:lnTo>
                  <a:lnTo>
                    <a:pt x="13708" y="2328"/>
                  </a:lnTo>
                  <a:lnTo>
                    <a:pt x="13422" y="2058"/>
                  </a:lnTo>
                  <a:lnTo>
                    <a:pt x="13122" y="1802"/>
                  </a:lnTo>
                  <a:lnTo>
                    <a:pt x="12809" y="1559"/>
                  </a:lnTo>
                  <a:lnTo>
                    <a:pt x="12481" y="1331"/>
                  </a:lnTo>
                  <a:lnTo>
                    <a:pt x="12139" y="1119"/>
                  </a:lnTo>
                  <a:lnTo>
                    <a:pt x="11785" y="921"/>
                  </a:lnTo>
                  <a:lnTo>
                    <a:pt x="11416" y="740"/>
                  </a:lnTo>
                  <a:lnTo>
                    <a:pt x="11036" y="5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47" name="iṥlíḍè">
              <a:extLst>
                <a:ext uri="{FF2B5EF4-FFF2-40B4-BE49-F238E27FC236}">
                  <a16:creationId xmlns:a16="http://schemas.microsoft.com/office/drawing/2014/main" id="{A3453C31-2519-4AE0-82D0-C6B5EFA72AA7}"/>
                </a:ext>
              </a:extLst>
            </p:cNvPr>
            <p:cNvSpPr/>
            <p:nvPr/>
          </p:nvSpPr>
          <p:spPr bwMode="auto">
            <a:xfrm>
              <a:off x="3879902" y="2612178"/>
              <a:ext cx="46321" cy="46321"/>
            </a:xfrm>
            <a:custGeom>
              <a:avLst/>
              <a:gdLst>
                <a:gd name="T0" fmla="*/ 728 w 2011"/>
                <a:gd name="T1" fmla="*/ 1425 h 2011"/>
                <a:gd name="T2" fmla="*/ 634 w 2011"/>
                <a:gd name="T3" fmla="*/ 1346 h 2011"/>
                <a:gd name="T4" fmla="*/ 565 w 2011"/>
                <a:gd name="T5" fmla="*/ 1247 h 2011"/>
                <a:gd name="T6" fmla="*/ 520 w 2011"/>
                <a:gd name="T7" fmla="*/ 1135 h 2011"/>
                <a:gd name="T8" fmla="*/ 503 w 2011"/>
                <a:gd name="T9" fmla="*/ 1015 h 2011"/>
                <a:gd name="T10" fmla="*/ 516 w 2011"/>
                <a:gd name="T11" fmla="*/ 892 h 2011"/>
                <a:gd name="T12" fmla="*/ 560 w 2011"/>
                <a:gd name="T13" fmla="*/ 771 h 2011"/>
                <a:gd name="T14" fmla="*/ 631 w 2011"/>
                <a:gd name="T15" fmla="*/ 670 h 2011"/>
                <a:gd name="T16" fmla="*/ 723 w 2011"/>
                <a:gd name="T17" fmla="*/ 590 h 2011"/>
                <a:gd name="T18" fmla="*/ 830 w 2011"/>
                <a:gd name="T19" fmla="*/ 535 h 2011"/>
                <a:gd name="T20" fmla="*/ 947 w 2011"/>
                <a:gd name="T21" fmla="*/ 507 h 2011"/>
                <a:gd name="T22" fmla="*/ 1070 w 2011"/>
                <a:gd name="T23" fmla="*/ 507 h 2011"/>
                <a:gd name="T24" fmla="*/ 1193 w 2011"/>
                <a:gd name="T25" fmla="*/ 539 h 2011"/>
                <a:gd name="T26" fmla="*/ 1303 w 2011"/>
                <a:gd name="T27" fmla="*/ 600 h 2011"/>
                <a:gd name="T28" fmla="*/ 1392 w 2011"/>
                <a:gd name="T29" fmla="*/ 685 h 2011"/>
                <a:gd name="T30" fmla="*/ 1457 w 2011"/>
                <a:gd name="T31" fmla="*/ 786 h 2011"/>
                <a:gd name="T32" fmla="*/ 1496 w 2011"/>
                <a:gd name="T33" fmla="*/ 900 h 2011"/>
                <a:gd name="T34" fmla="*/ 1507 w 2011"/>
                <a:gd name="T35" fmla="*/ 1021 h 2011"/>
                <a:gd name="T36" fmla="*/ 1488 w 2011"/>
                <a:gd name="T37" fmla="*/ 1143 h 2011"/>
                <a:gd name="T38" fmla="*/ 1438 w 2011"/>
                <a:gd name="T39" fmla="*/ 1261 h 2011"/>
                <a:gd name="T40" fmla="*/ 1363 w 2011"/>
                <a:gd name="T41" fmla="*/ 1360 h 2011"/>
                <a:gd name="T42" fmla="*/ 1267 w 2011"/>
                <a:gd name="T43" fmla="*/ 1434 h 2011"/>
                <a:gd name="T44" fmla="*/ 1158 w 2011"/>
                <a:gd name="T45" fmla="*/ 1484 h 2011"/>
                <a:gd name="T46" fmla="*/ 1039 w 2011"/>
                <a:gd name="T47" fmla="*/ 1507 h 2011"/>
                <a:gd name="T48" fmla="*/ 916 w 2011"/>
                <a:gd name="T49" fmla="*/ 1500 h 2011"/>
                <a:gd name="T50" fmla="*/ 1380 w 2011"/>
                <a:gd name="T51" fmla="*/ 72 h 2011"/>
                <a:gd name="T52" fmla="*/ 1134 w 2011"/>
                <a:gd name="T53" fmla="*/ 8 h 2011"/>
                <a:gd name="T54" fmla="*/ 890 w 2011"/>
                <a:gd name="T55" fmla="*/ 7 h 2011"/>
                <a:gd name="T56" fmla="*/ 654 w 2011"/>
                <a:gd name="T57" fmla="*/ 63 h 2011"/>
                <a:gd name="T58" fmla="*/ 440 w 2011"/>
                <a:gd name="T59" fmla="*/ 174 h 2011"/>
                <a:gd name="T60" fmla="*/ 257 w 2011"/>
                <a:gd name="T61" fmla="*/ 334 h 2011"/>
                <a:gd name="T62" fmla="*/ 115 w 2011"/>
                <a:gd name="T63" fmla="*/ 538 h 2011"/>
                <a:gd name="T64" fmla="*/ 26 w 2011"/>
                <a:gd name="T65" fmla="*/ 778 h 2011"/>
                <a:gd name="T66" fmla="*/ 0 w 2011"/>
                <a:gd name="T67" fmla="*/ 1025 h 2011"/>
                <a:gd name="T68" fmla="*/ 34 w 2011"/>
                <a:gd name="T69" fmla="*/ 1265 h 2011"/>
                <a:gd name="T70" fmla="*/ 123 w 2011"/>
                <a:gd name="T71" fmla="*/ 1488 h 2011"/>
                <a:gd name="T72" fmla="*/ 264 w 2011"/>
                <a:gd name="T73" fmla="*/ 1686 h 2011"/>
                <a:gd name="T74" fmla="*/ 451 w 2011"/>
                <a:gd name="T75" fmla="*/ 1844 h 2011"/>
                <a:gd name="T76" fmla="*/ 680 w 2011"/>
                <a:gd name="T77" fmla="*/ 1957 h 2011"/>
                <a:gd name="T78" fmla="*/ 926 w 2011"/>
                <a:gd name="T79" fmla="*/ 2008 h 2011"/>
                <a:gd name="T80" fmla="*/ 1169 w 2011"/>
                <a:gd name="T81" fmla="*/ 1997 h 2011"/>
                <a:gd name="T82" fmla="*/ 1401 w 2011"/>
                <a:gd name="T83" fmla="*/ 1930 h 2011"/>
                <a:gd name="T84" fmla="*/ 1610 w 2011"/>
                <a:gd name="T85" fmla="*/ 1809 h 2011"/>
                <a:gd name="T86" fmla="*/ 1786 w 2011"/>
                <a:gd name="T87" fmla="*/ 1640 h 2011"/>
                <a:gd name="T88" fmla="*/ 1919 w 2011"/>
                <a:gd name="T89" fmla="*/ 1427 h 2011"/>
                <a:gd name="T90" fmla="*/ 1995 w 2011"/>
                <a:gd name="T91" fmla="*/ 1184 h 2011"/>
                <a:gd name="T92" fmla="*/ 2009 w 2011"/>
                <a:gd name="T93" fmla="*/ 938 h 2011"/>
                <a:gd name="T94" fmla="*/ 1964 w 2011"/>
                <a:gd name="T95" fmla="*/ 701 h 2011"/>
                <a:gd name="T96" fmla="*/ 1864 w 2011"/>
                <a:gd name="T97" fmla="*/ 481 h 2011"/>
                <a:gd name="T98" fmla="*/ 1714 w 2011"/>
                <a:gd name="T99" fmla="*/ 291 h 2011"/>
                <a:gd name="T100" fmla="*/ 1518 w 2011"/>
                <a:gd name="T101" fmla="*/ 139 h 20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011" h="2011">
                  <a:moveTo>
                    <a:pt x="818" y="1472"/>
                  </a:moveTo>
                  <a:lnTo>
                    <a:pt x="794" y="1462"/>
                  </a:lnTo>
                  <a:lnTo>
                    <a:pt x="772" y="1451"/>
                  </a:lnTo>
                  <a:lnTo>
                    <a:pt x="750" y="1438"/>
                  </a:lnTo>
                  <a:lnTo>
                    <a:pt x="728" y="1425"/>
                  </a:lnTo>
                  <a:lnTo>
                    <a:pt x="708" y="1411"/>
                  </a:lnTo>
                  <a:lnTo>
                    <a:pt x="689" y="1396"/>
                  </a:lnTo>
                  <a:lnTo>
                    <a:pt x="670" y="1380"/>
                  </a:lnTo>
                  <a:lnTo>
                    <a:pt x="651" y="1363"/>
                  </a:lnTo>
                  <a:lnTo>
                    <a:pt x="634" y="1346"/>
                  </a:lnTo>
                  <a:lnTo>
                    <a:pt x="619" y="1326"/>
                  </a:lnTo>
                  <a:lnTo>
                    <a:pt x="604" y="1307"/>
                  </a:lnTo>
                  <a:lnTo>
                    <a:pt x="590" y="1288"/>
                  </a:lnTo>
                  <a:lnTo>
                    <a:pt x="577" y="1268"/>
                  </a:lnTo>
                  <a:lnTo>
                    <a:pt x="565" y="1247"/>
                  </a:lnTo>
                  <a:lnTo>
                    <a:pt x="554" y="1225"/>
                  </a:lnTo>
                  <a:lnTo>
                    <a:pt x="544" y="1204"/>
                  </a:lnTo>
                  <a:lnTo>
                    <a:pt x="535" y="1181"/>
                  </a:lnTo>
                  <a:lnTo>
                    <a:pt x="527" y="1158"/>
                  </a:lnTo>
                  <a:lnTo>
                    <a:pt x="520" y="1135"/>
                  </a:lnTo>
                  <a:lnTo>
                    <a:pt x="514" y="1111"/>
                  </a:lnTo>
                  <a:lnTo>
                    <a:pt x="510" y="1087"/>
                  </a:lnTo>
                  <a:lnTo>
                    <a:pt x="507" y="1064"/>
                  </a:lnTo>
                  <a:lnTo>
                    <a:pt x="504" y="1039"/>
                  </a:lnTo>
                  <a:lnTo>
                    <a:pt x="503" y="1015"/>
                  </a:lnTo>
                  <a:lnTo>
                    <a:pt x="503" y="990"/>
                  </a:lnTo>
                  <a:lnTo>
                    <a:pt x="505" y="965"/>
                  </a:lnTo>
                  <a:lnTo>
                    <a:pt x="507" y="941"/>
                  </a:lnTo>
                  <a:lnTo>
                    <a:pt x="511" y="916"/>
                  </a:lnTo>
                  <a:lnTo>
                    <a:pt x="516" y="892"/>
                  </a:lnTo>
                  <a:lnTo>
                    <a:pt x="522" y="867"/>
                  </a:lnTo>
                  <a:lnTo>
                    <a:pt x="530" y="843"/>
                  </a:lnTo>
                  <a:lnTo>
                    <a:pt x="539" y="818"/>
                  </a:lnTo>
                  <a:lnTo>
                    <a:pt x="549" y="794"/>
                  </a:lnTo>
                  <a:lnTo>
                    <a:pt x="560" y="771"/>
                  </a:lnTo>
                  <a:lnTo>
                    <a:pt x="572" y="749"/>
                  </a:lnTo>
                  <a:lnTo>
                    <a:pt x="586" y="728"/>
                  </a:lnTo>
                  <a:lnTo>
                    <a:pt x="600" y="708"/>
                  </a:lnTo>
                  <a:lnTo>
                    <a:pt x="615" y="689"/>
                  </a:lnTo>
                  <a:lnTo>
                    <a:pt x="631" y="670"/>
                  </a:lnTo>
                  <a:lnTo>
                    <a:pt x="648" y="651"/>
                  </a:lnTo>
                  <a:lnTo>
                    <a:pt x="665" y="634"/>
                  </a:lnTo>
                  <a:lnTo>
                    <a:pt x="685" y="619"/>
                  </a:lnTo>
                  <a:lnTo>
                    <a:pt x="703" y="604"/>
                  </a:lnTo>
                  <a:lnTo>
                    <a:pt x="723" y="590"/>
                  </a:lnTo>
                  <a:lnTo>
                    <a:pt x="743" y="577"/>
                  </a:lnTo>
                  <a:lnTo>
                    <a:pt x="764" y="565"/>
                  </a:lnTo>
                  <a:lnTo>
                    <a:pt x="786" y="554"/>
                  </a:lnTo>
                  <a:lnTo>
                    <a:pt x="807" y="544"/>
                  </a:lnTo>
                  <a:lnTo>
                    <a:pt x="830" y="535"/>
                  </a:lnTo>
                  <a:lnTo>
                    <a:pt x="853" y="527"/>
                  </a:lnTo>
                  <a:lnTo>
                    <a:pt x="876" y="520"/>
                  </a:lnTo>
                  <a:lnTo>
                    <a:pt x="900" y="515"/>
                  </a:lnTo>
                  <a:lnTo>
                    <a:pt x="923" y="510"/>
                  </a:lnTo>
                  <a:lnTo>
                    <a:pt x="947" y="507"/>
                  </a:lnTo>
                  <a:lnTo>
                    <a:pt x="972" y="504"/>
                  </a:lnTo>
                  <a:lnTo>
                    <a:pt x="996" y="503"/>
                  </a:lnTo>
                  <a:lnTo>
                    <a:pt x="1021" y="503"/>
                  </a:lnTo>
                  <a:lnTo>
                    <a:pt x="1046" y="505"/>
                  </a:lnTo>
                  <a:lnTo>
                    <a:pt x="1070" y="507"/>
                  </a:lnTo>
                  <a:lnTo>
                    <a:pt x="1095" y="511"/>
                  </a:lnTo>
                  <a:lnTo>
                    <a:pt x="1119" y="516"/>
                  </a:lnTo>
                  <a:lnTo>
                    <a:pt x="1144" y="522"/>
                  </a:lnTo>
                  <a:lnTo>
                    <a:pt x="1168" y="530"/>
                  </a:lnTo>
                  <a:lnTo>
                    <a:pt x="1193" y="539"/>
                  </a:lnTo>
                  <a:lnTo>
                    <a:pt x="1217" y="549"/>
                  </a:lnTo>
                  <a:lnTo>
                    <a:pt x="1239" y="560"/>
                  </a:lnTo>
                  <a:lnTo>
                    <a:pt x="1261" y="573"/>
                  </a:lnTo>
                  <a:lnTo>
                    <a:pt x="1282" y="586"/>
                  </a:lnTo>
                  <a:lnTo>
                    <a:pt x="1303" y="600"/>
                  </a:lnTo>
                  <a:lnTo>
                    <a:pt x="1322" y="615"/>
                  </a:lnTo>
                  <a:lnTo>
                    <a:pt x="1341" y="631"/>
                  </a:lnTo>
                  <a:lnTo>
                    <a:pt x="1360" y="648"/>
                  </a:lnTo>
                  <a:lnTo>
                    <a:pt x="1376" y="665"/>
                  </a:lnTo>
                  <a:lnTo>
                    <a:pt x="1392" y="685"/>
                  </a:lnTo>
                  <a:lnTo>
                    <a:pt x="1407" y="704"/>
                  </a:lnTo>
                  <a:lnTo>
                    <a:pt x="1421" y="723"/>
                  </a:lnTo>
                  <a:lnTo>
                    <a:pt x="1434" y="743"/>
                  </a:lnTo>
                  <a:lnTo>
                    <a:pt x="1446" y="764"/>
                  </a:lnTo>
                  <a:lnTo>
                    <a:pt x="1457" y="786"/>
                  </a:lnTo>
                  <a:lnTo>
                    <a:pt x="1467" y="807"/>
                  </a:lnTo>
                  <a:lnTo>
                    <a:pt x="1476" y="830"/>
                  </a:lnTo>
                  <a:lnTo>
                    <a:pt x="1484" y="853"/>
                  </a:lnTo>
                  <a:lnTo>
                    <a:pt x="1491" y="876"/>
                  </a:lnTo>
                  <a:lnTo>
                    <a:pt x="1496" y="900"/>
                  </a:lnTo>
                  <a:lnTo>
                    <a:pt x="1501" y="923"/>
                  </a:lnTo>
                  <a:lnTo>
                    <a:pt x="1504" y="947"/>
                  </a:lnTo>
                  <a:lnTo>
                    <a:pt x="1506" y="971"/>
                  </a:lnTo>
                  <a:lnTo>
                    <a:pt x="1508" y="996"/>
                  </a:lnTo>
                  <a:lnTo>
                    <a:pt x="1507" y="1021"/>
                  </a:lnTo>
                  <a:lnTo>
                    <a:pt x="1506" y="1046"/>
                  </a:lnTo>
                  <a:lnTo>
                    <a:pt x="1504" y="1070"/>
                  </a:lnTo>
                  <a:lnTo>
                    <a:pt x="1500" y="1095"/>
                  </a:lnTo>
                  <a:lnTo>
                    <a:pt x="1495" y="1119"/>
                  </a:lnTo>
                  <a:lnTo>
                    <a:pt x="1488" y="1143"/>
                  </a:lnTo>
                  <a:lnTo>
                    <a:pt x="1481" y="1168"/>
                  </a:lnTo>
                  <a:lnTo>
                    <a:pt x="1472" y="1193"/>
                  </a:lnTo>
                  <a:lnTo>
                    <a:pt x="1462" y="1216"/>
                  </a:lnTo>
                  <a:lnTo>
                    <a:pt x="1451" y="1239"/>
                  </a:lnTo>
                  <a:lnTo>
                    <a:pt x="1438" y="1261"/>
                  </a:lnTo>
                  <a:lnTo>
                    <a:pt x="1425" y="1282"/>
                  </a:lnTo>
                  <a:lnTo>
                    <a:pt x="1411" y="1303"/>
                  </a:lnTo>
                  <a:lnTo>
                    <a:pt x="1396" y="1322"/>
                  </a:lnTo>
                  <a:lnTo>
                    <a:pt x="1380" y="1341"/>
                  </a:lnTo>
                  <a:lnTo>
                    <a:pt x="1363" y="1360"/>
                  </a:lnTo>
                  <a:lnTo>
                    <a:pt x="1346" y="1376"/>
                  </a:lnTo>
                  <a:lnTo>
                    <a:pt x="1326" y="1392"/>
                  </a:lnTo>
                  <a:lnTo>
                    <a:pt x="1307" y="1407"/>
                  </a:lnTo>
                  <a:lnTo>
                    <a:pt x="1288" y="1421"/>
                  </a:lnTo>
                  <a:lnTo>
                    <a:pt x="1267" y="1434"/>
                  </a:lnTo>
                  <a:lnTo>
                    <a:pt x="1247" y="1446"/>
                  </a:lnTo>
                  <a:lnTo>
                    <a:pt x="1225" y="1457"/>
                  </a:lnTo>
                  <a:lnTo>
                    <a:pt x="1204" y="1467"/>
                  </a:lnTo>
                  <a:lnTo>
                    <a:pt x="1181" y="1476"/>
                  </a:lnTo>
                  <a:lnTo>
                    <a:pt x="1158" y="1484"/>
                  </a:lnTo>
                  <a:lnTo>
                    <a:pt x="1134" y="1491"/>
                  </a:lnTo>
                  <a:lnTo>
                    <a:pt x="1111" y="1496"/>
                  </a:lnTo>
                  <a:lnTo>
                    <a:pt x="1087" y="1501"/>
                  </a:lnTo>
                  <a:lnTo>
                    <a:pt x="1063" y="1504"/>
                  </a:lnTo>
                  <a:lnTo>
                    <a:pt x="1039" y="1507"/>
                  </a:lnTo>
                  <a:lnTo>
                    <a:pt x="1015" y="1508"/>
                  </a:lnTo>
                  <a:lnTo>
                    <a:pt x="990" y="1508"/>
                  </a:lnTo>
                  <a:lnTo>
                    <a:pt x="965" y="1506"/>
                  </a:lnTo>
                  <a:lnTo>
                    <a:pt x="941" y="1504"/>
                  </a:lnTo>
                  <a:lnTo>
                    <a:pt x="916" y="1500"/>
                  </a:lnTo>
                  <a:lnTo>
                    <a:pt x="892" y="1495"/>
                  </a:lnTo>
                  <a:lnTo>
                    <a:pt x="867" y="1489"/>
                  </a:lnTo>
                  <a:lnTo>
                    <a:pt x="843" y="1481"/>
                  </a:lnTo>
                  <a:lnTo>
                    <a:pt x="818" y="1472"/>
                  </a:lnTo>
                  <a:close/>
                  <a:moveTo>
                    <a:pt x="1380" y="72"/>
                  </a:moveTo>
                  <a:lnTo>
                    <a:pt x="1331" y="54"/>
                  </a:lnTo>
                  <a:lnTo>
                    <a:pt x="1282" y="39"/>
                  </a:lnTo>
                  <a:lnTo>
                    <a:pt x="1233" y="26"/>
                  </a:lnTo>
                  <a:lnTo>
                    <a:pt x="1184" y="16"/>
                  </a:lnTo>
                  <a:lnTo>
                    <a:pt x="1134" y="8"/>
                  </a:lnTo>
                  <a:lnTo>
                    <a:pt x="1085" y="3"/>
                  </a:lnTo>
                  <a:lnTo>
                    <a:pt x="1036" y="1"/>
                  </a:lnTo>
                  <a:lnTo>
                    <a:pt x="987" y="0"/>
                  </a:lnTo>
                  <a:lnTo>
                    <a:pt x="938" y="2"/>
                  </a:lnTo>
                  <a:lnTo>
                    <a:pt x="890" y="7"/>
                  </a:lnTo>
                  <a:lnTo>
                    <a:pt x="842" y="14"/>
                  </a:lnTo>
                  <a:lnTo>
                    <a:pt x="794" y="23"/>
                  </a:lnTo>
                  <a:lnTo>
                    <a:pt x="747" y="34"/>
                  </a:lnTo>
                  <a:lnTo>
                    <a:pt x="701" y="48"/>
                  </a:lnTo>
                  <a:lnTo>
                    <a:pt x="654" y="63"/>
                  </a:lnTo>
                  <a:lnTo>
                    <a:pt x="610" y="81"/>
                  </a:lnTo>
                  <a:lnTo>
                    <a:pt x="566" y="101"/>
                  </a:lnTo>
                  <a:lnTo>
                    <a:pt x="524" y="123"/>
                  </a:lnTo>
                  <a:lnTo>
                    <a:pt x="481" y="147"/>
                  </a:lnTo>
                  <a:lnTo>
                    <a:pt x="440" y="174"/>
                  </a:lnTo>
                  <a:lnTo>
                    <a:pt x="401" y="202"/>
                  </a:lnTo>
                  <a:lnTo>
                    <a:pt x="363" y="232"/>
                  </a:lnTo>
                  <a:lnTo>
                    <a:pt x="326" y="264"/>
                  </a:lnTo>
                  <a:lnTo>
                    <a:pt x="291" y="297"/>
                  </a:lnTo>
                  <a:lnTo>
                    <a:pt x="257" y="334"/>
                  </a:lnTo>
                  <a:lnTo>
                    <a:pt x="225" y="371"/>
                  </a:lnTo>
                  <a:lnTo>
                    <a:pt x="195" y="410"/>
                  </a:lnTo>
                  <a:lnTo>
                    <a:pt x="167" y="451"/>
                  </a:lnTo>
                  <a:lnTo>
                    <a:pt x="139" y="493"/>
                  </a:lnTo>
                  <a:lnTo>
                    <a:pt x="115" y="538"/>
                  </a:lnTo>
                  <a:lnTo>
                    <a:pt x="93" y="584"/>
                  </a:lnTo>
                  <a:lnTo>
                    <a:pt x="72" y="631"/>
                  </a:lnTo>
                  <a:lnTo>
                    <a:pt x="54" y="681"/>
                  </a:lnTo>
                  <a:lnTo>
                    <a:pt x="39" y="729"/>
                  </a:lnTo>
                  <a:lnTo>
                    <a:pt x="26" y="778"/>
                  </a:lnTo>
                  <a:lnTo>
                    <a:pt x="16" y="827"/>
                  </a:lnTo>
                  <a:lnTo>
                    <a:pt x="8" y="877"/>
                  </a:lnTo>
                  <a:lnTo>
                    <a:pt x="3" y="926"/>
                  </a:lnTo>
                  <a:lnTo>
                    <a:pt x="1" y="975"/>
                  </a:lnTo>
                  <a:lnTo>
                    <a:pt x="0" y="1025"/>
                  </a:lnTo>
                  <a:lnTo>
                    <a:pt x="3" y="1074"/>
                  </a:lnTo>
                  <a:lnTo>
                    <a:pt x="7" y="1122"/>
                  </a:lnTo>
                  <a:lnTo>
                    <a:pt x="14" y="1170"/>
                  </a:lnTo>
                  <a:lnTo>
                    <a:pt x="23" y="1218"/>
                  </a:lnTo>
                  <a:lnTo>
                    <a:pt x="34" y="1265"/>
                  </a:lnTo>
                  <a:lnTo>
                    <a:pt x="48" y="1311"/>
                  </a:lnTo>
                  <a:lnTo>
                    <a:pt x="63" y="1357"/>
                  </a:lnTo>
                  <a:lnTo>
                    <a:pt x="81" y="1402"/>
                  </a:lnTo>
                  <a:lnTo>
                    <a:pt x="101" y="1445"/>
                  </a:lnTo>
                  <a:lnTo>
                    <a:pt x="123" y="1488"/>
                  </a:lnTo>
                  <a:lnTo>
                    <a:pt x="147" y="1531"/>
                  </a:lnTo>
                  <a:lnTo>
                    <a:pt x="174" y="1571"/>
                  </a:lnTo>
                  <a:lnTo>
                    <a:pt x="202" y="1610"/>
                  </a:lnTo>
                  <a:lnTo>
                    <a:pt x="232" y="1648"/>
                  </a:lnTo>
                  <a:lnTo>
                    <a:pt x="264" y="1686"/>
                  </a:lnTo>
                  <a:lnTo>
                    <a:pt x="297" y="1721"/>
                  </a:lnTo>
                  <a:lnTo>
                    <a:pt x="334" y="1754"/>
                  </a:lnTo>
                  <a:lnTo>
                    <a:pt x="371" y="1786"/>
                  </a:lnTo>
                  <a:lnTo>
                    <a:pt x="410" y="1816"/>
                  </a:lnTo>
                  <a:lnTo>
                    <a:pt x="451" y="1844"/>
                  </a:lnTo>
                  <a:lnTo>
                    <a:pt x="493" y="1872"/>
                  </a:lnTo>
                  <a:lnTo>
                    <a:pt x="538" y="1896"/>
                  </a:lnTo>
                  <a:lnTo>
                    <a:pt x="584" y="1919"/>
                  </a:lnTo>
                  <a:lnTo>
                    <a:pt x="631" y="1939"/>
                  </a:lnTo>
                  <a:lnTo>
                    <a:pt x="680" y="1957"/>
                  </a:lnTo>
                  <a:lnTo>
                    <a:pt x="729" y="1972"/>
                  </a:lnTo>
                  <a:lnTo>
                    <a:pt x="778" y="1985"/>
                  </a:lnTo>
                  <a:lnTo>
                    <a:pt x="827" y="1995"/>
                  </a:lnTo>
                  <a:lnTo>
                    <a:pt x="877" y="2003"/>
                  </a:lnTo>
                  <a:lnTo>
                    <a:pt x="926" y="2008"/>
                  </a:lnTo>
                  <a:lnTo>
                    <a:pt x="975" y="2011"/>
                  </a:lnTo>
                  <a:lnTo>
                    <a:pt x="1025" y="2011"/>
                  </a:lnTo>
                  <a:lnTo>
                    <a:pt x="1073" y="2009"/>
                  </a:lnTo>
                  <a:lnTo>
                    <a:pt x="1122" y="2004"/>
                  </a:lnTo>
                  <a:lnTo>
                    <a:pt x="1169" y="1997"/>
                  </a:lnTo>
                  <a:lnTo>
                    <a:pt x="1218" y="1988"/>
                  </a:lnTo>
                  <a:lnTo>
                    <a:pt x="1264" y="1977"/>
                  </a:lnTo>
                  <a:lnTo>
                    <a:pt x="1311" y="1964"/>
                  </a:lnTo>
                  <a:lnTo>
                    <a:pt x="1357" y="1948"/>
                  </a:lnTo>
                  <a:lnTo>
                    <a:pt x="1401" y="1930"/>
                  </a:lnTo>
                  <a:lnTo>
                    <a:pt x="1445" y="1910"/>
                  </a:lnTo>
                  <a:lnTo>
                    <a:pt x="1488" y="1888"/>
                  </a:lnTo>
                  <a:lnTo>
                    <a:pt x="1530" y="1864"/>
                  </a:lnTo>
                  <a:lnTo>
                    <a:pt x="1571" y="1837"/>
                  </a:lnTo>
                  <a:lnTo>
                    <a:pt x="1610" y="1809"/>
                  </a:lnTo>
                  <a:lnTo>
                    <a:pt x="1648" y="1779"/>
                  </a:lnTo>
                  <a:lnTo>
                    <a:pt x="1685" y="1747"/>
                  </a:lnTo>
                  <a:lnTo>
                    <a:pt x="1721" y="1714"/>
                  </a:lnTo>
                  <a:lnTo>
                    <a:pt x="1754" y="1677"/>
                  </a:lnTo>
                  <a:lnTo>
                    <a:pt x="1786" y="1640"/>
                  </a:lnTo>
                  <a:lnTo>
                    <a:pt x="1816" y="1601"/>
                  </a:lnTo>
                  <a:lnTo>
                    <a:pt x="1844" y="1560"/>
                  </a:lnTo>
                  <a:lnTo>
                    <a:pt x="1872" y="1518"/>
                  </a:lnTo>
                  <a:lnTo>
                    <a:pt x="1896" y="1473"/>
                  </a:lnTo>
                  <a:lnTo>
                    <a:pt x="1919" y="1427"/>
                  </a:lnTo>
                  <a:lnTo>
                    <a:pt x="1939" y="1380"/>
                  </a:lnTo>
                  <a:lnTo>
                    <a:pt x="1957" y="1330"/>
                  </a:lnTo>
                  <a:lnTo>
                    <a:pt x="1972" y="1282"/>
                  </a:lnTo>
                  <a:lnTo>
                    <a:pt x="1985" y="1233"/>
                  </a:lnTo>
                  <a:lnTo>
                    <a:pt x="1995" y="1184"/>
                  </a:lnTo>
                  <a:lnTo>
                    <a:pt x="2003" y="1134"/>
                  </a:lnTo>
                  <a:lnTo>
                    <a:pt x="2008" y="1085"/>
                  </a:lnTo>
                  <a:lnTo>
                    <a:pt x="2011" y="1036"/>
                  </a:lnTo>
                  <a:lnTo>
                    <a:pt x="2011" y="986"/>
                  </a:lnTo>
                  <a:lnTo>
                    <a:pt x="2009" y="938"/>
                  </a:lnTo>
                  <a:lnTo>
                    <a:pt x="2004" y="890"/>
                  </a:lnTo>
                  <a:lnTo>
                    <a:pt x="1998" y="842"/>
                  </a:lnTo>
                  <a:lnTo>
                    <a:pt x="1988" y="794"/>
                  </a:lnTo>
                  <a:lnTo>
                    <a:pt x="1977" y="747"/>
                  </a:lnTo>
                  <a:lnTo>
                    <a:pt x="1964" y="701"/>
                  </a:lnTo>
                  <a:lnTo>
                    <a:pt x="1948" y="654"/>
                  </a:lnTo>
                  <a:lnTo>
                    <a:pt x="1930" y="610"/>
                  </a:lnTo>
                  <a:lnTo>
                    <a:pt x="1910" y="566"/>
                  </a:lnTo>
                  <a:lnTo>
                    <a:pt x="1888" y="523"/>
                  </a:lnTo>
                  <a:lnTo>
                    <a:pt x="1864" y="481"/>
                  </a:lnTo>
                  <a:lnTo>
                    <a:pt x="1837" y="441"/>
                  </a:lnTo>
                  <a:lnTo>
                    <a:pt x="1809" y="401"/>
                  </a:lnTo>
                  <a:lnTo>
                    <a:pt x="1780" y="363"/>
                  </a:lnTo>
                  <a:lnTo>
                    <a:pt x="1748" y="326"/>
                  </a:lnTo>
                  <a:lnTo>
                    <a:pt x="1714" y="291"/>
                  </a:lnTo>
                  <a:lnTo>
                    <a:pt x="1678" y="257"/>
                  </a:lnTo>
                  <a:lnTo>
                    <a:pt x="1640" y="225"/>
                  </a:lnTo>
                  <a:lnTo>
                    <a:pt x="1601" y="195"/>
                  </a:lnTo>
                  <a:lnTo>
                    <a:pt x="1561" y="167"/>
                  </a:lnTo>
                  <a:lnTo>
                    <a:pt x="1518" y="139"/>
                  </a:lnTo>
                  <a:lnTo>
                    <a:pt x="1473" y="115"/>
                  </a:lnTo>
                  <a:lnTo>
                    <a:pt x="1427" y="92"/>
                  </a:lnTo>
                  <a:lnTo>
                    <a:pt x="1380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48" name="îşlíḓê">
              <a:extLst>
                <a:ext uri="{FF2B5EF4-FFF2-40B4-BE49-F238E27FC236}">
                  <a16:creationId xmlns:a16="http://schemas.microsoft.com/office/drawing/2014/main" id="{2FBCC352-C9B5-4DD1-AC05-68A8627A55EB}"/>
                </a:ext>
              </a:extLst>
            </p:cNvPr>
            <p:cNvSpPr/>
            <p:nvPr/>
          </p:nvSpPr>
          <p:spPr bwMode="auto">
            <a:xfrm>
              <a:off x="3834423" y="2566699"/>
              <a:ext cx="137279" cy="137279"/>
            </a:xfrm>
            <a:custGeom>
              <a:avLst/>
              <a:gdLst>
                <a:gd name="T0" fmla="*/ 1909 w 6034"/>
                <a:gd name="T1" fmla="*/ 4695 h 6033"/>
                <a:gd name="T2" fmla="*/ 1534 w 6034"/>
                <a:gd name="T3" fmla="*/ 4376 h 6033"/>
                <a:gd name="T4" fmla="*/ 1253 w 6034"/>
                <a:gd name="T5" fmla="*/ 3981 h 6033"/>
                <a:gd name="T6" fmla="*/ 1074 w 6034"/>
                <a:gd name="T7" fmla="*/ 3534 h 6033"/>
                <a:gd name="T8" fmla="*/ 1006 w 6034"/>
                <a:gd name="T9" fmla="*/ 3054 h 6033"/>
                <a:gd name="T10" fmla="*/ 1057 w 6034"/>
                <a:gd name="T11" fmla="*/ 2561 h 6033"/>
                <a:gd name="T12" fmla="*/ 1235 w 6034"/>
                <a:gd name="T13" fmla="*/ 2082 h 6033"/>
                <a:gd name="T14" fmla="*/ 1520 w 6034"/>
                <a:gd name="T15" fmla="*/ 1673 h 6033"/>
                <a:gd name="T16" fmla="*/ 1886 w 6034"/>
                <a:gd name="T17" fmla="*/ 1354 h 6033"/>
                <a:gd name="T18" fmla="*/ 2314 w 6034"/>
                <a:gd name="T19" fmla="*/ 1132 h 6033"/>
                <a:gd name="T20" fmla="*/ 2784 w 6034"/>
                <a:gd name="T21" fmla="*/ 1019 h 6033"/>
                <a:gd name="T22" fmla="*/ 3274 w 6034"/>
                <a:gd name="T23" fmla="*/ 1022 h 6033"/>
                <a:gd name="T24" fmla="*/ 3764 w 6034"/>
                <a:gd name="T25" fmla="*/ 1148 h 6033"/>
                <a:gd name="T26" fmla="*/ 4207 w 6034"/>
                <a:gd name="T27" fmla="*/ 1395 h 6033"/>
                <a:gd name="T28" fmla="*/ 4563 w 6034"/>
                <a:gd name="T29" fmla="*/ 1731 h 6033"/>
                <a:gd name="T30" fmla="*/ 4824 w 6034"/>
                <a:gd name="T31" fmla="*/ 2137 h 6033"/>
                <a:gd name="T32" fmla="*/ 4982 w 6034"/>
                <a:gd name="T33" fmla="*/ 2593 h 6033"/>
                <a:gd name="T34" fmla="*/ 5027 w 6034"/>
                <a:gd name="T35" fmla="*/ 3078 h 6033"/>
                <a:gd name="T36" fmla="*/ 4951 w 6034"/>
                <a:gd name="T37" fmla="*/ 3570 h 6033"/>
                <a:gd name="T38" fmla="*/ 4749 w 6034"/>
                <a:gd name="T39" fmla="*/ 4040 h 6033"/>
                <a:gd name="T40" fmla="*/ 4446 w 6034"/>
                <a:gd name="T41" fmla="*/ 4431 h 6033"/>
                <a:gd name="T42" fmla="*/ 4066 w 6034"/>
                <a:gd name="T43" fmla="*/ 4732 h 6033"/>
                <a:gd name="T44" fmla="*/ 3627 w 6034"/>
                <a:gd name="T45" fmla="*/ 4932 h 6033"/>
                <a:gd name="T46" fmla="*/ 3151 w 6034"/>
                <a:gd name="T47" fmla="*/ 5023 h 6033"/>
                <a:gd name="T48" fmla="*/ 2660 w 6034"/>
                <a:gd name="T49" fmla="*/ 4996 h 6033"/>
                <a:gd name="T50" fmla="*/ 4138 w 6034"/>
                <a:gd name="T51" fmla="*/ 216 h 6033"/>
                <a:gd name="T52" fmla="*/ 3403 w 6034"/>
                <a:gd name="T53" fmla="*/ 24 h 6033"/>
                <a:gd name="T54" fmla="*/ 2667 w 6034"/>
                <a:gd name="T55" fmla="*/ 19 h 6033"/>
                <a:gd name="T56" fmla="*/ 1963 w 6034"/>
                <a:gd name="T57" fmla="*/ 190 h 6033"/>
                <a:gd name="T58" fmla="*/ 1321 w 6034"/>
                <a:gd name="T59" fmla="*/ 521 h 6033"/>
                <a:gd name="T60" fmla="*/ 771 w 6034"/>
                <a:gd name="T61" fmla="*/ 1001 h 6033"/>
                <a:gd name="T62" fmla="*/ 346 w 6034"/>
                <a:gd name="T63" fmla="*/ 1614 h 6033"/>
                <a:gd name="T64" fmla="*/ 78 w 6034"/>
                <a:gd name="T65" fmla="*/ 2334 h 6033"/>
                <a:gd name="T66" fmla="*/ 0 w 6034"/>
                <a:gd name="T67" fmla="*/ 3073 h 6033"/>
                <a:gd name="T68" fmla="*/ 101 w 6034"/>
                <a:gd name="T69" fmla="*/ 3793 h 6033"/>
                <a:gd name="T70" fmla="*/ 370 w 6034"/>
                <a:gd name="T71" fmla="*/ 4464 h 6033"/>
                <a:gd name="T72" fmla="*/ 791 w 6034"/>
                <a:gd name="T73" fmla="*/ 5055 h 6033"/>
                <a:gd name="T74" fmla="*/ 1354 w 6034"/>
                <a:gd name="T75" fmla="*/ 5534 h 6033"/>
                <a:gd name="T76" fmla="*/ 2041 w 6034"/>
                <a:gd name="T77" fmla="*/ 5870 h 6033"/>
                <a:gd name="T78" fmla="*/ 2778 w 6034"/>
                <a:gd name="T79" fmla="*/ 6024 h 6033"/>
                <a:gd name="T80" fmla="*/ 3509 w 6034"/>
                <a:gd name="T81" fmla="*/ 5993 h 6033"/>
                <a:gd name="T82" fmla="*/ 4205 w 6034"/>
                <a:gd name="T83" fmla="*/ 5790 h 6033"/>
                <a:gd name="T84" fmla="*/ 4830 w 6034"/>
                <a:gd name="T85" fmla="*/ 5428 h 6033"/>
                <a:gd name="T86" fmla="*/ 5358 w 6034"/>
                <a:gd name="T87" fmla="*/ 4921 h 6033"/>
                <a:gd name="T88" fmla="*/ 5757 w 6034"/>
                <a:gd name="T89" fmla="*/ 4281 h 6033"/>
                <a:gd name="T90" fmla="*/ 5987 w 6034"/>
                <a:gd name="T91" fmla="*/ 3551 h 6033"/>
                <a:gd name="T92" fmla="*/ 6027 w 6034"/>
                <a:gd name="T93" fmla="*/ 2813 h 6033"/>
                <a:gd name="T94" fmla="*/ 5891 w 6034"/>
                <a:gd name="T95" fmla="*/ 2100 h 6033"/>
                <a:gd name="T96" fmla="*/ 5591 w 6034"/>
                <a:gd name="T97" fmla="*/ 1443 h 6033"/>
                <a:gd name="T98" fmla="*/ 5140 w 6034"/>
                <a:gd name="T99" fmla="*/ 873 h 6033"/>
                <a:gd name="T100" fmla="*/ 4552 w 6034"/>
                <a:gd name="T101" fmla="*/ 419 h 6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34" h="6033">
                  <a:moveTo>
                    <a:pt x="2269" y="4884"/>
                  </a:moveTo>
                  <a:lnTo>
                    <a:pt x="2175" y="4842"/>
                  </a:lnTo>
                  <a:lnTo>
                    <a:pt x="2082" y="4797"/>
                  </a:lnTo>
                  <a:lnTo>
                    <a:pt x="1993" y="4749"/>
                  </a:lnTo>
                  <a:lnTo>
                    <a:pt x="1909" y="4695"/>
                  </a:lnTo>
                  <a:lnTo>
                    <a:pt x="1826" y="4638"/>
                  </a:lnTo>
                  <a:lnTo>
                    <a:pt x="1748" y="4578"/>
                  </a:lnTo>
                  <a:lnTo>
                    <a:pt x="1674" y="4513"/>
                  </a:lnTo>
                  <a:lnTo>
                    <a:pt x="1602" y="4446"/>
                  </a:lnTo>
                  <a:lnTo>
                    <a:pt x="1534" y="4376"/>
                  </a:lnTo>
                  <a:lnTo>
                    <a:pt x="1470" y="4302"/>
                  </a:lnTo>
                  <a:lnTo>
                    <a:pt x="1410" y="4226"/>
                  </a:lnTo>
                  <a:lnTo>
                    <a:pt x="1354" y="4146"/>
                  </a:lnTo>
                  <a:lnTo>
                    <a:pt x="1301" y="4065"/>
                  </a:lnTo>
                  <a:lnTo>
                    <a:pt x="1253" y="3981"/>
                  </a:lnTo>
                  <a:lnTo>
                    <a:pt x="1209" y="3896"/>
                  </a:lnTo>
                  <a:lnTo>
                    <a:pt x="1169" y="3807"/>
                  </a:lnTo>
                  <a:lnTo>
                    <a:pt x="1132" y="3718"/>
                  </a:lnTo>
                  <a:lnTo>
                    <a:pt x="1101" y="3627"/>
                  </a:lnTo>
                  <a:lnTo>
                    <a:pt x="1074" y="3534"/>
                  </a:lnTo>
                  <a:lnTo>
                    <a:pt x="1051" y="3440"/>
                  </a:lnTo>
                  <a:lnTo>
                    <a:pt x="1033" y="3344"/>
                  </a:lnTo>
                  <a:lnTo>
                    <a:pt x="1019" y="3248"/>
                  </a:lnTo>
                  <a:lnTo>
                    <a:pt x="1010" y="3151"/>
                  </a:lnTo>
                  <a:lnTo>
                    <a:pt x="1006" y="3054"/>
                  </a:lnTo>
                  <a:lnTo>
                    <a:pt x="1007" y="2955"/>
                  </a:lnTo>
                  <a:lnTo>
                    <a:pt x="1012" y="2857"/>
                  </a:lnTo>
                  <a:lnTo>
                    <a:pt x="1022" y="2758"/>
                  </a:lnTo>
                  <a:lnTo>
                    <a:pt x="1037" y="2659"/>
                  </a:lnTo>
                  <a:lnTo>
                    <a:pt x="1057" y="2561"/>
                  </a:lnTo>
                  <a:lnTo>
                    <a:pt x="1083" y="2463"/>
                  </a:lnTo>
                  <a:lnTo>
                    <a:pt x="1113" y="2366"/>
                  </a:lnTo>
                  <a:lnTo>
                    <a:pt x="1149" y="2269"/>
                  </a:lnTo>
                  <a:lnTo>
                    <a:pt x="1190" y="2174"/>
                  </a:lnTo>
                  <a:lnTo>
                    <a:pt x="1235" y="2082"/>
                  </a:lnTo>
                  <a:lnTo>
                    <a:pt x="1284" y="1993"/>
                  </a:lnTo>
                  <a:lnTo>
                    <a:pt x="1338" y="1908"/>
                  </a:lnTo>
                  <a:lnTo>
                    <a:pt x="1395" y="1826"/>
                  </a:lnTo>
                  <a:lnTo>
                    <a:pt x="1455" y="1748"/>
                  </a:lnTo>
                  <a:lnTo>
                    <a:pt x="1520" y="1673"/>
                  </a:lnTo>
                  <a:lnTo>
                    <a:pt x="1587" y="1601"/>
                  </a:lnTo>
                  <a:lnTo>
                    <a:pt x="1657" y="1534"/>
                  </a:lnTo>
                  <a:lnTo>
                    <a:pt x="1731" y="1470"/>
                  </a:lnTo>
                  <a:lnTo>
                    <a:pt x="1807" y="1410"/>
                  </a:lnTo>
                  <a:lnTo>
                    <a:pt x="1886" y="1354"/>
                  </a:lnTo>
                  <a:lnTo>
                    <a:pt x="1967" y="1301"/>
                  </a:lnTo>
                  <a:lnTo>
                    <a:pt x="2052" y="1253"/>
                  </a:lnTo>
                  <a:lnTo>
                    <a:pt x="2137" y="1209"/>
                  </a:lnTo>
                  <a:lnTo>
                    <a:pt x="2225" y="1169"/>
                  </a:lnTo>
                  <a:lnTo>
                    <a:pt x="2314" y="1132"/>
                  </a:lnTo>
                  <a:lnTo>
                    <a:pt x="2406" y="1101"/>
                  </a:lnTo>
                  <a:lnTo>
                    <a:pt x="2498" y="1074"/>
                  </a:lnTo>
                  <a:lnTo>
                    <a:pt x="2593" y="1051"/>
                  </a:lnTo>
                  <a:lnTo>
                    <a:pt x="2689" y="1033"/>
                  </a:lnTo>
                  <a:lnTo>
                    <a:pt x="2784" y="1019"/>
                  </a:lnTo>
                  <a:lnTo>
                    <a:pt x="2882" y="1010"/>
                  </a:lnTo>
                  <a:lnTo>
                    <a:pt x="2979" y="1006"/>
                  </a:lnTo>
                  <a:lnTo>
                    <a:pt x="3077" y="1006"/>
                  </a:lnTo>
                  <a:lnTo>
                    <a:pt x="3175" y="1011"/>
                  </a:lnTo>
                  <a:lnTo>
                    <a:pt x="3274" y="1022"/>
                  </a:lnTo>
                  <a:lnTo>
                    <a:pt x="3373" y="1037"/>
                  </a:lnTo>
                  <a:lnTo>
                    <a:pt x="3471" y="1057"/>
                  </a:lnTo>
                  <a:lnTo>
                    <a:pt x="3570" y="1082"/>
                  </a:lnTo>
                  <a:lnTo>
                    <a:pt x="3667" y="1113"/>
                  </a:lnTo>
                  <a:lnTo>
                    <a:pt x="3764" y="1148"/>
                  </a:lnTo>
                  <a:lnTo>
                    <a:pt x="3859" y="1190"/>
                  </a:lnTo>
                  <a:lnTo>
                    <a:pt x="3951" y="1235"/>
                  </a:lnTo>
                  <a:lnTo>
                    <a:pt x="4040" y="1284"/>
                  </a:lnTo>
                  <a:lnTo>
                    <a:pt x="4125" y="1338"/>
                  </a:lnTo>
                  <a:lnTo>
                    <a:pt x="4207" y="1395"/>
                  </a:lnTo>
                  <a:lnTo>
                    <a:pt x="4285" y="1455"/>
                  </a:lnTo>
                  <a:lnTo>
                    <a:pt x="4360" y="1520"/>
                  </a:lnTo>
                  <a:lnTo>
                    <a:pt x="4432" y="1587"/>
                  </a:lnTo>
                  <a:lnTo>
                    <a:pt x="4499" y="1657"/>
                  </a:lnTo>
                  <a:lnTo>
                    <a:pt x="4563" y="1731"/>
                  </a:lnTo>
                  <a:lnTo>
                    <a:pt x="4623" y="1807"/>
                  </a:lnTo>
                  <a:lnTo>
                    <a:pt x="4679" y="1887"/>
                  </a:lnTo>
                  <a:lnTo>
                    <a:pt x="4732" y="1968"/>
                  </a:lnTo>
                  <a:lnTo>
                    <a:pt x="4780" y="2052"/>
                  </a:lnTo>
                  <a:lnTo>
                    <a:pt x="4824" y="2137"/>
                  </a:lnTo>
                  <a:lnTo>
                    <a:pt x="4864" y="2226"/>
                  </a:lnTo>
                  <a:lnTo>
                    <a:pt x="4901" y="2315"/>
                  </a:lnTo>
                  <a:lnTo>
                    <a:pt x="4932" y="2407"/>
                  </a:lnTo>
                  <a:lnTo>
                    <a:pt x="4960" y="2499"/>
                  </a:lnTo>
                  <a:lnTo>
                    <a:pt x="4982" y="2593"/>
                  </a:lnTo>
                  <a:lnTo>
                    <a:pt x="5000" y="2689"/>
                  </a:lnTo>
                  <a:lnTo>
                    <a:pt x="5014" y="2785"/>
                  </a:lnTo>
                  <a:lnTo>
                    <a:pt x="5023" y="2882"/>
                  </a:lnTo>
                  <a:lnTo>
                    <a:pt x="5027" y="2979"/>
                  </a:lnTo>
                  <a:lnTo>
                    <a:pt x="5027" y="3078"/>
                  </a:lnTo>
                  <a:lnTo>
                    <a:pt x="5021" y="3176"/>
                  </a:lnTo>
                  <a:lnTo>
                    <a:pt x="5011" y="3275"/>
                  </a:lnTo>
                  <a:lnTo>
                    <a:pt x="4996" y="3374"/>
                  </a:lnTo>
                  <a:lnTo>
                    <a:pt x="4976" y="3472"/>
                  </a:lnTo>
                  <a:lnTo>
                    <a:pt x="4951" y="3570"/>
                  </a:lnTo>
                  <a:lnTo>
                    <a:pt x="4920" y="3667"/>
                  </a:lnTo>
                  <a:lnTo>
                    <a:pt x="4884" y="3764"/>
                  </a:lnTo>
                  <a:lnTo>
                    <a:pt x="4843" y="3859"/>
                  </a:lnTo>
                  <a:lnTo>
                    <a:pt x="4798" y="3951"/>
                  </a:lnTo>
                  <a:lnTo>
                    <a:pt x="4749" y="4040"/>
                  </a:lnTo>
                  <a:lnTo>
                    <a:pt x="4695" y="4125"/>
                  </a:lnTo>
                  <a:lnTo>
                    <a:pt x="4638" y="4207"/>
                  </a:lnTo>
                  <a:lnTo>
                    <a:pt x="4578" y="4285"/>
                  </a:lnTo>
                  <a:lnTo>
                    <a:pt x="4513" y="4359"/>
                  </a:lnTo>
                  <a:lnTo>
                    <a:pt x="4446" y="4431"/>
                  </a:lnTo>
                  <a:lnTo>
                    <a:pt x="4376" y="4499"/>
                  </a:lnTo>
                  <a:lnTo>
                    <a:pt x="4302" y="4563"/>
                  </a:lnTo>
                  <a:lnTo>
                    <a:pt x="4226" y="4623"/>
                  </a:lnTo>
                  <a:lnTo>
                    <a:pt x="4147" y="4679"/>
                  </a:lnTo>
                  <a:lnTo>
                    <a:pt x="4066" y="4732"/>
                  </a:lnTo>
                  <a:lnTo>
                    <a:pt x="3981" y="4780"/>
                  </a:lnTo>
                  <a:lnTo>
                    <a:pt x="3896" y="4824"/>
                  </a:lnTo>
                  <a:lnTo>
                    <a:pt x="3808" y="4864"/>
                  </a:lnTo>
                  <a:lnTo>
                    <a:pt x="3719" y="4901"/>
                  </a:lnTo>
                  <a:lnTo>
                    <a:pt x="3627" y="4932"/>
                  </a:lnTo>
                  <a:lnTo>
                    <a:pt x="3535" y="4959"/>
                  </a:lnTo>
                  <a:lnTo>
                    <a:pt x="3440" y="4982"/>
                  </a:lnTo>
                  <a:lnTo>
                    <a:pt x="3344" y="5000"/>
                  </a:lnTo>
                  <a:lnTo>
                    <a:pt x="3249" y="5014"/>
                  </a:lnTo>
                  <a:lnTo>
                    <a:pt x="3151" y="5023"/>
                  </a:lnTo>
                  <a:lnTo>
                    <a:pt x="3054" y="5027"/>
                  </a:lnTo>
                  <a:lnTo>
                    <a:pt x="2956" y="5027"/>
                  </a:lnTo>
                  <a:lnTo>
                    <a:pt x="2858" y="5021"/>
                  </a:lnTo>
                  <a:lnTo>
                    <a:pt x="2759" y="5011"/>
                  </a:lnTo>
                  <a:lnTo>
                    <a:pt x="2660" y="4996"/>
                  </a:lnTo>
                  <a:lnTo>
                    <a:pt x="2562" y="4976"/>
                  </a:lnTo>
                  <a:lnTo>
                    <a:pt x="2463" y="4950"/>
                  </a:lnTo>
                  <a:lnTo>
                    <a:pt x="2366" y="4920"/>
                  </a:lnTo>
                  <a:lnTo>
                    <a:pt x="2269" y="4884"/>
                  </a:lnTo>
                  <a:close/>
                  <a:moveTo>
                    <a:pt x="4138" y="216"/>
                  </a:moveTo>
                  <a:lnTo>
                    <a:pt x="3992" y="162"/>
                  </a:lnTo>
                  <a:lnTo>
                    <a:pt x="3846" y="115"/>
                  </a:lnTo>
                  <a:lnTo>
                    <a:pt x="3699" y="77"/>
                  </a:lnTo>
                  <a:lnTo>
                    <a:pt x="3551" y="47"/>
                  </a:lnTo>
                  <a:lnTo>
                    <a:pt x="3403" y="24"/>
                  </a:lnTo>
                  <a:lnTo>
                    <a:pt x="3255" y="9"/>
                  </a:lnTo>
                  <a:lnTo>
                    <a:pt x="3107" y="1"/>
                  </a:lnTo>
                  <a:lnTo>
                    <a:pt x="2960" y="0"/>
                  </a:lnTo>
                  <a:lnTo>
                    <a:pt x="2813" y="6"/>
                  </a:lnTo>
                  <a:lnTo>
                    <a:pt x="2667" y="19"/>
                  </a:lnTo>
                  <a:lnTo>
                    <a:pt x="2524" y="40"/>
                  </a:lnTo>
                  <a:lnTo>
                    <a:pt x="2381" y="67"/>
                  </a:lnTo>
                  <a:lnTo>
                    <a:pt x="2240" y="101"/>
                  </a:lnTo>
                  <a:lnTo>
                    <a:pt x="2100" y="142"/>
                  </a:lnTo>
                  <a:lnTo>
                    <a:pt x="1963" y="190"/>
                  </a:lnTo>
                  <a:lnTo>
                    <a:pt x="1829" y="243"/>
                  </a:lnTo>
                  <a:lnTo>
                    <a:pt x="1698" y="303"/>
                  </a:lnTo>
                  <a:lnTo>
                    <a:pt x="1569" y="370"/>
                  </a:lnTo>
                  <a:lnTo>
                    <a:pt x="1443" y="442"/>
                  </a:lnTo>
                  <a:lnTo>
                    <a:pt x="1321" y="521"/>
                  </a:lnTo>
                  <a:lnTo>
                    <a:pt x="1203" y="605"/>
                  </a:lnTo>
                  <a:lnTo>
                    <a:pt x="1088" y="696"/>
                  </a:lnTo>
                  <a:lnTo>
                    <a:pt x="978" y="791"/>
                  </a:lnTo>
                  <a:lnTo>
                    <a:pt x="873" y="893"/>
                  </a:lnTo>
                  <a:lnTo>
                    <a:pt x="771" y="1001"/>
                  </a:lnTo>
                  <a:lnTo>
                    <a:pt x="676" y="1112"/>
                  </a:lnTo>
                  <a:lnTo>
                    <a:pt x="584" y="1231"/>
                  </a:lnTo>
                  <a:lnTo>
                    <a:pt x="499" y="1354"/>
                  </a:lnTo>
                  <a:lnTo>
                    <a:pt x="419" y="1481"/>
                  </a:lnTo>
                  <a:lnTo>
                    <a:pt x="346" y="1614"/>
                  </a:lnTo>
                  <a:lnTo>
                    <a:pt x="277" y="1752"/>
                  </a:lnTo>
                  <a:lnTo>
                    <a:pt x="216" y="1895"/>
                  </a:lnTo>
                  <a:lnTo>
                    <a:pt x="162" y="2041"/>
                  </a:lnTo>
                  <a:lnTo>
                    <a:pt x="116" y="2188"/>
                  </a:lnTo>
                  <a:lnTo>
                    <a:pt x="78" y="2334"/>
                  </a:lnTo>
                  <a:lnTo>
                    <a:pt x="47" y="2482"/>
                  </a:lnTo>
                  <a:lnTo>
                    <a:pt x="24" y="2630"/>
                  </a:lnTo>
                  <a:lnTo>
                    <a:pt x="9" y="2778"/>
                  </a:lnTo>
                  <a:lnTo>
                    <a:pt x="1" y="2926"/>
                  </a:lnTo>
                  <a:lnTo>
                    <a:pt x="0" y="3073"/>
                  </a:lnTo>
                  <a:lnTo>
                    <a:pt x="6" y="3220"/>
                  </a:lnTo>
                  <a:lnTo>
                    <a:pt x="20" y="3366"/>
                  </a:lnTo>
                  <a:lnTo>
                    <a:pt x="40" y="3509"/>
                  </a:lnTo>
                  <a:lnTo>
                    <a:pt x="67" y="3652"/>
                  </a:lnTo>
                  <a:lnTo>
                    <a:pt x="101" y="3793"/>
                  </a:lnTo>
                  <a:lnTo>
                    <a:pt x="143" y="3933"/>
                  </a:lnTo>
                  <a:lnTo>
                    <a:pt x="190" y="4070"/>
                  </a:lnTo>
                  <a:lnTo>
                    <a:pt x="243" y="4204"/>
                  </a:lnTo>
                  <a:lnTo>
                    <a:pt x="303" y="4335"/>
                  </a:lnTo>
                  <a:lnTo>
                    <a:pt x="370" y="4464"/>
                  </a:lnTo>
                  <a:lnTo>
                    <a:pt x="442" y="4590"/>
                  </a:lnTo>
                  <a:lnTo>
                    <a:pt x="521" y="4712"/>
                  </a:lnTo>
                  <a:lnTo>
                    <a:pt x="605" y="4830"/>
                  </a:lnTo>
                  <a:lnTo>
                    <a:pt x="696" y="4945"/>
                  </a:lnTo>
                  <a:lnTo>
                    <a:pt x="791" y="5055"/>
                  </a:lnTo>
                  <a:lnTo>
                    <a:pt x="893" y="5160"/>
                  </a:lnTo>
                  <a:lnTo>
                    <a:pt x="1001" y="5262"/>
                  </a:lnTo>
                  <a:lnTo>
                    <a:pt x="1113" y="5357"/>
                  </a:lnTo>
                  <a:lnTo>
                    <a:pt x="1231" y="5449"/>
                  </a:lnTo>
                  <a:lnTo>
                    <a:pt x="1354" y="5534"/>
                  </a:lnTo>
                  <a:lnTo>
                    <a:pt x="1481" y="5614"/>
                  </a:lnTo>
                  <a:lnTo>
                    <a:pt x="1614" y="5687"/>
                  </a:lnTo>
                  <a:lnTo>
                    <a:pt x="1752" y="5756"/>
                  </a:lnTo>
                  <a:lnTo>
                    <a:pt x="1895" y="5817"/>
                  </a:lnTo>
                  <a:lnTo>
                    <a:pt x="2041" y="5870"/>
                  </a:lnTo>
                  <a:lnTo>
                    <a:pt x="2188" y="5917"/>
                  </a:lnTo>
                  <a:lnTo>
                    <a:pt x="2334" y="5955"/>
                  </a:lnTo>
                  <a:lnTo>
                    <a:pt x="2482" y="5986"/>
                  </a:lnTo>
                  <a:lnTo>
                    <a:pt x="2630" y="6009"/>
                  </a:lnTo>
                  <a:lnTo>
                    <a:pt x="2778" y="6024"/>
                  </a:lnTo>
                  <a:lnTo>
                    <a:pt x="2926" y="6032"/>
                  </a:lnTo>
                  <a:lnTo>
                    <a:pt x="3074" y="6033"/>
                  </a:lnTo>
                  <a:lnTo>
                    <a:pt x="3220" y="6027"/>
                  </a:lnTo>
                  <a:lnTo>
                    <a:pt x="3366" y="6013"/>
                  </a:lnTo>
                  <a:lnTo>
                    <a:pt x="3509" y="5993"/>
                  </a:lnTo>
                  <a:lnTo>
                    <a:pt x="3652" y="5966"/>
                  </a:lnTo>
                  <a:lnTo>
                    <a:pt x="3794" y="5932"/>
                  </a:lnTo>
                  <a:lnTo>
                    <a:pt x="3933" y="5891"/>
                  </a:lnTo>
                  <a:lnTo>
                    <a:pt x="4070" y="5843"/>
                  </a:lnTo>
                  <a:lnTo>
                    <a:pt x="4205" y="5790"/>
                  </a:lnTo>
                  <a:lnTo>
                    <a:pt x="4336" y="5730"/>
                  </a:lnTo>
                  <a:lnTo>
                    <a:pt x="4465" y="5663"/>
                  </a:lnTo>
                  <a:lnTo>
                    <a:pt x="4590" y="5591"/>
                  </a:lnTo>
                  <a:lnTo>
                    <a:pt x="4713" y="5512"/>
                  </a:lnTo>
                  <a:lnTo>
                    <a:pt x="4830" y="5428"/>
                  </a:lnTo>
                  <a:lnTo>
                    <a:pt x="4945" y="5338"/>
                  </a:lnTo>
                  <a:lnTo>
                    <a:pt x="5056" y="5242"/>
                  </a:lnTo>
                  <a:lnTo>
                    <a:pt x="5161" y="5140"/>
                  </a:lnTo>
                  <a:lnTo>
                    <a:pt x="5262" y="5033"/>
                  </a:lnTo>
                  <a:lnTo>
                    <a:pt x="5358" y="4921"/>
                  </a:lnTo>
                  <a:lnTo>
                    <a:pt x="5449" y="4803"/>
                  </a:lnTo>
                  <a:lnTo>
                    <a:pt x="5534" y="4680"/>
                  </a:lnTo>
                  <a:lnTo>
                    <a:pt x="5615" y="4552"/>
                  </a:lnTo>
                  <a:lnTo>
                    <a:pt x="5688" y="4419"/>
                  </a:lnTo>
                  <a:lnTo>
                    <a:pt x="5757" y="4281"/>
                  </a:lnTo>
                  <a:lnTo>
                    <a:pt x="5818" y="4138"/>
                  </a:lnTo>
                  <a:lnTo>
                    <a:pt x="5871" y="3992"/>
                  </a:lnTo>
                  <a:lnTo>
                    <a:pt x="5918" y="3846"/>
                  </a:lnTo>
                  <a:lnTo>
                    <a:pt x="5956" y="3699"/>
                  </a:lnTo>
                  <a:lnTo>
                    <a:pt x="5987" y="3551"/>
                  </a:lnTo>
                  <a:lnTo>
                    <a:pt x="6009" y="3403"/>
                  </a:lnTo>
                  <a:lnTo>
                    <a:pt x="6025" y="3255"/>
                  </a:lnTo>
                  <a:lnTo>
                    <a:pt x="6033" y="3107"/>
                  </a:lnTo>
                  <a:lnTo>
                    <a:pt x="6034" y="2960"/>
                  </a:lnTo>
                  <a:lnTo>
                    <a:pt x="6027" y="2813"/>
                  </a:lnTo>
                  <a:lnTo>
                    <a:pt x="6014" y="2667"/>
                  </a:lnTo>
                  <a:lnTo>
                    <a:pt x="5993" y="2524"/>
                  </a:lnTo>
                  <a:lnTo>
                    <a:pt x="5966" y="2381"/>
                  </a:lnTo>
                  <a:lnTo>
                    <a:pt x="5932" y="2240"/>
                  </a:lnTo>
                  <a:lnTo>
                    <a:pt x="5891" y="2100"/>
                  </a:lnTo>
                  <a:lnTo>
                    <a:pt x="5844" y="1963"/>
                  </a:lnTo>
                  <a:lnTo>
                    <a:pt x="5790" y="1829"/>
                  </a:lnTo>
                  <a:lnTo>
                    <a:pt x="5730" y="1698"/>
                  </a:lnTo>
                  <a:lnTo>
                    <a:pt x="5663" y="1569"/>
                  </a:lnTo>
                  <a:lnTo>
                    <a:pt x="5591" y="1443"/>
                  </a:lnTo>
                  <a:lnTo>
                    <a:pt x="5512" y="1321"/>
                  </a:lnTo>
                  <a:lnTo>
                    <a:pt x="5428" y="1203"/>
                  </a:lnTo>
                  <a:lnTo>
                    <a:pt x="5338" y="1088"/>
                  </a:lnTo>
                  <a:lnTo>
                    <a:pt x="5242" y="978"/>
                  </a:lnTo>
                  <a:lnTo>
                    <a:pt x="5140" y="873"/>
                  </a:lnTo>
                  <a:lnTo>
                    <a:pt x="5033" y="771"/>
                  </a:lnTo>
                  <a:lnTo>
                    <a:pt x="4921" y="676"/>
                  </a:lnTo>
                  <a:lnTo>
                    <a:pt x="4803" y="584"/>
                  </a:lnTo>
                  <a:lnTo>
                    <a:pt x="4679" y="499"/>
                  </a:lnTo>
                  <a:lnTo>
                    <a:pt x="4552" y="419"/>
                  </a:lnTo>
                  <a:lnTo>
                    <a:pt x="4419" y="345"/>
                  </a:lnTo>
                  <a:lnTo>
                    <a:pt x="4281" y="277"/>
                  </a:lnTo>
                  <a:lnTo>
                    <a:pt x="4138" y="2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49" name="îṣliḓê">
              <a:extLst>
                <a:ext uri="{FF2B5EF4-FFF2-40B4-BE49-F238E27FC236}">
                  <a16:creationId xmlns:a16="http://schemas.microsoft.com/office/drawing/2014/main" id="{847E8CB2-2254-4A31-AC9C-BAB359CE6703}"/>
                </a:ext>
              </a:extLst>
            </p:cNvPr>
            <p:cNvSpPr/>
            <p:nvPr/>
          </p:nvSpPr>
          <p:spPr bwMode="auto">
            <a:xfrm>
              <a:off x="3931276" y="2661867"/>
              <a:ext cx="57270" cy="58112"/>
            </a:xfrm>
            <a:custGeom>
              <a:avLst/>
              <a:gdLst>
                <a:gd name="T0" fmla="*/ 2514 w 2520"/>
                <a:gd name="T1" fmla="*/ 308 h 2567"/>
                <a:gd name="T2" fmla="*/ 2520 w 2520"/>
                <a:gd name="T3" fmla="*/ 259 h 2567"/>
                <a:gd name="T4" fmla="*/ 2517 w 2520"/>
                <a:gd name="T5" fmla="*/ 211 h 2567"/>
                <a:gd name="T6" fmla="*/ 2505 w 2520"/>
                <a:gd name="T7" fmla="*/ 163 h 2567"/>
                <a:gd name="T8" fmla="*/ 2483 w 2520"/>
                <a:gd name="T9" fmla="*/ 120 h 2567"/>
                <a:gd name="T10" fmla="*/ 2454 w 2520"/>
                <a:gd name="T11" fmla="*/ 82 h 2567"/>
                <a:gd name="T12" fmla="*/ 2417 w 2520"/>
                <a:gd name="T13" fmla="*/ 49 h 2567"/>
                <a:gd name="T14" fmla="*/ 2374 w 2520"/>
                <a:gd name="T15" fmla="*/ 23 h 2567"/>
                <a:gd name="T16" fmla="*/ 2326 w 2520"/>
                <a:gd name="T17" fmla="*/ 6 h 2567"/>
                <a:gd name="T18" fmla="*/ 2276 w 2520"/>
                <a:gd name="T19" fmla="*/ 0 h 2567"/>
                <a:gd name="T20" fmla="*/ 2227 w 2520"/>
                <a:gd name="T21" fmla="*/ 3 h 2567"/>
                <a:gd name="T22" fmla="*/ 2181 w 2520"/>
                <a:gd name="T23" fmla="*/ 15 h 2567"/>
                <a:gd name="T24" fmla="*/ 2137 w 2520"/>
                <a:gd name="T25" fmla="*/ 37 h 2567"/>
                <a:gd name="T26" fmla="*/ 2098 w 2520"/>
                <a:gd name="T27" fmla="*/ 66 h 2567"/>
                <a:gd name="T28" fmla="*/ 2066 w 2520"/>
                <a:gd name="T29" fmla="*/ 103 h 2567"/>
                <a:gd name="T30" fmla="*/ 2041 w 2520"/>
                <a:gd name="T31" fmla="*/ 146 h 2567"/>
                <a:gd name="T32" fmla="*/ 1963 w 2520"/>
                <a:gd name="T33" fmla="*/ 324 h 2567"/>
                <a:gd name="T34" fmla="*/ 1797 w 2520"/>
                <a:gd name="T35" fmla="*/ 640 h 2567"/>
                <a:gd name="T36" fmla="*/ 1605 w 2520"/>
                <a:gd name="T37" fmla="*/ 934 h 2567"/>
                <a:gd name="T38" fmla="*/ 1387 w 2520"/>
                <a:gd name="T39" fmla="*/ 1202 h 2567"/>
                <a:gd name="T40" fmla="*/ 1146 w 2520"/>
                <a:gd name="T41" fmla="*/ 1446 h 2567"/>
                <a:gd name="T42" fmla="*/ 883 w 2520"/>
                <a:gd name="T43" fmla="*/ 1663 h 2567"/>
                <a:gd name="T44" fmla="*/ 602 w 2520"/>
                <a:gd name="T45" fmla="*/ 1853 h 2567"/>
                <a:gd name="T46" fmla="*/ 306 w 2520"/>
                <a:gd name="T47" fmla="*/ 2015 h 2567"/>
                <a:gd name="T48" fmla="*/ 130 w 2520"/>
                <a:gd name="T49" fmla="*/ 2097 h 2567"/>
                <a:gd name="T50" fmla="*/ 88 w 2520"/>
                <a:gd name="T51" fmla="*/ 2125 h 2567"/>
                <a:gd name="T52" fmla="*/ 54 w 2520"/>
                <a:gd name="T53" fmla="*/ 2160 h 2567"/>
                <a:gd name="T54" fmla="*/ 28 w 2520"/>
                <a:gd name="T55" fmla="*/ 2201 h 2567"/>
                <a:gd name="T56" fmla="*/ 10 w 2520"/>
                <a:gd name="T57" fmla="*/ 2246 h 2567"/>
                <a:gd name="T58" fmla="*/ 1 w 2520"/>
                <a:gd name="T59" fmla="*/ 2293 h 2567"/>
                <a:gd name="T60" fmla="*/ 2 w 2520"/>
                <a:gd name="T61" fmla="*/ 2342 h 2567"/>
                <a:gd name="T62" fmla="*/ 12 w 2520"/>
                <a:gd name="T63" fmla="*/ 2390 h 2567"/>
                <a:gd name="T64" fmla="*/ 32 w 2520"/>
                <a:gd name="T65" fmla="*/ 2438 h 2567"/>
                <a:gd name="T66" fmla="*/ 60 w 2520"/>
                <a:gd name="T67" fmla="*/ 2479 h 2567"/>
                <a:gd name="T68" fmla="*/ 95 w 2520"/>
                <a:gd name="T69" fmla="*/ 2513 h 2567"/>
                <a:gd name="T70" fmla="*/ 137 w 2520"/>
                <a:gd name="T71" fmla="*/ 2539 h 2567"/>
                <a:gd name="T72" fmla="*/ 181 w 2520"/>
                <a:gd name="T73" fmla="*/ 2557 h 2567"/>
                <a:gd name="T74" fmla="*/ 228 w 2520"/>
                <a:gd name="T75" fmla="*/ 2566 h 2567"/>
                <a:gd name="T76" fmla="*/ 277 w 2520"/>
                <a:gd name="T77" fmla="*/ 2566 h 2567"/>
                <a:gd name="T78" fmla="*/ 327 w 2520"/>
                <a:gd name="T79" fmla="*/ 2556 h 2567"/>
                <a:gd name="T80" fmla="*/ 362 w 2520"/>
                <a:gd name="T81" fmla="*/ 2540 h 2567"/>
                <a:gd name="T82" fmla="*/ 707 w 2520"/>
                <a:gd name="T83" fmla="*/ 2371 h 2567"/>
                <a:gd name="T84" fmla="*/ 1036 w 2520"/>
                <a:gd name="T85" fmla="*/ 2169 h 2567"/>
                <a:gd name="T86" fmla="*/ 1344 w 2520"/>
                <a:gd name="T87" fmla="*/ 1937 h 2567"/>
                <a:gd name="T88" fmla="*/ 1630 w 2520"/>
                <a:gd name="T89" fmla="*/ 1674 h 2567"/>
                <a:gd name="T90" fmla="*/ 1892 w 2520"/>
                <a:gd name="T91" fmla="*/ 1382 h 2567"/>
                <a:gd name="T92" fmla="*/ 2126 w 2520"/>
                <a:gd name="T93" fmla="*/ 1063 h 2567"/>
                <a:gd name="T94" fmla="*/ 2331 w 2520"/>
                <a:gd name="T95" fmla="*/ 717 h 2567"/>
                <a:gd name="T96" fmla="*/ 2502 w 2520"/>
                <a:gd name="T97" fmla="*/ 344 h 2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20" h="2567">
                  <a:moveTo>
                    <a:pt x="2502" y="344"/>
                  </a:moveTo>
                  <a:lnTo>
                    <a:pt x="2507" y="332"/>
                  </a:lnTo>
                  <a:lnTo>
                    <a:pt x="2511" y="320"/>
                  </a:lnTo>
                  <a:lnTo>
                    <a:pt x="2514" y="308"/>
                  </a:lnTo>
                  <a:lnTo>
                    <a:pt x="2516" y="296"/>
                  </a:lnTo>
                  <a:lnTo>
                    <a:pt x="2518" y="284"/>
                  </a:lnTo>
                  <a:lnTo>
                    <a:pt x="2520" y="271"/>
                  </a:lnTo>
                  <a:lnTo>
                    <a:pt x="2520" y="259"/>
                  </a:lnTo>
                  <a:lnTo>
                    <a:pt x="2520" y="247"/>
                  </a:lnTo>
                  <a:lnTo>
                    <a:pt x="2520" y="235"/>
                  </a:lnTo>
                  <a:lnTo>
                    <a:pt x="2519" y="223"/>
                  </a:lnTo>
                  <a:lnTo>
                    <a:pt x="2517" y="211"/>
                  </a:lnTo>
                  <a:lnTo>
                    <a:pt x="2515" y="198"/>
                  </a:lnTo>
                  <a:lnTo>
                    <a:pt x="2512" y="186"/>
                  </a:lnTo>
                  <a:lnTo>
                    <a:pt x="2509" y="175"/>
                  </a:lnTo>
                  <a:lnTo>
                    <a:pt x="2505" y="163"/>
                  </a:lnTo>
                  <a:lnTo>
                    <a:pt x="2500" y="152"/>
                  </a:lnTo>
                  <a:lnTo>
                    <a:pt x="2494" y="141"/>
                  </a:lnTo>
                  <a:lnTo>
                    <a:pt x="2489" y="131"/>
                  </a:lnTo>
                  <a:lnTo>
                    <a:pt x="2483" y="120"/>
                  </a:lnTo>
                  <a:lnTo>
                    <a:pt x="2476" y="110"/>
                  </a:lnTo>
                  <a:lnTo>
                    <a:pt x="2469" y="100"/>
                  </a:lnTo>
                  <a:lnTo>
                    <a:pt x="2462" y="91"/>
                  </a:lnTo>
                  <a:lnTo>
                    <a:pt x="2454" y="82"/>
                  </a:lnTo>
                  <a:lnTo>
                    <a:pt x="2445" y="73"/>
                  </a:lnTo>
                  <a:lnTo>
                    <a:pt x="2437" y="65"/>
                  </a:lnTo>
                  <a:lnTo>
                    <a:pt x="2427" y="57"/>
                  </a:lnTo>
                  <a:lnTo>
                    <a:pt x="2417" y="49"/>
                  </a:lnTo>
                  <a:lnTo>
                    <a:pt x="2407" y="42"/>
                  </a:lnTo>
                  <a:lnTo>
                    <a:pt x="2397" y="36"/>
                  </a:lnTo>
                  <a:lnTo>
                    <a:pt x="2386" y="29"/>
                  </a:lnTo>
                  <a:lnTo>
                    <a:pt x="2374" y="23"/>
                  </a:lnTo>
                  <a:lnTo>
                    <a:pt x="2362" y="18"/>
                  </a:lnTo>
                  <a:lnTo>
                    <a:pt x="2350" y="13"/>
                  </a:lnTo>
                  <a:lnTo>
                    <a:pt x="2338" y="9"/>
                  </a:lnTo>
                  <a:lnTo>
                    <a:pt x="2326" y="6"/>
                  </a:lnTo>
                  <a:lnTo>
                    <a:pt x="2313" y="4"/>
                  </a:lnTo>
                  <a:lnTo>
                    <a:pt x="2300" y="2"/>
                  </a:lnTo>
                  <a:lnTo>
                    <a:pt x="2288" y="0"/>
                  </a:lnTo>
                  <a:lnTo>
                    <a:pt x="2276" y="0"/>
                  </a:lnTo>
                  <a:lnTo>
                    <a:pt x="2264" y="0"/>
                  </a:lnTo>
                  <a:lnTo>
                    <a:pt x="2251" y="0"/>
                  </a:lnTo>
                  <a:lnTo>
                    <a:pt x="2239" y="1"/>
                  </a:lnTo>
                  <a:lnTo>
                    <a:pt x="2227" y="3"/>
                  </a:lnTo>
                  <a:lnTo>
                    <a:pt x="2216" y="5"/>
                  </a:lnTo>
                  <a:lnTo>
                    <a:pt x="2204" y="8"/>
                  </a:lnTo>
                  <a:lnTo>
                    <a:pt x="2192" y="11"/>
                  </a:lnTo>
                  <a:lnTo>
                    <a:pt x="2181" y="15"/>
                  </a:lnTo>
                  <a:lnTo>
                    <a:pt x="2170" y="20"/>
                  </a:lnTo>
                  <a:lnTo>
                    <a:pt x="2159" y="25"/>
                  </a:lnTo>
                  <a:lnTo>
                    <a:pt x="2147" y="30"/>
                  </a:lnTo>
                  <a:lnTo>
                    <a:pt x="2137" y="37"/>
                  </a:lnTo>
                  <a:lnTo>
                    <a:pt x="2127" y="44"/>
                  </a:lnTo>
                  <a:lnTo>
                    <a:pt x="2117" y="51"/>
                  </a:lnTo>
                  <a:lnTo>
                    <a:pt x="2108" y="58"/>
                  </a:lnTo>
                  <a:lnTo>
                    <a:pt x="2098" y="66"/>
                  </a:lnTo>
                  <a:lnTo>
                    <a:pt x="2090" y="75"/>
                  </a:lnTo>
                  <a:lnTo>
                    <a:pt x="2081" y="83"/>
                  </a:lnTo>
                  <a:lnTo>
                    <a:pt x="2073" y="93"/>
                  </a:lnTo>
                  <a:lnTo>
                    <a:pt x="2066" y="103"/>
                  </a:lnTo>
                  <a:lnTo>
                    <a:pt x="2059" y="113"/>
                  </a:lnTo>
                  <a:lnTo>
                    <a:pt x="2052" y="124"/>
                  </a:lnTo>
                  <a:lnTo>
                    <a:pt x="2046" y="135"/>
                  </a:lnTo>
                  <a:lnTo>
                    <a:pt x="2041" y="146"/>
                  </a:lnTo>
                  <a:lnTo>
                    <a:pt x="2036" y="158"/>
                  </a:lnTo>
                  <a:lnTo>
                    <a:pt x="2035" y="157"/>
                  </a:lnTo>
                  <a:lnTo>
                    <a:pt x="2000" y="242"/>
                  </a:lnTo>
                  <a:lnTo>
                    <a:pt x="1963" y="324"/>
                  </a:lnTo>
                  <a:lnTo>
                    <a:pt x="1924" y="406"/>
                  </a:lnTo>
                  <a:lnTo>
                    <a:pt x="1884" y="485"/>
                  </a:lnTo>
                  <a:lnTo>
                    <a:pt x="1842" y="564"/>
                  </a:lnTo>
                  <a:lnTo>
                    <a:pt x="1797" y="640"/>
                  </a:lnTo>
                  <a:lnTo>
                    <a:pt x="1752" y="716"/>
                  </a:lnTo>
                  <a:lnTo>
                    <a:pt x="1705" y="790"/>
                  </a:lnTo>
                  <a:lnTo>
                    <a:pt x="1656" y="862"/>
                  </a:lnTo>
                  <a:lnTo>
                    <a:pt x="1605" y="934"/>
                  </a:lnTo>
                  <a:lnTo>
                    <a:pt x="1553" y="1003"/>
                  </a:lnTo>
                  <a:lnTo>
                    <a:pt x="1499" y="1071"/>
                  </a:lnTo>
                  <a:lnTo>
                    <a:pt x="1443" y="1137"/>
                  </a:lnTo>
                  <a:lnTo>
                    <a:pt x="1387" y="1202"/>
                  </a:lnTo>
                  <a:lnTo>
                    <a:pt x="1329" y="1266"/>
                  </a:lnTo>
                  <a:lnTo>
                    <a:pt x="1268" y="1327"/>
                  </a:lnTo>
                  <a:lnTo>
                    <a:pt x="1208" y="1387"/>
                  </a:lnTo>
                  <a:lnTo>
                    <a:pt x="1146" y="1446"/>
                  </a:lnTo>
                  <a:lnTo>
                    <a:pt x="1081" y="1502"/>
                  </a:lnTo>
                  <a:lnTo>
                    <a:pt x="1017" y="1557"/>
                  </a:lnTo>
                  <a:lnTo>
                    <a:pt x="950" y="1612"/>
                  </a:lnTo>
                  <a:lnTo>
                    <a:pt x="883" y="1663"/>
                  </a:lnTo>
                  <a:lnTo>
                    <a:pt x="815" y="1713"/>
                  </a:lnTo>
                  <a:lnTo>
                    <a:pt x="745" y="1762"/>
                  </a:lnTo>
                  <a:lnTo>
                    <a:pt x="674" y="1808"/>
                  </a:lnTo>
                  <a:lnTo>
                    <a:pt x="602" y="1853"/>
                  </a:lnTo>
                  <a:lnTo>
                    <a:pt x="530" y="1896"/>
                  </a:lnTo>
                  <a:lnTo>
                    <a:pt x="456" y="1938"/>
                  </a:lnTo>
                  <a:lnTo>
                    <a:pt x="381" y="1978"/>
                  </a:lnTo>
                  <a:lnTo>
                    <a:pt x="306" y="2015"/>
                  </a:lnTo>
                  <a:lnTo>
                    <a:pt x="229" y="2051"/>
                  </a:lnTo>
                  <a:lnTo>
                    <a:pt x="153" y="2086"/>
                  </a:lnTo>
                  <a:lnTo>
                    <a:pt x="141" y="2091"/>
                  </a:lnTo>
                  <a:lnTo>
                    <a:pt x="130" y="2097"/>
                  </a:lnTo>
                  <a:lnTo>
                    <a:pt x="118" y="2103"/>
                  </a:lnTo>
                  <a:lnTo>
                    <a:pt x="107" y="2110"/>
                  </a:lnTo>
                  <a:lnTo>
                    <a:pt x="97" y="2118"/>
                  </a:lnTo>
                  <a:lnTo>
                    <a:pt x="88" y="2125"/>
                  </a:lnTo>
                  <a:lnTo>
                    <a:pt x="79" y="2133"/>
                  </a:lnTo>
                  <a:lnTo>
                    <a:pt x="70" y="2142"/>
                  </a:lnTo>
                  <a:lnTo>
                    <a:pt x="62" y="2151"/>
                  </a:lnTo>
                  <a:lnTo>
                    <a:pt x="54" y="2160"/>
                  </a:lnTo>
                  <a:lnTo>
                    <a:pt x="47" y="2170"/>
                  </a:lnTo>
                  <a:lnTo>
                    <a:pt x="40" y="2180"/>
                  </a:lnTo>
                  <a:lnTo>
                    <a:pt x="34" y="2190"/>
                  </a:lnTo>
                  <a:lnTo>
                    <a:pt x="28" y="2201"/>
                  </a:lnTo>
                  <a:lnTo>
                    <a:pt x="23" y="2211"/>
                  </a:lnTo>
                  <a:lnTo>
                    <a:pt x="18" y="2222"/>
                  </a:lnTo>
                  <a:lnTo>
                    <a:pt x="14" y="2234"/>
                  </a:lnTo>
                  <a:lnTo>
                    <a:pt x="10" y="2246"/>
                  </a:lnTo>
                  <a:lnTo>
                    <a:pt x="7" y="2258"/>
                  </a:lnTo>
                  <a:lnTo>
                    <a:pt x="5" y="2269"/>
                  </a:lnTo>
                  <a:lnTo>
                    <a:pt x="3" y="2281"/>
                  </a:lnTo>
                  <a:lnTo>
                    <a:pt x="1" y="2293"/>
                  </a:lnTo>
                  <a:lnTo>
                    <a:pt x="1" y="2305"/>
                  </a:lnTo>
                  <a:lnTo>
                    <a:pt x="0" y="2317"/>
                  </a:lnTo>
                  <a:lnTo>
                    <a:pt x="1" y="2330"/>
                  </a:lnTo>
                  <a:lnTo>
                    <a:pt x="2" y="2342"/>
                  </a:lnTo>
                  <a:lnTo>
                    <a:pt x="3" y="2354"/>
                  </a:lnTo>
                  <a:lnTo>
                    <a:pt x="5" y="2366"/>
                  </a:lnTo>
                  <a:lnTo>
                    <a:pt x="8" y="2378"/>
                  </a:lnTo>
                  <a:lnTo>
                    <a:pt x="12" y="2390"/>
                  </a:lnTo>
                  <a:lnTo>
                    <a:pt x="16" y="2402"/>
                  </a:lnTo>
                  <a:lnTo>
                    <a:pt x="21" y="2415"/>
                  </a:lnTo>
                  <a:lnTo>
                    <a:pt x="26" y="2427"/>
                  </a:lnTo>
                  <a:lnTo>
                    <a:pt x="32" y="2438"/>
                  </a:lnTo>
                  <a:lnTo>
                    <a:pt x="38" y="2449"/>
                  </a:lnTo>
                  <a:lnTo>
                    <a:pt x="45" y="2460"/>
                  </a:lnTo>
                  <a:lnTo>
                    <a:pt x="52" y="2470"/>
                  </a:lnTo>
                  <a:lnTo>
                    <a:pt x="60" y="2479"/>
                  </a:lnTo>
                  <a:lnTo>
                    <a:pt x="68" y="2489"/>
                  </a:lnTo>
                  <a:lnTo>
                    <a:pt x="77" y="2497"/>
                  </a:lnTo>
                  <a:lnTo>
                    <a:pt x="86" y="2506"/>
                  </a:lnTo>
                  <a:lnTo>
                    <a:pt x="95" y="2513"/>
                  </a:lnTo>
                  <a:lnTo>
                    <a:pt x="105" y="2521"/>
                  </a:lnTo>
                  <a:lnTo>
                    <a:pt x="115" y="2527"/>
                  </a:lnTo>
                  <a:lnTo>
                    <a:pt x="126" y="2534"/>
                  </a:lnTo>
                  <a:lnTo>
                    <a:pt x="137" y="2539"/>
                  </a:lnTo>
                  <a:lnTo>
                    <a:pt x="148" y="2545"/>
                  </a:lnTo>
                  <a:lnTo>
                    <a:pt x="159" y="2549"/>
                  </a:lnTo>
                  <a:lnTo>
                    <a:pt x="170" y="2553"/>
                  </a:lnTo>
                  <a:lnTo>
                    <a:pt x="181" y="2557"/>
                  </a:lnTo>
                  <a:lnTo>
                    <a:pt x="193" y="2560"/>
                  </a:lnTo>
                  <a:lnTo>
                    <a:pt x="204" y="2563"/>
                  </a:lnTo>
                  <a:lnTo>
                    <a:pt x="216" y="2565"/>
                  </a:lnTo>
                  <a:lnTo>
                    <a:pt x="228" y="2566"/>
                  </a:lnTo>
                  <a:lnTo>
                    <a:pt x="240" y="2567"/>
                  </a:lnTo>
                  <a:lnTo>
                    <a:pt x="253" y="2567"/>
                  </a:lnTo>
                  <a:lnTo>
                    <a:pt x="265" y="2567"/>
                  </a:lnTo>
                  <a:lnTo>
                    <a:pt x="277" y="2566"/>
                  </a:lnTo>
                  <a:lnTo>
                    <a:pt x="289" y="2564"/>
                  </a:lnTo>
                  <a:lnTo>
                    <a:pt x="302" y="2562"/>
                  </a:lnTo>
                  <a:lnTo>
                    <a:pt x="314" y="2559"/>
                  </a:lnTo>
                  <a:lnTo>
                    <a:pt x="327" y="2556"/>
                  </a:lnTo>
                  <a:lnTo>
                    <a:pt x="339" y="2552"/>
                  </a:lnTo>
                  <a:lnTo>
                    <a:pt x="351" y="2547"/>
                  </a:lnTo>
                  <a:lnTo>
                    <a:pt x="356" y="2543"/>
                  </a:lnTo>
                  <a:lnTo>
                    <a:pt x="362" y="2540"/>
                  </a:lnTo>
                  <a:lnTo>
                    <a:pt x="449" y="2501"/>
                  </a:lnTo>
                  <a:lnTo>
                    <a:pt x="536" y="2460"/>
                  </a:lnTo>
                  <a:lnTo>
                    <a:pt x="622" y="2417"/>
                  </a:lnTo>
                  <a:lnTo>
                    <a:pt x="707" y="2371"/>
                  </a:lnTo>
                  <a:lnTo>
                    <a:pt x="790" y="2324"/>
                  </a:lnTo>
                  <a:lnTo>
                    <a:pt x="874" y="2275"/>
                  </a:lnTo>
                  <a:lnTo>
                    <a:pt x="955" y="2222"/>
                  </a:lnTo>
                  <a:lnTo>
                    <a:pt x="1036" y="2169"/>
                  </a:lnTo>
                  <a:lnTo>
                    <a:pt x="1114" y="2114"/>
                  </a:lnTo>
                  <a:lnTo>
                    <a:pt x="1193" y="2057"/>
                  </a:lnTo>
                  <a:lnTo>
                    <a:pt x="1269" y="1998"/>
                  </a:lnTo>
                  <a:lnTo>
                    <a:pt x="1344" y="1937"/>
                  </a:lnTo>
                  <a:lnTo>
                    <a:pt x="1418" y="1874"/>
                  </a:lnTo>
                  <a:lnTo>
                    <a:pt x="1491" y="1809"/>
                  </a:lnTo>
                  <a:lnTo>
                    <a:pt x="1561" y="1743"/>
                  </a:lnTo>
                  <a:lnTo>
                    <a:pt x="1630" y="1674"/>
                  </a:lnTo>
                  <a:lnTo>
                    <a:pt x="1699" y="1604"/>
                  </a:lnTo>
                  <a:lnTo>
                    <a:pt x="1765" y="1532"/>
                  </a:lnTo>
                  <a:lnTo>
                    <a:pt x="1830" y="1458"/>
                  </a:lnTo>
                  <a:lnTo>
                    <a:pt x="1892" y="1382"/>
                  </a:lnTo>
                  <a:lnTo>
                    <a:pt x="1953" y="1305"/>
                  </a:lnTo>
                  <a:lnTo>
                    <a:pt x="2013" y="1227"/>
                  </a:lnTo>
                  <a:lnTo>
                    <a:pt x="2071" y="1145"/>
                  </a:lnTo>
                  <a:lnTo>
                    <a:pt x="2126" y="1063"/>
                  </a:lnTo>
                  <a:lnTo>
                    <a:pt x="2181" y="979"/>
                  </a:lnTo>
                  <a:lnTo>
                    <a:pt x="2232" y="894"/>
                  </a:lnTo>
                  <a:lnTo>
                    <a:pt x="2282" y="806"/>
                  </a:lnTo>
                  <a:lnTo>
                    <a:pt x="2331" y="717"/>
                  </a:lnTo>
                  <a:lnTo>
                    <a:pt x="2376" y="626"/>
                  </a:lnTo>
                  <a:lnTo>
                    <a:pt x="2420" y="533"/>
                  </a:lnTo>
                  <a:lnTo>
                    <a:pt x="2462" y="440"/>
                  </a:lnTo>
                  <a:lnTo>
                    <a:pt x="2502" y="344"/>
                  </a:lnTo>
                  <a:lnTo>
                    <a:pt x="2502" y="3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50" name="ïş1îḑè">
              <a:extLst>
                <a:ext uri="{FF2B5EF4-FFF2-40B4-BE49-F238E27FC236}">
                  <a16:creationId xmlns:a16="http://schemas.microsoft.com/office/drawing/2014/main" id="{9708B58D-EFC6-48E4-86F6-03D83F76A46C}"/>
                </a:ext>
              </a:extLst>
            </p:cNvPr>
            <p:cNvSpPr/>
            <p:nvPr/>
          </p:nvSpPr>
          <p:spPr bwMode="auto">
            <a:xfrm>
              <a:off x="3948962" y="2678711"/>
              <a:ext cx="81693" cy="83378"/>
            </a:xfrm>
            <a:custGeom>
              <a:avLst/>
              <a:gdLst>
                <a:gd name="T0" fmla="*/ 3402 w 3596"/>
                <a:gd name="T1" fmla="*/ 6 h 3668"/>
                <a:gd name="T2" fmla="*/ 3352 w 3596"/>
                <a:gd name="T3" fmla="*/ 0 h 3668"/>
                <a:gd name="T4" fmla="*/ 3303 w 3596"/>
                <a:gd name="T5" fmla="*/ 3 h 3668"/>
                <a:gd name="T6" fmla="*/ 3257 w 3596"/>
                <a:gd name="T7" fmla="*/ 15 h 3668"/>
                <a:gd name="T8" fmla="*/ 3213 w 3596"/>
                <a:gd name="T9" fmla="*/ 36 h 3668"/>
                <a:gd name="T10" fmla="*/ 3174 w 3596"/>
                <a:gd name="T11" fmla="*/ 65 h 3668"/>
                <a:gd name="T12" fmla="*/ 3142 w 3596"/>
                <a:gd name="T13" fmla="*/ 102 h 3668"/>
                <a:gd name="T14" fmla="*/ 3116 w 3596"/>
                <a:gd name="T15" fmla="*/ 146 h 3668"/>
                <a:gd name="T16" fmla="*/ 2938 w 3596"/>
                <a:gd name="T17" fmla="*/ 547 h 3668"/>
                <a:gd name="T18" fmla="*/ 2666 w 3596"/>
                <a:gd name="T19" fmla="*/ 1035 h 3668"/>
                <a:gd name="T20" fmla="*/ 2353 w 3596"/>
                <a:gd name="T21" fmla="*/ 1485 h 3668"/>
                <a:gd name="T22" fmla="*/ 2000 w 3596"/>
                <a:gd name="T23" fmla="*/ 1898 h 3668"/>
                <a:gd name="T24" fmla="*/ 1613 w 3596"/>
                <a:gd name="T25" fmla="*/ 2270 h 3668"/>
                <a:gd name="T26" fmla="*/ 1193 w 3596"/>
                <a:gd name="T27" fmla="*/ 2601 h 3668"/>
                <a:gd name="T28" fmla="*/ 746 w 3596"/>
                <a:gd name="T29" fmla="*/ 2889 h 3668"/>
                <a:gd name="T30" fmla="*/ 274 w 3596"/>
                <a:gd name="T31" fmla="*/ 3133 h 3668"/>
                <a:gd name="T32" fmla="*/ 119 w 3596"/>
                <a:gd name="T33" fmla="*/ 3204 h 3668"/>
                <a:gd name="T34" fmla="*/ 80 w 3596"/>
                <a:gd name="T35" fmla="*/ 3234 h 3668"/>
                <a:gd name="T36" fmla="*/ 48 w 3596"/>
                <a:gd name="T37" fmla="*/ 3271 h 3668"/>
                <a:gd name="T38" fmla="*/ 24 w 3596"/>
                <a:gd name="T39" fmla="*/ 3312 h 3668"/>
                <a:gd name="T40" fmla="*/ 7 w 3596"/>
                <a:gd name="T41" fmla="*/ 3359 h 3668"/>
                <a:gd name="T42" fmla="*/ 1 w 3596"/>
                <a:gd name="T43" fmla="*/ 3406 h 3668"/>
                <a:gd name="T44" fmla="*/ 3 w 3596"/>
                <a:gd name="T45" fmla="*/ 3455 h 3668"/>
                <a:gd name="T46" fmla="*/ 17 w 3596"/>
                <a:gd name="T47" fmla="*/ 3504 h 3668"/>
                <a:gd name="T48" fmla="*/ 39 w 3596"/>
                <a:gd name="T49" fmla="*/ 3551 h 3668"/>
                <a:gd name="T50" fmla="*/ 69 w 3596"/>
                <a:gd name="T51" fmla="*/ 3590 h 3668"/>
                <a:gd name="T52" fmla="*/ 106 w 3596"/>
                <a:gd name="T53" fmla="*/ 3622 h 3668"/>
                <a:gd name="T54" fmla="*/ 147 w 3596"/>
                <a:gd name="T55" fmla="*/ 3646 h 3668"/>
                <a:gd name="T56" fmla="*/ 194 w 3596"/>
                <a:gd name="T57" fmla="*/ 3661 h 3668"/>
                <a:gd name="T58" fmla="*/ 241 w 3596"/>
                <a:gd name="T59" fmla="*/ 3668 h 3668"/>
                <a:gd name="T60" fmla="*/ 290 w 3596"/>
                <a:gd name="T61" fmla="*/ 3666 h 3668"/>
                <a:gd name="T62" fmla="*/ 339 w 3596"/>
                <a:gd name="T63" fmla="*/ 3653 h 3668"/>
                <a:gd name="T64" fmla="*/ 499 w 3596"/>
                <a:gd name="T65" fmla="*/ 3578 h 3668"/>
                <a:gd name="T66" fmla="*/ 1011 w 3596"/>
                <a:gd name="T67" fmla="*/ 3312 h 3668"/>
                <a:gd name="T68" fmla="*/ 1497 w 3596"/>
                <a:gd name="T69" fmla="*/ 2998 h 3668"/>
                <a:gd name="T70" fmla="*/ 1952 w 3596"/>
                <a:gd name="T71" fmla="*/ 2638 h 3668"/>
                <a:gd name="T72" fmla="*/ 2373 w 3596"/>
                <a:gd name="T73" fmla="*/ 2233 h 3668"/>
                <a:gd name="T74" fmla="*/ 2756 w 3596"/>
                <a:gd name="T75" fmla="*/ 1785 h 3668"/>
                <a:gd name="T76" fmla="*/ 3096 w 3596"/>
                <a:gd name="T77" fmla="*/ 1295 h 3668"/>
                <a:gd name="T78" fmla="*/ 3390 w 3596"/>
                <a:gd name="T79" fmla="*/ 766 h 3668"/>
                <a:gd name="T80" fmla="*/ 3583 w 3596"/>
                <a:gd name="T81" fmla="*/ 333 h 3668"/>
                <a:gd name="T82" fmla="*/ 3594 w 3596"/>
                <a:gd name="T83" fmla="*/ 283 h 3668"/>
                <a:gd name="T84" fmla="*/ 3596 w 3596"/>
                <a:gd name="T85" fmla="*/ 234 h 3668"/>
                <a:gd name="T86" fmla="*/ 3587 w 3596"/>
                <a:gd name="T87" fmla="*/ 186 h 3668"/>
                <a:gd name="T88" fmla="*/ 3571 w 3596"/>
                <a:gd name="T89" fmla="*/ 142 h 3668"/>
                <a:gd name="T90" fmla="*/ 3545 w 3596"/>
                <a:gd name="T91" fmla="*/ 100 h 3668"/>
                <a:gd name="T92" fmla="*/ 3512 w 3596"/>
                <a:gd name="T93" fmla="*/ 64 h 3668"/>
                <a:gd name="T94" fmla="*/ 3472 w 3596"/>
                <a:gd name="T95" fmla="*/ 35 h 3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596" h="3668">
                  <a:moveTo>
                    <a:pt x="3438" y="18"/>
                  </a:moveTo>
                  <a:lnTo>
                    <a:pt x="3426" y="13"/>
                  </a:lnTo>
                  <a:lnTo>
                    <a:pt x="3414" y="9"/>
                  </a:lnTo>
                  <a:lnTo>
                    <a:pt x="3402" y="6"/>
                  </a:lnTo>
                  <a:lnTo>
                    <a:pt x="3388" y="4"/>
                  </a:lnTo>
                  <a:lnTo>
                    <a:pt x="3376" y="2"/>
                  </a:lnTo>
                  <a:lnTo>
                    <a:pt x="3364" y="0"/>
                  </a:lnTo>
                  <a:lnTo>
                    <a:pt x="3352" y="0"/>
                  </a:lnTo>
                  <a:lnTo>
                    <a:pt x="3339" y="0"/>
                  </a:lnTo>
                  <a:lnTo>
                    <a:pt x="3327" y="0"/>
                  </a:lnTo>
                  <a:lnTo>
                    <a:pt x="3315" y="1"/>
                  </a:lnTo>
                  <a:lnTo>
                    <a:pt x="3303" y="3"/>
                  </a:lnTo>
                  <a:lnTo>
                    <a:pt x="3291" y="5"/>
                  </a:lnTo>
                  <a:lnTo>
                    <a:pt x="3280" y="8"/>
                  </a:lnTo>
                  <a:lnTo>
                    <a:pt x="3268" y="11"/>
                  </a:lnTo>
                  <a:lnTo>
                    <a:pt x="3257" y="15"/>
                  </a:lnTo>
                  <a:lnTo>
                    <a:pt x="3246" y="20"/>
                  </a:lnTo>
                  <a:lnTo>
                    <a:pt x="3235" y="25"/>
                  </a:lnTo>
                  <a:lnTo>
                    <a:pt x="3223" y="30"/>
                  </a:lnTo>
                  <a:lnTo>
                    <a:pt x="3213" y="36"/>
                  </a:lnTo>
                  <a:lnTo>
                    <a:pt x="3203" y="43"/>
                  </a:lnTo>
                  <a:lnTo>
                    <a:pt x="3193" y="50"/>
                  </a:lnTo>
                  <a:lnTo>
                    <a:pt x="3183" y="57"/>
                  </a:lnTo>
                  <a:lnTo>
                    <a:pt x="3174" y="65"/>
                  </a:lnTo>
                  <a:lnTo>
                    <a:pt x="3165" y="74"/>
                  </a:lnTo>
                  <a:lnTo>
                    <a:pt x="3157" y="83"/>
                  </a:lnTo>
                  <a:lnTo>
                    <a:pt x="3149" y="92"/>
                  </a:lnTo>
                  <a:lnTo>
                    <a:pt x="3142" y="102"/>
                  </a:lnTo>
                  <a:lnTo>
                    <a:pt x="3135" y="112"/>
                  </a:lnTo>
                  <a:lnTo>
                    <a:pt x="3128" y="122"/>
                  </a:lnTo>
                  <a:lnTo>
                    <a:pt x="3122" y="133"/>
                  </a:lnTo>
                  <a:lnTo>
                    <a:pt x="3116" y="146"/>
                  </a:lnTo>
                  <a:lnTo>
                    <a:pt x="3111" y="158"/>
                  </a:lnTo>
                  <a:lnTo>
                    <a:pt x="3056" y="289"/>
                  </a:lnTo>
                  <a:lnTo>
                    <a:pt x="2998" y="419"/>
                  </a:lnTo>
                  <a:lnTo>
                    <a:pt x="2938" y="547"/>
                  </a:lnTo>
                  <a:lnTo>
                    <a:pt x="2874" y="672"/>
                  </a:lnTo>
                  <a:lnTo>
                    <a:pt x="2808" y="795"/>
                  </a:lnTo>
                  <a:lnTo>
                    <a:pt x="2739" y="916"/>
                  </a:lnTo>
                  <a:lnTo>
                    <a:pt x="2666" y="1035"/>
                  </a:lnTo>
                  <a:lnTo>
                    <a:pt x="2592" y="1150"/>
                  </a:lnTo>
                  <a:lnTo>
                    <a:pt x="2515" y="1264"/>
                  </a:lnTo>
                  <a:lnTo>
                    <a:pt x="2435" y="1376"/>
                  </a:lnTo>
                  <a:lnTo>
                    <a:pt x="2353" y="1485"/>
                  </a:lnTo>
                  <a:lnTo>
                    <a:pt x="2269" y="1592"/>
                  </a:lnTo>
                  <a:lnTo>
                    <a:pt x="2181" y="1697"/>
                  </a:lnTo>
                  <a:lnTo>
                    <a:pt x="2092" y="1798"/>
                  </a:lnTo>
                  <a:lnTo>
                    <a:pt x="2000" y="1898"/>
                  </a:lnTo>
                  <a:lnTo>
                    <a:pt x="1907" y="1994"/>
                  </a:lnTo>
                  <a:lnTo>
                    <a:pt x="1811" y="2089"/>
                  </a:lnTo>
                  <a:lnTo>
                    <a:pt x="1713" y="2181"/>
                  </a:lnTo>
                  <a:lnTo>
                    <a:pt x="1613" y="2270"/>
                  </a:lnTo>
                  <a:lnTo>
                    <a:pt x="1511" y="2357"/>
                  </a:lnTo>
                  <a:lnTo>
                    <a:pt x="1407" y="2441"/>
                  </a:lnTo>
                  <a:lnTo>
                    <a:pt x="1301" y="2523"/>
                  </a:lnTo>
                  <a:lnTo>
                    <a:pt x="1193" y="2601"/>
                  </a:lnTo>
                  <a:lnTo>
                    <a:pt x="1084" y="2678"/>
                  </a:lnTo>
                  <a:lnTo>
                    <a:pt x="973" y="2751"/>
                  </a:lnTo>
                  <a:lnTo>
                    <a:pt x="861" y="2821"/>
                  </a:lnTo>
                  <a:lnTo>
                    <a:pt x="746" y="2889"/>
                  </a:lnTo>
                  <a:lnTo>
                    <a:pt x="630" y="2954"/>
                  </a:lnTo>
                  <a:lnTo>
                    <a:pt x="512" y="3017"/>
                  </a:lnTo>
                  <a:lnTo>
                    <a:pt x="394" y="3076"/>
                  </a:lnTo>
                  <a:lnTo>
                    <a:pt x="274" y="3133"/>
                  </a:lnTo>
                  <a:lnTo>
                    <a:pt x="152" y="3187"/>
                  </a:lnTo>
                  <a:lnTo>
                    <a:pt x="141" y="3192"/>
                  </a:lnTo>
                  <a:lnTo>
                    <a:pt x="129" y="3198"/>
                  </a:lnTo>
                  <a:lnTo>
                    <a:pt x="119" y="3204"/>
                  </a:lnTo>
                  <a:lnTo>
                    <a:pt x="108" y="3211"/>
                  </a:lnTo>
                  <a:lnTo>
                    <a:pt x="98" y="3219"/>
                  </a:lnTo>
                  <a:lnTo>
                    <a:pt x="89" y="3226"/>
                  </a:lnTo>
                  <a:lnTo>
                    <a:pt x="80" y="3234"/>
                  </a:lnTo>
                  <a:lnTo>
                    <a:pt x="71" y="3243"/>
                  </a:lnTo>
                  <a:lnTo>
                    <a:pt x="63" y="3252"/>
                  </a:lnTo>
                  <a:lnTo>
                    <a:pt x="55" y="3261"/>
                  </a:lnTo>
                  <a:lnTo>
                    <a:pt x="48" y="3271"/>
                  </a:lnTo>
                  <a:lnTo>
                    <a:pt x="41" y="3281"/>
                  </a:lnTo>
                  <a:lnTo>
                    <a:pt x="35" y="3291"/>
                  </a:lnTo>
                  <a:lnTo>
                    <a:pt x="29" y="3302"/>
                  </a:lnTo>
                  <a:lnTo>
                    <a:pt x="24" y="3312"/>
                  </a:lnTo>
                  <a:lnTo>
                    <a:pt x="19" y="3324"/>
                  </a:lnTo>
                  <a:lnTo>
                    <a:pt x="15" y="3335"/>
                  </a:lnTo>
                  <a:lnTo>
                    <a:pt x="11" y="3346"/>
                  </a:lnTo>
                  <a:lnTo>
                    <a:pt x="7" y="3359"/>
                  </a:lnTo>
                  <a:lnTo>
                    <a:pt x="5" y="3370"/>
                  </a:lnTo>
                  <a:lnTo>
                    <a:pt x="3" y="3382"/>
                  </a:lnTo>
                  <a:lnTo>
                    <a:pt x="1" y="3394"/>
                  </a:lnTo>
                  <a:lnTo>
                    <a:pt x="1" y="3406"/>
                  </a:lnTo>
                  <a:lnTo>
                    <a:pt x="0" y="3419"/>
                  </a:lnTo>
                  <a:lnTo>
                    <a:pt x="1" y="3431"/>
                  </a:lnTo>
                  <a:lnTo>
                    <a:pt x="2" y="3443"/>
                  </a:lnTo>
                  <a:lnTo>
                    <a:pt x="3" y="3455"/>
                  </a:lnTo>
                  <a:lnTo>
                    <a:pt x="6" y="3467"/>
                  </a:lnTo>
                  <a:lnTo>
                    <a:pt x="8" y="3480"/>
                  </a:lnTo>
                  <a:lnTo>
                    <a:pt x="13" y="3492"/>
                  </a:lnTo>
                  <a:lnTo>
                    <a:pt x="17" y="3504"/>
                  </a:lnTo>
                  <a:lnTo>
                    <a:pt x="22" y="3516"/>
                  </a:lnTo>
                  <a:lnTo>
                    <a:pt x="27" y="3529"/>
                  </a:lnTo>
                  <a:lnTo>
                    <a:pt x="33" y="3540"/>
                  </a:lnTo>
                  <a:lnTo>
                    <a:pt x="39" y="3551"/>
                  </a:lnTo>
                  <a:lnTo>
                    <a:pt x="46" y="3561"/>
                  </a:lnTo>
                  <a:lnTo>
                    <a:pt x="54" y="3571"/>
                  </a:lnTo>
                  <a:lnTo>
                    <a:pt x="61" y="3581"/>
                  </a:lnTo>
                  <a:lnTo>
                    <a:pt x="69" y="3590"/>
                  </a:lnTo>
                  <a:lnTo>
                    <a:pt x="78" y="3599"/>
                  </a:lnTo>
                  <a:lnTo>
                    <a:pt x="87" y="3607"/>
                  </a:lnTo>
                  <a:lnTo>
                    <a:pt x="96" y="3615"/>
                  </a:lnTo>
                  <a:lnTo>
                    <a:pt x="106" y="3622"/>
                  </a:lnTo>
                  <a:lnTo>
                    <a:pt x="116" y="3629"/>
                  </a:lnTo>
                  <a:lnTo>
                    <a:pt x="126" y="3635"/>
                  </a:lnTo>
                  <a:lnTo>
                    <a:pt x="137" y="3641"/>
                  </a:lnTo>
                  <a:lnTo>
                    <a:pt x="147" y="3646"/>
                  </a:lnTo>
                  <a:lnTo>
                    <a:pt x="158" y="3651"/>
                  </a:lnTo>
                  <a:lnTo>
                    <a:pt x="170" y="3655"/>
                  </a:lnTo>
                  <a:lnTo>
                    <a:pt x="182" y="3658"/>
                  </a:lnTo>
                  <a:lnTo>
                    <a:pt x="194" y="3661"/>
                  </a:lnTo>
                  <a:lnTo>
                    <a:pt x="205" y="3664"/>
                  </a:lnTo>
                  <a:lnTo>
                    <a:pt x="217" y="3666"/>
                  </a:lnTo>
                  <a:lnTo>
                    <a:pt x="229" y="3667"/>
                  </a:lnTo>
                  <a:lnTo>
                    <a:pt x="241" y="3668"/>
                  </a:lnTo>
                  <a:lnTo>
                    <a:pt x="254" y="3668"/>
                  </a:lnTo>
                  <a:lnTo>
                    <a:pt x="266" y="3668"/>
                  </a:lnTo>
                  <a:lnTo>
                    <a:pt x="278" y="3667"/>
                  </a:lnTo>
                  <a:lnTo>
                    <a:pt x="290" y="3666"/>
                  </a:lnTo>
                  <a:lnTo>
                    <a:pt x="302" y="3663"/>
                  </a:lnTo>
                  <a:lnTo>
                    <a:pt x="315" y="3661"/>
                  </a:lnTo>
                  <a:lnTo>
                    <a:pt x="327" y="3657"/>
                  </a:lnTo>
                  <a:lnTo>
                    <a:pt x="339" y="3653"/>
                  </a:lnTo>
                  <a:lnTo>
                    <a:pt x="352" y="3648"/>
                  </a:lnTo>
                  <a:lnTo>
                    <a:pt x="360" y="3642"/>
                  </a:lnTo>
                  <a:lnTo>
                    <a:pt x="368" y="3637"/>
                  </a:lnTo>
                  <a:lnTo>
                    <a:pt x="499" y="3578"/>
                  </a:lnTo>
                  <a:lnTo>
                    <a:pt x="629" y="3516"/>
                  </a:lnTo>
                  <a:lnTo>
                    <a:pt x="758" y="3451"/>
                  </a:lnTo>
                  <a:lnTo>
                    <a:pt x="886" y="3384"/>
                  </a:lnTo>
                  <a:lnTo>
                    <a:pt x="1011" y="3312"/>
                  </a:lnTo>
                  <a:lnTo>
                    <a:pt x="1135" y="3238"/>
                  </a:lnTo>
                  <a:lnTo>
                    <a:pt x="1258" y="3161"/>
                  </a:lnTo>
                  <a:lnTo>
                    <a:pt x="1379" y="3081"/>
                  </a:lnTo>
                  <a:lnTo>
                    <a:pt x="1497" y="2998"/>
                  </a:lnTo>
                  <a:lnTo>
                    <a:pt x="1614" y="2913"/>
                  </a:lnTo>
                  <a:lnTo>
                    <a:pt x="1729" y="2824"/>
                  </a:lnTo>
                  <a:lnTo>
                    <a:pt x="1841" y="2733"/>
                  </a:lnTo>
                  <a:lnTo>
                    <a:pt x="1952" y="2638"/>
                  </a:lnTo>
                  <a:lnTo>
                    <a:pt x="2061" y="2541"/>
                  </a:lnTo>
                  <a:lnTo>
                    <a:pt x="2167" y="2441"/>
                  </a:lnTo>
                  <a:lnTo>
                    <a:pt x="2271" y="2339"/>
                  </a:lnTo>
                  <a:lnTo>
                    <a:pt x="2373" y="2233"/>
                  </a:lnTo>
                  <a:lnTo>
                    <a:pt x="2472" y="2125"/>
                  </a:lnTo>
                  <a:lnTo>
                    <a:pt x="2570" y="2015"/>
                  </a:lnTo>
                  <a:lnTo>
                    <a:pt x="2664" y="1901"/>
                  </a:lnTo>
                  <a:lnTo>
                    <a:pt x="2756" y="1785"/>
                  </a:lnTo>
                  <a:lnTo>
                    <a:pt x="2845" y="1667"/>
                  </a:lnTo>
                  <a:lnTo>
                    <a:pt x="2932" y="1546"/>
                  </a:lnTo>
                  <a:lnTo>
                    <a:pt x="3015" y="1422"/>
                  </a:lnTo>
                  <a:lnTo>
                    <a:pt x="3096" y="1295"/>
                  </a:lnTo>
                  <a:lnTo>
                    <a:pt x="3174" y="1167"/>
                  </a:lnTo>
                  <a:lnTo>
                    <a:pt x="3249" y="1036"/>
                  </a:lnTo>
                  <a:lnTo>
                    <a:pt x="3321" y="902"/>
                  </a:lnTo>
                  <a:lnTo>
                    <a:pt x="3390" y="766"/>
                  </a:lnTo>
                  <a:lnTo>
                    <a:pt x="3456" y="628"/>
                  </a:lnTo>
                  <a:lnTo>
                    <a:pt x="3518" y="488"/>
                  </a:lnTo>
                  <a:lnTo>
                    <a:pt x="3578" y="345"/>
                  </a:lnTo>
                  <a:lnTo>
                    <a:pt x="3583" y="333"/>
                  </a:lnTo>
                  <a:lnTo>
                    <a:pt x="3587" y="320"/>
                  </a:lnTo>
                  <a:lnTo>
                    <a:pt x="3590" y="308"/>
                  </a:lnTo>
                  <a:lnTo>
                    <a:pt x="3592" y="295"/>
                  </a:lnTo>
                  <a:lnTo>
                    <a:pt x="3594" y="283"/>
                  </a:lnTo>
                  <a:lnTo>
                    <a:pt x="3595" y="271"/>
                  </a:lnTo>
                  <a:lnTo>
                    <a:pt x="3596" y="258"/>
                  </a:lnTo>
                  <a:lnTo>
                    <a:pt x="3596" y="246"/>
                  </a:lnTo>
                  <a:lnTo>
                    <a:pt x="3596" y="234"/>
                  </a:lnTo>
                  <a:lnTo>
                    <a:pt x="3594" y="222"/>
                  </a:lnTo>
                  <a:lnTo>
                    <a:pt x="3593" y="210"/>
                  </a:lnTo>
                  <a:lnTo>
                    <a:pt x="3590" y="198"/>
                  </a:lnTo>
                  <a:lnTo>
                    <a:pt x="3587" y="186"/>
                  </a:lnTo>
                  <a:lnTo>
                    <a:pt x="3584" y="175"/>
                  </a:lnTo>
                  <a:lnTo>
                    <a:pt x="3580" y="164"/>
                  </a:lnTo>
                  <a:lnTo>
                    <a:pt x="3576" y="153"/>
                  </a:lnTo>
                  <a:lnTo>
                    <a:pt x="3571" y="142"/>
                  </a:lnTo>
                  <a:lnTo>
                    <a:pt x="3564" y="130"/>
                  </a:lnTo>
                  <a:lnTo>
                    <a:pt x="3558" y="119"/>
                  </a:lnTo>
                  <a:lnTo>
                    <a:pt x="3552" y="109"/>
                  </a:lnTo>
                  <a:lnTo>
                    <a:pt x="3545" y="100"/>
                  </a:lnTo>
                  <a:lnTo>
                    <a:pt x="3537" y="90"/>
                  </a:lnTo>
                  <a:lnTo>
                    <a:pt x="3529" y="81"/>
                  </a:lnTo>
                  <a:lnTo>
                    <a:pt x="3521" y="72"/>
                  </a:lnTo>
                  <a:lnTo>
                    <a:pt x="3512" y="64"/>
                  </a:lnTo>
                  <a:lnTo>
                    <a:pt x="3503" y="56"/>
                  </a:lnTo>
                  <a:lnTo>
                    <a:pt x="3493" y="48"/>
                  </a:lnTo>
                  <a:lnTo>
                    <a:pt x="3483" y="41"/>
                  </a:lnTo>
                  <a:lnTo>
                    <a:pt x="3472" y="35"/>
                  </a:lnTo>
                  <a:lnTo>
                    <a:pt x="3461" y="29"/>
                  </a:lnTo>
                  <a:lnTo>
                    <a:pt x="3450" y="23"/>
                  </a:lnTo>
                  <a:lnTo>
                    <a:pt x="3438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51" name="isḻiḑê">
              <a:extLst>
                <a:ext uri="{FF2B5EF4-FFF2-40B4-BE49-F238E27FC236}">
                  <a16:creationId xmlns:a16="http://schemas.microsoft.com/office/drawing/2014/main" id="{816F83D9-6F72-40D0-92CA-AF21264CAA2E}"/>
                </a:ext>
              </a:extLst>
            </p:cNvPr>
            <p:cNvSpPr/>
            <p:nvPr/>
          </p:nvSpPr>
          <p:spPr bwMode="auto">
            <a:xfrm>
              <a:off x="3940540" y="2670289"/>
              <a:ext cx="69061" cy="70745"/>
            </a:xfrm>
            <a:custGeom>
              <a:avLst/>
              <a:gdLst>
                <a:gd name="T0" fmla="*/ 2862 w 3057"/>
                <a:gd name="T1" fmla="*/ 8 h 3119"/>
                <a:gd name="T2" fmla="*/ 2813 w 3057"/>
                <a:gd name="T3" fmla="*/ 0 h 3119"/>
                <a:gd name="T4" fmla="*/ 2764 w 3057"/>
                <a:gd name="T5" fmla="*/ 4 h 3119"/>
                <a:gd name="T6" fmla="*/ 2718 w 3057"/>
                <a:gd name="T7" fmla="*/ 17 h 3119"/>
                <a:gd name="T8" fmla="*/ 2674 w 3057"/>
                <a:gd name="T9" fmla="*/ 38 h 3119"/>
                <a:gd name="T10" fmla="*/ 2636 w 3057"/>
                <a:gd name="T11" fmla="*/ 67 h 3119"/>
                <a:gd name="T12" fmla="*/ 2602 w 3057"/>
                <a:gd name="T13" fmla="*/ 103 h 3119"/>
                <a:gd name="T14" fmla="*/ 2577 w 3057"/>
                <a:gd name="T15" fmla="*/ 146 h 3119"/>
                <a:gd name="T16" fmla="*/ 2430 w 3057"/>
                <a:gd name="T17" fmla="*/ 477 h 3119"/>
                <a:gd name="T18" fmla="*/ 2209 w 3057"/>
                <a:gd name="T19" fmla="*/ 877 h 3119"/>
                <a:gd name="T20" fmla="*/ 1953 w 3057"/>
                <a:gd name="T21" fmla="*/ 1245 h 3119"/>
                <a:gd name="T22" fmla="*/ 1664 w 3057"/>
                <a:gd name="T23" fmla="*/ 1583 h 3119"/>
                <a:gd name="T24" fmla="*/ 1347 w 3057"/>
                <a:gd name="T25" fmla="*/ 1888 h 3119"/>
                <a:gd name="T26" fmla="*/ 1004 w 3057"/>
                <a:gd name="T27" fmla="*/ 2158 h 3119"/>
                <a:gd name="T28" fmla="*/ 638 w 3057"/>
                <a:gd name="T29" fmla="*/ 2394 h 3119"/>
                <a:gd name="T30" fmla="*/ 252 w 3057"/>
                <a:gd name="T31" fmla="*/ 2593 h 3119"/>
                <a:gd name="T32" fmla="*/ 129 w 3057"/>
                <a:gd name="T33" fmla="*/ 2648 h 3119"/>
                <a:gd name="T34" fmla="*/ 88 w 3057"/>
                <a:gd name="T35" fmla="*/ 2676 h 3119"/>
                <a:gd name="T36" fmla="*/ 54 w 3057"/>
                <a:gd name="T37" fmla="*/ 2711 h 3119"/>
                <a:gd name="T38" fmla="*/ 28 w 3057"/>
                <a:gd name="T39" fmla="*/ 2753 h 3119"/>
                <a:gd name="T40" fmla="*/ 10 w 3057"/>
                <a:gd name="T41" fmla="*/ 2797 h 3119"/>
                <a:gd name="T42" fmla="*/ 1 w 3057"/>
                <a:gd name="T43" fmla="*/ 2844 h 3119"/>
                <a:gd name="T44" fmla="*/ 1 w 3057"/>
                <a:gd name="T45" fmla="*/ 2894 h 3119"/>
                <a:gd name="T46" fmla="*/ 11 w 3057"/>
                <a:gd name="T47" fmla="*/ 2943 h 3119"/>
                <a:gd name="T48" fmla="*/ 31 w 3057"/>
                <a:gd name="T49" fmla="*/ 2990 h 3119"/>
                <a:gd name="T50" fmla="*/ 60 w 3057"/>
                <a:gd name="T51" fmla="*/ 3031 h 3119"/>
                <a:gd name="T52" fmla="*/ 96 w 3057"/>
                <a:gd name="T53" fmla="*/ 3066 h 3119"/>
                <a:gd name="T54" fmla="*/ 136 w 3057"/>
                <a:gd name="T55" fmla="*/ 3092 h 3119"/>
                <a:gd name="T56" fmla="*/ 181 w 3057"/>
                <a:gd name="T57" fmla="*/ 3109 h 3119"/>
                <a:gd name="T58" fmla="*/ 228 w 3057"/>
                <a:gd name="T59" fmla="*/ 3118 h 3119"/>
                <a:gd name="T60" fmla="*/ 278 w 3057"/>
                <a:gd name="T61" fmla="*/ 3118 h 3119"/>
                <a:gd name="T62" fmla="*/ 326 w 3057"/>
                <a:gd name="T63" fmla="*/ 3108 h 3119"/>
                <a:gd name="T64" fmla="*/ 363 w 3057"/>
                <a:gd name="T65" fmla="*/ 3089 h 3119"/>
                <a:gd name="T66" fmla="*/ 796 w 3057"/>
                <a:gd name="T67" fmla="*/ 2877 h 3119"/>
                <a:gd name="T68" fmla="*/ 1206 w 3057"/>
                <a:gd name="T69" fmla="*/ 2626 h 3119"/>
                <a:gd name="T70" fmla="*/ 1593 w 3057"/>
                <a:gd name="T71" fmla="*/ 2336 h 3119"/>
                <a:gd name="T72" fmla="*/ 1951 w 3057"/>
                <a:gd name="T73" fmla="*/ 2007 h 3119"/>
                <a:gd name="T74" fmla="*/ 2278 w 3057"/>
                <a:gd name="T75" fmla="*/ 1643 h 3119"/>
                <a:gd name="T76" fmla="*/ 2570 w 3057"/>
                <a:gd name="T77" fmla="*/ 1244 h 3119"/>
                <a:gd name="T78" fmla="*/ 2825 w 3057"/>
                <a:gd name="T79" fmla="*/ 810 h 3119"/>
                <a:gd name="T80" fmla="*/ 3039 w 3057"/>
                <a:gd name="T81" fmla="*/ 346 h 3119"/>
                <a:gd name="T82" fmla="*/ 3053 w 3057"/>
                <a:gd name="T83" fmla="*/ 297 h 3119"/>
                <a:gd name="T84" fmla="*/ 3057 w 3057"/>
                <a:gd name="T85" fmla="*/ 248 h 3119"/>
                <a:gd name="T86" fmla="*/ 3051 w 3057"/>
                <a:gd name="T87" fmla="*/ 200 h 3119"/>
                <a:gd name="T88" fmla="*/ 3036 w 3057"/>
                <a:gd name="T89" fmla="*/ 153 h 3119"/>
                <a:gd name="T90" fmla="*/ 3013 w 3057"/>
                <a:gd name="T91" fmla="*/ 111 h 3119"/>
                <a:gd name="T92" fmla="*/ 2983 w 3057"/>
                <a:gd name="T93" fmla="*/ 74 h 3119"/>
                <a:gd name="T94" fmla="*/ 2943 w 3057"/>
                <a:gd name="T95" fmla="*/ 43 h 3119"/>
                <a:gd name="T96" fmla="*/ 2899 w 3057"/>
                <a:gd name="T97" fmla="*/ 19 h 3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057" h="3119">
                  <a:moveTo>
                    <a:pt x="2899" y="19"/>
                  </a:moveTo>
                  <a:lnTo>
                    <a:pt x="2887" y="15"/>
                  </a:lnTo>
                  <a:lnTo>
                    <a:pt x="2874" y="11"/>
                  </a:lnTo>
                  <a:lnTo>
                    <a:pt x="2862" y="8"/>
                  </a:lnTo>
                  <a:lnTo>
                    <a:pt x="2850" y="5"/>
                  </a:lnTo>
                  <a:lnTo>
                    <a:pt x="2838" y="3"/>
                  </a:lnTo>
                  <a:lnTo>
                    <a:pt x="2825" y="2"/>
                  </a:lnTo>
                  <a:lnTo>
                    <a:pt x="2813" y="0"/>
                  </a:lnTo>
                  <a:lnTo>
                    <a:pt x="2801" y="0"/>
                  </a:lnTo>
                  <a:lnTo>
                    <a:pt x="2789" y="2"/>
                  </a:lnTo>
                  <a:lnTo>
                    <a:pt x="2777" y="3"/>
                  </a:lnTo>
                  <a:lnTo>
                    <a:pt x="2764" y="4"/>
                  </a:lnTo>
                  <a:lnTo>
                    <a:pt x="2752" y="7"/>
                  </a:lnTo>
                  <a:lnTo>
                    <a:pt x="2740" y="9"/>
                  </a:lnTo>
                  <a:lnTo>
                    <a:pt x="2729" y="13"/>
                  </a:lnTo>
                  <a:lnTo>
                    <a:pt x="2718" y="17"/>
                  </a:lnTo>
                  <a:lnTo>
                    <a:pt x="2706" y="21"/>
                  </a:lnTo>
                  <a:lnTo>
                    <a:pt x="2695" y="26"/>
                  </a:lnTo>
                  <a:lnTo>
                    <a:pt x="2685" y="32"/>
                  </a:lnTo>
                  <a:lnTo>
                    <a:pt x="2674" y="38"/>
                  </a:lnTo>
                  <a:lnTo>
                    <a:pt x="2664" y="44"/>
                  </a:lnTo>
                  <a:lnTo>
                    <a:pt x="2655" y="51"/>
                  </a:lnTo>
                  <a:lnTo>
                    <a:pt x="2645" y="59"/>
                  </a:lnTo>
                  <a:lnTo>
                    <a:pt x="2636" y="67"/>
                  </a:lnTo>
                  <a:lnTo>
                    <a:pt x="2627" y="75"/>
                  </a:lnTo>
                  <a:lnTo>
                    <a:pt x="2619" y="84"/>
                  </a:lnTo>
                  <a:lnTo>
                    <a:pt x="2611" y="93"/>
                  </a:lnTo>
                  <a:lnTo>
                    <a:pt x="2602" y="103"/>
                  </a:lnTo>
                  <a:lnTo>
                    <a:pt x="2595" y="113"/>
                  </a:lnTo>
                  <a:lnTo>
                    <a:pt x="2589" y="124"/>
                  </a:lnTo>
                  <a:lnTo>
                    <a:pt x="2582" y="135"/>
                  </a:lnTo>
                  <a:lnTo>
                    <a:pt x="2577" y="146"/>
                  </a:lnTo>
                  <a:lnTo>
                    <a:pt x="2572" y="158"/>
                  </a:lnTo>
                  <a:lnTo>
                    <a:pt x="2527" y="266"/>
                  </a:lnTo>
                  <a:lnTo>
                    <a:pt x="2480" y="373"/>
                  </a:lnTo>
                  <a:lnTo>
                    <a:pt x="2430" y="477"/>
                  </a:lnTo>
                  <a:lnTo>
                    <a:pt x="2378" y="580"/>
                  </a:lnTo>
                  <a:lnTo>
                    <a:pt x="2324" y="681"/>
                  </a:lnTo>
                  <a:lnTo>
                    <a:pt x="2267" y="779"/>
                  </a:lnTo>
                  <a:lnTo>
                    <a:pt x="2209" y="877"/>
                  </a:lnTo>
                  <a:lnTo>
                    <a:pt x="2148" y="971"/>
                  </a:lnTo>
                  <a:lnTo>
                    <a:pt x="2084" y="1065"/>
                  </a:lnTo>
                  <a:lnTo>
                    <a:pt x="2020" y="1156"/>
                  </a:lnTo>
                  <a:lnTo>
                    <a:pt x="1953" y="1245"/>
                  </a:lnTo>
                  <a:lnTo>
                    <a:pt x="1883" y="1332"/>
                  </a:lnTo>
                  <a:lnTo>
                    <a:pt x="1812" y="1418"/>
                  </a:lnTo>
                  <a:lnTo>
                    <a:pt x="1739" y="1501"/>
                  </a:lnTo>
                  <a:lnTo>
                    <a:pt x="1664" y="1583"/>
                  </a:lnTo>
                  <a:lnTo>
                    <a:pt x="1587" y="1662"/>
                  </a:lnTo>
                  <a:lnTo>
                    <a:pt x="1509" y="1739"/>
                  </a:lnTo>
                  <a:lnTo>
                    <a:pt x="1429" y="1814"/>
                  </a:lnTo>
                  <a:lnTo>
                    <a:pt x="1347" y="1888"/>
                  </a:lnTo>
                  <a:lnTo>
                    <a:pt x="1264" y="1958"/>
                  </a:lnTo>
                  <a:lnTo>
                    <a:pt x="1178" y="2027"/>
                  </a:lnTo>
                  <a:lnTo>
                    <a:pt x="1092" y="2094"/>
                  </a:lnTo>
                  <a:lnTo>
                    <a:pt x="1004" y="2158"/>
                  </a:lnTo>
                  <a:lnTo>
                    <a:pt x="915" y="2221"/>
                  </a:lnTo>
                  <a:lnTo>
                    <a:pt x="823" y="2280"/>
                  </a:lnTo>
                  <a:lnTo>
                    <a:pt x="731" y="2338"/>
                  </a:lnTo>
                  <a:lnTo>
                    <a:pt x="638" y="2394"/>
                  </a:lnTo>
                  <a:lnTo>
                    <a:pt x="542" y="2447"/>
                  </a:lnTo>
                  <a:lnTo>
                    <a:pt x="447" y="2498"/>
                  </a:lnTo>
                  <a:lnTo>
                    <a:pt x="349" y="2547"/>
                  </a:lnTo>
                  <a:lnTo>
                    <a:pt x="252" y="2593"/>
                  </a:lnTo>
                  <a:lnTo>
                    <a:pt x="152" y="2636"/>
                  </a:lnTo>
                  <a:lnTo>
                    <a:pt x="152" y="2636"/>
                  </a:lnTo>
                  <a:lnTo>
                    <a:pt x="141" y="2642"/>
                  </a:lnTo>
                  <a:lnTo>
                    <a:pt x="129" y="2648"/>
                  </a:lnTo>
                  <a:lnTo>
                    <a:pt x="119" y="2654"/>
                  </a:lnTo>
                  <a:lnTo>
                    <a:pt x="108" y="2661"/>
                  </a:lnTo>
                  <a:lnTo>
                    <a:pt x="98" y="2668"/>
                  </a:lnTo>
                  <a:lnTo>
                    <a:pt x="88" y="2676"/>
                  </a:lnTo>
                  <a:lnTo>
                    <a:pt x="79" y="2684"/>
                  </a:lnTo>
                  <a:lnTo>
                    <a:pt x="71" y="2693"/>
                  </a:lnTo>
                  <a:lnTo>
                    <a:pt x="61" y="2702"/>
                  </a:lnTo>
                  <a:lnTo>
                    <a:pt x="54" y="2711"/>
                  </a:lnTo>
                  <a:lnTo>
                    <a:pt x="46" y="2722"/>
                  </a:lnTo>
                  <a:lnTo>
                    <a:pt x="40" y="2732"/>
                  </a:lnTo>
                  <a:lnTo>
                    <a:pt x="33" y="2742"/>
                  </a:lnTo>
                  <a:lnTo>
                    <a:pt x="28" y="2753"/>
                  </a:lnTo>
                  <a:lnTo>
                    <a:pt x="22" y="2763"/>
                  </a:lnTo>
                  <a:lnTo>
                    <a:pt x="18" y="2775"/>
                  </a:lnTo>
                  <a:lnTo>
                    <a:pt x="13" y="2786"/>
                  </a:lnTo>
                  <a:lnTo>
                    <a:pt x="10" y="2797"/>
                  </a:lnTo>
                  <a:lnTo>
                    <a:pt x="7" y="2809"/>
                  </a:lnTo>
                  <a:lnTo>
                    <a:pt x="4" y="2821"/>
                  </a:lnTo>
                  <a:lnTo>
                    <a:pt x="2" y="2832"/>
                  </a:lnTo>
                  <a:lnTo>
                    <a:pt x="1" y="2844"/>
                  </a:lnTo>
                  <a:lnTo>
                    <a:pt x="0" y="2857"/>
                  </a:lnTo>
                  <a:lnTo>
                    <a:pt x="0" y="2869"/>
                  </a:lnTo>
                  <a:lnTo>
                    <a:pt x="0" y="2882"/>
                  </a:lnTo>
                  <a:lnTo>
                    <a:pt x="1" y="2894"/>
                  </a:lnTo>
                  <a:lnTo>
                    <a:pt x="3" y="2906"/>
                  </a:lnTo>
                  <a:lnTo>
                    <a:pt x="5" y="2919"/>
                  </a:lnTo>
                  <a:lnTo>
                    <a:pt x="8" y="2931"/>
                  </a:lnTo>
                  <a:lnTo>
                    <a:pt x="11" y="2943"/>
                  </a:lnTo>
                  <a:lnTo>
                    <a:pt x="15" y="2955"/>
                  </a:lnTo>
                  <a:lnTo>
                    <a:pt x="20" y="2967"/>
                  </a:lnTo>
                  <a:lnTo>
                    <a:pt x="25" y="2979"/>
                  </a:lnTo>
                  <a:lnTo>
                    <a:pt x="31" y="2990"/>
                  </a:lnTo>
                  <a:lnTo>
                    <a:pt x="38" y="3001"/>
                  </a:lnTo>
                  <a:lnTo>
                    <a:pt x="45" y="3011"/>
                  </a:lnTo>
                  <a:lnTo>
                    <a:pt x="52" y="3021"/>
                  </a:lnTo>
                  <a:lnTo>
                    <a:pt x="60" y="3031"/>
                  </a:lnTo>
                  <a:lnTo>
                    <a:pt x="69" y="3040"/>
                  </a:lnTo>
                  <a:lnTo>
                    <a:pt x="77" y="3049"/>
                  </a:lnTo>
                  <a:lnTo>
                    <a:pt x="86" y="3058"/>
                  </a:lnTo>
                  <a:lnTo>
                    <a:pt x="96" y="3066"/>
                  </a:lnTo>
                  <a:lnTo>
                    <a:pt x="105" y="3073"/>
                  </a:lnTo>
                  <a:lnTo>
                    <a:pt x="115" y="3080"/>
                  </a:lnTo>
                  <a:lnTo>
                    <a:pt x="126" y="3086"/>
                  </a:lnTo>
                  <a:lnTo>
                    <a:pt x="136" y="3092"/>
                  </a:lnTo>
                  <a:lnTo>
                    <a:pt x="147" y="3097"/>
                  </a:lnTo>
                  <a:lnTo>
                    <a:pt x="158" y="3101"/>
                  </a:lnTo>
                  <a:lnTo>
                    <a:pt x="169" y="3106"/>
                  </a:lnTo>
                  <a:lnTo>
                    <a:pt x="181" y="3109"/>
                  </a:lnTo>
                  <a:lnTo>
                    <a:pt x="192" y="3112"/>
                  </a:lnTo>
                  <a:lnTo>
                    <a:pt x="204" y="3115"/>
                  </a:lnTo>
                  <a:lnTo>
                    <a:pt x="216" y="3117"/>
                  </a:lnTo>
                  <a:lnTo>
                    <a:pt x="228" y="3118"/>
                  </a:lnTo>
                  <a:lnTo>
                    <a:pt x="241" y="3119"/>
                  </a:lnTo>
                  <a:lnTo>
                    <a:pt x="253" y="3119"/>
                  </a:lnTo>
                  <a:lnTo>
                    <a:pt x="265" y="3119"/>
                  </a:lnTo>
                  <a:lnTo>
                    <a:pt x="278" y="3118"/>
                  </a:lnTo>
                  <a:lnTo>
                    <a:pt x="290" y="3117"/>
                  </a:lnTo>
                  <a:lnTo>
                    <a:pt x="302" y="3114"/>
                  </a:lnTo>
                  <a:lnTo>
                    <a:pt x="314" y="3112"/>
                  </a:lnTo>
                  <a:lnTo>
                    <a:pt x="326" y="3108"/>
                  </a:lnTo>
                  <a:lnTo>
                    <a:pt x="338" y="3104"/>
                  </a:lnTo>
                  <a:lnTo>
                    <a:pt x="350" y="3099"/>
                  </a:lnTo>
                  <a:lnTo>
                    <a:pt x="357" y="3094"/>
                  </a:lnTo>
                  <a:lnTo>
                    <a:pt x="363" y="3089"/>
                  </a:lnTo>
                  <a:lnTo>
                    <a:pt x="474" y="3040"/>
                  </a:lnTo>
                  <a:lnTo>
                    <a:pt x="582" y="2988"/>
                  </a:lnTo>
                  <a:lnTo>
                    <a:pt x="689" y="2935"/>
                  </a:lnTo>
                  <a:lnTo>
                    <a:pt x="796" y="2877"/>
                  </a:lnTo>
                  <a:lnTo>
                    <a:pt x="900" y="2819"/>
                  </a:lnTo>
                  <a:lnTo>
                    <a:pt x="1004" y="2757"/>
                  </a:lnTo>
                  <a:lnTo>
                    <a:pt x="1106" y="2693"/>
                  </a:lnTo>
                  <a:lnTo>
                    <a:pt x="1206" y="2626"/>
                  </a:lnTo>
                  <a:lnTo>
                    <a:pt x="1305" y="2558"/>
                  </a:lnTo>
                  <a:lnTo>
                    <a:pt x="1402" y="2486"/>
                  </a:lnTo>
                  <a:lnTo>
                    <a:pt x="1498" y="2412"/>
                  </a:lnTo>
                  <a:lnTo>
                    <a:pt x="1593" y="2336"/>
                  </a:lnTo>
                  <a:lnTo>
                    <a:pt x="1684" y="2257"/>
                  </a:lnTo>
                  <a:lnTo>
                    <a:pt x="1775" y="2176"/>
                  </a:lnTo>
                  <a:lnTo>
                    <a:pt x="1863" y="2093"/>
                  </a:lnTo>
                  <a:lnTo>
                    <a:pt x="1951" y="2007"/>
                  </a:lnTo>
                  <a:lnTo>
                    <a:pt x="2035" y="1920"/>
                  </a:lnTo>
                  <a:lnTo>
                    <a:pt x="2118" y="1829"/>
                  </a:lnTo>
                  <a:lnTo>
                    <a:pt x="2199" y="1738"/>
                  </a:lnTo>
                  <a:lnTo>
                    <a:pt x="2278" y="1643"/>
                  </a:lnTo>
                  <a:lnTo>
                    <a:pt x="2354" y="1547"/>
                  </a:lnTo>
                  <a:lnTo>
                    <a:pt x="2428" y="1448"/>
                  </a:lnTo>
                  <a:lnTo>
                    <a:pt x="2500" y="1346"/>
                  </a:lnTo>
                  <a:lnTo>
                    <a:pt x="2570" y="1244"/>
                  </a:lnTo>
                  <a:lnTo>
                    <a:pt x="2638" y="1138"/>
                  </a:lnTo>
                  <a:lnTo>
                    <a:pt x="2702" y="1032"/>
                  </a:lnTo>
                  <a:lnTo>
                    <a:pt x="2764" y="922"/>
                  </a:lnTo>
                  <a:lnTo>
                    <a:pt x="2825" y="810"/>
                  </a:lnTo>
                  <a:lnTo>
                    <a:pt x="2882" y="698"/>
                  </a:lnTo>
                  <a:lnTo>
                    <a:pt x="2937" y="582"/>
                  </a:lnTo>
                  <a:lnTo>
                    <a:pt x="2989" y="465"/>
                  </a:lnTo>
                  <a:lnTo>
                    <a:pt x="3039" y="346"/>
                  </a:lnTo>
                  <a:lnTo>
                    <a:pt x="3043" y="333"/>
                  </a:lnTo>
                  <a:lnTo>
                    <a:pt x="3047" y="321"/>
                  </a:lnTo>
                  <a:lnTo>
                    <a:pt x="3050" y="309"/>
                  </a:lnTo>
                  <a:lnTo>
                    <a:pt x="3053" y="297"/>
                  </a:lnTo>
                  <a:lnTo>
                    <a:pt x="3055" y="284"/>
                  </a:lnTo>
                  <a:lnTo>
                    <a:pt x="3056" y="272"/>
                  </a:lnTo>
                  <a:lnTo>
                    <a:pt x="3057" y="260"/>
                  </a:lnTo>
                  <a:lnTo>
                    <a:pt x="3057" y="248"/>
                  </a:lnTo>
                  <a:lnTo>
                    <a:pt x="3056" y="236"/>
                  </a:lnTo>
                  <a:lnTo>
                    <a:pt x="3055" y="223"/>
                  </a:lnTo>
                  <a:lnTo>
                    <a:pt x="3053" y="212"/>
                  </a:lnTo>
                  <a:lnTo>
                    <a:pt x="3051" y="200"/>
                  </a:lnTo>
                  <a:lnTo>
                    <a:pt x="3048" y="188"/>
                  </a:lnTo>
                  <a:lnTo>
                    <a:pt x="3045" y="176"/>
                  </a:lnTo>
                  <a:lnTo>
                    <a:pt x="3041" y="164"/>
                  </a:lnTo>
                  <a:lnTo>
                    <a:pt x="3036" y="153"/>
                  </a:lnTo>
                  <a:lnTo>
                    <a:pt x="3031" y="142"/>
                  </a:lnTo>
                  <a:lnTo>
                    <a:pt x="3026" y="131"/>
                  </a:lnTo>
                  <a:lnTo>
                    <a:pt x="3020" y="121"/>
                  </a:lnTo>
                  <a:lnTo>
                    <a:pt x="3013" y="111"/>
                  </a:lnTo>
                  <a:lnTo>
                    <a:pt x="3006" y="101"/>
                  </a:lnTo>
                  <a:lnTo>
                    <a:pt x="2999" y="92"/>
                  </a:lnTo>
                  <a:lnTo>
                    <a:pt x="2991" y="83"/>
                  </a:lnTo>
                  <a:lnTo>
                    <a:pt x="2983" y="74"/>
                  </a:lnTo>
                  <a:lnTo>
                    <a:pt x="2974" y="65"/>
                  </a:lnTo>
                  <a:lnTo>
                    <a:pt x="2964" y="57"/>
                  </a:lnTo>
                  <a:lnTo>
                    <a:pt x="2955" y="50"/>
                  </a:lnTo>
                  <a:lnTo>
                    <a:pt x="2943" y="43"/>
                  </a:lnTo>
                  <a:lnTo>
                    <a:pt x="2933" y="36"/>
                  </a:lnTo>
                  <a:lnTo>
                    <a:pt x="2922" y="30"/>
                  </a:lnTo>
                  <a:lnTo>
                    <a:pt x="2910" y="24"/>
                  </a:lnTo>
                  <a:lnTo>
                    <a:pt x="2899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52" name="îṩḻîḓe">
              <a:extLst>
                <a:ext uri="{FF2B5EF4-FFF2-40B4-BE49-F238E27FC236}">
                  <a16:creationId xmlns:a16="http://schemas.microsoft.com/office/drawing/2014/main" id="{67A3DB24-7982-461F-82FB-CF3ED41372FA}"/>
                </a:ext>
              </a:extLst>
            </p:cNvPr>
            <p:cNvSpPr/>
            <p:nvPr/>
          </p:nvSpPr>
          <p:spPr bwMode="auto">
            <a:xfrm>
              <a:off x="3817579" y="2550696"/>
              <a:ext cx="57270" cy="58112"/>
            </a:xfrm>
            <a:custGeom>
              <a:avLst/>
              <a:gdLst>
                <a:gd name="T0" fmla="*/ 2482 w 2520"/>
                <a:gd name="T1" fmla="*/ 117 h 2567"/>
                <a:gd name="T2" fmla="*/ 2452 w 2520"/>
                <a:gd name="T3" fmla="*/ 78 h 2567"/>
                <a:gd name="T4" fmla="*/ 2415 w 2520"/>
                <a:gd name="T5" fmla="*/ 46 h 2567"/>
                <a:gd name="T6" fmla="*/ 2373 w 2520"/>
                <a:gd name="T7" fmla="*/ 22 h 2567"/>
                <a:gd name="T8" fmla="*/ 2327 w 2520"/>
                <a:gd name="T9" fmla="*/ 6 h 2567"/>
                <a:gd name="T10" fmla="*/ 2280 w 2520"/>
                <a:gd name="T11" fmla="*/ 0 h 2567"/>
                <a:gd name="T12" fmla="*/ 2231 w 2520"/>
                <a:gd name="T13" fmla="*/ 3 h 2567"/>
                <a:gd name="T14" fmla="*/ 2181 w 2520"/>
                <a:gd name="T15" fmla="*/ 15 h 2567"/>
                <a:gd name="T16" fmla="*/ 2072 w 2520"/>
                <a:gd name="T17" fmla="*/ 66 h 2567"/>
                <a:gd name="T18" fmla="*/ 1730 w 2520"/>
                <a:gd name="T19" fmla="*/ 243 h 2567"/>
                <a:gd name="T20" fmla="*/ 1406 w 2520"/>
                <a:gd name="T21" fmla="*/ 453 h 2567"/>
                <a:gd name="T22" fmla="*/ 1102 w 2520"/>
                <a:gd name="T23" fmla="*/ 693 h 2567"/>
                <a:gd name="T24" fmla="*/ 822 w 2520"/>
                <a:gd name="T25" fmla="*/ 963 h 2567"/>
                <a:gd name="T26" fmla="*/ 567 w 2520"/>
                <a:gd name="T27" fmla="*/ 1262 h 2567"/>
                <a:gd name="T28" fmla="*/ 340 w 2520"/>
                <a:gd name="T29" fmla="*/ 1588 h 2567"/>
                <a:gd name="T30" fmla="*/ 144 w 2520"/>
                <a:gd name="T31" fmla="*/ 1941 h 2567"/>
                <a:gd name="T32" fmla="*/ 18 w 2520"/>
                <a:gd name="T33" fmla="*/ 2222 h 2567"/>
                <a:gd name="T34" fmla="*/ 4 w 2520"/>
                <a:gd name="T35" fmla="*/ 2271 h 2567"/>
                <a:gd name="T36" fmla="*/ 0 w 2520"/>
                <a:gd name="T37" fmla="*/ 2320 h 2567"/>
                <a:gd name="T38" fmla="*/ 5 w 2520"/>
                <a:gd name="T39" fmla="*/ 2369 h 2567"/>
                <a:gd name="T40" fmla="*/ 20 w 2520"/>
                <a:gd name="T41" fmla="*/ 2415 h 2567"/>
                <a:gd name="T42" fmla="*/ 44 w 2520"/>
                <a:gd name="T43" fmla="*/ 2457 h 2567"/>
                <a:gd name="T44" fmla="*/ 75 w 2520"/>
                <a:gd name="T45" fmla="*/ 2494 h 2567"/>
                <a:gd name="T46" fmla="*/ 113 w 2520"/>
                <a:gd name="T47" fmla="*/ 2525 h 2567"/>
                <a:gd name="T48" fmla="*/ 158 w 2520"/>
                <a:gd name="T49" fmla="*/ 2549 h 2567"/>
                <a:gd name="T50" fmla="*/ 208 w 2520"/>
                <a:gd name="T51" fmla="*/ 2563 h 2567"/>
                <a:gd name="T52" fmla="*/ 257 w 2520"/>
                <a:gd name="T53" fmla="*/ 2567 h 2567"/>
                <a:gd name="T54" fmla="*/ 305 w 2520"/>
                <a:gd name="T55" fmla="*/ 2561 h 2567"/>
                <a:gd name="T56" fmla="*/ 351 w 2520"/>
                <a:gd name="T57" fmla="*/ 2547 h 2567"/>
                <a:gd name="T58" fmla="*/ 394 w 2520"/>
                <a:gd name="T59" fmla="*/ 2523 h 2567"/>
                <a:gd name="T60" fmla="*/ 431 w 2520"/>
                <a:gd name="T61" fmla="*/ 2492 h 2567"/>
                <a:gd name="T62" fmla="*/ 462 w 2520"/>
                <a:gd name="T63" fmla="*/ 2454 h 2567"/>
                <a:gd name="T64" fmla="*/ 485 w 2520"/>
                <a:gd name="T65" fmla="*/ 2409 h 2567"/>
                <a:gd name="T66" fmla="*/ 596 w 2520"/>
                <a:gd name="T67" fmla="*/ 2161 h 2567"/>
                <a:gd name="T68" fmla="*/ 768 w 2520"/>
                <a:gd name="T69" fmla="*/ 1850 h 2567"/>
                <a:gd name="T70" fmla="*/ 968 w 2520"/>
                <a:gd name="T71" fmla="*/ 1564 h 2567"/>
                <a:gd name="T72" fmla="*/ 1192 w 2520"/>
                <a:gd name="T73" fmla="*/ 1301 h 2567"/>
                <a:gd name="T74" fmla="*/ 1439 w 2520"/>
                <a:gd name="T75" fmla="*/ 1065 h 2567"/>
                <a:gd name="T76" fmla="*/ 1705 w 2520"/>
                <a:gd name="T77" fmla="*/ 854 h 2567"/>
                <a:gd name="T78" fmla="*/ 1990 w 2520"/>
                <a:gd name="T79" fmla="*/ 671 h 2567"/>
                <a:gd name="T80" fmla="*/ 2291 w 2520"/>
                <a:gd name="T81" fmla="*/ 516 h 2567"/>
                <a:gd name="T82" fmla="*/ 2402 w 2520"/>
                <a:gd name="T83" fmla="*/ 464 h 2567"/>
                <a:gd name="T84" fmla="*/ 2441 w 2520"/>
                <a:gd name="T85" fmla="*/ 434 h 2567"/>
                <a:gd name="T86" fmla="*/ 2473 w 2520"/>
                <a:gd name="T87" fmla="*/ 397 h 2567"/>
                <a:gd name="T88" fmla="*/ 2497 w 2520"/>
                <a:gd name="T89" fmla="*/ 356 h 2567"/>
                <a:gd name="T90" fmla="*/ 2513 w 2520"/>
                <a:gd name="T91" fmla="*/ 309 h 2567"/>
                <a:gd name="T92" fmla="*/ 2520 w 2520"/>
                <a:gd name="T93" fmla="*/ 262 h 2567"/>
                <a:gd name="T94" fmla="*/ 2517 w 2520"/>
                <a:gd name="T95" fmla="*/ 213 h 2567"/>
                <a:gd name="T96" fmla="*/ 2505 w 2520"/>
                <a:gd name="T97" fmla="*/ 164 h 2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20" h="2567">
                  <a:moveTo>
                    <a:pt x="2500" y="151"/>
                  </a:moveTo>
                  <a:lnTo>
                    <a:pt x="2494" y="139"/>
                  </a:lnTo>
                  <a:lnTo>
                    <a:pt x="2489" y="128"/>
                  </a:lnTo>
                  <a:lnTo>
                    <a:pt x="2482" y="117"/>
                  </a:lnTo>
                  <a:lnTo>
                    <a:pt x="2475" y="107"/>
                  </a:lnTo>
                  <a:lnTo>
                    <a:pt x="2468" y="97"/>
                  </a:lnTo>
                  <a:lnTo>
                    <a:pt x="2460" y="87"/>
                  </a:lnTo>
                  <a:lnTo>
                    <a:pt x="2452" y="78"/>
                  </a:lnTo>
                  <a:lnTo>
                    <a:pt x="2443" y="69"/>
                  </a:lnTo>
                  <a:lnTo>
                    <a:pt x="2434" y="61"/>
                  </a:lnTo>
                  <a:lnTo>
                    <a:pt x="2425" y="53"/>
                  </a:lnTo>
                  <a:lnTo>
                    <a:pt x="2415" y="46"/>
                  </a:lnTo>
                  <a:lnTo>
                    <a:pt x="2405" y="39"/>
                  </a:lnTo>
                  <a:lnTo>
                    <a:pt x="2394" y="33"/>
                  </a:lnTo>
                  <a:lnTo>
                    <a:pt x="2384" y="27"/>
                  </a:lnTo>
                  <a:lnTo>
                    <a:pt x="2373" y="22"/>
                  </a:lnTo>
                  <a:lnTo>
                    <a:pt x="2362" y="17"/>
                  </a:lnTo>
                  <a:lnTo>
                    <a:pt x="2351" y="13"/>
                  </a:lnTo>
                  <a:lnTo>
                    <a:pt x="2339" y="10"/>
                  </a:lnTo>
                  <a:lnTo>
                    <a:pt x="2327" y="6"/>
                  </a:lnTo>
                  <a:lnTo>
                    <a:pt x="2316" y="4"/>
                  </a:lnTo>
                  <a:lnTo>
                    <a:pt x="2304" y="2"/>
                  </a:lnTo>
                  <a:lnTo>
                    <a:pt x="2292" y="1"/>
                  </a:lnTo>
                  <a:lnTo>
                    <a:pt x="2280" y="0"/>
                  </a:lnTo>
                  <a:lnTo>
                    <a:pt x="2268" y="0"/>
                  </a:lnTo>
                  <a:lnTo>
                    <a:pt x="2255" y="0"/>
                  </a:lnTo>
                  <a:lnTo>
                    <a:pt x="2243" y="1"/>
                  </a:lnTo>
                  <a:lnTo>
                    <a:pt x="2231" y="3"/>
                  </a:lnTo>
                  <a:lnTo>
                    <a:pt x="2218" y="5"/>
                  </a:lnTo>
                  <a:lnTo>
                    <a:pt x="2206" y="8"/>
                  </a:lnTo>
                  <a:lnTo>
                    <a:pt x="2193" y="11"/>
                  </a:lnTo>
                  <a:lnTo>
                    <a:pt x="2181" y="15"/>
                  </a:lnTo>
                  <a:lnTo>
                    <a:pt x="2169" y="20"/>
                  </a:lnTo>
                  <a:lnTo>
                    <a:pt x="2164" y="24"/>
                  </a:lnTo>
                  <a:lnTo>
                    <a:pt x="2159" y="27"/>
                  </a:lnTo>
                  <a:lnTo>
                    <a:pt x="2072" y="66"/>
                  </a:lnTo>
                  <a:lnTo>
                    <a:pt x="1984" y="107"/>
                  </a:lnTo>
                  <a:lnTo>
                    <a:pt x="1899" y="150"/>
                  </a:lnTo>
                  <a:lnTo>
                    <a:pt x="1813" y="196"/>
                  </a:lnTo>
                  <a:lnTo>
                    <a:pt x="1730" y="243"/>
                  </a:lnTo>
                  <a:lnTo>
                    <a:pt x="1647" y="292"/>
                  </a:lnTo>
                  <a:lnTo>
                    <a:pt x="1566" y="345"/>
                  </a:lnTo>
                  <a:lnTo>
                    <a:pt x="1485" y="398"/>
                  </a:lnTo>
                  <a:lnTo>
                    <a:pt x="1406" y="453"/>
                  </a:lnTo>
                  <a:lnTo>
                    <a:pt x="1328" y="510"/>
                  </a:lnTo>
                  <a:lnTo>
                    <a:pt x="1252" y="569"/>
                  </a:lnTo>
                  <a:lnTo>
                    <a:pt x="1176" y="630"/>
                  </a:lnTo>
                  <a:lnTo>
                    <a:pt x="1102" y="693"/>
                  </a:lnTo>
                  <a:lnTo>
                    <a:pt x="1029" y="758"/>
                  </a:lnTo>
                  <a:lnTo>
                    <a:pt x="959" y="824"/>
                  </a:lnTo>
                  <a:lnTo>
                    <a:pt x="890" y="893"/>
                  </a:lnTo>
                  <a:lnTo>
                    <a:pt x="822" y="963"/>
                  </a:lnTo>
                  <a:lnTo>
                    <a:pt x="756" y="1036"/>
                  </a:lnTo>
                  <a:lnTo>
                    <a:pt x="690" y="1109"/>
                  </a:lnTo>
                  <a:lnTo>
                    <a:pt x="628" y="1185"/>
                  </a:lnTo>
                  <a:lnTo>
                    <a:pt x="567" y="1262"/>
                  </a:lnTo>
                  <a:lnTo>
                    <a:pt x="507" y="1340"/>
                  </a:lnTo>
                  <a:lnTo>
                    <a:pt x="450" y="1422"/>
                  </a:lnTo>
                  <a:lnTo>
                    <a:pt x="394" y="1504"/>
                  </a:lnTo>
                  <a:lnTo>
                    <a:pt x="340" y="1588"/>
                  </a:lnTo>
                  <a:lnTo>
                    <a:pt x="288" y="1673"/>
                  </a:lnTo>
                  <a:lnTo>
                    <a:pt x="238" y="1761"/>
                  </a:lnTo>
                  <a:lnTo>
                    <a:pt x="189" y="1850"/>
                  </a:lnTo>
                  <a:lnTo>
                    <a:pt x="144" y="1941"/>
                  </a:lnTo>
                  <a:lnTo>
                    <a:pt x="100" y="2034"/>
                  </a:lnTo>
                  <a:lnTo>
                    <a:pt x="58" y="2127"/>
                  </a:lnTo>
                  <a:lnTo>
                    <a:pt x="18" y="2222"/>
                  </a:lnTo>
                  <a:lnTo>
                    <a:pt x="18" y="2222"/>
                  </a:lnTo>
                  <a:lnTo>
                    <a:pt x="13" y="2235"/>
                  </a:lnTo>
                  <a:lnTo>
                    <a:pt x="9" y="2247"/>
                  </a:lnTo>
                  <a:lnTo>
                    <a:pt x="6" y="2259"/>
                  </a:lnTo>
                  <a:lnTo>
                    <a:pt x="4" y="2271"/>
                  </a:lnTo>
                  <a:lnTo>
                    <a:pt x="2" y="2283"/>
                  </a:lnTo>
                  <a:lnTo>
                    <a:pt x="1" y="2296"/>
                  </a:lnTo>
                  <a:lnTo>
                    <a:pt x="0" y="2308"/>
                  </a:lnTo>
                  <a:lnTo>
                    <a:pt x="0" y="2320"/>
                  </a:lnTo>
                  <a:lnTo>
                    <a:pt x="0" y="2332"/>
                  </a:lnTo>
                  <a:lnTo>
                    <a:pt x="1" y="2344"/>
                  </a:lnTo>
                  <a:lnTo>
                    <a:pt x="3" y="2356"/>
                  </a:lnTo>
                  <a:lnTo>
                    <a:pt x="5" y="2369"/>
                  </a:lnTo>
                  <a:lnTo>
                    <a:pt x="8" y="2381"/>
                  </a:lnTo>
                  <a:lnTo>
                    <a:pt x="12" y="2392"/>
                  </a:lnTo>
                  <a:lnTo>
                    <a:pt x="16" y="2404"/>
                  </a:lnTo>
                  <a:lnTo>
                    <a:pt x="20" y="2415"/>
                  </a:lnTo>
                  <a:lnTo>
                    <a:pt x="26" y="2426"/>
                  </a:lnTo>
                  <a:lnTo>
                    <a:pt x="31" y="2436"/>
                  </a:lnTo>
                  <a:lnTo>
                    <a:pt x="37" y="2447"/>
                  </a:lnTo>
                  <a:lnTo>
                    <a:pt x="44" y="2457"/>
                  </a:lnTo>
                  <a:lnTo>
                    <a:pt x="51" y="2467"/>
                  </a:lnTo>
                  <a:lnTo>
                    <a:pt x="58" y="2476"/>
                  </a:lnTo>
                  <a:lnTo>
                    <a:pt x="66" y="2485"/>
                  </a:lnTo>
                  <a:lnTo>
                    <a:pt x="75" y="2494"/>
                  </a:lnTo>
                  <a:lnTo>
                    <a:pt x="84" y="2502"/>
                  </a:lnTo>
                  <a:lnTo>
                    <a:pt x="93" y="2510"/>
                  </a:lnTo>
                  <a:lnTo>
                    <a:pt x="103" y="2518"/>
                  </a:lnTo>
                  <a:lnTo>
                    <a:pt x="113" y="2525"/>
                  </a:lnTo>
                  <a:lnTo>
                    <a:pt x="124" y="2533"/>
                  </a:lnTo>
                  <a:lnTo>
                    <a:pt x="135" y="2539"/>
                  </a:lnTo>
                  <a:lnTo>
                    <a:pt x="146" y="2544"/>
                  </a:lnTo>
                  <a:lnTo>
                    <a:pt x="158" y="2549"/>
                  </a:lnTo>
                  <a:lnTo>
                    <a:pt x="170" y="2554"/>
                  </a:lnTo>
                  <a:lnTo>
                    <a:pt x="182" y="2558"/>
                  </a:lnTo>
                  <a:lnTo>
                    <a:pt x="194" y="2561"/>
                  </a:lnTo>
                  <a:lnTo>
                    <a:pt x="208" y="2563"/>
                  </a:lnTo>
                  <a:lnTo>
                    <a:pt x="220" y="2565"/>
                  </a:lnTo>
                  <a:lnTo>
                    <a:pt x="232" y="2566"/>
                  </a:lnTo>
                  <a:lnTo>
                    <a:pt x="245" y="2567"/>
                  </a:lnTo>
                  <a:lnTo>
                    <a:pt x="257" y="2567"/>
                  </a:lnTo>
                  <a:lnTo>
                    <a:pt x="269" y="2567"/>
                  </a:lnTo>
                  <a:lnTo>
                    <a:pt x="281" y="2565"/>
                  </a:lnTo>
                  <a:lnTo>
                    <a:pt x="293" y="2564"/>
                  </a:lnTo>
                  <a:lnTo>
                    <a:pt x="305" y="2561"/>
                  </a:lnTo>
                  <a:lnTo>
                    <a:pt x="316" y="2559"/>
                  </a:lnTo>
                  <a:lnTo>
                    <a:pt x="328" y="2555"/>
                  </a:lnTo>
                  <a:lnTo>
                    <a:pt x="339" y="2551"/>
                  </a:lnTo>
                  <a:lnTo>
                    <a:pt x="351" y="2547"/>
                  </a:lnTo>
                  <a:lnTo>
                    <a:pt x="361" y="2542"/>
                  </a:lnTo>
                  <a:lnTo>
                    <a:pt x="373" y="2536"/>
                  </a:lnTo>
                  <a:lnTo>
                    <a:pt x="383" y="2529"/>
                  </a:lnTo>
                  <a:lnTo>
                    <a:pt x="394" y="2523"/>
                  </a:lnTo>
                  <a:lnTo>
                    <a:pt x="403" y="2516"/>
                  </a:lnTo>
                  <a:lnTo>
                    <a:pt x="413" y="2508"/>
                  </a:lnTo>
                  <a:lnTo>
                    <a:pt x="422" y="2500"/>
                  </a:lnTo>
                  <a:lnTo>
                    <a:pt x="431" y="2492"/>
                  </a:lnTo>
                  <a:lnTo>
                    <a:pt x="439" y="2483"/>
                  </a:lnTo>
                  <a:lnTo>
                    <a:pt x="447" y="2474"/>
                  </a:lnTo>
                  <a:lnTo>
                    <a:pt x="455" y="2464"/>
                  </a:lnTo>
                  <a:lnTo>
                    <a:pt x="462" y="2454"/>
                  </a:lnTo>
                  <a:lnTo>
                    <a:pt x="468" y="2443"/>
                  </a:lnTo>
                  <a:lnTo>
                    <a:pt x="474" y="2432"/>
                  </a:lnTo>
                  <a:lnTo>
                    <a:pt x="480" y="2421"/>
                  </a:lnTo>
                  <a:lnTo>
                    <a:pt x="485" y="2409"/>
                  </a:lnTo>
                  <a:lnTo>
                    <a:pt x="485" y="2409"/>
                  </a:lnTo>
                  <a:lnTo>
                    <a:pt x="520" y="2324"/>
                  </a:lnTo>
                  <a:lnTo>
                    <a:pt x="558" y="2242"/>
                  </a:lnTo>
                  <a:lnTo>
                    <a:pt x="596" y="2161"/>
                  </a:lnTo>
                  <a:lnTo>
                    <a:pt x="636" y="2082"/>
                  </a:lnTo>
                  <a:lnTo>
                    <a:pt x="678" y="2003"/>
                  </a:lnTo>
                  <a:lnTo>
                    <a:pt x="723" y="1926"/>
                  </a:lnTo>
                  <a:lnTo>
                    <a:pt x="768" y="1850"/>
                  </a:lnTo>
                  <a:lnTo>
                    <a:pt x="815" y="1777"/>
                  </a:lnTo>
                  <a:lnTo>
                    <a:pt x="864" y="1705"/>
                  </a:lnTo>
                  <a:lnTo>
                    <a:pt x="916" y="1633"/>
                  </a:lnTo>
                  <a:lnTo>
                    <a:pt x="968" y="1564"/>
                  </a:lnTo>
                  <a:lnTo>
                    <a:pt x="1021" y="1496"/>
                  </a:lnTo>
                  <a:lnTo>
                    <a:pt x="1077" y="1430"/>
                  </a:lnTo>
                  <a:lnTo>
                    <a:pt x="1134" y="1365"/>
                  </a:lnTo>
                  <a:lnTo>
                    <a:pt x="1192" y="1301"/>
                  </a:lnTo>
                  <a:lnTo>
                    <a:pt x="1252" y="1240"/>
                  </a:lnTo>
                  <a:lnTo>
                    <a:pt x="1313" y="1180"/>
                  </a:lnTo>
                  <a:lnTo>
                    <a:pt x="1375" y="1121"/>
                  </a:lnTo>
                  <a:lnTo>
                    <a:pt x="1439" y="1065"/>
                  </a:lnTo>
                  <a:lnTo>
                    <a:pt x="1503" y="1010"/>
                  </a:lnTo>
                  <a:lnTo>
                    <a:pt x="1570" y="956"/>
                  </a:lnTo>
                  <a:lnTo>
                    <a:pt x="1637" y="904"/>
                  </a:lnTo>
                  <a:lnTo>
                    <a:pt x="1705" y="854"/>
                  </a:lnTo>
                  <a:lnTo>
                    <a:pt x="1775" y="805"/>
                  </a:lnTo>
                  <a:lnTo>
                    <a:pt x="1846" y="759"/>
                  </a:lnTo>
                  <a:lnTo>
                    <a:pt x="1918" y="714"/>
                  </a:lnTo>
                  <a:lnTo>
                    <a:pt x="1990" y="671"/>
                  </a:lnTo>
                  <a:lnTo>
                    <a:pt x="2064" y="629"/>
                  </a:lnTo>
                  <a:lnTo>
                    <a:pt x="2139" y="590"/>
                  </a:lnTo>
                  <a:lnTo>
                    <a:pt x="2214" y="552"/>
                  </a:lnTo>
                  <a:lnTo>
                    <a:pt x="2291" y="516"/>
                  </a:lnTo>
                  <a:lnTo>
                    <a:pt x="2367" y="481"/>
                  </a:lnTo>
                  <a:lnTo>
                    <a:pt x="2379" y="476"/>
                  </a:lnTo>
                  <a:lnTo>
                    <a:pt x="2390" y="470"/>
                  </a:lnTo>
                  <a:lnTo>
                    <a:pt x="2402" y="464"/>
                  </a:lnTo>
                  <a:lnTo>
                    <a:pt x="2413" y="457"/>
                  </a:lnTo>
                  <a:lnTo>
                    <a:pt x="2423" y="450"/>
                  </a:lnTo>
                  <a:lnTo>
                    <a:pt x="2432" y="442"/>
                  </a:lnTo>
                  <a:lnTo>
                    <a:pt x="2441" y="434"/>
                  </a:lnTo>
                  <a:lnTo>
                    <a:pt x="2450" y="425"/>
                  </a:lnTo>
                  <a:lnTo>
                    <a:pt x="2458" y="416"/>
                  </a:lnTo>
                  <a:lnTo>
                    <a:pt x="2466" y="407"/>
                  </a:lnTo>
                  <a:lnTo>
                    <a:pt x="2473" y="397"/>
                  </a:lnTo>
                  <a:lnTo>
                    <a:pt x="2480" y="387"/>
                  </a:lnTo>
                  <a:lnTo>
                    <a:pt x="2486" y="377"/>
                  </a:lnTo>
                  <a:lnTo>
                    <a:pt x="2492" y="366"/>
                  </a:lnTo>
                  <a:lnTo>
                    <a:pt x="2497" y="356"/>
                  </a:lnTo>
                  <a:lnTo>
                    <a:pt x="2502" y="345"/>
                  </a:lnTo>
                  <a:lnTo>
                    <a:pt x="2506" y="333"/>
                  </a:lnTo>
                  <a:lnTo>
                    <a:pt x="2510" y="321"/>
                  </a:lnTo>
                  <a:lnTo>
                    <a:pt x="2513" y="309"/>
                  </a:lnTo>
                  <a:lnTo>
                    <a:pt x="2515" y="298"/>
                  </a:lnTo>
                  <a:lnTo>
                    <a:pt x="2517" y="286"/>
                  </a:lnTo>
                  <a:lnTo>
                    <a:pt x="2519" y="274"/>
                  </a:lnTo>
                  <a:lnTo>
                    <a:pt x="2520" y="262"/>
                  </a:lnTo>
                  <a:lnTo>
                    <a:pt x="2520" y="249"/>
                  </a:lnTo>
                  <a:lnTo>
                    <a:pt x="2520" y="237"/>
                  </a:lnTo>
                  <a:lnTo>
                    <a:pt x="2519" y="225"/>
                  </a:lnTo>
                  <a:lnTo>
                    <a:pt x="2517" y="213"/>
                  </a:lnTo>
                  <a:lnTo>
                    <a:pt x="2515" y="200"/>
                  </a:lnTo>
                  <a:lnTo>
                    <a:pt x="2512" y="188"/>
                  </a:lnTo>
                  <a:lnTo>
                    <a:pt x="2509" y="176"/>
                  </a:lnTo>
                  <a:lnTo>
                    <a:pt x="2505" y="164"/>
                  </a:lnTo>
                  <a:lnTo>
                    <a:pt x="2500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53" name="íṧlide">
              <a:extLst>
                <a:ext uri="{FF2B5EF4-FFF2-40B4-BE49-F238E27FC236}">
                  <a16:creationId xmlns:a16="http://schemas.microsoft.com/office/drawing/2014/main" id="{D6F95D62-7EF6-4DB5-A699-861930CB6F42}"/>
                </a:ext>
              </a:extLst>
            </p:cNvPr>
            <p:cNvSpPr/>
            <p:nvPr/>
          </p:nvSpPr>
          <p:spPr bwMode="auto">
            <a:xfrm>
              <a:off x="3775468" y="2508586"/>
              <a:ext cx="81693" cy="83378"/>
            </a:xfrm>
            <a:custGeom>
              <a:avLst/>
              <a:gdLst>
                <a:gd name="T0" fmla="*/ 3557 w 3596"/>
                <a:gd name="T1" fmla="*/ 117 h 3668"/>
                <a:gd name="T2" fmla="*/ 3527 w 3596"/>
                <a:gd name="T3" fmla="*/ 78 h 3668"/>
                <a:gd name="T4" fmla="*/ 3490 w 3596"/>
                <a:gd name="T5" fmla="*/ 46 h 3668"/>
                <a:gd name="T6" fmla="*/ 3449 w 3596"/>
                <a:gd name="T7" fmla="*/ 22 h 3668"/>
                <a:gd name="T8" fmla="*/ 3402 w 3596"/>
                <a:gd name="T9" fmla="*/ 7 h 3668"/>
                <a:gd name="T10" fmla="*/ 3355 w 3596"/>
                <a:gd name="T11" fmla="*/ 0 h 3668"/>
                <a:gd name="T12" fmla="*/ 3306 w 3596"/>
                <a:gd name="T13" fmla="*/ 2 h 3668"/>
                <a:gd name="T14" fmla="*/ 3257 w 3596"/>
                <a:gd name="T15" fmla="*/ 15 h 3668"/>
                <a:gd name="T16" fmla="*/ 3098 w 3596"/>
                <a:gd name="T17" fmla="*/ 89 h 3668"/>
                <a:gd name="T18" fmla="*/ 2585 w 3596"/>
                <a:gd name="T19" fmla="*/ 356 h 3668"/>
                <a:gd name="T20" fmla="*/ 2100 w 3596"/>
                <a:gd name="T21" fmla="*/ 670 h 3668"/>
                <a:gd name="T22" fmla="*/ 1644 w 3596"/>
                <a:gd name="T23" fmla="*/ 1030 h 3668"/>
                <a:gd name="T24" fmla="*/ 1224 w 3596"/>
                <a:gd name="T25" fmla="*/ 1434 h 3668"/>
                <a:gd name="T26" fmla="*/ 841 w 3596"/>
                <a:gd name="T27" fmla="*/ 1883 h 3668"/>
                <a:gd name="T28" fmla="*/ 500 w 3596"/>
                <a:gd name="T29" fmla="*/ 2372 h 3668"/>
                <a:gd name="T30" fmla="*/ 207 w 3596"/>
                <a:gd name="T31" fmla="*/ 2901 h 3668"/>
                <a:gd name="T32" fmla="*/ 14 w 3596"/>
                <a:gd name="T33" fmla="*/ 3335 h 3668"/>
                <a:gd name="T34" fmla="*/ 2 w 3596"/>
                <a:gd name="T35" fmla="*/ 3385 h 3668"/>
                <a:gd name="T36" fmla="*/ 1 w 3596"/>
                <a:gd name="T37" fmla="*/ 3434 h 3668"/>
                <a:gd name="T38" fmla="*/ 9 w 3596"/>
                <a:gd name="T39" fmla="*/ 3481 h 3668"/>
                <a:gd name="T40" fmla="*/ 25 w 3596"/>
                <a:gd name="T41" fmla="*/ 3526 h 3668"/>
                <a:gd name="T42" fmla="*/ 52 w 3596"/>
                <a:gd name="T43" fmla="*/ 3568 h 3668"/>
                <a:gd name="T44" fmla="*/ 84 w 3596"/>
                <a:gd name="T45" fmla="*/ 3604 h 3668"/>
                <a:gd name="T46" fmla="*/ 124 w 3596"/>
                <a:gd name="T47" fmla="*/ 3633 h 3668"/>
                <a:gd name="T48" fmla="*/ 171 w 3596"/>
                <a:gd name="T49" fmla="*/ 3655 h 3668"/>
                <a:gd name="T50" fmla="*/ 220 w 3596"/>
                <a:gd name="T51" fmla="*/ 3666 h 3668"/>
                <a:gd name="T52" fmla="*/ 269 w 3596"/>
                <a:gd name="T53" fmla="*/ 3668 h 3668"/>
                <a:gd name="T54" fmla="*/ 316 w 3596"/>
                <a:gd name="T55" fmla="*/ 3660 h 3668"/>
                <a:gd name="T56" fmla="*/ 361 w 3596"/>
                <a:gd name="T57" fmla="*/ 3643 h 3668"/>
                <a:gd name="T58" fmla="*/ 403 w 3596"/>
                <a:gd name="T59" fmla="*/ 3618 h 3668"/>
                <a:gd name="T60" fmla="*/ 439 w 3596"/>
                <a:gd name="T61" fmla="*/ 3586 h 3668"/>
                <a:gd name="T62" fmla="*/ 468 w 3596"/>
                <a:gd name="T63" fmla="*/ 3546 h 3668"/>
                <a:gd name="T64" fmla="*/ 540 w 3596"/>
                <a:gd name="T65" fmla="*/ 3379 h 3668"/>
                <a:gd name="T66" fmla="*/ 788 w 3596"/>
                <a:gd name="T67" fmla="*/ 2873 h 3668"/>
                <a:gd name="T68" fmla="*/ 1081 w 3596"/>
                <a:gd name="T69" fmla="*/ 2404 h 3668"/>
                <a:gd name="T70" fmla="*/ 1415 w 3596"/>
                <a:gd name="T71" fmla="*/ 1971 h 3668"/>
                <a:gd name="T72" fmla="*/ 1785 w 3596"/>
                <a:gd name="T73" fmla="*/ 1579 h 3668"/>
                <a:gd name="T74" fmla="*/ 2189 w 3596"/>
                <a:gd name="T75" fmla="*/ 1227 h 3668"/>
                <a:gd name="T76" fmla="*/ 2623 w 3596"/>
                <a:gd name="T77" fmla="*/ 917 h 3668"/>
                <a:gd name="T78" fmla="*/ 3084 w 3596"/>
                <a:gd name="T79" fmla="*/ 651 h 3668"/>
                <a:gd name="T80" fmla="*/ 3455 w 3596"/>
                <a:gd name="T81" fmla="*/ 476 h 3668"/>
                <a:gd name="T82" fmla="*/ 3498 w 3596"/>
                <a:gd name="T83" fmla="*/ 449 h 3668"/>
                <a:gd name="T84" fmla="*/ 3533 w 3596"/>
                <a:gd name="T85" fmla="*/ 416 h 3668"/>
                <a:gd name="T86" fmla="*/ 3561 w 3596"/>
                <a:gd name="T87" fmla="*/ 377 h 3668"/>
                <a:gd name="T88" fmla="*/ 3581 w 3596"/>
                <a:gd name="T89" fmla="*/ 333 h 3668"/>
                <a:gd name="T90" fmla="*/ 3593 w 3596"/>
                <a:gd name="T91" fmla="*/ 286 h 3668"/>
                <a:gd name="T92" fmla="*/ 3596 w 3596"/>
                <a:gd name="T93" fmla="*/ 237 h 3668"/>
                <a:gd name="T94" fmla="*/ 3588 w 3596"/>
                <a:gd name="T95" fmla="*/ 188 h 3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596" h="3668">
                  <a:moveTo>
                    <a:pt x="3575" y="152"/>
                  </a:moveTo>
                  <a:lnTo>
                    <a:pt x="3569" y="140"/>
                  </a:lnTo>
                  <a:lnTo>
                    <a:pt x="3563" y="128"/>
                  </a:lnTo>
                  <a:lnTo>
                    <a:pt x="3557" y="117"/>
                  </a:lnTo>
                  <a:lnTo>
                    <a:pt x="3550" y="107"/>
                  </a:lnTo>
                  <a:lnTo>
                    <a:pt x="3543" y="97"/>
                  </a:lnTo>
                  <a:lnTo>
                    <a:pt x="3535" y="87"/>
                  </a:lnTo>
                  <a:lnTo>
                    <a:pt x="3527" y="78"/>
                  </a:lnTo>
                  <a:lnTo>
                    <a:pt x="3518" y="70"/>
                  </a:lnTo>
                  <a:lnTo>
                    <a:pt x="3509" y="61"/>
                  </a:lnTo>
                  <a:lnTo>
                    <a:pt x="3500" y="54"/>
                  </a:lnTo>
                  <a:lnTo>
                    <a:pt x="3490" y="46"/>
                  </a:lnTo>
                  <a:lnTo>
                    <a:pt x="3480" y="40"/>
                  </a:lnTo>
                  <a:lnTo>
                    <a:pt x="3470" y="33"/>
                  </a:lnTo>
                  <a:lnTo>
                    <a:pt x="3459" y="28"/>
                  </a:lnTo>
                  <a:lnTo>
                    <a:pt x="3449" y="22"/>
                  </a:lnTo>
                  <a:lnTo>
                    <a:pt x="3438" y="18"/>
                  </a:lnTo>
                  <a:lnTo>
                    <a:pt x="3426" y="13"/>
                  </a:lnTo>
                  <a:lnTo>
                    <a:pt x="3414" y="10"/>
                  </a:lnTo>
                  <a:lnTo>
                    <a:pt x="3402" y="7"/>
                  </a:lnTo>
                  <a:lnTo>
                    <a:pt x="3391" y="4"/>
                  </a:lnTo>
                  <a:lnTo>
                    <a:pt x="3379" y="2"/>
                  </a:lnTo>
                  <a:lnTo>
                    <a:pt x="3367" y="1"/>
                  </a:lnTo>
                  <a:lnTo>
                    <a:pt x="3355" y="0"/>
                  </a:lnTo>
                  <a:lnTo>
                    <a:pt x="3342" y="0"/>
                  </a:lnTo>
                  <a:lnTo>
                    <a:pt x="3330" y="0"/>
                  </a:lnTo>
                  <a:lnTo>
                    <a:pt x="3318" y="1"/>
                  </a:lnTo>
                  <a:lnTo>
                    <a:pt x="3306" y="2"/>
                  </a:lnTo>
                  <a:lnTo>
                    <a:pt x="3294" y="5"/>
                  </a:lnTo>
                  <a:lnTo>
                    <a:pt x="3281" y="7"/>
                  </a:lnTo>
                  <a:lnTo>
                    <a:pt x="3269" y="11"/>
                  </a:lnTo>
                  <a:lnTo>
                    <a:pt x="3257" y="15"/>
                  </a:lnTo>
                  <a:lnTo>
                    <a:pt x="3244" y="20"/>
                  </a:lnTo>
                  <a:lnTo>
                    <a:pt x="3236" y="25"/>
                  </a:lnTo>
                  <a:lnTo>
                    <a:pt x="3229" y="31"/>
                  </a:lnTo>
                  <a:lnTo>
                    <a:pt x="3098" y="89"/>
                  </a:lnTo>
                  <a:lnTo>
                    <a:pt x="2967" y="152"/>
                  </a:lnTo>
                  <a:lnTo>
                    <a:pt x="2838" y="216"/>
                  </a:lnTo>
                  <a:lnTo>
                    <a:pt x="2710" y="284"/>
                  </a:lnTo>
                  <a:lnTo>
                    <a:pt x="2585" y="356"/>
                  </a:lnTo>
                  <a:lnTo>
                    <a:pt x="2461" y="429"/>
                  </a:lnTo>
                  <a:lnTo>
                    <a:pt x="2338" y="507"/>
                  </a:lnTo>
                  <a:lnTo>
                    <a:pt x="2218" y="586"/>
                  </a:lnTo>
                  <a:lnTo>
                    <a:pt x="2100" y="670"/>
                  </a:lnTo>
                  <a:lnTo>
                    <a:pt x="1982" y="755"/>
                  </a:lnTo>
                  <a:lnTo>
                    <a:pt x="1867" y="844"/>
                  </a:lnTo>
                  <a:lnTo>
                    <a:pt x="1755" y="935"/>
                  </a:lnTo>
                  <a:lnTo>
                    <a:pt x="1644" y="1030"/>
                  </a:lnTo>
                  <a:lnTo>
                    <a:pt x="1535" y="1126"/>
                  </a:lnTo>
                  <a:lnTo>
                    <a:pt x="1429" y="1227"/>
                  </a:lnTo>
                  <a:lnTo>
                    <a:pt x="1325" y="1329"/>
                  </a:lnTo>
                  <a:lnTo>
                    <a:pt x="1224" y="1434"/>
                  </a:lnTo>
                  <a:lnTo>
                    <a:pt x="1124" y="1543"/>
                  </a:lnTo>
                  <a:lnTo>
                    <a:pt x="1027" y="1653"/>
                  </a:lnTo>
                  <a:lnTo>
                    <a:pt x="933" y="1766"/>
                  </a:lnTo>
                  <a:lnTo>
                    <a:pt x="841" y="1883"/>
                  </a:lnTo>
                  <a:lnTo>
                    <a:pt x="752" y="2001"/>
                  </a:lnTo>
                  <a:lnTo>
                    <a:pt x="665" y="2122"/>
                  </a:lnTo>
                  <a:lnTo>
                    <a:pt x="582" y="2246"/>
                  </a:lnTo>
                  <a:lnTo>
                    <a:pt x="500" y="2372"/>
                  </a:lnTo>
                  <a:lnTo>
                    <a:pt x="423" y="2500"/>
                  </a:lnTo>
                  <a:lnTo>
                    <a:pt x="347" y="2631"/>
                  </a:lnTo>
                  <a:lnTo>
                    <a:pt x="276" y="2765"/>
                  </a:lnTo>
                  <a:lnTo>
                    <a:pt x="207" y="2901"/>
                  </a:lnTo>
                  <a:lnTo>
                    <a:pt x="141" y="3040"/>
                  </a:lnTo>
                  <a:lnTo>
                    <a:pt x="78" y="3180"/>
                  </a:lnTo>
                  <a:lnTo>
                    <a:pt x="18" y="3323"/>
                  </a:lnTo>
                  <a:lnTo>
                    <a:pt x="14" y="3335"/>
                  </a:lnTo>
                  <a:lnTo>
                    <a:pt x="10" y="3347"/>
                  </a:lnTo>
                  <a:lnTo>
                    <a:pt x="7" y="3359"/>
                  </a:lnTo>
                  <a:lnTo>
                    <a:pt x="4" y="3373"/>
                  </a:lnTo>
                  <a:lnTo>
                    <a:pt x="2" y="3385"/>
                  </a:lnTo>
                  <a:lnTo>
                    <a:pt x="1" y="3397"/>
                  </a:lnTo>
                  <a:lnTo>
                    <a:pt x="0" y="3409"/>
                  </a:lnTo>
                  <a:lnTo>
                    <a:pt x="0" y="3422"/>
                  </a:lnTo>
                  <a:lnTo>
                    <a:pt x="1" y="3434"/>
                  </a:lnTo>
                  <a:lnTo>
                    <a:pt x="2" y="3446"/>
                  </a:lnTo>
                  <a:lnTo>
                    <a:pt x="4" y="3458"/>
                  </a:lnTo>
                  <a:lnTo>
                    <a:pt x="6" y="3470"/>
                  </a:lnTo>
                  <a:lnTo>
                    <a:pt x="9" y="3481"/>
                  </a:lnTo>
                  <a:lnTo>
                    <a:pt x="12" y="3493"/>
                  </a:lnTo>
                  <a:lnTo>
                    <a:pt x="16" y="3504"/>
                  </a:lnTo>
                  <a:lnTo>
                    <a:pt x="20" y="3515"/>
                  </a:lnTo>
                  <a:lnTo>
                    <a:pt x="25" y="3526"/>
                  </a:lnTo>
                  <a:lnTo>
                    <a:pt x="32" y="3538"/>
                  </a:lnTo>
                  <a:lnTo>
                    <a:pt x="38" y="3548"/>
                  </a:lnTo>
                  <a:lnTo>
                    <a:pt x="45" y="3559"/>
                  </a:lnTo>
                  <a:lnTo>
                    <a:pt x="52" y="3568"/>
                  </a:lnTo>
                  <a:lnTo>
                    <a:pt x="59" y="3578"/>
                  </a:lnTo>
                  <a:lnTo>
                    <a:pt x="67" y="3587"/>
                  </a:lnTo>
                  <a:lnTo>
                    <a:pt x="75" y="3596"/>
                  </a:lnTo>
                  <a:lnTo>
                    <a:pt x="84" y="3604"/>
                  </a:lnTo>
                  <a:lnTo>
                    <a:pt x="94" y="3612"/>
                  </a:lnTo>
                  <a:lnTo>
                    <a:pt x="103" y="3620"/>
                  </a:lnTo>
                  <a:lnTo>
                    <a:pt x="114" y="3627"/>
                  </a:lnTo>
                  <a:lnTo>
                    <a:pt x="124" y="3633"/>
                  </a:lnTo>
                  <a:lnTo>
                    <a:pt x="135" y="3639"/>
                  </a:lnTo>
                  <a:lnTo>
                    <a:pt x="147" y="3645"/>
                  </a:lnTo>
                  <a:lnTo>
                    <a:pt x="159" y="3650"/>
                  </a:lnTo>
                  <a:lnTo>
                    <a:pt x="171" y="3655"/>
                  </a:lnTo>
                  <a:lnTo>
                    <a:pt x="183" y="3659"/>
                  </a:lnTo>
                  <a:lnTo>
                    <a:pt x="195" y="3662"/>
                  </a:lnTo>
                  <a:lnTo>
                    <a:pt x="208" y="3664"/>
                  </a:lnTo>
                  <a:lnTo>
                    <a:pt x="220" y="3666"/>
                  </a:lnTo>
                  <a:lnTo>
                    <a:pt x="232" y="3668"/>
                  </a:lnTo>
                  <a:lnTo>
                    <a:pt x="245" y="3668"/>
                  </a:lnTo>
                  <a:lnTo>
                    <a:pt x="257" y="3668"/>
                  </a:lnTo>
                  <a:lnTo>
                    <a:pt x="269" y="3668"/>
                  </a:lnTo>
                  <a:lnTo>
                    <a:pt x="281" y="3667"/>
                  </a:lnTo>
                  <a:lnTo>
                    <a:pt x="293" y="3665"/>
                  </a:lnTo>
                  <a:lnTo>
                    <a:pt x="305" y="3663"/>
                  </a:lnTo>
                  <a:lnTo>
                    <a:pt x="316" y="3660"/>
                  </a:lnTo>
                  <a:lnTo>
                    <a:pt x="328" y="3657"/>
                  </a:lnTo>
                  <a:lnTo>
                    <a:pt x="339" y="3653"/>
                  </a:lnTo>
                  <a:lnTo>
                    <a:pt x="350" y="3648"/>
                  </a:lnTo>
                  <a:lnTo>
                    <a:pt x="361" y="3643"/>
                  </a:lnTo>
                  <a:lnTo>
                    <a:pt x="373" y="3638"/>
                  </a:lnTo>
                  <a:lnTo>
                    <a:pt x="383" y="3632"/>
                  </a:lnTo>
                  <a:lnTo>
                    <a:pt x="393" y="3625"/>
                  </a:lnTo>
                  <a:lnTo>
                    <a:pt x="403" y="3618"/>
                  </a:lnTo>
                  <a:lnTo>
                    <a:pt x="413" y="3611"/>
                  </a:lnTo>
                  <a:lnTo>
                    <a:pt x="422" y="3603"/>
                  </a:lnTo>
                  <a:lnTo>
                    <a:pt x="431" y="3594"/>
                  </a:lnTo>
                  <a:lnTo>
                    <a:pt x="439" y="3586"/>
                  </a:lnTo>
                  <a:lnTo>
                    <a:pt x="447" y="3576"/>
                  </a:lnTo>
                  <a:lnTo>
                    <a:pt x="454" y="3566"/>
                  </a:lnTo>
                  <a:lnTo>
                    <a:pt x="461" y="3556"/>
                  </a:lnTo>
                  <a:lnTo>
                    <a:pt x="468" y="3546"/>
                  </a:lnTo>
                  <a:lnTo>
                    <a:pt x="474" y="3535"/>
                  </a:lnTo>
                  <a:lnTo>
                    <a:pt x="480" y="3522"/>
                  </a:lnTo>
                  <a:lnTo>
                    <a:pt x="485" y="3510"/>
                  </a:lnTo>
                  <a:lnTo>
                    <a:pt x="540" y="3379"/>
                  </a:lnTo>
                  <a:lnTo>
                    <a:pt x="598" y="3249"/>
                  </a:lnTo>
                  <a:lnTo>
                    <a:pt x="658" y="3121"/>
                  </a:lnTo>
                  <a:lnTo>
                    <a:pt x="722" y="2996"/>
                  </a:lnTo>
                  <a:lnTo>
                    <a:pt x="788" y="2873"/>
                  </a:lnTo>
                  <a:lnTo>
                    <a:pt x="857" y="2752"/>
                  </a:lnTo>
                  <a:lnTo>
                    <a:pt x="929" y="2633"/>
                  </a:lnTo>
                  <a:lnTo>
                    <a:pt x="1004" y="2518"/>
                  </a:lnTo>
                  <a:lnTo>
                    <a:pt x="1081" y="2404"/>
                  </a:lnTo>
                  <a:lnTo>
                    <a:pt x="1160" y="2292"/>
                  </a:lnTo>
                  <a:lnTo>
                    <a:pt x="1243" y="2183"/>
                  </a:lnTo>
                  <a:lnTo>
                    <a:pt x="1327" y="2076"/>
                  </a:lnTo>
                  <a:lnTo>
                    <a:pt x="1415" y="1971"/>
                  </a:lnTo>
                  <a:lnTo>
                    <a:pt x="1503" y="1870"/>
                  </a:lnTo>
                  <a:lnTo>
                    <a:pt x="1595" y="1770"/>
                  </a:lnTo>
                  <a:lnTo>
                    <a:pt x="1689" y="1674"/>
                  </a:lnTo>
                  <a:lnTo>
                    <a:pt x="1785" y="1579"/>
                  </a:lnTo>
                  <a:lnTo>
                    <a:pt x="1882" y="1487"/>
                  </a:lnTo>
                  <a:lnTo>
                    <a:pt x="1983" y="1398"/>
                  </a:lnTo>
                  <a:lnTo>
                    <a:pt x="2085" y="1311"/>
                  </a:lnTo>
                  <a:lnTo>
                    <a:pt x="2189" y="1227"/>
                  </a:lnTo>
                  <a:lnTo>
                    <a:pt x="2295" y="1145"/>
                  </a:lnTo>
                  <a:lnTo>
                    <a:pt x="2403" y="1067"/>
                  </a:lnTo>
                  <a:lnTo>
                    <a:pt x="2512" y="990"/>
                  </a:lnTo>
                  <a:lnTo>
                    <a:pt x="2623" y="917"/>
                  </a:lnTo>
                  <a:lnTo>
                    <a:pt x="2735" y="847"/>
                  </a:lnTo>
                  <a:lnTo>
                    <a:pt x="2850" y="778"/>
                  </a:lnTo>
                  <a:lnTo>
                    <a:pt x="2966" y="714"/>
                  </a:lnTo>
                  <a:lnTo>
                    <a:pt x="3084" y="651"/>
                  </a:lnTo>
                  <a:lnTo>
                    <a:pt x="3202" y="592"/>
                  </a:lnTo>
                  <a:lnTo>
                    <a:pt x="3322" y="535"/>
                  </a:lnTo>
                  <a:lnTo>
                    <a:pt x="3444" y="481"/>
                  </a:lnTo>
                  <a:lnTo>
                    <a:pt x="3455" y="476"/>
                  </a:lnTo>
                  <a:lnTo>
                    <a:pt x="3467" y="470"/>
                  </a:lnTo>
                  <a:lnTo>
                    <a:pt x="3477" y="463"/>
                  </a:lnTo>
                  <a:lnTo>
                    <a:pt x="3488" y="457"/>
                  </a:lnTo>
                  <a:lnTo>
                    <a:pt x="3498" y="449"/>
                  </a:lnTo>
                  <a:lnTo>
                    <a:pt x="3507" y="441"/>
                  </a:lnTo>
                  <a:lnTo>
                    <a:pt x="3517" y="433"/>
                  </a:lnTo>
                  <a:lnTo>
                    <a:pt x="3525" y="425"/>
                  </a:lnTo>
                  <a:lnTo>
                    <a:pt x="3533" y="416"/>
                  </a:lnTo>
                  <a:lnTo>
                    <a:pt x="3541" y="406"/>
                  </a:lnTo>
                  <a:lnTo>
                    <a:pt x="3548" y="397"/>
                  </a:lnTo>
                  <a:lnTo>
                    <a:pt x="3555" y="387"/>
                  </a:lnTo>
                  <a:lnTo>
                    <a:pt x="3561" y="377"/>
                  </a:lnTo>
                  <a:lnTo>
                    <a:pt x="3567" y="366"/>
                  </a:lnTo>
                  <a:lnTo>
                    <a:pt x="3572" y="355"/>
                  </a:lnTo>
                  <a:lnTo>
                    <a:pt x="3577" y="344"/>
                  </a:lnTo>
                  <a:lnTo>
                    <a:pt x="3581" y="333"/>
                  </a:lnTo>
                  <a:lnTo>
                    <a:pt x="3585" y="322"/>
                  </a:lnTo>
                  <a:lnTo>
                    <a:pt x="3589" y="309"/>
                  </a:lnTo>
                  <a:lnTo>
                    <a:pt x="3591" y="297"/>
                  </a:lnTo>
                  <a:lnTo>
                    <a:pt x="3593" y="286"/>
                  </a:lnTo>
                  <a:lnTo>
                    <a:pt x="3595" y="274"/>
                  </a:lnTo>
                  <a:lnTo>
                    <a:pt x="3596" y="261"/>
                  </a:lnTo>
                  <a:lnTo>
                    <a:pt x="3596" y="249"/>
                  </a:lnTo>
                  <a:lnTo>
                    <a:pt x="3596" y="237"/>
                  </a:lnTo>
                  <a:lnTo>
                    <a:pt x="3595" y="225"/>
                  </a:lnTo>
                  <a:lnTo>
                    <a:pt x="3593" y="213"/>
                  </a:lnTo>
                  <a:lnTo>
                    <a:pt x="3591" y="200"/>
                  </a:lnTo>
                  <a:lnTo>
                    <a:pt x="3588" y="188"/>
                  </a:lnTo>
                  <a:lnTo>
                    <a:pt x="3584" y="176"/>
                  </a:lnTo>
                  <a:lnTo>
                    <a:pt x="3579" y="164"/>
                  </a:lnTo>
                  <a:lnTo>
                    <a:pt x="3575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54" name="iṡľïdè">
              <a:extLst>
                <a:ext uri="{FF2B5EF4-FFF2-40B4-BE49-F238E27FC236}">
                  <a16:creationId xmlns:a16="http://schemas.microsoft.com/office/drawing/2014/main" id="{3F4640E1-B4A3-4CC4-8C0B-102ACDC78D7E}"/>
                </a:ext>
              </a:extLst>
            </p:cNvPr>
            <p:cNvSpPr/>
            <p:nvPr/>
          </p:nvSpPr>
          <p:spPr bwMode="auto">
            <a:xfrm>
              <a:off x="3796523" y="2529642"/>
              <a:ext cx="69061" cy="70745"/>
            </a:xfrm>
            <a:custGeom>
              <a:avLst/>
              <a:gdLst>
                <a:gd name="T0" fmla="*/ 2939 w 3057"/>
                <a:gd name="T1" fmla="*/ 464 h 3119"/>
                <a:gd name="T2" fmla="*/ 2978 w 3057"/>
                <a:gd name="T3" fmla="*/ 434 h 3119"/>
                <a:gd name="T4" fmla="*/ 3011 w 3057"/>
                <a:gd name="T5" fmla="*/ 397 h 3119"/>
                <a:gd name="T6" fmla="*/ 3035 w 3057"/>
                <a:gd name="T7" fmla="*/ 355 h 3119"/>
                <a:gd name="T8" fmla="*/ 3050 w 3057"/>
                <a:gd name="T9" fmla="*/ 310 h 3119"/>
                <a:gd name="T10" fmla="*/ 3057 w 3057"/>
                <a:gd name="T11" fmla="*/ 263 h 3119"/>
                <a:gd name="T12" fmla="*/ 3055 w 3057"/>
                <a:gd name="T13" fmla="*/ 213 h 3119"/>
                <a:gd name="T14" fmla="*/ 3042 w 3057"/>
                <a:gd name="T15" fmla="*/ 164 h 3119"/>
                <a:gd name="T16" fmla="*/ 3020 w 3057"/>
                <a:gd name="T17" fmla="*/ 118 h 3119"/>
                <a:gd name="T18" fmla="*/ 2988 w 3057"/>
                <a:gd name="T19" fmla="*/ 79 h 3119"/>
                <a:gd name="T20" fmla="*/ 2952 w 3057"/>
                <a:gd name="T21" fmla="*/ 46 h 3119"/>
                <a:gd name="T22" fmla="*/ 2910 w 3057"/>
                <a:gd name="T23" fmla="*/ 22 h 3119"/>
                <a:gd name="T24" fmla="*/ 2865 w 3057"/>
                <a:gd name="T25" fmla="*/ 7 h 3119"/>
                <a:gd name="T26" fmla="*/ 2816 w 3057"/>
                <a:gd name="T27" fmla="*/ 0 h 3119"/>
                <a:gd name="T28" fmla="*/ 2767 w 3057"/>
                <a:gd name="T29" fmla="*/ 3 h 3119"/>
                <a:gd name="T30" fmla="*/ 2719 w 3057"/>
                <a:gd name="T31" fmla="*/ 15 h 3119"/>
                <a:gd name="T32" fmla="*/ 2584 w 3057"/>
                <a:gd name="T33" fmla="*/ 79 h 3119"/>
                <a:gd name="T34" fmla="*/ 2157 w 3057"/>
                <a:gd name="T35" fmla="*/ 300 h 3119"/>
                <a:gd name="T36" fmla="*/ 1752 w 3057"/>
                <a:gd name="T37" fmla="*/ 561 h 3119"/>
                <a:gd name="T38" fmla="*/ 1373 w 3057"/>
                <a:gd name="T39" fmla="*/ 862 h 3119"/>
                <a:gd name="T40" fmla="*/ 1022 w 3057"/>
                <a:gd name="T41" fmla="*/ 1199 h 3119"/>
                <a:gd name="T42" fmla="*/ 703 w 3057"/>
                <a:gd name="T43" fmla="*/ 1573 h 3119"/>
                <a:gd name="T44" fmla="*/ 419 w 3057"/>
                <a:gd name="T45" fmla="*/ 1981 h 3119"/>
                <a:gd name="T46" fmla="*/ 175 w 3057"/>
                <a:gd name="T47" fmla="*/ 2422 h 3119"/>
                <a:gd name="T48" fmla="*/ 14 w 3057"/>
                <a:gd name="T49" fmla="*/ 2786 h 3119"/>
                <a:gd name="T50" fmla="*/ 2 w 3057"/>
                <a:gd name="T51" fmla="*/ 2835 h 3119"/>
                <a:gd name="T52" fmla="*/ 1 w 3057"/>
                <a:gd name="T53" fmla="*/ 2884 h 3119"/>
                <a:gd name="T54" fmla="*/ 9 w 3057"/>
                <a:gd name="T55" fmla="*/ 2931 h 3119"/>
                <a:gd name="T56" fmla="*/ 26 w 3057"/>
                <a:gd name="T57" fmla="*/ 2977 h 3119"/>
                <a:gd name="T58" fmla="*/ 51 w 3057"/>
                <a:gd name="T59" fmla="*/ 3018 h 3119"/>
                <a:gd name="T60" fmla="*/ 83 w 3057"/>
                <a:gd name="T61" fmla="*/ 3054 h 3119"/>
                <a:gd name="T62" fmla="*/ 124 w 3057"/>
                <a:gd name="T63" fmla="*/ 3083 h 3119"/>
                <a:gd name="T64" fmla="*/ 171 w 3057"/>
                <a:gd name="T65" fmla="*/ 3105 h 3119"/>
                <a:gd name="T66" fmla="*/ 219 w 3057"/>
                <a:gd name="T67" fmla="*/ 3116 h 3119"/>
                <a:gd name="T68" fmla="*/ 268 w 3057"/>
                <a:gd name="T69" fmla="*/ 3119 h 3119"/>
                <a:gd name="T70" fmla="*/ 317 w 3057"/>
                <a:gd name="T71" fmla="*/ 3110 h 3119"/>
                <a:gd name="T72" fmla="*/ 361 w 3057"/>
                <a:gd name="T73" fmla="*/ 3093 h 3119"/>
                <a:gd name="T74" fmla="*/ 402 w 3057"/>
                <a:gd name="T75" fmla="*/ 3068 h 3119"/>
                <a:gd name="T76" fmla="*/ 438 w 3057"/>
                <a:gd name="T77" fmla="*/ 3035 h 3119"/>
                <a:gd name="T78" fmla="*/ 469 w 3057"/>
                <a:gd name="T79" fmla="*/ 2996 h 3119"/>
                <a:gd name="T80" fmla="*/ 530 w 3057"/>
                <a:gd name="T81" fmla="*/ 2853 h 3119"/>
                <a:gd name="T82" fmla="*/ 733 w 3057"/>
                <a:gd name="T83" fmla="*/ 2439 h 3119"/>
                <a:gd name="T84" fmla="*/ 973 w 3057"/>
                <a:gd name="T85" fmla="*/ 2055 h 3119"/>
                <a:gd name="T86" fmla="*/ 1245 w 3057"/>
                <a:gd name="T87" fmla="*/ 1701 h 3119"/>
                <a:gd name="T88" fmla="*/ 1548 w 3057"/>
                <a:gd name="T89" fmla="*/ 1380 h 3119"/>
                <a:gd name="T90" fmla="*/ 1879 w 3057"/>
                <a:gd name="T91" fmla="*/ 1092 h 3119"/>
                <a:gd name="T92" fmla="*/ 2234 w 3057"/>
                <a:gd name="T93" fmla="*/ 839 h 3119"/>
                <a:gd name="T94" fmla="*/ 2610 w 3057"/>
                <a:gd name="T95" fmla="*/ 622 h 3119"/>
                <a:gd name="T96" fmla="*/ 2905 w 3057"/>
                <a:gd name="T97" fmla="*/ 482 h 3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057" h="3119">
                  <a:moveTo>
                    <a:pt x="2905" y="482"/>
                  </a:moveTo>
                  <a:lnTo>
                    <a:pt x="2917" y="477"/>
                  </a:lnTo>
                  <a:lnTo>
                    <a:pt x="2928" y="471"/>
                  </a:lnTo>
                  <a:lnTo>
                    <a:pt x="2939" y="464"/>
                  </a:lnTo>
                  <a:lnTo>
                    <a:pt x="2949" y="458"/>
                  </a:lnTo>
                  <a:lnTo>
                    <a:pt x="2959" y="450"/>
                  </a:lnTo>
                  <a:lnTo>
                    <a:pt x="2969" y="442"/>
                  </a:lnTo>
                  <a:lnTo>
                    <a:pt x="2978" y="434"/>
                  </a:lnTo>
                  <a:lnTo>
                    <a:pt x="2986" y="426"/>
                  </a:lnTo>
                  <a:lnTo>
                    <a:pt x="2996" y="417"/>
                  </a:lnTo>
                  <a:lnTo>
                    <a:pt x="3003" y="408"/>
                  </a:lnTo>
                  <a:lnTo>
                    <a:pt x="3011" y="397"/>
                  </a:lnTo>
                  <a:lnTo>
                    <a:pt x="3017" y="387"/>
                  </a:lnTo>
                  <a:lnTo>
                    <a:pt x="3024" y="377"/>
                  </a:lnTo>
                  <a:lnTo>
                    <a:pt x="3029" y="366"/>
                  </a:lnTo>
                  <a:lnTo>
                    <a:pt x="3035" y="355"/>
                  </a:lnTo>
                  <a:lnTo>
                    <a:pt x="3039" y="344"/>
                  </a:lnTo>
                  <a:lnTo>
                    <a:pt x="3044" y="333"/>
                  </a:lnTo>
                  <a:lnTo>
                    <a:pt x="3047" y="322"/>
                  </a:lnTo>
                  <a:lnTo>
                    <a:pt x="3050" y="310"/>
                  </a:lnTo>
                  <a:lnTo>
                    <a:pt x="3053" y="298"/>
                  </a:lnTo>
                  <a:lnTo>
                    <a:pt x="3055" y="287"/>
                  </a:lnTo>
                  <a:lnTo>
                    <a:pt x="3056" y="275"/>
                  </a:lnTo>
                  <a:lnTo>
                    <a:pt x="3057" y="263"/>
                  </a:lnTo>
                  <a:lnTo>
                    <a:pt x="3057" y="250"/>
                  </a:lnTo>
                  <a:lnTo>
                    <a:pt x="3057" y="237"/>
                  </a:lnTo>
                  <a:lnTo>
                    <a:pt x="3056" y="225"/>
                  </a:lnTo>
                  <a:lnTo>
                    <a:pt x="3055" y="213"/>
                  </a:lnTo>
                  <a:lnTo>
                    <a:pt x="3052" y="200"/>
                  </a:lnTo>
                  <a:lnTo>
                    <a:pt x="3050" y="188"/>
                  </a:lnTo>
                  <a:lnTo>
                    <a:pt x="3046" y="176"/>
                  </a:lnTo>
                  <a:lnTo>
                    <a:pt x="3042" y="164"/>
                  </a:lnTo>
                  <a:lnTo>
                    <a:pt x="3037" y="152"/>
                  </a:lnTo>
                  <a:lnTo>
                    <a:pt x="3032" y="140"/>
                  </a:lnTo>
                  <a:lnTo>
                    <a:pt x="3026" y="129"/>
                  </a:lnTo>
                  <a:lnTo>
                    <a:pt x="3020" y="118"/>
                  </a:lnTo>
                  <a:lnTo>
                    <a:pt x="3013" y="108"/>
                  </a:lnTo>
                  <a:lnTo>
                    <a:pt x="3005" y="98"/>
                  </a:lnTo>
                  <a:lnTo>
                    <a:pt x="2998" y="88"/>
                  </a:lnTo>
                  <a:lnTo>
                    <a:pt x="2988" y="79"/>
                  </a:lnTo>
                  <a:lnTo>
                    <a:pt x="2980" y="71"/>
                  </a:lnTo>
                  <a:lnTo>
                    <a:pt x="2971" y="61"/>
                  </a:lnTo>
                  <a:lnTo>
                    <a:pt x="2962" y="54"/>
                  </a:lnTo>
                  <a:lnTo>
                    <a:pt x="2952" y="46"/>
                  </a:lnTo>
                  <a:lnTo>
                    <a:pt x="2942" y="40"/>
                  </a:lnTo>
                  <a:lnTo>
                    <a:pt x="2932" y="33"/>
                  </a:lnTo>
                  <a:lnTo>
                    <a:pt x="2921" y="28"/>
                  </a:lnTo>
                  <a:lnTo>
                    <a:pt x="2910" y="22"/>
                  </a:lnTo>
                  <a:lnTo>
                    <a:pt x="2899" y="18"/>
                  </a:lnTo>
                  <a:lnTo>
                    <a:pt x="2888" y="13"/>
                  </a:lnTo>
                  <a:lnTo>
                    <a:pt x="2877" y="10"/>
                  </a:lnTo>
                  <a:lnTo>
                    <a:pt x="2865" y="7"/>
                  </a:lnTo>
                  <a:lnTo>
                    <a:pt x="2853" y="4"/>
                  </a:lnTo>
                  <a:lnTo>
                    <a:pt x="2841" y="2"/>
                  </a:lnTo>
                  <a:lnTo>
                    <a:pt x="2829" y="1"/>
                  </a:lnTo>
                  <a:lnTo>
                    <a:pt x="2816" y="0"/>
                  </a:lnTo>
                  <a:lnTo>
                    <a:pt x="2804" y="0"/>
                  </a:lnTo>
                  <a:lnTo>
                    <a:pt x="2792" y="0"/>
                  </a:lnTo>
                  <a:lnTo>
                    <a:pt x="2780" y="1"/>
                  </a:lnTo>
                  <a:lnTo>
                    <a:pt x="2767" y="3"/>
                  </a:lnTo>
                  <a:lnTo>
                    <a:pt x="2755" y="5"/>
                  </a:lnTo>
                  <a:lnTo>
                    <a:pt x="2743" y="8"/>
                  </a:lnTo>
                  <a:lnTo>
                    <a:pt x="2731" y="11"/>
                  </a:lnTo>
                  <a:lnTo>
                    <a:pt x="2719" y="15"/>
                  </a:lnTo>
                  <a:lnTo>
                    <a:pt x="2707" y="20"/>
                  </a:lnTo>
                  <a:lnTo>
                    <a:pt x="2700" y="25"/>
                  </a:lnTo>
                  <a:lnTo>
                    <a:pt x="2694" y="29"/>
                  </a:lnTo>
                  <a:lnTo>
                    <a:pt x="2584" y="79"/>
                  </a:lnTo>
                  <a:lnTo>
                    <a:pt x="2475" y="130"/>
                  </a:lnTo>
                  <a:lnTo>
                    <a:pt x="2368" y="184"/>
                  </a:lnTo>
                  <a:lnTo>
                    <a:pt x="2262" y="241"/>
                  </a:lnTo>
                  <a:lnTo>
                    <a:pt x="2157" y="300"/>
                  </a:lnTo>
                  <a:lnTo>
                    <a:pt x="2054" y="361"/>
                  </a:lnTo>
                  <a:lnTo>
                    <a:pt x="1951" y="426"/>
                  </a:lnTo>
                  <a:lnTo>
                    <a:pt x="1851" y="492"/>
                  </a:lnTo>
                  <a:lnTo>
                    <a:pt x="1752" y="561"/>
                  </a:lnTo>
                  <a:lnTo>
                    <a:pt x="1655" y="633"/>
                  </a:lnTo>
                  <a:lnTo>
                    <a:pt x="1559" y="707"/>
                  </a:lnTo>
                  <a:lnTo>
                    <a:pt x="1465" y="783"/>
                  </a:lnTo>
                  <a:lnTo>
                    <a:pt x="1373" y="862"/>
                  </a:lnTo>
                  <a:lnTo>
                    <a:pt x="1282" y="943"/>
                  </a:lnTo>
                  <a:lnTo>
                    <a:pt x="1194" y="1026"/>
                  </a:lnTo>
                  <a:lnTo>
                    <a:pt x="1107" y="1112"/>
                  </a:lnTo>
                  <a:lnTo>
                    <a:pt x="1022" y="1199"/>
                  </a:lnTo>
                  <a:lnTo>
                    <a:pt x="939" y="1290"/>
                  </a:lnTo>
                  <a:lnTo>
                    <a:pt x="859" y="1382"/>
                  </a:lnTo>
                  <a:lnTo>
                    <a:pt x="779" y="1477"/>
                  </a:lnTo>
                  <a:lnTo>
                    <a:pt x="703" y="1573"/>
                  </a:lnTo>
                  <a:lnTo>
                    <a:pt x="629" y="1672"/>
                  </a:lnTo>
                  <a:lnTo>
                    <a:pt x="557" y="1773"/>
                  </a:lnTo>
                  <a:lnTo>
                    <a:pt x="487" y="1876"/>
                  </a:lnTo>
                  <a:lnTo>
                    <a:pt x="419" y="1981"/>
                  </a:lnTo>
                  <a:lnTo>
                    <a:pt x="355" y="2088"/>
                  </a:lnTo>
                  <a:lnTo>
                    <a:pt x="293" y="2197"/>
                  </a:lnTo>
                  <a:lnTo>
                    <a:pt x="232" y="2309"/>
                  </a:lnTo>
                  <a:lnTo>
                    <a:pt x="175" y="2422"/>
                  </a:lnTo>
                  <a:lnTo>
                    <a:pt x="120" y="2537"/>
                  </a:lnTo>
                  <a:lnTo>
                    <a:pt x="67" y="2655"/>
                  </a:lnTo>
                  <a:lnTo>
                    <a:pt x="18" y="2773"/>
                  </a:lnTo>
                  <a:lnTo>
                    <a:pt x="14" y="2786"/>
                  </a:lnTo>
                  <a:lnTo>
                    <a:pt x="10" y="2798"/>
                  </a:lnTo>
                  <a:lnTo>
                    <a:pt x="7" y="2811"/>
                  </a:lnTo>
                  <a:lnTo>
                    <a:pt x="4" y="2823"/>
                  </a:lnTo>
                  <a:lnTo>
                    <a:pt x="2" y="2835"/>
                  </a:lnTo>
                  <a:lnTo>
                    <a:pt x="1" y="2847"/>
                  </a:lnTo>
                  <a:lnTo>
                    <a:pt x="0" y="2860"/>
                  </a:lnTo>
                  <a:lnTo>
                    <a:pt x="0" y="2872"/>
                  </a:lnTo>
                  <a:lnTo>
                    <a:pt x="1" y="2884"/>
                  </a:lnTo>
                  <a:lnTo>
                    <a:pt x="2" y="2896"/>
                  </a:lnTo>
                  <a:lnTo>
                    <a:pt x="4" y="2908"/>
                  </a:lnTo>
                  <a:lnTo>
                    <a:pt x="6" y="2920"/>
                  </a:lnTo>
                  <a:lnTo>
                    <a:pt x="9" y="2931"/>
                  </a:lnTo>
                  <a:lnTo>
                    <a:pt x="12" y="2943"/>
                  </a:lnTo>
                  <a:lnTo>
                    <a:pt x="16" y="2955"/>
                  </a:lnTo>
                  <a:lnTo>
                    <a:pt x="21" y="2966"/>
                  </a:lnTo>
                  <a:lnTo>
                    <a:pt x="26" y="2977"/>
                  </a:lnTo>
                  <a:lnTo>
                    <a:pt x="31" y="2988"/>
                  </a:lnTo>
                  <a:lnTo>
                    <a:pt x="37" y="2998"/>
                  </a:lnTo>
                  <a:lnTo>
                    <a:pt x="44" y="3008"/>
                  </a:lnTo>
                  <a:lnTo>
                    <a:pt x="51" y="3018"/>
                  </a:lnTo>
                  <a:lnTo>
                    <a:pt x="58" y="3028"/>
                  </a:lnTo>
                  <a:lnTo>
                    <a:pt x="66" y="3037"/>
                  </a:lnTo>
                  <a:lnTo>
                    <a:pt x="75" y="3045"/>
                  </a:lnTo>
                  <a:lnTo>
                    <a:pt x="83" y="3054"/>
                  </a:lnTo>
                  <a:lnTo>
                    <a:pt x="93" y="3062"/>
                  </a:lnTo>
                  <a:lnTo>
                    <a:pt x="103" y="3069"/>
                  </a:lnTo>
                  <a:lnTo>
                    <a:pt x="114" y="3077"/>
                  </a:lnTo>
                  <a:lnTo>
                    <a:pt x="124" y="3083"/>
                  </a:lnTo>
                  <a:lnTo>
                    <a:pt x="135" y="3089"/>
                  </a:lnTo>
                  <a:lnTo>
                    <a:pt x="147" y="3095"/>
                  </a:lnTo>
                  <a:lnTo>
                    <a:pt x="159" y="3100"/>
                  </a:lnTo>
                  <a:lnTo>
                    <a:pt x="171" y="3105"/>
                  </a:lnTo>
                  <a:lnTo>
                    <a:pt x="183" y="3108"/>
                  </a:lnTo>
                  <a:lnTo>
                    <a:pt x="195" y="3112"/>
                  </a:lnTo>
                  <a:lnTo>
                    <a:pt x="207" y="3114"/>
                  </a:lnTo>
                  <a:lnTo>
                    <a:pt x="219" y="3116"/>
                  </a:lnTo>
                  <a:lnTo>
                    <a:pt x="232" y="3117"/>
                  </a:lnTo>
                  <a:lnTo>
                    <a:pt x="244" y="3119"/>
                  </a:lnTo>
                  <a:lnTo>
                    <a:pt x="256" y="3119"/>
                  </a:lnTo>
                  <a:lnTo>
                    <a:pt x="268" y="3119"/>
                  </a:lnTo>
                  <a:lnTo>
                    <a:pt x="280" y="3116"/>
                  </a:lnTo>
                  <a:lnTo>
                    <a:pt x="293" y="3115"/>
                  </a:lnTo>
                  <a:lnTo>
                    <a:pt x="305" y="3112"/>
                  </a:lnTo>
                  <a:lnTo>
                    <a:pt x="317" y="3110"/>
                  </a:lnTo>
                  <a:lnTo>
                    <a:pt x="328" y="3106"/>
                  </a:lnTo>
                  <a:lnTo>
                    <a:pt x="339" y="3102"/>
                  </a:lnTo>
                  <a:lnTo>
                    <a:pt x="351" y="3098"/>
                  </a:lnTo>
                  <a:lnTo>
                    <a:pt x="361" y="3093"/>
                  </a:lnTo>
                  <a:lnTo>
                    <a:pt x="372" y="3088"/>
                  </a:lnTo>
                  <a:lnTo>
                    <a:pt x="382" y="3082"/>
                  </a:lnTo>
                  <a:lnTo>
                    <a:pt x="393" y="3075"/>
                  </a:lnTo>
                  <a:lnTo>
                    <a:pt x="402" y="3068"/>
                  </a:lnTo>
                  <a:lnTo>
                    <a:pt x="412" y="3061"/>
                  </a:lnTo>
                  <a:lnTo>
                    <a:pt x="421" y="3053"/>
                  </a:lnTo>
                  <a:lnTo>
                    <a:pt x="430" y="3044"/>
                  </a:lnTo>
                  <a:lnTo>
                    <a:pt x="438" y="3035"/>
                  </a:lnTo>
                  <a:lnTo>
                    <a:pt x="446" y="3026"/>
                  </a:lnTo>
                  <a:lnTo>
                    <a:pt x="455" y="3016"/>
                  </a:lnTo>
                  <a:lnTo>
                    <a:pt x="462" y="3006"/>
                  </a:lnTo>
                  <a:lnTo>
                    <a:pt x="469" y="2996"/>
                  </a:lnTo>
                  <a:lnTo>
                    <a:pt x="475" y="2984"/>
                  </a:lnTo>
                  <a:lnTo>
                    <a:pt x="480" y="2973"/>
                  </a:lnTo>
                  <a:lnTo>
                    <a:pt x="486" y="2961"/>
                  </a:lnTo>
                  <a:lnTo>
                    <a:pt x="530" y="2853"/>
                  </a:lnTo>
                  <a:lnTo>
                    <a:pt x="577" y="2746"/>
                  </a:lnTo>
                  <a:lnTo>
                    <a:pt x="627" y="2643"/>
                  </a:lnTo>
                  <a:lnTo>
                    <a:pt x="679" y="2540"/>
                  </a:lnTo>
                  <a:lnTo>
                    <a:pt x="733" y="2439"/>
                  </a:lnTo>
                  <a:lnTo>
                    <a:pt x="790" y="2340"/>
                  </a:lnTo>
                  <a:lnTo>
                    <a:pt x="849" y="2243"/>
                  </a:lnTo>
                  <a:lnTo>
                    <a:pt x="909" y="2148"/>
                  </a:lnTo>
                  <a:lnTo>
                    <a:pt x="973" y="2055"/>
                  </a:lnTo>
                  <a:lnTo>
                    <a:pt x="1038" y="1964"/>
                  </a:lnTo>
                  <a:lnTo>
                    <a:pt x="1104" y="1874"/>
                  </a:lnTo>
                  <a:lnTo>
                    <a:pt x="1174" y="1787"/>
                  </a:lnTo>
                  <a:lnTo>
                    <a:pt x="1245" y="1701"/>
                  </a:lnTo>
                  <a:lnTo>
                    <a:pt x="1319" y="1618"/>
                  </a:lnTo>
                  <a:lnTo>
                    <a:pt x="1393" y="1536"/>
                  </a:lnTo>
                  <a:lnTo>
                    <a:pt x="1470" y="1458"/>
                  </a:lnTo>
                  <a:lnTo>
                    <a:pt x="1548" y="1380"/>
                  </a:lnTo>
                  <a:lnTo>
                    <a:pt x="1628" y="1305"/>
                  </a:lnTo>
                  <a:lnTo>
                    <a:pt x="1710" y="1231"/>
                  </a:lnTo>
                  <a:lnTo>
                    <a:pt x="1793" y="1161"/>
                  </a:lnTo>
                  <a:lnTo>
                    <a:pt x="1879" y="1092"/>
                  </a:lnTo>
                  <a:lnTo>
                    <a:pt x="1965" y="1025"/>
                  </a:lnTo>
                  <a:lnTo>
                    <a:pt x="2053" y="961"/>
                  </a:lnTo>
                  <a:lnTo>
                    <a:pt x="2142" y="898"/>
                  </a:lnTo>
                  <a:lnTo>
                    <a:pt x="2234" y="839"/>
                  </a:lnTo>
                  <a:lnTo>
                    <a:pt x="2326" y="781"/>
                  </a:lnTo>
                  <a:lnTo>
                    <a:pt x="2419" y="725"/>
                  </a:lnTo>
                  <a:lnTo>
                    <a:pt x="2515" y="672"/>
                  </a:lnTo>
                  <a:lnTo>
                    <a:pt x="2610" y="622"/>
                  </a:lnTo>
                  <a:lnTo>
                    <a:pt x="2708" y="572"/>
                  </a:lnTo>
                  <a:lnTo>
                    <a:pt x="2805" y="526"/>
                  </a:lnTo>
                  <a:lnTo>
                    <a:pt x="2905" y="483"/>
                  </a:lnTo>
                  <a:lnTo>
                    <a:pt x="2905" y="4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55" name="iṩ1iḑè">
              <a:extLst>
                <a:ext uri="{FF2B5EF4-FFF2-40B4-BE49-F238E27FC236}">
                  <a16:creationId xmlns:a16="http://schemas.microsoft.com/office/drawing/2014/main" id="{0235680F-E42B-4109-A659-40E02A56327C}"/>
                </a:ext>
              </a:extLst>
            </p:cNvPr>
            <p:cNvSpPr/>
            <p:nvPr/>
          </p:nvSpPr>
          <p:spPr bwMode="auto">
            <a:xfrm>
              <a:off x="5421300" y="920137"/>
              <a:ext cx="464950" cy="466054"/>
            </a:xfrm>
            <a:custGeom>
              <a:avLst/>
              <a:gdLst>
                <a:gd name="T0" fmla="*/ 11438 w 16419"/>
                <a:gd name="T1" fmla="*/ 11992 h 16036"/>
                <a:gd name="T2" fmla="*/ 12051 w 16419"/>
                <a:gd name="T3" fmla="*/ 9611 h 16036"/>
                <a:gd name="T4" fmla="*/ 15080 w 16419"/>
                <a:gd name="T5" fmla="*/ 9931 h 16036"/>
                <a:gd name="T6" fmla="*/ 13248 w 16419"/>
                <a:gd name="T7" fmla="*/ 12967 h 16036"/>
                <a:gd name="T8" fmla="*/ 4590 w 16419"/>
                <a:gd name="T9" fmla="*/ 10655 h 16036"/>
                <a:gd name="T10" fmla="*/ 4429 w 16419"/>
                <a:gd name="T11" fmla="*/ 12231 h 16036"/>
                <a:gd name="T12" fmla="*/ 2147 w 16419"/>
                <a:gd name="T13" fmla="*/ 11712 h 16036"/>
                <a:gd name="T14" fmla="*/ 1073 w 16419"/>
                <a:gd name="T15" fmla="*/ 8277 h 16036"/>
                <a:gd name="T16" fmla="*/ 4139 w 16419"/>
                <a:gd name="T17" fmla="*/ 4183 h 16036"/>
                <a:gd name="T18" fmla="*/ 4533 w 16419"/>
                <a:gd name="T19" fmla="*/ 5582 h 16036"/>
                <a:gd name="T20" fmla="*/ 1073 w 16419"/>
                <a:gd name="T21" fmla="*/ 7759 h 16036"/>
                <a:gd name="T22" fmla="*/ 1997 w 16419"/>
                <a:gd name="T23" fmla="*/ 4578 h 16036"/>
                <a:gd name="T24" fmla="*/ 9313 w 16419"/>
                <a:gd name="T25" fmla="*/ 5095 h 16036"/>
                <a:gd name="T26" fmla="*/ 11066 w 16419"/>
                <a:gd name="T27" fmla="*/ 4695 h 16036"/>
                <a:gd name="T28" fmla="*/ 11565 w 16419"/>
                <a:gd name="T29" fmla="*/ 6759 h 16036"/>
                <a:gd name="T30" fmla="*/ 10152 w 16419"/>
                <a:gd name="T31" fmla="*/ 11598 h 16036"/>
                <a:gd name="T32" fmla="*/ 8474 w 16419"/>
                <a:gd name="T33" fmla="*/ 11394 h 16036"/>
                <a:gd name="T34" fmla="*/ 11313 w 16419"/>
                <a:gd name="T35" fmla="*/ 10543 h 16036"/>
                <a:gd name="T36" fmla="*/ 12142 w 16419"/>
                <a:gd name="T37" fmla="*/ 12889 h 16036"/>
                <a:gd name="T38" fmla="*/ 11354 w 16419"/>
                <a:gd name="T39" fmla="*/ 14282 h 16036"/>
                <a:gd name="T40" fmla="*/ 9710 w 16419"/>
                <a:gd name="T41" fmla="*/ 14564 h 16036"/>
                <a:gd name="T42" fmla="*/ 10935 w 16419"/>
                <a:gd name="T43" fmla="*/ 12871 h 16036"/>
                <a:gd name="T44" fmla="*/ 9524 w 16419"/>
                <a:gd name="T45" fmla="*/ 12005 h 16036"/>
                <a:gd name="T46" fmla="*/ 10393 w 16419"/>
                <a:gd name="T47" fmla="*/ 12757 h 16036"/>
                <a:gd name="T48" fmla="*/ 8904 w 16419"/>
                <a:gd name="T49" fmla="*/ 14636 h 16036"/>
                <a:gd name="T50" fmla="*/ 5284 w 16419"/>
                <a:gd name="T51" fmla="*/ 14382 h 16036"/>
                <a:gd name="T52" fmla="*/ 4071 w 16419"/>
                <a:gd name="T53" fmla="*/ 13005 h 16036"/>
                <a:gd name="T54" fmla="*/ 5783 w 16419"/>
                <a:gd name="T55" fmla="*/ 13367 h 16036"/>
                <a:gd name="T56" fmla="*/ 7945 w 16419"/>
                <a:gd name="T57" fmla="*/ 8277 h 16036"/>
                <a:gd name="T58" fmla="*/ 6342 w 16419"/>
                <a:gd name="T59" fmla="*/ 11582 h 16036"/>
                <a:gd name="T60" fmla="*/ 5136 w 16419"/>
                <a:gd name="T61" fmla="*/ 10650 h 16036"/>
                <a:gd name="T62" fmla="*/ 7945 w 16419"/>
                <a:gd name="T63" fmla="*/ 8277 h 16036"/>
                <a:gd name="T64" fmla="*/ 7024 w 16419"/>
                <a:gd name="T65" fmla="*/ 5084 h 16036"/>
                <a:gd name="T66" fmla="*/ 4843 w 16419"/>
                <a:gd name="T67" fmla="*/ 6857 h 16036"/>
                <a:gd name="T68" fmla="*/ 5321 w 16419"/>
                <a:gd name="T69" fmla="*/ 4784 h 16036"/>
                <a:gd name="T70" fmla="*/ 3667 w 16419"/>
                <a:gd name="T71" fmla="*/ 3305 h 16036"/>
                <a:gd name="T72" fmla="*/ 5215 w 16419"/>
                <a:gd name="T73" fmla="*/ 1684 h 16036"/>
                <a:gd name="T74" fmla="*/ 6448 w 16419"/>
                <a:gd name="T75" fmla="*/ 1771 h 16036"/>
                <a:gd name="T76" fmla="*/ 5148 w 16419"/>
                <a:gd name="T77" fmla="*/ 3833 h 16036"/>
                <a:gd name="T78" fmla="*/ 6569 w 16419"/>
                <a:gd name="T79" fmla="*/ 4486 h 16036"/>
                <a:gd name="T80" fmla="*/ 6014 w 16419"/>
                <a:gd name="T81" fmla="*/ 3301 h 16036"/>
                <a:gd name="T82" fmla="*/ 7732 w 16419"/>
                <a:gd name="T83" fmla="*/ 1205 h 16036"/>
                <a:gd name="T84" fmla="*/ 11565 w 16419"/>
                <a:gd name="T85" fmla="*/ 1859 h 16036"/>
                <a:gd name="T86" fmla="*/ 12421 w 16419"/>
                <a:gd name="T87" fmla="*/ 3513 h 16036"/>
                <a:gd name="T88" fmla="*/ 11123 w 16419"/>
                <a:gd name="T89" fmla="*/ 3527 h 16036"/>
                <a:gd name="T90" fmla="*/ 9758 w 16419"/>
                <a:gd name="T91" fmla="*/ 1525 h 16036"/>
                <a:gd name="T92" fmla="*/ 9852 w 16419"/>
                <a:gd name="T93" fmla="*/ 2463 h 16036"/>
                <a:gd name="T94" fmla="*/ 10437 w 16419"/>
                <a:gd name="T95" fmla="*/ 4348 h 16036"/>
                <a:gd name="T96" fmla="*/ 8786 w 16419"/>
                <a:gd name="T97" fmla="*/ 4626 h 16036"/>
                <a:gd name="T98" fmla="*/ 6848 w 16419"/>
                <a:gd name="T99" fmla="*/ 13930 h 16036"/>
                <a:gd name="T100" fmla="*/ 6020 w 16419"/>
                <a:gd name="T101" fmla="*/ 12187 h 16036"/>
                <a:gd name="T102" fmla="*/ 7521 w 16419"/>
                <a:gd name="T103" fmla="*/ 11934 h 16036"/>
                <a:gd name="T104" fmla="*/ 12063 w 16419"/>
                <a:gd name="T105" fmla="*/ 6494 h 16036"/>
                <a:gd name="T106" fmla="*/ 11695 w 16419"/>
                <a:gd name="T107" fmla="*/ 4461 h 16036"/>
                <a:gd name="T108" fmla="*/ 13078 w 16419"/>
                <a:gd name="T109" fmla="*/ 3710 h 16036"/>
                <a:gd name="T110" fmla="*/ 14700 w 16419"/>
                <a:gd name="T111" fmla="*/ 5106 h 16036"/>
                <a:gd name="T112" fmla="*/ 6960 w 16419"/>
                <a:gd name="T113" fmla="*/ 92 h 16036"/>
                <a:gd name="T114" fmla="*/ 498 w 16419"/>
                <a:gd name="T115" fmla="*/ 5261 h 16036"/>
                <a:gd name="T116" fmla="*/ 2132 w 16419"/>
                <a:gd name="T117" fmla="*/ 13409 h 16036"/>
                <a:gd name="T118" fmla="*/ 10261 w 16419"/>
                <a:gd name="T119" fmla="*/ 15783 h 16036"/>
                <a:gd name="T120" fmla="*/ 16160 w 16419"/>
                <a:gd name="T121" fmla="*/ 10021 h 16036"/>
                <a:gd name="T122" fmla="*/ 13729 w 16419"/>
                <a:gd name="T123" fmla="*/ 2083 h 160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419" h="16036">
                  <a:moveTo>
                    <a:pt x="13248" y="12967"/>
                  </a:moveTo>
                  <a:lnTo>
                    <a:pt x="13139" y="12892"/>
                  </a:lnTo>
                  <a:lnTo>
                    <a:pt x="13030" y="12819"/>
                  </a:lnTo>
                  <a:lnTo>
                    <a:pt x="12919" y="12748"/>
                  </a:lnTo>
                  <a:lnTo>
                    <a:pt x="12807" y="12676"/>
                  </a:lnTo>
                  <a:lnTo>
                    <a:pt x="12693" y="12608"/>
                  </a:lnTo>
                  <a:lnTo>
                    <a:pt x="12579" y="12541"/>
                  </a:lnTo>
                  <a:lnTo>
                    <a:pt x="12463" y="12476"/>
                  </a:lnTo>
                  <a:lnTo>
                    <a:pt x="12347" y="12413"/>
                  </a:lnTo>
                  <a:lnTo>
                    <a:pt x="12229" y="12351"/>
                  </a:lnTo>
                  <a:lnTo>
                    <a:pt x="12110" y="12291"/>
                  </a:lnTo>
                  <a:lnTo>
                    <a:pt x="12051" y="12261"/>
                  </a:lnTo>
                  <a:lnTo>
                    <a:pt x="11990" y="12231"/>
                  </a:lnTo>
                  <a:lnTo>
                    <a:pt x="11930" y="12203"/>
                  </a:lnTo>
                  <a:lnTo>
                    <a:pt x="11869" y="12175"/>
                  </a:lnTo>
                  <a:lnTo>
                    <a:pt x="11808" y="12147"/>
                  </a:lnTo>
                  <a:lnTo>
                    <a:pt x="11747" y="12120"/>
                  </a:lnTo>
                  <a:lnTo>
                    <a:pt x="11686" y="12094"/>
                  </a:lnTo>
                  <a:lnTo>
                    <a:pt x="11625" y="12068"/>
                  </a:lnTo>
                  <a:lnTo>
                    <a:pt x="11562" y="12042"/>
                  </a:lnTo>
                  <a:lnTo>
                    <a:pt x="11499" y="12017"/>
                  </a:lnTo>
                  <a:lnTo>
                    <a:pt x="11438" y="11992"/>
                  </a:lnTo>
                  <a:lnTo>
                    <a:pt x="11374" y="11968"/>
                  </a:lnTo>
                  <a:lnTo>
                    <a:pt x="11419" y="11863"/>
                  </a:lnTo>
                  <a:lnTo>
                    <a:pt x="11463" y="11756"/>
                  </a:lnTo>
                  <a:lnTo>
                    <a:pt x="11505" y="11649"/>
                  </a:lnTo>
                  <a:lnTo>
                    <a:pt x="11546" y="11541"/>
                  </a:lnTo>
                  <a:lnTo>
                    <a:pt x="11585" y="11433"/>
                  </a:lnTo>
                  <a:lnTo>
                    <a:pt x="11624" y="11323"/>
                  </a:lnTo>
                  <a:lnTo>
                    <a:pt x="11661" y="11214"/>
                  </a:lnTo>
                  <a:lnTo>
                    <a:pt x="11696" y="11104"/>
                  </a:lnTo>
                  <a:lnTo>
                    <a:pt x="11731" y="10993"/>
                  </a:lnTo>
                  <a:lnTo>
                    <a:pt x="11765" y="10880"/>
                  </a:lnTo>
                  <a:lnTo>
                    <a:pt x="11798" y="10768"/>
                  </a:lnTo>
                  <a:lnTo>
                    <a:pt x="11829" y="10655"/>
                  </a:lnTo>
                  <a:lnTo>
                    <a:pt x="11859" y="10542"/>
                  </a:lnTo>
                  <a:lnTo>
                    <a:pt x="11887" y="10427"/>
                  </a:lnTo>
                  <a:lnTo>
                    <a:pt x="11914" y="10312"/>
                  </a:lnTo>
                  <a:lnTo>
                    <a:pt x="11941" y="10197"/>
                  </a:lnTo>
                  <a:lnTo>
                    <a:pt x="11965" y="10081"/>
                  </a:lnTo>
                  <a:lnTo>
                    <a:pt x="11988" y="9964"/>
                  </a:lnTo>
                  <a:lnTo>
                    <a:pt x="12010" y="9847"/>
                  </a:lnTo>
                  <a:lnTo>
                    <a:pt x="12031" y="9729"/>
                  </a:lnTo>
                  <a:lnTo>
                    <a:pt x="12051" y="9611"/>
                  </a:lnTo>
                  <a:lnTo>
                    <a:pt x="12068" y="9492"/>
                  </a:lnTo>
                  <a:lnTo>
                    <a:pt x="12084" y="9373"/>
                  </a:lnTo>
                  <a:lnTo>
                    <a:pt x="12100" y="9253"/>
                  </a:lnTo>
                  <a:lnTo>
                    <a:pt x="12113" y="9133"/>
                  </a:lnTo>
                  <a:lnTo>
                    <a:pt x="12126" y="9011"/>
                  </a:lnTo>
                  <a:lnTo>
                    <a:pt x="12137" y="8890"/>
                  </a:lnTo>
                  <a:lnTo>
                    <a:pt x="12147" y="8769"/>
                  </a:lnTo>
                  <a:lnTo>
                    <a:pt x="12155" y="8646"/>
                  </a:lnTo>
                  <a:lnTo>
                    <a:pt x="12161" y="8523"/>
                  </a:lnTo>
                  <a:lnTo>
                    <a:pt x="12166" y="8400"/>
                  </a:lnTo>
                  <a:lnTo>
                    <a:pt x="12171" y="8277"/>
                  </a:lnTo>
                  <a:lnTo>
                    <a:pt x="15347" y="8277"/>
                  </a:lnTo>
                  <a:lnTo>
                    <a:pt x="15337" y="8448"/>
                  </a:lnTo>
                  <a:lnTo>
                    <a:pt x="15325" y="8617"/>
                  </a:lnTo>
                  <a:lnTo>
                    <a:pt x="15309" y="8786"/>
                  </a:lnTo>
                  <a:lnTo>
                    <a:pt x="15287" y="8954"/>
                  </a:lnTo>
                  <a:lnTo>
                    <a:pt x="15262" y="9119"/>
                  </a:lnTo>
                  <a:lnTo>
                    <a:pt x="15234" y="9285"/>
                  </a:lnTo>
                  <a:lnTo>
                    <a:pt x="15201" y="9449"/>
                  </a:lnTo>
                  <a:lnTo>
                    <a:pt x="15164" y="9612"/>
                  </a:lnTo>
                  <a:lnTo>
                    <a:pt x="15124" y="9772"/>
                  </a:lnTo>
                  <a:lnTo>
                    <a:pt x="15080" y="9931"/>
                  </a:lnTo>
                  <a:lnTo>
                    <a:pt x="15032" y="10090"/>
                  </a:lnTo>
                  <a:lnTo>
                    <a:pt x="14980" y="10246"/>
                  </a:lnTo>
                  <a:lnTo>
                    <a:pt x="14925" y="10400"/>
                  </a:lnTo>
                  <a:lnTo>
                    <a:pt x="14866" y="10554"/>
                  </a:lnTo>
                  <a:lnTo>
                    <a:pt x="14804" y="10705"/>
                  </a:lnTo>
                  <a:lnTo>
                    <a:pt x="14738" y="10854"/>
                  </a:lnTo>
                  <a:lnTo>
                    <a:pt x="14668" y="11002"/>
                  </a:lnTo>
                  <a:lnTo>
                    <a:pt x="14596" y="11148"/>
                  </a:lnTo>
                  <a:lnTo>
                    <a:pt x="14521" y="11292"/>
                  </a:lnTo>
                  <a:lnTo>
                    <a:pt x="14441" y="11434"/>
                  </a:lnTo>
                  <a:lnTo>
                    <a:pt x="14358" y="11574"/>
                  </a:lnTo>
                  <a:lnTo>
                    <a:pt x="14272" y="11712"/>
                  </a:lnTo>
                  <a:lnTo>
                    <a:pt x="14183" y="11848"/>
                  </a:lnTo>
                  <a:lnTo>
                    <a:pt x="14092" y="11981"/>
                  </a:lnTo>
                  <a:lnTo>
                    <a:pt x="13996" y="12113"/>
                  </a:lnTo>
                  <a:lnTo>
                    <a:pt x="13898" y="12241"/>
                  </a:lnTo>
                  <a:lnTo>
                    <a:pt x="13797" y="12369"/>
                  </a:lnTo>
                  <a:lnTo>
                    <a:pt x="13693" y="12493"/>
                  </a:lnTo>
                  <a:lnTo>
                    <a:pt x="13586" y="12615"/>
                  </a:lnTo>
                  <a:lnTo>
                    <a:pt x="13476" y="12735"/>
                  </a:lnTo>
                  <a:lnTo>
                    <a:pt x="13364" y="12852"/>
                  </a:lnTo>
                  <a:lnTo>
                    <a:pt x="13248" y="12967"/>
                  </a:lnTo>
                  <a:close/>
                  <a:moveTo>
                    <a:pt x="1073" y="8277"/>
                  </a:moveTo>
                  <a:lnTo>
                    <a:pt x="4248" y="8277"/>
                  </a:lnTo>
                  <a:lnTo>
                    <a:pt x="4253" y="8400"/>
                  </a:lnTo>
                  <a:lnTo>
                    <a:pt x="4258" y="8523"/>
                  </a:lnTo>
                  <a:lnTo>
                    <a:pt x="4265" y="8646"/>
                  </a:lnTo>
                  <a:lnTo>
                    <a:pt x="4273" y="8769"/>
                  </a:lnTo>
                  <a:lnTo>
                    <a:pt x="4282" y="8890"/>
                  </a:lnTo>
                  <a:lnTo>
                    <a:pt x="4294" y="9011"/>
                  </a:lnTo>
                  <a:lnTo>
                    <a:pt x="4306" y="9133"/>
                  </a:lnTo>
                  <a:lnTo>
                    <a:pt x="4319" y="9253"/>
                  </a:lnTo>
                  <a:lnTo>
                    <a:pt x="4335" y="9373"/>
                  </a:lnTo>
                  <a:lnTo>
                    <a:pt x="4351" y="9492"/>
                  </a:lnTo>
                  <a:lnTo>
                    <a:pt x="4370" y="9611"/>
                  </a:lnTo>
                  <a:lnTo>
                    <a:pt x="4388" y="9729"/>
                  </a:lnTo>
                  <a:lnTo>
                    <a:pt x="4410" y="9847"/>
                  </a:lnTo>
                  <a:lnTo>
                    <a:pt x="4431" y="9964"/>
                  </a:lnTo>
                  <a:lnTo>
                    <a:pt x="4455" y="10081"/>
                  </a:lnTo>
                  <a:lnTo>
                    <a:pt x="4479" y="10197"/>
                  </a:lnTo>
                  <a:lnTo>
                    <a:pt x="4505" y="10312"/>
                  </a:lnTo>
                  <a:lnTo>
                    <a:pt x="4533" y="10427"/>
                  </a:lnTo>
                  <a:lnTo>
                    <a:pt x="4560" y="10542"/>
                  </a:lnTo>
                  <a:lnTo>
                    <a:pt x="4590" y="10655"/>
                  </a:lnTo>
                  <a:lnTo>
                    <a:pt x="4622" y="10768"/>
                  </a:lnTo>
                  <a:lnTo>
                    <a:pt x="4654" y="10880"/>
                  </a:lnTo>
                  <a:lnTo>
                    <a:pt x="4688" y="10993"/>
                  </a:lnTo>
                  <a:lnTo>
                    <a:pt x="4723" y="11104"/>
                  </a:lnTo>
                  <a:lnTo>
                    <a:pt x="4758" y="11214"/>
                  </a:lnTo>
                  <a:lnTo>
                    <a:pt x="4795" y="11323"/>
                  </a:lnTo>
                  <a:lnTo>
                    <a:pt x="4834" y="11433"/>
                  </a:lnTo>
                  <a:lnTo>
                    <a:pt x="4874" y="11541"/>
                  </a:lnTo>
                  <a:lnTo>
                    <a:pt x="4915" y="11649"/>
                  </a:lnTo>
                  <a:lnTo>
                    <a:pt x="4958" y="11756"/>
                  </a:lnTo>
                  <a:lnTo>
                    <a:pt x="5001" y="11863"/>
                  </a:lnTo>
                  <a:lnTo>
                    <a:pt x="5045" y="11968"/>
                  </a:lnTo>
                  <a:lnTo>
                    <a:pt x="4982" y="11992"/>
                  </a:lnTo>
                  <a:lnTo>
                    <a:pt x="4920" y="12017"/>
                  </a:lnTo>
                  <a:lnTo>
                    <a:pt x="4857" y="12042"/>
                  </a:lnTo>
                  <a:lnTo>
                    <a:pt x="4795" y="12068"/>
                  </a:lnTo>
                  <a:lnTo>
                    <a:pt x="4734" y="12094"/>
                  </a:lnTo>
                  <a:lnTo>
                    <a:pt x="4672" y="12120"/>
                  </a:lnTo>
                  <a:lnTo>
                    <a:pt x="4611" y="12147"/>
                  </a:lnTo>
                  <a:lnTo>
                    <a:pt x="4550" y="12175"/>
                  </a:lnTo>
                  <a:lnTo>
                    <a:pt x="4490" y="12203"/>
                  </a:lnTo>
                  <a:lnTo>
                    <a:pt x="4429" y="12231"/>
                  </a:lnTo>
                  <a:lnTo>
                    <a:pt x="4370" y="12261"/>
                  </a:lnTo>
                  <a:lnTo>
                    <a:pt x="4309" y="12291"/>
                  </a:lnTo>
                  <a:lnTo>
                    <a:pt x="4191" y="12351"/>
                  </a:lnTo>
                  <a:lnTo>
                    <a:pt x="4073" y="12413"/>
                  </a:lnTo>
                  <a:lnTo>
                    <a:pt x="3956" y="12476"/>
                  </a:lnTo>
                  <a:lnTo>
                    <a:pt x="3841" y="12541"/>
                  </a:lnTo>
                  <a:lnTo>
                    <a:pt x="3726" y="12608"/>
                  </a:lnTo>
                  <a:lnTo>
                    <a:pt x="3613" y="12676"/>
                  </a:lnTo>
                  <a:lnTo>
                    <a:pt x="3501" y="12748"/>
                  </a:lnTo>
                  <a:lnTo>
                    <a:pt x="3389" y="12819"/>
                  </a:lnTo>
                  <a:lnTo>
                    <a:pt x="3280" y="12892"/>
                  </a:lnTo>
                  <a:lnTo>
                    <a:pt x="3171" y="12967"/>
                  </a:lnTo>
                  <a:lnTo>
                    <a:pt x="3056" y="12852"/>
                  </a:lnTo>
                  <a:lnTo>
                    <a:pt x="2943" y="12735"/>
                  </a:lnTo>
                  <a:lnTo>
                    <a:pt x="2833" y="12615"/>
                  </a:lnTo>
                  <a:lnTo>
                    <a:pt x="2727" y="12493"/>
                  </a:lnTo>
                  <a:lnTo>
                    <a:pt x="2623" y="12369"/>
                  </a:lnTo>
                  <a:lnTo>
                    <a:pt x="2521" y="12241"/>
                  </a:lnTo>
                  <a:lnTo>
                    <a:pt x="2423" y="12113"/>
                  </a:lnTo>
                  <a:lnTo>
                    <a:pt x="2328" y="11981"/>
                  </a:lnTo>
                  <a:lnTo>
                    <a:pt x="2236" y="11848"/>
                  </a:lnTo>
                  <a:lnTo>
                    <a:pt x="2147" y="11712"/>
                  </a:lnTo>
                  <a:lnTo>
                    <a:pt x="2062" y="11574"/>
                  </a:lnTo>
                  <a:lnTo>
                    <a:pt x="1978" y="11434"/>
                  </a:lnTo>
                  <a:lnTo>
                    <a:pt x="1899" y="11292"/>
                  </a:lnTo>
                  <a:lnTo>
                    <a:pt x="1824" y="11148"/>
                  </a:lnTo>
                  <a:lnTo>
                    <a:pt x="1751" y="11002"/>
                  </a:lnTo>
                  <a:lnTo>
                    <a:pt x="1682" y="10854"/>
                  </a:lnTo>
                  <a:lnTo>
                    <a:pt x="1615" y="10705"/>
                  </a:lnTo>
                  <a:lnTo>
                    <a:pt x="1554" y="10554"/>
                  </a:lnTo>
                  <a:lnTo>
                    <a:pt x="1494" y="10400"/>
                  </a:lnTo>
                  <a:lnTo>
                    <a:pt x="1440" y="10246"/>
                  </a:lnTo>
                  <a:lnTo>
                    <a:pt x="1387" y="10090"/>
                  </a:lnTo>
                  <a:lnTo>
                    <a:pt x="1340" y="9931"/>
                  </a:lnTo>
                  <a:lnTo>
                    <a:pt x="1296" y="9772"/>
                  </a:lnTo>
                  <a:lnTo>
                    <a:pt x="1255" y="9612"/>
                  </a:lnTo>
                  <a:lnTo>
                    <a:pt x="1219" y="9449"/>
                  </a:lnTo>
                  <a:lnTo>
                    <a:pt x="1186" y="9285"/>
                  </a:lnTo>
                  <a:lnTo>
                    <a:pt x="1158" y="9119"/>
                  </a:lnTo>
                  <a:lnTo>
                    <a:pt x="1132" y="8954"/>
                  </a:lnTo>
                  <a:lnTo>
                    <a:pt x="1111" y="8786"/>
                  </a:lnTo>
                  <a:lnTo>
                    <a:pt x="1095" y="8617"/>
                  </a:lnTo>
                  <a:lnTo>
                    <a:pt x="1082" y="8448"/>
                  </a:lnTo>
                  <a:lnTo>
                    <a:pt x="1073" y="8277"/>
                  </a:lnTo>
                  <a:close/>
                  <a:moveTo>
                    <a:pt x="2878" y="3381"/>
                  </a:moveTo>
                  <a:lnTo>
                    <a:pt x="2935" y="3423"/>
                  </a:lnTo>
                  <a:lnTo>
                    <a:pt x="2992" y="3466"/>
                  </a:lnTo>
                  <a:lnTo>
                    <a:pt x="3050" y="3507"/>
                  </a:lnTo>
                  <a:lnTo>
                    <a:pt x="3107" y="3549"/>
                  </a:lnTo>
                  <a:lnTo>
                    <a:pt x="3165" y="3590"/>
                  </a:lnTo>
                  <a:lnTo>
                    <a:pt x="3223" y="3630"/>
                  </a:lnTo>
                  <a:lnTo>
                    <a:pt x="3282" y="3670"/>
                  </a:lnTo>
                  <a:lnTo>
                    <a:pt x="3341" y="3710"/>
                  </a:lnTo>
                  <a:lnTo>
                    <a:pt x="3401" y="3749"/>
                  </a:lnTo>
                  <a:lnTo>
                    <a:pt x="3460" y="3789"/>
                  </a:lnTo>
                  <a:lnTo>
                    <a:pt x="3521" y="3827"/>
                  </a:lnTo>
                  <a:lnTo>
                    <a:pt x="3581" y="3865"/>
                  </a:lnTo>
                  <a:lnTo>
                    <a:pt x="3642" y="3902"/>
                  </a:lnTo>
                  <a:lnTo>
                    <a:pt x="3702" y="3939"/>
                  </a:lnTo>
                  <a:lnTo>
                    <a:pt x="3764" y="3975"/>
                  </a:lnTo>
                  <a:lnTo>
                    <a:pt x="3826" y="4011"/>
                  </a:lnTo>
                  <a:lnTo>
                    <a:pt x="3887" y="4046"/>
                  </a:lnTo>
                  <a:lnTo>
                    <a:pt x="3950" y="4081"/>
                  </a:lnTo>
                  <a:lnTo>
                    <a:pt x="4012" y="4116"/>
                  </a:lnTo>
                  <a:lnTo>
                    <a:pt x="4076" y="4150"/>
                  </a:lnTo>
                  <a:lnTo>
                    <a:pt x="4139" y="4183"/>
                  </a:lnTo>
                  <a:lnTo>
                    <a:pt x="4202" y="4216"/>
                  </a:lnTo>
                  <a:lnTo>
                    <a:pt x="4267" y="4249"/>
                  </a:lnTo>
                  <a:lnTo>
                    <a:pt x="4331" y="4281"/>
                  </a:lnTo>
                  <a:lnTo>
                    <a:pt x="4395" y="4312"/>
                  </a:lnTo>
                  <a:lnTo>
                    <a:pt x="4461" y="4343"/>
                  </a:lnTo>
                  <a:lnTo>
                    <a:pt x="4525" y="4374"/>
                  </a:lnTo>
                  <a:lnTo>
                    <a:pt x="4591" y="4403"/>
                  </a:lnTo>
                  <a:lnTo>
                    <a:pt x="4657" y="4432"/>
                  </a:lnTo>
                  <a:lnTo>
                    <a:pt x="4724" y="4461"/>
                  </a:lnTo>
                  <a:lnTo>
                    <a:pt x="4789" y="4489"/>
                  </a:lnTo>
                  <a:lnTo>
                    <a:pt x="4856" y="4517"/>
                  </a:lnTo>
                  <a:lnTo>
                    <a:pt x="4822" y="4611"/>
                  </a:lnTo>
                  <a:lnTo>
                    <a:pt x="4789" y="4706"/>
                  </a:lnTo>
                  <a:lnTo>
                    <a:pt x="4756" y="4801"/>
                  </a:lnTo>
                  <a:lnTo>
                    <a:pt x="4726" y="4897"/>
                  </a:lnTo>
                  <a:lnTo>
                    <a:pt x="4695" y="4993"/>
                  </a:lnTo>
                  <a:lnTo>
                    <a:pt x="4665" y="5090"/>
                  </a:lnTo>
                  <a:lnTo>
                    <a:pt x="4637" y="5188"/>
                  </a:lnTo>
                  <a:lnTo>
                    <a:pt x="4610" y="5285"/>
                  </a:lnTo>
                  <a:lnTo>
                    <a:pt x="4583" y="5383"/>
                  </a:lnTo>
                  <a:lnTo>
                    <a:pt x="4557" y="5482"/>
                  </a:lnTo>
                  <a:lnTo>
                    <a:pt x="4533" y="5582"/>
                  </a:lnTo>
                  <a:lnTo>
                    <a:pt x="4509" y="5681"/>
                  </a:lnTo>
                  <a:lnTo>
                    <a:pt x="4486" y="5781"/>
                  </a:lnTo>
                  <a:lnTo>
                    <a:pt x="4465" y="5881"/>
                  </a:lnTo>
                  <a:lnTo>
                    <a:pt x="4444" y="5982"/>
                  </a:lnTo>
                  <a:lnTo>
                    <a:pt x="4425" y="6084"/>
                  </a:lnTo>
                  <a:lnTo>
                    <a:pt x="4406" y="6186"/>
                  </a:lnTo>
                  <a:lnTo>
                    <a:pt x="4388" y="6288"/>
                  </a:lnTo>
                  <a:lnTo>
                    <a:pt x="4372" y="6391"/>
                  </a:lnTo>
                  <a:lnTo>
                    <a:pt x="4356" y="6494"/>
                  </a:lnTo>
                  <a:lnTo>
                    <a:pt x="4342" y="6598"/>
                  </a:lnTo>
                  <a:lnTo>
                    <a:pt x="4328" y="6701"/>
                  </a:lnTo>
                  <a:lnTo>
                    <a:pt x="4315" y="6805"/>
                  </a:lnTo>
                  <a:lnTo>
                    <a:pt x="4304" y="6911"/>
                  </a:lnTo>
                  <a:lnTo>
                    <a:pt x="4294" y="7015"/>
                  </a:lnTo>
                  <a:lnTo>
                    <a:pt x="4284" y="7120"/>
                  </a:lnTo>
                  <a:lnTo>
                    <a:pt x="4275" y="7226"/>
                  </a:lnTo>
                  <a:lnTo>
                    <a:pt x="4268" y="7332"/>
                  </a:lnTo>
                  <a:lnTo>
                    <a:pt x="4262" y="7439"/>
                  </a:lnTo>
                  <a:lnTo>
                    <a:pt x="4257" y="7545"/>
                  </a:lnTo>
                  <a:lnTo>
                    <a:pt x="4253" y="7652"/>
                  </a:lnTo>
                  <a:lnTo>
                    <a:pt x="4248" y="7759"/>
                  </a:lnTo>
                  <a:lnTo>
                    <a:pt x="1073" y="7759"/>
                  </a:lnTo>
                  <a:lnTo>
                    <a:pt x="1081" y="7602"/>
                  </a:lnTo>
                  <a:lnTo>
                    <a:pt x="1092" y="7446"/>
                  </a:lnTo>
                  <a:lnTo>
                    <a:pt x="1107" y="7291"/>
                  </a:lnTo>
                  <a:lnTo>
                    <a:pt x="1125" y="7137"/>
                  </a:lnTo>
                  <a:lnTo>
                    <a:pt x="1146" y="6984"/>
                  </a:lnTo>
                  <a:lnTo>
                    <a:pt x="1171" y="6832"/>
                  </a:lnTo>
                  <a:lnTo>
                    <a:pt x="1200" y="6681"/>
                  </a:lnTo>
                  <a:lnTo>
                    <a:pt x="1231" y="6532"/>
                  </a:lnTo>
                  <a:lnTo>
                    <a:pt x="1265" y="6383"/>
                  </a:lnTo>
                  <a:lnTo>
                    <a:pt x="1304" y="6236"/>
                  </a:lnTo>
                  <a:lnTo>
                    <a:pt x="1345" y="6090"/>
                  </a:lnTo>
                  <a:lnTo>
                    <a:pt x="1389" y="5945"/>
                  </a:lnTo>
                  <a:lnTo>
                    <a:pt x="1437" y="5802"/>
                  </a:lnTo>
                  <a:lnTo>
                    <a:pt x="1487" y="5660"/>
                  </a:lnTo>
                  <a:lnTo>
                    <a:pt x="1540" y="5519"/>
                  </a:lnTo>
                  <a:lnTo>
                    <a:pt x="1597" y="5380"/>
                  </a:lnTo>
                  <a:lnTo>
                    <a:pt x="1656" y="5243"/>
                  </a:lnTo>
                  <a:lnTo>
                    <a:pt x="1719" y="5106"/>
                  </a:lnTo>
                  <a:lnTo>
                    <a:pt x="1785" y="4972"/>
                  </a:lnTo>
                  <a:lnTo>
                    <a:pt x="1852" y="4839"/>
                  </a:lnTo>
                  <a:lnTo>
                    <a:pt x="1923" y="4708"/>
                  </a:lnTo>
                  <a:lnTo>
                    <a:pt x="1997" y="4578"/>
                  </a:lnTo>
                  <a:lnTo>
                    <a:pt x="2074" y="4450"/>
                  </a:lnTo>
                  <a:lnTo>
                    <a:pt x="2153" y="4324"/>
                  </a:lnTo>
                  <a:lnTo>
                    <a:pt x="2234" y="4199"/>
                  </a:lnTo>
                  <a:lnTo>
                    <a:pt x="2319" y="4076"/>
                  </a:lnTo>
                  <a:lnTo>
                    <a:pt x="2405" y="3956"/>
                  </a:lnTo>
                  <a:lnTo>
                    <a:pt x="2496" y="3837"/>
                  </a:lnTo>
                  <a:lnTo>
                    <a:pt x="2587" y="3719"/>
                  </a:lnTo>
                  <a:lnTo>
                    <a:pt x="2681" y="3605"/>
                  </a:lnTo>
                  <a:lnTo>
                    <a:pt x="2779" y="3492"/>
                  </a:lnTo>
                  <a:lnTo>
                    <a:pt x="2878" y="3381"/>
                  </a:lnTo>
                  <a:close/>
                  <a:moveTo>
                    <a:pt x="8474" y="7759"/>
                  </a:moveTo>
                  <a:lnTo>
                    <a:pt x="8474" y="5160"/>
                  </a:lnTo>
                  <a:lnTo>
                    <a:pt x="8559" y="5157"/>
                  </a:lnTo>
                  <a:lnTo>
                    <a:pt x="8644" y="5153"/>
                  </a:lnTo>
                  <a:lnTo>
                    <a:pt x="8728" y="5149"/>
                  </a:lnTo>
                  <a:lnTo>
                    <a:pt x="8812" y="5143"/>
                  </a:lnTo>
                  <a:lnTo>
                    <a:pt x="8896" y="5137"/>
                  </a:lnTo>
                  <a:lnTo>
                    <a:pt x="8980" y="5131"/>
                  </a:lnTo>
                  <a:lnTo>
                    <a:pt x="9063" y="5122"/>
                  </a:lnTo>
                  <a:lnTo>
                    <a:pt x="9146" y="5114"/>
                  </a:lnTo>
                  <a:lnTo>
                    <a:pt x="9230" y="5105"/>
                  </a:lnTo>
                  <a:lnTo>
                    <a:pt x="9313" y="5095"/>
                  </a:lnTo>
                  <a:lnTo>
                    <a:pt x="9395" y="5084"/>
                  </a:lnTo>
                  <a:lnTo>
                    <a:pt x="9477" y="5073"/>
                  </a:lnTo>
                  <a:lnTo>
                    <a:pt x="9559" y="5061"/>
                  </a:lnTo>
                  <a:lnTo>
                    <a:pt x="9641" y="5048"/>
                  </a:lnTo>
                  <a:lnTo>
                    <a:pt x="9723" y="5035"/>
                  </a:lnTo>
                  <a:lnTo>
                    <a:pt x="9804" y="5020"/>
                  </a:lnTo>
                  <a:lnTo>
                    <a:pt x="9885" y="5005"/>
                  </a:lnTo>
                  <a:lnTo>
                    <a:pt x="9965" y="4990"/>
                  </a:lnTo>
                  <a:lnTo>
                    <a:pt x="10046" y="4973"/>
                  </a:lnTo>
                  <a:lnTo>
                    <a:pt x="10126" y="4956"/>
                  </a:lnTo>
                  <a:lnTo>
                    <a:pt x="10206" y="4938"/>
                  </a:lnTo>
                  <a:lnTo>
                    <a:pt x="10287" y="4920"/>
                  </a:lnTo>
                  <a:lnTo>
                    <a:pt x="10366" y="4900"/>
                  </a:lnTo>
                  <a:lnTo>
                    <a:pt x="10445" y="4880"/>
                  </a:lnTo>
                  <a:lnTo>
                    <a:pt x="10524" y="4860"/>
                  </a:lnTo>
                  <a:lnTo>
                    <a:pt x="10602" y="4838"/>
                  </a:lnTo>
                  <a:lnTo>
                    <a:pt x="10681" y="4816"/>
                  </a:lnTo>
                  <a:lnTo>
                    <a:pt x="10759" y="4793"/>
                  </a:lnTo>
                  <a:lnTo>
                    <a:pt x="10836" y="4770"/>
                  </a:lnTo>
                  <a:lnTo>
                    <a:pt x="10914" y="4746"/>
                  </a:lnTo>
                  <a:lnTo>
                    <a:pt x="10990" y="4721"/>
                  </a:lnTo>
                  <a:lnTo>
                    <a:pt x="11066" y="4695"/>
                  </a:lnTo>
                  <a:lnTo>
                    <a:pt x="11099" y="4784"/>
                  </a:lnTo>
                  <a:lnTo>
                    <a:pt x="11130" y="4873"/>
                  </a:lnTo>
                  <a:lnTo>
                    <a:pt x="11161" y="4963"/>
                  </a:lnTo>
                  <a:lnTo>
                    <a:pt x="11191" y="5053"/>
                  </a:lnTo>
                  <a:lnTo>
                    <a:pt x="11219" y="5145"/>
                  </a:lnTo>
                  <a:lnTo>
                    <a:pt x="11247" y="5236"/>
                  </a:lnTo>
                  <a:lnTo>
                    <a:pt x="11274" y="5328"/>
                  </a:lnTo>
                  <a:lnTo>
                    <a:pt x="11299" y="5420"/>
                  </a:lnTo>
                  <a:lnTo>
                    <a:pt x="11325" y="5513"/>
                  </a:lnTo>
                  <a:lnTo>
                    <a:pt x="11349" y="5607"/>
                  </a:lnTo>
                  <a:lnTo>
                    <a:pt x="11372" y="5701"/>
                  </a:lnTo>
                  <a:lnTo>
                    <a:pt x="11395" y="5795"/>
                  </a:lnTo>
                  <a:lnTo>
                    <a:pt x="11415" y="5889"/>
                  </a:lnTo>
                  <a:lnTo>
                    <a:pt x="11436" y="5984"/>
                  </a:lnTo>
                  <a:lnTo>
                    <a:pt x="11455" y="6080"/>
                  </a:lnTo>
                  <a:lnTo>
                    <a:pt x="11474" y="6176"/>
                  </a:lnTo>
                  <a:lnTo>
                    <a:pt x="11491" y="6272"/>
                  </a:lnTo>
                  <a:lnTo>
                    <a:pt x="11509" y="6368"/>
                  </a:lnTo>
                  <a:lnTo>
                    <a:pt x="11524" y="6466"/>
                  </a:lnTo>
                  <a:lnTo>
                    <a:pt x="11538" y="6563"/>
                  </a:lnTo>
                  <a:lnTo>
                    <a:pt x="11553" y="6661"/>
                  </a:lnTo>
                  <a:lnTo>
                    <a:pt x="11565" y="6759"/>
                  </a:lnTo>
                  <a:lnTo>
                    <a:pt x="11577" y="6857"/>
                  </a:lnTo>
                  <a:lnTo>
                    <a:pt x="11589" y="6957"/>
                  </a:lnTo>
                  <a:lnTo>
                    <a:pt x="11598" y="7056"/>
                  </a:lnTo>
                  <a:lnTo>
                    <a:pt x="11607" y="7155"/>
                  </a:lnTo>
                  <a:lnTo>
                    <a:pt x="11615" y="7255"/>
                  </a:lnTo>
                  <a:lnTo>
                    <a:pt x="11623" y="7356"/>
                  </a:lnTo>
                  <a:lnTo>
                    <a:pt x="11629" y="7456"/>
                  </a:lnTo>
                  <a:lnTo>
                    <a:pt x="11634" y="7557"/>
                  </a:lnTo>
                  <a:lnTo>
                    <a:pt x="11638" y="7658"/>
                  </a:lnTo>
                  <a:lnTo>
                    <a:pt x="11641" y="7759"/>
                  </a:lnTo>
                  <a:lnTo>
                    <a:pt x="8474" y="7759"/>
                  </a:lnTo>
                  <a:close/>
                  <a:moveTo>
                    <a:pt x="10879" y="11791"/>
                  </a:moveTo>
                  <a:lnTo>
                    <a:pt x="10807" y="11768"/>
                  </a:lnTo>
                  <a:lnTo>
                    <a:pt x="10735" y="11747"/>
                  </a:lnTo>
                  <a:lnTo>
                    <a:pt x="10663" y="11726"/>
                  </a:lnTo>
                  <a:lnTo>
                    <a:pt x="10590" y="11706"/>
                  </a:lnTo>
                  <a:lnTo>
                    <a:pt x="10518" y="11686"/>
                  </a:lnTo>
                  <a:lnTo>
                    <a:pt x="10446" y="11667"/>
                  </a:lnTo>
                  <a:lnTo>
                    <a:pt x="10373" y="11649"/>
                  </a:lnTo>
                  <a:lnTo>
                    <a:pt x="10299" y="11631"/>
                  </a:lnTo>
                  <a:lnTo>
                    <a:pt x="10226" y="11614"/>
                  </a:lnTo>
                  <a:lnTo>
                    <a:pt x="10152" y="11598"/>
                  </a:lnTo>
                  <a:lnTo>
                    <a:pt x="10078" y="11582"/>
                  </a:lnTo>
                  <a:lnTo>
                    <a:pt x="10003" y="11566"/>
                  </a:lnTo>
                  <a:lnTo>
                    <a:pt x="9929" y="11552"/>
                  </a:lnTo>
                  <a:lnTo>
                    <a:pt x="9854" y="11538"/>
                  </a:lnTo>
                  <a:lnTo>
                    <a:pt x="9780" y="11525"/>
                  </a:lnTo>
                  <a:lnTo>
                    <a:pt x="9704" y="11512"/>
                  </a:lnTo>
                  <a:lnTo>
                    <a:pt x="9629" y="11500"/>
                  </a:lnTo>
                  <a:lnTo>
                    <a:pt x="9553" y="11488"/>
                  </a:lnTo>
                  <a:lnTo>
                    <a:pt x="9477" y="11477"/>
                  </a:lnTo>
                  <a:lnTo>
                    <a:pt x="9401" y="11467"/>
                  </a:lnTo>
                  <a:lnTo>
                    <a:pt x="9325" y="11458"/>
                  </a:lnTo>
                  <a:lnTo>
                    <a:pt x="9249" y="11449"/>
                  </a:lnTo>
                  <a:lnTo>
                    <a:pt x="9172" y="11440"/>
                  </a:lnTo>
                  <a:lnTo>
                    <a:pt x="9095" y="11433"/>
                  </a:lnTo>
                  <a:lnTo>
                    <a:pt x="9018" y="11425"/>
                  </a:lnTo>
                  <a:lnTo>
                    <a:pt x="8941" y="11419"/>
                  </a:lnTo>
                  <a:lnTo>
                    <a:pt x="8864" y="11413"/>
                  </a:lnTo>
                  <a:lnTo>
                    <a:pt x="8786" y="11408"/>
                  </a:lnTo>
                  <a:lnTo>
                    <a:pt x="8708" y="11404"/>
                  </a:lnTo>
                  <a:lnTo>
                    <a:pt x="8630" y="11400"/>
                  </a:lnTo>
                  <a:lnTo>
                    <a:pt x="8552" y="11396"/>
                  </a:lnTo>
                  <a:lnTo>
                    <a:pt x="8474" y="11394"/>
                  </a:lnTo>
                  <a:lnTo>
                    <a:pt x="8474" y="8277"/>
                  </a:lnTo>
                  <a:lnTo>
                    <a:pt x="11641" y="8277"/>
                  </a:lnTo>
                  <a:lnTo>
                    <a:pt x="11637" y="8394"/>
                  </a:lnTo>
                  <a:lnTo>
                    <a:pt x="11632" y="8512"/>
                  </a:lnTo>
                  <a:lnTo>
                    <a:pt x="11626" y="8628"/>
                  </a:lnTo>
                  <a:lnTo>
                    <a:pt x="11617" y="8746"/>
                  </a:lnTo>
                  <a:lnTo>
                    <a:pt x="11608" y="8862"/>
                  </a:lnTo>
                  <a:lnTo>
                    <a:pt x="11598" y="8977"/>
                  </a:lnTo>
                  <a:lnTo>
                    <a:pt x="11586" y="9092"/>
                  </a:lnTo>
                  <a:lnTo>
                    <a:pt x="11572" y="9207"/>
                  </a:lnTo>
                  <a:lnTo>
                    <a:pt x="11558" y="9321"/>
                  </a:lnTo>
                  <a:lnTo>
                    <a:pt x="11542" y="9435"/>
                  </a:lnTo>
                  <a:lnTo>
                    <a:pt x="11525" y="9548"/>
                  </a:lnTo>
                  <a:lnTo>
                    <a:pt x="11506" y="9661"/>
                  </a:lnTo>
                  <a:lnTo>
                    <a:pt x="11486" y="9773"/>
                  </a:lnTo>
                  <a:lnTo>
                    <a:pt x="11466" y="9884"/>
                  </a:lnTo>
                  <a:lnTo>
                    <a:pt x="11443" y="9995"/>
                  </a:lnTo>
                  <a:lnTo>
                    <a:pt x="11419" y="10106"/>
                  </a:lnTo>
                  <a:lnTo>
                    <a:pt x="11395" y="10216"/>
                  </a:lnTo>
                  <a:lnTo>
                    <a:pt x="11368" y="10325"/>
                  </a:lnTo>
                  <a:lnTo>
                    <a:pt x="11341" y="10434"/>
                  </a:lnTo>
                  <a:lnTo>
                    <a:pt x="11313" y="10543"/>
                  </a:lnTo>
                  <a:lnTo>
                    <a:pt x="11283" y="10650"/>
                  </a:lnTo>
                  <a:lnTo>
                    <a:pt x="11252" y="10757"/>
                  </a:lnTo>
                  <a:lnTo>
                    <a:pt x="11220" y="10863"/>
                  </a:lnTo>
                  <a:lnTo>
                    <a:pt x="11186" y="10969"/>
                  </a:lnTo>
                  <a:lnTo>
                    <a:pt x="11152" y="11074"/>
                  </a:lnTo>
                  <a:lnTo>
                    <a:pt x="11117" y="11178"/>
                  </a:lnTo>
                  <a:lnTo>
                    <a:pt x="11080" y="11282"/>
                  </a:lnTo>
                  <a:lnTo>
                    <a:pt x="11042" y="11386"/>
                  </a:lnTo>
                  <a:lnTo>
                    <a:pt x="11003" y="11488"/>
                  </a:lnTo>
                  <a:lnTo>
                    <a:pt x="10962" y="11590"/>
                  </a:lnTo>
                  <a:lnTo>
                    <a:pt x="10921" y="11690"/>
                  </a:lnTo>
                  <a:lnTo>
                    <a:pt x="10879" y="11791"/>
                  </a:lnTo>
                  <a:close/>
                  <a:moveTo>
                    <a:pt x="11162" y="12440"/>
                  </a:moveTo>
                  <a:lnTo>
                    <a:pt x="11275" y="12484"/>
                  </a:lnTo>
                  <a:lnTo>
                    <a:pt x="11387" y="12529"/>
                  </a:lnTo>
                  <a:lnTo>
                    <a:pt x="11497" y="12575"/>
                  </a:lnTo>
                  <a:lnTo>
                    <a:pt x="11606" y="12624"/>
                  </a:lnTo>
                  <a:lnTo>
                    <a:pt x="11715" y="12674"/>
                  </a:lnTo>
                  <a:lnTo>
                    <a:pt x="11824" y="12726"/>
                  </a:lnTo>
                  <a:lnTo>
                    <a:pt x="11930" y="12779"/>
                  </a:lnTo>
                  <a:lnTo>
                    <a:pt x="12036" y="12833"/>
                  </a:lnTo>
                  <a:lnTo>
                    <a:pt x="12142" y="12889"/>
                  </a:lnTo>
                  <a:lnTo>
                    <a:pt x="12245" y="12946"/>
                  </a:lnTo>
                  <a:lnTo>
                    <a:pt x="12349" y="13005"/>
                  </a:lnTo>
                  <a:lnTo>
                    <a:pt x="12451" y="13065"/>
                  </a:lnTo>
                  <a:lnTo>
                    <a:pt x="12552" y="13127"/>
                  </a:lnTo>
                  <a:lnTo>
                    <a:pt x="12653" y="13191"/>
                  </a:lnTo>
                  <a:lnTo>
                    <a:pt x="12751" y="13255"/>
                  </a:lnTo>
                  <a:lnTo>
                    <a:pt x="12850" y="13320"/>
                  </a:lnTo>
                  <a:lnTo>
                    <a:pt x="12759" y="13395"/>
                  </a:lnTo>
                  <a:lnTo>
                    <a:pt x="12666" y="13469"/>
                  </a:lnTo>
                  <a:lnTo>
                    <a:pt x="12573" y="13540"/>
                  </a:lnTo>
                  <a:lnTo>
                    <a:pt x="12477" y="13612"/>
                  </a:lnTo>
                  <a:lnTo>
                    <a:pt x="12381" y="13681"/>
                  </a:lnTo>
                  <a:lnTo>
                    <a:pt x="12283" y="13748"/>
                  </a:lnTo>
                  <a:lnTo>
                    <a:pt x="12185" y="13814"/>
                  </a:lnTo>
                  <a:lnTo>
                    <a:pt x="12084" y="13878"/>
                  </a:lnTo>
                  <a:lnTo>
                    <a:pt x="11984" y="13940"/>
                  </a:lnTo>
                  <a:lnTo>
                    <a:pt x="11881" y="14001"/>
                  </a:lnTo>
                  <a:lnTo>
                    <a:pt x="11779" y="14062"/>
                  </a:lnTo>
                  <a:lnTo>
                    <a:pt x="11674" y="14119"/>
                  </a:lnTo>
                  <a:lnTo>
                    <a:pt x="11568" y="14175"/>
                  </a:lnTo>
                  <a:lnTo>
                    <a:pt x="11461" y="14229"/>
                  </a:lnTo>
                  <a:lnTo>
                    <a:pt x="11354" y="14282"/>
                  </a:lnTo>
                  <a:lnTo>
                    <a:pt x="11245" y="14333"/>
                  </a:lnTo>
                  <a:lnTo>
                    <a:pt x="11136" y="14382"/>
                  </a:lnTo>
                  <a:lnTo>
                    <a:pt x="11025" y="14429"/>
                  </a:lnTo>
                  <a:lnTo>
                    <a:pt x="10914" y="14475"/>
                  </a:lnTo>
                  <a:lnTo>
                    <a:pt x="10802" y="14519"/>
                  </a:lnTo>
                  <a:lnTo>
                    <a:pt x="10688" y="14561"/>
                  </a:lnTo>
                  <a:lnTo>
                    <a:pt x="10573" y="14601"/>
                  </a:lnTo>
                  <a:lnTo>
                    <a:pt x="10458" y="14639"/>
                  </a:lnTo>
                  <a:lnTo>
                    <a:pt x="10342" y="14676"/>
                  </a:lnTo>
                  <a:lnTo>
                    <a:pt x="10225" y="14710"/>
                  </a:lnTo>
                  <a:lnTo>
                    <a:pt x="10107" y="14743"/>
                  </a:lnTo>
                  <a:lnTo>
                    <a:pt x="9989" y="14774"/>
                  </a:lnTo>
                  <a:lnTo>
                    <a:pt x="9869" y="14802"/>
                  </a:lnTo>
                  <a:lnTo>
                    <a:pt x="9749" y="14829"/>
                  </a:lnTo>
                  <a:lnTo>
                    <a:pt x="9628" y="14854"/>
                  </a:lnTo>
                  <a:lnTo>
                    <a:pt x="9507" y="14877"/>
                  </a:lnTo>
                  <a:lnTo>
                    <a:pt x="9383" y="14898"/>
                  </a:lnTo>
                  <a:lnTo>
                    <a:pt x="9450" y="14833"/>
                  </a:lnTo>
                  <a:lnTo>
                    <a:pt x="9516" y="14767"/>
                  </a:lnTo>
                  <a:lnTo>
                    <a:pt x="9582" y="14700"/>
                  </a:lnTo>
                  <a:lnTo>
                    <a:pt x="9645" y="14633"/>
                  </a:lnTo>
                  <a:lnTo>
                    <a:pt x="9710" y="14564"/>
                  </a:lnTo>
                  <a:lnTo>
                    <a:pt x="9772" y="14495"/>
                  </a:lnTo>
                  <a:lnTo>
                    <a:pt x="9835" y="14424"/>
                  </a:lnTo>
                  <a:lnTo>
                    <a:pt x="9897" y="14354"/>
                  </a:lnTo>
                  <a:lnTo>
                    <a:pt x="9958" y="14282"/>
                  </a:lnTo>
                  <a:lnTo>
                    <a:pt x="10019" y="14210"/>
                  </a:lnTo>
                  <a:lnTo>
                    <a:pt x="10078" y="14137"/>
                  </a:lnTo>
                  <a:lnTo>
                    <a:pt x="10138" y="14064"/>
                  </a:lnTo>
                  <a:lnTo>
                    <a:pt x="10195" y="13988"/>
                  </a:lnTo>
                  <a:lnTo>
                    <a:pt x="10254" y="13913"/>
                  </a:lnTo>
                  <a:lnTo>
                    <a:pt x="10310" y="13837"/>
                  </a:lnTo>
                  <a:lnTo>
                    <a:pt x="10367" y="13761"/>
                  </a:lnTo>
                  <a:lnTo>
                    <a:pt x="10422" y="13684"/>
                  </a:lnTo>
                  <a:lnTo>
                    <a:pt x="10476" y="13606"/>
                  </a:lnTo>
                  <a:lnTo>
                    <a:pt x="10531" y="13526"/>
                  </a:lnTo>
                  <a:lnTo>
                    <a:pt x="10584" y="13447"/>
                  </a:lnTo>
                  <a:lnTo>
                    <a:pt x="10636" y="13367"/>
                  </a:lnTo>
                  <a:lnTo>
                    <a:pt x="10688" y="13286"/>
                  </a:lnTo>
                  <a:lnTo>
                    <a:pt x="10739" y="13204"/>
                  </a:lnTo>
                  <a:lnTo>
                    <a:pt x="10789" y="13121"/>
                  </a:lnTo>
                  <a:lnTo>
                    <a:pt x="10839" y="13039"/>
                  </a:lnTo>
                  <a:lnTo>
                    <a:pt x="10888" y="12955"/>
                  </a:lnTo>
                  <a:lnTo>
                    <a:pt x="10935" y="12871"/>
                  </a:lnTo>
                  <a:lnTo>
                    <a:pt x="10982" y="12786"/>
                  </a:lnTo>
                  <a:lnTo>
                    <a:pt x="11028" y="12701"/>
                  </a:lnTo>
                  <a:lnTo>
                    <a:pt x="11074" y="12614"/>
                  </a:lnTo>
                  <a:lnTo>
                    <a:pt x="11119" y="12528"/>
                  </a:lnTo>
                  <a:lnTo>
                    <a:pt x="11162" y="12440"/>
                  </a:lnTo>
                  <a:close/>
                  <a:moveTo>
                    <a:pt x="8474" y="14988"/>
                  </a:moveTo>
                  <a:lnTo>
                    <a:pt x="8474" y="11911"/>
                  </a:lnTo>
                  <a:lnTo>
                    <a:pt x="8545" y="11913"/>
                  </a:lnTo>
                  <a:lnTo>
                    <a:pt x="8616" y="11916"/>
                  </a:lnTo>
                  <a:lnTo>
                    <a:pt x="8687" y="11920"/>
                  </a:lnTo>
                  <a:lnTo>
                    <a:pt x="8757" y="11924"/>
                  </a:lnTo>
                  <a:lnTo>
                    <a:pt x="8828" y="11929"/>
                  </a:lnTo>
                  <a:lnTo>
                    <a:pt x="8899" y="11934"/>
                  </a:lnTo>
                  <a:lnTo>
                    <a:pt x="8969" y="11940"/>
                  </a:lnTo>
                  <a:lnTo>
                    <a:pt x="9039" y="11946"/>
                  </a:lnTo>
                  <a:lnTo>
                    <a:pt x="9108" y="11953"/>
                  </a:lnTo>
                  <a:lnTo>
                    <a:pt x="9178" y="11960"/>
                  </a:lnTo>
                  <a:lnTo>
                    <a:pt x="9248" y="11968"/>
                  </a:lnTo>
                  <a:lnTo>
                    <a:pt x="9317" y="11976"/>
                  </a:lnTo>
                  <a:lnTo>
                    <a:pt x="9387" y="11986"/>
                  </a:lnTo>
                  <a:lnTo>
                    <a:pt x="9455" y="11995"/>
                  </a:lnTo>
                  <a:lnTo>
                    <a:pt x="9524" y="12005"/>
                  </a:lnTo>
                  <a:lnTo>
                    <a:pt x="9593" y="12016"/>
                  </a:lnTo>
                  <a:lnTo>
                    <a:pt x="9661" y="12027"/>
                  </a:lnTo>
                  <a:lnTo>
                    <a:pt x="9729" y="12039"/>
                  </a:lnTo>
                  <a:lnTo>
                    <a:pt x="9797" y="12051"/>
                  </a:lnTo>
                  <a:lnTo>
                    <a:pt x="9865" y="12064"/>
                  </a:lnTo>
                  <a:lnTo>
                    <a:pt x="9932" y="12077"/>
                  </a:lnTo>
                  <a:lnTo>
                    <a:pt x="10000" y="12091"/>
                  </a:lnTo>
                  <a:lnTo>
                    <a:pt x="10067" y="12106"/>
                  </a:lnTo>
                  <a:lnTo>
                    <a:pt x="10134" y="12121"/>
                  </a:lnTo>
                  <a:lnTo>
                    <a:pt x="10200" y="12136"/>
                  </a:lnTo>
                  <a:lnTo>
                    <a:pt x="10267" y="12153"/>
                  </a:lnTo>
                  <a:lnTo>
                    <a:pt x="10334" y="12169"/>
                  </a:lnTo>
                  <a:lnTo>
                    <a:pt x="10399" y="12187"/>
                  </a:lnTo>
                  <a:lnTo>
                    <a:pt x="10465" y="12204"/>
                  </a:lnTo>
                  <a:lnTo>
                    <a:pt x="10531" y="12223"/>
                  </a:lnTo>
                  <a:lnTo>
                    <a:pt x="10596" y="12242"/>
                  </a:lnTo>
                  <a:lnTo>
                    <a:pt x="10661" y="12262"/>
                  </a:lnTo>
                  <a:lnTo>
                    <a:pt x="10610" y="12363"/>
                  </a:lnTo>
                  <a:lnTo>
                    <a:pt x="10557" y="12462"/>
                  </a:lnTo>
                  <a:lnTo>
                    <a:pt x="10504" y="12561"/>
                  </a:lnTo>
                  <a:lnTo>
                    <a:pt x="10450" y="12659"/>
                  </a:lnTo>
                  <a:lnTo>
                    <a:pt x="10393" y="12757"/>
                  </a:lnTo>
                  <a:lnTo>
                    <a:pt x="10337" y="12853"/>
                  </a:lnTo>
                  <a:lnTo>
                    <a:pt x="10279" y="12948"/>
                  </a:lnTo>
                  <a:lnTo>
                    <a:pt x="10220" y="13042"/>
                  </a:lnTo>
                  <a:lnTo>
                    <a:pt x="10159" y="13135"/>
                  </a:lnTo>
                  <a:lnTo>
                    <a:pt x="10099" y="13228"/>
                  </a:lnTo>
                  <a:lnTo>
                    <a:pt x="10036" y="13319"/>
                  </a:lnTo>
                  <a:lnTo>
                    <a:pt x="9972" y="13410"/>
                  </a:lnTo>
                  <a:lnTo>
                    <a:pt x="9909" y="13499"/>
                  </a:lnTo>
                  <a:lnTo>
                    <a:pt x="9843" y="13588"/>
                  </a:lnTo>
                  <a:lnTo>
                    <a:pt x="9776" y="13675"/>
                  </a:lnTo>
                  <a:lnTo>
                    <a:pt x="9710" y="13761"/>
                  </a:lnTo>
                  <a:lnTo>
                    <a:pt x="9641" y="13846"/>
                  </a:lnTo>
                  <a:lnTo>
                    <a:pt x="9571" y="13930"/>
                  </a:lnTo>
                  <a:lnTo>
                    <a:pt x="9501" y="14012"/>
                  </a:lnTo>
                  <a:lnTo>
                    <a:pt x="9430" y="14095"/>
                  </a:lnTo>
                  <a:lnTo>
                    <a:pt x="9358" y="14175"/>
                  </a:lnTo>
                  <a:lnTo>
                    <a:pt x="9284" y="14255"/>
                  </a:lnTo>
                  <a:lnTo>
                    <a:pt x="9210" y="14333"/>
                  </a:lnTo>
                  <a:lnTo>
                    <a:pt x="9135" y="14410"/>
                  </a:lnTo>
                  <a:lnTo>
                    <a:pt x="9059" y="14487"/>
                  </a:lnTo>
                  <a:lnTo>
                    <a:pt x="8982" y="14562"/>
                  </a:lnTo>
                  <a:lnTo>
                    <a:pt x="8904" y="14636"/>
                  </a:lnTo>
                  <a:lnTo>
                    <a:pt x="8825" y="14708"/>
                  </a:lnTo>
                  <a:lnTo>
                    <a:pt x="8746" y="14779"/>
                  </a:lnTo>
                  <a:lnTo>
                    <a:pt x="8666" y="14850"/>
                  </a:lnTo>
                  <a:lnTo>
                    <a:pt x="8584" y="14918"/>
                  </a:lnTo>
                  <a:lnTo>
                    <a:pt x="8502" y="14987"/>
                  </a:lnTo>
                  <a:lnTo>
                    <a:pt x="8474" y="14988"/>
                  </a:lnTo>
                  <a:close/>
                  <a:moveTo>
                    <a:pt x="7036" y="14898"/>
                  </a:moveTo>
                  <a:lnTo>
                    <a:pt x="6913" y="14877"/>
                  </a:lnTo>
                  <a:lnTo>
                    <a:pt x="6791" y="14854"/>
                  </a:lnTo>
                  <a:lnTo>
                    <a:pt x="6670" y="14829"/>
                  </a:lnTo>
                  <a:lnTo>
                    <a:pt x="6550" y="14802"/>
                  </a:lnTo>
                  <a:lnTo>
                    <a:pt x="6431" y="14774"/>
                  </a:lnTo>
                  <a:lnTo>
                    <a:pt x="6312" y="14743"/>
                  </a:lnTo>
                  <a:lnTo>
                    <a:pt x="6194" y="14710"/>
                  </a:lnTo>
                  <a:lnTo>
                    <a:pt x="6077" y="14676"/>
                  </a:lnTo>
                  <a:lnTo>
                    <a:pt x="5961" y="14639"/>
                  </a:lnTo>
                  <a:lnTo>
                    <a:pt x="5846" y="14601"/>
                  </a:lnTo>
                  <a:lnTo>
                    <a:pt x="5731" y="14561"/>
                  </a:lnTo>
                  <a:lnTo>
                    <a:pt x="5618" y="14519"/>
                  </a:lnTo>
                  <a:lnTo>
                    <a:pt x="5505" y="14475"/>
                  </a:lnTo>
                  <a:lnTo>
                    <a:pt x="5395" y="14429"/>
                  </a:lnTo>
                  <a:lnTo>
                    <a:pt x="5284" y="14382"/>
                  </a:lnTo>
                  <a:lnTo>
                    <a:pt x="5174" y="14333"/>
                  </a:lnTo>
                  <a:lnTo>
                    <a:pt x="5065" y="14282"/>
                  </a:lnTo>
                  <a:lnTo>
                    <a:pt x="4958" y="14229"/>
                  </a:lnTo>
                  <a:lnTo>
                    <a:pt x="4851" y="14175"/>
                  </a:lnTo>
                  <a:lnTo>
                    <a:pt x="4746" y="14119"/>
                  </a:lnTo>
                  <a:lnTo>
                    <a:pt x="4641" y="14062"/>
                  </a:lnTo>
                  <a:lnTo>
                    <a:pt x="4538" y="14001"/>
                  </a:lnTo>
                  <a:lnTo>
                    <a:pt x="4436" y="13940"/>
                  </a:lnTo>
                  <a:lnTo>
                    <a:pt x="4335" y="13878"/>
                  </a:lnTo>
                  <a:lnTo>
                    <a:pt x="4235" y="13814"/>
                  </a:lnTo>
                  <a:lnTo>
                    <a:pt x="4137" y="13748"/>
                  </a:lnTo>
                  <a:lnTo>
                    <a:pt x="4038" y="13681"/>
                  </a:lnTo>
                  <a:lnTo>
                    <a:pt x="3943" y="13612"/>
                  </a:lnTo>
                  <a:lnTo>
                    <a:pt x="3847" y="13540"/>
                  </a:lnTo>
                  <a:lnTo>
                    <a:pt x="3753" y="13469"/>
                  </a:lnTo>
                  <a:lnTo>
                    <a:pt x="3660" y="13395"/>
                  </a:lnTo>
                  <a:lnTo>
                    <a:pt x="3569" y="13320"/>
                  </a:lnTo>
                  <a:lnTo>
                    <a:pt x="3668" y="13255"/>
                  </a:lnTo>
                  <a:lnTo>
                    <a:pt x="3767" y="13191"/>
                  </a:lnTo>
                  <a:lnTo>
                    <a:pt x="3867" y="13127"/>
                  </a:lnTo>
                  <a:lnTo>
                    <a:pt x="3968" y="13065"/>
                  </a:lnTo>
                  <a:lnTo>
                    <a:pt x="4071" y="13005"/>
                  </a:lnTo>
                  <a:lnTo>
                    <a:pt x="4174" y="12946"/>
                  </a:lnTo>
                  <a:lnTo>
                    <a:pt x="4278" y="12889"/>
                  </a:lnTo>
                  <a:lnTo>
                    <a:pt x="4383" y="12833"/>
                  </a:lnTo>
                  <a:lnTo>
                    <a:pt x="4489" y="12779"/>
                  </a:lnTo>
                  <a:lnTo>
                    <a:pt x="4596" y="12726"/>
                  </a:lnTo>
                  <a:lnTo>
                    <a:pt x="4704" y="12674"/>
                  </a:lnTo>
                  <a:lnTo>
                    <a:pt x="4813" y="12624"/>
                  </a:lnTo>
                  <a:lnTo>
                    <a:pt x="4923" y="12575"/>
                  </a:lnTo>
                  <a:lnTo>
                    <a:pt x="5033" y="12529"/>
                  </a:lnTo>
                  <a:lnTo>
                    <a:pt x="5144" y="12484"/>
                  </a:lnTo>
                  <a:lnTo>
                    <a:pt x="5257" y="12440"/>
                  </a:lnTo>
                  <a:lnTo>
                    <a:pt x="5301" y="12528"/>
                  </a:lnTo>
                  <a:lnTo>
                    <a:pt x="5345" y="12614"/>
                  </a:lnTo>
                  <a:lnTo>
                    <a:pt x="5391" y="12701"/>
                  </a:lnTo>
                  <a:lnTo>
                    <a:pt x="5437" y="12786"/>
                  </a:lnTo>
                  <a:lnTo>
                    <a:pt x="5484" y="12871"/>
                  </a:lnTo>
                  <a:lnTo>
                    <a:pt x="5532" y="12955"/>
                  </a:lnTo>
                  <a:lnTo>
                    <a:pt x="5580" y="13039"/>
                  </a:lnTo>
                  <a:lnTo>
                    <a:pt x="5630" y="13121"/>
                  </a:lnTo>
                  <a:lnTo>
                    <a:pt x="5680" y="13204"/>
                  </a:lnTo>
                  <a:lnTo>
                    <a:pt x="5731" y="13286"/>
                  </a:lnTo>
                  <a:lnTo>
                    <a:pt x="5783" y="13367"/>
                  </a:lnTo>
                  <a:lnTo>
                    <a:pt x="5835" y="13447"/>
                  </a:lnTo>
                  <a:lnTo>
                    <a:pt x="5888" y="13526"/>
                  </a:lnTo>
                  <a:lnTo>
                    <a:pt x="5943" y="13606"/>
                  </a:lnTo>
                  <a:lnTo>
                    <a:pt x="5997" y="13684"/>
                  </a:lnTo>
                  <a:lnTo>
                    <a:pt x="6052" y="13761"/>
                  </a:lnTo>
                  <a:lnTo>
                    <a:pt x="6109" y="13837"/>
                  </a:lnTo>
                  <a:lnTo>
                    <a:pt x="6166" y="13913"/>
                  </a:lnTo>
                  <a:lnTo>
                    <a:pt x="6224" y="13988"/>
                  </a:lnTo>
                  <a:lnTo>
                    <a:pt x="6282" y="14064"/>
                  </a:lnTo>
                  <a:lnTo>
                    <a:pt x="6341" y="14137"/>
                  </a:lnTo>
                  <a:lnTo>
                    <a:pt x="6400" y="14210"/>
                  </a:lnTo>
                  <a:lnTo>
                    <a:pt x="6461" y="14282"/>
                  </a:lnTo>
                  <a:lnTo>
                    <a:pt x="6522" y="14354"/>
                  </a:lnTo>
                  <a:lnTo>
                    <a:pt x="6584" y="14424"/>
                  </a:lnTo>
                  <a:lnTo>
                    <a:pt x="6647" y="14495"/>
                  </a:lnTo>
                  <a:lnTo>
                    <a:pt x="6710" y="14564"/>
                  </a:lnTo>
                  <a:lnTo>
                    <a:pt x="6774" y="14633"/>
                  </a:lnTo>
                  <a:lnTo>
                    <a:pt x="6839" y="14700"/>
                  </a:lnTo>
                  <a:lnTo>
                    <a:pt x="6903" y="14767"/>
                  </a:lnTo>
                  <a:lnTo>
                    <a:pt x="6969" y="14833"/>
                  </a:lnTo>
                  <a:lnTo>
                    <a:pt x="7036" y="14898"/>
                  </a:lnTo>
                  <a:close/>
                  <a:moveTo>
                    <a:pt x="7945" y="8277"/>
                  </a:moveTo>
                  <a:lnTo>
                    <a:pt x="7945" y="11394"/>
                  </a:lnTo>
                  <a:lnTo>
                    <a:pt x="7867" y="11396"/>
                  </a:lnTo>
                  <a:lnTo>
                    <a:pt x="7789" y="11400"/>
                  </a:lnTo>
                  <a:lnTo>
                    <a:pt x="7711" y="11404"/>
                  </a:lnTo>
                  <a:lnTo>
                    <a:pt x="7633" y="11408"/>
                  </a:lnTo>
                  <a:lnTo>
                    <a:pt x="7555" y="11413"/>
                  </a:lnTo>
                  <a:lnTo>
                    <a:pt x="7478" y="11419"/>
                  </a:lnTo>
                  <a:lnTo>
                    <a:pt x="7401" y="11425"/>
                  </a:lnTo>
                  <a:lnTo>
                    <a:pt x="7324" y="11433"/>
                  </a:lnTo>
                  <a:lnTo>
                    <a:pt x="7247" y="11440"/>
                  </a:lnTo>
                  <a:lnTo>
                    <a:pt x="7170" y="11449"/>
                  </a:lnTo>
                  <a:lnTo>
                    <a:pt x="7094" y="11458"/>
                  </a:lnTo>
                  <a:lnTo>
                    <a:pt x="7018" y="11467"/>
                  </a:lnTo>
                  <a:lnTo>
                    <a:pt x="6942" y="11477"/>
                  </a:lnTo>
                  <a:lnTo>
                    <a:pt x="6866" y="11488"/>
                  </a:lnTo>
                  <a:lnTo>
                    <a:pt x="6790" y="11500"/>
                  </a:lnTo>
                  <a:lnTo>
                    <a:pt x="6715" y="11512"/>
                  </a:lnTo>
                  <a:lnTo>
                    <a:pt x="6640" y="11525"/>
                  </a:lnTo>
                  <a:lnTo>
                    <a:pt x="6565" y="11538"/>
                  </a:lnTo>
                  <a:lnTo>
                    <a:pt x="6491" y="11552"/>
                  </a:lnTo>
                  <a:lnTo>
                    <a:pt x="6416" y="11566"/>
                  </a:lnTo>
                  <a:lnTo>
                    <a:pt x="6342" y="11582"/>
                  </a:lnTo>
                  <a:lnTo>
                    <a:pt x="6268" y="11598"/>
                  </a:lnTo>
                  <a:lnTo>
                    <a:pt x="6194" y="11614"/>
                  </a:lnTo>
                  <a:lnTo>
                    <a:pt x="6120" y="11631"/>
                  </a:lnTo>
                  <a:lnTo>
                    <a:pt x="6047" y="11649"/>
                  </a:lnTo>
                  <a:lnTo>
                    <a:pt x="5973" y="11667"/>
                  </a:lnTo>
                  <a:lnTo>
                    <a:pt x="5901" y="11686"/>
                  </a:lnTo>
                  <a:lnTo>
                    <a:pt x="5829" y="11706"/>
                  </a:lnTo>
                  <a:lnTo>
                    <a:pt x="5756" y="11726"/>
                  </a:lnTo>
                  <a:lnTo>
                    <a:pt x="5684" y="11747"/>
                  </a:lnTo>
                  <a:lnTo>
                    <a:pt x="5612" y="11768"/>
                  </a:lnTo>
                  <a:lnTo>
                    <a:pt x="5540" y="11791"/>
                  </a:lnTo>
                  <a:lnTo>
                    <a:pt x="5498" y="11690"/>
                  </a:lnTo>
                  <a:lnTo>
                    <a:pt x="5457" y="11590"/>
                  </a:lnTo>
                  <a:lnTo>
                    <a:pt x="5417" y="11488"/>
                  </a:lnTo>
                  <a:lnTo>
                    <a:pt x="5377" y="11386"/>
                  </a:lnTo>
                  <a:lnTo>
                    <a:pt x="5339" y="11282"/>
                  </a:lnTo>
                  <a:lnTo>
                    <a:pt x="5303" y="11178"/>
                  </a:lnTo>
                  <a:lnTo>
                    <a:pt x="5267" y="11074"/>
                  </a:lnTo>
                  <a:lnTo>
                    <a:pt x="5233" y="10969"/>
                  </a:lnTo>
                  <a:lnTo>
                    <a:pt x="5200" y="10863"/>
                  </a:lnTo>
                  <a:lnTo>
                    <a:pt x="5167" y="10757"/>
                  </a:lnTo>
                  <a:lnTo>
                    <a:pt x="5136" y="10650"/>
                  </a:lnTo>
                  <a:lnTo>
                    <a:pt x="5106" y="10543"/>
                  </a:lnTo>
                  <a:lnTo>
                    <a:pt x="5079" y="10434"/>
                  </a:lnTo>
                  <a:lnTo>
                    <a:pt x="5051" y="10325"/>
                  </a:lnTo>
                  <a:lnTo>
                    <a:pt x="5025" y="10216"/>
                  </a:lnTo>
                  <a:lnTo>
                    <a:pt x="5000" y="10106"/>
                  </a:lnTo>
                  <a:lnTo>
                    <a:pt x="4976" y="9995"/>
                  </a:lnTo>
                  <a:lnTo>
                    <a:pt x="4954" y="9884"/>
                  </a:lnTo>
                  <a:lnTo>
                    <a:pt x="4933" y="9773"/>
                  </a:lnTo>
                  <a:lnTo>
                    <a:pt x="4913" y="9661"/>
                  </a:lnTo>
                  <a:lnTo>
                    <a:pt x="4895" y="9548"/>
                  </a:lnTo>
                  <a:lnTo>
                    <a:pt x="4877" y="9435"/>
                  </a:lnTo>
                  <a:lnTo>
                    <a:pt x="4861" y="9321"/>
                  </a:lnTo>
                  <a:lnTo>
                    <a:pt x="4847" y="9207"/>
                  </a:lnTo>
                  <a:lnTo>
                    <a:pt x="4833" y="9092"/>
                  </a:lnTo>
                  <a:lnTo>
                    <a:pt x="4822" y="8977"/>
                  </a:lnTo>
                  <a:lnTo>
                    <a:pt x="4811" y="8862"/>
                  </a:lnTo>
                  <a:lnTo>
                    <a:pt x="4802" y="8746"/>
                  </a:lnTo>
                  <a:lnTo>
                    <a:pt x="4794" y="8628"/>
                  </a:lnTo>
                  <a:lnTo>
                    <a:pt x="4787" y="8512"/>
                  </a:lnTo>
                  <a:lnTo>
                    <a:pt x="4782" y="8394"/>
                  </a:lnTo>
                  <a:lnTo>
                    <a:pt x="4779" y="8277"/>
                  </a:lnTo>
                  <a:lnTo>
                    <a:pt x="7945" y="8277"/>
                  </a:lnTo>
                  <a:close/>
                  <a:moveTo>
                    <a:pt x="5353" y="4695"/>
                  </a:moveTo>
                  <a:lnTo>
                    <a:pt x="5430" y="4721"/>
                  </a:lnTo>
                  <a:lnTo>
                    <a:pt x="5507" y="4746"/>
                  </a:lnTo>
                  <a:lnTo>
                    <a:pt x="5583" y="4770"/>
                  </a:lnTo>
                  <a:lnTo>
                    <a:pt x="5661" y="4793"/>
                  </a:lnTo>
                  <a:lnTo>
                    <a:pt x="5739" y="4816"/>
                  </a:lnTo>
                  <a:lnTo>
                    <a:pt x="5817" y="4838"/>
                  </a:lnTo>
                  <a:lnTo>
                    <a:pt x="5896" y="4860"/>
                  </a:lnTo>
                  <a:lnTo>
                    <a:pt x="5974" y="4880"/>
                  </a:lnTo>
                  <a:lnTo>
                    <a:pt x="6053" y="4900"/>
                  </a:lnTo>
                  <a:lnTo>
                    <a:pt x="6134" y="4920"/>
                  </a:lnTo>
                  <a:lnTo>
                    <a:pt x="6213" y="4938"/>
                  </a:lnTo>
                  <a:lnTo>
                    <a:pt x="6293" y="4956"/>
                  </a:lnTo>
                  <a:lnTo>
                    <a:pt x="6373" y="4973"/>
                  </a:lnTo>
                  <a:lnTo>
                    <a:pt x="6454" y="4990"/>
                  </a:lnTo>
                  <a:lnTo>
                    <a:pt x="6535" y="5005"/>
                  </a:lnTo>
                  <a:lnTo>
                    <a:pt x="6615" y="5020"/>
                  </a:lnTo>
                  <a:lnTo>
                    <a:pt x="6697" y="5035"/>
                  </a:lnTo>
                  <a:lnTo>
                    <a:pt x="6778" y="5048"/>
                  </a:lnTo>
                  <a:lnTo>
                    <a:pt x="6860" y="5061"/>
                  </a:lnTo>
                  <a:lnTo>
                    <a:pt x="6942" y="5073"/>
                  </a:lnTo>
                  <a:lnTo>
                    <a:pt x="7024" y="5084"/>
                  </a:lnTo>
                  <a:lnTo>
                    <a:pt x="7106" y="5095"/>
                  </a:lnTo>
                  <a:lnTo>
                    <a:pt x="7189" y="5105"/>
                  </a:lnTo>
                  <a:lnTo>
                    <a:pt x="7273" y="5114"/>
                  </a:lnTo>
                  <a:lnTo>
                    <a:pt x="7356" y="5122"/>
                  </a:lnTo>
                  <a:lnTo>
                    <a:pt x="7439" y="5131"/>
                  </a:lnTo>
                  <a:lnTo>
                    <a:pt x="7523" y="5137"/>
                  </a:lnTo>
                  <a:lnTo>
                    <a:pt x="7607" y="5143"/>
                  </a:lnTo>
                  <a:lnTo>
                    <a:pt x="7691" y="5149"/>
                  </a:lnTo>
                  <a:lnTo>
                    <a:pt x="7775" y="5153"/>
                  </a:lnTo>
                  <a:lnTo>
                    <a:pt x="7860" y="5157"/>
                  </a:lnTo>
                  <a:lnTo>
                    <a:pt x="7945" y="5160"/>
                  </a:lnTo>
                  <a:lnTo>
                    <a:pt x="7945" y="7759"/>
                  </a:lnTo>
                  <a:lnTo>
                    <a:pt x="4779" y="7759"/>
                  </a:lnTo>
                  <a:lnTo>
                    <a:pt x="4782" y="7658"/>
                  </a:lnTo>
                  <a:lnTo>
                    <a:pt x="4786" y="7557"/>
                  </a:lnTo>
                  <a:lnTo>
                    <a:pt x="4791" y="7456"/>
                  </a:lnTo>
                  <a:lnTo>
                    <a:pt x="4797" y="7356"/>
                  </a:lnTo>
                  <a:lnTo>
                    <a:pt x="4805" y="7255"/>
                  </a:lnTo>
                  <a:lnTo>
                    <a:pt x="4812" y="7155"/>
                  </a:lnTo>
                  <a:lnTo>
                    <a:pt x="4821" y="7056"/>
                  </a:lnTo>
                  <a:lnTo>
                    <a:pt x="4831" y="6957"/>
                  </a:lnTo>
                  <a:lnTo>
                    <a:pt x="4843" y="6857"/>
                  </a:lnTo>
                  <a:lnTo>
                    <a:pt x="4854" y="6759"/>
                  </a:lnTo>
                  <a:lnTo>
                    <a:pt x="4867" y="6661"/>
                  </a:lnTo>
                  <a:lnTo>
                    <a:pt x="4881" y="6563"/>
                  </a:lnTo>
                  <a:lnTo>
                    <a:pt x="4896" y="6466"/>
                  </a:lnTo>
                  <a:lnTo>
                    <a:pt x="4911" y="6368"/>
                  </a:lnTo>
                  <a:lnTo>
                    <a:pt x="4928" y="6272"/>
                  </a:lnTo>
                  <a:lnTo>
                    <a:pt x="4945" y="6176"/>
                  </a:lnTo>
                  <a:lnTo>
                    <a:pt x="4964" y="6080"/>
                  </a:lnTo>
                  <a:lnTo>
                    <a:pt x="4983" y="5984"/>
                  </a:lnTo>
                  <a:lnTo>
                    <a:pt x="5004" y="5889"/>
                  </a:lnTo>
                  <a:lnTo>
                    <a:pt x="5025" y="5795"/>
                  </a:lnTo>
                  <a:lnTo>
                    <a:pt x="5048" y="5701"/>
                  </a:lnTo>
                  <a:lnTo>
                    <a:pt x="5070" y="5607"/>
                  </a:lnTo>
                  <a:lnTo>
                    <a:pt x="5095" y="5513"/>
                  </a:lnTo>
                  <a:lnTo>
                    <a:pt x="5120" y="5420"/>
                  </a:lnTo>
                  <a:lnTo>
                    <a:pt x="5145" y="5328"/>
                  </a:lnTo>
                  <a:lnTo>
                    <a:pt x="5172" y="5236"/>
                  </a:lnTo>
                  <a:lnTo>
                    <a:pt x="5201" y="5145"/>
                  </a:lnTo>
                  <a:lnTo>
                    <a:pt x="5228" y="5053"/>
                  </a:lnTo>
                  <a:lnTo>
                    <a:pt x="5258" y="4963"/>
                  </a:lnTo>
                  <a:lnTo>
                    <a:pt x="5289" y="4873"/>
                  </a:lnTo>
                  <a:lnTo>
                    <a:pt x="5321" y="4784"/>
                  </a:lnTo>
                  <a:lnTo>
                    <a:pt x="5353" y="4695"/>
                  </a:lnTo>
                  <a:close/>
                  <a:moveTo>
                    <a:pt x="5056" y="4040"/>
                  </a:moveTo>
                  <a:lnTo>
                    <a:pt x="4994" y="4015"/>
                  </a:lnTo>
                  <a:lnTo>
                    <a:pt x="4934" y="3989"/>
                  </a:lnTo>
                  <a:lnTo>
                    <a:pt x="4873" y="3963"/>
                  </a:lnTo>
                  <a:lnTo>
                    <a:pt x="4813" y="3936"/>
                  </a:lnTo>
                  <a:lnTo>
                    <a:pt x="4753" y="3909"/>
                  </a:lnTo>
                  <a:lnTo>
                    <a:pt x="4693" y="3882"/>
                  </a:lnTo>
                  <a:lnTo>
                    <a:pt x="4633" y="3854"/>
                  </a:lnTo>
                  <a:lnTo>
                    <a:pt x="4575" y="3825"/>
                  </a:lnTo>
                  <a:lnTo>
                    <a:pt x="4515" y="3796"/>
                  </a:lnTo>
                  <a:lnTo>
                    <a:pt x="4457" y="3766"/>
                  </a:lnTo>
                  <a:lnTo>
                    <a:pt x="4398" y="3736"/>
                  </a:lnTo>
                  <a:lnTo>
                    <a:pt x="4341" y="3705"/>
                  </a:lnTo>
                  <a:lnTo>
                    <a:pt x="4282" y="3674"/>
                  </a:lnTo>
                  <a:lnTo>
                    <a:pt x="4225" y="3643"/>
                  </a:lnTo>
                  <a:lnTo>
                    <a:pt x="4168" y="3611"/>
                  </a:lnTo>
                  <a:lnTo>
                    <a:pt x="4111" y="3579"/>
                  </a:lnTo>
                  <a:lnTo>
                    <a:pt x="3998" y="3513"/>
                  </a:lnTo>
                  <a:lnTo>
                    <a:pt x="3886" y="3446"/>
                  </a:lnTo>
                  <a:lnTo>
                    <a:pt x="3776" y="3377"/>
                  </a:lnTo>
                  <a:lnTo>
                    <a:pt x="3667" y="3305"/>
                  </a:lnTo>
                  <a:lnTo>
                    <a:pt x="3559" y="3233"/>
                  </a:lnTo>
                  <a:lnTo>
                    <a:pt x="3451" y="3159"/>
                  </a:lnTo>
                  <a:lnTo>
                    <a:pt x="3345" y="3084"/>
                  </a:lnTo>
                  <a:lnTo>
                    <a:pt x="3241" y="3007"/>
                  </a:lnTo>
                  <a:lnTo>
                    <a:pt x="3337" y="2917"/>
                  </a:lnTo>
                  <a:lnTo>
                    <a:pt x="3436" y="2829"/>
                  </a:lnTo>
                  <a:lnTo>
                    <a:pt x="3535" y="2743"/>
                  </a:lnTo>
                  <a:lnTo>
                    <a:pt x="3637" y="2659"/>
                  </a:lnTo>
                  <a:lnTo>
                    <a:pt x="3740" y="2576"/>
                  </a:lnTo>
                  <a:lnTo>
                    <a:pt x="3845" y="2496"/>
                  </a:lnTo>
                  <a:lnTo>
                    <a:pt x="3951" y="2417"/>
                  </a:lnTo>
                  <a:lnTo>
                    <a:pt x="4059" y="2340"/>
                  </a:lnTo>
                  <a:lnTo>
                    <a:pt x="4168" y="2266"/>
                  </a:lnTo>
                  <a:lnTo>
                    <a:pt x="4279" y="2193"/>
                  </a:lnTo>
                  <a:lnTo>
                    <a:pt x="4391" y="2122"/>
                  </a:lnTo>
                  <a:lnTo>
                    <a:pt x="4505" y="2054"/>
                  </a:lnTo>
                  <a:lnTo>
                    <a:pt x="4620" y="1986"/>
                  </a:lnTo>
                  <a:lnTo>
                    <a:pt x="4736" y="1921"/>
                  </a:lnTo>
                  <a:lnTo>
                    <a:pt x="4854" y="1859"/>
                  </a:lnTo>
                  <a:lnTo>
                    <a:pt x="4973" y="1799"/>
                  </a:lnTo>
                  <a:lnTo>
                    <a:pt x="5093" y="1740"/>
                  </a:lnTo>
                  <a:lnTo>
                    <a:pt x="5215" y="1684"/>
                  </a:lnTo>
                  <a:lnTo>
                    <a:pt x="5338" y="1630"/>
                  </a:lnTo>
                  <a:lnTo>
                    <a:pt x="5461" y="1579"/>
                  </a:lnTo>
                  <a:lnTo>
                    <a:pt x="5587" y="1528"/>
                  </a:lnTo>
                  <a:lnTo>
                    <a:pt x="5714" y="1481"/>
                  </a:lnTo>
                  <a:lnTo>
                    <a:pt x="5841" y="1436"/>
                  </a:lnTo>
                  <a:lnTo>
                    <a:pt x="5969" y="1393"/>
                  </a:lnTo>
                  <a:lnTo>
                    <a:pt x="6100" y="1353"/>
                  </a:lnTo>
                  <a:lnTo>
                    <a:pt x="6230" y="1315"/>
                  </a:lnTo>
                  <a:lnTo>
                    <a:pt x="6362" y="1279"/>
                  </a:lnTo>
                  <a:lnTo>
                    <a:pt x="6495" y="1246"/>
                  </a:lnTo>
                  <a:lnTo>
                    <a:pt x="6628" y="1215"/>
                  </a:lnTo>
                  <a:lnTo>
                    <a:pt x="6764" y="1187"/>
                  </a:lnTo>
                  <a:lnTo>
                    <a:pt x="6899" y="1161"/>
                  </a:lnTo>
                  <a:lnTo>
                    <a:pt x="7036" y="1137"/>
                  </a:lnTo>
                  <a:lnTo>
                    <a:pt x="6960" y="1213"/>
                  </a:lnTo>
                  <a:lnTo>
                    <a:pt x="6884" y="1289"/>
                  </a:lnTo>
                  <a:lnTo>
                    <a:pt x="6809" y="1367"/>
                  </a:lnTo>
                  <a:lnTo>
                    <a:pt x="6735" y="1446"/>
                  </a:lnTo>
                  <a:lnTo>
                    <a:pt x="6662" y="1525"/>
                  </a:lnTo>
                  <a:lnTo>
                    <a:pt x="6589" y="1607"/>
                  </a:lnTo>
                  <a:lnTo>
                    <a:pt x="6518" y="1689"/>
                  </a:lnTo>
                  <a:lnTo>
                    <a:pt x="6448" y="1771"/>
                  </a:lnTo>
                  <a:lnTo>
                    <a:pt x="6379" y="1855"/>
                  </a:lnTo>
                  <a:lnTo>
                    <a:pt x="6310" y="1940"/>
                  </a:lnTo>
                  <a:lnTo>
                    <a:pt x="6242" y="2027"/>
                  </a:lnTo>
                  <a:lnTo>
                    <a:pt x="6176" y="2113"/>
                  </a:lnTo>
                  <a:lnTo>
                    <a:pt x="6110" y="2201"/>
                  </a:lnTo>
                  <a:lnTo>
                    <a:pt x="6045" y="2290"/>
                  </a:lnTo>
                  <a:lnTo>
                    <a:pt x="5982" y="2379"/>
                  </a:lnTo>
                  <a:lnTo>
                    <a:pt x="5919" y="2471"/>
                  </a:lnTo>
                  <a:lnTo>
                    <a:pt x="5857" y="2562"/>
                  </a:lnTo>
                  <a:lnTo>
                    <a:pt x="5797" y="2654"/>
                  </a:lnTo>
                  <a:lnTo>
                    <a:pt x="5736" y="2748"/>
                  </a:lnTo>
                  <a:lnTo>
                    <a:pt x="5678" y="2842"/>
                  </a:lnTo>
                  <a:lnTo>
                    <a:pt x="5620" y="2938"/>
                  </a:lnTo>
                  <a:lnTo>
                    <a:pt x="5564" y="3034"/>
                  </a:lnTo>
                  <a:lnTo>
                    <a:pt x="5508" y="3130"/>
                  </a:lnTo>
                  <a:lnTo>
                    <a:pt x="5453" y="3228"/>
                  </a:lnTo>
                  <a:lnTo>
                    <a:pt x="5400" y="3326"/>
                  </a:lnTo>
                  <a:lnTo>
                    <a:pt x="5347" y="3427"/>
                  </a:lnTo>
                  <a:lnTo>
                    <a:pt x="5296" y="3527"/>
                  </a:lnTo>
                  <a:lnTo>
                    <a:pt x="5246" y="3628"/>
                  </a:lnTo>
                  <a:lnTo>
                    <a:pt x="5197" y="3729"/>
                  </a:lnTo>
                  <a:lnTo>
                    <a:pt x="5148" y="3833"/>
                  </a:lnTo>
                  <a:lnTo>
                    <a:pt x="5102" y="3936"/>
                  </a:lnTo>
                  <a:lnTo>
                    <a:pt x="5056" y="4040"/>
                  </a:lnTo>
                  <a:close/>
                  <a:moveTo>
                    <a:pt x="7945" y="1047"/>
                  </a:moveTo>
                  <a:lnTo>
                    <a:pt x="7945" y="4642"/>
                  </a:lnTo>
                  <a:lnTo>
                    <a:pt x="7867" y="4639"/>
                  </a:lnTo>
                  <a:lnTo>
                    <a:pt x="7789" y="4635"/>
                  </a:lnTo>
                  <a:lnTo>
                    <a:pt x="7711" y="4631"/>
                  </a:lnTo>
                  <a:lnTo>
                    <a:pt x="7633" y="4626"/>
                  </a:lnTo>
                  <a:lnTo>
                    <a:pt x="7556" y="4621"/>
                  </a:lnTo>
                  <a:lnTo>
                    <a:pt x="7478" y="4614"/>
                  </a:lnTo>
                  <a:lnTo>
                    <a:pt x="7401" y="4607"/>
                  </a:lnTo>
                  <a:lnTo>
                    <a:pt x="7325" y="4600"/>
                  </a:lnTo>
                  <a:lnTo>
                    <a:pt x="7248" y="4591"/>
                  </a:lnTo>
                  <a:lnTo>
                    <a:pt x="7172" y="4582"/>
                  </a:lnTo>
                  <a:lnTo>
                    <a:pt x="7095" y="4573"/>
                  </a:lnTo>
                  <a:lnTo>
                    <a:pt x="7020" y="4562"/>
                  </a:lnTo>
                  <a:lnTo>
                    <a:pt x="6944" y="4551"/>
                  </a:lnTo>
                  <a:lnTo>
                    <a:pt x="6868" y="4540"/>
                  </a:lnTo>
                  <a:lnTo>
                    <a:pt x="6793" y="4527"/>
                  </a:lnTo>
                  <a:lnTo>
                    <a:pt x="6718" y="4514"/>
                  </a:lnTo>
                  <a:lnTo>
                    <a:pt x="6644" y="4501"/>
                  </a:lnTo>
                  <a:lnTo>
                    <a:pt x="6569" y="4486"/>
                  </a:lnTo>
                  <a:lnTo>
                    <a:pt x="6495" y="4471"/>
                  </a:lnTo>
                  <a:lnTo>
                    <a:pt x="6421" y="4456"/>
                  </a:lnTo>
                  <a:lnTo>
                    <a:pt x="6347" y="4439"/>
                  </a:lnTo>
                  <a:lnTo>
                    <a:pt x="6273" y="4423"/>
                  </a:lnTo>
                  <a:lnTo>
                    <a:pt x="6200" y="4405"/>
                  </a:lnTo>
                  <a:lnTo>
                    <a:pt x="6127" y="4387"/>
                  </a:lnTo>
                  <a:lnTo>
                    <a:pt x="6055" y="4368"/>
                  </a:lnTo>
                  <a:lnTo>
                    <a:pt x="5982" y="4348"/>
                  </a:lnTo>
                  <a:lnTo>
                    <a:pt x="5910" y="4328"/>
                  </a:lnTo>
                  <a:lnTo>
                    <a:pt x="5838" y="4308"/>
                  </a:lnTo>
                  <a:lnTo>
                    <a:pt x="5766" y="4286"/>
                  </a:lnTo>
                  <a:lnTo>
                    <a:pt x="5694" y="4264"/>
                  </a:lnTo>
                  <a:lnTo>
                    <a:pt x="5624" y="4242"/>
                  </a:lnTo>
                  <a:lnTo>
                    <a:pt x="5553" y="4217"/>
                  </a:lnTo>
                  <a:lnTo>
                    <a:pt x="5605" y="4099"/>
                  </a:lnTo>
                  <a:lnTo>
                    <a:pt x="5658" y="3982"/>
                  </a:lnTo>
                  <a:lnTo>
                    <a:pt x="5714" y="3866"/>
                  </a:lnTo>
                  <a:lnTo>
                    <a:pt x="5771" y="3750"/>
                  </a:lnTo>
                  <a:lnTo>
                    <a:pt x="5830" y="3637"/>
                  </a:lnTo>
                  <a:lnTo>
                    <a:pt x="5889" y="3524"/>
                  </a:lnTo>
                  <a:lnTo>
                    <a:pt x="5951" y="3412"/>
                  </a:lnTo>
                  <a:lnTo>
                    <a:pt x="6014" y="3301"/>
                  </a:lnTo>
                  <a:lnTo>
                    <a:pt x="6078" y="3192"/>
                  </a:lnTo>
                  <a:lnTo>
                    <a:pt x="6144" y="3084"/>
                  </a:lnTo>
                  <a:lnTo>
                    <a:pt x="6212" y="2978"/>
                  </a:lnTo>
                  <a:lnTo>
                    <a:pt x="6279" y="2871"/>
                  </a:lnTo>
                  <a:lnTo>
                    <a:pt x="6349" y="2767"/>
                  </a:lnTo>
                  <a:lnTo>
                    <a:pt x="6421" y="2664"/>
                  </a:lnTo>
                  <a:lnTo>
                    <a:pt x="6494" y="2563"/>
                  </a:lnTo>
                  <a:lnTo>
                    <a:pt x="6568" y="2463"/>
                  </a:lnTo>
                  <a:lnTo>
                    <a:pt x="6643" y="2363"/>
                  </a:lnTo>
                  <a:lnTo>
                    <a:pt x="6718" y="2265"/>
                  </a:lnTo>
                  <a:lnTo>
                    <a:pt x="6796" y="2169"/>
                  </a:lnTo>
                  <a:lnTo>
                    <a:pt x="6875" y="2074"/>
                  </a:lnTo>
                  <a:lnTo>
                    <a:pt x="6955" y="1980"/>
                  </a:lnTo>
                  <a:lnTo>
                    <a:pt x="7038" y="1888"/>
                  </a:lnTo>
                  <a:lnTo>
                    <a:pt x="7121" y="1798"/>
                  </a:lnTo>
                  <a:lnTo>
                    <a:pt x="7204" y="1709"/>
                  </a:lnTo>
                  <a:lnTo>
                    <a:pt x="7289" y="1621"/>
                  </a:lnTo>
                  <a:lnTo>
                    <a:pt x="7375" y="1534"/>
                  </a:lnTo>
                  <a:lnTo>
                    <a:pt x="7463" y="1449"/>
                  </a:lnTo>
                  <a:lnTo>
                    <a:pt x="7552" y="1366"/>
                  </a:lnTo>
                  <a:lnTo>
                    <a:pt x="7642" y="1285"/>
                  </a:lnTo>
                  <a:lnTo>
                    <a:pt x="7732" y="1205"/>
                  </a:lnTo>
                  <a:lnTo>
                    <a:pt x="7825" y="1126"/>
                  </a:lnTo>
                  <a:lnTo>
                    <a:pt x="7918" y="1049"/>
                  </a:lnTo>
                  <a:lnTo>
                    <a:pt x="7931" y="1048"/>
                  </a:lnTo>
                  <a:lnTo>
                    <a:pt x="7945" y="1047"/>
                  </a:lnTo>
                  <a:close/>
                  <a:moveTo>
                    <a:pt x="9383" y="1137"/>
                  </a:moveTo>
                  <a:lnTo>
                    <a:pt x="9520" y="1161"/>
                  </a:lnTo>
                  <a:lnTo>
                    <a:pt x="9656" y="1187"/>
                  </a:lnTo>
                  <a:lnTo>
                    <a:pt x="9791" y="1215"/>
                  </a:lnTo>
                  <a:lnTo>
                    <a:pt x="9924" y="1246"/>
                  </a:lnTo>
                  <a:lnTo>
                    <a:pt x="10058" y="1279"/>
                  </a:lnTo>
                  <a:lnTo>
                    <a:pt x="10189" y="1315"/>
                  </a:lnTo>
                  <a:lnTo>
                    <a:pt x="10320" y="1353"/>
                  </a:lnTo>
                  <a:lnTo>
                    <a:pt x="10450" y="1393"/>
                  </a:lnTo>
                  <a:lnTo>
                    <a:pt x="10578" y="1436"/>
                  </a:lnTo>
                  <a:lnTo>
                    <a:pt x="10706" y="1481"/>
                  </a:lnTo>
                  <a:lnTo>
                    <a:pt x="10832" y="1528"/>
                  </a:lnTo>
                  <a:lnTo>
                    <a:pt x="10958" y="1579"/>
                  </a:lnTo>
                  <a:lnTo>
                    <a:pt x="11082" y="1630"/>
                  </a:lnTo>
                  <a:lnTo>
                    <a:pt x="11205" y="1684"/>
                  </a:lnTo>
                  <a:lnTo>
                    <a:pt x="11326" y="1740"/>
                  </a:lnTo>
                  <a:lnTo>
                    <a:pt x="11446" y="1799"/>
                  </a:lnTo>
                  <a:lnTo>
                    <a:pt x="11565" y="1859"/>
                  </a:lnTo>
                  <a:lnTo>
                    <a:pt x="11683" y="1921"/>
                  </a:lnTo>
                  <a:lnTo>
                    <a:pt x="11799" y="1986"/>
                  </a:lnTo>
                  <a:lnTo>
                    <a:pt x="11914" y="2054"/>
                  </a:lnTo>
                  <a:lnTo>
                    <a:pt x="12028" y="2122"/>
                  </a:lnTo>
                  <a:lnTo>
                    <a:pt x="12140" y="2193"/>
                  </a:lnTo>
                  <a:lnTo>
                    <a:pt x="12251" y="2266"/>
                  </a:lnTo>
                  <a:lnTo>
                    <a:pt x="12360" y="2340"/>
                  </a:lnTo>
                  <a:lnTo>
                    <a:pt x="12468" y="2417"/>
                  </a:lnTo>
                  <a:lnTo>
                    <a:pt x="12574" y="2496"/>
                  </a:lnTo>
                  <a:lnTo>
                    <a:pt x="12679" y="2576"/>
                  </a:lnTo>
                  <a:lnTo>
                    <a:pt x="12782" y="2659"/>
                  </a:lnTo>
                  <a:lnTo>
                    <a:pt x="12884" y="2743"/>
                  </a:lnTo>
                  <a:lnTo>
                    <a:pt x="12983" y="2829"/>
                  </a:lnTo>
                  <a:lnTo>
                    <a:pt x="13082" y="2917"/>
                  </a:lnTo>
                  <a:lnTo>
                    <a:pt x="13178" y="3007"/>
                  </a:lnTo>
                  <a:lnTo>
                    <a:pt x="13074" y="3084"/>
                  </a:lnTo>
                  <a:lnTo>
                    <a:pt x="12968" y="3159"/>
                  </a:lnTo>
                  <a:lnTo>
                    <a:pt x="12861" y="3233"/>
                  </a:lnTo>
                  <a:lnTo>
                    <a:pt x="12752" y="3305"/>
                  </a:lnTo>
                  <a:lnTo>
                    <a:pt x="12644" y="3377"/>
                  </a:lnTo>
                  <a:lnTo>
                    <a:pt x="12533" y="3446"/>
                  </a:lnTo>
                  <a:lnTo>
                    <a:pt x="12421" y="3513"/>
                  </a:lnTo>
                  <a:lnTo>
                    <a:pt x="12308" y="3579"/>
                  </a:lnTo>
                  <a:lnTo>
                    <a:pt x="12252" y="3611"/>
                  </a:lnTo>
                  <a:lnTo>
                    <a:pt x="12194" y="3643"/>
                  </a:lnTo>
                  <a:lnTo>
                    <a:pt x="12137" y="3674"/>
                  </a:lnTo>
                  <a:lnTo>
                    <a:pt x="12078" y="3705"/>
                  </a:lnTo>
                  <a:lnTo>
                    <a:pt x="12021" y="3736"/>
                  </a:lnTo>
                  <a:lnTo>
                    <a:pt x="11962" y="3766"/>
                  </a:lnTo>
                  <a:lnTo>
                    <a:pt x="11904" y="3796"/>
                  </a:lnTo>
                  <a:lnTo>
                    <a:pt x="11844" y="3825"/>
                  </a:lnTo>
                  <a:lnTo>
                    <a:pt x="11786" y="3854"/>
                  </a:lnTo>
                  <a:lnTo>
                    <a:pt x="11726" y="3882"/>
                  </a:lnTo>
                  <a:lnTo>
                    <a:pt x="11667" y="3909"/>
                  </a:lnTo>
                  <a:lnTo>
                    <a:pt x="11606" y="3936"/>
                  </a:lnTo>
                  <a:lnTo>
                    <a:pt x="11546" y="3963"/>
                  </a:lnTo>
                  <a:lnTo>
                    <a:pt x="11485" y="3989"/>
                  </a:lnTo>
                  <a:lnTo>
                    <a:pt x="11425" y="4015"/>
                  </a:lnTo>
                  <a:lnTo>
                    <a:pt x="11363" y="4040"/>
                  </a:lnTo>
                  <a:lnTo>
                    <a:pt x="11317" y="3936"/>
                  </a:lnTo>
                  <a:lnTo>
                    <a:pt x="11271" y="3833"/>
                  </a:lnTo>
                  <a:lnTo>
                    <a:pt x="11222" y="3729"/>
                  </a:lnTo>
                  <a:lnTo>
                    <a:pt x="11173" y="3628"/>
                  </a:lnTo>
                  <a:lnTo>
                    <a:pt x="11123" y="3527"/>
                  </a:lnTo>
                  <a:lnTo>
                    <a:pt x="11072" y="3427"/>
                  </a:lnTo>
                  <a:lnTo>
                    <a:pt x="11019" y="3326"/>
                  </a:lnTo>
                  <a:lnTo>
                    <a:pt x="10966" y="3228"/>
                  </a:lnTo>
                  <a:lnTo>
                    <a:pt x="10911" y="3130"/>
                  </a:lnTo>
                  <a:lnTo>
                    <a:pt x="10855" y="3034"/>
                  </a:lnTo>
                  <a:lnTo>
                    <a:pt x="10799" y="2938"/>
                  </a:lnTo>
                  <a:lnTo>
                    <a:pt x="10741" y="2842"/>
                  </a:lnTo>
                  <a:lnTo>
                    <a:pt x="10683" y="2748"/>
                  </a:lnTo>
                  <a:lnTo>
                    <a:pt x="10623" y="2654"/>
                  </a:lnTo>
                  <a:lnTo>
                    <a:pt x="10562" y="2562"/>
                  </a:lnTo>
                  <a:lnTo>
                    <a:pt x="10500" y="2471"/>
                  </a:lnTo>
                  <a:lnTo>
                    <a:pt x="10437" y="2379"/>
                  </a:lnTo>
                  <a:lnTo>
                    <a:pt x="10374" y="2290"/>
                  </a:lnTo>
                  <a:lnTo>
                    <a:pt x="10309" y="2201"/>
                  </a:lnTo>
                  <a:lnTo>
                    <a:pt x="10243" y="2113"/>
                  </a:lnTo>
                  <a:lnTo>
                    <a:pt x="10177" y="2027"/>
                  </a:lnTo>
                  <a:lnTo>
                    <a:pt x="10109" y="1940"/>
                  </a:lnTo>
                  <a:lnTo>
                    <a:pt x="10041" y="1855"/>
                  </a:lnTo>
                  <a:lnTo>
                    <a:pt x="9971" y="1771"/>
                  </a:lnTo>
                  <a:lnTo>
                    <a:pt x="9901" y="1689"/>
                  </a:lnTo>
                  <a:lnTo>
                    <a:pt x="9830" y="1607"/>
                  </a:lnTo>
                  <a:lnTo>
                    <a:pt x="9758" y="1525"/>
                  </a:lnTo>
                  <a:lnTo>
                    <a:pt x="9685" y="1446"/>
                  </a:lnTo>
                  <a:lnTo>
                    <a:pt x="9610" y="1367"/>
                  </a:lnTo>
                  <a:lnTo>
                    <a:pt x="9536" y="1289"/>
                  </a:lnTo>
                  <a:lnTo>
                    <a:pt x="9460" y="1213"/>
                  </a:lnTo>
                  <a:lnTo>
                    <a:pt x="9383" y="1137"/>
                  </a:lnTo>
                  <a:close/>
                  <a:moveTo>
                    <a:pt x="8502" y="1049"/>
                  </a:moveTo>
                  <a:lnTo>
                    <a:pt x="8595" y="1126"/>
                  </a:lnTo>
                  <a:lnTo>
                    <a:pt x="8687" y="1205"/>
                  </a:lnTo>
                  <a:lnTo>
                    <a:pt x="8778" y="1285"/>
                  </a:lnTo>
                  <a:lnTo>
                    <a:pt x="8867" y="1366"/>
                  </a:lnTo>
                  <a:lnTo>
                    <a:pt x="8957" y="1449"/>
                  </a:lnTo>
                  <a:lnTo>
                    <a:pt x="9044" y="1534"/>
                  </a:lnTo>
                  <a:lnTo>
                    <a:pt x="9130" y="1621"/>
                  </a:lnTo>
                  <a:lnTo>
                    <a:pt x="9215" y="1709"/>
                  </a:lnTo>
                  <a:lnTo>
                    <a:pt x="9299" y="1798"/>
                  </a:lnTo>
                  <a:lnTo>
                    <a:pt x="9382" y="1888"/>
                  </a:lnTo>
                  <a:lnTo>
                    <a:pt x="9464" y="1980"/>
                  </a:lnTo>
                  <a:lnTo>
                    <a:pt x="9544" y="2074"/>
                  </a:lnTo>
                  <a:lnTo>
                    <a:pt x="9623" y="2169"/>
                  </a:lnTo>
                  <a:lnTo>
                    <a:pt x="9701" y="2265"/>
                  </a:lnTo>
                  <a:lnTo>
                    <a:pt x="9778" y="2363"/>
                  </a:lnTo>
                  <a:lnTo>
                    <a:pt x="9852" y="2463"/>
                  </a:lnTo>
                  <a:lnTo>
                    <a:pt x="9926" y="2563"/>
                  </a:lnTo>
                  <a:lnTo>
                    <a:pt x="9999" y="2664"/>
                  </a:lnTo>
                  <a:lnTo>
                    <a:pt x="10070" y="2767"/>
                  </a:lnTo>
                  <a:lnTo>
                    <a:pt x="10140" y="2871"/>
                  </a:lnTo>
                  <a:lnTo>
                    <a:pt x="10209" y="2978"/>
                  </a:lnTo>
                  <a:lnTo>
                    <a:pt x="10275" y="3084"/>
                  </a:lnTo>
                  <a:lnTo>
                    <a:pt x="10341" y="3192"/>
                  </a:lnTo>
                  <a:lnTo>
                    <a:pt x="10406" y="3301"/>
                  </a:lnTo>
                  <a:lnTo>
                    <a:pt x="10468" y="3412"/>
                  </a:lnTo>
                  <a:lnTo>
                    <a:pt x="10530" y="3524"/>
                  </a:lnTo>
                  <a:lnTo>
                    <a:pt x="10589" y="3637"/>
                  </a:lnTo>
                  <a:lnTo>
                    <a:pt x="10648" y="3750"/>
                  </a:lnTo>
                  <a:lnTo>
                    <a:pt x="10705" y="3866"/>
                  </a:lnTo>
                  <a:lnTo>
                    <a:pt x="10761" y="3982"/>
                  </a:lnTo>
                  <a:lnTo>
                    <a:pt x="10815" y="4099"/>
                  </a:lnTo>
                  <a:lnTo>
                    <a:pt x="10867" y="4217"/>
                  </a:lnTo>
                  <a:lnTo>
                    <a:pt x="10797" y="4242"/>
                  </a:lnTo>
                  <a:lnTo>
                    <a:pt x="10725" y="4264"/>
                  </a:lnTo>
                  <a:lnTo>
                    <a:pt x="10654" y="4286"/>
                  </a:lnTo>
                  <a:lnTo>
                    <a:pt x="10582" y="4308"/>
                  </a:lnTo>
                  <a:lnTo>
                    <a:pt x="10510" y="4328"/>
                  </a:lnTo>
                  <a:lnTo>
                    <a:pt x="10437" y="4348"/>
                  </a:lnTo>
                  <a:lnTo>
                    <a:pt x="10366" y="4368"/>
                  </a:lnTo>
                  <a:lnTo>
                    <a:pt x="10293" y="4387"/>
                  </a:lnTo>
                  <a:lnTo>
                    <a:pt x="10219" y="4405"/>
                  </a:lnTo>
                  <a:lnTo>
                    <a:pt x="10146" y="4423"/>
                  </a:lnTo>
                  <a:lnTo>
                    <a:pt x="10072" y="4439"/>
                  </a:lnTo>
                  <a:lnTo>
                    <a:pt x="9998" y="4456"/>
                  </a:lnTo>
                  <a:lnTo>
                    <a:pt x="9924" y="4471"/>
                  </a:lnTo>
                  <a:lnTo>
                    <a:pt x="9850" y="4486"/>
                  </a:lnTo>
                  <a:lnTo>
                    <a:pt x="9775" y="4501"/>
                  </a:lnTo>
                  <a:lnTo>
                    <a:pt x="9701" y="4514"/>
                  </a:lnTo>
                  <a:lnTo>
                    <a:pt x="9626" y="4527"/>
                  </a:lnTo>
                  <a:lnTo>
                    <a:pt x="9551" y="4540"/>
                  </a:lnTo>
                  <a:lnTo>
                    <a:pt x="9475" y="4551"/>
                  </a:lnTo>
                  <a:lnTo>
                    <a:pt x="9400" y="4562"/>
                  </a:lnTo>
                  <a:lnTo>
                    <a:pt x="9324" y="4573"/>
                  </a:lnTo>
                  <a:lnTo>
                    <a:pt x="9247" y="4582"/>
                  </a:lnTo>
                  <a:lnTo>
                    <a:pt x="9171" y="4591"/>
                  </a:lnTo>
                  <a:lnTo>
                    <a:pt x="9094" y="4600"/>
                  </a:lnTo>
                  <a:lnTo>
                    <a:pt x="9018" y="4607"/>
                  </a:lnTo>
                  <a:lnTo>
                    <a:pt x="8940" y="4614"/>
                  </a:lnTo>
                  <a:lnTo>
                    <a:pt x="8863" y="4621"/>
                  </a:lnTo>
                  <a:lnTo>
                    <a:pt x="8786" y="4626"/>
                  </a:lnTo>
                  <a:lnTo>
                    <a:pt x="8708" y="4631"/>
                  </a:lnTo>
                  <a:lnTo>
                    <a:pt x="8630" y="4635"/>
                  </a:lnTo>
                  <a:lnTo>
                    <a:pt x="8552" y="4639"/>
                  </a:lnTo>
                  <a:lnTo>
                    <a:pt x="8474" y="4642"/>
                  </a:lnTo>
                  <a:lnTo>
                    <a:pt x="8474" y="1047"/>
                  </a:lnTo>
                  <a:lnTo>
                    <a:pt x="8489" y="1048"/>
                  </a:lnTo>
                  <a:lnTo>
                    <a:pt x="8502" y="1049"/>
                  </a:lnTo>
                  <a:close/>
                  <a:moveTo>
                    <a:pt x="7917" y="14987"/>
                  </a:moveTo>
                  <a:lnTo>
                    <a:pt x="7835" y="14918"/>
                  </a:lnTo>
                  <a:lnTo>
                    <a:pt x="7754" y="14850"/>
                  </a:lnTo>
                  <a:lnTo>
                    <a:pt x="7673" y="14779"/>
                  </a:lnTo>
                  <a:lnTo>
                    <a:pt x="7594" y="14708"/>
                  </a:lnTo>
                  <a:lnTo>
                    <a:pt x="7515" y="14636"/>
                  </a:lnTo>
                  <a:lnTo>
                    <a:pt x="7437" y="14562"/>
                  </a:lnTo>
                  <a:lnTo>
                    <a:pt x="7360" y="14487"/>
                  </a:lnTo>
                  <a:lnTo>
                    <a:pt x="7284" y="14410"/>
                  </a:lnTo>
                  <a:lnTo>
                    <a:pt x="7209" y="14333"/>
                  </a:lnTo>
                  <a:lnTo>
                    <a:pt x="7135" y="14255"/>
                  </a:lnTo>
                  <a:lnTo>
                    <a:pt x="7061" y="14175"/>
                  </a:lnTo>
                  <a:lnTo>
                    <a:pt x="6989" y="14095"/>
                  </a:lnTo>
                  <a:lnTo>
                    <a:pt x="6919" y="14012"/>
                  </a:lnTo>
                  <a:lnTo>
                    <a:pt x="6848" y="13930"/>
                  </a:lnTo>
                  <a:lnTo>
                    <a:pt x="6778" y="13846"/>
                  </a:lnTo>
                  <a:lnTo>
                    <a:pt x="6710" y="13761"/>
                  </a:lnTo>
                  <a:lnTo>
                    <a:pt x="6643" y="13675"/>
                  </a:lnTo>
                  <a:lnTo>
                    <a:pt x="6576" y="13588"/>
                  </a:lnTo>
                  <a:lnTo>
                    <a:pt x="6511" y="13499"/>
                  </a:lnTo>
                  <a:lnTo>
                    <a:pt x="6447" y="13410"/>
                  </a:lnTo>
                  <a:lnTo>
                    <a:pt x="6383" y="13319"/>
                  </a:lnTo>
                  <a:lnTo>
                    <a:pt x="6321" y="13228"/>
                  </a:lnTo>
                  <a:lnTo>
                    <a:pt x="6260" y="13135"/>
                  </a:lnTo>
                  <a:lnTo>
                    <a:pt x="6199" y="13042"/>
                  </a:lnTo>
                  <a:lnTo>
                    <a:pt x="6141" y="12948"/>
                  </a:lnTo>
                  <a:lnTo>
                    <a:pt x="6082" y="12853"/>
                  </a:lnTo>
                  <a:lnTo>
                    <a:pt x="6026" y="12757"/>
                  </a:lnTo>
                  <a:lnTo>
                    <a:pt x="5969" y="12659"/>
                  </a:lnTo>
                  <a:lnTo>
                    <a:pt x="5915" y="12561"/>
                  </a:lnTo>
                  <a:lnTo>
                    <a:pt x="5862" y="12462"/>
                  </a:lnTo>
                  <a:lnTo>
                    <a:pt x="5809" y="12363"/>
                  </a:lnTo>
                  <a:lnTo>
                    <a:pt x="5758" y="12262"/>
                  </a:lnTo>
                  <a:lnTo>
                    <a:pt x="5823" y="12242"/>
                  </a:lnTo>
                  <a:lnTo>
                    <a:pt x="5888" y="12223"/>
                  </a:lnTo>
                  <a:lnTo>
                    <a:pt x="5954" y="12204"/>
                  </a:lnTo>
                  <a:lnTo>
                    <a:pt x="6020" y="12187"/>
                  </a:lnTo>
                  <a:lnTo>
                    <a:pt x="6086" y="12169"/>
                  </a:lnTo>
                  <a:lnTo>
                    <a:pt x="6152" y="12153"/>
                  </a:lnTo>
                  <a:lnTo>
                    <a:pt x="6219" y="12136"/>
                  </a:lnTo>
                  <a:lnTo>
                    <a:pt x="6285" y="12121"/>
                  </a:lnTo>
                  <a:lnTo>
                    <a:pt x="6352" y="12106"/>
                  </a:lnTo>
                  <a:lnTo>
                    <a:pt x="6420" y="12091"/>
                  </a:lnTo>
                  <a:lnTo>
                    <a:pt x="6487" y="12077"/>
                  </a:lnTo>
                  <a:lnTo>
                    <a:pt x="6554" y="12064"/>
                  </a:lnTo>
                  <a:lnTo>
                    <a:pt x="6622" y="12051"/>
                  </a:lnTo>
                  <a:lnTo>
                    <a:pt x="6691" y="12039"/>
                  </a:lnTo>
                  <a:lnTo>
                    <a:pt x="6758" y="12027"/>
                  </a:lnTo>
                  <a:lnTo>
                    <a:pt x="6827" y="12016"/>
                  </a:lnTo>
                  <a:lnTo>
                    <a:pt x="6895" y="12005"/>
                  </a:lnTo>
                  <a:lnTo>
                    <a:pt x="6964" y="11995"/>
                  </a:lnTo>
                  <a:lnTo>
                    <a:pt x="7033" y="11986"/>
                  </a:lnTo>
                  <a:lnTo>
                    <a:pt x="7102" y="11976"/>
                  </a:lnTo>
                  <a:lnTo>
                    <a:pt x="7171" y="11968"/>
                  </a:lnTo>
                  <a:lnTo>
                    <a:pt x="7241" y="11960"/>
                  </a:lnTo>
                  <a:lnTo>
                    <a:pt x="7311" y="11953"/>
                  </a:lnTo>
                  <a:lnTo>
                    <a:pt x="7380" y="11946"/>
                  </a:lnTo>
                  <a:lnTo>
                    <a:pt x="7450" y="11940"/>
                  </a:lnTo>
                  <a:lnTo>
                    <a:pt x="7521" y="11934"/>
                  </a:lnTo>
                  <a:lnTo>
                    <a:pt x="7591" y="11929"/>
                  </a:lnTo>
                  <a:lnTo>
                    <a:pt x="7662" y="11924"/>
                  </a:lnTo>
                  <a:lnTo>
                    <a:pt x="7732" y="11920"/>
                  </a:lnTo>
                  <a:lnTo>
                    <a:pt x="7803" y="11916"/>
                  </a:lnTo>
                  <a:lnTo>
                    <a:pt x="7874" y="11913"/>
                  </a:lnTo>
                  <a:lnTo>
                    <a:pt x="7945" y="11911"/>
                  </a:lnTo>
                  <a:lnTo>
                    <a:pt x="7945" y="14988"/>
                  </a:lnTo>
                  <a:lnTo>
                    <a:pt x="7917" y="14987"/>
                  </a:lnTo>
                  <a:close/>
                  <a:moveTo>
                    <a:pt x="15347" y="7759"/>
                  </a:moveTo>
                  <a:lnTo>
                    <a:pt x="12171" y="7759"/>
                  </a:lnTo>
                  <a:lnTo>
                    <a:pt x="12168" y="7652"/>
                  </a:lnTo>
                  <a:lnTo>
                    <a:pt x="12163" y="7545"/>
                  </a:lnTo>
                  <a:lnTo>
                    <a:pt x="12157" y="7439"/>
                  </a:lnTo>
                  <a:lnTo>
                    <a:pt x="12151" y="7332"/>
                  </a:lnTo>
                  <a:lnTo>
                    <a:pt x="12144" y="7226"/>
                  </a:lnTo>
                  <a:lnTo>
                    <a:pt x="12136" y="7120"/>
                  </a:lnTo>
                  <a:lnTo>
                    <a:pt x="12126" y="7015"/>
                  </a:lnTo>
                  <a:lnTo>
                    <a:pt x="12115" y="6911"/>
                  </a:lnTo>
                  <a:lnTo>
                    <a:pt x="12104" y="6805"/>
                  </a:lnTo>
                  <a:lnTo>
                    <a:pt x="12092" y="6701"/>
                  </a:lnTo>
                  <a:lnTo>
                    <a:pt x="12078" y="6598"/>
                  </a:lnTo>
                  <a:lnTo>
                    <a:pt x="12063" y="6494"/>
                  </a:lnTo>
                  <a:lnTo>
                    <a:pt x="12047" y="6391"/>
                  </a:lnTo>
                  <a:lnTo>
                    <a:pt x="12031" y="6288"/>
                  </a:lnTo>
                  <a:lnTo>
                    <a:pt x="12014" y="6186"/>
                  </a:lnTo>
                  <a:lnTo>
                    <a:pt x="11995" y="6084"/>
                  </a:lnTo>
                  <a:lnTo>
                    <a:pt x="11976" y="5982"/>
                  </a:lnTo>
                  <a:lnTo>
                    <a:pt x="11954" y="5881"/>
                  </a:lnTo>
                  <a:lnTo>
                    <a:pt x="11933" y="5781"/>
                  </a:lnTo>
                  <a:lnTo>
                    <a:pt x="11910" y="5681"/>
                  </a:lnTo>
                  <a:lnTo>
                    <a:pt x="11886" y="5582"/>
                  </a:lnTo>
                  <a:lnTo>
                    <a:pt x="11862" y="5482"/>
                  </a:lnTo>
                  <a:lnTo>
                    <a:pt x="11836" y="5383"/>
                  </a:lnTo>
                  <a:lnTo>
                    <a:pt x="11810" y="5285"/>
                  </a:lnTo>
                  <a:lnTo>
                    <a:pt x="11783" y="5188"/>
                  </a:lnTo>
                  <a:lnTo>
                    <a:pt x="11754" y="5090"/>
                  </a:lnTo>
                  <a:lnTo>
                    <a:pt x="11724" y="4993"/>
                  </a:lnTo>
                  <a:lnTo>
                    <a:pt x="11694" y="4897"/>
                  </a:lnTo>
                  <a:lnTo>
                    <a:pt x="11663" y="4801"/>
                  </a:lnTo>
                  <a:lnTo>
                    <a:pt x="11630" y="4706"/>
                  </a:lnTo>
                  <a:lnTo>
                    <a:pt x="11597" y="4611"/>
                  </a:lnTo>
                  <a:lnTo>
                    <a:pt x="11563" y="4517"/>
                  </a:lnTo>
                  <a:lnTo>
                    <a:pt x="11630" y="4489"/>
                  </a:lnTo>
                  <a:lnTo>
                    <a:pt x="11695" y="4461"/>
                  </a:lnTo>
                  <a:lnTo>
                    <a:pt x="11762" y="4432"/>
                  </a:lnTo>
                  <a:lnTo>
                    <a:pt x="11828" y="4403"/>
                  </a:lnTo>
                  <a:lnTo>
                    <a:pt x="11894" y="4374"/>
                  </a:lnTo>
                  <a:lnTo>
                    <a:pt x="11959" y="4343"/>
                  </a:lnTo>
                  <a:lnTo>
                    <a:pt x="12024" y="4312"/>
                  </a:lnTo>
                  <a:lnTo>
                    <a:pt x="12088" y="4281"/>
                  </a:lnTo>
                  <a:lnTo>
                    <a:pt x="12153" y="4249"/>
                  </a:lnTo>
                  <a:lnTo>
                    <a:pt x="12217" y="4216"/>
                  </a:lnTo>
                  <a:lnTo>
                    <a:pt x="12280" y="4183"/>
                  </a:lnTo>
                  <a:lnTo>
                    <a:pt x="12344" y="4150"/>
                  </a:lnTo>
                  <a:lnTo>
                    <a:pt x="12407" y="4116"/>
                  </a:lnTo>
                  <a:lnTo>
                    <a:pt x="12469" y="4081"/>
                  </a:lnTo>
                  <a:lnTo>
                    <a:pt x="12532" y="4046"/>
                  </a:lnTo>
                  <a:lnTo>
                    <a:pt x="12593" y="4011"/>
                  </a:lnTo>
                  <a:lnTo>
                    <a:pt x="12655" y="3975"/>
                  </a:lnTo>
                  <a:lnTo>
                    <a:pt x="12717" y="3939"/>
                  </a:lnTo>
                  <a:lnTo>
                    <a:pt x="12778" y="3902"/>
                  </a:lnTo>
                  <a:lnTo>
                    <a:pt x="12839" y="3865"/>
                  </a:lnTo>
                  <a:lnTo>
                    <a:pt x="12899" y="3827"/>
                  </a:lnTo>
                  <a:lnTo>
                    <a:pt x="12959" y="3789"/>
                  </a:lnTo>
                  <a:lnTo>
                    <a:pt x="13019" y="3749"/>
                  </a:lnTo>
                  <a:lnTo>
                    <a:pt x="13078" y="3710"/>
                  </a:lnTo>
                  <a:lnTo>
                    <a:pt x="13137" y="3670"/>
                  </a:lnTo>
                  <a:lnTo>
                    <a:pt x="13196" y="3630"/>
                  </a:lnTo>
                  <a:lnTo>
                    <a:pt x="13254" y="3590"/>
                  </a:lnTo>
                  <a:lnTo>
                    <a:pt x="13313" y="3549"/>
                  </a:lnTo>
                  <a:lnTo>
                    <a:pt x="13370" y="3507"/>
                  </a:lnTo>
                  <a:lnTo>
                    <a:pt x="13428" y="3466"/>
                  </a:lnTo>
                  <a:lnTo>
                    <a:pt x="13485" y="3423"/>
                  </a:lnTo>
                  <a:lnTo>
                    <a:pt x="13542" y="3381"/>
                  </a:lnTo>
                  <a:lnTo>
                    <a:pt x="13641" y="3492"/>
                  </a:lnTo>
                  <a:lnTo>
                    <a:pt x="13738" y="3605"/>
                  </a:lnTo>
                  <a:lnTo>
                    <a:pt x="13832" y="3719"/>
                  </a:lnTo>
                  <a:lnTo>
                    <a:pt x="13924" y="3837"/>
                  </a:lnTo>
                  <a:lnTo>
                    <a:pt x="14014" y="3956"/>
                  </a:lnTo>
                  <a:lnTo>
                    <a:pt x="14101" y="4076"/>
                  </a:lnTo>
                  <a:lnTo>
                    <a:pt x="14185" y="4199"/>
                  </a:lnTo>
                  <a:lnTo>
                    <a:pt x="14266" y="4324"/>
                  </a:lnTo>
                  <a:lnTo>
                    <a:pt x="14346" y="4450"/>
                  </a:lnTo>
                  <a:lnTo>
                    <a:pt x="14422" y="4578"/>
                  </a:lnTo>
                  <a:lnTo>
                    <a:pt x="14496" y="4708"/>
                  </a:lnTo>
                  <a:lnTo>
                    <a:pt x="14567" y="4839"/>
                  </a:lnTo>
                  <a:lnTo>
                    <a:pt x="14634" y="4972"/>
                  </a:lnTo>
                  <a:lnTo>
                    <a:pt x="14700" y="5106"/>
                  </a:lnTo>
                  <a:lnTo>
                    <a:pt x="14763" y="5243"/>
                  </a:lnTo>
                  <a:lnTo>
                    <a:pt x="14822" y="5380"/>
                  </a:lnTo>
                  <a:lnTo>
                    <a:pt x="14879" y="5519"/>
                  </a:lnTo>
                  <a:lnTo>
                    <a:pt x="14932" y="5660"/>
                  </a:lnTo>
                  <a:lnTo>
                    <a:pt x="14982" y="5802"/>
                  </a:lnTo>
                  <a:lnTo>
                    <a:pt x="15031" y="5945"/>
                  </a:lnTo>
                  <a:lnTo>
                    <a:pt x="15075" y="6090"/>
                  </a:lnTo>
                  <a:lnTo>
                    <a:pt x="15116" y="6236"/>
                  </a:lnTo>
                  <a:lnTo>
                    <a:pt x="15154" y="6383"/>
                  </a:lnTo>
                  <a:lnTo>
                    <a:pt x="15189" y="6532"/>
                  </a:lnTo>
                  <a:lnTo>
                    <a:pt x="15220" y="6681"/>
                  </a:lnTo>
                  <a:lnTo>
                    <a:pt x="15248" y="6832"/>
                  </a:lnTo>
                  <a:lnTo>
                    <a:pt x="15273" y="6984"/>
                  </a:lnTo>
                  <a:lnTo>
                    <a:pt x="15294" y="7137"/>
                  </a:lnTo>
                  <a:lnTo>
                    <a:pt x="15313" y="7291"/>
                  </a:lnTo>
                  <a:lnTo>
                    <a:pt x="15327" y="7446"/>
                  </a:lnTo>
                  <a:lnTo>
                    <a:pt x="15338" y="7602"/>
                  </a:lnTo>
                  <a:lnTo>
                    <a:pt x="15347" y="7759"/>
                  </a:lnTo>
                  <a:close/>
                  <a:moveTo>
                    <a:pt x="8210" y="0"/>
                  </a:moveTo>
                  <a:lnTo>
                    <a:pt x="7787" y="10"/>
                  </a:lnTo>
                  <a:lnTo>
                    <a:pt x="7370" y="41"/>
                  </a:lnTo>
                  <a:lnTo>
                    <a:pt x="6960" y="92"/>
                  </a:lnTo>
                  <a:lnTo>
                    <a:pt x="6555" y="162"/>
                  </a:lnTo>
                  <a:lnTo>
                    <a:pt x="6158" y="253"/>
                  </a:lnTo>
                  <a:lnTo>
                    <a:pt x="5768" y="361"/>
                  </a:lnTo>
                  <a:lnTo>
                    <a:pt x="5386" y="486"/>
                  </a:lnTo>
                  <a:lnTo>
                    <a:pt x="5014" y="630"/>
                  </a:lnTo>
                  <a:lnTo>
                    <a:pt x="4651" y="791"/>
                  </a:lnTo>
                  <a:lnTo>
                    <a:pt x="4297" y="967"/>
                  </a:lnTo>
                  <a:lnTo>
                    <a:pt x="3953" y="1161"/>
                  </a:lnTo>
                  <a:lnTo>
                    <a:pt x="3619" y="1369"/>
                  </a:lnTo>
                  <a:lnTo>
                    <a:pt x="3298" y="1593"/>
                  </a:lnTo>
                  <a:lnTo>
                    <a:pt x="2987" y="1831"/>
                  </a:lnTo>
                  <a:lnTo>
                    <a:pt x="2690" y="2083"/>
                  </a:lnTo>
                  <a:lnTo>
                    <a:pt x="2404" y="2348"/>
                  </a:lnTo>
                  <a:lnTo>
                    <a:pt x="2132" y="2627"/>
                  </a:lnTo>
                  <a:lnTo>
                    <a:pt x="1875" y="2918"/>
                  </a:lnTo>
                  <a:lnTo>
                    <a:pt x="1631" y="3220"/>
                  </a:lnTo>
                  <a:lnTo>
                    <a:pt x="1402" y="3535"/>
                  </a:lnTo>
                  <a:lnTo>
                    <a:pt x="1188" y="3861"/>
                  </a:lnTo>
                  <a:lnTo>
                    <a:pt x="991" y="4195"/>
                  </a:lnTo>
                  <a:lnTo>
                    <a:pt x="810" y="4541"/>
                  </a:lnTo>
                  <a:lnTo>
                    <a:pt x="645" y="4897"/>
                  </a:lnTo>
                  <a:lnTo>
                    <a:pt x="498" y="5261"/>
                  </a:lnTo>
                  <a:lnTo>
                    <a:pt x="369" y="5634"/>
                  </a:lnTo>
                  <a:lnTo>
                    <a:pt x="259" y="6014"/>
                  </a:lnTo>
                  <a:lnTo>
                    <a:pt x="167" y="6402"/>
                  </a:lnTo>
                  <a:lnTo>
                    <a:pt x="94" y="6797"/>
                  </a:lnTo>
                  <a:lnTo>
                    <a:pt x="42" y="7198"/>
                  </a:lnTo>
                  <a:lnTo>
                    <a:pt x="10" y="7605"/>
                  </a:lnTo>
                  <a:lnTo>
                    <a:pt x="0" y="8018"/>
                  </a:lnTo>
                  <a:lnTo>
                    <a:pt x="10" y="8431"/>
                  </a:lnTo>
                  <a:lnTo>
                    <a:pt x="42" y="8838"/>
                  </a:lnTo>
                  <a:lnTo>
                    <a:pt x="94" y="9239"/>
                  </a:lnTo>
                  <a:lnTo>
                    <a:pt x="167" y="9634"/>
                  </a:lnTo>
                  <a:lnTo>
                    <a:pt x="259" y="10021"/>
                  </a:lnTo>
                  <a:lnTo>
                    <a:pt x="369" y="10402"/>
                  </a:lnTo>
                  <a:lnTo>
                    <a:pt x="498" y="10774"/>
                  </a:lnTo>
                  <a:lnTo>
                    <a:pt x="645" y="11139"/>
                  </a:lnTo>
                  <a:lnTo>
                    <a:pt x="810" y="11494"/>
                  </a:lnTo>
                  <a:lnTo>
                    <a:pt x="991" y="11840"/>
                  </a:lnTo>
                  <a:lnTo>
                    <a:pt x="1188" y="12175"/>
                  </a:lnTo>
                  <a:lnTo>
                    <a:pt x="1402" y="12501"/>
                  </a:lnTo>
                  <a:lnTo>
                    <a:pt x="1631" y="12815"/>
                  </a:lnTo>
                  <a:lnTo>
                    <a:pt x="1875" y="13118"/>
                  </a:lnTo>
                  <a:lnTo>
                    <a:pt x="2132" y="13409"/>
                  </a:lnTo>
                  <a:lnTo>
                    <a:pt x="2404" y="13688"/>
                  </a:lnTo>
                  <a:lnTo>
                    <a:pt x="2690" y="13953"/>
                  </a:lnTo>
                  <a:lnTo>
                    <a:pt x="2987" y="14205"/>
                  </a:lnTo>
                  <a:lnTo>
                    <a:pt x="3298" y="14443"/>
                  </a:lnTo>
                  <a:lnTo>
                    <a:pt x="3619" y="14667"/>
                  </a:lnTo>
                  <a:lnTo>
                    <a:pt x="3953" y="14875"/>
                  </a:lnTo>
                  <a:lnTo>
                    <a:pt x="4297" y="15068"/>
                  </a:lnTo>
                  <a:lnTo>
                    <a:pt x="4651" y="15245"/>
                  </a:lnTo>
                  <a:lnTo>
                    <a:pt x="5014" y="15406"/>
                  </a:lnTo>
                  <a:lnTo>
                    <a:pt x="5386" y="15550"/>
                  </a:lnTo>
                  <a:lnTo>
                    <a:pt x="5768" y="15675"/>
                  </a:lnTo>
                  <a:lnTo>
                    <a:pt x="6158" y="15783"/>
                  </a:lnTo>
                  <a:lnTo>
                    <a:pt x="6555" y="15873"/>
                  </a:lnTo>
                  <a:lnTo>
                    <a:pt x="6960" y="15944"/>
                  </a:lnTo>
                  <a:lnTo>
                    <a:pt x="7370" y="15995"/>
                  </a:lnTo>
                  <a:lnTo>
                    <a:pt x="7787" y="16026"/>
                  </a:lnTo>
                  <a:lnTo>
                    <a:pt x="8210" y="16036"/>
                  </a:lnTo>
                  <a:lnTo>
                    <a:pt x="8632" y="16026"/>
                  </a:lnTo>
                  <a:lnTo>
                    <a:pt x="9049" y="15995"/>
                  </a:lnTo>
                  <a:lnTo>
                    <a:pt x="9459" y="15944"/>
                  </a:lnTo>
                  <a:lnTo>
                    <a:pt x="9864" y="15873"/>
                  </a:lnTo>
                  <a:lnTo>
                    <a:pt x="10261" y="15783"/>
                  </a:lnTo>
                  <a:lnTo>
                    <a:pt x="10651" y="15675"/>
                  </a:lnTo>
                  <a:lnTo>
                    <a:pt x="11033" y="15550"/>
                  </a:lnTo>
                  <a:lnTo>
                    <a:pt x="11405" y="15406"/>
                  </a:lnTo>
                  <a:lnTo>
                    <a:pt x="11768" y="15245"/>
                  </a:lnTo>
                  <a:lnTo>
                    <a:pt x="12122" y="15068"/>
                  </a:lnTo>
                  <a:lnTo>
                    <a:pt x="12466" y="14875"/>
                  </a:lnTo>
                  <a:lnTo>
                    <a:pt x="12800" y="14667"/>
                  </a:lnTo>
                  <a:lnTo>
                    <a:pt x="13122" y="14443"/>
                  </a:lnTo>
                  <a:lnTo>
                    <a:pt x="13432" y="14205"/>
                  </a:lnTo>
                  <a:lnTo>
                    <a:pt x="13729" y="13953"/>
                  </a:lnTo>
                  <a:lnTo>
                    <a:pt x="14015" y="13688"/>
                  </a:lnTo>
                  <a:lnTo>
                    <a:pt x="14287" y="13409"/>
                  </a:lnTo>
                  <a:lnTo>
                    <a:pt x="14544" y="13118"/>
                  </a:lnTo>
                  <a:lnTo>
                    <a:pt x="14788" y="12815"/>
                  </a:lnTo>
                  <a:lnTo>
                    <a:pt x="15017" y="12501"/>
                  </a:lnTo>
                  <a:lnTo>
                    <a:pt x="15231" y="12175"/>
                  </a:lnTo>
                  <a:lnTo>
                    <a:pt x="15428" y="11840"/>
                  </a:lnTo>
                  <a:lnTo>
                    <a:pt x="15609" y="11494"/>
                  </a:lnTo>
                  <a:lnTo>
                    <a:pt x="15774" y="11139"/>
                  </a:lnTo>
                  <a:lnTo>
                    <a:pt x="15921" y="10774"/>
                  </a:lnTo>
                  <a:lnTo>
                    <a:pt x="16050" y="10402"/>
                  </a:lnTo>
                  <a:lnTo>
                    <a:pt x="16160" y="10021"/>
                  </a:lnTo>
                  <a:lnTo>
                    <a:pt x="16253" y="9634"/>
                  </a:lnTo>
                  <a:lnTo>
                    <a:pt x="16325" y="9239"/>
                  </a:lnTo>
                  <a:lnTo>
                    <a:pt x="16377" y="8838"/>
                  </a:lnTo>
                  <a:lnTo>
                    <a:pt x="16409" y="8431"/>
                  </a:lnTo>
                  <a:lnTo>
                    <a:pt x="16419" y="8018"/>
                  </a:lnTo>
                  <a:lnTo>
                    <a:pt x="16409" y="7605"/>
                  </a:lnTo>
                  <a:lnTo>
                    <a:pt x="16377" y="7198"/>
                  </a:lnTo>
                  <a:lnTo>
                    <a:pt x="16325" y="6797"/>
                  </a:lnTo>
                  <a:lnTo>
                    <a:pt x="16253" y="6402"/>
                  </a:lnTo>
                  <a:lnTo>
                    <a:pt x="16160" y="6014"/>
                  </a:lnTo>
                  <a:lnTo>
                    <a:pt x="16050" y="5634"/>
                  </a:lnTo>
                  <a:lnTo>
                    <a:pt x="15921" y="5261"/>
                  </a:lnTo>
                  <a:lnTo>
                    <a:pt x="15774" y="4897"/>
                  </a:lnTo>
                  <a:lnTo>
                    <a:pt x="15609" y="4541"/>
                  </a:lnTo>
                  <a:lnTo>
                    <a:pt x="15428" y="4195"/>
                  </a:lnTo>
                  <a:lnTo>
                    <a:pt x="15231" y="3861"/>
                  </a:lnTo>
                  <a:lnTo>
                    <a:pt x="15017" y="3535"/>
                  </a:lnTo>
                  <a:lnTo>
                    <a:pt x="14788" y="3220"/>
                  </a:lnTo>
                  <a:lnTo>
                    <a:pt x="14544" y="2918"/>
                  </a:lnTo>
                  <a:lnTo>
                    <a:pt x="14287" y="2627"/>
                  </a:lnTo>
                  <a:lnTo>
                    <a:pt x="14015" y="2348"/>
                  </a:lnTo>
                  <a:lnTo>
                    <a:pt x="13729" y="2083"/>
                  </a:lnTo>
                  <a:lnTo>
                    <a:pt x="13432" y="1831"/>
                  </a:lnTo>
                  <a:lnTo>
                    <a:pt x="13122" y="1593"/>
                  </a:lnTo>
                  <a:lnTo>
                    <a:pt x="12800" y="1369"/>
                  </a:lnTo>
                  <a:lnTo>
                    <a:pt x="12466" y="1161"/>
                  </a:lnTo>
                  <a:lnTo>
                    <a:pt x="12122" y="967"/>
                  </a:lnTo>
                  <a:lnTo>
                    <a:pt x="11768" y="791"/>
                  </a:lnTo>
                  <a:lnTo>
                    <a:pt x="11405" y="630"/>
                  </a:lnTo>
                  <a:lnTo>
                    <a:pt x="11033" y="486"/>
                  </a:lnTo>
                  <a:lnTo>
                    <a:pt x="10651" y="361"/>
                  </a:lnTo>
                  <a:lnTo>
                    <a:pt x="10261" y="253"/>
                  </a:lnTo>
                  <a:lnTo>
                    <a:pt x="9864" y="162"/>
                  </a:lnTo>
                  <a:lnTo>
                    <a:pt x="9459" y="92"/>
                  </a:lnTo>
                  <a:lnTo>
                    <a:pt x="9049" y="41"/>
                  </a:lnTo>
                  <a:lnTo>
                    <a:pt x="8632" y="10"/>
                  </a:lnTo>
                  <a:lnTo>
                    <a:pt x="821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56" name="îṥḻïḋè">
              <a:extLst>
                <a:ext uri="{FF2B5EF4-FFF2-40B4-BE49-F238E27FC236}">
                  <a16:creationId xmlns:a16="http://schemas.microsoft.com/office/drawing/2014/main" id="{08E940C5-DD6C-450E-9831-331763297165}"/>
                </a:ext>
              </a:extLst>
            </p:cNvPr>
            <p:cNvSpPr/>
            <p:nvPr/>
          </p:nvSpPr>
          <p:spPr bwMode="auto">
            <a:xfrm>
              <a:off x="4491279" y="1705663"/>
              <a:ext cx="62274" cy="82779"/>
            </a:xfrm>
            <a:custGeom>
              <a:avLst/>
              <a:gdLst>
                <a:gd name="T0" fmla="*/ 503 w 3018"/>
                <a:gd name="T1" fmla="*/ 504 h 4030"/>
                <a:gd name="T2" fmla="*/ 2515 w 3018"/>
                <a:gd name="T3" fmla="*/ 3526 h 4030"/>
                <a:gd name="T4" fmla="*/ 1386 w 3018"/>
                <a:gd name="T5" fmla="*/ 175 h 4030"/>
                <a:gd name="T6" fmla="*/ 1320 w 3018"/>
                <a:gd name="T7" fmla="*/ 110 h 4030"/>
                <a:gd name="T8" fmla="*/ 1244 w 3018"/>
                <a:gd name="T9" fmla="*/ 60 h 4030"/>
                <a:gd name="T10" fmla="*/ 1159 w 3018"/>
                <a:gd name="T11" fmla="*/ 24 h 4030"/>
                <a:gd name="T12" fmla="*/ 1069 w 3018"/>
                <a:gd name="T13" fmla="*/ 3 h 4030"/>
                <a:gd name="T14" fmla="*/ 503 w 3018"/>
                <a:gd name="T15" fmla="*/ 0 h 4030"/>
                <a:gd name="T16" fmla="*/ 427 w 3018"/>
                <a:gd name="T17" fmla="*/ 6 h 4030"/>
                <a:gd name="T18" fmla="*/ 353 w 3018"/>
                <a:gd name="T19" fmla="*/ 23 h 4030"/>
                <a:gd name="T20" fmla="*/ 285 w 3018"/>
                <a:gd name="T21" fmla="*/ 50 h 4030"/>
                <a:gd name="T22" fmla="*/ 222 w 3018"/>
                <a:gd name="T23" fmla="*/ 86 h 4030"/>
                <a:gd name="T24" fmla="*/ 165 w 3018"/>
                <a:gd name="T25" fmla="*/ 130 h 4030"/>
                <a:gd name="T26" fmla="*/ 115 w 3018"/>
                <a:gd name="T27" fmla="*/ 183 h 4030"/>
                <a:gd name="T28" fmla="*/ 74 w 3018"/>
                <a:gd name="T29" fmla="*/ 242 h 4030"/>
                <a:gd name="T30" fmla="*/ 40 w 3018"/>
                <a:gd name="T31" fmla="*/ 308 h 4030"/>
                <a:gd name="T32" fmla="*/ 16 w 3018"/>
                <a:gd name="T33" fmla="*/ 377 h 4030"/>
                <a:gd name="T34" fmla="*/ 3 w 3018"/>
                <a:gd name="T35" fmla="*/ 452 h 4030"/>
                <a:gd name="T36" fmla="*/ 0 w 3018"/>
                <a:gd name="T37" fmla="*/ 3526 h 4030"/>
                <a:gd name="T38" fmla="*/ 6 w 3018"/>
                <a:gd name="T39" fmla="*/ 3604 h 4030"/>
                <a:gd name="T40" fmla="*/ 23 w 3018"/>
                <a:gd name="T41" fmla="*/ 3676 h 4030"/>
                <a:gd name="T42" fmla="*/ 50 w 3018"/>
                <a:gd name="T43" fmla="*/ 3745 h 4030"/>
                <a:gd name="T44" fmla="*/ 86 w 3018"/>
                <a:gd name="T45" fmla="*/ 3808 h 4030"/>
                <a:gd name="T46" fmla="*/ 131 w 3018"/>
                <a:gd name="T47" fmla="*/ 3866 h 4030"/>
                <a:gd name="T48" fmla="*/ 183 w 3018"/>
                <a:gd name="T49" fmla="*/ 3915 h 4030"/>
                <a:gd name="T50" fmla="*/ 243 w 3018"/>
                <a:gd name="T51" fmla="*/ 3957 h 4030"/>
                <a:gd name="T52" fmla="*/ 307 w 3018"/>
                <a:gd name="T53" fmla="*/ 3991 h 4030"/>
                <a:gd name="T54" fmla="*/ 378 w 3018"/>
                <a:gd name="T55" fmla="*/ 4015 h 4030"/>
                <a:gd name="T56" fmla="*/ 452 w 3018"/>
                <a:gd name="T57" fmla="*/ 4028 h 4030"/>
                <a:gd name="T58" fmla="*/ 2515 w 3018"/>
                <a:gd name="T59" fmla="*/ 4030 h 4030"/>
                <a:gd name="T60" fmla="*/ 2592 w 3018"/>
                <a:gd name="T61" fmla="*/ 4025 h 4030"/>
                <a:gd name="T62" fmla="*/ 2665 w 3018"/>
                <a:gd name="T63" fmla="*/ 4008 h 4030"/>
                <a:gd name="T64" fmla="*/ 2733 w 3018"/>
                <a:gd name="T65" fmla="*/ 3981 h 4030"/>
                <a:gd name="T66" fmla="*/ 2797 w 3018"/>
                <a:gd name="T67" fmla="*/ 3944 h 4030"/>
                <a:gd name="T68" fmla="*/ 2853 w 3018"/>
                <a:gd name="T69" fmla="*/ 3899 h 4030"/>
                <a:gd name="T70" fmla="*/ 2903 w 3018"/>
                <a:gd name="T71" fmla="*/ 3848 h 4030"/>
                <a:gd name="T72" fmla="*/ 2946 w 3018"/>
                <a:gd name="T73" fmla="*/ 3788 h 4030"/>
                <a:gd name="T74" fmla="*/ 2979 w 3018"/>
                <a:gd name="T75" fmla="*/ 3723 h 4030"/>
                <a:gd name="T76" fmla="*/ 3002 w 3018"/>
                <a:gd name="T77" fmla="*/ 3652 h 4030"/>
                <a:gd name="T78" fmla="*/ 3015 w 3018"/>
                <a:gd name="T79" fmla="*/ 3578 h 4030"/>
                <a:gd name="T80" fmla="*/ 3018 w 3018"/>
                <a:gd name="T81" fmla="*/ 2770 h 4030"/>
                <a:gd name="T82" fmla="*/ 3015 w 3018"/>
                <a:gd name="T83" fmla="*/ 2715 h 4030"/>
                <a:gd name="T84" fmla="*/ 3006 w 3018"/>
                <a:gd name="T85" fmla="*/ 2661 h 4030"/>
                <a:gd name="T86" fmla="*/ 2991 w 3018"/>
                <a:gd name="T87" fmla="*/ 2607 h 4030"/>
                <a:gd name="T88" fmla="*/ 2970 w 3018"/>
                <a:gd name="T89" fmla="*/ 2556 h 4030"/>
                <a:gd name="T90" fmla="*/ 2944 w 3018"/>
                <a:gd name="T91" fmla="*/ 2506 h 40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18" h="4030">
                  <a:moveTo>
                    <a:pt x="2515" y="3526"/>
                  </a:moveTo>
                  <a:lnTo>
                    <a:pt x="503" y="3526"/>
                  </a:lnTo>
                  <a:lnTo>
                    <a:pt x="503" y="504"/>
                  </a:lnTo>
                  <a:lnTo>
                    <a:pt x="1006" y="504"/>
                  </a:lnTo>
                  <a:lnTo>
                    <a:pt x="2515" y="2770"/>
                  </a:lnTo>
                  <a:lnTo>
                    <a:pt x="2515" y="3526"/>
                  </a:lnTo>
                  <a:close/>
                  <a:moveTo>
                    <a:pt x="1425" y="224"/>
                  </a:moveTo>
                  <a:lnTo>
                    <a:pt x="1407" y="199"/>
                  </a:lnTo>
                  <a:lnTo>
                    <a:pt x="1386" y="175"/>
                  </a:lnTo>
                  <a:lnTo>
                    <a:pt x="1365" y="152"/>
                  </a:lnTo>
                  <a:lnTo>
                    <a:pt x="1343" y="130"/>
                  </a:lnTo>
                  <a:lnTo>
                    <a:pt x="1320" y="110"/>
                  </a:lnTo>
                  <a:lnTo>
                    <a:pt x="1296" y="92"/>
                  </a:lnTo>
                  <a:lnTo>
                    <a:pt x="1270" y="75"/>
                  </a:lnTo>
                  <a:lnTo>
                    <a:pt x="1244" y="60"/>
                  </a:lnTo>
                  <a:lnTo>
                    <a:pt x="1216" y="46"/>
                  </a:lnTo>
                  <a:lnTo>
                    <a:pt x="1188" y="34"/>
                  </a:lnTo>
                  <a:lnTo>
                    <a:pt x="1159" y="24"/>
                  </a:lnTo>
                  <a:lnTo>
                    <a:pt x="1130" y="16"/>
                  </a:lnTo>
                  <a:lnTo>
                    <a:pt x="1100" y="9"/>
                  </a:lnTo>
                  <a:lnTo>
                    <a:pt x="1069" y="3"/>
                  </a:lnTo>
                  <a:lnTo>
                    <a:pt x="1037" y="1"/>
                  </a:lnTo>
                  <a:lnTo>
                    <a:pt x="1006" y="0"/>
                  </a:lnTo>
                  <a:lnTo>
                    <a:pt x="503" y="0"/>
                  </a:lnTo>
                  <a:lnTo>
                    <a:pt x="477" y="0"/>
                  </a:lnTo>
                  <a:lnTo>
                    <a:pt x="452" y="2"/>
                  </a:lnTo>
                  <a:lnTo>
                    <a:pt x="427" y="6"/>
                  </a:lnTo>
                  <a:lnTo>
                    <a:pt x="402" y="11"/>
                  </a:lnTo>
                  <a:lnTo>
                    <a:pt x="378" y="16"/>
                  </a:lnTo>
                  <a:lnTo>
                    <a:pt x="353" y="23"/>
                  </a:lnTo>
                  <a:lnTo>
                    <a:pt x="330" y="31"/>
                  </a:lnTo>
                  <a:lnTo>
                    <a:pt x="307" y="40"/>
                  </a:lnTo>
                  <a:lnTo>
                    <a:pt x="285" y="50"/>
                  </a:lnTo>
                  <a:lnTo>
                    <a:pt x="264" y="61"/>
                  </a:lnTo>
                  <a:lnTo>
                    <a:pt x="243" y="73"/>
                  </a:lnTo>
                  <a:lnTo>
                    <a:pt x="222" y="86"/>
                  </a:lnTo>
                  <a:lnTo>
                    <a:pt x="203" y="100"/>
                  </a:lnTo>
                  <a:lnTo>
                    <a:pt x="183" y="115"/>
                  </a:lnTo>
                  <a:lnTo>
                    <a:pt x="165" y="130"/>
                  </a:lnTo>
                  <a:lnTo>
                    <a:pt x="148" y="148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100" y="202"/>
                  </a:lnTo>
                  <a:lnTo>
                    <a:pt x="86" y="222"/>
                  </a:lnTo>
                  <a:lnTo>
                    <a:pt x="74" y="242"/>
                  </a:lnTo>
                  <a:lnTo>
                    <a:pt x="61" y="263"/>
                  </a:lnTo>
                  <a:lnTo>
                    <a:pt x="50" y="286"/>
                  </a:lnTo>
                  <a:lnTo>
                    <a:pt x="40" y="308"/>
                  </a:lnTo>
                  <a:lnTo>
                    <a:pt x="31" y="331"/>
                  </a:lnTo>
                  <a:lnTo>
                    <a:pt x="23" y="354"/>
                  </a:lnTo>
                  <a:lnTo>
                    <a:pt x="16" y="377"/>
                  </a:lnTo>
                  <a:lnTo>
                    <a:pt x="10" y="403"/>
                  </a:lnTo>
                  <a:lnTo>
                    <a:pt x="6" y="427"/>
                  </a:lnTo>
                  <a:lnTo>
                    <a:pt x="3" y="452"/>
                  </a:lnTo>
                  <a:lnTo>
                    <a:pt x="1" y="478"/>
                  </a:lnTo>
                  <a:lnTo>
                    <a:pt x="0" y="504"/>
                  </a:lnTo>
                  <a:lnTo>
                    <a:pt x="0" y="3526"/>
                  </a:lnTo>
                  <a:lnTo>
                    <a:pt x="1" y="3552"/>
                  </a:lnTo>
                  <a:lnTo>
                    <a:pt x="3" y="3578"/>
                  </a:lnTo>
                  <a:lnTo>
                    <a:pt x="6" y="3604"/>
                  </a:lnTo>
                  <a:lnTo>
                    <a:pt x="10" y="3628"/>
                  </a:lnTo>
                  <a:lnTo>
                    <a:pt x="16" y="3652"/>
                  </a:lnTo>
                  <a:lnTo>
                    <a:pt x="23" y="3676"/>
                  </a:lnTo>
                  <a:lnTo>
                    <a:pt x="31" y="3699"/>
                  </a:lnTo>
                  <a:lnTo>
                    <a:pt x="40" y="3723"/>
                  </a:lnTo>
                  <a:lnTo>
                    <a:pt x="50" y="3745"/>
                  </a:lnTo>
                  <a:lnTo>
                    <a:pt x="61" y="3767"/>
                  </a:lnTo>
                  <a:lnTo>
                    <a:pt x="74" y="3788"/>
                  </a:lnTo>
                  <a:lnTo>
                    <a:pt x="86" y="3808"/>
                  </a:lnTo>
                  <a:lnTo>
                    <a:pt x="100" y="3828"/>
                  </a:lnTo>
                  <a:lnTo>
                    <a:pt x="115" y="3848"/>
                  </a:lnTo>
                  <a:lnTo>
                    <a:pt x="131" y="3866"/>
                  </a:lnTo>
                  <a:lnTo>
                    <a:pt x="148" y="3883"/>
                  </a:lnTo>
                  <a:lnTo>
                    <a:pt x="165" y="3899"/>
                  </a:lnTo>
                  <a:lnTo>
                    <a:pt x="183" y="3915"/>
                  </a:lnTo>
                  <a:lnTo>
                    <a:pt x="203" y="3930"/>
                  </a:lnTo>
                  <a:lnTo>
                    <a:pt x="222" y="3944"/>
                  </a:lnTo>
                  <a:lnTo>
                    <a:pt x="243" y="3957"/>
                  </a:lnTo>
                  <a:lnTo>
                    <a:pt x="264" y="3969"/>
                  </a:lnTo>
                  <a:lnTo>
                    <a:pt x="285" y="3981"/>
                  </a:lnTo>
                  <a:lnTo>
                    <a:pt x="307" y="3991"/>
                  </a:lnTo>
                  <a:lnTo>
                    <a:pt x="330" y="4000"/>
                  </a:lnTo>
                  <a:lnTo>
                    <a:pt x="353" y="4008"/>
                  </a:lnTo>
                  <a:lnTo>
                    <a:pt x="378" y="4015"/>
                  </a:lnTo>
                  <a:lnTo>
                    <a:pt x="402" y="4020"/>
                  </a:lnTo>
                  <a:lnTo>
                    <a:pt x="427" y="4025"/>
                  </a:lnTo>
                  <a:lnTo>
                    <a:pt x="452" y="4028"/>
                  </a:lnTo>
                  <a:lnTo>
                    <a:pt x="477" y="4030"/>
                  </a:lnTo>
                  <a:lnTo>
                    <a:pt x="503" y="4030"/>
                  </a:lnTo>
                  <a:lnTo>
                    <a:pt x="2515" y="4030"/>
                  </a:lnTo>
                  <a:lnTo>
                    <a:pt x="2541" y="4030"/>
                  </a:lnTo>
                  <a:lnTo>
                    <a:pt x="2566" y="4028"/>
                  </a:lnTo>
                  <a:lnTo>
                    <a:pt x="2592" y="4025"/>
                  </a:lnTo>
                  <a:lnTo>
                    <a:pt x="2617" y="4020"/>
                  </a:lnTo>
                  <a:lnTo>
                    <a:pt x="2641" y="4015"/>
                  </a:lnTo>
                  <a:lnTo>
                    <a:pt x="2665" y="4008"/>
                  </a:lnTo>
                  <a:lnTo>
                    <a:pt x="2688" y="4000"/>
                  </a:lnTo>
                  <a:lnTo>
                    <a:pt x="2711" y="3991"/>
                  </a:lnTo>
                  <a:lnTo>
                    <a:pt x="2733" y="3981"/>
                  </a:lnTo>
                  <a:lnTo>
                    <a:pt x="2756" y="3969"/>
                  </a:lnTo>
                  <a:lnTo>
                    <a:pt x="2777" y="3957"/>
                  </a:lnTo>
                  <a:lnTo>
                    <a:pt x="2797" y="3944"/>
                  </a:lnTo>
                  <a:lnTo>
                    <a:pt x="2816" y="3930"/>
                  </a:lnTo>
                  <a:lnTo>
                    <a:pt x="2835" y="3915"/>
                  </a:lnTo>
                  <a:lnTo>
                    <a:pt x="2853" y="3899"/>
                  </a:lnTo>
                  <a:lnTo>
                    <a:pt x="2871" y="3883"/>
                  </a:lnTo>
                  <a:lnTo>
                    <a:pt x="2887" y="3866"/>
                  </a:lnTo>
                  <a:lnTo>
                    <a:pt x="2903" y="3848"/>
                  </a:lnTo>
                  <a:lnTo>
                    <a:pt x="2919" y="3828"/>
                  </a:lnTo>
                  <a:lnTo>
                    <a:pt x="2933" y="3808"/>
                  </a:lnTo>
                  <a:lnTo>
                    <a:pt x="2946" y="3788"/>
                  </a:lnTo>
                  <a:lnTo>
                    <a:pt x="2958" y="3767"/>
                  </a:lnTo>
                  <a:lnTo>
                    <a:pt x="2969" y="3745"/>
                  </a:lnTo>
                  <a:lnTo>
                    <a:pt x="2979" y="3723"/>
                  </a:lnTo>
                  <a:lnTo>
                    <a:pt x="2988" y="3699"/>
                  </a:lnTo>
                  <a:lnTo>
                    <a:pt x="2996" y="3676"/>
                  </a:lnTo>
                  <a:lnTo>
                    <a:pt x="3002" y="3652"/>
                  </a:lnTo>
                  <a:lnTo>
                    <a:pt x="3008" y="3628"/>
                  </a:lnTo>
                  <a:lnTo>
                    <a:pt x="3012" y="3604"/>
                  </a:lnTo>
                  <a:lnTo>
                    <a:pt x="3015" y="3578"/>
                  </a:lnTo>
                  <a:lnTo>
                    <a:pt x="3017" y="3552"/>
                  </a:lnTo>
                  <a:lnTo>
                    <a:pt x="3018" y="3526"/>
                  </a:lnTo>
                  <a:lnTo>
                    <a:pt x="3018" y="2770"/>
                  </a:lnTo>
                  <a:lnTo>
                    <a:pt x="3018" y="2752"/>
                  </a:lnTo>
                  <a:lnTo>
                    <a:pt x="3017" y="2734"/>
                  </a:lnTo>
                  <a:lnTo>
                    <a:pt x="3015" y="2715"/>
                  </a:lnTo>
                  <a:lnTo>
                    <a:pt x="3013" y="2697"/>
                  </a:lnTo>
                  <a:lnTo>
                    <a:pt x="3010" y="2679"/>
                  </a:lnTo>
                  <a:lnTo>
                    <a:pt x="3006" y="2661"/>
                  </a:lnTo>
                  <a:lnTo>
                    <a:pt x="3002" y="2642"/>
                  </a:lnTo>
                  <a:lnTo>
                    <a:pt x="2997" y="2625"/>
                  </a:lnTo>
                  <a:lnTo>
                    <a:pt x="2991" y="2607"/>
                  </a:lnTo>
                  <a:lnTo>
                    <a:pt x="2985" y="2590"/>
                  </a:lnTo>
                  <a:lnTo>
                    <a:pt x="2978" y="2573"/>
                  </a:lnTo>
                  <a:lnTo>
                    <a:pt x="2970" y="2556"/>
                  </a:lnTo>
                  <a:lnTo>
                    <a:pt x="2962" y="2540"/>
                  </a:lnTo>
                  <a:lnTo>
                    <a:pt x="2953" y="2523"/>
                  </a:lnTo>
                  <a:lnTo>
                    <a:pt x="2944" y="2506"/>
                  </a:lnTo>
                  <a:lnTo>
                    <a:pt x="2934" y="2491"/>
                  </a:lnTo>
                  <a:lnTo>
                    <a:pt x="1425" y="2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57" name="îṩľíḓè">
              <a:extLst>
                <a:ext uri="{FF2B5EF4-FFF2-40B4-BE49-F238E27FC236}">
                  <a16:creationId xmlns:a16="http://schemas.microsoft.com/office/drawing/2014/main" id="{5C606415-8DCF-4A12-A502-AC66B3DC83C4}"/>
                </a:ext>
              </a:extLst>
            </p:cNvPr>
            <p:cNvSpPr/>
            <p:nvPr/>
          </p:nvSpPr>
          <p:spPr bwMode="auto">
            <a:xfrm>
              <a:off x="4264207" y="1622884"/>
              <a:ext cx="330356" cy="268841"/>
            </a:xfrm>
            <a:custGeom>
              <a:avLst/>
              <a:gdLst>
                <a:gd name="T0" fmla="*/ 14958 w 16095"/>
                <a:gd name="T1" fmla="*/ 10414 h 13098"/>
                <a:gd name="T2" fmla="*/ 14612 w 16095"/>
                <a:gd name="T3" fmla="*/ 10578 h 13098"/>
                <a:gd name="T4" fmla="*/ 13430 w 16095"/>
                <a:gd name="T5" fmla="*/ 9605 h 13098"/>
                <a:gd name="T6" fmla="*/ 12244 w 16095"/>
                <a:gd name="T7" fmla="*/ 9076 h 13098"/>
                <a:gd name="T8" fmla="*/ 10967 w 16095"/>
                <a:gd name="T9" fmla="*/ 9402 h 13098"/>
                <a:gd name="T10" fmla="*/ 10179 w 16095"/>
                <a:gd name="T11" fmla="*/ 10419 h 13098"/>
                <a:gd name="T12" fmla="*/ 6951 w 16095"/>
                <a:gd name="T13" fmla="*/ 9661 h 13098"/>
                <a:gd name="T14" fmla="*/ 5791 w 16095"/>
                <a:gd name="T15" fmla="*/ 9085 h 13098"/>
                <a:gd name="T16" fmla="*/ 4497 w 16095"/>
                <a:gd name="T17" fmla="*/ 9359 h 13098"/>
                <a:gd name="T18" fmla="*/ 3670 w 16095"/>
                <a:gd name="T19" fmla="*/ 10341 h 13098"/>
                <a:gd name="T20" fmla="*/ 2737 w 16095"/>
                <a:gd name="T21" fmla="*/ 10493 h 13098"/>
                <a:gd name="T22" fmla="*/ 2526 w 16095"/>
                <a:gd name="T23" fmla="*/ 10177 h 13098"/>
                <a:gd name="T24" fmla="*/ 9773 w 16095"/>
                <a:gd name="T25" fmla="*/ 8381 h 13098"/>
                <a:gd name="T26" fmla="*/ 10495 w 16095"/>
                <a:gd name="T27" fmla="*/ 7502 h 13098"/>
                <a:gd name="T28" fmla="*/ 12812 w 16095"/>
                <a:gd name="T29" fmla="*/ 3586 h 13098"/>
                <a:gd name="T30" fmla="*/ 15062 w 16095"/>
                <a:gd name="T31" fmla="*/ 6889 h 13098"/>
                <a:gd name="T32" fmla="*/ 11820 w 16095"/>
                <a:gd name="T33" fmla="*/ 12058 h 13098"/>
                <a:gd name="T34" fmla="*/ 11211 w 16095"/>
                <a:gd name="T35" fmla="*/ 11606 h 13098"/>
                <a:gd name="T36" fmla="*/ 11098 w 16095"/>
                <a:gd name="T37" fmla="*/ 10831 h 13098"/>
                <a:gd name="T38" fmla="*/ 11550 w 16095"/>
                <a:gd name="T39" fmla="*/ 10221 h 13098"/>
                <a:gd name="T40" fmla="*/ 12323 w 16095"/>
                <a:gd name="T41" fmla="*/ 10107 h 13098"/>
                <a:gd name="T42" fmla="*/ 12931 w 16095"/>
                <a:gd name="T43" fmla="*/ 10561 h 13098"/>
                <a:gd name="T44" fmla="*/ 13046 w 16095"/>
                <a:gd name="T45" fmla="*/ 11335 h 13098"/>
                <a:gd name="T46" fmla="*/ 12593 w 16095"/>
                <a:gd name="T47" fmla="*/ 11944 h 13098"/>
                <a:gd name="T48" fmla="*/ 5330 w 16095"/>
                <a:gd name="T49" fmla="*/ 12070 h 13098"/>
                <a:gd name="T50" fmla="*/ 4699 w 16095"/>
                <a:gd name="T51" fmla="*/ 11646 h 13098"/>
                <a:gd name="T52" fmla="*/ 4548 w 16095"/>
                <a:gd name="T53" fmla="*/ 10880 h 13098"/>
                <a:gd name="T54" fmla="*/ 4970 w 16095"/>
                <a:gd name="T55" fmla="*/ 10247 h 13098"/>
                <a:gd name="T56" fmla="*/ 5736 w 16095"/>
                <a:gd name="T57" fmla="*/ 10096 h 13098"/>
                <a:gd name="T58" fmla="*/ 6368 w 16095"/>
                <a:gd name="T59" fmla="*/ 10520 h 13098"/>
                <a:gd name="T60" fmla="*/ 6518 w 16095"/>
                <a:gd name="T61" fmla="*/ 11286 h 13098"/>
                <a:gd name="T62" fmla="*/ 6095 w 16095"/>
                <a:gd name="T63" fmla="*/ 11918 h 13098"/>
                <a:gd name="T64" fmla="*/ 1432 w 16095"/>
                <a:gd name="T65" fmla="*/ 7551 h 13098"/>
                <a:gd name="T66" fmla="*/ 1106 w 16095"/>
                <a:gd name="T67" fmla="*/ 7355 h 13098"/>
                <a:gd name="T68" fmla="*/ 1009 w 16095"/>
                <a:gd name="T69" fmla="*/ 1460 h 13098"/>
                <a:gd name="T70" fmla="*/ 1189 w 16095"/>
                <a:gd name="T71" fmla="*/ 1122 h 13098"/>
                <a:gd name="T72" fmla="*/ 9080 w 16095"/>
                <a:gd name="T73" fmla="*/ 1008 h 13098"/>
                <a:gd name="T74" fmla="*/ 9426 w 16095"/>
                <a:gd name="T75" fmla="*/ 1172 h 13098"/>
                <a:gd name="T76" fmla="*/ 9556 w 16095"/>
                <a:gd name="T77" fmla="*/ 2519 h 13098"/>
                <a:gd name="T78" fmla="*/ 9442 w 16095"/>
                <a:gd name="T79" fmla="*/ 7374 h 13098"/>
                <a:gd name="T80" fmla="*/ 9105 w 16095"/>
                <a:gd name="T81" fmla="*/ 7554 h 13098"/>
                <a:gd name="T82" fmla="*/ 13480 w 16095"/>
                <a:gd name="T83" fmla="*/ 2820 h 13098"/>
                <a:gd name="T84" fmla="*/ 12808 w 16095"/>
                <a:gd name="T85" fmla="*/ 2537 h 13098"/>
                <a:gd name="T86" fmla="*/ 10413 w 16095"/>
                <a:gd name="T87" fmla="*/ 856 h 13098"/>
                <a:gd name="T88" fmla="*/ 9571 w 16095"/>
                <a:gd name="T89" fmla="*/ 92 h 13098"/>
                <a:gd name="T90" fmla="*/ 922 w 16095"/>
                <a:gd name="T91" fmla="*/ 119 h 13098"/>
                <a:gd name="T92" fmla="*/ 119 w 16095"/>
                <a:gd name="T93" fmla="*/ 924 h 13098"/>
                <a:gd name="T94" fmla="*/ 92 w 16095"/>
                <a:gd name="T95" fmla="*/ 7572 h 13098"/>
                <a:gd name="T96" fmla="*/ 855 w 16095"/>
                <a:gd name="T97" fmla="*/ 8415 h 13098"/>
                <a:gd name="T98" fmla="*/ 1557 w 16095"/>
                <a:gd name="T99" fmla="*/ 10453 h 13098"/>
                <a:gd name="T100" fmla="*/ 2236 w 16095"/>
                <a:gd name="T101" fmla="*/ 11368 h 13098"/>
                <a:gd name="T102" fmla="*/ 3702 w 16095"/>
                <a:gd name="T103" fmla="*/ 11901 h 13098"/>
                <a:gd name="T104" fmla="*/ 4567 w 16095"/>
                <a:gd name="T105" fmla="*/ 12848 h 13098"/>
                <a:gd name="T106" fmla="*/ 5876 w 16095"/>
                <a:gd name="T107" fmla="*/ 13069 h 13098"/>
                <a:gd name="T108" fmla="*/ 7006 w 16095"/>
                <a:gd name="T109" fmla="*/ 12446 h 13098"/>
                <a:gd name="T110" fmla="*/ 10208 w 16095"/>
                <a:gd name="T111" fmla="*/ 11824 h 13098"/>
                <a:gd name="T112" fmla="*/ 11035 w 16095"/>
                <a:gd name="T113" fmla="*/ 12807 h 13098"/>
                <a:gd name="T114" fmla="*/ 12330 w 16095"/>
                <a:gd name="T115" fmla="*/ 13081 h 13098"/>
                <a:gd name="T116" fmla="*/ 13489 w 16095"/>
                <a:gd name="T117" fmla="*/ 12505 h 13098"/>
                <a:gd name="T118" fmla="*/ 14740 w 16095"/>
                <a:gd name="T119" fmla="*/ 11579 h 13098"/>
                <a:gd name="T120" fmla="*/ 15750 w 16095"/>
                <a:gd name="T121" fmla="*/ 11036 h 13098"/>
                <a:gd name="T122" fmla="*/ 16095 w 16095"/>
                <a:gd name="T123" fmla="*/ 7025 h 13098"/>
                <a:gd name="T124" fmla="*/ 16023 w 16095"/>
                <a:gd name="T125" fmla="*/ 6588 h 130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95" h="13098">
                  <a:moveTo>
                    <a:pt x="15089" y="10075"/>
                  </a:moveTo>
                  <a:lnTo>
                    <a:pt x="15088" y="10101"/>
                  </a:lnTo>
                  <a:lnTo>
                    <a:pt x="15087" y="10127"/>
                  </a:lnTo>
                  <a:lnTo>
                    <a:pt x="15083" y="10152"/>
                  </a:lnTo>
                  <a:lnTo>
                    <a:pt x="15079" y="10177"/>
                  </a:lnTo>
                  <a:lnTo>
                    <a:pt x="15073" y="10201"/>
                  </a:lnTo>
                  <a:lnTo>
                    <a:pt x="15067" y="10225"/>
                  </a:lnTo>
                  <a:lnTo>
                    <a:pt x="15059" y="10248"/>
                  </a:lnTo>
                  <a:lnTo>
                    <a:pt x="15050" y="10272"/>
                  </a:lnTo>
                  <a:lnTo>
                    <a:pt x="15040" y="10294"/>
                  </a:lnTo>
                  <a:lnTo>
                    <a:pt x="15029" y="10316"/>
                  </a:lnTo>
                  <a:lnTo>
                    <a:pt x="15017" y="10337"/>
                  </a:lnTo>
                  <a:lnTo>
                    <a:pt x="15004" y="10357"/>
                  </a:lnTo>
                  <a:lnTo>
                    <a:pt x="14989" y="10376"/>
                  </a:lnTo>
                  <a:lnTo>
                    <a:pt x="14974" y="10396"/>
                  </a:lnTo>
                  <a:lnTo>
                    <a:pt x="14958" y="10414"/>
                  </a:lnTo>
                  <a:lnTo>
                    <a:pt x="14942" y="10432"/>
                  </a:lnTo>
                  <a:lnTo>
                    <a:pt x="14924" y="10448"/>
                  </a:lnTo>
                  <a:lnTo>
                    <a:pt x="14906" y="10464"/>
                  </a:lnTo>
                  <a:lnTo>
                    <a:pt x="14887" y="10479"/>
                  </a:lnTo>
                  <a:lnTo>
                    <a:pt x="14868" y="10493"/>
                  </a:lnTo>
                  <a:lnTo>
                    <a:pt x="14848" y="10506"/>
                  </a:lnTo>
                  <a:lnTo>
                    <a:pt x="14827" y="10519"/>
                  </a:lnTo>
                  <a:lnTo>
                    <a:pt x="14804" y="10530"/>
                  </a:lnTo>
                  <a:lnTo>
                    <a:pt x="14782" y="10540"/>
                  </a:lnTo>
                  <a:lnTo>
                    <a:pt x="14759" y="10549"/>
                  </a:lnTo>
                  <a:lnTo>
                    <a:pt x="14736" y="10557"/>
                  </a:lnTo>
                  <a:lnTo>
                    <a:pt x="14712" y="10563"/>
                  </a:lnTo>
                  <a:lnTo>
                    <a:pt x="14688" y="10569"/>
                  </a:lnTo>
                  <a:lnTo>
                    <a:pt x="14663" y="10573"/>
                  </a:lnTo>
                  <a:lnTo>
                    <a:pt x="14637" y="10577"/>
                  </a:lnTo>
                  <a:lnTo>
                    <a:pt x="14612" y="10578"/>
                  </a:lnTo>
                  <a:lnTo>
                    <a:pt x="14586" y="10579"/>
                  </a:lnTo>
                  <a:lnTo>
                    <a:pt x="14012" y="10579"/>
                  </a:lnTo>
                  <a:lnTo>
                    <a:pt x="13989" y="10498"/>
                  </a:lnTo>
                  <a:lnTo>
                    <a:pt x="13962" y="10419"/>
                  </a:lnTo>
                  <a:lnTo>
                    <a:pt x="13934" y="10341"/>
                  </a:lnTo>
                  <a:lnTo>
                    <a:pt x="13902" y="10266"/>
                  </a:lnTo>
                  <a:lnTo>
                    <a:pt x="13867" y="10191"/>
                  </a:lnTo>
                  <a:lnTo>
                    <a:pt x="13829" y="10117"/>
                  </a:lnTo>
                  <a:lnTo>
                    <a:pt x="13788" y="10047"/>
                  </a:lnTo>
                  <a:lnTo>
                    <a:pt x="13745" y="9977"/>
                  </a:lnTo>
                  <a:lnTo>
                    <a:pt x="13699" y="9910"/>
                  </a:lnTo>
                  <a:lnTo>
                    <a:pt x="13650" y="9844"/>
                  </a:lnTo>
                  <a:lnTo>
                    <a:pt x="13598" y="9781"/>
                  </a:lnTo>
                  <a:lnTo>
                    <a:pt x="13545" y="9719"/>
                  </a:lnTo>
                  <a:lnTo>
                    <a:pt x="13489" y="9661"/>
                  </a:lnTo>
                  <a:lnTo>
                    <a:pt x="13430" y="9605"/>
                  </a:lnTo>
                  <a:lnTo>
                    <a:pt x="13370" y="9550"/>
                  </a:lnTo>
                  <a:lnTo>
                    <a:pt x="13308" y="9499"/>
                  </a:lnTo>
                  <a:lnTo>
                    <a:pt x="13242" y="9449"/>
                  </a:lnTo>
                  <a:lnTo>
                    <a:pt x="13176" y="9402"/>
                  </a:lnTo>
                  <a:lnTo>
                    <a:pt x="13107" y="9359"/>
                  </a:lnTo>
                  <a:lnTo>
                    <a:pt x="13036" y="9317"/>
                  </a:lnTo>
                  <a:lnTo>
                    <a:pt x="12964" y="9279"/>
                  </a:lnTo>
                  <a:lnTo>
                    <a:pt x="12890" y="9244"/>
                  </a:lnTo>
                  <a:lnTo>
                    <a:pt x="12815" y="9212"/>
                  </a:lnTo>
                  <a:lnTo>
                    <a:pt x="12737" y="9182"/>
                  </a:lnTo>
                  <a:lnTo>
                    <a:pt x="12658" y="9156"/>
                  </a:lnTo>
                  <a:lnTo>
                    <a:pt x="12578" y="9133"/>
                  </a:lnTo>
                  <a:lnTo>
                    <a:pt x="12497" y="9113"/>
                  </a:lnTo>
                  <a:lnTo>
                    <a:pt x="12413" y="9097"/>
                  </a:lnTo>
                  <a:lnTo>
                    <a:pt x="12330" y="9085"/>
                  </a:lnTo>
                  <a:lnTo>
                    <a:pt x="12244" y="9076"/>
                  </a:lnTo>
                  <a:lnTo>
                    <a:pt x="12159" y="9070"/>
                  </a:lnTo>
                  <a:lnTo>
                    <a:pt x="12071" y="9068"/>
                  </a:lnTo>
                  <a:lnTo>
                    <a:pt x="11984" y="9070"/>
                  </a:lnTo>
                  <a:lnTo>
                    <a:pt x="11898" y="9076"/>
                  </a:lnTo>
                  <a:lnTo>
                    <a:pt x="11813" y="9085"/>
                  </a:lnTo>
                  <a:lnTo>
                    <a:pt x="11729" y="9097"/>
                  </a:lnTo>
                  <a:lnTo>
                    <a:pt x="11646" y="9113"/>
                  </a:lnTo>
                  <a:lnTo>
                    <a:pt x="11564" y="9133"/>
                  </a:lnTo>
                  <a:lnTo>
                    <a:pt x="11484" y="9156"/>
                  </a:lnTo>
                  <a:lnTo>
                    <a:pt x="11405" y="9182"/>
                  </a:lnTo>
                  <a:lnTo>
                    <a:pt x="11328" y="9212"/>
                  </a:lnTo>
                  <a:lnTo>
                    <a:pt x="11252" y="9244"/>
                  </a:lnTo>
                  <a:lnTo>
                    <a:pt x="11178" y="9279"/>
                  </a:lnTo>
                  <a:lnTo>
                    <a:pt x="11106" y="9317"/>
                  </a:lnTo>
                  <a:lnTo>
                    <a:pt x="11035" y="9359"/>
                  </a:lnTo>
                  <a:lnTo>
                    <a:pt x="10967" y="9402"/>
                  </a:lnTo>
                  <a:lnTo>
                    <a:pt x="10899" y="9449"/>
                  </a:lnTo>
                  <a:lnTo>
                    <a:pt x="10835" y="9499"/>
                  </a:lnTo>
                  <a:lnTo>
                    <a:pt x="10772" y="9550"/>
                  </a:lnTo>
                  <a:lnTo>
                    <a:pt x="10711" y="9605"/>
                  </a:lnTo>
                  <a:lnTo>
                    <a:pt x="10653" y="9661"/>
                  </a:lnTo>
                  <a:lnTo>
                    <a:pt x="10597" y="9719"/>
                  </a:lnTo>
                  <a:lnTo>
                    <a:pt x="10543" y="9781"/>
                  </a:lnTo>
                  <a:lnTo>
                    <a:pt x="10492" y="9844"/>
                  </a:lnTo>
                  <a:lnTo>
                    <a:pt x="10444" y="9910"/>
                  </a:lnTo>
                  <a:lnTo>
                    <a:pt x="10397" y="9977"/>
                  </a:lnTo>
                  <a:lnTo>
                    <a:pt x="10354" y="10047"/>
                  </a:lnTo>
                  <a:lnTo>
                    <a:pt x="10313" y="10117"/>
                  </a:lnTo>
                  <a:lnTo>
                    <a:pt x="10275" y="10191"/>
                  </a:lnTo>
                  <a:lnTo>
                    <a:pt x="10240" y="10266"/>
                  </a:lnTo>
                  <a:lnTo>
                    <a:pt x="10208" y="10341"/>
                  </a:lnTo>
                  <a:lnTo>
                    <a:pt x="10179" y="10419"/>
                  </a:lnTo>
                  <a:lnTo>
                    <a:pt x="10153" y="10498"/>
                  </a:lnTo>
                  <a:lnTo>
                    <a:pt x="10131" y="10579"/>
                  </a:lnTo>
                  <a:lnTo>
                    <a:pt x="7473" y="10579"/>
                  </a:lnTo>
                  <a:lnTo>
                    <a:pt x="7450" y="10498"/>
                  </a:lnTo>
                  <a:lnTo>
                    <a:pt x="7425" y="10419"/>
                  </a:lnTo>
                  <a:lnTo>
                    <a:pt x="7396" y="10341"/>
                  </a:lnTo>
                  <a:lnTo>
                    <a:pt x="7363" y="10266"/>
                  </a:lnTo>
                  <a:lnTo>
                    <a:pt x="7328" y="10191"/>
                  </a:lnTo>
                  <a:lnTo>
                    <a:pt x="7290" y="10117"/>
                  </a:lnTo>
                  <a:lnTo>
                    <a:pt x="7250" y="10047"/>
                  </a:lnTo>
                  <a:lnTo>
                    <a:pt x="7207" y="9977"/>
                  </a:lnTo>
                  <a:lnTo>
                    <a:pt x="7160" y="9910"/>
                  </a:lnTo>
                  <a:lnTo>
                    <a:pt x="7112" y="9844"/>
                  </a:lnTo>
                  <a:lnTo>
                    <a:pt x="7061" y="9781"/>
                  </a:lnTo>
                  <a:lnTo>
                    <a:pt x="7006" y="9719"/>
                  </a:lnTo>
                  <a:lnTo>
                    <a:pt x="6951" y="9661"/>
                  </a:lnTo>
                  <a:lnTo>
                    <a:pt x="6892" y="9605"/>
                  </a:lnTo>
                  <a:lnTo>
                    <a:pt x="6831" y="9550"/>
                  </a:lnTo>
                  <a:lnTo>
                    <a:pt x="6769" y="9499"/>
                  </a:lnTo>
                  <a:lnTo>
                    <a:pt x="6705" y="9449"/>
                  </a:lnTo>
                  <a:lnTo>
                    <a:pt x="6637" y="9402"/>
                  </a:lnTo>
                  <a:lnTo>
                    <a:pt x="6569" y="9359"/>
                  </a:lnTo>
                  <a:lnTo>
                    <a:pt x="6498" y="9317"/>
                  </a:lnTo>
                  <a:lnTo>
                    <a:pt x="6426" y="9279"/>
                  </a:lnTo>
                  <a:lnTo>
                    <a:pt x="6351" y="9244"/>
                  </a:lnTo>
                  <a:lnTo>
                    <a:pt x="6276" y="9212"/>
                  </a:lnTo>
                  <a:lnTo>
                    <a:pt x="6199" y="9182"/>
                  </a:lnTo>
                  <a:lnTo>
                    <a:pt x="6120" y="9156"/>
                  </a:lnTo>
                  <a:lnTo>
                    <a:pt x="6040" y="9133"/>
                  </a:lnTo>
                  <a:lnTo>
                    <a:pt x="5958" y="9113"/>
                  </a:lnTo>
                  <a:lnTo>
                    <a:pt x="5876" y="9097"/>
                  </a:lnTo>
                  <a:lnTo>
                    <a:pt x="5791" y="9085"/>
                  </a:lnTo>
                  <a:lnTo>
                    <a:pt x="5707" y="9076"/>
                  </a:lnTo>
                  <a:lnTo>
                    <a:pt x="5620" y="9070"/>
                  </a:lnTo>
                  <a:lnTo>
                    <a:pt x="5533" y="9068"/>
                  </a:lnTo>
                  <a:lnTo>
                    <a:pt x="5446" y="9070"/>
                  </a:lnTo>
                  <a:lnTo>
                    <a:pt x="5360" y="9076"/>
                  </a:lnTo>
                  <a:lnTo>
                    <a:pt x="5274" y="9085"/>
                  </a:lnTo>
                  <a:lnTo>
                    <a:pt x="5191" y="9097"/>
                  </a:lnTo>
                  <a:lnTo>
                    <a:pt x="5107" y="9113"/>
                  </a:lnTo>
                  <a:lnTo>
                    <a:pt x="5026" y="9133"/>
                  </a:lnTo>
                  <a:lnTo>
                    <a:pt x="4946" y="9156"/>
                  </a:lnTo>
                  <a:lnTo>
                    <a:pt x="4867" y="9182"/>
                  </a:lnTo>
                  <a:lnTo>
                    <a:pt x="4789" y="9212"/>
                  </a:lnTo>
                  <a:lnTo>
                    <a:pt x="4714" y="9244"/>
                  </a:lnTo>
                  <a:lnTo>
                    <a:pt x="4639" y="9279"/>
                  </a:lnTo>
                  <a:lnTo>
                    <a:pt x="4567" y="9317"/>
                  </a:lnTo>
                  <a:lnTo>
                    <a:pt x="4497" y="9359"/>
                  </a:lnTo>
                  <a:lnTo>
                    <a:pt x="4428" y="9402"/>
                  </a:lnTo>
                  <a:lnTo>
                    <a:pt x="4361" y="9449"/>
                  </a:lnTo>
                  <a:lnTo>
                    <a:pt x="4296" y="9499"/>
                  </a:lnTo>
                  <a:lnTo>
                    <a:pt x="4233" y="9550"/>
                  </a:lnTo>
                  <a:lnTo>
                    <a:pt x="4173" y="9605"/>
                  </a:lnTo>
                  <a:lnTo>
                    <a:pt x="4114" y="9661"/>
                  </a:lnTo>
                  <a:lnTo>
                    <a:pt x="4059" y="9719"/>
                  </a:lnTo>
                  <a:lnTo>
                    <a:pt x="4005" y="9781"/>
                  </a:lnTo>
                  <a:lnTo>
                    <a:pt x="3953" y="9844"/>
                  </a:lnTo>
                  <a:lnTo>
                    <a:pt x="3905" y="9910"/>
                  </a:lnTo>
                  <a:lnTo>
                    <a:pt x="3859" y="9977"/>
                  </a:lnTo>
                  <a:lnTo>
                    <a:pt x="3816" y="10047"/>
                  </a:lnTo>
                  <a:lnTo>
                    <a:pt x="3774" y="10117"/>
                  </a:lnTo>
                  <a:lnTo>
                    <a:pt x="3737" y="10191"/>
                  </a:lnTo>
                  <a:lnTo>
                    <a:pt x="3702" y="10266"/>
                  </a:lnTo>
                  <a:lnTo>
                    <a:pt x="3670" y="10341"/>
                  </a:lnTo>
                  <a:lnTo>
                    <a:pt x="3640" y="10419"/>
                  </a:lnTo>
                  <a:lnTo>
                    <a:pt x="3614" y="10498"/>
                  </a:lnTo>
                  <a:lnTo>
                    <a:pt x="3592" y="10579"/>
                  </a:lnTo>
                  <a:lnTo>
                    <a:pt x="3018" y="10579"/>
                  </a:lnTo>
                  <a:lnTo>
                    <a:pt x="2993" y="10578"/>
                  </a:lnTo>
                  <a:lnTo>
                    <a:pt x="2967" y="10577"/>
                  </a:lnTo>
                  <a:lnTo>
                    <a:pt x="2941" y="10573"/>
                  </a:lnTo>
                  <a:lnTo>
                    <a:pt x="2917" y="10569"/>
                  </a:lnTo>
                  <a:lnTo>
                    <a:pt x="2892" y="10563"/>
                  </a:lnTo>
                  <a:lnTo>
                    <a:pt x="2869" y="10557"/>
                  </a:lnTo>
                  <a:lnTo>
                    <a:pt x="2845" y="10549"/>
                  </a:lnTo>
                  <a:lnTo>
                    <a:pt x="2823" y="10540"/>
                  </a:lnTo>
                  <a:lnTo>
                    <a:pt x="2800" y="10530"/>
                  </a:lnTo>
                  <a:lnTo>
                    <a:pt x="2778" y="10519"/>
                  </a:lnTo>
                  <a:lnTo>
                    <a:pt x="2757" y="10506"/>
                  </a:lnTo>
                  <a:lnTo>
                    <a:pt x="2737" y="10493"/>
                  </a:lnTo>
                  <a:lnTo>
                    <a:pt x="2717" y="10479"/>
                  </a:lnTo>
                  <a:lnTo>
                    <a:pt x="2698" y="10464"/>
                  </a:lnTo>
                  <a:lnTo>
                    <a:pt x="2680" y="10448"/>
                  </a:lnTo>
                  <a:lnTo>
                    <a:pt x="2663" y="10432"/>
                  </a:lnTo>
                  <a:lnTo>
                    <a:pt x="2646" y="10414"/>
                  </a:lnTo>
                  <a:lnTo>
                    <a:pt x="2630" y="10396"/>
                  </a:lnTo>
                  <a:lnTo>
                    <a:pt x="2615" y="10376"/>
                  </a:lnTo>
                  <a:lnTo>
                    <a:pt x="2601" y="10357"/>
                  </a:lnTo>
                  <a:lnTo>
                    <a:pt x="2588" y="10337"/>
                  </a:lnTo>
                  <a:lnTo>
                    <a:pt x="2576" y="10316"/>
                  </a:lnTo>
                  <a:lnTo>
                    <a:pt x="2565" y="10294"/>
                  </a:lnTo>
                  <a:lnTo>
                    <a:pt x="2555" y="10272"/>
                  </a:lnTo>
                  <a:lnTo>
                    <a:pt x="2546" y="10248"/>
                  </a:lnTo>
                  <a:lnTo>
                    <a:pt x="2538" y="10225"/>
                  </a:lnTo>
                  <a:lnTo>
                    <a:pt x="2531" y="10201"/>
                  </a:lnTo>
                  <a:lnTo>
                    <a:pt x="2526" y="10177"/>
                  </a:lnTo>
                  <a:lnTo>
                    <a:pt x="2521" y="10152"/>
                  </a:lnTo>
                  <a:lnTo>
                    <a:pt x="2518" y="10127"/>
                  </a:lnTo>
                  <a:lnTo>
                    <a:pt x="2516" y="10101"/>
                  </a:lnTo>
                  <a:lnTo>
                    <a:pt x="2515" y="10075"/>
                  </a:lnTo>
                  <a:lnTo>
                    <a:pt x="2515" y="8564"/>
                  </a:lnTo>
                  <a:lnTo>
                    <a:pt x="9053" y="8564"/>
                  </a:lnTo>
                  <a:lnTo>
                    <a:pt x="9131" y="8562"/>
                  </a:lnTo>
                  <a:lnTo>
                    <a:pt x="9207" y="8557"/>
                  </a:lnTo>
                  <a:lnTo>
                    <a:pt x="9283" y="8547"/>
                  </a:lnTo>
                  <a:lnTo>
                    <a:pt x="9357" y="8533"/>
                  </a:lnTo>
                  <a:lnTo>
                    <a:pt x="9431" y="8516"/>
                  </a:lnTo>
                  <a:lnTo>
                    <a:pt x="9502" y="8496"/>
                  </a:lnTo>
                  <a:lnTo>
                    <a:pt x="9571" y="8472"/>
                  </a:lnTo>
                  <a:lnTo>
                    <a:pt x="9641" y="8445"/>
                  </a:lnTo>
                  <a:lnTo>
                    <a:pt x="9707" y="8415"/>
                  </a:lnTo>
                  <a:lnTo>
                    <a:pt x="9773" y="8381"/>
                  </a:lnTo>
                  <a:lnTo>
                    <a:pt x="9835" y="8345"/>
                  </a:lnTo>
                  <a:lnTo>
                    <a:pt x="9896" y="8306"/>
                  </a:lnTo>
                  <a:lnTo>
                    <a:pt x="9956" y="8263"/>
                  </a:lnTo>
                  <a:lnTo>
                    <a:pt x="10013" y="8218"/>
                  </a:lnTo>
                  <a:lnTo>
                    <a:pt x="10067" y="8171"/>
                  </a:lnTo>
                  <a:lnTo>
                    <a:pt x="10120" y="8120"/>
                  </a:lnTo>
                  <a:lnTo>
                    <a:pt x="10170" y="8068"/>
                  </a:lnTo>
                  <a:lnTo>
                    <a:pt x="10217" y="8014"/>
                  </a:lnTo>
                  <a:lnTo>
                    <a:pt x="10263" y="7956"/>
                  </a:lnTo>
                  <a:lnTo>
                    <a:pt x="10305" y="7897"/>
                  </a:lnTo>
                  <a:lnTo>
                    <a:pt x="10344" y="7836"/>
                  </a:lnTo>
                  <a:lnTo>
                    <a:pt x="10380" y="7773"/>
                  </a:lnTo>
                  <a:lnTo>
                    <a:pt x="10413" y="7707"/>
                  </a:lnTo>
                  <a:lnTo>
                    <a:pt x="10444" y="7641"/>
                  </a:lnTo>
                  <a:lnTo>
                    <a:pt x="10471" y="7572"/>
                  </a:lnTo>
                  <a:lnTo>
                    <a:pt x="10495" y="7502"/>
                  </a:lnTo>
                  <a:lnTo>
                    <a:pt x="10515" y="7430"/>
                  </a:lnTo>
                  <a:lnTo>
                    <a:pt x="10532" y="7357"/>
                  </a:lnTo>
                  <a:lnTo>
                    <a:pt x="10545" y="7283"/>
                  </a:lnTo>
                  <a:lnTo>
                    <a:pt x="10554" y="7207"/>
                  </a:lnTo>
                  <a:lnTo>
                    <a:pt x="10560" y="7131"/>
                  </a:lnTo>
                  <a:lnTo>
                    <a:pt x="10562" y="7052"/>
                  </a:lnTo>
                  <a:lnTo>
                    <a:pt x="10562" y="3527"/>
                  </a:lnTo>
                  <a:lnTo>
                    <a:pt x="12574" y="3527"/>
                  </a:lnTo>
                  <a:lnTo>
                    <a:pt x="12605" y="3528"/>
                  </a:lnTo>
                  <a:lnTo>
                    <a:pt x="12637" y="3530"/>
                  </a:lnTo>
                  <a:lnTo>
                    <a:pt x="12668" y="3535"/>
                  </a:lnTo>
                  <a:lnTo>
                    <a:pt x="12698" y="3542"/>
                  </a:lnTo>
                  <a:lnTo>
                    <a:pt x="12727" y="3550"/>
                  </a:lnTo>
                  <a:lnTo>
                    <a:pt x="12756" y="3560"/>
                  </a:lnTo>
                  <a:lnTo>
                    <a:pt x="12784" y="3572"/>
                  </a:lnTo>
                  <a:lnTo>
                    <a:pt x="12812" y="3586"/>
                  </a:lnTo>
                  <a:lnTo>
                    <a:pt x="12838" y="3601"/>
                  </a:lnTo>
                  <a:lnTo>
                    <a:pt x="12864" y="3618"/>
                  </a:lnTo>
                  <a:lnTo>
                    <a:pt x="12888" y="3636"/>
                  </a:lnTo>
                  <a:lnTo>
                    <a:pt x="12911" y="3657"/>
                  </a:lnTo>
                  <a:lnTo>
                    <a:pt x="12933" y="3678"/>
                  </a:lnTo>
                  <a:lnTo>
                    <a:pt x="12954" y="3701"/>
                  </a:lnTo>
                  <a:lnTo>
                    <a:pt x="12975" y="3725"/>
                  </a:lnTo>
                  <a:lnTo>
                    <a:pt x="12993" y="3750"/>
                  </a:lnTo>
                  <a:lnTo>
                    <a:pt x="15005" y="6773"/>
                  </a:lnTo>
                  <a:lnTo>
                    <a:pt x="15015" y="6788"/>
                  </a:lnTo>
                  <a:lnTo>
                    <a:pt x="15024" y="6804"/>
                  </a:lnTo>
                  <a:lnTo>
                    <a:pt x="15033" y="6822"/>
                  </a:lnTo>
                  <a:lnTo>
                    <a:pt x="15041" y="6838"/>
                  </a:lnTo>
                  <a:lnTo>
                    <a:pt x="15049" y="6855"/>
                  </a:lnTo>
                  <a:lnTo>
                    <a:pt x="15056" y="6872"/>
                  </a:lnTo>
                  <a:lnTo>
                    <a:pt x="15062" y="6889"/>
                  </a:lnTo>
                  <a:lnTo>
                    <a:pt x="15067" y="6907"/>
                  </a:lnTo>
                  <a:lnTo>
                    <a:pt x="15072" y="6924"/>
                  </a:lnTo>
                  <a:lnTo>
                    <a:pt x="15077" y="6942"/>
                  </a:lnTo>
                  <a:lnTo>
                    <a:pt x="15081" y="6961"/>
                  </a:lnTo>
                  <a:lnTo>
                    <a:pt x="15084" y="6979"/>
                  </a:lnTo>
                  <a:lnTo>
                    <a:pt x="15086" y="6997"/>
                  </a:lnTo>
                  <a:lnTo>
                    <a:pt x="15088" y="7016"/>
                  </a:lnTo>
                  <a:lnTo>
                    <a:pt x="15089" y="7034"/>
                  </a:lnTo>
                  <a:lnTo>
                    <a:pt x="15089" y="7052"/>
                  </a:lnTo>
                  <a:lnTo>
                    <a:pt x="15089" y="10075"/>
                  </a:lnTo>
                  <a:close/>
                  <a:moveTo>
                    <a:pt x="12071" y="12090"/>
                  </a:moveTo>
                  <a:lnTo>
                    <a:pt x="12020" y="12089"/>
                  </a:lnTo>
                  <a:lnTo>
                    <a:pt x="11969" y="12085"/>
                  </a:lnTo>
                  <a:lnTo>
                    <a:pt x="11918" y="12078"/>
                  </a:lnTo>
                  <a:lnTo>
                    <a:pt x="11869" y="12070"/>
                  </a:lnTo>
                  <a:lnTo>
                    <a:pt x="11820" y="12058"/>
                  </a:lnTo>
                  <a:lnTo>
                    <a:pt x="11772" y="12045"/>
                  </a:lnTo>
                  <a:lnTo>
                    <a:pt x="11725" y="12029"/>
                  </a:lnTo>
                  <a:lnTo>
                    <a:pt x="11680" y="12011"/>
                  </a:lnTo>
                  <a:lnTo>
                    <a:pt x="11636" y="11991"/>
                  </a:lnTo>
                  <a:lnTo>
                    <a:pt x="11591" y="11968"/>
                  </a:lnTo>
                  <a:lnTo>
                    <a:pt x="11550" y="11944"/>
                  </a:lnTo>
                  <a:lnTo>
                    <a:pt x="11509" y="11918"/>
                  </a:lnTo>
                  <a:lnTo>
                    <a:pt x="11470" y="11890"/>
                  </a:lnTo>
                  <a:lnTo>
                    <a:pt x="11431" y="11861"/>
                  </a:lnTo>
                  <a:lnTo>
                    <a:pt x="11395" y="11828"/>
                  </a:lnTo>
                  <a:lnTo>
                    <a:pt x="11360" y="11795"/>
                  </a:lnTo>
                  <a:lnTo>
                    <a:pt x="11327" y="11760"/>
                  </a:lnTo>
                  <a:lnTo>
                    <a:pt x="11295" y="11724"/>
                  </a:lnTo>
                  <a:lnTo>
                    <a:pt x="11265" y="11685"/>
                  </a:lnTo>
                  <a:lnTo>
                    <a:pt x="11237" y="11646"/>
                  </a:lnTo>
                  <a:lnTo>
                    <a:pt x="11211" y="11606"/>
                  </a:lnTo>
                  <a:lnTo>
                    <a:pt x="11187" y="11563"/>
                  </a:lnTo>
                  <a:lnTo>
                    <a:pt x="11165" y="11520"/>
                  </a:lnTo>
                  <a:lnTo>
                    <a:pt x="11145" y="11475"/>
                  </a:lnTo>
                  <a:lnTo>
                    <a:pt x="11127" y="11429"/>
                  </a:lnTo>
                  <a:lnTo>
                    <a:pt x="11111" y="11382"/>
                  </a:lnTo>
                  <a:lnTo>
                    <a:pt x="11098" y="11335"/>
                  </a:lnTo>
                  <a:lnTo>
                    <a:pt x="11086" y="11286"/>
                  </a:lnTo>
                  <a:lnTo>
                    <a:pt x="11077" y="11236"/>
                  </a:lnTo>
                  <a:lnTo>
                    <a:pt x="11070" y="11186"/>
                  </a:lnTo>
                  <a:lnTo>
                    <a:pt x="11067" y="11135"/>
                  </a:lnTo>
                  <a:lnTo>
                    <a:pt x="11065" y="11083"/>
                  </a:lnTo>
                  <a:lnTo>
                    <a:pt x="11067" y="11031"/>
                  </a:lnTo>
                  <a:lnTo>
                    <a:pt x="11070" y="10980"/>
                  </a:lnTo>
                  <a:lnTo>
                    <a:pt x="11077" y="10930"/>
                  </a:lnTo>
                  <a:lnTo>
                    <a:pt x="11086" y="10880"/>
                  </a:lnTo>
                  <a:lnTo>
                    <a:pt x="11098" y="10831"/>
                  </a:lnTo>
                  <a:lnTo>
                    <a:pt x="11111" y="10784"/>
                  </a:lnTo>
                  <a:lnTo>
                    <a:pt x="11127" y="10736"/>
                  </a:lnTo>
                  <a:lnTo>
                    <a:pt x="11145" y="10691"/>
                  </a:lnTo>
                  <a:lnTo>
                    <a:pt x="11165" y="10646"/>
                  </a:lnTo>
                  <a:lnTo>
                    <a:pt x="11187" y="10603"/>
                  </a:lnTo>
                  <a:lnTo>
                    <a:pt x="11211" y="10561"/>
                  </a:lnTo>
                  <a:lnTo>
                    <a:pt x="11237" y="10520"/>
                  </a:lnTo>
                  <a:lnTo>
                    <a:pt x="11265" y="10480"/>
                  </a:lnTo>
                  <a:lnTo>
                    <a:pt x="11295" y="10442"/>
                  </a:lnTo>
                  <a:lnTo>
                    <a:pt x="11327" y="10406"/>
                  </a:lnTo>
                  <a:lnTo>
                    <a:pt x="11360" y="10370"/>
                  </a:lnTo>
                  <a:lnTo>
                    <a:pt x="11395" y="10337"/>
                  </a:lnTo>
                  <a:lnTo>
                    <a:pt x="11431" y="10306"/>
                  </a:lnTo>
                  <a:lnTo>
                    <a:pt x="11470" y="10276"/>
                  </a:lnTo>
                  <a:lnTo>
                    <a:pt x="11509" y="10247"/>
                  </a:lnTo>
                  <a:lnTo>
                    <a:pt x="11550" y="10221"/>
                  </a:lnTo>
                  <a:lnTo>
                    <a:pt x="11591" y="10197"/>
                  </a:lnTo>
                  <a:lnTo>
                    <a:pt x="11636" y="10175"/>
                  </a:lnTo>
                  <a:lnTo>
                    <a:pt x="11680" y="10155"/>
                  </a:lnTo>
                  <a:lnTo>
                    <a:pt x="11725" y="10137"/>
                  </a:lnTo>
                  <a:lnTo>
                    <a:pt x="11772" y="10120"/>
                  </a:lnTo>
                  <a:lnTo>
                    <a:pt x="11820" y="10107"/>
                  </a:lnTo>
                  <a:lnTo>
                    <a:pt x="11869" y="10096"/>
                  </a:lnTo>
                  <a:lnTo>
                    <a:pt x="11918" y="10087"/>
                  </a:lnTo>
                  <a:lnTo>
                    <a:pt x="11969" y="10080"/>
                  </a:lnTo>
                  <a:lnTo>
                    <a:pt x="12020" y="10076"/>
                  </a:lnTo>
                  <a:lnTo>
                    <a:pt x="12071" y="10075"/>
                  </a:lnTo>
                  <a:lnTo>
                    <a:pt x="12124" y="10076"/>
                  </a:lnTo>
                  <a:lnTo>
                    <a:pt x="12174" y="10080"/>
                  </a:lnTo>
                  <a:lnTo>
                    <a:pt x="12224" y="10087"/>
                  </a:lnTo>
                  <a:lnTo>
                    <a:pt x="12274" y="10096"/>
                  </a:lnTo>
                  <a:lnTo>
                    <a:pt x="12323" y="10107"/>
                  </a:lnTo>
                  <a:lnTo>
                    <a:pt x="12370" y="10120"/>
                  </a:lnTo>
                  <a:lnTo>
                    <a:pt x="12417" y="10137"/>
                  </a:lnTo>
                  <a:lnTo>
                    <a:pt x="12463" y="10155"/>
                  </a:lnTo>
                  <a:lnTo>
                    <a:pt x="12508" y="10175"/>
                  </a:lnTo>
                  <a:lnTo>
                    <a:pt x="12551" y="10197"/>
                  </a:lnTo>
                  <a:lnTo>
                    <a:pt x="12593" y="10221"/>
                  </a:lnTo>
                  <a:lnTo>
                    <a:pt x="12634" y="10247"/>
                  </a:lnTo>
                  <a:lnTo>
                    <a:pt x="12673" y="10276"/>
                  </a:lnTo>
                  <a:lnTo>
                    <a:pt x="12711" y="10306"/>
                  </a:lnTo>
                  <a:lnTo>
                    <a:pt x="12747" y="10337"/>
                  </a:lnTo>
                  <a:lnTo>
                    <a:pt x="12782" y="10370"/>
                  </a:lnTo>
                  <a:lnTo>
                    <a:pt x="12816" y="10406"/>
                  </a:lnTo>
                  <a:lnTo>
                    <a:pt x="12848" y="10442"/>
                  </a:lnTo>
                  <a:lnTo>
                    <a:pt x="12877" y="10480"/>
                  </a:lnTo>
                  <a:lnTo>
                    <a:pt x="12905" y="10520"/>
                  </a:lnTo>
                  <a:lnTo>
                    <a:pt x="12931" y="10561"/>
                  </a:lnTo>
                  <a:lnTo>
                    <a:pt x="12955" y="10603"/>
                  </a:lnTo>
                  <a:lnTo>
                    <a:pt x="12978" y="10646"/>
                  </a:lnTo>
                  <a:lnTo>
                    <a:pt x="12999" y="10691"/>
                  </a:lnTo>
                  <a:lnTo>
                    <a:pt x="13016" y="10736"/>
                  </a:lnTo>
                  <a:lnTo>
                    <a:pt x="13032" y="10784"/>
                  </a:lnTo>
                  <a:lnTo>
                    <a:pt x="13046" y="10831"/>
                  </a:lnTo>
                  <a:lnTo>
                    <a:pt x="13057" y="10880"/>
                  </a:lnTo>
                  <a:lnTo>
                    <a:pt x="13066" y="10930"/>
                  </a:lnTo>
                  <a:lnTo>
                    <a:pt x="13072" y="10980"/>
                  </a:lnTo>
                  <a:lnTo>
                    <a:pt x="13076" y="11031"/>
                  </a:lnTo>
                  <a:lnTo>
                    <a:pt x="13077" y="11083"/>
                  </a:lnTo>
                  <a:lnTo>
                    <a:pt x="13076" y="11135"/>
                  </a:lnTo>
                  <a:lnTo>
                    <a:pt x="13072" y="11186"/>
                  </a:lnTo>
                  <a:lnTo>
                    <a:pt x="13066" y="11236"/>
                  </a:lnTo>
                  <a:lnTo>
                    <a:pt x="13057" y="11286"/>
                  </a:lnTo>
                  <a:lnTo>
                    <a:pt x="13046" y="11335"/>
                  </a:lnTo>
                  <a:lnTo>
                    <a:pt x="13032" y="11382"/>
                  </a:lnTo>
                  <a:lnTo>
                    <a:pt x="13016" y="11429"/>
                  </a:lnTo>
                  <a:lnTo>
                    <a:pt x="12999" y="11475"/>
                  </a:lnTo>
                  <a:lnTo>
                    <a:pt x="12978" y="11520"/>
                  </a:lnTo>
                  <a:lnTo>
                    <a:pt x="12955" y="11563"/>
                  </a:lnTo>
                  <a:lnTo>
                    <a:pt x="12931" y="11606"/>
                  </a:lnTo>
                  <a:lnTo>
                    <a:pt x="12905" y="11646"/>
                  </a:lnTo>
                  <a:lnTo>
                    <a:pt x="12877" y="11685"/>
                  </a:lnTo>
                  <a:lnTo>
                    <a:pt x="12848" y="11724"/>
                  </a:lnTo>
                  <a:lnTo>
                    <a:pt x="12816" y="11760"/>
                  </a:lnTo>
                  <a:lnTo>
                    <a:pt x="12782" y="11795"/>
                  </a:lnTo>
                  <a:lnTo>
                    <a:pt x="12747" y="11828"/>
                  </a:lnTo>
                  <a:lnTo>
                    <a:pt x="12711" y="11861"/>
                  </a:lnTo>
                  <a:lnTo>
                    <a:pt x="12673" y="11890"/>
                  </a:lnTo>
                  <a:lnTo>
                    <a:pt x="12634" y="11918"/>
                  </a:lnTo>
                  <a:lnTo>
                    <a:pt x="12593" y="11944"/>
                  </a:lnTo>
                  <a:lnTo>
                    <a:pt x="12551" y="11968"/>
                  </a:lnTo>
                  <a:lnTo>
                    <a:pt x="12508" y="11991"/>
                  </a:lnTo>
                  <a:lnTo>
                    <a:pt x="12463" y="12011"/>
                  </a:lnTo>
                  <a:lnTo>
                    <a:pt x="12417" y="12029"/>
                  </a:lnTo>
                  <a:lnTo>
                    <a:pt x="12370" y="12045"/>
                  </a:lnTo>
                  <a:lnTo>
                    <a:pt x="12323" y="12058"/>
                  </a:lnTo>
                  <a:lnTo>
                    <a:pt x="12274" y="12070"/>
                  </a:lnTo>
                  <a:lnTo>
                    <a:pt x="12224" y="12078"/>
                  </a:lnTo>
                  <a:lnTo>
                    <a:pt x="12174" y="12085"/>
                  </a:lnTo>
                  <a:lnTo>
                    <a:pt x="12124" y="12089"/>
                  </a:lnTo>
                  <a:lnTo>
                    <a:pt x="12071" y="12090"/>
                  </a:lnTo>
                  <a:close/>
                  <a:moveTo>
                    <a:pt x="5533" y="12090"/>
                  </a:moveTo>
                  <a:lnTo>
                    <a:pt x="5481" y="12089"/>
                  </a:lnTo>
                  <a:lnTo>
                    <a:pt x="5430" y="12085"/>
                  </a:lnTo>
                  <a:lnTo>
                    <a:pt x="5380" y="12078"/>
                  </a:lnTo>
                  <a:lnTo>
                    <a:pt x="5330" y="12070"/>
                  </a:lnTo>
                  <a:lnTo>
                    <a:pt x="5281" y="12058"/>
                  </a:lnTo>
                  <a:lnTo>
                    <a:pt x="5234" y="12045"/>
                  </a:lnTo>
                  <a:lnTo>
                    <a:pt x="5187" y="12029"/>
                  </a:lnTo>
                  <a:lnTo>
                    <a:pt x="5141" y="12011"/>
                  </a:lnTo>
                  <a:lnTo>
                    <a:pt x="5097" y="11991"/>
                  </a:lnTo>
                  <a:lnTo>
                    <a:pt x="5054" y="11968"/>
                  </a:lnTo>
                  <a:lnTo>
                    <a:pt x="5012" y="11944"/>
                  </a:lnTo>
                  <a:lnTo>
                    <a:pt x="4970" y="11918"/>
                  </a:lnTo>
                  <a:lnTo>
                    <a:pt x="4931" y="11890"/>
                  </a:lnTo>
                  <a:lnTo>
                    <a:pt x="4893" y="11861"/>
                  </a:lnTo>
                  <a:lnTo>
                    <a:pt x="4857" y="11828"/>
                  </a:lnTo>
                  <a:lnTo>
                    <a:pt x="4821" y="11795"/>
                  </a:lnTo>
                  <a:lnTo>
                    <a:pt x="4788" y="11760"/>
                  </a:lnTo>
                  <a:lnTo>
                    <a:pt x="4757" y="11724"/>
                  </a:lnTo>
                  <a:lnTo>
                    <a:pt x="4727" y="11685"/>
                  </a:lnTo>
                  <a:lnTo>
                    <a:pt x="4699" y="11646"/>
                  </a:lnTo>
                  <a:lnTo>
                    <a:pt x="4673" y="11606"/>
                  </a:lnTo>
                  <a:lnTo>
                    <a:pt x="4648" y="11563"/>
                  </a:lnTo>
                  <a:lnTo>
                    <a:pt x="4626" y="11520"/>
                  </a:lnTo>
                  <a:lnTo>
                    <a:pt x="4606" y="11475"/>
                  </a:lnTo>
                  <a:lnTo>
                    <a:pt x="4588" y="11429"/>
                  </a:lnTo>
                  <a:lnTo>
                    <a:pt x="4572" y="11382"/>
                  </a:lnTo>
                  <a:lnTo>
                    <a:pt x="4559" y="11335"/>
                  </a:lnTo>
                  <a:lnTo>
                    <a:pt x="4548" y="11286"/>
                  </a:lnTo>
                  <a:lnTo>
                    <a:pt x="4539" y="11236"/>
                  </a:lnTo>
                  <a:lnTo>
                    <a:pt x="4533" y="11186"/>
                  </a:lnTo>
                  <a:lnTo>
                    <a:pt x="4529" y="11135"/>
                  </a:lnTo>
                  <a:lnTo>
                    <a:pt x="4527" y="11083"/>
                  </a:lnTo>
                  <a:lnTo>
                    <a:pt x="4529" y="11031"/>
                  </a:lnTo>
                  <a:lnTo>
                    <a:pt x="4533" y="10980"/>
                  </a:lnTo>
                  <a:lnTo>
                    <a:pt x="4539" y="10930"/>
                  </a:lnTo>
                  <a:lnTo>
                    <a:pt x="4548" y="10880"/>
                  </a:lnTo>
                  <a:lnTo>
                    <a:pt x="4559" y="10831"/>
                  </a:lnTo>
                  <a:lnTo>
                    <a:pt x="4572" y="10784"/>
                  </a:lnTo>
                  <a:lnTo>
                    <a:pt x="4588" y="10736"/>
                  </a:lnTo>
                  <a:lnTo>
                    <a:pt x="4606" y="10691"/>
                  </a:lnTo>
                  <a:lnTo>
                    <a:pt x="4626" y="10646"/>
                  </a:lnTo>
                  <a:lnTo>
                    <a:pt x="4648" y="10603"/>
                  </a:lnTo>
                  <a:lnTo>
                    <a:pt x="4673" y="10561"/>
                  </a:lnTo>
                  <a:lnTo>
                    <a:pt x="4699" y="10520"/>
                  </a:lnTo>
                  <a:lnTo>
                    <a:pt x="4727" y="10480"/>
                  </a:lnTo>
                  <a:lnTo>
                    <a:pt x="4757" y="10442"/>
                  </a:lnTo>
                  <a:lnTo>
                    <a:pt x="4788" y="10406"/>
                  </a:lnTo>
                  <a:lnTo>
                    <a:pt x="4821" y="10370"/>
                  </a:lnTo>
                  <a:lnTo>
                    <a:pt x="4857" y="10337"/>
                  </a:lnTo>
                  <a:lnTo>
                    <a:pt x="4893" y="10306"/>
                  </a:lnTo>
                  <a:lnTo>
                    <a:pt x="4931" y="10276"/>
                  </a:lnTo>
                  <a:lnTo>
                    <a:pt x="4970" y="10247"/>
                  </a:lnTo>
                  <a:lnTo>
                    <a:pt x="5012" y="10221"/>
                  </a:lnTo>
                  <a:lnTo>
                    <a:pt x="5054" y="10197"/>
                  </a:lnTo>
                  <a:lnTo>
                    <a:pt x="5097" y="10175"/>
                  </a:lnTo>
                  <a:lnTo>
                    <a:pt x="5141" y="10155"/>
                  </a:lnTo>
                  <a:lnTo>
                    <a:pt x="5187" y="10137"/>
                  </a:lnTo>
                  <a:lnTo>
                    <a:pt x="5234" y="10120"/>
                  </a:lnTo>
                  <a:lnTo>
                    <a:pt x="5281" y="10107"/>
                  </a:lnTo>
                  <a:lnTo>
                    <a:pt x="5330" y="10096"/>
                  </a:lnTo>
                  <a:lnTo>
                    <a:pt x="5380" y="10087"/>
                  </a:lnTo>
                  <a:lnTo>
                    <a:pt x="5430" y="10080"/>
                  </a:lnTo>
                  <a:lnTo>
                    <a:pt x="5481" y="10076"/>
                  </a:lnTo>
                  <a:lnTo>
                    <a:pt x="5533" y="10075"/>
                  </a:lnTo>
                  <a:lnTo>
                    <a:pt x="5585" y="10076"/>
                  </a:lnTo>
                  <a:lnTo>
                    <a:pt x="5636" y="10080"/>
                  </a:lnTo>
                  <a:lnTo>
                    <a:pt x="5687" y="10087"/>
                  </a:lnTo>
                  <a:lnTo>
                    <a:pt x="5736" y="10096"/>
                  </a:lnTo>
                  <a:lnTo>
                    <a:pt x="5784" y="10107"/>
                  </a:lnTo>
                  <a:lnTo>
                    <a:pt x="5832" y="10120"/>
                  </a:lnTo>
                  <a:lnTo>
                    <a:pt x="5879" y="10137"/>
                  </a:lnTo>
                  <a:lnTo>
                    <a:pt x="5924" y="10155"/>
                  </a:lnTo>
                  <a:lnTo>
                    <a:pt x="5969" y="10175"/>
                  </a:lnTo>
                  <a:lnTo>
                    <a:pt x="6012" y="10197"/>
                  </a:lnTo>
                  <a:lnTo>
                    <a:pt x="6055" y="10221"/>
                  </a:lnTo>
                  <a:lnTo>
                    <a:pt x="6095" y="10247"/>
                  </a:lnTo>
                  <a:lnTo>
                    <a:pt x="6135" y="10276"/>
                  </a:lnTo>
                  <a:lnTo>
                    <a:pt x="6172" y="10306"/>
                  </a:lnTo>
                  <a:lnTo>
                    <a:pt x="6210" y="10337"/>
                  </a:lnTo>
                  <a:lnTo>
                    <a:pt x="6244" y="10370"/>
                  </a:lnTo>
                  <a:lnTo>
                    <a:pt x="6277" y="10406"/>
                  </a:lnTo>
                  <a:lnTo>
                    <a:pt x="6309" y="10442"/>
                  </a:lnTo>
                  <a:lnTo>
                    <a:pt x="6339" y="10480"/>
                  </a:lnTo>
                  <a:lnTo>
                    <a:pt x="6368" y="10520"/>
                  </a:lnTo>
                  <a:lnTo>
                    <a:pt x="6394" y="10561"/>
                  </a:lnTo>
                  <a:lnTo>
                    <a:pt x="6418" y="10603"/>
                  </a:lnTo>
                  <a:lnTo>
                    <a:pt x="6440" y="10646"/>
                  </a:lnTo>
                  <a:lnTo>
                    <a:pt x="6460" y="10691"/>
                  </a:lnTo>
                  <a:lnTo>
                    <a:pt x="6478" y="10736"/>
                  </a:lnTo>
                  <a:lnTo>
                    <a:pt x="6493" y="10784"/>
                  </a:lnTo>
                  <a:lnTo>
                    <a:pt x="6507" y="10831"/>
                  </a:lnTo>
                  <a:lnTo>
                    <a:pt x="6518" y="10880"/>
                  </a:lnTo>
                  <a:lnTo>
                    <a:pt x="6528" y="10930"/>
                  </a:lnTo>
                  <a:lnTo>
                    <a:pt x="6534" y="10980"/>
                  </a:lnTo>
                  <a:lnTo>
                    <a:pt x="6538" y="11031"/>
                  </a:lnTo>
                  <a:lnTo>
                    <a:pt x="6539" y="11083"/>
                  </a:lnTo>
                  <a:lnTo>
                    <a:pt x="6538" y="11135"/>
                  </a:lnTo>
                  <a:lnTo>
                    <a:pt x="6534" y="11186"/>
                  </a:lnTo>
                  <a:lnTo>
                    <a:pt x="6528" y="11236"/>
                  </a:lnTo>
                  <a:lnTo>
                    <a:pt x="6518" y="11286"/>
                  </a:lnTo>
                  <a:lnTo>
                    <a:pt x="6507" y="11335"/>
                  </a:lnTo>
                  <a:lnTo>
                    <a:pt x="6493" y="11382"/>
                  </a:lnTo>
                  <a:lnTo>
                    <a:pt x="6478" y="11429"/>
                  </a:lnTo>
                  <a:lnTo>
                    <a:pt x="6460" y="11475"/>
                  </a:lnTo>
                  <a:lnTo>
                    <a:pt x="6440" y="11520"/>
                  </a:lnTo>
                  <a:lnTo>
                    <a:pt x="6418" y="11563"/>
                  </a:lnTo>
                  <a:lnTo>
                    <a:pt x="6394" y="11606"/>
                  </a:lnTo>
                  <a:lnTo>
                    <a:pt x="6368" y="11646"/>
                  </a:lnTo>
                  <a:lnTo>
                    <a:pt x="6339" y="11685"/>
                  </a:lnTo>
                  <a:lnTo>
                    <a:pt x="6309" y="11724"/>
                  </a:lnTo>
                  <a:lnTo>
                    <a:pt x="6277" y="11760"/>
                  </a:lnTo>
                  <a:lnTo>
                    <a:pt x="6244" y="11795"/>
                  </a:lnTo>
                  <a:lnTo>
                    <a:pt x="6210" y="11828"/>
                  </a:lnTo>
                  <a:lnTo>
                    <a:pt x="6172" y="11861"/>
                  </a:lnTo>
                  <a:lnTo>
                    <a:pt x="6135" y="11890"/>
                  </a:lnTo>
                  <a:lnTo>
                    <a:pt x="6095" y="11918"/>
                  </a:lnTo>
                  <a:lnTo>
                    <a:pt x="6055" y="11944"/>
                  </a:lnTo>
                  <a:lnTo>
                    <a:pt x="6012" y="11968"/>
                  </a:lnTo>
                  <a:lnTo>
                    <a:pt x="5969" y="11991"/>
                  </a:lnTo>
                  <a:lnTo>
                    <a:pt x="5924" y="12011"/>
                  </a:lnTo>
                  <a:lnTo>
                    <a:pt x="5879" y="12029"/>
                  </a:lnTo>
                  <a:lnTo>
                    <a:pt x="5832" y="12045"/>
                  </a:lnTo>
                  <a:lnTo>
                    <a:pt x="5784" y="12058"/>
                  </a:lnTo>
                  <a:lnTo>
                    <a:pt x="5736" y="12070"/>
                  </a:lnTo>
                  <a:lnTo>
                    <a:pt x="5687" y="12078"/>
                  </a:lnTo>
                  <a:lnTo>
                    <a:pt x="5636" y="12085"/>
                  </a:lnTo>
                  <a:lnTo>
                    <a:pt x="5585" y="12089"/>
                  </a:lnTo>
                  <a:lnTo>
                    <a:pt x="5533" y="12090"/>
                  </a:lnTo>
                  <a:close/>
                  <a:moveTo>
                    <a:pt x="1509" y="7556"/>
                  </a:moveTo>
                  <a:lnTo>
                    <a:pt x="1483" y="7556"/>
                  </a:lnTo>
                  <a:lnTo>
                    <a:pt x="1458" y="7554"/>
                  </a:lnTo>
                  <a:lnTo>
                    <a:pt x="1432" y="7551"/>
                  </a:lnTo>
                  <a:lnTo>
                    <a:pt x="1407" y="7546"/>
                  </a:lnTo>
                  <a:lnTo>
                    <a:pt x="1383" y="7541"/>
                  </a:lnTo>
                  <a:lnTo>
                    <a:pt x="1359" y="7534"/>
                  </a:lnTo>
                  <a:lnTo>
                    <a:pt x="1336" y="7526"/>
                  </a:lnTo>
                  <a:lnTo>
                    <a:pt x="1313" y="7517"/>
                  </a:lnTo>
                  <a:lnTo>
                    <a:pt x="1291" y="7507"/>
                  </a:lnTo>
                  <a:lnTo>
                    <a:pt x="1269" y="7496"/>
                  </a:lnTo>
                  <a:lnTo>
                    <a:pt x="1248" y="7484"/>
                  </a:lnTo>
                  <a:lnTo>
                    <a:pt x="1228" y="7470"/>
                  </a:lnTo>
                  <a:lnTo>
                    <a:pt x="1208" y="7456"/>
                  </a:lnTo>
                  <a:lnTo>
                    <a:pt x="1189" y="7441"/>
                  </a:lnTo>
                  <a:lnTo>
                    <a:pt x="1171" y="7426"/>
                  </a:lnTo>
                  <a:lnTo>
                    <a:pt x="1154" y="7409"/>
                  </a:lnTo>
                  <a:lnTo>
                    <a:pt x="1137" y="7392"/>
                  </a:lnTo>
                  <a:lnTo>
                    <a:pt x="1121" y="7374"/>
                  </a:lnTo>
                  <a:lnTo>
                    <a:pt x="1106" y="7355"/>
                  </a:lnTo>
                  <a:lnTo>
                    <a:pt x="1091" y="7334"/>
                  </a:lnTo>
                  <a:lnTo>
                    <a:pt x="1078" y="7314"/>
                  </a:lnTo>
                  <a:lnTo>
                    <a:pt x="1066" y="7293"/>
                  </a:lnTo>
                  <a:lnTo>
                    <a:pt x="1055" y="7271"/>
                  </a:lnTo>
                  <a:lnTo>
                    <a:pt x="1045" y="7249"/>
                  </a:lnTo>
                  <a:lnTo>
                    <a:pt x="1036" y="7226"/>
                  </a:lnTo>
                  <a:lnTo>
                    <a:pt x="1029" y="7202"/>
                  </a:lnTo>
                  <a:lnTo>
                    <a:pt x="1022" y="7179"/>
                  </a:lnTo>
                  <a:lnTo>
                    <a:pt x="1016" y="7154"/>
                  </a:lnTo>
                  <a:lnTo>
                    <a:pt x="1012" y="7130"/>
                  </a:lnTo>
                  <a:lnTo>
                    <a:pt x="1009" y="7105"/>
                  </a:lnTo>
                  <a:lnTo>
                    <a:pt x="1007" y="7079"/>
                  </a:lnTo>
                  <a:lnTo>
                    <a:pt x="1006" y="7052"/>
                  </a:lnTo>
                  <a:lnTo>
                    <a:pt x="1006" y="1511"/>
                  </a:lnTo>
                  <a:lnTo>
                    <a:pt x="1007" y="1485"/>
                  </a:lnTo>
                  <a:lnTo>
                    <a:pt x="1009" y="1460"/>
                  </a:lnTo>
                  <a:lnTo>
                    <a:pt x="1012" y="1435"/>
                  </a:lnTo>
                  <a:lnTo>
                    <a:pt x="1016" y="1410"/>
                  </a:lnTo>
                  <a:lnTo>
                    <a:pt x="1022" y="1385"/>
                  </a:lnTo>
                  <a:lnTo>
                    <a:pt x="1029" y="1361"/>
                  </a:lnTo>
                  <a:lnTo>
                    <a:pt x="1036" y="1338"/>
                  </a:lnTo>
                  <a:lnTo>
                    <a:pt x="1045" y="1315"/>
                  </a:lnTo>
                  <a:lnTo>
                    <a:pt x="1055" y="1293"/>
                  </a:lnTo>
                  <a:lnTo>
                    <a:pt x="1066" y="1271"/>
                  </a:lnTo>
                  <a:lnTo>
                    <a:pt x="1078" y="1249"/>
                  </a:lnTo>
                  <a:lnTo>
                    <a:pt x="1091" y="1229"/>
                  </a:lnTo>
                  <a:lnTo>
                    <a:pt x="1106" y="1209"/>
                  </a:lnTo>
                  <a:lnTo>
                    <a:pt x="1121" y="1191"/>
                  </a:lnTo>
                  <a:lnTo>
                    <a:pt x="1137" y="1172"/>
                  </a:lnTo>
                  <a:lnTo>
                    <a:pt x="1154" y="1155"/>
                  </a:lnTo>
                  <a:lnTo>
                    <a:pt x="1171" y="1138"/>
                  </a:lnTo>
                  <a:lnTo>
                    <a:pt x="1189" y="1122"/>
                  </a:lnTo>
                  <a:lnTo>
                    <a:pt x="1208" y="1107"/>
                  </a:lnTo>
                  <a:lnTo>
                    <a:pt x="1228" y="1093"/>
                  </a:lnTo>
                  <a:lnTo>
                    <a:pt x="1248" y="1080"/>
                  </a:lnTo>
                  <a:lnTo>
                    <a:pt x="1269" y="1068"/>
                  </a:lnTo>
                  <a:lnTo>
                    <a:pt x="1291" y="1057"/>
                  </a:lnTo>
                  <a:lnTo>
                    <a:pt x="1313" y="1047"/>
                  </a:lnTo>
                  <a:lnTo>
                    <a:pt x="1336" y="1038"/>
                  </a:lnTo>
                  <a:lnTo>
                    <a:pt x="1359" y="1030"/>
                  </a:lnTo>
                  <a:lnTo>
                    <a:pt x="1383" y="1023"/>
                  </a:lnTo>
                  <a:lnTo>
                    <a:pt x="1407" y="1018"/>
                  </a:lnTo>
                  <a:lnTo>
                    <a:pt x="1432" y="1013"/>
                  </a:lnTo>
                  <a:lnTo>
                    <a:pt x="1458" y="1010"/>
                  </a:lnTo>
                  <a:lnTo>
                    <a:pt x="1483" y="1008"/>
                  </a:lnTo>
                  <a:lnTo>
                    <a:pt x="1509" y="1008"/>
                  </a:lnTo>
                  <a:lnTo>
                    <a:pt x="9053" y="1008"/>
                  </a:lnTo>
                  <a:lnTo>
                    <a:pt x="9080" y="1008"/>
                  </a:lnTo>
                  <a:lnTo>
                    <a:pt x="9105" y="1010"/>
                  </a:lnTo>
                  <a:lnTo>
                    <a:pt x="9131" y="1013"/>
                  </a:lnTo>
                  <a:lnTo>
                    <a:pt x="9155" y="1018"/>
                  </a:lnTo>
                  <a:lnTo>
                    <a:pt x="9179" y="1023"/>
                  </a:lnTo>
                  <a:lnTo>
                    <a:pt x="9203" y="1030"/>
                  </a:lnTo>
                  <a:lnTo>
                    <a:pt x="9226" y="1038"/>
                  </a:lnTo>
                  <a:lnTo>
                    <a:pt x="9250" y="1047"/>
                  </a:lnTo>
                  <a:lnTo>
                    <a:pt x="9272" y="1057"/>
                  </a:lnTo>
                  <a:lnTo>
                    <a:pt x="9294" y="1068"/>
                  </a:lnTo>
                  <a:lnTo>
                    <a:pt x="9315" y="1080"/>
                  </a:lnTo>
                  <a:lnTo>
                    <a:pt x="9335" y="1093"/>
                  </a:lnTo>
                  <a:lnTo>
                    <a:pt x="9355" y="1107"/>
                  </a:lnTo>
                  <a:lnTo>
                    <a:pt x="9373" y="1122"/>
                  </a:lnTo>
                  <a:lnTo>
                    <a:pt x="9392" y="1138"/>
                  </a:lnTo>
                  <a:lnTo>
                    <a:pt x="9410" y="1155"/>
                  </a:lnTo>
                  <a:lnTo>
                    <a:pt x="9426" y="1172"/>
                  </a:lnTo>
                  <a:lnTo>
                    <a:pt x="9442" y="1191"/>
                  </a:lnTo>
                  <a:lnTo>
                    <a:pt x="9457" y="1209"/>
                  </a:lnTo>
                  <a:lnTo>
                    <a:pt x="9471" y="1229"/>
                  </a:lnTo>
                  <a:lnTo>
                    <a:pt x="9484" y="1249"/>
                  </a:lnTo>
                  <a:lnTo>
                    <a:pt x="9496" y="1271"/>
                  </a:lnTo>
                  <a:lnTo>
                    <a:pt x="9507" y="1293"/>
                  </a:lnTo>
                  <a:lnTo>
                    <a:pt x="9517" y="1315"/>
                  </a:lnTo>
                  <a:lnTo>
                    <a:pt x="9526" y="1338"/>
                  </a:lnTo>
                  <a:lnTo>
                    <a:pt x="9534" y="1361"/>
                  </a:lnTo>
                  <a:lnTo>
                    <a:pt x="9541" y="1385"/>
                  </a:lnTo>
                  <a:lnTo>
                    <a:pt x="9546" y="1410"/>
                  </a:lnTo>
                  <a:lnTo>
                    <a:pt x="9550" y="1435"/>
                  </a:lnTo>
                  <a:lnTo>
                    <a:pt x="9554" y="1460"/>
                  </a:lnTo>
                  <a:lnTo>
                    <a:pt x="9556" y="1485"/>
                  </a:lnTo>
                  <a:lnTo>
                    <a:pt x="9556" y="1511"/>
                  </a:lnTo>
                  <a:lnTo>
                    <a:pt x="9556" y="2519"/>
                  </a:lnTo>
                  <a:lnTo>
                    <a:pt x="9556" y="3527"/>
                  </a:lnTo>
                  <a:lnTo>
                    <a:pt x="9556" y="7052"/>
                  </a:lnTo>
                  <a:lnTo>
                    <a:pt x="9556" y="7079"/>
                  </a:lnTo>
                  <a:lnTo>
                    <a:pt x="9554" y="7105"/>
                  </a:lnTo>
                  <a:lnTo>
                    <a:pt x="9550" y="7130"/>
                  </a:lnTo>
                  <a:lnTo>
                    <a:pt x="9546" y="7154"/>
                  </a:lnTo>
                  <a:lnTo>
                    <a:pt x="9541" y="7179"/>
                  </a:lnTo>
                  <a:lnTo>
                    <a:pt x="9534" y="7202"/>
                  </a:lnTo>
                  <a:lnTo>
                    <a:pt x="9526" y="7226"/>
                  </a:lnTo>
                  <a:lnTo>
                    <a:pt x="9517" y="7249"/>
                  </a:lnTo>
                  <a:lnTo>
                    <a:pt x="9507" y="7271"/>
                  </a:lnTo>
                  <a:lnTo>
                    <a:pt x="9496" y="7293"/>
                  </a:lnTo>
                  <a:lnTo>
                    <a:pt x="9484" y="7314"/>
                  </a:lnTo>
                  <a:lnTo>
                    <a:pt x="9471" y="7334"/>
                  </a:lnTo>
                  <a:lnTo>
                    <a:pt x="9457" y="7355"/>
                  </a:lnTo>
                  <a:lnTo>
                    <a:pt x="9442" y="7374"/>
                  </a:lnTo>
                  <a:lnTo>
                    <a:pt x="9426" y="7392"/>
                  </a:lnTo>
                  <a:lnTo>
                    <a:pt x="9410" y="7409"/>
                  </a:lnTo>
                  <a:lnTo>
                    <a:pt x="9392" y="7426"/>
                  </a:lnTo>
                  <a:lnTo>
                    <a:pt x="9373" y="7441"/>
                  </a:lnTo>
                  <a:lnTo>
                    <a:pt x="9355" y="7456"/>
                  </a:lnTo>
                  <a:lnTo>
                    <a:pt x="9335" y="7470"/>
                  </a:lnTo>
                  <a:lnTo>
                    <a:pt x="9315" y="7484"/>
                  </a:lnTo>
                  <a:lnTo>
                    <a:pt x="9294" y="7496"/>
                  </a:lnTo>
                  <a:lnTo>
                    <a:pt x="9272" y="7507"/>
                  </a:lnTo>
                  <a:lnTo>
                    <a:pt x="9250" y="7517"/>
                  </a:lnTo>
                  <a:lnTo>
                    <a:pt x="9226" y="7526"/>
                  </a:lnTo>
                  <a:lnTo>
                    <a:pt x="9203" y="7534"/>
                  </a:lnTo>
                  <a:lnTo>
                    <a:pt x="9179" y="7541"/>
                  </a:lnTo>
                  <a:lnTo>
                    <a:pt x="9155" y="7546"/>
                  </a:lnTo>
                  <a:lnTo>
                    <a:pt x="9131" y="7551"/>
                  </a:lnTo>
                  <a:lnTo>
                    <a:pt x="9105" y="7554"/>
                  </a:lnTo>
                  <a:lnTo>
                    <a:pt x="9080" y="7556"/>
                  </a:lnTo>
                  <a:lnTo>
                    <a:pt x="9053" y="7556"/>
                  </a:lnTo>
                  <a:lnTo>
                    <a:pt x="1509" y="7556"/>
                  </a:lnTo>
                  <a:close/>
                  <a:moveTo>
                    <a:pt x="15842" y="6214"/>
                  </a:moveTo>
                  <a:lnTo>
                    <a:pt x="13830" y="3192"/>
                  </a:lnTo>
                  <a:lnTo>
                    <a:pt x="13802" y="3153"/>
                  </a:lnTo>
                  <a:lnTo>
                    <a:pt x="13774" y="3115"/>
                  </a:lnTo>
                  <a:lnTo>
                    <a:pt x="13746" y="3077"/>
                  </a:lnTo>
                  <a:lnTo>
                    <a:pt x="13716" y="3042"/>
                  </a:lnTo>
                  <a:lnTo>
                    <a:pt x="13685" y="3007"/>
                  </a:lnTo>
                  <a:lnTo>
                    <a:pt x="13653" y="2973"/>
                  </a:lnTo>
                  <a:lnTo>
                    <a:pt x="13619" y="2940"/>
                  </a:lnTo>
                  <a:lnTo>
                    <a:pt x="13586" y="2909"/>
                  </a:lnTo>
                  <a:lnTo>
                    <a:pt x="13551" y="2878"/>
                  </a:lnTo>
                  <a:lnTo>
                    <a:pt x="13516" y="2849"/>
                  </a:lnTo>
                  <a:lnTo>
                    <a:pt x="13480" y="2820"/>
                  </a:lnTo>
                  <a:lnTo>
                    <a:pt x="13442" y="2793"/>
                  </a:lnTo>
                  <a:lnTo>
                    <a:pt x="13404" y="2768"/>
                  </a:lnTo>
                  <a:lnTo>
                    <a:pt x="13366" y="2743"/>
                  </a:lnTo>
                  <a:lnTo>
                    <a:pt x="13326" y="2720"/>
                  </a:lnTo>
                  <a:lnTo>
                    <a:pt x="13286" y="2697"/>
                  </a:lnTo>
                  <a:lnTo>
                    <a:pt x="13245" y="2676"/>
                  </a:lnTo>
                  <a:lnTo>
                    <a:pt x="13204" y="2656"/>
                  </a:lnTo>
                  <a:lnTo>
                    <a:pt x="13162" y="2638"/>
                  </a:lnTo>
                  <a:lnTo>
                    <a:pt x="13119" y="2621"/>
                  </a:lnTo>
                  <a:lnTo>
                    <a:pt x="13076" y="2605"/>
                  </a:lnTo>
                  <a:lnTo>
                    <a:pt x="13033" y="2590"/>
                  </a:lnTo>
                  <a:lnTo>
                    <a:pt x="12989" y="2576"/>
                  </a:lnTo>
                  <a:lnTo>
                    <a:pt x="12944" y="2564"/>
                  </a:lnTo>
                  <a:lnTo>
                    <a:pt x="12899" y="2554"/>
                  </a:lnTo>
                  <a:lnTo>
                    <a:pt x="12854" y="2544"/>
                  </a:lnTo>
                  <a:lnTo>
                    <a:pt x="12808" y="2537"/>
                  </a:lnTo>
                  <a:lnTo>
                    <a:pt x="12761" y="2530"/>
                  </a:lnTo>
                  <a:lnTo>
                    <a:pt x="12715" y="2525"/>
                  </a:lnTo>
                  <a:lnTo>
                    <a:pt x="12669" y="2522"/>
                  </a:lnTo>
                  <a:lnTo>
                    <a:pt x="12621" y="2519"/>
                  </a:lnTo>
                  <a:lnTo>
                    <a:pt x="12574" y="2519"/>
                  </a:lnTo>
                  <a:lnTo>
                    <a:pt x="10562" y="2519"/>
                  </a:lnTo>
                  <a:lnTo>
                    <a:pt x="10562" y="1511"/>
                  </a:lnTo>
                  <a:lnTo>
                    <a:pt x="10560" y="1434"/>
                  </a:lnTo>
                  <a:lnTo>
                    <a:pt x="10554" y="1357"/>
                  </a:lnTo>
                  <a:lnTo>
                    <a:pt x="10545" y="1282"/>
                  </a:lnTo>
                  <a:lnTo>
                    <a:pt x="10532" y="1207"/>
                  </a:lnTo>
                  <a:lnTo>
                    <a:pt x="10515" y="1134"/>
                  </a:lnTo>
                  <a:lnTo>
                    <a:pt x="10495" y="1062"/>
                  </a:lnTo>
                  <a:lnTo>
                    <a:pt x="10471" y="993"/>
                  </a:lnTo>
                  <a:lnTo>
                    <a:pt x="10444" y="924"/>
                  </a:lnTo>
                  <a:lnTo>
                    <a:pt x="10413" y="856"/>
                  </a:lnTo>
                  <a:lnTo>
                    <a:pt x="10380" y="791"/>
                  </a:lnTo>
                  <a:lnTo>
                    <a:pt x="10344" y="729"/>
                  </a:lnTo>
                  <a:lnTo>
                    <a:pt x="10305" y="667"/>
                  </a:lnTo>
                  <a:lnTo>
                    <a:pt x="10263" y="608"/>
                  </a:lnTo>
                  <a:lnTo>
                    <a:pt x="10217" y="550"/>
                  </a:lnTo>
                  <a:lnTo>
                    <a:pt x="10170" y="496"/>
                  </a:lnTo>
                  <a:lnTo>
                    <a:pt x="10120" y="443"/>
                  </a:lnTo>
                  <a:lnTo>
                    <a:pt x="10067" y="393"/>
                  </a:lnTo>
                  <a:lnTo>
                    <a:pt x="10013" y="346"/>
                  </a:lnTo>
                  <a:lnTo>
                    <a:pt x="9956" y="300"/>
                  </a:lnTo>
                  <a:lnTo>
                    <a:pt x="9896" y="258"/>
                  </a:lnTo>
                  <a:lnTo>
                    <a:pt x="9835" y="219"/>
                  </a:lnTo>
                  <a:lnTo>
                    <a:pt x="9773" y="182"/>
                  </a:lnTo>
                  <a:lnTo>
                    <a:pt x="9707" y="149"/>
                  </a:lnTo>
                  <a:lnTo>
                    <a:pt x="9641" y="119"/>
                  </a:lnTo>
                  <a:lnTo>
                    <a:pt x="9571" y="92"/>
                  </a:lnTo>
                  <a:lnTo>
                    <a:pt x="9502" y="69"/>
                  </a:lnTo>
                  <a:lnTo>
                    <a:pt x="9431" y="47"/>
                  </a:lnTo>
                  <a:lnTo>
                    <a:pt x="9357" y="31"/>
                  </a:lnTo>
                  <a:lnTo>
                    <a:pt x="9283" y="17"/>
                  </a:lnTo>
                  <a:lnTo>
                    <a:pt x="9207" y="8"/>
                  </a:lnTo>
                  <a:lnTo>
                    <a:pt x="9131" y="2"/>
                  </a:lnTo>
                  <a:lnTo>
                    <a:pt x="9053" y="0"/>
                  </a:lnTo>
                  <a:lnTo>
                    <a:pt x="1509" y="0"/>
                  </a:lnTo>
                  <a:lnTo>
                    <a:pt x="1431" y="2"/>
                  </a:lnTo>
                  <a:lnTo>
                    <a:pt x="1355" y="8"/>
                  </a:lnTo>
                  <a:lnTo>
                    <a:pt x="1280" y="17"/>
                  </a:lnTo>
                  <a:lnTo>
                    <a:pt x="1205" y="31"/>
                  </a:lnTo>
                  <a:lnTo>
                    <a:pt x="1133" y="47"/>
                  </a:lnTo>
                  <a:lnTo>
                    <a:pt x="1060" y="69"/>
                  </a:lnTo>
                  <a:lnTo>
                    <a:pt x="991" y="92"/>
                  </a:lnTo>
                  <a:lnTo>
                    <a:pt x="922" y="119"/>
                  </a:lnTo>
                  <a:lnTo>
                    <a:pt x="855" y="149"/>
                  </a:lnTo>
                  <a:lnTo>
                    <a:pt x="791" y="182"/>
                  </a:lnTo>
                  <a:lnTo>
                    <a:pt x="727" y="219"/>
                  </a:lnTo>
                  <a:lnTo>
                    <a:pt x="666" y="258"/>
                  </a:lnTo>
                  <a:lnTo>
                    <a:pt x="607" y="300"/>
                  </a:lnTo>
                  <a:lnTo>
                    <a:pt x="549" y="346"/>
                  </a:lnTo>
                  <a:lnTo>
                    <a:pt x="495" y="393"/>
                  </a:lnTo>
                  <a:lnTo>
                    <a:pt x="443" y="443"/>
                  </a:lnTo>
                  <a:lnTo>
                    <a:pt x="392" y="496"/>
                  </a:lnTo>
                  <a:lnTo>
                    <a:pt x="345" y="550"/>
                  </a:lnTo>
                  <a:lnTo>
                    <a:pt x="300" y="608"/>
                  </a:lnTo>
                  <a:lnTo>
                    <a:pt x="259" y="667"/>
                  </a:lnTo>
                  <a:lnTo>
                    <a:pt x="218" y="729"/>
                  </a:lnTo>
                  <a:lnTo>
                    <a:pt x="182" y="791"/>
                  </a:lnTo>
                  <a:lnTo>
                    <a:pt x="149" y="856"/>
                  </a:lnTo>
                  <a:lnTo>
                    <a:pt x="119" y="924"/>
                  </a:lnTo>
                  <a:lnTo>
                    <a:pt x="92" y="993"/>
                  </a:lnTo>
                  <a:lnTo>
                    <a:pt x="68" y="1062"/>
                  </a:lnTo>
                  <a:lnTo>
                    <a:pt x="47" y="1134"/>
                  </a:lnTo>
                  <a:lnTo>
                    <a:pt x="31" y="1207"/>
                  </a:lnTo>
                  <a:lnTo>
                    <a:pt x="17" y="1282"/>
                  </a:lnTo>
                  <a:lnTo>
                    <a:pt x="8" y="1357"/>
                  </a:lnTo>
                  <a:lnTo>
                    <a:pt x="2" y="1434"/>
                  </a:lnTo>
                  <a:lnTo>
                    <a:pt x="0" y="1511"/>
                  </a:lnTo>
                  <a:lnTo>
                    <a:pt x="0" y="7052"/>
                  </a:lnTo>
                  <a:lnTo>
                    <a:pt x="2" y="7131"/>
                  </a:lnTo>
                  <a:lnTo>
                    <a:pt x="8" y="7207"/>
                  </a:lnTo>
                  <a:lnTo>
                    <a:pt x="17" y="7283"/>
                  </a:lnTo>
                  <a:lnTo>
                    <a:pt x="31" y="7357"/>
                  </a:lnTo>
                  <a:lnTo>
                    <a:pt x="47" y="7430"/>
                  </a:lnTo>
                  <a:lnTo>
                    <a:pt x="68" y="7502"/>
                  </a:lnTo>
                  <a:lnTo>
                    <a:pt x="92" y="7572"/>
                  </a:lnTo>
                  <a:lnTo>
                    <a:pt x="119" y="7641"/>
                  </a:lnTo>
                  <a:lnTo>
                    <a:pt x="149" y="7707"/>
                  </a:lnTo>
                  <a:lnTo>
                    <a:pt x="182" y="7773"/>
                  </a:lnTo>
                  <a:lnTo>
                    <a:pt x="218" y="7836"/>
                  </a:lnTo>
                  <a:lnTo>
                    <a:pt x="259" y="7897"/>
                  </a:lnTo>
                  <a:lnTo>
                    <a:pt x="300" y="7956"/>
                  </a:lnTo>
                  <a:lnTo>
                    <a:pt x="345" y="8014"/>
                  </a:lnTo>
                  <a:lnTo>
                    <a:pt x="392" y="8068"/>
                  </a:lnTo>
                  <a:lnTo>
                    <a:pt x="443" y="8120"/>
                  </a:lnTo>
                  <a:lnTo>
                    <a:pt x="495" y="8171"/>
                  </a:lnTo>
                  <a:lnTo>
                    <a:pt x="549" y="8218"/>
                  </a:lnTo>
                  <a:lnTo>
                    <a:pt x="607" y="8263"/>
                  </a:lnTo>
                  <a:lnTo>
                    <a:pt x="666" y="8306"/>
                  </a:lnTo>
                  <a:lnTo>
                    <a:pt x="727" y="8345"/>
                  </a:lnTo>
                  <a:lnTo>
                    <a:pt x="791" y="8381"/>
                  </a:lnTo>
                  <a:lnTo>
                    <a:pt x="855" y="8415"/>
                  </a:lnTo>
                  <a:lnTo>
                    <a:pt x="922" y="8445"/>
                  </a:lnTo>
                  <a:lnTo>
                    <a:pt x="991" y="8472"/>
                  </a:lnTo>
                  <a:lnTo>
                    <a:pt x="1060" y="8496"/>
                  </a:lnTo>
                  <a:lnTo>
                    <a:pt x="1133" y="8516"/>
                  </a:lnTo>
                  <a:lnTo>
                    <a:pt x="1205" y="8533"/>
                  </a:lnTo>
                  <a:lnTo>
                    <a:pt x="1280" y="8547"/>
                  </a:lnTo>
                  <a:lnTo>
                    <a:pt x="1355" y="8557"/>
                  </a:lnTo>
                  <a:lnTo>
                    <a:pt x="1431" y="8562"/>
                  </a:lnTo>
                  <a:lnTo>
                    <a:pt x="1509" y="8564"/>
                  </a:lnTo>
                  <a:lnTo>
                    <a:pt x="1509" y="8564"/>
                  </a:lnTo>
                  <a:lnTo>
                    <a:pt x="1509" y="10075"/>
                  </a:lnTo>
                  <a:lnTo>
                    <a:pt x="1511" y="10153"/>
                  </a:lnTo>
                  <a:lnTo>
                    <a:pt x="1517" y="10229"/>
                  </a:lnTo>
                  <a:lnTo>
                    <a:pt x="1527" y="10305"/>
                  </a:lnTo>
                  <a:lnTo>
                    <a:pt x="1540" y="10379"/>
                  </a:lnTo>
                  <a:lnTo>
                    <a:pt x="1557" y="10453"/>
                  </a:lnTo>
                  <a:lnTo>
                    <a:pt x="1577" y="10525"/>
                  </a:lnTo>
                  <a:lnTo>
                    <a:pt x="1601" y="10594"/>
                  </a:lnTo>
                  <a:lnTo>
                    <a:pt x="1629" y="10663"/>
                  </a:lnTo>
                  <a:lnTo>
                    <a:pt x="1659" y="10730"/>
                  </a:lnTo>
                  <a:lnTo>
                    <a:pt x="1692" y="10795"/>
                  </a:lnTo>
                  <a:lnTo>
                    <a:pt x="1728" y="10858"/>
                  </a:lnTo>
                  <a:lnTo>
                    <a:pt x="1767" y="10920"/>
                  </a:lnTo>
                  <a:lnTo>
                    <a:pt x="1810" y="10979"/>
                  </a:lnTo>
                  <a:lnTo>
                    <a:pt x="1854" y="11036"/>
                  </a:lnTo>
                  <a:lnTo>
                    <a:pt x="1901" y="11091"/>
                  </a:lnTo>
                  <a:lnTo>
                    <a:pt x="1952" y="11143"/>
                  </a:lnTo>
                  <a:lnTo>
                    <a:pt x="2004" y="11194"/>
                  </a:lnTo>
                  <a:lnTo>
                    <a:pt x="2059" y="11241"/>
                  </a:lnTo>
                  <a:lnTo>
                    <a:pt x="2115" y="11286"/>
                  </a:lnTo>
                  <a:lnTo>
                    <a:pt x="2175" y="11329"/>
                  </a:lnTo>
                  <a:lnTo>
                    <a:pt x="2236" y="11368"/>
                  </a:lnTo>
                  <a:lnTo>
                    <a:pt x="2300" y="11404"/>
                  </a:lnTo>
                  <a:lnTo>
                    <a:pt x="2365" y="11437"/>
                  </a:lnTo>
                  <a:lnTo>
                    <a:pt x="2431" y="11468"/>
                  </a:lnTo>
                  <a:lnTo>
                    <a:pt x="2500" y="11495"/>
                  </a:lnTo>
                  <a:lnTo>
                    <a:pt x="2570" y="11519"/>
                  </a:lnTo>
                  <a:lnTo>
                    <a:pt x="2642" y="11539"/>
                  </a:lnTo>
                  <a:lnTo>
                    <a:pt x="2714" y="11556"/>
                  </a:lnTo>
                  <a:lnTo>
                    <a:pt x="2788" y="11569"/>
                  </a:lnTo>
                  <a:lnTo>
                    <a:pt x="2864" y="11579"/>
                  </a:lnTo>
                  <a:lnTo>
                    <a:pt x="2940" y="11585"/>
                  </a:lnTo>
                  <a:lnTo>
                    <a:pt x="3018" y="11587"/>
                  </a:lnTo>
                  <a:lnTo>
                    <a:pt x="3592" y="11587"/>
                  </a:lnTo>
                  <a:lnTo>
                    <a:pt x="3614" y="11667"/>
                  </a:lnTo>
                  <a:lnTo>
                    <a:pt x="3640" y="11747"/>
                  </a:lnTo>
                  <a:lnTo>
                    <a:pt x="3670" y="11824"/>
                  </a:lnTo>
                  <a:lnTo>
                    <a:pt x="3702" y="11901"/>
                  </a:lnTo>
                  <a:lnTo>
                    <a:pt x="3737" y="11976"/>
                  </a:lnTo>
                  <a:lnTo>
                    <a:pt x="3774" y="12048"/>
                  </a:lnTo>
                  <a:lnTo>
                    <a:pt x="3816" y="12120"/>
                  </a:lnTo>
                  <a:lnTo>
                    <a:pt x="3859" y="12188"/>
                  </a:lnTo>
                  <a:lnTo>
                    <a:pt x="3905" y="12256"/>
                  </a:lnTo>
                  <a:lnTo>
                    <a:pt x="3953" y="12321"/>
                  </a:lnTo>
                  <a:lnTo>
                    <a:pt x="4005" y="12385"/>
                  </a:lnTo>
                  <a:lnTo>
                    <a:pt x="4059" y="12446"/>
                  </a:lnTo>
                  <a:lnTo>
                    <a:pt x="4114" y="12505"/>
                  </a:lnTo>
                  <a:lnTo>
                    <a:pt x="4173" y="12561"/>
                  </a:lnTo>
                  <a:lnTo>
                    <a:pt x="4233" y="12615"/>
                  </a:lnTo>
                  <a:lnTo>
                    <a:pt x="4296" y="12668"/>
                  </a:lnTo>
                  <a:lnTo>
                    <a:pt x="4361" y="12717"/>
                  </a:lnTo>
                  <a:lnTo>
                    <a:pt x="4428" y="12763"/>
                  </a:lnTo>
                  <a:lnTo>
                    <a:pt x="4497" y="12807"/>
                  </a:lnTo>
                  <a:lnTo>
                    <a:pt x="4567" y="12848"/>
                  </a:lnTo>
                  <a:lnTo>
                    <a:pt x="4639" y="12886"/>
                  </a:lnTo>
                  <a:lnTo>
                    <a:pt x="4714" y="12922"/>
                  </a:lnTo>
                  <a:lnTo>
                    <a:pt x="4789" y="12955"/>
                  </a:lnTo>
                  <a:lnTo>
                    <a:pt x="4867" y="12984"/>
                  </a:lnTo>
                  <a:lnTo>
                    <a:pt x="4946" y="13010"/>
                  </a:lnTo>
                  <a:lnTo>
                    <a:pt x="5026" y="13033"/>
                  </a:lnTo>
                  <a:lnTo>
                    <a:pt x="5107" y="13053"/>
                  </a:lnTo>
                  <a:lnTo>
                    <a:pt x="5191" y="13069"/>
                  </a:lnTo>
                  <a:lnTo>
                    <a:pt x="5274" y="13081"/>
                  </a:lnTo>
                  <a:lnTo>
                    <a:pt x="5360" y="13091"/>
                  </a:lnTo>
                  <a:lnTo>
                    <a:pt x="5446" y="13096"/>
                  </a:lnTo>
                  <a:lnTo>
                    <a:pt x="5533" y="13098"/>
                  </a:lnTo>
                  <a:lnTo>
                    <a:pt x="5620" y="13096"/>
                  </a:lnTo>
                  <a:lnTo>
                    <a:pt x="5707" y="13091"/>
                  </a:lnTo>
                  <a:lnTo>
                    <a:pt x="5791" y="13081"/>
                  </a:lnTo>
                  <a:lnTo>
                    <a:pt x="5876" y="13069"/>
                  </a:lnTo>
                  <a:lnTo>
                    <a:pt x="5958" y="13053"/>
                  </a:lnTo>
                  <a:lnTo>
                    <a:pt x="6040" y="13033"/>
                  </a:lnTo>
                  <a:lnTo>
                    <a:pt x="6120" y="13010"/>
                  </a:lnTo>
                  <a:lnTo>
                    <a:pt x="6199" y="12984"/>
                  </a:lnTo>
                  <a:lnTo>
                    <a:pt x="6276" y="12955"/>
                  </a:lnTo>
                  <a:lnTo>
                    <a:pt x="6351" y="12922"/>
                  </a:lnTo>
                  <a:lnTo>
                    <a:pt x="6426" y="12886"/>
                  </a:lnTo>
                  <a:lnTo>
                    <a:pt x="6498" y="12848"/>
                  </a:lnTo>
                  <a:lnTo>
                    <a:pt x="6569" y="12807"/>
                  </a:lnTo>
                  <a:lnTo>
                    <a:pt x="6637" y="12763"/>
                  </a:lnTo>
                  <a:lnTo>
                    <a:pt x="6705" y="12717"/>
                  </a:lnTo>
                  <a:lnTo>
                    <a:pt x="6769" y="12668"/>
                  </a:lnTo>
                  <a:lnTo>
                    <a:pt x="6831" y="12615"/>
                  </a:lnTo>
                  <a:lnTo>
                    <a:pt x="6892" y="12561"/>
                  </a:lnTo>
                  <a:lnTo>
                    <a:pt x="6951" y="12505"/>
                  </a:lnTo>
                  <a:lnTo>
                    <a:pt x="7006" y="12446"/>
                  </a:lnTo>
                  <a:lnTo>
                    <a:pt x="7061" y="12385"/>
                  </a:lnTo>
                  <a:lnTo>
                    <a:pt x="7112" y="12321"/>
                  </a:lnTo>
                  <a:lnTo>
                    <a:pt x="7160" y="12256"/>
                  </a:lnTo>
                  <a:lnTo>
                    <a:pt x="7207" y="12188"/>
                  </a:lnTo>
                  <a:lnTo>
                    <a:pt x="7250" y="12120"/>
                  </a:lnTo>
                  <a:lnTo>
                    <a:pt x="7290" y="12048"/>
                  </a:lnTo>
                  <a:lnTo>
                    <a:pt x="7328" y="11976"/>
                  </a:lnTo>
                  <a:lnTo>
                    <a:pt x="7363" y="11901"/>
                  </a:lnTo>
                  <a:lnTo>
                    <a:pt x="7396" y="11824"/>
                  </a:lnTo>
                  <a:lnTo>
                    <a:pt x="7425" y="11747"/>
                  </a:lnTo>
                  <a:lnTo>
                    <a:pt x="7450" y="11667"/>
                  </a:lnTo>
                  <a:lnTo>
                    <a:pt x="7473" y="11587"/>
                  </a:lnTo>
                  <a:lnTo>
                    <a:pt x="10131" y="11587"/>
                  </a:lnTo>
                  <a:lnTo>
                    <a:pt x="10153" y="11667"/>
                  </a:lnTo>
                  <a:lnTo>
                    <a:pt x="10179" y="11747"/>
                  </a:lnTo>
                  <a:lnTo>
                    <a:pt x="10208" y="11824"/>
                  </a:lnTo>
                  <a:lnTo>
                    <a:pt x="10240" y="11901"/>
                  </a:lnTo>
                  <a:lnTo>
                    <a:pt x="10275" y="11976"/>
                  </a:lnTo>
                  <a:lnTo>
                    <a:pt x="10313" y="12048"/>
                  </a:lnTo>
                  <a:lnTo>
                    <a:pt x="10354" y="12120"/>
                  </a:lnTo>
                  <a:lnTo>
                    <a:pt x="10397" y="12188"/>
                  </a:lnTo>
                  <a:lnTo>
                    <a:pt x="10444" y="12256"/>
                  </a:lnTo>
                  <a:lnTo>
                    <a:pt x="10492" y="12321"/>
                  </a:lnTo>
                  <a:lnTo>
                    <a:pt x="10543" y="12385"/>
                  </a:lnTo>
                  <a:lnTo>
                    <a:pt x="10597" y="12446"/>
                  </a:lnTo>
                  <a:lnTo>
                    <a:pt x="10653" y="12505"/>
                  </a:lnTo>
                  <a:lnTo>
                    <a:pt x="10711" y="12561"/>
                  </a:lnTo>
                  <a:lnTo>
                    <a:pt x="10772" y="12615"/>
                  </a:lnTo>
                  <a:lnTo>
                    <a:pt x="10835" y="12668"/>
                  </a:lnTo>
                  <a:lnTo>
                    <a:pt x="10899" y="12717"/>
                  </a:lnTo>
                  <a:lnTo>
                    <a:pt x="10967" y="12763"/>
                  </a:lnTo>
                  <a:lnTo>
                    <a:pt x="11035" y="12807"/>
                  </a:lnTo>
                  <a:lnTo>
                    <a:pt x="11106" y="12848"/>
                  </a:lnTo>
                  <a:lnTo>
                    <a:pt x="11178" y="12886"/>
                  </a:lnTo>
                  <a:lnTo>
                    <a:pt x="11252" y="12922"/>
                  </a:lnTo>
                  <a:lnTo>
                    <a:pt x="11328" y="12955"/>
                  </a:lnTo>
                  <a:lnTo>
                    <a:pt x="11405" y="12984"/>
                  </a:lnTo>
                  <a:lnTo>
                    <a:pt x="11484" y="13010"/>
                  </a:lnTo>
                  <a:lnTo>
                    <a:pt x="11564" y="13033"/>
                  </a:lnTo>
                  <a:lnTo>
                    <a:pt x="11646" y="13053"/>
                  </a:lnTo>
                  <a:lnTo>
                    <a:pt x="11729" y="13069"/>
                  </a:lnTo>
                  <a:lnTo>
                    <a:pt x="11813" y="13081"/>
                  </a:lnTo>
                  <a:lnTo>
                    <a:pt x="11898" y="13091"/>
                  </a:lnTo>
                  <a:lnTo>
                    <a:pt x="11984" y="13096"/>
                  </a:lnTo>
                  <a:lnTo>
                    <a:pt x="12071" y="13098"/>
                  </a:lnTo>
                  <a:lnTo>
                    <a:pt x="12159" y="13096"/>
                  </a:lnTo>
                  <a:lnTo>
                    <a:pt x="12244" y="13091"/>
                  </a:lnTo>
                  <a:lnTo>
                    <a:pt x="12330" y="13081"/>
                  </a:lnTo>
                  <a:lnTo>
                    <a:pt x="12413" y="13069"/>
                  </a:lnTo>
                  <a:lnTo>
                    <a:pt x="12497" y="13053"/>
                  </a:lnTo>
                  <a:lnTo>
                    <a:pt x="12578" y="13033"/>
                  </a:lnTo>
                  <a:lnTo>
                    <a:pt x="12658" y="13010"/>
                  </a:lnTo>
                  <a:lnTo>
                    <a:pt x="12737" y="12984"/>
                  </a:lnTo>
                  <a:lnTo>
                    <a:pt x="12815" y="12955"/>
                  </a:lnTo>
                  <a:lnTo>
                    <a:pt x="12890" y="12922"/>
                  </a:lnTo>
                  <a:lnTo>
                    <a:pt x="12964" y="12886"/>
                  </a:lnTo>
                  <a:lnTo>
                    <a:pt x="13036" y="12848"/>
                  </a:lnTo>
                  <a:lnTo>
                    <a:pt x="13107" y="12807"/>
                  </a:lnTo>
                  <a:lnTo>
                    <a:pt x="13176" y="12763"/>
                  </a:lnTo>
                  <a:lnTo>
                    <a:pt x="13242" y="12717"/>
                  </a:lnTo>
                  <a:lnTo>
                    <a:pt x="13308" y="12668"/>
                  </a:lnTo>
                  <a:lnTo>
                    <a:pt x="13370" y="12615"/>
                  </a:lnTo>
                  <a:lnTo>
                    <a:pt x="13430" y="12561"/>
                  </a:lnTo>
                  <a:lnTo>
                    <a:pt x="13489" y="12505"/>
                  </a:lnTo>
                  <a:lnTo>
                    <a:pt x="13545" y="12446"/>
                  </a:lnTo>
                  <a:lnTo>
                    <a:pt x="13598" y="12385"/>
                  </a:lnTo>
                  <a:lnTo>
                    <a:pt x="13650" y="12321"/>
                  </a:lnTo>
                  <a:lnTo>
                    <a:pt x="13699" y="12256"/>
                  </a:lnTo>
                  <a:lnTo>
                    <a:pt x="13745" y="12188"/>
                  </a:lnTo>
                  <a:lnTo>
                    <a:pt x="13788" y="12120"/>
                  </a:lnTo>
                  <a:lnTo>
                    <a:pt x="13829" y="12048"/>
                  </a:lnTo>
                  <a:lnTo>
                    <a:pt x="13867" y="11976"/>
                  </a:lnTo>
                  <a:lnTo>
                    <a:pt x="13902" y="11901"/>
                  </a:lnTo>
                  <a:lnTo>
                    <a:pt x="13934" y="11824"/>
                  </a:lnTo>
                  <a:lnTo>
                    <a:pt x="13962" y="11747"/>
                  </a:lnTo>
                  <a:lnTo>
                    <a:pt x="13989" y="11667"/>
                  </a:lnTo>
                  <a:lnTo>
                    <a:pt x="14012" y="11587"/>
                  </a:lnTo>
                  <a:lnTo>
                    <a:pt x="14586" y="11587"/>
                  </a:lnTo>
                  <a:lnTo>
                    <a:pt x="14664" y="11585"/>
                  </a:lnTo>
                  <a:lnTo>
                    <a:pt x="14740" y="11579"/>
                  </a:lnTo>
                  <a:lnTo>
                    <a:pt x="14815" y="11569"/>
                  </a:lnTo>
                  <a:lnTo>
                    <a:pt x="14890" y="11556"/>
                  </a:lnTo>
                  <a:lnTo>
                    <a:pt x="14962" y="11539"/>
                  </a:lnTo>
                  <a:lnTo>
                    <a:pt x="15035" y="11519"/>
                  </a:lnTo>
                  <a:lnTo>
                    <a:pt x="15104" y="11495"/>
                  </a:lnTo>
                  <a:lnTo>
                    <a:pt x="15173" y="11468"/>
                  </a:lnTo>
                  <a:lnTo>
                    <a:pt x="15240" y="11437"/>
                  </a:lnTo>
                  <a:lnTo>
                    <a:pt x="15304" y="11404"/>
                  </a:lnTo>
                  <a:lnTo>
                    <a:pt x="15368" y="11368"/>
                  </a:lnTo>
                  <a:lnTo>
                    <a:pt x="15429" y="11329"/>
                  </a:lnTo>
                  <a:lnTo>
                    <a:pt x="15488" y="11286"/>
                  </a:lnTo>
                  <a:lnTo>
                    <a:pt x="15546" y="11241"/>
                  </a:lnTo>
                  <a:lnTo>
                    <a:pt x="15600" y="11194"/>
                  </a:lnTo>
                  <a:lnTo>
                    <a:pt x="15652" y="11143"/>
                  </a:lnTo>
                  <a:lnTo>
                    <a:pt x="15703" y="11091"/>
                  </a:lnTo>
                  <a:lnTo>
                    <a:pt x="15750" y="11036"/>
                  </a:lnTo>
                  <a:lnTo>
                    <a:pt x="15795" y="10979"/>
                  </a:lnTo>
                  <a:lnTo>
                    <a:pt x="15836" y="10920"/>
                  </a:lnTo>
                  <a:lnTo>
                    <a:pt x="15877" y="10858"/>
                  </a:lnTo>
                  <a:lnTo>
                    <a:pt x="15913" y="10795"/>
                  </a:lnTo>
                  <a:lnTo>
                    <a:pt x="15946" y="10730"/>
                  </a:lnTo>
                  <a:lnTo>
                    <a:pt x="15976" y="10663"/>
                  </a:lnTo>
                  <a:lnTo>
                    <a:pt x="16003" y="10594"/>
                  </a:lnTo>
                  <a:lnTo>
                    <a:pt x="16027" y="10525"/>
                  </a:lnTo>
                  <a:lnTo>
                    <a:pt x="16048" y="10453"/>
                  </a:lnTo>
                  <a:lnTo>
                    <a:pt x="16064" y="10379"/>
                  </a:lnTo>
                  <a:lnTo>
                    <a:pt x="16078" y="10305"/>
                  </a:lnTo>
                  <a:lnTo>
                    <a:pt x="16087" y="10229"/>
                  </a:lnTo>
                  <a:lnTo>
                    <a:pt x="16093" y="10153"/>
                  </a:lnTo>
                  <a:lnTo>
                    <a:pt x="16095" y="10075"/>
                  </a:lnTo>
                  <a:lnTo>
                    <a:pt x="16095" y="7052"/>
                  </a:lnTo>
                  <a:lnTo>
                    <a:pt x="16095" y="7025"/>
                  </a:lnTo>
                  <a:lnTo>
                    <a:pt x="16094" y="6997"/>
                  </a:lnTo>
                  <a:lnTo>
                    <a:pt x="16093" y="6969"/>
                  </a:lnTo>
                  <a:lnTo>
                    <a:pt x="16091" y="6941"/>
                  </a:lnTo>
                  <a:lnTo>
                    <a:pt x="16089" y="6913"/>
                  </a:lnTo>
                  <a:lnTo>
                    <a:pt x="16086" y="6885"/>
                  </a:lnTo>
                  <a:lnTo>
                    <a:pt x="16083" y="6858"/>
                  </a:lnTo>
                  <a:lnTo>
                    <a:pt x="16079" y="6831"/>
                  </a:lnTo>
                  <a:lnTo>
                    <a:pt x="16075" y="6803"/>
                  </a:lnTo>
                  <a:lnTo>
                    <a:pt x="16070" y="6776"/>
                  </a:lnTo>
                  <a:lnTo>
                    <a:pt x="16065" y="6749"/>
                  </a:lnTo>
                  <a:lnTo>
                    <a:pt x="16059" y="6722"/>
                  </a:lnTo>
                  <a:lnTo>
                    <a:pt x="16053" y="6695"/>
                  </a:lnTo>
                  <a:lnTo>
                    <a:pt x="16046" y="6667"/>
                  </a:lnTo>
                  <a:lnTo>
                    <a:pt x="16039" y="6641"/>
                  </a:lnTo>
                  <a:lnTo>
                    <a:pt x="16031" y="6615"/>
                  </a:lnTo>
                  <a:lnTo>
                    <a:pt x="16023" y="6588"/>
                  </a:lnTo>
                  <a:lnTo>
                    <a:pt x="16014" y="6562"/>
                  </a:lnTo>
                  <a:lnTo>
                    <a:pt x="16004" y="6536"/>
                  </a:lnTo>
                  <a:lnTo>
                    <a:pt x="15994" y="6510"/>
                  </a:lnTo>
                  <a:lnTo>
                    <a:pt x="15984" y="6484"/>
                  </a:lnTo>
                  <a:lnTo>
                    <a:pt x="15974" y="6459"/>
                  </a:lnTo>
                  <a:lnTo>
                    <a:pt x="15963" y="6434"/>
                  </a:lnTo>
                  <a:lnTo>
                    <a:pt x="15951" y="6408"/>
                  </a:lnTo>
                  <a:lnTo>
                    <a:pt x="15939" y="6383"/>
                  </a:lnTo>
                  <a:lnTo>
                    <a:pt x="15927" y="6358"/>
                  </a:lnTo>
                  <a:lnTo>
                    <a:pt x="15914" y="6334"/>
                  </a:lnTo>
                  <a:lnTo>
                    <a:pt x="15900" y="6310"/>
                  </a:lnTo>
                  <a:lnTo>
                    <a:pt x="15886" y="6286"/>
                  </a:lnTo>
                  <a:lnTo>
                    <a:pt x="15872" y="6261"/>
                  </a:lnTo>
                  <a:lnTo>
                    <a:pt x="15857" y="6238"/>
                  </a:lnTo>
                  <a:lnTo>
                    <a:pt x="15842" y="6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77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58" name="ïşḻiḓê">
              <a:extLst>
                <a:ext uri="{FF2B5EF4-FFF2-40B4-BE49-F238E27FC236}">
                  <a16:creationId xmlns:a16="http://schemas.microsoft.com/office/drawing/2014/main" id="{6D5921E8-5134-438F-9169-0269A00F23BA}"/>
                </a:ext>
              </a:extLst>
            </p:cNvPr>
            <p:cNvSpPr/>
            <p:nvPr/>
          </p:nvSpPr>
          <p:spPr bwMode="auto">
            <a:xfrm>
              <a:off x="4097976" y="538416"/>
              <a:ext cx="558350" cy="556940"/>
            </a:xfrm>
            <a:custGeom>
              <a:avLst/>
              <a:gdLst>
                <a:gd name="T0" fmla="*/ 12770 w 14656"/>
                <a:gd name="T1" fmla="*/ 6106 h 14620"/>
                <a:gd name="T2" fmla="*/ 12640 w 14656"/>
                <a:gd name="T3" fmla="*/ 6115 h 14620"/>
                <a:gd name="T4" fmla="*/ 12519 w 14656"/>
                <a:gd name="T5" fmla="*/ 6055 h 14620"/>
                <a:gd name="T6" fmla="*/ 9966 w 14656"/>
                <a:gd name="T7" fmla="*/ 5994 h 14620"/>
                <a:gd name="T8" fmla="*/ 8414 w 14656"/>
                <a:gd name="T9" fmla="*/ 5281 h 14620"/>
                <a:gd name="T10" fmla="*/ 6782 w 14656"/>
                <a:gd name="T11" fmla="*/ 4968 h 14620"/>
                <a:gd name="T12" fmla="*/ 5698 w 14656"/>
                <a:gd name="T13" fmla="*/ 4822 h 14620"/>
                <a:gd name="T14" fmla="*/ 8599 w 14656"/>
                <a:gd name="T15" fmla="*/ 2123 h 14620"/>
                <a:gd name="T16" fmla="*/ 8551 w 14656"/>
                <a:gd name="T17" fmla="*/ 1998 h 14620"/>
                <a:gd name="T18" fmla="*/ 8574 w 14656"/>
                <a:gd name="T19" fmla="*/ 1868 h 14620"/>
                <a:gd name="T20" fmla="*/ 9364 w 14656"/>
                <a:gd name="T21" fmla="*/ 1057 h 14620"/>
                <a:gd name="T22" fmla="*/ 9489 w 14656"/>
                <a:gd name="T23" fmla="*/ 1010 h 14620"/>
                <a:gd name="T24" fmla="*/ 9619 w 14656"/>
                <a:gd name="T25" fmla="*/ 1032 h 14620"/>
                <a:gd name="T26" fmla="*/ 13601 w 14656"/>
                <a:gd name="T27" fmla="*/ 5006 h 14620"/>
                <a:gd name="T28" fmla="*/ 13650 w 14656"/>
                <a:gd name="T29" fmla="*/ 5131 h 14620"/>
                <a:gd name="T30" fmla="*/ 13627 w 14656"/>
                <a:gd name="T31" fmla="*/ 5261 h 14620"/>
                <a:gd name="T32" fmla="*/ 8336 w 14656"/>
                <a:gd name="T33" fmla="*/ 13377 h 14620"/>
                <a:gd name="T34" fmla="*/ 8074 w 14656"/>
                <a:gd name="T35" fmla="*/ 13585 h 14620"/>
                <a:gd name="T36" fmla="*/ 7781 w 14656"/>
                <a:gd name="T37" fmla="*/ 13595 h 14620"/>
                <a:gd name="T38" fmla="*/ 7556 w 14656"/>
                <a:gd name="T39" fmla="*/ 13465 h 14620"/>
                <a:gd name="T40" fmla="*/ 1014 w 14656"/>
                <a:gd name="T41" fmla="*/ 6852 h 14620"/>
                <a:gd name="T42" fmla="*/ 1065 w 14656"/>
                <a:gd name="T43" fmla="*/ 6524 h 14620"/>
                <a:gd name="T44" fmla="*/ 1308 w 14656"/>
                <a:gd name="T45" fmla="*/ 6300 h 14620"/>
                <a:gd name="T46" fmla="*/ 6805 w 14656"/>
                <a:gd name="T47" fmla="*/ 5480 h 14620"/>
                <a:gd name="T48" fmla="*/ 8979 w 14656"/>
                <a:gd name="T49" fmla="*/ 6023 h 14620"/>
                <a:gd name="T50" fmla="*/ 10402 w 14656"/>
                <a:gd name="T51" fmla="*/ 369 h 14620"/>
                <a:gd name="T52" fmla="*/ 10132 w 14656"/>
                <a:gd name="T53" fmla="*/ 163 h 14620"/>
                <a:gd name="T54" fmla="*/ 9820 w 14656"/>
                <a:gd name="T55" fmla="*/ 38 h 14620"/>
                <a:gd name="T56" fmla="*/ 9482 w 14656"/>
                <a:gd name="T57" fmla="*/ 0 h 14620"/>
                <a:gd name="T58" fmla="*/ 9147 w 14656"/>
                <a:gd name="T59" fmla="*/ 55 h 14620"/>
                <a:gd name="T60" fmla="*/ 8841 w 14656"/>
                <a:gd name="T61" fmla="*/ 195 h 14620"/>
                <a:gd name="T62" fmla="*/ 7892 w 14656"/>
                <a:gd name="T63" fmla="*/ 1104 h 14620"/>
                <a:gd name="T64" fmla="*/ 7692 w 14656"/>
                <a:gd name="T65" fmla="*/ 1380 h 14620"/>
                <a:gd name="T66" fmla="*/ 7576 w 14656"/>
                <a:gd name="T67" fmla="*/ 1695 h 14620"/>
                <a:gd name="T68" fmla="*/ 7548 w 14656"/>
                <a:gd name="T69" fmla="*/ 2062 h 14620"/>
                <a:gd name="T70" fmla="*/ 7669 w 14656"/>
                <a:gd name="T71" fmla="*/ 2522 h 14620"/>
                <a:gd name="T72" fmla="*/ 623 w 14656"/>
                <a:gd name="T73" fmla="*/ 5539 h 14620"/>
                <a:gd name="T74" fmla="*/ 274 w 14656"/>
                <a:gd name="T75" fmla="*/ 5894 h 14620"/>
                <a:gd name="T76" fmla="*/ 58 w 14656"/>
                <a:gd name="T77" fmla="*/ 6345 h 14620"/>
                <a:gd name="T78" fmla="*/ 3 w 14656"/>
                <a:gd name="T79" fmla="*/ 6850 h 14620"/>
                <a:gd name="T80" fmla="*/ 114 w 14656"/>
                <a:gd name="T81" fmla="*/ 7337 h 14620"/>
                <a:gd name="T82" fmla="*/ 382 w 14656"/>
                <a:gd name="T83" fmla="*/ 7767 h 14620"/>
                <a:gd name="T84" fmla="*/ 7067 w 14656"/>
                <a:gd name="T85" fmla="*/ 14362 h 14620"/>
                <a:gd name="T86" fmla="*/ 7416 w 14656"/>
                <a:gd name="T87" fmla="*/ 14537 h 14620"/>
                <a:gd name="T88" fmla="*/ 7800 w 14656"/>
                <a:gd name="T89" fmla="*/ 14616 h 14620"/>
                <a:gd name="T90" fmla="*/ 8103 w 14656"/>
                <a:gd name="T91" fmla="*/ 14608 h 14620"/>
                <a:gd name="T92" fmla="*/ 8574 w 14656"/>
                <a:gd name="T93" fmla="*/ 14467 h 14620"/>
                <a:gd name="T94" fmla="*/ 8985 w 14656"/>
                <a:gd name="T95" fmla="*/ 14171 h 14620"/>
                <a:gd name="T96" fmla="*/ 9276 w 14656"/>
                <a:gd name="T97" fmla="*/ 13754 h 14620"/>
                <a:gd name="T98" fmla="*/ 12327 w 14656"/>
                <a:gd name="T99" fmla="*/ 7076 h 14620"/>
                <a:gd name="T100" fmla="*/ 12781 w 14656"/>
                <a:gd name="T101" fmla="*/ 7126 h 14620"/>
                <a:gd name="T102" fmla="*/ 13112 w 14656"/>
                <a:gd name="T103" fmla="*/ 7056 h 14620"/>
                <a:gd name="T104" fmla="*/ 13410 w 14656"/>
                <a:gd name="T105" fmla="*/ 6900 h 14620"/>
                <a:gd name="T106" fmla="*/ 14350 w 14656"/>
                <a:gd name="T107" fmla="*/ 5980 h 14620"/>
                <a:gd name="T108" fmla="*/ 14535 w 14656"/>
                <a:gd name="T109" fmla="*/ 5696 h 14620"/>
                <a:gd name="T110" fmla="*/ 14637 w 14656"/>
                <a:gd name="T111" fmla="*/ 5373 h 14620"/>
                <a:gd name="T112" fmla="*/ 14649 w 14656"/>
                <a:gd name="T113" fmla="*/ 5030 h 14620"/>
                <a:gd name="T114" fmla="*/ 14572 w 14656"/>
                <a:gd name="T115" fmla="*/ 4701 h 14620"/>
                <a:gd name="T116" fmla="*/ 14410 w 14656"/>
                <a:gd name="T117" fmla="*/ 4405 h 14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656" h="14620">
                  <a:moveTo>
                    <a:pt x="13576" y="5334"/>
                  </a:moveTo>
                  <a:lnTo>
                    <a:pt x="12866" y="6046"/>
                  </a:lnTo>
                  <a:lnTo>
                    <a:pt x="12856" y="6055"/>
                  </a:lnTo>
                  <a:lnTo>
                    <a:pt x="12847" y="6064"/>
                  </a:lnTo>
                  <a:lnTo>
                    <a:pt x="12837" y="6071"/>
                  </a:lnTo>
                  <a:lnTo>
                    <a:pt x="12826" y="6079"/>
                  </a:lnTo>
                  <a:lnTo>
                    <a:pt x="12816" y="6085"/>
                  </a:lnTo>
                  <a:lnTo>
                    <a:pt x="12805" y="6091"/>
                  </a:lnTo>
                  <a:lnTo>
                    <a:pt x="12794" y="6097"/>
                  </a:lnTo>
                  <a:lnTo>
                    <a:pt x="12782" y="6102"/>
                  </a:lnTo>
                  <a:lnTo>
                    <a:pt x="12770" y="6106"/>
                  </a:lnTo>
                  <a:lnTo>
                    <a:pt x="12759" y="6110"/>
                  </a:lnTo>
                  <a:lnTo>
                    <a:pt x="12747" y="6113"/>
                  </a:lnTo>
                  <a:lnTo>
                    <a:pt x="12735" y="6115"/>
                  </a:lnTo>
                  <a:lnTo>
                    <a:pt x="12723" y="6117"/>
                  </a:lnTo>
                  <a:lnTo>
                    <a:pt x="12712" y="6119"/>
                  </a:lnTo>
                  <a:lnTo>
                    <a:pt x="12700" y="6120"/>
                  </a:lnTo>
                  <a:lnTo>
                    <a:pt x="12688" y="6120"/>
                  </a:lnTo>
                  <a:lnTo>
                    <a:pt x="12676" y="6120"/>
                  </a:lnTo>
                  <a:lnTo>
                    <a:pt x="12664" y="6119"/>
                  </a:lnTo>
                  <a:lnTo>
                    <a:pt x="12652" y="6117"/>
                  </a:lnTo>
                  <a:lnTo>
                    <a:pt x="12640" y="6115"/>
                  </a:lnTo>
                  <a:lnTo>
                    <a:pt x="12628" y="6113"/>
                  </a:lnTo>
                  <a:lnTo>
                    <a:pt x="12615" y="6110"/>
                  </a:lnTo>
                  <a:lnTo>
                    <a:pt x="12604" y="6106"/>
                  </a:lnTo>
                  <a:lnTo>
                    <a:pt x="12593" y="6102"/>
                  </a:lnTo>
                  <a:lnTo>
                    <a:pt x="12581" y="6097"/>
                  </a:lnTo>
                  <a:lnTo>
                    <a:pt x="12571" y="6091"/>
                  </a:lnTo>
                  <a:lnTo>
                    <a:pt x="12560" y="6085"/>
                  </a:lnTo>
                  <a:lnTo>
                    <a:pt x="12549" y="6079"/>
                  </a:lnTo>
                  <a:lnTo>
                    <a:pt x="12539" y="6071"/>
                  </a:lnTo>
                  <a:lnTo>
                    <a:pt x="12529" y="6064"/>
                  </a:lnTo>
                  <a:lnTo>
                    <a:pt x="12519" y="6055"/>
                  </a:lnTo>
                  <a:lnTo>
                    <a:pt x="12510" y="6046"/>
                  </a:lnTo>
                  <a:lnTo>
                    <a:pt x="11621" y="5156"/>
                  </a:lnTo>
                  <a:lnTo>
                    <a:pt x="10900" y="6965"/>
                  </a:lnTo>
                  <a:lnTo>
                    <a:pt x="10961" y="6813"/>
                  </a:lnTo>
                  <a:lnTo>
                    <a:pt x="10819" y="6674"/>
                  </a:lnTo>
                  <a:lnTo>
                    <a:pt x="10677" y="6544"/>
                  </a:lnTo>
                  <a:lnTo>
                    <a:pt x="10534" y="6420"/>
                  </a:lnTo>
                  <a:lnTo>
                    <a:pt x="10392" y="6304"/>
                  </a:lnTo>
                  <a:lnTo>
                    <a:pt x="10251" y="6194"/>
                  </a:lnTo>
                  <a:lnTo>
                    <a:pt x="10108" y="6091"/>
                  </a:lnTo>
                  <a:lnTo>
                    <a:pt x="9966" y="5994"/>
                  </a:lnTo>
                  <a:lnTo>
                    <a:pt x="9823" y="5905"/>
                  </a:lnTo>
                  <a:lnTo>
                    <a:pt x="9681" y="5820"/>
                  </a:lnTo>
                  <a:lnTo>
                    <a:pt x="9539" y="5740"/>
                  </a:lnTo>
                  <a:lnTo>
                    <a:pt x="9397" y="5667"/>
                  </a:lnTo>
                  <a:lnTo>
                    <a:pt x="9257" y="5598"/>
                  </a:lnTo>
                  <a:lnTo>
                    <a:pt x="9115" y="5535"/>
                  </a:lnTo>
                  <a:lnTo>
                    <a:pt x="8974" y="5475"/>
                  </a:lnTo>
                  <a:lnTo>
                    <a:pt x="8833" y="5421"/>
                  </a:lnTo>
                  <a:lnTo>
                    <a:pt x="8693" y="5370"/>
                  </a:lnTo>
                  <a:lnTo>
                    <a:pt x="8553" y="5324"/>
                  </a:lnTo>
                  <a:lnTo>
                    <a:pt x="8414" y="5281"/>
                  </a:lnTo>
                  <a:lnTo>
                    <a:pt x="8275" y="5241"/>
                  </a:lnTo>
                  <a:lnTo>
                    <a:pt x="8136" y="5205"/>
                  </a:lnTo>
                  <a:lnTo>
                    <a:pt x="7997" y="5172"/>
                  </a:lnTo>
                  <a:lnTo>
                    <a:pt x="7860" y="5141"/>
                  </a:lnTo>
                  <a:lnTo>
                    <a:pt x="7723" y="5113"/>
                  </a:lnTo>
                  <a:lnTo>
                    <a:pt x="7587" y="5088"/>
                  </a:lnTo>
                  <a:lnTo>
                    <a:pt x="7451" y="5065"/>
                  </a:lnTo>
                  <a:lnTo>
                    <a:pt x="7315" y="5043"/>
                  </a:lnTo>
                  <a:lnTo>
                    <a:pt x="7180" y="5022"/>
                  </a:lnTo>
                  <a:lnTo>
                    <a:pt x="7047" y="5003"/>
                  </a:lnTo>
                  <a:lnTo>
                    <a:pt x="6782" y="4968"/>
                  </a:lnTo>
                  <a:lnTo>
                    <a:pt x="6519" y="4936"/>
                  </a:lnTo>
                  <a:lnTo>
                    <a:pt x="6436" y="4926"/>
                  </a:lnTo>
                  <a:lnTo>
                    <a:pt x="6354" y="4915"/>
                  </a:lnTo>
                  <a:lnTo>
                    <a:pt x="6270" y="4905"/>
                  </a:lnTo>
                  <a:lnTo>
                    <a:pt x="6188" y="4893"/>
                  </a:lnTo>
                  <a:lnTo>
                    <a:pt x="6105" y="4882"/>
                  </a:lnTo>
                  <a:lnTo>
                    <a:pt x="6024" y="4871"/>
                  </a:lnTo>
                  <a:lnTo>
                    <a:pt x="5942" y="4859"/>
                  </a:lnTo>
                  <a:lnTo>
                    <a:pt x="5861" y="4847"/>
                  </a:lnTo>
                  <a:lnTo>
                    <a:pt x="5779" y="4835"/>
                  </a:lnTo>
                  <a:lnTo>
                    <a:pt x="5698" y="4822"/>
                  </a:lnTo>
                  <a:lnTo>
                    <a:pt x="5617" y="4809"/>
                  </a:lnTo>
                  <a:lnTo>
                    <a:pt x="5537" y="4795"/>
                  </a:lnTo>
                  <a:lnTo>
                    <a:pt x="5456" y="4779"/>
                  </a:lnTo>
                  <a:lnTo>
                    <a:pt x="5376" y="4764"/>
                  </a:lnTo>
                  <a:lnTo>
                    <a:pt x="5296" y="4748"/>
                  </a:lnTo>
                  <a:lnTo>
                    <a:pt x="5216" y="4731"/>
                  </a:lnTo>
                  <a:lnTo>
                    <a:pt x="9487" y="3017"/>
                  </a:lnTo>
                  <a:lnTo>
                    <a:pt x="8624" y="2152"/>
                  </a:lnTo>
                  <a:lnTo>
                    <a:pt x="8615" y="2143"/>
                  </a:lnTo>
                  <a:lnTo>
                    <a:pt x="8607" y="2133"/>
                  </a:lnTo>
                  <a:lnTo>
                    <a:pt x="8599" y="2123"/>
                  </a:lnTo>
                  <a:lnTo>
                    <a:pt x="8592" y="2113"/>
                  </a:lnTo>
                  <a:lnTo>
                    <a:pt x="8586" y="2102"/>
                  </a:lnTo>
                  <a:lnTo>
                    <a:pt x="8580" y="2091"/>
                  </a:lnTo>
                  <a:lnTo>
                    <a:pt x="8574" y="2080"/>
                  </a:lnTo>
                  <a:lnTo>
                    <a:pt x="8569" y="2068"/>
                  </a:lnTo>
                  <a:lnTo>
                    <a:pt x="8565" y="2057"/>
                  </a:lnTo>
                  <a:lnTo>
                    <a:pt x="8561" y="2046"/>
                  </a:lnTo>
                  <a:lnTo>
                    <a:pt x="8558" y="2034"/>
                  </a:lnTo>
                  <a:lnTo>
                    <a:pt x="8555" y="2022"/>
                  </a:lnTo>
                  <a:lnTo>
                    <a:pt x="8553" y="2010"/>
                  </a:lnTo>
                  <a:lnTo>
                    <a:pt x="8551" y="1998"/>
                  </a:lnTo>
                  <a:lnTo>
                    <a:pt x="8550" y="1986"/>
                  </a:lnTo>
                  <a:lnTo>
                    <a:pt x="8550" y="1974"/>
                  </a:lnTo>
                  <a:lnTo>
                    <a:pt x="8550" y="1961"/>
                  </a:lnTo>
                  <a:lnTo>
                    <a:pt x="8551" y="1949"/>
                  </a:lnTo>
                  <a:lnTo>
                    <a:pt x="8553" y="1938"/>
                  </a:lnTo>
                  <a:lnTo>
                    <a:pt x="8555" y="1926"/>
                  </a:lnTo>
                  <a:lnTo>
                    <a:pt x="8558" y="1914"/>
                  </a:lnTo>
                  <a:lnTo>
                    <a:pt x="8562" y="1902"/>
                  </a:lnTo>
                  <a:lnTo>
                    <a:pt x="8565" y="1891"/>
                  </a:lnTo>
                  <a:lnTo>
                    <a:pt x="8570" y="1879"/>
                  </a:lnTo>
                  <a:lnTo>
                    <a:pt x="8574" y="1868"/>
                  </a:lnTo>
                  <a:lnTo>
                    <a:pt x="8580" y="1857"/>
                  </a:lnTo>
                  <a:lnTo>
                    <a:pt x="8586" y="1845"/>
                  </a:lnTo>
                  <a:lnTo>
                    <a:pt x="8593" y="1835"/>
                  </a:lnTo>
                  <a:lnTo>
                    <a:pt x="8600" y="1825"/>
                  </a:lnTo>
                  <a:lnTo>
                    <a:pt x="8608" y="1815"/>
                  </a:lnTo>
                  <a:lnTo>
                    <a:pt x="8616" y="1805"/>
                  </a:lnTo>
                  <a:lnTo>
                    <a:pt x="8625" y="1796"/>
                  </a:lnTo>
                  <a:lnTo>
                    <a:pt x="9335" y="1082"/>
                  </a:lnTo>
                  <a:lnTo>
                    <a:pt x="9344" y="1073"/>
                  </a:lnTo>
                  <a:lnTo>
                    <a:pt x="9354" y="1065"/>
                  </a:lnTo>
                  <a:lnTo>
                    <a:pt x="9364" y="1057"/>
                  </a:lnTo>
                  <a:lnTo>
                    <a:pt x="9374" y="1050"/>
                  </a:lnTo>
                  <a:lnTo>
                    <a:pt x="9385" y="1043"/>
                  </a:lnTo>
                  <a:lnTo>
                    <a:pt x="9396" y="1037"/>
                  </a:lnTo>
                  <a:lnTo>
                    <a:pt x="9408" y="1032"/>
                  </a:lnTo>
                  <a:lnTo>
                    <a:pt x="9419" y="1027"/>
                  </a:lnTo>
                  <a:lnTo>
                    <a:pt x="9430" y="1023"/>
                  </a:lnTo>
                  <a:lnTo>
                    <a:pt x="9442" y="1019"/>
                  </a:lnTo>
                  <a:lnTo>
                    <a:pt x="9454" y="1016"/>
                  </a:lnTo>
                  <a:lnTo>
                    <a:pt x="9465" y="1013"/>
                  </a:lnTo>
                  <a:lnTo>
                    <a:pt x="9477" y="1011"/>
                  </a:lnTo>
                  <a:lnTo>
                    <a:pt x="9489" y="1010"/>
                  </a:lnTo>
                  <a:lnTo>
                    <a:pt x="9501" y="1009"/>
                  </a:lnTo>
                  <a:lnTo>
                    <a:pt x="9513" y="1009"/>
                  </a:lnTo>
                  <a:lnTo>
                    <a:pt x="9525" y="1009"/>
                  </a:lnTo>
                  <a:lnTo>
                    <a:pt x="9537" y="1010"/>
                  </a:lnTo>
                  <a:lnTo>
                    <a:pt x="9549" y="1011"/>
                  </a:lnTo>
                  <a:lnTo>
                    <a:pt x="9561" y="1013"/>
                  </a:lnTo>
                  <a:lnTo>
                    <a:pt x="9574" y="1016"/>
                  </a:lnTo>
                  <a:lnTo>
                    <a:pt x="9585" y="1019"/>
                  </a:lnTo>
                  <a:lnTo>
                    <a:pt x="9597" y="1023"/>
                  </a:lnTo>
                  <a:lnTo>
                    <a:pt x="9608" y="1027"/>
                  </a:lnTo>
                  <a:lnTo>
                    <a:pt x="9619" y="1032"/>
                  </a:lnTo>
                  <a:lnTo>
                    <a:pt x="9630" y="1037"/>
                  </a:lnTo>
                  <a:lnTo>
                    <a:pt x="9641" y="1043"/>
                  </a:lnTo>
                  <a:lnTo>
                    <a:pt x="9651" y="1050"/>
                  </a:lnTo>
                  <a:lnTo>
                    <a:pt x="9662" y="1057"/>
                  </a:lnTo>
                  <a:lnTo>
                    <a:pt x="9672" y="1065"/>
                  </a:lnTo>
                  <a:lnTo>
                    <a:pt x="9681" y="1073"/>
                  </a:lnTo>
                  <a:lnTo>
                    <a:pt x="9691" y="1082"/>
                  </a:lnTo>
                  <a:lnTo>
                    <a:pt x="13576" y="4978"/>
                  </a:lnTo>
                  <a:lnTo>
                    <a:pt x="13585" y="4987"/>
                  </a:lnTo>
                  <a:lnTo>
                    <a:pt x="13593" y="4996"/>
                  </a:lnTo>
                  <a:lnTo>
                    <a:pt x="13601" y="5006"/>
                  </a:lnTo>
                  <a:lnTo>
                    <a:pt x="13608" y="5017"/>
                  </a:lnTo>
                  <a:lnTo>
                    <a:pt x="13615" y="5028"/>
                  </a:lnTo>
                  <a:lnTo>
                    <a:pt x="13621" y="5039"/>
                  </a:lnTo>
                  <a:lnTo>
                    <a:pt x="13627" y="5050"/>
                  </a:lnTo>
                  <a:lnTo>
                    <a:pt x="13631" y="5061"/>
                  </a:lnTo>
                  <a:lnTo>
                    <a:pt x="13636" y="5073"/>
                  </a:lnTo>
                  <a:lnTo>
                    <a:pt x="13641" y="5084"/>
                  </a:lnTo>
                  <a:lnTo>
                    <a:pt x="13644" y="5096"/>
                  </a:lnTo>
                  <a:lnTo>
                    <a:pt x="13646" y="5107"/>
                  </a:lnTo>
                  <a:lnTo>
                    <a:pt x="13648" y="5119"/>
                  </a:lnTo>
                  <a:lnTo>
                    <a:pt x="13650" y="5131"/>
                  </a:lnTo>
                  <a:lnTo>
                    <a:pt x="13651" y="5143"/>
                  </a:lnTo>
                  <a:lnTo>
                    <a:pt x="13651" y="5156"/>
                  </a:lnTo>
                  <a:lnTo>
                    <a:pt x="13651" y="5168"/>
                  </a:lnTo>
                  <a:lnTo>
                    <a:pt x="13650" y="5180"/>
                  </a:lnTo>
                  <a:lnTo>
                    <a:pt x="13648" y="5192"/>
                  </a:lnTo>
                  <a:lnTo>
                    <a:pt x="13646" y="5204"/>
                  </a:lnTo>
                  <a:lnTo>
                    <a:pt x="13644" y="5216"/>
                  </a:lnTo>
                  <a:lnTo>
                    <a:pt x="13641" y="5227"/>
                  </a:lnTo>
                  <a:lnTo>
                    <a:pt x="13636" y="5239"/>
                  </a:lnTo>
                  <a:lnTo>
                    <a:pt x="13631" y="5250"/>
                  </a:lnTo>
                  <a:lnTo>
                    <a:pt x="13627" y="5261"/>
                  </a:lnTo>
                  <a:lnTo>
                    <a:pt x="13621" y="5273"/>
                  </a:lnTo>
                  <a:lnTo>
                    <a:pt x="13615" y="5284"/>
                  </a:lnTo>
                  <a:lnTo>
                    <a:pt x="13608" y="5295"/>
                  </a:lnTo>
                  <a:lnTo>
                    <a:pt x="13601" y="5305"/>
                  </a:lnTo>
                  <a:lnTo>
                    <a:pt x="13593" y="5315"/>
                  </a:lnTo>
                  <a:lnTo>
                    <a:pt x="13585" y="5325"/>
                  </a:lnTo>
                  <a:lnTo>
                    <a:pt x="13576" y="5334"/>
                  </a:lnTo>
                  <a:close/>
                  <a:moveTo>
                    <a:pt x="8378" y="13292"/>
                  </a:moveTo>
                  <a:lnTo>
                    <a:pt x="8366" y="13321"/>
                  </a:lnTo>
                  <a:lnTo>
                    <a:pt x="8352" y="13350"/>
                  </a:lnTo>
                  <a:lnTo>
                    <a:pt x="8336" y="13377"/>
                  </a:lnTo>
                  <a:lnTo>
                    <a:pt x="8318" y="13403"/>
                  </a:lnTo>
                  <a:lnTo>
                    <a:pt x="8300" y="13427"/>
                  </a:lnTo>
                  <a:lnTo>
                    <a:pt x="8280" y="13450"/>
                  </a:lnTo>
                  <a:lnTo>
                    <a:pt x="8258" y="13473"/>
                  </a:lnTo>
                  <a:lnTo>
                    <a:pt x="8235" y="13494"/>
                  </a:lnTo>
                  <a:lnTo>
                    <a:pt x="8210" y="13513"/>
                  </a:lnTo>
                  <a:lnTo>
                    <a:pt x="8185" y="13530"/>
                  </a:lnTo>
                  <a:lnTo>
                    <a:pt x="8159" y="13546"/>
                  </a:lnTo>
                  <a:lnTo>
                    <a:pt x="8132" y="13560"/>
                  </a:lnTo>
                  <a:lnTo>
                    <a:pt x="8104" y="13573"/>
                  </a:lnTo>
                  <a:lnTo>
                    <a:pt x="8074" y="13585"/>
                  </a:lnTo>
                  <a:lnTo>
                    <a:pt x="8044" y="13594"/>
                  </a:lnTo>
                  <a:lnTo>
                    <a:pt x="8013" y="13601"/>
                  </a:lnTo>
                  <a:lnTo>
                    <a:pt x="7985" y="13607"/>
                  </a:lnTo>
                  <a:lnTo>
                    <a:pt x="7956" y="13610"/>
                  </a:lnTo>
                  <a:lnTo>
                    <a:pt x="7927" y="13612"/>
                  </a:lnTo>
                  <a:lnTo>
                    <a:pt x="7899" y="13612"/>
                  </a:lnTo>
                  <a:lnTo>
                    <a:pt x="7874" y="13611"/>
                  </a:lnTo>
                  <a:lnTo>
                    <a:pt x="7850" y="13609"/>
                  </a:lnTo>
                  <a:lnTo>
                    <a:pt x="7827" y="13605"/>
                  </a:lnTo>
                  <a:lnTo>
                    <a:pt x="7804" y="13601"/>
                  </a:lnTo>
                  <a:lnTo>
                    <a:pt x="7781" y="13595"/>
                  </a:lnTo>
                  <a:lnTo>
                    <a:pt x="7758" y="13589"/>
                  </a:lnTo>
                  <a:lnTo>
                    <a:pt x="7736" y="13580"/>
                  </a:lnTo>
                  <a:lnTo>
                    <a:pt x="7714" y="13571"/>
                  </a:lnTo>
                  <a:lnTo>
                    <a:pt x="7691" y="13562"/>
                  </a:lnTo>
                  <a:lnTo>
                    <a:pt x="7670" y="13551"/>
                  </a:lnTo>
                  <a:lnTo>
                    <a:pt x="7650" y="13539"/>
                  </a:lnTo>
                  <a:lnTo>
                    <a:pt x="7630" y="13526"/>
                  </a:lnTo>
                  <a:lnTo>
                    <a:pt x="7610" y="13512"/>
                  </a:lnTo>
                  <a:lnTo>
                    <a:pt x="7591" y="13497"/>
                  </a:lnTo>
                  <a:lnTo>
                    <a:pt x="7573" y="13482"/>
                  </a:lnTo>
                  <a:lnTo>
                    <a:pt x="7556" y="13465"/>
                  </a:lnTo>
                  <a:lnTo>
                    <a:pt x="1154" y="7119"/>
                  </a:lnTo>
                  <a:lnTo>
                    <a:pt x="1133" y="7096"/>
                  </a:lnTo>
                  <a:lnTo>
                    <a:pt x="1113" y="7072"/>
                  </a:lnTo>
                  <a:lnTo>
                    <a:pt x="1094" y="7048"/>
                  </a:lnTo>
                  <a:lnTo>
                    <a:pt x="1078" y="7022"/>
                  </a:lnTo>
                  <a:lnTo>
                    <a:pt x="1063" y="6996"/>
                  </a:lnTo>
                  <a:lnTo>
                    <a:pt x="1050" y="6967"/>
                  </a:lnTo>
                  <a:lnTo>
                    <a:pt x="1038" y="6940"/>
                  </a:lnTo>
                  <a:lnTo>
                    <a:pt x="1029" y="6911"/>
                  </a:lnTo>
                  <a:lnTo>
                    <a:pt x="1021" y="6882"/>
                  </a:lnTo>
                  <a:lnTo>
                    <a:pt x="1014" y="6852"/>
                  </a:lnTo>
                  <a:lnTo>
                    <a:pt x="1010" y="6822"/>
                  </a:lnTo>
                  <a:lnTo>
                    <a:pt x="1007" y="6792"/>
                  </a:lnTo>
                  <a:lnTo>
                    <a:pt x="1006" y="6761"/>
                  </a:lnTo>
                  <a:lnTo>
                    <a:pt x="1007" y="6730"/>
                  </a:lnTo>
                  <a:lnTo>
                    <a:pt x="1010" y="6699"/>
                  </a:lnTo>
                  <a:lnTo>
                    <a:pt x="1015" y="6668"/>
                  </a:lnTo>
                  <a:lnTo>
                    <a:pt x="1022" y="6638"/>
                  </a:lnTo>
                  <a:lnTo>
                    <a:pt x="1030" y="6608"/>
                  </a:lnTo>
                  <a:lnTo>
                    <a:pt x="1040" y="6579"/>
                  </a:lnTo>
                  <a:lnTo>
                    <a:pt x="1052" y="6551"/>
                  </a:lnTo>
                  <a:lnTo>
                    <a:pt x="1065" y="6524"/>
                  </a:lnTo>
                  <a:lnTo>
                    <a:pt x="1080" y="6498"/>
                  </a:lnTo>
                  <a:lnTo>
                    <a:pt x="1097" y="6472"/>
                  </a:lnTo>
                  <a:lnTo>
                    <a:pt x="1116" y="6448"/>
                  </a:lnTo>
                  <a:lnTo>
                    <a:pt x="1136" y="6425"/>
                  </a:lnTo>
                  <a:lnTo>
                    <a:pt x="1156" y="6403"/>
                  </a:lnTo>
                  <a:lnTo>
                    <a:pt x="1179" y="6383"/>
                  </a:lnTo>
                  <a:lnTo>
                    <a:pt x="1202" y="6363"/>
                  </a:lnTo>
                  <a:lnTo>
                    <a:pt x="1227" y="6345"/>
                  </a:lnTo>
                  <a:lnTo>
                    <a:pt x="1252" y="6329"/>
                  </a:lnTo>
                  <a:lnTo>
                    <a:pt x="1280" y="6314"/>
                  </a:lnTo>
                  <a:lnTo>
                    <a:pt x="1308" y="6300"/>
                  </a:lnTo>
                  <a:lnTo>
                    <a:pt x="4434" y="5046"/>
                  </a:lnTo>
                  <a:lnTo>
                    <a:pt x="4632" y="5107"/>
                  </a:lnTo>
                  <a:lnTo>
                    <a:pt x="4830" y="5162"/>
                  </a:lnTo>
                  <a:lnTo>
                    <a:pt x="5027" y="5210"/>
                  </a:lnTo>
                  <a:lnTo>
                    <a:pt x="5225" y="5252"/>
                  </a:lnTo>
                  <a:lnTo>
                    <a:pt x="5422" y="5290"/>
                  </a:lnTo>
                  <a:lnTo>
                    <a:pt x="5620" y="5323"/>
                  </a:lnTo>
                  <a:lnTo>
                    <a:pt x="5817" y="5353"/>
                  </a:lnTo>
                  <a:lnTo>
                    <a:pt x="6016" y="5380"/>
                  </a:lnTo>
                  <a:lnTo>
                    <a:pt x="6410" y="5431"/>
                  </a:lnTo>
                  <a:lnTo>
                    <a:pt x="6805" y="5480"/>
                  </a:lnTo>
                  <a:lnTo>
                    <a:pt x="7003" y="5507"/>
                  </a:lnTo>
                  <a:lnTo>
                    <a:pt x="7201" y="5536"/>
                  </a:lnTo>
                  <a:lnTo>
                    <a:pt x="7398" y="5568"/>
                  </a:lnTo>
                  <a:lnTo>
                    <a:pt x="7596" y="5603"/>
                  </a:lnTo>
                  <a:lnTo>
                    <a:pt x="7793" y="5643"/>
                  </a:lnTo>
                  <a:lnTo>
                    <a:pt x="7991" y="5688"/>
                  </a:lnTo>
                  <a:lnTo>
                    <a:pt x="8188" y="5739"/>
                  </a:lnTo>
                  <a:lnTo>
                    <a:pt x="8385" y="5798"/>
                  </a:lnTo>
                  <a:lnTo>
                    <a:pt x="8584" y="5864"/>
                  </a:lnTo>
                  <a:lnTo>
                    <a:pt x="8781" y="5939"/>
                  </a:lnTo>
                  <a:lnTo>
                    <a:pt x="8979" y="6023"/>
                  </a:lnTo>
                  <a:lnTo>
                    <a:pt x="9176" y="6116"/>
                  </a:lnTo>
                  <a:lnTo>
                    <a:pt x="9373" y="6221"/>
                  </a:lnTo>
                  <a:lnTo>
                    <a:pt x="9571" y="6337"/>
                  </a:lnTo>
                  <a:lnTo>
                    <a:pt x="9769" y="6466"/>
                  </a:lnTo>
                  <a:lnTo>
                    <a:pt x="9967" y="6608"/>
                  </a:lnTo>
                  <a:lnTo>
                    <a:pt x="10164" y="6765"/>
                  </a:lnTo>
                  <a:lnTo>
                    <a:pt x="10361" y="6935"/>
                  </a:lnTo>
                  <a:lnTo>
                    <a:pt x="10559" y="7122"/>
                  </a:lnTo>
                  <a:lnTo>
                    <a:pt x="10756" y="7324"/>
                  </a:lnTo>
                  <a:lnTo>
                    <a:pt x="8378" y="13292"/>
                  </a:lnTo>
                  <a:close/>
                  <a:moveTo>
                    <a:pt x="10402" y="369"/>
                  </a:moveTo>
                  <a:lnTo>
                    <a:pt x="10379" y="347"/>
                  </a:lnTo>
                  <a:lnTo>
                    <a:pt x="10356" y="326"/>
                  </a:lnTo>
                  <a:lnTo>
                    <a:pt x="10333" y="305"/>
                  </a:lnTo>
                  <a:lnTo>
                    <a:pt x="10310" y="286"/>
                  </a:lnTo>
                  <a:lnTo>
                    <a:pt x="10286" y="266"/>
                  </a:lnTo>
                  <a:lnTo>
                    <a:pt x="10261" y="247"/>
                  </a:lnTo>
                  <a:lnTo>
                    <a:pt x="10235" y="229"/>
                  </a:lnTo>
                  <a:lnTo>
                    <a:pt x="10210" y="211"/>
                  </a:lnTo>
                  <a:lnTo>
                    <a:pt x="10184" y="195"/>
                  </a:lnTo>
                  <a:lnTo>
                    <a:pt x="10158" y="179"/>
                  </a:lnTo>
                  <a:lnTo>
                    <a:pt x="10132" y="163"/>
                  </a:lnTo>
                  <a:lnTo>
                    <a:pt x="10105" y="148"/>
                  </a:lnTo>
                  <a:lnTo>
                    <a:pt x="10077" y="133"/>
                  </a:lnTo>
                  <a:lnTo>
                    <a:pt x="10050" y="120"/>
                  </a:lnTo>
                  <a:lnTo>
                    <a:pt x="10022" y="108"/>
                  </a:lnTo>
                  <a:lnTo>
                    <a:pt x="9994" y="96"/>
                  </a:lnTo>
                  <a:lnTo>
                    <a:pt x="9966" y="84"/>
                  </a:lnTo>
                  <a:lnTo>
                    <a:pt x="9938" y="74"/>
                  </a:lnTo>
                  <a:lnTo>
                    <a:pt x="9908" y="64"/>
                  </a:lnTo>
                  <a:lnTo>
                    <a:pt x="9879" y="55"/>
                  </a:lnTo>
                  <a:lnTo>
                    <a:pt x="9850" y="46"/>
                  </a:lnTo>
                  <a:lnTo>
                    <a:pt x="9820" y="38"/>
                  </a:lnTo>
                  <a:lnTo>
                    <a:pt x="9791" y="31"/>
                  </a:lnTo>
                  <a:lnTo>
                    <a:pt x="9761" y="25"/>
                  </a:lnTo>
                  <a:lnTo>
                    <a:pt x="9730" y="19"/>
                  </a:lnTo>
                  <a:lnTo>
                    <a:pt x="9699" y="14"/>
                  </a:lnTo>
                  <a:lnTo>
                    <a:pt x="9669" y="9"/>
                  </a:lnTo>
                  <a:lnTo>
                    <a:pt x="9638" y="6"/>
                  </a:lnTo>
                  <a:lnTo>
                    <a:pt x="9607" y="3"/>
                  </a:lnTo>
                  <a:lnTo>
                    <a:pt x="9577" y="2"/>
                  </a:lnTo>
                  <a:lnTo>
                    <a:pt x="9544" y="0"/>
                  </a:lnTo>
                  <a:lnTo>
                    <a:pt x="9513" y="0"/>
                  </a:lnTo>
                  <a:lnTo>
                    <a:pt x="9482" y="0"/>
                  </a:lnTo>
                  <a:lnTo>
                    <a:pt x="9451" y="2"/>
                  </a:lnTo>
                  <a:lnTo>
                    <a:pt x="9420" y="3"/>
                  </a:lnTo>
                  <a:lnTo>
                    <a:pt x="9388" y="6"/>
                  </a:lnTo>
                  <a:lnTo>
                    <a:pt x="9357" y="9"/>
                  </a:lnTo>
                  <a:lnTo>
                    <a:pt x="9327" y="14"/>
                  </a:lnTo>
                  <a:lnTo>
                    <a:pt x="9297" y="19"/>
                  </a:lnTo>
                  <a:lnTo>
                    <a:pt x="9266" y="25"/>
                  </a:lnTo>
                  <a:lnTo>
                    <a:pt x="9236" y="31"/>
                  </a:lnTo>
                  <a:lnTo>
                    <a:pt x="9206" y="38"/>
                  </a:lnTo>
                  <a:lnTo>
                    <a:pt x="9176" y="46"/>
                  </a:lnTo>
                  <a:lnTo>
                    <a:pt x="9147" y="55"/>
                  </a:lnTo>
                  <a:lnTo>
                    <a:pt x="9118" y="64"/>
                  </a:lnTo>
                  <a:lnTo>
                    <a:pt x="9089" y="74"/>
                  </a:lnTo>
                  <a:lnTo>
                    <a:pt x="9060" y="84"/>
                  </a:lnTo>
                  <a:lnTo>
                    <a:pt x="9031" y="96"/>
                  </a:lnTo>
                  <a:lnTo>
                    <a:pt x="9003" y="108"/>
                  </a:lnTo>
                  <a:lnTo>
                    <a:pt x="8976" y="120"/>
                  </a:lnTo>
                  <a:lnTo>
                    <a:pt x="8948" y="134"/>
                  </a:lnTo>
                  <a:lnTo>
                    <a:pt x="8921" y="149"/>
                  </a:lnTo>
                  <a:lnTo>
                    <a:pt x="8894" y="163"/>
                  </a:lnTo>
                  <a:lnTo>
                    <a:pt x="8867" y="179"/>
                  </a:lnTo>
                  <a:lnTo>
                    <a:pt x="8841" y="195"/>
                  </a:lnTo>
                  <a:lnTo>
                    <a:pt x="8816" y="211"/>
                  </a:lnTo>
                  <a:lnTo>
                    <a:pt x="8790" y="229"/>
                  </a:lnTo>
                  <a:lnTo>
                    <a:pt x="8766" y="247"/>
                  </a:lnTo>
                  <a:lnTo>
                    <a:pt x="8741" y="267"/>
                  </a:lnTo>
                  <a:lnTo>
                    <a:pt x="8716" y="286"/>
                  </a:lnTo>
                  <a:lnTo>
                    <a:pt x="8692" y="306"/>
                  </a:lnTo>
                  <a:lnTo>
                    <a:pt x="8669" y="326"/>
                  </a:lnTo>
                  <a:lnTo>
                    <a:pt x="8646" y="348"/>
                  </a:lnTo>
                  <a:lnTo>
                    <a:pt x="8624" y="369"/>
                  </a:lnTo>
                  <a:lnTo>
                    <a:pt x="7914" y="1081"/>
                  </a:lnTo>
                  <a:lnTo>
                    <a:pt x="7892" y="1104"/>
                  </a:lnTo>
                  <a:lnTo>
                    <a:pt x="7870" y="1128"/>
                  </a:lnTo>
                  <a:lnTo>
                    <a:pt x="7850" y="1151"/>
                  </a:lnTo>
                  <a:lnTo>
                    <a:pt x="7829" y="1174"/>
                  </a:lnTo>
                  <a:lnTo>
                    <a:pt x="7810" y="1199"/>
                  </a:lnTo>
                  <a:lnTo>
                    <a:pt x="7792" y="1223"/>
                  </a:lnTo>
                  <a:lnTo>
                    <a:pt x="7773" y="1249"/>
                  </a:lnTo>
                  <a:lnTo>
                    <a:pt x="7756" y="1274"/>
                  </a:lnTo>
                  <a:lnTo>
                    <a:pt x="7739" y="1300"/>
                  </a:lnTo>
                  <a:lnTo>
                    <a:pt x="7723" y="1326"/>
                  </a:lnTo>
                  <a:lnTo>
                    <a:pt x="7707" y="1352"/>
                  </a:lnTo>
                  <a:lnTo>
                    <a:pt x="7692" y="1380"/>
                  </a:lnTo>
                  <a:lnTo>
                    <a:pt x="7678" y="1407"/>
                  </a:lnTo>
                  <a:lnTo>
                    <a:pt x="7665" y="1434"/>
                  </a:lnTo>
                  <a:lnTo>
                    <a:pt x="7652" y="1462"/>
                  </a:lnTo>
                  <a:lnTo>
                    <a:pt x="7640" y="1491"/>
                  </a:lnTo>
                  <a:lnTo>
                    <a:pt x="7629" y="1519"/>
                  </a:lnTo>
                  <a:lnTo>
                    <a:pt x="7618" y="1547"/>
                  </a:lnTo>
                  <a:lnTo>
                    <a:pt x="7608" y="1576"/>
                  </a:lnTo>
                  <a:lnTo>
                    <a:pt x="7599" y="1606"/>
                  </a:lnTo>
                  <a:lnTo>
                    <a:pt x="7591" y="1636"/>
                  </a:lnTo>
                  <a:lnTo>
                    <a:pt x="7583" y="1665"/>
                  </a:lnTo>
                  <a:lnTo>
                    <a:pt x="7576" y="1695"/>
                  </a:lnTo>
                  <a:lnTo>
                    <a:pt x="7569" y="1725"/>
                  </a:lnTo>
                  <a:lnTo>
                    <a:pt x="7564" y="1756"/>
                  </a:lnTo>
                  <a:lnTo>
                    <a:pt x="7559" y="1786"/>
                  </a:lnTo>
                  <a:lnTo>
                    <a:pt x="7555" y="1817"/>
                  </a:lnTo>
                  <a:lnTo>
                    <a:pt x="7551" y="1848"/>
                  </a:lnTo>
                  <a:lnTo>
                    <a:pt x="7549" y="1879"/>
                  </a:lnTo>
                  <a:lnTo>
                    <a:pt x="7547" y="1911"/>
                  </a:lnTo>
                  <a:lnTo>
                    <a:pt x="7546" y="1942"/>
                  </a:lnTo>
                  <a:lnTo>
                    <a:pt x="7545" y="1974"/>
                  </a:lnTo>
                  <a:lnTo>
                    <a:pt x="7546" y="2018"/>
                  </a:lnTo>
                  <a:lnTo>
                    <a:pt x="7548" y="2062"/>
                  </a:lnTo>
                  <a:lnTo>
                    <a:pt x="7552" y="2106"/>
                  </a:lnTo>
                  <a:lnTo>
                    <a:pt x="7557" y="2150"/>
                  </a:lnTo>
                  <a:lnTo>
                    <a:pt x="7564" y="2192"/>
                  </a:lnTo>
                  <a:lnTo>
                    <a:pt x="7572" y="2236"/>
                  </a:lnTo>
                  <a:lnTo>
                    <a:pt x="7582" y="2278"/>
                  </a:lnTo>
                  <a:lnTo>
                    <a:pt x="7593" y="2319"/>
                  </a:lnTo>
                  <a:lnTo>
                    <a:pt x="7605" y="2361"/>
                  </a:lnTo>
                  <a:lnTo>
                    <a:pt x="7619" y="2402"/>
                  </a:lnTo>
                  <a:lnTo>
                    <a:pt x="7634" y="2442"/>
                  </a:lnTo>
                  <a:lnTo>
                    <a:pt x="7651" y="2483"/>
                  </a:lnTo>
                  <a:lnTo>
                    <a:pt x="7669" y="2522"/>
                  </a:lnTo>
                  <a:lnTo>
                    <a:pt x="7688" y="2560"/>
                  </a:lnTo>
                  <a:lnTo>
                    <a:pt x="7710" y="2599"/>
                  </a:lnTo>
                  <a:lnTo>
                    <a:pt x="7732" y="2635"/>
                  </a:lnTo>
                  <a:lnTo>
                    <a:pt x="902" y="5377"/>
                  </a:lnTo>
                  <a:lnTo>
                    <a:pt x="860" y="5397"/>
                  </a:lnTo>
                  <a:lnTo>
                    <a:pt x="819" y="5418"/>
                  </a:lnTo>
                  <a:lnTo>
                    <a:pt x="778" y="5440"/>
                  </a:lnTo>
                  <a:lnTo>
                    <a:pt x="737" y="5462"/>
                  </a:lnTo>
                  <a:lnTo>
                    <a:pt x="699" y="5486"/>
                  </a:lnTo>
                  <a:lnTo>
                    <a:pt x="660" y="5511"/>
                  </a:lnTo>
                  <a:lnTo>
                    <a:pt x="623" y="5539"/>
                  </a:lnTo>
                  <a:lnTo>
                    <a:pt x="586" y="5566"/>
                  </a:lnTo>
                  <a:lnTo>
                    <a:pt x="550" y="5594"/>
                  </a:lnTo>
                  <a:lnTo>
                    <a:pt x="516" y="5623"/>
                  </a:lnTo>
                  <a:lnTo>
                    <a:pt x="482" y="5655"/>
                  </a:lnTo>
                  <a:lnTo>
                    <a:pt x="450" y="5686"/>
                  </a:lnTo>
                  <a:lnTo>
                    <a:pt x="417" y="5718"/>
                  </a:lnTo>
                  <a:lnTo>
                    <a:pt x="386" y="5751"/>
                  </a:lnTo>
                  <a:lnTo>
                    <a:pt x="357" y="5786"/>
                  </a:lnTo>
                  <a:lnTo>
                    <a:pt x="328" y="5821"/>
                  </a:lnTo>
                  <a:lnTo>
                    <a:pt x="301" y="5857"/>
                  </a:lnTo>
                  <a:lnTo>
                    <a:pt x="274" y="5894"/>
                  </a:lnTo>
                  <a:lnTo>
                    <a:pt x="248" y="5931"/>
                  </a:lnTo>
                  <a:lnTo>
                    <a:pt x="224" y="5969"/>
                  </a:lnTo>
                  <a:lnTo>
                    <a:pt x="200" y="6009"/>
                  </a:lnTo>
                  <a:lnTo>
                    <a:pt x="179" y="6049"/>
                  </a:lnTo>
                  <a:lnTo>
                    <a:pt x="158" y="6089"/>
                  </a:lnTo>
                  <a:lnTo>
                    <a:pt x="138" y="6131"/>
                  </a:lnTo>
                  <a:lnTo>
                    <a:pt x="120" y="6172"/>
                  </a:lnTo>
                  <a:lnTo>
                    <a:pt x="103" y="6214"/>
                  </a:lnTo>
                  <a:lnTo>
                    <a:pt x="87" y="6258"/>
                  </a:lnTo>
                  <a:lnTo>
                    <a:pt x="71" y="6301"/>
                  </a:lnTo>
                  <a:lnTo>
                    <a:pt x="58" y="6345"/>
                  </a:lnTo>
                  <a:lnTo>
                    <a:pt x="46" y="6390"/>
                  </a:lnTo>
                  <a:lnTo>
                    <a:pt x="36" y="6435"/>
                  </a:lnTo>
                  <a:lnTo>
                    <a:pt x="26" y="6481"/>
                  </a:lnTo>
                  <a:lnTo>
                    <a:pt x="18" y="6527"/>
                  </a:lnTo>
                  <a:lnTo>
                    <a:pt x="12" y="6573"/>
                  </a:lnTo>
                  <a:lnTo>
                    <a:pt x="7" y="6620"/>
                  </a:lnTo>
                  <a:lnTo>
                    <a:pt x="3" y="6666"/>
                  </a:lnTo>
                  <a:lnTo>
                    <a:pt x="1" y="6712"/>
                  </a:lnTo>
                  <a:lnTo>
                    <a:pt x="0" y="6759"/>
                  </a:lnTo>
                  <a:lnTo>
                    <a:pt x="1" y="6804"/>
                  </a:lnTo>
                  <a:lnTo>
                    <a:pt x="3" y="6850"/>
                  </a:lnTo>
                  <a:lnTo>
                    <a:pt x="6" y="6896"/>
                  </a:lnTo>
                  <a:lnTo>
                    <a:pt x="11" y="6941"/>
                  </a:lnTo>
                  <a:lnTo>
                    <a:pt x="17" y="6987"/>
                  </a:lnTo>
                  <a:lnTo>
                    <a:pt x="24" y="7032"/>
                  </a:lnTo>
                  <a:lnTo>
                    <a:pt x="33" y="7076"/>
                  </a:lnTo>
                  <a:lnTo>
                    <a:pt x="43" y="7121"/>
                  </a:lnTo>
                  <a:lnTo>
                    <a:pt x="55" y="7165"/>
                  </a:lnTo>
                  <a:lnTo>
                    <a:pt x="67" y="7209"/>
                  </a:lnTo>
                  <a:lnTo>
                    <a:pt x="81" y="7253"/>
                  </a:lnTo>
                  <a:lnTo>
                    <a:pt x="98" y="7295"/>
                  </a:lnTo>
                  <a:lnTo>
                    <a:pt x="114" y="7337"/>
                  </a:lnTo>
                  <a:lnTo>
                    <a:pt x="132" y="7380"/>
                  </a:lnTo>
                  <a:lnTo>
                    <a:pt x="152" y="7421"/>
                  </a:lnTo>
                  <a:lnTo>
                    <a:pt x="172" y="7462"/>
                  </a:lnTo>
                  <a:lnTo>
                    <a:pt x="194" y="7503"/>
                  </a:lnTo>
                  <a:lnTo>
                    <a:pt x="217" y="7542"/>
                  </a:lnTo>
                  <a:lnTo>
                    <a:pt x="241" y="7581"/>
                  </a:lnTo>
                  <a:lnTo>
                    <a:pt x="268" y="7620"/>
                  </a:lnTo>
                  <a:lnTo>
                    <a:pt x="294" y="7658"/>
                  </a:lnTo>
                  <a:lnTo>
                    <a:pt x="322" y="7695"/>
                  </a:lnTo>
                  <a:lnTo>
                    <a:pt x="351" y="7732"/>
                  </a:lnTo>
                  <a:lnTo>
                    <a:pt x="382" y="7767"/>
                  </a:lnTo>
                  <a:lnTo>
                    <a:pt x="413" y="7801"/>
                  </a:lnTo>
                  <a:lnTo>
                    <a:pt x="447" y="7835"/>
                  </a:lnTo>
                  <a:lnTo>
                    <a:pt x="6844" y="14177"/>
                  </a:lnTo>
                  <a:lnTo>
                    <a:pt x="6871" y="14203"/>
                  </a:lnTo>
                  <a:lnTo>
                    <a:pt x="6897" y="14228"/>
                  </a:lnTo>
                  <a:lnTo>
                    <a:pt x="6924" y="14252"/>
                  </a:lnTo>
                  <a:lnTo>
                    <a:pt x="6952" y="14275"/>
                  </a:lnTo>
                  <a:lnTo>
                    <a:pt x="6979" y="14298"/>
                  </a:lnTo>
                  <a:lnTo>
                    <a:pt x="7008" y="14320"/>
                  </a:lnTo>
                  <a:lnTo>
                    <a:pt x="7038" y="14341"/>
                  </a:lnTo>
                  <a:lnTo>
                    <a:pt x="7067" y="14362"/>
                  </a:lnTo>
                  <a:lnTo>
                    <a:pt x="7097" y="14381"/>
                  </a:lnTo>
                  <a:lnTo>
                    <a:pt x="7127" y="14400"/>
                  </a:lnTo>
                  <a:lnTo>
                    <a:pt x="7157" y="14418"/>
                  </a:lnTo>
                  <a:lnTo>
                    <a:pt x="7188" y="14436"/>
                  </a:lnTo>
                  <a:lnTo>
                    <a:pt x="7221" y="14453"/>
                  </a:lnTo>
                  <a:lnTo>
                    <a:pt x="7252" y="14469"/>
                  </a:lnTo>
                  <a:lnTo>
                    <a:pt x="7284" y="14484"/>
                  </a:lnTo>
                  <a:lnTo>
                    <a:pt x="7316" y="14499"/>
                  </a:lnTo>
                  <a:lnTo>
                    <a:pt x="7349" y="14512"/>
                  </a:lnTo>
                  <a:lnTo>
                    <a:pt x="7383" y="14525"/>
                  </a:lnTo>
                  <a:lnTo>
                    <a:pt x="7416" y="14537"/>
                  </a:lnTo>
                  <a:lnTo>
                    <a:pt x="7450" y="14548"/>
                  </a:lnTo>
                  <a:lnTo>
                    <a:pt x="7484" y="14558"/>
                  </a:lnTo>
                  <a:lnTo>
                    <a:pt x="7518" y="14569"/>
                  </a:lnTo>
                  <a:lnTo>
                    <a:pt x="7553" y="14578"/>
                  </a:lnTo>
                  <a:lnTo>
                    <a:pt x="7588" y="14586"/>
                  </a:lnTo>
                  <a:lnTo>
                    <a:pt x="7623" y="14593"/>
                  </a:lnTo>
                  <a:lnTo>
                    <a:pt x="7657" y="14599"/>
                  </a:lnTo>
                  <a:lnTo>
                    <a:pt x="7693" y="14605"/>
                  </a:lnTo>
                  <a:lnTo>
                    <a:pt x="7729" y="14609"/>
                  </a:lnTo>
                  <a:lnTo>
                    <a:pt x="7765" y="14613"/>
                  </a:lnTo>
                  <a:lnTo>
                    <a:pt x="7800" y="14616"/>
                  </a:lnTo>
                  <a:lnTo>
                    <a:pt x="7836" y="14618"/>
                  </a:lnTo>
                  <a:lnTo>
                    <a:pt x="7872" y="14619"/>
                  </a:lnTo>
                  <a:lnTo>
                    <a:pt x="7882" y="14620"/>
                  </a:lnTo>
                  <a:lnTo>
                    <a:pt x="7892" y="14620"/>
                  </a:lnTo>
                  <a:lnTo>
                    <a:pt x="7903" y="14620"/>
                  </a:lnTo>
                  <a:lnTo>
                    <a:pt x="7911" y="14620"/>
                  </a:lnTo>
                  <a:lnTo>
                    <a:pt x="7949" y="14619"/>
                  </a:lnTo>
                  <a:lnTo>
                    <a:pt x="7987" y="14618"/>
                  </a:lnTo>
                  <a:lnTo>
                    <a:pt x="8025" y="14616"/>
                  </a:lnTo>
                  <a:lnTo>
                    <a:pt x="8065" y="14612"/>
                  </a:lnTo>
                  <a:lnTo>
                    <a:pt x="8103" y="14608"/>
                  </a:lnTo>
                  <a:lnTo>
                    <a:pt x="8141" y="14602"/>
                  </a:lnTo>
                  <a:lnTo>
                    <a:pt x="8179" y="14596"/>
                  </a:lnTo>
                  <a:lnTo>
                    <a:pt x="8219" y="14589"/>
                  </a:lnTo>
                  <a:lnTo>
                    <a:pt x="8265" y="14578"/>
                  </a:lnTo>
                  <a:lnTo>
                    <a:pt x="8311" y="14566"/>
                  </a:lnTo>
                  <a:lnTo>
                    <a:pt x="8356" y="14552"/>
                  </a:lnTo>
                  <a:lnTo>
                    <a:pt x="8401" y="14538"/>
                  </a:lnTo>
                  <a:lnTo>
                    <a:pt x="8445" y="14522"/>
                  </a:lnTo>
                  <a:lnTo>
                    <a:pt x="8489" y="14505"/>
                  </a:lnTo>
                  <a:lnTo>
                    <a:pt x="8531" y="14487"/>
                  </a:lnTo>
                  <a:lnTo>
                    <a:pt x="8574" y="14467"/>
                  </a:lnTo>
                  <a:lnTo>
                    <a:pt x="8616" y="14446"/>
                  </a:lnTo>
                  <a:lnTo>
                    <a:pt x="8656" y="14423"/>
                  </a:lnTo>
                  <a:lnTo>
                    <a:pt x="8696" y="14400"/>
                  </a:lnTo>
                  <a:lnTo>
                    <a:pt x="8736" y="14375"/>
                  </a:lnTo>
                  <a:lnTo>
                    <a:pt x="8774" y="14350"/>
                  </a:lnTo>
                  <a:lnTo>
                    <a:pt x="8811" y="14323"/>
                  </a:lnTo>
                  <a:lnTo>
                    <a:pt x="8847" y="14294"/>
                  </a:lnTo>
                  <a:lnTo>
                    <a:pt x="8883" y="14265"/>
                  </a:lnTo>
                  <a:lnTo>
                    <a:pt x="8918" y="14235"/>
                  </a:lnTo>
                  <a:lnTo>
                    <a:pt x="8952" y="14204"/>
                  </a:lnTo>
                  <a:lnTo>
                    <a:pt x="8985" y="14171"/>
                  </a:lnTo>
                  <a:lnTo>
                    <a:pt x="9017" y="14138"/>
                  </a:lnTo>
                  <a:lnTo>
                    <a:pt x="9047" y="14104"/>
                  </a:lnTo>
                  <a:lnTo>
                    <a:pt x="9078" y="14068"/>
                  </a:lnTo>
                  <a:lnTo>
                    <a:pt x="9106" y="14032"/>
                  </a:lnTo>
                  <a:lnTo>
                    <a:pt x="9134" y="13995"/>
                  </a:lnTo>
                  <a:lnTo>
                    <a:pt x="9160" y="13957"/>
                  </a:lnTo>
                  <a:lnTo>
                    <a:pt x="9186" y="13918"/>
                  </a:lnTo>
                  <a:lnTo>
                    <a:pt x="9210" y="13878"/>
                  </a:lnTo>
                  <a:lnTo>
                    <a:pt x="9232" y="13838"/>
                  </a:lnTo>
                  <a:lnTo>
                    <a:pt x="9255" y="13796"/>
                  </a:lnTo>
                  <a:lnTo>
                    <a:pt x="9276" y="13754"/>
                  </a:lnTo>
                  <a:lnTo>
                    <a:pt x="9295" y="13711"/>
                  </a:lnTo>
                  <a:lnTo>
                    <a:pt x="9313" y="13666"/>
                  </a:lnTo>
                  <a:lnTo>
                    <a:pt x="12000" y="6923"/>
                  </a:lnTo>
                  <a:lnTo>
                    <a:pt x="12038" y="6948"/>
                  </a:lnTo>
                  <a:lnTo>
                    <a:pt x="12077" y="6970"/>
                  </a:lnTo>
                  <a:lnTo>
                    <a:pt x="12118" y="6993"/>
                  </a:lnTo>
                  <a:lnTo>
                    <a:pt x="12158" y="7012"/>
                  </a:lnTo>
                  <a:lnTo>
                    <a:pt x="12199" y="7031"/>
                  </a:lnTo>
                  <a:lnTo>
                    <a:pt x="12241" y="7047"/>
                  </a:lnTo>
                  <a:lnTo>
                    <a:pt x="12284" y="7063"/>
                  </a:lnTo>
                  <a:lnTo>
                    <a:pt x="12327" y="7076"/>
                  </a:lnTo>
                  <a:lnTo>
                    <a:pt x="12370" y="7088"/>
                  </a:lnTo>
                  <a:lnTo>
                    <a:pt x="12414" y="7099"/>
                  </a:lnTo>
                  <a:lnTo>
                    <a:pt x="12459" y="7109"/>
                  </a:lnTo>
                  <a:lnTo>
                    <a:pt x="12504" y="7116"/>
                  </a:lnTo>
                  <a:lnTo>
                    <a:pt x="12549" y="7122"/>
                  </a:lnTo>
                  <a:lnTo>
                    <a:pt x="12595" y="7126"/>
                  </a:lnTo>
                  <a:lnTo>
                    <a:pt x="12642" y="7129"/>
                  </a:lnTo>
                  <a:lnTo>
                    <a:pt x="12688" y="7130"/>
                  </a:lnTo>
                  <a:lnTo>
                    <a:pt x="12719" y="7129"/>
                  </a:lnTo>
                  <a:lnTo>
                    <a:pt x="12750" y="7128"/>
                  </a:lnTo>
                  <a:lnTo>
                    <a:pt x="12781" y="7126"/>
                  </a:lnTo>
                  <a:lnTo>
                    <a:pt x="12813" y="7123"/>
                  </a:lnTo>
                  <a:lnTo>
                    <a:pt x="12844" y="7120"/>
                  </a:lnTo>
                  <a:lnTo>
                    <a:pt x="12874" y="7116"/>
                  </a:lnTo>
                  <a:lnTo>
                    <a:pt x="12905" y="7111"/>
                  </a:lnTo>
                  <a:lnTo>
                    <a:pt x="12935" y="7105"/>
                  </a:lnTo>
                  <a:lnTo>
                    <a:pt x="12966" y="7098"/>
                  </a:lnTo>
                  <a:lnTo>
                    <a:pt x="12995" y="7091"/>
                  </a:lnTo>
                  <a:lnTo>
                    <a:pt x="13025" y="7083"/>
                  </a:lnTo>
                  <a:lnTo>
                    <a:pt x="13054" y="7075"/>
                  </a:lnTo>
                  <a:lnTo>
                    <a:pt x="13083" y="7066"/>
                  </a:lnTo>
                  <a:lnTo>
                    <a:pt x="13112" y="7056"/>
                  </a:lnTo>
                  <a:lnTo>
                    <a:pt x="13141" y="7045"/>
                  </a:lnTo>
                  <a:lnTo>
                    <a:pt x="13170" y="7034"/>
                  </a:lnTo>
                  <a:lnTo>
                    <a:pt x="13198" y="7022"/>
                  </a:lnTo>
                  <a:lnTo>
                    <a:pt x="13225" y="7009"/>
                  </a:lnTo>
                  <a:lnTo>
                    <a:pt x="13253" y="6996"/>
                  </a:lnTo>
                  <a:lnTo>
                    <a:pt x="13280" y="6981"/>
                  </a:lnTo>
                  <a:lnTo>
                    <a:pt x="13307" y="6966"/>
                  </a:lnTo>
                  <a:lnTo>
                    <a:pt x="13334" y="6950"/>
                  </a:lnTo>
                  <a:lnTo>
                    <a:pt x="13360" y="6934"/>
                  </a:lnTo>
                  <a:lnTo>
                    <a:pt x="13385" y="6918"/>
                  </a:lnTo>
                  <a:lnTo>
                    <a:pt x="13410" y="6900"/>
                  </a:lnTo>
                  <a:lnTo>
                    <a:pt x="13435" y="6882"/>
                  </a:lnTo>
                  <a:lnTo>
                    <a:pt x="13460" y="6863"/>
                  </a:lnTo>
                  <a:lnTo>
                    <a:pt x="13485" y="6843"/>
                  </a:lnTo>
                  <a:lnTo>
                    <a:pt x="13508" y="6823"/>
                  </a:lnTo>
                  <a:lnTo>
                    <a:pt x="13532" y="6803"/>
                  </a:lnTo>
                  <a:lnTo>
                    <a:pt x="13554" y="6781"/>
                  </a:lnTo>
                  <a:lnTo>
                    <a:pt x="13577" y="6759"/>
                  </a:lnTo>
                  <a:lnTo>
                    <a:pt x="14285" y="6050"/>
                  </a:lnTo>
                  <a:lnTo>
                    <a:pt x="14307" y="6028"/>
                  </a:lnTo>
                  <a:lnTo>
                    <a:pt x="14329" y="6005"/>
                  </a:lnTo>
                  <a:lnTo>
                    <a:pt x="14350" y="5980"/>
                  </a:lnTo>
                  <a:lnTo>
                    <a:pt x="14370" y="5957"/>
                  </a:lnTo>
                  <a:lnTo>
                    <a:pt x="14389" y="5932"/>
                  </a:lnTo>
                  <a:lnTo>
                    <a:pt x="14408" y="5908"/>
                  </a:lnTo>
                  <a:lnTo>
                    <a:pt x="14426" y="5883"/>
                  </a:lnTo>
                  <a:lnTo>
                    <a:pt x="14444" y="5857"/>
                  </a:lnTo>
                  <a:lnTo>
                    <a:pt x="14460" y="5831"/>
                  </a:lnTo>
                  <a:lnTo>
                    <a:pt x="14477" y="5805"/>
                  </a:lnTo>
                  <a:lnTo>
                    <a:pt x="14493" y="5778"/>
                  </a:lnTo>
                  <a:lnTo>
                    <a:pt x="14508" y="5751"/>
                  </a:lnTo>
                  <a:lnTo>
                    <a:pt x="14522" y="5724"/>
                  </a:lnTo>
                  <a:lnTo>
                    <a:pt x="14535" y="5696"/>
                  </a:lnTo>
                  <a:lnTo>
                    <a:pt x="14548" y="5668"/>
                  </a:lnTo>
                  <a:lnTo>
                    <a:pt x="14560" y="5640"/>
                  </a:lnTo>
                  <a:lnTo>
                    <a:pt x="14572" y="5611"/>
                  </a:lnTo>
                  <a:lnTo>
                    <a:pt x="14582" y="5583"/>
                  </a:lnTo>
                  <a:lnTo>
                    <a:pt x="14592" y="5554"/>
                  </a:lnTo>
                  <a:lnTo>
                    <a:pt x="14602" y="5525"/>
                  </a:lnTo>
                  <a:lnTo>
                    <a:pt x="14610" y="5494"/>
                  </a:lnTo>
                  <a:lnTo>
                    <a:pt x="14618" y="5465"/>
                  </a:lnTo>
                  <a:lnTo>
                    <a:pt x="14625" y="5435"/>
                  </a:lnTo>
                  <a:lnTo>
                    <a:pt x="14631" y="5405"/>
                  </a:lnTo>
                  <a:lnTo>
                    <a:pt x="14637" y="5373"/>
                  </a:lnTo>
                  <a:lnTo>
                    <a:pt x="14642" y="5343"/>
                  </a:lnTo>
                  <a:lnTo>
                    <a:pt x="14646" y="5312"/>
                  </a:lnTo>
                  <a:lnTo>
                    <a:pt x="14649" y="5282"/>
                  </a:lnTo>
                  <a:lnTo>
                    <a:pt x="14652" y="5250"/>
                  </a:lnTo>
                  <a:lnTo>
                    <a:pt x="14654" y="5219"/>
                  </a:lnTo>
                  <a:lnTo>
                    <a:pt x="14656" y="5187"/>
                  </a:lnTo>
                  <a:lnTo>
                    <a:pt x="14656" y="5156"/>
                  </a:lnTo>
                  <a:lnTo>
                    <a:pt x="14656" y="5124"/>
                  </a:lnTo>
                  <a:lnTo>
                    <a:pt x="14654" y="5092"/>
                  </a:lnTo>
                  <a:lnTo>
                    <a:pt x="14652" y="5061"/>
                  </a:lnTo>
                  <a:lnTo>
                    <a:pt x="14649" y="5030"/>
                  </a:lnTo>
                  <a:lnTo>
                    <a:pt x="14646" y="4999"/>
                  </a:lnTo>
                  <a:lnTo>
                    <a:pt x="14642" y="4968"/>
                  </a:lnTo>
                  <a:lnTo>
                    <a:pt x="14637" y="4938"/>
                  </a:lnTo>
                  <a:lnTo>
                    <a:pt x="14631" y="4908"/>
                  </a:lnTo>
                  <a:lnTo>
                    <a:pt x="14625" y="4877"/>
                  </a:lnTo>
                  <a:lnTo>
                    <a:pt x="14618" y="4847"/>
                  </a:lnTo>
                  <a:lnTo>
                    <a:pt x="14610" y="4817"/>
                  </a:lnTo>
                  <a:lnTo>
                    <a:pt x="14602" y="4788"/>
                  </a:lnTo>
                  <a:lnTo>
                    <a:pt x="14592" y="4758"/>
                  </a:lnTo>
                  <a:lnTo>
                    <a:pt x="14583" y="4729"/>
                  </a:lnTo>
                  <a:lnTo>
                    <a:pt x="14572" y="4701"/>
                  </a:lnTo>
                  <a:lnTo>
                    <a:pt x="14561" y="4672"/>
                  </a:lnTo>
                  <a:lnTo>
                    <a:pt x="14549" y="4643"/>
                  </a:lnTo>
                  <a:lnTo>
                    <a:pt x="14536" y="4616"/>
                  </a:lnTo>
                  <a:lnTo>
                    <a:pt x="14523" y="4589"/>
                  </a:lnTo>
                  <a:lnTo>
                    <a:pt x="14509" y="4562"/>
                  </a:lnTo>
                  <a:lnTo>
                    <a:pt x="14494" y="4534"/>
                  </a:lnTo>
                  <a:lnTo>
                    <a:pt x="14478" y="4508"/>
                  </a:lnTo>
                  <a:lnTo>
                    <a:pt x="14462" y="4482"/>
                  </a:lnTo>
                  <a:lnTo>
                    <a:pt x="14445" y="4456"/>
                  </a:lnTo>
                  <a:lnTo>
                    <a:pt x="14428" y="4431"/>
                  </a:lnTo>
                  <a:lnTo>
                    <a:pt x="14410" y="4405"/>
                  </a:lnTo>
                  <a:lnTo>
                    <a:pt x="14391" y="4381"/>
                  </a:lnTo>
                  <a:lnTo>
                    <a:pt x="14372" y="4357"/>
                  </a:lnTo>
                  <a:lnTo>
                    <a:pt x="14352" y="4333"/>
                  </a:lnTo>
                  <a:lnTo>
                    <a:pt x="14331" y="4310"/>
                  </a:lnTo>
                  <a:lnTo>
                    <a:pt x="14309" y="4287"/>
                  </a:lnTo>
                  <a:lnTo>
                    <a:pt x="14288" y="4265"/>
                  </a:lnTo>
                  <a:lnTo>
                    <a:pt x="10402" y="3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59" name="îšḻïḑè">
              <a:extLst>
                <a:ext uri="{FF2B5EF4-FFF2-40B4-BE49-F238E27FC236}">
                  <a16:creationId xmlns:a16="http://schemas.microsoft.com/office/drawing/2014/main" id="{55D881C8-03A9-4CDD-8D8A-529DBBA2B0E6}"/>
                </a:ext>
              </a:extLst>
            </p:cNvPr>
            <p:cNvSpPr/>
            <p:nvPr/>
          </p:nvSpPr>
          <p:spPr bwMode="auto">
            <a:xfrm>
              <a:off x="4365871" y="787981"/>
              <a:ext cx="95878" cy="95878"/>
            </a:xfrm>
            <a:custGeom>
              <a:avLst/>
              <a:gdLst>
                <a:gd name="T0" fmla="*/ 1409 w 2514"/>
                <a:gd name="T1" fmla="*/ 519 h 2521"/>
                <a:gd name="T2" fmla="*/ 1584 w 2514"/>
                <a:gd name="T3" fmla="*/ 579 h 2521"/>
                <a:gd name="T4" fmla="*/ 1737 w 2514"/>
                <a:gd name="T5" fmla="*/ 677 h 2521"/>
                <a:gd name="T6" fmla="*/ 1862 w 2514"/>
                <a:gd name="T7" fmla="*/ 808 h 2521"/>
                <a:gd name="T8" fmla="*/ 1952 w 2514"/>
                <a:gd name="T9" fmla="*/ 966 h 2521"/>
                <a:gd name="T10" fmla="*/ 2002 w 2514"/>
                <a:gd name="T11" fmla="*/ 1145 h 2521"/>
                <a:gd name="T12" fmla="*/ 2007 w 2514"/>
                <a:gd name="T13" fmla="*/ 1338 h 2521"/>
                <a:gd name="T14" fmla="*/ 1966 w 2514"/>
                <a:gd name="T15" fmla="*/ 1520 h 2521"/>
                <a:gd name="T16" fmla="*/ 1883 w 2514"/>
                <a:gd name="T17" fmla="*/ 1683 h 2521"/>
                <a:gd name="T18" fmla="*/ 1765 w 2514"/>
                <a:gd name="T19" fmla="*/ 1820 h 2521"/>
                <a:gd name="T20" fmla="*/ 1617 w 2514"/>
                <a:gd name="T21" fmla="*/ 1925 h 2521"/>
                <a:gd name="T22" fmla="*/ 1446 w 2514"/>
                <a:gd name="T23" fmla="*/ 1992 h 2521"/>
                <a:gd name="T24" fmla="*/ 1257 w 2514"/>
                <a:gd name="T25" fmla="*/ 2017 h 2521"/>
                <a:gd name="T26" fmla="*/ 1069 w 2514"/>
                <a:gd name="T27" fmla="*/ 1992 h 2521"/>
                <a:gd name="T28" fmla="*/ 897 w 2514"/>
                <a:gd name="T29" fmla="*/ 1925 h 2521"/>
                <a:gd name="T30" fmla="*/ 750 w 2514"/>
                <a:gd name="T31" fmla="*/ 1820 h 2521"/>
                <a:gd name="T32" fmla="*/ 631 w 2514"/>
                <a:gd name="T33" fmla="*/ 1683 h 2521"/>
                <a:gd name="T34" fmla="*/ 549 w 2514"/>
                <a:gd name="T35" fmla="*/ 1520 h 2521"/>
                <a:gd name="T36" fmla="*/ 507 w 2514"/>
                <a:gd name="T37" fmla="*/ 1338 h 2521"/>
                <a:gd name="T38" fmla="*/ 512 w 2514"/>
                <a:gd name="T39" fmla="*/ 1145 h 2521"/>
                <a:gd name="T40" fmla="*/ 562 w 2514"/>
                <a:gd name="T41" fmla="*/ 966 h 2521"/>
                <a:gd name="T42" fmla="*/ 652 w 2514"/>
                <a:gd name="T43" fmla="*/ 808 h 2521"/>
                <a:gd name="T44" fmla="*/ 777 w 2514"/>
                <a:gd name="T45" fmla="*/ 677 h 2521"/>
                <a:gd name="T46" fmla="*/ 930 w 2514"/>
                <a:gd name="T47" fmla="*/ 579 h 2521"/>
                <a:gd name="T48" fmla="*/ 1105 w 2514"/>
                <a:gd name="T49" fmla="*/ 519 h 2521"/>
                <a:gd name="T50" fmla="*/ 1257 w 2514"/>
                <a:gd name="T51" fmla="*/ 2521 h 2521"/>
                <a:gd name="T52" fmla="*/ 1571 w 2514"/>
                <a:gd name="T53" fmla="*/ 2481 h 2521"/>
                <a:gd name="T54" fmla="*/ 1856 w 2514"/>
                <a:gd name="T55" fmla="*/ 2368 h 2521"/>
                <a:gd name="T56" fmla="*/ 2102 w 2514"/>
                <a:gd name="T57" fmla="*/ 2193 h 2521"/>
                <a:gd name="T58" fmla="*/ 2299 w 2514"/>
                <a:gd name="T59" fmla="*/ 1964 h 2521"/>
                <a:gd name="T60" fmla="*/ 2438 w 2514"/>
                <a:gd name="T61" fmla="*/ 1693 h 2521"/>
                <a:gd name="T62" fmla="*/ 2508 w 2514"/>
                <a:gd name="T63" fmla="*/ 1389 h 2521"/>
                <a:gd name="T64" fmla="*/ 2500 w 2514"/>
                <a:gd name="T65" fmla="*/ 1069 h 2521"/>
                <a:gd name="T66" fmla="*/ 2416 w 2514"/>
                <a:gd name="T67" fmla="*/ 770 h 2521"/>
                <a:gd name="T68" fmla="*/ 2264 w 2514"/>
                <a:gd name="T69" fmla="*/ 506 h 2521"/>
                <a:gd name="T70" fmla="*/ 2057 w 2514"/>
                <a:gd name="T71" fmla="*/ 288 h 2521"/>
                <a:gd name="T72" fmla="*/ 1801 w 2514"/>
                <a:gd name="T73" fmla="*/ 124 h 2521"/>
                <a:gd name="T74" fmla="*/ 1510 w 2514"/>
                <a:gd name="T75" fmla="*/ 25 h 2521"/>
                <a:gd name="T76" fmla="*/ 1193 w 2514"/>
                <a:gd name="T77" fmla="*/ 2 h 2521"/>
                <a:gd name="T78" fmla="*/ 884 w 2514"/>
                <a:gd name="T79" fmla="*/ 56 h 2521"/>
                <a:gd name="T80" fmla="*/ 606 w 2514"/>
                <a:gd name="T81" fmla="*/ 182 h 2521"/>
                <a:gd name="T82" fmla="*/ 369 w 2514"/>
                <a:gd name="T83" fmla="*/ 369 h 2521"/>
                <a:gd name="T84" fmla="*/ 182 w 2514"/>
                <a:gd name="T85" fmla="*/ 607 h 2521"/>
                <a:gd name="T86" fmla="*/ 57 w 2514"/>
                <a:gd name="T87" fmla="*/ 886 h 2521"/>
                <a:gd name="T88" fmla="*/ 2 w 2514"/>
                <a:gd name="T89" fmla="*/ 1196 h 2521"/>
                <a:gd name="T90" fmla="*/ 26 w 2514"/>
                <a:gd name="T91" fmla="*/ 1514 h 2521"/>
                <a:gd name="T92" fmla="*/ 124 w 2514"/>
                <a:gd name="T93" fmla="*/ 1806 h 2521"/>
                <a:gd name="T94" fmla="*/ 287 w 2514"/>
                <a:gd name="T95" fmla="*/ 2062 h 2521"/>
                <a:gd name="T96" fmla="*/ 506 w 2514"/>
                <a:gd name="T97" fmla="*/ 2270 h 2521"/>
                <a:gd name="T98" fmla="*/ 768 w 2514"/>
                <a:gd name="T99" fmla="*/ 2422 h 2521"/>
                <a:gd name="T100" fmla="*/ 1066 w 2514"/>
                <a:gd name="T101" fmla="*/ 2507 h 2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14" h="2521">
                  <a:moveTo>
                    <a:pt x="1257" y="504"/>
                  </a:moveTo>
                  <a:lnTo>
                    <a:pt x="1296" y="505"/>
                  </a:lnTo>
                  <a:lnTo>
                    <a:pt x="1334" y="508"/>
                  </a:lnTo>
                  <a:lnTo>
                    <a:pt x="1372" y="513"/>
                  </a:lnTo>
                  <a:lnTo>
                    <a:pt x="1409" y="519"/>
                  </a:lnTo>
                  <a:lnTo>
                    <a:pt x="1446" y="528"/>
                  </a:lnTo>
                  <a:lnTo>
                    <a:pt x="1481" y="538"/>
                  </a:lnTo>
                  <a:lnTo>
                    <a:pt x="1517" y="551"/>
                  </a:lnTo>
                  <a:lnTo>
                    <a:pt x="1551" y="564"/>
                  </a:lnTo>
                  <a:lnTo>
                    <a:pt x="1584" y="579"/>
                  </a:lnTo>
                  <a:lnTo>
                    <a:pt x="1617" y="596"/>
                  </a:lnTo>
                  <a:lnTo>
                    <a:pt x="1648" y="614"/>
                  </a:lnTo>
                  <a:lnTo>
                    <a:pt x="1679" y="633"/>
                  </a:lnTo>
                  <a:lnTo>
                    <a:pt x="1709" y="654"/>
                  </a:lnTo>
                  <a:lnTo>
                    <a:pt x="1737" y="677"/>
                  </a:lnTo>
                  <a:lnTo>
                    <a:pt x="1765" y="701"/>
                  </a:lnTo>
                  <a:lnTo>
                    <a:pt x="1791" y="726"/>
                  </a:lnTo>
                  <a:lnTo>
                    <a:pt x="1815" y="752"/>
                  </a:lnTo>
                  <a:lnTo>
                    <a:pt x="1839" y="779"/>
                  </a:lnTo>
                  <a:lnTo>
                    <a:pt x="1862" y="808"/>
                  </a:lnTo>
                  <a:lnTo>
                    <a:pt x="1883" y="838"/>
                  </a:lnTo>
                  <a:lnTo>
                    <a:pt x="1903" y="868"/>
                  </a:lnTo>
                  <a:lnTo>
                    <a:pt x="1921" y="900"/>
                  </a:lnTo>
                  <a:lnTo>
                    <a:pt x="1937" y="933"/>
                  </a:lnTo>
                  <a:lnTo>
                    <a:pt x="1952" y="966"/>
                  </a:lnTo>
                  <a:lnTo>
                    <a:pt x="1966" y="1000"/>
                  </a:lnTo>
                  <a:lnTo>
                    <a:pt x="1977" y="1035"/>
                  </a:lnTo>
                  <a:lnTo>
                    <a:pt x="1988" y="1072"/>
                  </a:lnTo>
                  <a:lnTo>
                    <a:pt x="1996" y="1108"/>
                  </a:lnTo>
                  <a:lnTo>
                    <a:pt x="2002" y="1145"/>
                  </a:lnTo>
                  <a:lnTo>
                    <a:pt x="2007" y="1183"/>
                  </a:lnTo>
                  <a:lnTo>
                    <a:pt x="2010" y="1221"/>
                  </a:lnTo>
                  <a:lnTo>
                    <a:pt x="2011" y="1260"/>
                  </a:lnTo>
                  <a:lnTo>
                    <a:pt x="2010" y="1300"/>
                  </a:lnTo>
                  <a:lnTo>
                    <a:pt x="2007" y="1338"/>
                  </a:lnTo>
                  <a:lnTo>
                    <a:pt x="2002" y="1375"/>
                  </a:lnTo>
                  <a:lnTo>
                    <a:pt x="1996" y="1413"/>
                  </a:lnTo>
                  <a:lnTo>
                    <a:pt x="1988" y="1449"/>
                  </a:lnTo>
                  <a:lnTo>
                    <a:pt x="1977" y="1485"/>
                  </a:lnTo>
                  <a:lnTo>
                    <a:pt x="1966" y="1520"/>
                  </a:lnTo>
                  <a:lnTo>
                    <a:pt x="1952" y="1555"/>
                  </a:lnTo>
                  <a:lnTo>
                    <a:pt x="1937" y="1588"/>
                  </a:lnTo>
                  <a:lnTo>
                    <a:pt x="1921" y="1620"/>
                  </a:lnTo>
                  <a:lnTo>
                    <a:pt x="1903" y="1653"/>
                  </a:lnTo>
                  <a:lnTo>
                    <a:pt x="1883" y="1683"/>
                  </a:lnTo>
                  <a:lnTo>
                    <a:pt x="1862" y="1713"/>
                  </a:lnTo>
                  <a:lnTo>
                    <a:pt x="1839" y="1741"/>
                  </a:lnTo>
                  <a:lnTo>
                    <a:pt x="1815" y="1768"/>
                  </a:lnTo>
                  <a:lnTo>
                    <a:pt x="1791" y="1795"/>
                  </a:lnTo>
                  <a:lnTo>
                    <a:pt x="1765" y="1820"/>
                  </a:lnTo>
                  <a:lnTo>
                    <a:pt x="1737" y="1844"/>
                  </a:lnTo>
                  <a:lnTo>
                    <a:pt x="1709" y="1866"/>
                  </a:lnTo>
                  <a:lnTo>
                    <a:pt x="1679" y="1887"/>
                  </a:lnTo>
                  <a:lnTo>
                    <a:pt x="1648" y="1907"/>
                  </a:lnTo>
                  <a:lnTo>
                    <a:pt x="1617" y="1925"/>
                  </a:lnTo>
                  <a:lnTo>
                    <a:pt x="1584" y="1942"/>
                  </a:lnTo>
                  <a:lnTo>
                    <a:pt x="1551" y="1957"/>
                  </a:lnTo>
                  <a:lnTo>
                    <a:pt x="1517" y="1970"/>
                  </a:lnTo>
                  <a:lnTo>
                    <a:pt x="1481" y="1982"/>
                  </a:lnTo>
                  <a:lnTo>
                    <a:pt x="1446" y="1992"/>
                  </a:lnTo>
                  <a:lnTo>
                    <a:pt x="1409" y="2001"/>
                  </a:lnTo>
                  <a:lnTo>
                    <a:pt x="1372" y="2007"/>
                  </a:lnTo>
                  <a:lnTo>
                    <a:pt x="1334" y="2012"/>
                  </a:lnTo>
                  <a:lnTo>
                    <a:pt x="1296" y="2015"/>
                  </a:lnTo>
                  <a:lnTo>
                    <a:pt x="1257" y="2017"/>
                  </a:lnTo>
                  <a:lnTo>
                    <a:pt x="1219" y="2015"/>
                  </a:lnTo>
                  <a:lnTo>
                    <a:pt x="1180" y="2012"/>
                  </a:lnTo>
                  <a:lnTo>
                    <a:pt x="1142" y="2007"/>
                  </a:lnTo>
                  <a:lnTo>
                    <a:pt x="1105" y="2001"/>
                  </a:lnTo>
                  <a:lnTo>
                    <a:pt x="1069" y="1992"/>
                  </a:lnTo>
                  <a:lnTo>
                    <a:pt x="1033" y="1982"/>
                  </a:lnTo>
                  <a:lnTo>
                    <a:pt x="997" y="1970"/>
                  </a:lnTo>
                  <a:lnTo>
                    <a:pt x="963" y="1957"/>
                  </a:lnTo>
                  <a:lnTo>
                    <a:pt x="930" y="1942"/>
                  </a:lnTo>
                  <a:lnTo>
                    <a:pt x="897" y="1925"/>
                  </a:lnTo>
                  <a:lnTo>
                    <a:pt x="866" y="1907"/>
                  </a:lnTo>
                  <a:lnTo>
                    <a:pt x="835" y="1887"/>
                  </a:lnTo>
                  <a:lnTo>
                    <a:pt x="805" y="1866"/>
                  </a:lnTo>
                  <a:lnTo>
                    <a:pt x="777" y="1844"/>
                  </a:lnTo>
                  <a:lnTo>
                    <a:pt x="750" y="1820"/>
                  </a:lnTo>
                  <a:lnTo>
                    <a:pt x="724" y="1795"/>
                  </a:lnTo>
                  <a:lnTo>
                    <a:pt x="699" y="1768"/>
                  </a:lnTo>
                  <a:lnTo>
                    <a:pt x="675" y="1741"/>
                  </a:lnTo>
                  <a:lnTo>
                    <a:pt x="652" y="1713"/>
                  </a:lnTo>
                  <a:lnTo>
                    <a:pt x="631" y="1683"/>
                  </a:lnTo>
                  <a:lnTo>
                    <a:pt x="612" y="1653"/>
                  </a:lnTo>
                  <a:lnTo>
                    <a:pt x="594" y="1620"/>
                  </a:lnTo>
                  <a:lnTo>
                    <a:pt x="577" y="1588"/>
                  </a:lnTo>
                  <a:lnTo>
                    <a:pt x="562" y="1555"/>
                  </a:lnTo>
                  <a:lnTo>
                    <a:pt x="549" y="1520"/>
                  </a:lnTo>
                  <a:lnTo>
                    <a:pt x="537" y="1485"/>
                  </a:lnTo>
                  <a:lnTo>
                    <a:pt x="527" y="1449"/>
                  </a:lnTo>
                  <a:lnTo>
                    <a:pt x="518" y="1413"/>
                  </a:lnTo>
                  <a:lnTo>
                    <a:pt x="512" y="1375"/>
                  </a:lnTo>
                  <a:lnTo>
                    <a:pt x="507" y="1338"/>
                  </a:lnTo>
                  <a:lnTo>
                    <a:pt x="504" y="1300"/>
                  </a:lnTo>
                  <a:lnTo>
                    <a:pt x="503" y="1260"/>
                  </a:lnTo>
                  <a:lnTo>
                    <a:pt x="504" y="1221"/>
                  </a:lnTo>
                  <a:lnTo>
                    <a:pt x="507" y="1183"/>
                  </a:lnTo>
                  <a:lnTo>
                    <a:pt x="512" y="1145"/>
                  </a:lnTo>
                  <a:lnTo>
                    <a:pt x="518" y="1108"/>
                  </a:lnTo>
                  <a:lnTo>
                    <a:pt x="527" y="1072"/>
                  </a:lnTo>
                  <a:lnTo>
                    <a:pt x="537" y="1035"/>
                  </a:lnTo>
                  <a:lnTo>
                    <a:pt x="549" y="1000"/>
                  </a:lnTo>
                  <a:lnTo>
                    <a:pt x="562" y="966"/>
                  </a:lnTo>
                  <a:lnTo>
                    <a:pt x="577" y="933"/>
                  </a:lnTo>
                  <a:lnTo>
                    <a:pt x="594" y="900"/>
                  </a:lnTo>
                  <a:lnTo>
                    <a:pt x="612" y="868"/>
                  </a:lnTo>
                  <a:lnTo>
                    <a:pt x="631" y="838"/>
                  </a:lnTo>
                  <a:lnTo>
                    <a:pt x="652" y="808"/>
                  </a:lnTo>
                  <a:lnTo>
                    <a:pt x="675" y="779"/>
                  </a:lnTo>
                  <a:lnTo>
                    <a:pt x="699" y="752"/>
                  </a:lnTo>
                  <a:lnTo>
                    <a:pt x="724" y="726"/>
                  </a:lnTo>
                  <a:lnTo>
                    <a:pt x="750" y="701"/>
                  </a:lnTo>
                  <a:lnTo>
                    <a:pt x="777" y="677"/>
                  </a:lnTo>
                  <a:lnTo>
                    <a:pt x="805" y="654"/>
                  </a:lnTo>
                  <a:lnTo>
                    <a:pt x="835" y="633"/>
                  </a:lnTo>
                  <a:lnTo>
                    <a:pt x="866" y="614"/>
                  </a:lnTo>
                  <a:lnTo>
                    <a:pt x="897" y="596"/>
                  </a:lnTo>
                  <a:lnTo>
                    <a:pt x="930" y="579"/>
                  </a:lnTo>
                  <a:lnTo>
                    <a:pt x="963" y="564"/>
                  </a:lnTo>
                  <a:lnTo>
                    <a:pt x="997" y="551"/>
                  </a:lnTo>
                  <a:lnTo>
                    <a:pt x="1033" y="538"/>
                  </a:lnTo>
                  <a:lnTo>
                    <a:pt x="1069" y="528"/>
                  </a:lnTo>
                  <a:lnTo>
                    <a:pt x="1105" y="519"/>
                  </a:lnTo>
                  <a:lnTo>
                    <a:pt x="1142" y="513"/>
                  </a:lnTo>
                  <a:lnTo>
                    <a:pt x="1180" y="508"/>
                  </a:lnTo>
                  <a:lnTo>
                    <a:pt x="1219" y="505"/>
                  </a:lnTo>
                  <a:lnTo>
                    <a:pt x="1257" y="504"/>
                  </a:lnTo>
                  <a:close/>
                  <a:moveTo>
                    <a:pt x="1257" y="2521"/>
                  </a:moveTo>
                  <a:lnTo>
                    <a:pt x="1321" y="2519"/>
                  </a:lnTo>
                  <a:lnTo>
                    <a:pt x="1386" y="2515"/>
                  </a:lnTo>
                  <a:lnTo>
                    <a:pt x="1448" y="2507"/>
                  </a:lnTo>
                  <a:lnTo>
                    <a:pt x="1510" y="2495"/>
                  </a:lnTo>
                  <a:lnTo>
                    <a:pt x="1571" y="2481"/>
                  </a:lnTo>
                  <a:lnTo>
                    <a:pt x="1630" y="2464"/>
                  </a:lnTo>
                  <a:lnTo>
                    <a:pt x="1689" y="2444"/>
                  </a:lnTo>
                  <a:lnTo>
                    <a:pt x="1746" y="2422"/>
                  </a:lnTo>
                  <a:lnTo>
                    <a:pt x="1801" y="2396"/>
                  </a:lnTo>
                  <a:lnTo>
                    <a:pt x="1856" y="2368"/>
                  </a:lnTo>
                  <a:lnTo>
                    <a:pt x="1909" y="2338"/>
                  </a:lnTo>
                  <a:lnTo>
                    <a:pt x="1959" y="2305"/>
                  </a:lnTo>
                  <a:lnTo>
                    <a:pt x="2008" y="2270"/>
                  </a:lnTo>
                  <a:lnTo>
                    <a:pt x="2057" y="2232"/>
                  </a:lnTo>
                  <a:lnTo>
                    <a:pt x="2102" y="2193"/>
                  </a:lnTo>
                  <a:lnTo>
                    <a:pt x="2145" y="2151"/>
                  </a:lnTo>
                  <a:lnTo>
                    <a:pt x="2187" y="2107"/>
                  </a:lnTo>
                  <a:lnTo>
                    <a:pt x="2227" y="2062"/>
                  </a:lnTo>
                  <a:lnTo>
                    <a:pt x="2264" y="2013"/>
                  </a:lnTo>
                  <a:lnTo>
                    <a:pt x="2299" y="1964"/>
                  </a:lnTo>
                  <a:lnTo>
                    <a:pt x="2332" y="1914"/>
                  </a:lnTo>
                  <a:lnTo>
                    <a:pt x="2363" y="1860"/>
                  </a:lnTo>
                  <a:lnTo>
                    <a:pt x="2391" y="1806"/>
                  </a:lnTo>
                  <a:lnTo>
                    <a:pt x="2416" y="1750"/>
                  </a:lnTo>
                  <a:lnTo>
                    <a:pt x="2438" y="1693"/>
                  </a:lnTo>
                  <a:lnTo>
                    <a:pt x="2458" y="1634"/>
                  </a:lnTo>
                  <a:lnTo>
                    <a:pt x="2475" y="1575"/>
                  </a:lnTo>
                  <a:lnTo>
                    <a:pt x="2489" y="1514"/>
                  </a:lnTo>
                  <a:lnTo>
                    <a:pt x="2500" y="1452"/>
                  </a:lnTo>
                  <a:lnTo>
                    <a:pt x="2508" y="1389"/>
                  </a:lnTo>
                  <a:lnTo>
                    <a:pt x="2512" y="1325"/>
                  </a:lnTo>
                  <a:lnTo>
                    <a:pt x="2514" y="1260"/>
                  </a:lnTo>
                  <a:lnTo>
                    <a:pt x="2512" y="1196"/>
                  </a:lnTo>
                  <a:lnTo>
                    <a:pt x="2508" y="1131"/>
                  </a:lnTo>
                  <a:lnTo>
                    <a:pt x="2500" y="1069"/>
                  </a:lnTo>
                  <a:lnTo>
                    <a:pt x="2489" y="1006"/>
                  </a:lnTo>
                  <a:lnTo>
                    <a:pt x="2475" y="946"/>
                  </a:lnTo>
                  <a:lnTo>
                    <a:pt x="2458" y="886"/>
                  </a:lnTo>
                  <a:lnTo>
                    <a:pt x="2438" y="828"/>
                  </a:lnTo>
                  <a:lnTo>
                    <a:pt x="2416" y="770"/>
                  </a:lnTo>
                  <a:lnTo>
                    <a:pt x="2391" y="714"/>
                  </a:lnTo>
                  <a:lnTo>
                    <a:pt x="2363" y="659"/>
                  </a:lnTo>
                  <a:lnTo>
                    <a:pt x="2332" y="607"/>
                  </a:lnTo>
                  <a:lnTo>
                    <a:pt x="2299" y="556"/>
                  </a:lnTo>
                  <a:lnTo>
                    <a:pt x="2264" y="506"/>
                  </a:lnTo>
                  <a:lnTo>
                    <a:pt x="2227" y="459"/>
                  </a:lnTo>
                  <a:lnTo>
                    <a:pt x="2187" y="413"/>
                  </a:lnTo>
                  <a:lnTo>
                    <a:pt x="2145" y="369"/>
                  </a:lnTo>
                  <a:lnTo>
                    <a:pt x="2102" y="328"/>
                  </a:lnTo>
                  <a:lnTo>
                    <a:pt x="2057" y="288"/>
                  </a:lnTo>
                  <a:lnTo>
                    <a:pt x="2008" y="251"/>
                  </a:lnTo>
                  <a:lnTo>
                    <a:pt x="1959" y="216"/>
                  </a:lnTo>
                  <a:lnTo>
                    <a:pt x="1909" y="182"/>
                  </a:lnTo>
                  <a:lnTo>
                    <a:pt x="1856" y="152"/>
                  </a:lnTo>
                  <a:lnTo>
                    <a:pt x="1801" y="124"/>
                  </a:lnTo>
                  <a:lnTo>
                    <a:pt x="1746" y="99"/>
                  </a:lnTo>
                  <a:lnTo>
                    <a:pt x="1689" y="77"/>
                  </a:lnTo>
                  <a:lnTo>
                    <a:pt x="1630" y="56"/>
                  </a:lnTo>
                  <a:lnTo>
                    <a:pt x="1571" y="39"/>
                  </a:lnTo>
                  <a:lnTo>
                    <a:pt x="1510" y="25"/>
                  </a:lnTo>
                  <a:lnTo>
                    <a:pt x="1448" y="14"/>
                  </a:lnTo>
                  <a:lnTo>
                    <a:pt x="1386" y="6"/>
                  </a:lnTo>
                  <a:lnTo>
                    <a:pt x="1321" y="2"/>
                  </a:lnTo>
                  <a:lnTo>
                    <a:pt x="1257" y="0"/>
                  </a:lnTo>
                  <a:lnTo>
                    <a:pt x="1193" y="2"/>
                  </a:lnTo>
                  <a:lnTo>
                    <a:pt x="1129" y="6"/>
                  </a:lnTo>
                  <a:lnTo>
                    <a:pt x="1066" y="14"/>
                  </a:lnTo>
                  <a:lnTo>
                    <a:pt x="1004" y="25"/>
                  </a:lnTo>
                  <a:lnTo>
                    <a:pt x="943" y="39"/>
                  </a:lnTo>
                  <a:lnTo>
                    <a:pt x="884" y="56"/>
                  </a:lnTo>
                  <a:lnTo>
                    <a:pt x="825" y="77"/>
                  </a:lnTo>
                  <a:lnTo>
                    <a:pt x="768" y="99"/>
                  </a:lnTo>
                  <a:lnTo>
                    <a:pt x="713" y="124"/>
                  </a:lnTo>
                  <a:lnTo>
                    <a:pt x="658" y="152"/>
                  </a:lnTo>
                  <a:lnTo>
                    <a:pt x="606" y="182"/>
                  </a:lnTo>
                  <a:lnTo>
                    <a:pt x="555" y="216"/>
                  </a:lnTo>
                  <a:lnTo>
                    <a:pt x="506" y="251"/>
                  </a:lnTo>
                  <a:lnTo>
                    <a:pt x="458" y="288"/>
                  </a:lnTo>
                  <a:lnTo>
                    <a:pt x="412" y="328"/>
                  </a:lnTo>
                  <a:lnTo>
                    <a:pt x="369" y="369"/>
                  </a:lnTo>
                  <a:lnTo>
                    <a:pt x="326" y="413"/>
                  </a:lnTo>
                  <a:lnTo>
                    <a:pt x="287" y="459"/>
                  </a:lnTo>
                  <a:lnTo>
                    <a:pt x="250" y="506"/>
                  </a:lnTo>
                  <a:lnTo>
                    <a:pt x="215" y="556"/>
                  </a:lnTo>
                  <a:lnTo>
                    <a:pt x="182" y="607"/>
                  </a:lnTo>
                  <a:lnTo>
                    <a:pt x="151" y="659"/>
                  </a:lnTo>
                  <a:lnTo>
                    <a:pt x="124" y="714"/>
                  </a:lnTo>
                  <a:lnTo>
                    <a:pt x="99" y="770"/>
                  </a:lnTo>
                  <a:lnTo>
                    <a:pt x="76" y="828"/>
                  </a:lnTo>
                  <a:lnTo>
                    <a:pt x="57" y="886"/>
                  </a:lnTo>
                  <a:lnTo>
                    <a:pt x="40" y="946"/>
                  </a:lnTo>
                  <a:lnTo>
                    <a:pt x="26" y="1006"/>
                  </a:lnTo>
                  <a:lnTo>
                    <a:pt x="15" y="1069"/>
                  </a:lnTo>
                  <a:lnTo>
                    <a:pt x="7" y="1131"/>
                  </a:lnTo>
                  <a:lnTo>
                    <a:pt x="2" y="1196"/>
                  </a:lnTo>
                  <a:lnTo>
                    <a:pt x="0" y="1260"/>
                  </a:lnTo>
                  <a:lnTo>
                    <a:pt x="2" y="1325"/>
                  </a:lnTo>
                  <a:lnTo>
                    <a:pt x="7" y="1389"/>
                  </a:lnTo>
                  <a:lnTo>
                    <a:pt x="15" y="1452"/>
                  </a:lnTo>
                  <a:lnTo>
                    <a:pt x="26" y="1514"/>
                  </a:lnTo>
                  <a:lnTo>
                    <a:pt x="40" y="1575"/>
                  </a:lnTo>
                  <a:lnTo>
                    <a:pt x="57" y="1634"/>
                  </a:lnTo>
                  <a:lnTo>
                    <a:pt x="76" y="1693"/>
                  </a:lnTo>
                  <a:lnTo>
                    <a:pt x="99" y="1750"/>
                  </a:lnTo>
                  <a:lnTo>
                    <a:pt x="124" y="1806"/>
                  </a:lnTo>
                  <a:lnTo>
                    <a:pt x="151" y="1860"/>
                  </a:lnTo>
                  <a:lnTo>
                    <a:pt x="182" y="1914"/>
                  </a:lnTo>
                  <a:lnTo>
                    <a:pt x="215" y="1964"/>
                  </a:lnTo>
                  <a:lnTo>
                    <a:pt x="250" y="2013"/>
                  </a:lnTo>
                  <a:lnTo>
                    <a:pt x="287" y="2062"/>
                  </a:lnTo>
                  <a:lnTo>
                    <a:pt x="326" y="2107"/>
                  </a:lnTo>
                  <a:lnTo>
                    <a:pt x="369" y="2151"/>
                  </a:lnTo>
                  <a:lnTo>
                    <a:pt x="412" y="2193"/>
                  </a:lnTo>
                  <a:lnTo>
                    <a:pt x="458" y="2232"/>
                  </a:lnTo>
                  <a:lnTo>
                    <a:pt x="506" y="2270"/>
                  </a:lnTo>
                  <a:lnTo>
                    <a:pt x="555" y="2305"/>
                  </a:lnTo>
                  <a:lnTo>
                    <a:pt x="606" y="2338"/>
                  </a:lnTo>
                  <a:lnTo>
                    <a:pt x="658" y="2368"/>
                  </a:lnTo>
                  <a:lnTo>
                    <a:pt x="713" y="2396"/>
                  </a:lnTo>
                  <a:lnTo>
                    <a:pt x="768" y="2422"/>
                  </a:lnTo>
                  <a:lnTo>
                    <a:pt x="825" y="2444"/>
                  </a:lnTo>
                  <a:lnTo>
                    <a:pt x="884" y="2464"/>
                  </a:lnTo>
                  <a:lnTo>
                    <a:pt x="943" y="2481"/>
                  </a:lnTo>
                  <a:lnTo>
                    <a:pt x="1004" y="2495"/>
                  </a:lnTo>
                  <a:lnTo>
                    <a:pt x="1066" y="2507"/>
                  </a:lnTo>
                  <a:lnTo>
                    <a:pt x="1129" y="2515"/>
                  </a:lnTo>
                  <a:lnTo>
                    <a:pt x="1193" y="2519"/>
                  </a:lnTo>
                  <a:lnTo>
                    <a:pt x="1257" y="25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60" name="ïṡ1íďe">
              <a:extLst>
                <a:ext uri="{FF2B5EF4-FFF2-40B4-BE49-F238E27FC236}">
                  <a16:creationId xmlns:a16="http://schemas.microsoft.com/office/drawing/2014/main" id="{AAE310D4-267B-4F67-A970-C4A09A8D1AFC}"/>
                </a:ext>
              </a:extLst>
            </p:cNvPr>
            <p:cNvSpPr/>
            <p:nvPr/>
          </p:nvSpPr>
          <p:spPr bwMode="auto">
            <a:xfrm>
              <a:off x="4615437" y="480607"/>
              <a:ext cx="95878" cy="95878"/>
            </a:xfrm>
            <a:custGeom>
              <a:avLst/>
              <a:gdLst>
                <a:gd name="T0" fmla="*/ 1106 w 2515"/>
                <a:gd name="T1" fmla="*/ 2001 h 2521"/>
                <a:gd name="T2" fmla="*/ 931 w 2515"/>
                <a:gd name="T3" fmla="*/ 1942 h 2521"/>
                <a:gd name="T4" fmla="*/ 778 w 2515"/>
                <a:gd name="T5" fmla="*/ 1844 h 2521"/>
                <a:gd name="T6" fmla="*/ 653 w 2515"/>
                <a:gd name="T7" fmla="*/ 1713 h 2521"/>
                <a:gd name="T8" fmla="*/ 562 w 2515"/>
                <a:gd name="T9" fmla="*/ 1555 h 2521"/>
                <a:gd name="T10" fmla="*/ 512 w 2515"/>
                <a:gd name="T11" fmla="*/ 1375 h 2521"/>
                <a:gd name="T12" fmla="*/ 507 w 2515"/>
                <a:gd name="T13" fmla="*/ 1183 h 2521"/>
                <a:gd name="T14" fmla="*/ 548 w 2515"/>
                <a:gd name="T15" fmla="*/ 1000 h 2521"/>
                <a:gd name="T16" fmla="*/ 632 w 2515"/>
                <a:gd name="T17" fmla="*/ 838 h 2521"/>
                <a:gd name="T18" fmla="*/ 751 w 2515"/>
                <a:gd name="T19" fmla="*/ 701 h 2521"/>
                <a:gd name="T20" fmla="*/ 897 w 2515"/>
                <a:gd name="T21" fmla="*/ 596 h 2521"/>
                <a:gd name="T22" fmla="*/ 1068 w 2515"/>
                <a:gd name="T23" fmla="*/ 528 h 2521"/>
                <a:gd name="T24" fmla="*/ 1258 w 2515"/>
                <a:gd name="T25" fmla="*/ 504 h 2521"/>
                <a:gd name="T26" fmla="*/ 1447 w 2515"/>
                <a:gd name="T27" fmla="*/ 528 h 2521"/>
                <a:gd name="T28" fmla="*/ 1618 w 2515"/>
                <a:gd name="T29" fmla="*/ 596 h 2521"/>
                <a:gd name="T30" fmla="*/ 1765 w 2515"/>
                <a:gd name="T31" fmla="*/ 701 h 2521"/>
                <a:gd name="T32" fmla="*/ 1883 w 2515"/>
                <a:gd name="T33" fmla="*/ 838 h 2521"/>
                <a:gd name="T34" fmla="*/ 1967 w 2515"/>
                <a:gd name="T35" fmla="*/ 1000 h 2521"/>
                <a:gd name="T36" fmla="*/ 2008 w 2515"/>
                <a:gd name="T37" fmla="*/ 1183 h 2521"/>
                <a:gd name="T38" fmla="*/ 2003 w 2515"/>
                <a:gd name="T39" fmla="*/ 1375 h 2521"/>
                <a:gd name="T40" fmla="*/ 1953 w 2515"/>
                <a:gd name="T41" fmla="*/ 1555 h 2521"/>
                <a:gd name="T42" fmla="*/ 1862 w 2515"/>
                <a:gd name="T43" fmla="*/ 1713 h 2521"/>
                <a:gd name="T44" fmla="*/ 1737 w 2515"/>
                <a:gd name="T45" fmla="*/ 1844 h 2521"/>
                <a:gd name="T46" fmla="*/ 1585 w 2515"/>
                <a:gd name="T47" fmla="*/ 1942 h 2521"/>
                <a:gd name="T48" fmla="*/ 1409 w 2515"/>
                <a:gd name="T49" fmla="*/ 2001 h 2521"/>
                <a:gd name="T50" fmla="*/ 1258 w 2515"/>
                <a:gd name="T51" fmla="*/ 0 h 2521"/>
                <a:gd name="T52" fmla="*/ 944 w 2515"/>
                <a:gd name="T53" fmla="*/ 39 h 2521"/>
                <a:gd name="T54" fmla="*/ 659 w 2515"/>
                <a:gd name="T55" fmla="*/ 152 h 2521"/>
                <a:gd name="T56" fmla="*/ 413 w 2515"/>
                <a:gd name="T57" fmla="*/ 328 h 2521"/>
                <a:gd name="T58" fmla="*/ 215 w 2515"/>
                <a:gd name="T59" fmla="*/ 556 h 2521"/>
                <a:gd name="T60" fmla="*/ 77 w 2515"/>
                <a:gd name="T61" fmla="*/ 827 h 2521"/>
                <a:gd name="T62" fmla="*/ 7 w 2515"/>
                <a:gd name="T63" fmla="*/ 1131 h 2521"/>
                <a:gd name="T64" fmla="*/ 14 w 2515"/>
                <a:gd name="T65" fmla="*/ 1452 h 2521"/>
                <a:gd name="T66" fmla="*/ 99 w 2515"/>
                <a:gd name="T67" fmla="*/ 1750 h 2521"/>
                <a:gd name="T68" fmla="*/ 251 w 2515"/>
                <a:gd name="T69" fmla="*/ 2014 h 2521"/>
                <a:gd name="T70" fmla="*/ 458 w 2515"/>
                <a:gd name="T71" fmla="*/ 2232 h 2521"/>
                <a:gd name="T72" fmla="*/ 713 w 2515"/>
                <a:gd name="T73" fmla="*/ 2397 h 2521"/>
                <a:gd name="T74" fmla="*/ 1004 w 2515"/>
                <a:gd name="T75" fmla="*/ 2495 h 2521"/>
                <a:gd name="T76" fmla="*/ 1322 w 2515"/>
                <a:gd name="T77" fmla="*/ 2519 h 2521"/>
                <a:gd name="T78" fmla="*/ 1631 w 2515"/>
                <a:gd name="T79" fmla="*/ 2464 h 2521"/>
                <a:gd name="T80" fmla="*/ 1908 w 2515"/>
                <a:gd name="T81" fmla="*/ 2338 h 2521"/>
                <a:gd name="T82" fmla="*/ 2146 w 2515"/>
                <a:gd name="T83" fmla="*/ 2152 h 2521"/>
                <a:gd name="T84" fmla="*/ 2333 w 2515"/>
                <a:gd name="T85" fmla="*/ 1914 h 2521"/>
                <a:gd name="T86" fmla="*/ 2459 w 2515"/>
                <a:gd name="T87" fmla="*/ 1634 h 2521"/>
                <a:gd name="T88" fmla="*/ 2513 w 2515"/>
                <a:gd name="T89" fmla="*/ 1325 h 2521"/>
                <a:gd name="T90" fmla="*/ 2490 w 2515"/>
                <a:gd name="T91" fmla="*/ 1006 h 2521"/>
                <a:gd name="T92" fmla="*/ 2390 w 2515"/>
                <a:gd name="T93" fmla="*/ 714 h 2521"/>
                <a:gd name="T94" fmla="*/ 2227 w 2515"/>
                <a:gd name="T95" fmla="*/ 459 h 2521"/>
                <a:gd name="T96" fmla="*/ 2009 w 2515"/>
                <a:gd name="T97" fmla="*/ 251 h 2521"/>
                <a:gd name="T98" fmla="*/ 1746 w 2515"/>
                <a:gd name="T99" fmla="*/ 99 h 2521"/>
                <a:gd name="T100" fmla="*/ 1449 w 2515"/>
                <a:gd name="T101" fmla="*/ 14 h 2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15" h="2521">
                  <a:moveTo>
                    <a:pt x="1258" y="2017"/>
                  </a:moveTo>
                  <a:lnTo>
                    <a:pt x="1218" y="2015"/>
                  </a:lnTo>
                  <a:lnTo>
                    <a:pt x="1180" y="2012"/>
                  </a:lnTo>
                  <a:lnTo>
                    <a:pt x="1143" y="2007"/>
                  </a:lnTo>
                  <a:lnTo>
                    <a:pt x="1106" y="2001"/>
                  </a:lnTo>
                  <a:lnTo>
                    <a:pt x="1068" y="1992"/>
                  </a:lnTo>
                  <a:lnTo>
                    <a:pt x="1033" y="1982"/>
                  </a:lnTo>
                  <a:lnTo>
                    <a:pt x="998" y="1970"/>
                  </a:lnTo>
                  <a:lnTo>
                    <a:pt x="964" y="1957"/>
                  </a:lnTo>
                  <a:lnTo>
                    <a:pt x="931" y="1942"/>
                  </a:lnTo>
                  <a:lnTo>
                    <a:pt x="897" y="1925"/>
                  </a:lnTo>
                  <a:lnTo>
                    <a:pt x="866" y="1907"/>
                  </a:lnTo>
                  <a:lnTo>
                    <a:pt x="836" y="1887"/>
                  </a:lnTo>
                  <a:lnTo>
                    <a:pt x="806" y="1866"/>
                  </a:lnTo>
                  <a:lnTo>
                    <a:pt x="778" y="1844"/>
                  </a:lnTo>
                  <a:lnTo>
                    <a:pt x="751" y="1820"/>
                  </a:lnTo>
                  <a:lnTo>
                    <a:pt x="723" y="1795"/>
                  </a:lnTo>
                  <a:lnTo>
                    <a:pt x="699" y="1768"/>
                  </a:lnTo>
                  <a:lnTo>
                    <a:pt x="675" y="1741"/>
                  </a:lnTo>
                  <a:lnTo>
                    <a:pt x="653" y="1713"/>
                  </a:lnTo>
                  <a:lnTo>
                    <a:pt x="632" y="1683"/>
                  </a:lnTo>
                  <a:lnTo>
                    <a:pt x="612" y="1653"/>
                  </a:lnTo>
                  <a:lnTo>
                    <a:pt x="594" y="1620"/>
                  </a:lnTo>
                  <a:lnTo>
                    <a:pt x="578" y="1588"/>
                  </a:lnTo>
                  <a:lnTo>
                    <a:pt x="562" y="1555"/>
                  </a:lnTo>
                  <a:lnTo>
                    <a:pt x="548" y="1520"/>
                  </a:lnTo>
                  <a:lnTo>
                    <a:pt x="537" y="1485"/>
                  </a:lnTo>
                  <a:lnTo>
                    <a:pt x="527" y="1449"/>
                  </a:lnTo>
                  <a:lnTo>
                    <a:pt x="518" y="1413"/>
                  </a:lnTo>
                  <a:lnTo>
                    <a:pt x="512" y="1375"/>
                  </a:lnTo>
                  <a:lnTo>
                    <a:pt x="507" y="1338"/>
                  </a:lnTo>
                  <a:lnTo>
                    <a:pt x="504" y="1299"/>
                  </a:lnTo>
                  <a:lnTo>
                    <a:pt x="503" y="1260"/>
                  </a:lnTo>
                  <a:lnTo>
                    <a:pt x="504" y="1221"/>
                  </a:lnTo>
                  <a:lnTo>
                    <a:pt x="507" y="1183"/>
                  </a:lnTo>
                  <a:lnTo>
                    <a:pt x="512" y="1145"/>
                  </a:lnTo>
                  <a:lnTo>
                    <a:pt x="518" y="1108"/>
                  </a:lnTo>
                  <a:lnTo>
                    <a:pt x="527" y="1072"/>
                  </a:lnTo>
                  <a:lnTo>
                    <a:pt x="537" y="1035"/>
                  </a:lnTo>
                  <a:lnTo>
                    <a:pt x="548" y="1000"/>
                  </a:lnTo>
                  <a:lnTo>
                    <a:pt x="562" y="966"/>
                  </a:lnTo>
                  <a:lnTo>
                    <a:pt x="578" y="933"/>
                  </a:lnTo>
                  <a:lnTo>
                    <a:pt x="594" y="900"/>
                  </a:lnTo>
                  <a:lnTo>
                    <a:pt x="612" y="868"/>
                  </a:lnTo>
                  <a:lnTo>
                    <a:pt x="632" y="838"/>
                  </a:lnTo>
                  <a:lnTo>
                    <a:pt x="653" y="808"/>
                  </a:lnTo>
                  <a:lnTo>
                    <a:pt x="675" y="779"/>
                  </a:lnTo>
                  <a:lnTo>
                    <a:pt x="699" y="752"/>
                  </a:lnTo>
                  <a:lnTo>
                    <a:pt x="723" y="726"/>
                  </a:lnTo>
                  <a:lnTo>
                    <a:pt x="751" y="701"/>
                  </a:lnTo>
                  <a:lnTo>
                    <a:pt x="778" y="677"/>
                  </a:lnTo>
                  <a:lnTo>
                    <a:pt x="806" y="654"/>
                  </a:lnTo>
                  <a:lnTo>
                    <a:pt x="836" y="633"/>
                  </a:lnTo>
                  <a:lnTo>
                    <a:pt x="866" y="614"/>
                  </a:lnTo>
                  <a:lnTo>
                    <a:pt x="897" y="596"/>
                  </a:lnTo>
                  <a:lnTo>
                    <a:pt x="931" y="579"/>
                  </a:lnTo>
                  <a:lnTo>
                    <a:pt x="964" y="564"/>
                  </a:lnTo>
                  <a:lnTo>
                    <a:pt x="998" y="549"/>
                  </a:lnTo>
                  <a:lnTo>
                    <a:pt x="1033" y="538"/>
                  </a:lnTo>
                  <a:lnTo>
                    <a:pt x="1068" y="528"/>
                  </a:lnTo>
                  <a:lnTo>
                    <a:pt x="1106" y="519"/>
                  </a:lnTo>
                  <a:lnTo>
                    <a:pt x="1143" y="513"/>
                  </a:lnTo>
                  <a:lnTo>
                    <a:pt x="1180" y="508"/>
                  </a:lnTo>
                  <a:lnTo>
                    <a:pt x="1218" y="505"/>
                  </a:lnTo>
                  <a:lnTo>
                    <a:pt x="1258" y="504"/>
                  </a:lnTo>
                  <a:lnTo>
                    <a:pt x="1297" y="505"/>
                  </a:lnTo>
                  <a:lnTo>
                    <a:pt x="1335" y="508"/>
                  </a:lnTo>
                  <a:lnTo>
                    <a:pt x="1372" y="513"/>
                  </a:lnTo>
                  <a:lnTo>
                    <a:pt x="1409" y="519"/>
                  </a:lnTo>
                  <a:lnTo>
                    <a:pt x="1447" y="528"/>
                  </a:lnTo>
                  <a:lnTo>
                    <a:pt x="1482" y="538"/>
                  </a:lnTo>
                  <a:lnTo>
                    <a:pt x="1517" y="549"/>
                  </a:lnTo>
                  <a:lnTo>
                    <a:pt x="1551" y="564"/>
                  </a:lnTo>
                  <a:lnTo>
                    <a:pt x="1585" y="579"/>
                  </a:lnTo>
                  <a:lnTo>
                    <a:pt x="1618" y="596"/>
                  </a:lnTo>
                  <a:lnTo>
                    <a:pt x="1649" y="614"/>
                  </a:lnTo>
                  <a:lnTo>
                    <a:pt x="1679" y="633"/>
                  </a:lnTo>
                  <a:lnTo>
                    <a:pt x="1709" y="654"/>
                  </a:lnTo>
                  <a:lnTo>
                    <a:pt x="1737" y="677"/>
                  </a:lnTo>
                  <a:lnTo>
                    <a:pt x="1765" y="701"/>
                  </a:lnTo>
                  <a:lnTo>
                    <a:pt x="1791" y="726"/>
                  </a:lnTo>
                  <a:lnTo>
                    <a:pt x="1816" y="752"/>
                  </a:lnTo>
                  <a:lnTo>
                    <a:pt x="1840" y="779"/>
                  </a:lnTo>
                  <a:lnTo>
                    <a:pt x="1862" y="808"/>
                  </a:lnTo>
                  <a:lnTo>
                    <a:pt x="1883" y="838"/>
                  </a:lnTo>
                  <a:lnTo>
                    <a:pt x="1902" y="868"/>
                  </a:lnTo>
                  <a:lnTo>
                    <a:pt x="1920" y="900"/>
                  </a:lnTo>
                  <a:lnTo>
                    <a:pt x="1938" y="933"/>
                  </a:lnTo>
                  <a:lnTo>
                    <a:pt x="1953" y="966"/>
                  </a:lnTo>
                  <a:lnTo>
                    <a:pt x="1967" y="1000"/>
                  </a:lnTo>
                  <a:lnTo>
                    <a:pt x="1978" y="1035"/>
                  </a:lnTo>
                  <a:lnTo>
                    <a:pt x="1988" y="1072"/>
                  </a:lnTo>
                  <a:lnTo>
                    <a:pt x="1997" y="1108"/>
                  </a:lnTo>
                  <a:lnTo>
                    <a:pt x="2003" y="1145"/>
                  </a:lnTo>
                  <a:lnTo>
                    <a:pt x="2008" y="1183"/>
                  </a:lnTo>
                  <a:lnTo>
                    <a:pt x="2011" y="1221"/>
                  </a:lnTo>
                  <a:lnTo>
                    <a:pt x="2012" y="1260"/>
                  </a:lnTo>
                  <a:lnTo>
                    <a:pt x="2011" y="1299"/>
                  </a:lnTo>
                  <a:lnTo>
                    <a:pt x="2008" y="1338"/>
                  </a:lnTo>
                  <a:lnTo>
                    <a:pt x="2003" y="1375"/>
                  </a:lnTo>
                  <a:lnTo>
                    <a:pt x="1997" y="1413"/>
                  </a:lnTo>
                  <a:lnTo>
                    <a:pt x="1988" y="1449"/>
                  </a:lnTo>
                  <a:lnTo>
                    <a:pt x="1978" y="1485"/>
                  </a:lnTo>
                  <a:lnTo>
                    <a:pt x="1967" y="1520"/>
                  </a:lnTo>
                  <a:lnTo>
                    <a:pt x="1953" y="1555"/>
                  </a:lnTo>
                  <a:lnTo>
                    <a:pt x="1938" y="1588"/>
                  </a:lnTo>
                  <a:lnTo>
                    <a:pt x="1920" y="1620"/>
                  </a:lnTo>
                  <a:lnTo>
                    <a:pt x="1902" y="1653"/>
                  </a:lnTo>
                  <a:lnTo>
                    <a:pt x="1883" y="1683"/>
                  </a:lnTo>
                  <a:lnTo>
                    <a:pt x="1862" y="1713"/>
                  </a:lnTo>
                  <a:lnTo>
                    <a:pt x="1840" y="1741"/>
                  </a:lnTo>
                  <a:lnTo>
                    <a:pt x="1816" y="1768"/>
                  </a:lnTo>
                  <a:lnTo>
                    <a:pt x="1791" y="1795"/>
                  </a:lnTo>
                  <a:lnTo>
                    <a:pt x="1765" y="1820"/>
                  </a:lnTo>
                  <a:lnTo>
                    <a:pt x="1737" y="1844"/>
                  </a:lnTo>
                  <a:lnTo>
                    <a:pt x="1709" y="1866"/>
                  </a:lnTo>
                  <a:lnTo>
                    <a:pt x="1679" y="1887"/>
                  </a:lnTo>
                  <a:lnTo>
                    <a:pt x="1649" y="1907"/>
                  </a:lnTo>
                  <a:lnTo>
                    <a:pt x="1618" y="1925"/>
                  </a:lnTo>
                  <a:lnTo>
                    <a:pt x="1585" y="1942"/>
                  </a:lnTo>
                  <a:lnTo>
                    <a:pt x="1551" y="1957"/>
                  </a:lnTo>
                  <a:lnTo>
                    <a:pt x="1517" y="1970"/>
                  </a:lnTo>
                  <a:lnTo>
                    <a:pt x="1482" y="1982"/>
                  </a:lnTo>
                  <a:lnTo>
                    <a:pt x="1447" y="1992"/>
                  </a:lnTo>
                  <a:lnTo>
                    <a:pt x="1409" y="2001"/>
                  </a:lnTo>
                  <a:lnTo>
                    <a:pt x="1372" y="2007"/>
                  </a:lnTo>
                  <a:lnTo>
                    <a:pt x="1335" y="2012"/>
                  </a:lnTo>
                  <a:lnTo>
                    <a:pt x="1297" y="2015"/>
                  </a:lnTo>
                  <a:lnTo>
                    <a:pt x="1258" y="2017"/>
                  </a:lnTo>
                  <a:close/>
                  <a:moveTo>
                    <a:pt x="1258" y="0"/>
                  </a:moveTo>
                  <a:lnTo>
                    <a:pt x="1193" y="2"/>
                  </a:lnTo>
                  <a:lnTo>
                    <a:pt x="1129" y="6"/>
                  </a:lnTo>
                  <a:lnTo>
                    <a:pt x="1066" y="14"/>
                  </a:lnTo>
                  <a:lnTo>
                    <a:pt x="1004" y="25"/>
                  </a:lnTo>
                  <a:lnTo>
                    <a:pt x="944" y="39"/>
                  </a:lnTo>
                  <a:lnTo>
                    <a:pt x="884" y="56"/>
                  </a:lnTo>
                  <a:lnTo>
                    <a:pt x="826" y="77"/>
                  </a:lnTo>
                  <a:lnTo>
                    <a:pt x="769" y="99"/>
                  </a:lnTo>
                  <a:lnTo>
                    <a:pt x="713" y="124"/>
                  </a:lnTo>
                  <a:lnTo>
                    <a:pt x="659" y="152"/>
                  </a:lnTo>
                  <a:lnTo>
                    <a:pt x="606" y="182"/>
                  </a:lnTo>
                  <a:lnTo>
                    <a:pt x="555" y="216"/>
                  </a:lnTo>
                  <a:lnTo>
                    <a:pt x="506" y="251"/>
                  </a:lnTo>
                  <a:lnTo>
                    <a:pt x="458" y="288"/>
                  </a:lnTo>
                  <a:lnTo>
                    <a:pt x="413" y="328"/>
                  </a:lnTo>
                  <a:lnTo>
                    <a:pt x="369" y="369"/>
                  </a:lnTo>
                  <a:lnTo>
                    <a:pt x="327" y="413"/>
                  </a:lnTo>
                  <a:lnTo>
                    <a:pt x="288" y="459"/>
                  </a:lnTo>
                  <a:lnTo>
                    <a:pt x="251" y="506"/>
                  </a:lnTo>
                  <a:lnTo>
                    <a:pt x="215" y="556"/>
                  </a:lnTo>
                  <a:lnTo>
                    <a:pt x="182" y="607"/>
                  </a:lnTo>
                  <a:lnTo>
                    <a:pt x="152" y="659"/>
                  </a:lnTo>
                  <a:lnTo>
                    <a:pt x="124" y="714"/>
                  </a:lnTo>
                  <a:lnTo>
                    <a:pt x="99" y="770"/>
                  </a:lnTo>
                  <a:lnTo>
                    <a:pt x="77" y="827"/>
                  </a:lnTo>
                  <a:lnTo>
                    <a:pt x="56" y="886"/>
                  </a:lnTo>
                  <a:lnTo>
                    <a:pt x="39" y="946"/>
                  </a:lnTo>
                  <a:lnTo>
                    <a:pt x="25" y="1006"/>
                  </a:lnTo>
                  <a:lnTo>
                    <a:pt x="14" y="1069"/>
                  </a:lnTo>
                  <a:lnTo>
                    <a:pt x="7" y="1131"/>
                  </a:lnTo>
                  <a:lnTo>
                    <a:pt x="2" y="1196"/>
                  </a:lnTo>
                  <a:lnTo>
                    <a:pt x="0" y="1260"/>
                  </a:lnTo>
                  <a:lnTo>
                    <a:pt x="2" y="1325"/>
                  </a:lnTo>
                  <a:lnTo>
                    <a:pt x="7" y="1389"/>
                  </a:lnTo>
                  <a:lnTo>
                    <a:pt x="14" y="1452"/>
                  </a:lnTo>
                  <a:lnTo>
                    <a:pt x="25" y="1514"/>
                  </a:lnTo>
                  <a:lnTo>
                    <a:pt x="39" y="1575"/>
                  </a:lnTo>
                  <a:lnTo>
                    <a:pt x="56" y="1634"/>
                  </a:lnTo>
                  <a:lnTo>
                    <a:pt x="77" y="1693"/>
                  </a:lnTo>
                  <a:lnTo>
                    <a:pt x="99" y="1750"/>
                  </a:lnTo>
                  <a:lnTo>
                    <a:pt x="124" y="1806"/>
                  </a:lnTo>
                  <a:lnTo>
                    <a:pt x="152" y="1860"/>
                  </a:lnTo>
                  <a:lnTo>
                    <a:pt x="182" y="1914"/>
                  </a:lnTo>
                  <a:lnTo>
                    <a:pt x="215" y="1964"/>
                  </a:lnTo>
                  <a:lnTo>
                    <a:pt x="251" y="2014"/>
                  </a:lnTo>
                  <a:lnTo>
                    <a:pt x="288" y="2062"/>
                  </a:lnTo>
                  <a:lnTo>
                    <a:pt x="327" y="2107"/>
                  </a:lnTo>
                  <a:lnTo>
                    <a:pt x="369" y="2152"/>
                  </a:lnTo>
                  <a:lnTo>
                    <a:pt x="413" y="2193"/>
                  </a:lnTo>
                  <a:lnTo>
                    <a:pt x="458" y="2232"/>
                  </a:lnTo>
                  <a:lnTo>
                    <a:pt x="506" y="2270"/>
                  </a:lnTo>
                  <a:lnTo>
                    <a:pt x="555" y="2305"/>
                  </a:lnTo>
                  <a:lnTo>
                    <a:pt x="606" y="2338"/>
                  </a:lnTo>
                  <a:lnTo>
                    <a:pt x="659" y="2368"/>
                  </a:lnTo>
                  <a:lnTo>
                    <a:pt x="713" y="2397"/>
                  </a:lnTo>
                  <a:lnTo>
                    <a:pt x="769" y="2422"/>
                  </a:lnTo>
                  <a:lnTo>
                    <a:pt x="826" y="2444"/>
                  </a:lnTo>
                  <a:lnTo>
                    <a:pt x="884" y="2464"/>
                  </a:lnTo>
                  <a:lnTo>
                    <a:pt x="944" y="2481"/>
                  </a:lnTo>
                  <a:lnTo>
                    <a:pt x="1004" y="2495"/>
                  </a:lnTo>
                  <a:lnTo>
                    <a:pt x="1066" y="2507"/>
                  </a:lnTo>
                  <a:lnTo>
                    <a:pt x="1129" y="2515"/>
                  </a:lnTo>
                  <a:lnTo>
                    <a:pt x="1193" y="2519"/>
                  </a:lnTo>
                  <a:lnTo>
                    <a:pt x="1258" y="2521"/>
                  </a:lnTo>
                  <a:lnTo>
                    <a:pt x="1322" y="2519"/>
                  </a:lnTo>
                  <a:lnTo>
                    <a:pt x="1385" y="2515"/>
                  </a:lnTo>
                  <a:lnTo>
                    <a:pt x="1449" y="2507"/>
                  </a:lnTo>
                  <a:lnTo>
                    <a:pt x="1510" y="2495"/>
                  </a:lnTo>
                  <a:lnTo>
                    <a:pt x="1571" y="2481"/>
                  </a:lnTo>
                  <a:lnTo>
                    <a:pt x="1631" y="2464"/>
                  </a:lnTo>
                  <a:lnTo>
                    <a:pt x="1689" y="2444"/>
                  </a:lnTo>
                  <a:lnTo>
                    <a:pt x="1746" y="2422"/>
                  </a:lnTo>
                  <a:lnTo>
                    <a:pt x="1802" y="2397"/>
                  </a:lnTo>
                  <a:lnTo>
                    <a:pt x="1856" y="2368"/>
                  </a:lnTo>
                  <a:lnTo>
                    <a:pt x="1908" y="2338"/>
                  </a:lnTo>
                  <a:lnTo>
                    <a:pt x="1960" y="2305"/>
                  </a:lnTo>
                  <a:lnTo>
                    <a:pt x="2009" y="2270"/>
                  </a:lnTo>
                  <a:lnTo>
                    <a:pt x="2056" y="2232"/>
                  </a:lnTo>
                  <a:lnTo>
                    <a:pt x="2103" y="2193"/>
                  </a:lnTo>
                  <a:lnTo>
                    <a:pt x="2146" y="2152"/>
                  </a:lnTo>
                  <a:lnTo>
                    <a:pt x="2188" y="2107"/>
                  </a:lnTo>
                  <a:lnTo>
                    <a:pt x="2227" y="2062"/>
                  </a:lnTo>
                  <a:lnTo>
                    <a:pt x="2265" y="2014"/>
                  </a:lnTo>
                  <a:lnTo>
                    <a:pt x="2300" y="1964"/>
                  </a:lnTo>
                  <a:lnTo>
                    <a:pt x="2333" y="1914"/>
                  </a:lnTo>
                  <a:lnTo>
                    <a:pt x="2363" y="1860"/>
                  </a:lnTo>
                  <a:lnTo>
                    <a:pt x="2390" y="1806"/>
                  </a:lnTo>
                  <a:lnTo>
                    <a:pt x="2416" y="1750"/>
                  </a:lnTo>
                  <a:lnTo>
                    <a:pt x="2439" y="1693"/>
                  </a:lnTo>
                  <a:lnTo>
                    <a:pt x="2459" y="1634"/>
                  </a:lnTo>
                  <a:lnTo>
                    <a:pt x="2476" y="1575"/>
                  </a:lnTo>
                  <a:lnTo>
                    <a:pt x="2490" y="1514"/>
                  </a:lnTo>
                  <a:lnTo>
                    <a:pt x="2501" y="1452"/>
                  </a:lnTo>
                  <a:lnTo>
                    <a:pt x="2508" y="1389"/>
                  </a:lnTo>
                  <a:lnTo>
                    <a:pt x="2513" y="1325"/>
                  </a:lnTo>
                  <a:lnTo>
                    <a:pt x="2515" y="1260"/>
                  </a:lnTo>
                  <a:lnTo>
                    <a:pt x="2513" y="1196"/>
                  </a:lnTo>
                  <a:lnTo>
                    <a:pt x="2508" y="1131"/>
                  </a:lnTo>
                  <a:lnTo>
                    <a:pt x="2501" y="1069"/>
                  </a:lnTo>
                  <a:lnTo>
                    <a:pt x="2490" y="1006"/>
                  </a:lnTo>
                  <a:lnTo>
                    <a:pt x="2476" y="946"/>
                  </a:lnTo>
                  <a:lnTo>
                    <a:pt x="2459" y="886"/>
                  </a:lnTo>
                  <a:lnTo>
                    <a:pt x="2439" y="827"/>
                  </a:lnTo>
                  <a:lnTo>
                    <a:pt x="2416" y="770"/>
                  </a:lnTo>
                  <a:lnTo>
                    <a:pt x="2390" y="714"/>
                  </a:lnTo>
                  <a:lnTo>
                    <a:pt x="2363" y="659"/>
                  </a:lnTo>
                  <a:lnTo>
                    <a:pt x="2333" y="607"/>
                  </a:lnTo>
                  <a:lnTo>
                    <a:pt x="2300" y="556"/>
                  </a:lnTo>
                  <a:lnTo>
                    <a:pt x="2265" y="506"/>
                  </a:lnTo>
                  <a:lnTo>
                    <a:pt x="2227" y="459"/>
                  </a:lnTo>
                  <a:lnTo>
                    <a:pt x="2188" y="413"/>
                  </a:lnTo>
                  <a:lnTo>
                    <a:pt x="2146" y="369"/>
                  </a:lnTo>
                  <a:lnTo>
                    <a:pt x="2103" y="328"/>
                  </a:lnTo>
                  <a:lnTo>
                    <a:pt x="2056" y="288"/>
                  </a:lnTo>
                  <a:lnTo>
                    <a:pt x="2009" y="251"/>
                  </a:lnTo>
                  <a:lnTo>
                    <a:pt x="1960" y="216"/>
                  </a:lnTo>
                  <a:lnTo>
                    <a:pt x="1908" y="182"/>
                  </a:lnTo>
                  <a:lnTo>
                    <a:pt x="1856" y="152"/>
                  </a:lnTo>
                  <a:lnTo>
                    <a:pt x="1802" y="124"/>
                  </a:lnTo>
                  <a:lnTo>
                    <a:pt x="1746" y="99"/>
                  </a:lnTo>
                  <a:lnTo>
                    <a:pt x="1689" y="77"/>
                  </a:lnTo>
                  <a:lnTo>
                    <a:pt x="1631" y="56"/>
                  </a:lnTo>
                  <a:lnTo>
                    <a:pt x="1571" y="39"/>
                  </a:lnTo>
                  <a:lnTo>
                    <a:pt x="1510" y="25"/>
                  </a:lnTo>
                  <a:lnTo>
                    <a:pt x="1449" y="14"/>
                  </a:lnTo>
                  <a:lnTo>
                    <a:pt x="1385" y="6"/>
                  </a:lnTo>
                  <a:lnTo>
                    <a:pt x="1322" y="2"/>
                  </a:lnTo>
                  <a:lnTo>
                    <a:pt x="125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61" name="ïśḻîde">
              <a:extLst>
                <a:ext uri="{FF2B5EF4-FFF2-40B4-BE49-F238E27FC236}">
                  <a16:creationId xmlns:a16="http://schemas.microsoft.com/office/drawing/2014/main" id="{2E313231-9FA8-4658-8F0F-67ECFAAEBE71}"/>
                </a:ext>
              </a:extLst>
            </p:cNvPr>
            <p:cNvSpPr/>
            <p:nvPr/>
          </p:nvSpPr>
          <p:spPr bwMode="auto">
            <a:xfrm>
              <a:off x="4251664" y="768241"/>
              <a:ext cx="76139" cy="77549"/>
            </a:xfrm>
            <a:custGeom>
              <a:avLst/>
              <a:gdLst>
                <a:gd name="T0" fmla="*/ 1107 w 2012"/>
                <a:gd name="T1" fmla="*/ 514 h 2016"/>
                <a:gd name="T2" fmla="*/ 1224 w 2012"/>
                <a:gd name="T3" fmla="*/ 553 h 2016"/>
                <a:gd name="T4" fmla="*/ 1326 w 2012"/>
                <a:gd name="T5" fmla="*/ 619 h 2016"/>
                <a:gd name="T6" fmla="*/ 1409 w 2012"/>
                <a:gd name="T7" fmla="*/ 707 h 2016"/>
                <a:gd name="T8" fmla="*/ 1469 w 2012"/>
                <a:gd name="T9" fmla="*/ 812 h 2016"/>
                <a:gd name="T10" fmla="*/ 1503 w 2012"/>
                <a:gd name="T11" fmla="*/ 931 h 2016"/>
                <a:gd name="T12" fmla="*/ 1507 w 2012"/>
                <a:gd name="T13" fmla="*/ 1060 h 2016"/>
                <a:gd name="T14" fmla="*/ 1478 w 2012"/>
                <a:gd name="T15" fmla="*/ 1182 h 2016"/>
                <a:gd name="T16" fmla="*/ 1423 w 2012"/>
                <a:gd name="T17" fmla="*/ 1290 h 2016"/>
                <a:gd name="T18" fmla="*/ 1344 w 2012"/>
                <a:gd name="T19" fmla="*/ 1381 h 2016"/>
                <a:gd name="T20" fmla="*/ 1245 w 2012"/>
                <a:gd name="T21" fmla="*/ 1452 h 2016"/>
                <a:gd name="T22" fmla="*/ 1131 w 2012"/>
                <a:gd name="T23" fmla="*/ 1496 h 2016"/>
                <a:gd name="T24" fmla="*/ 1006 w 2012"/>
                <a:gd name="T25" fmla="*/ 1512 h 2016"/>
                <a:gd name="T26" fmla="*/ 880 w 2012"/>
                <a:gd name="T27" fmla="*/ 1496 h 2016"/>
                <a:gd name="T28" fmla="*/ 766 w 2012"/>
                <a:gd name="T29" fmla="*/ 1452 h 2016"/>
                <a:gd name="T30" fmla="*/ 668 w 2012"/>
                <a:gd name="T31" fmla="*/ 1381 h 2016"/>
                <a:gd name="T32" fmla="*/ 589 w 2012"/>
                <a:gd name="T33" fmla="*/ 1290 h 2016"/>
                <a:gd name="T34" fmla="*/ 534 w 2012"/>
                <a:gd name="T35" fmla="*/ 1182 h 2016"/>
                <a:gd name="T36" fmla="*/ 506 w 2012"/>
                <a:gd name="T37" fmla="*/ 1060 h 2016"/>
                <a:gd name="T38" fmla="*/ 509 w 2012"/>
                <a:gd name="T39" fmla="*/ 931 h 2016"/>
                <a:gd name="T40" fmla="*/ 543 w 2012"/>
                <a:gd name="T41" fmla="*/ 812 h 2016"/>
                <a:gd name="T42" fmla="*/ 603 w 2012"/>
                <a:gd name="T43" fmla="*/ 707 h 2016"/>
                <a:gd name="T44" fmla="*/ 686 w 2012"/>
                <a:gd name="T45" fmla="*/ 619 h 2016"/>
                <a:gd name="T46" fmla="*/ 787 w 2012"/>
                <a:gd name="T47" fmla="*/ 553 h 2016"/>
                <a:gd name="T48" fmla="*/ 904 w 2012"/>
                <a:gd name="T49" fmla="*/ 514 h 2016"/>
                <a:gd name="T50" fmla="*/ 0 w 2012"/>
                <a:gd name="T51" fmla="*/ 1008 h 2016"/>
                <a:gd name="T52" fmla="*/ 32 w 2012"/>
                <a:gd name="T53" fmla="*/ 1260 h 2016"/>
                <a:gd name="T54" fmla="*/ 121 w 2012"/>
                <a:gd name="T55" fmla="*/ 1488 h 2016"/>
                <a:gd name="T56" fmla="*/ 261 w 2012"/>
                <a:gd name="T57" fmla="*/ 1686 h 2016"/>
                <a:gd name="T58" fmla="*/ 443 w 2012"/>
                <a:gd name="T59" fmla="*/ 1844 h 2016"/>
                <a:gd name="T60" fmla="*/ 661 w 2012"/>
                <a:gd name="T61" fmla="*/ 1955 h 2016"/>
                <a:gd name="T62" fmla="*/ 903 w 2012"/>
                <a:gd name="T63" fmla="*/ 2011 h 2016"/>
                <a:gd name="T64" fmla="*/ 1159 w 2012"/>
                <a:gd name="T65" fmla="*/ 2004 h 2016"/>
                <a:gd name="T66" fmla="*/ 1397 w 2012"/>
                <a:gd name="T67" fmla="*/ 1937 h 2016"/>
                <a:gd name="T68" fmla="*/ 1607 w 2012"/>
                <a:gd name="T69" fmla="*/ 1816 h 2016"/>
                <a:gd name="T70" fmla="*/ 1782 w 2012"/>
                <a:gd name="T71" fmla="*/ 1649 h 2016"/>
                <a:gd name="T72" fmla="*/ 1912 w 2012"/>
                <a:gd name="T73" fmla="*/ 1445 h 2016"/>
                <a:gd name="T74" fmla="*/ 1992 w 2012"/>
                <a:gd name="T75" fmla="*/ 1211 h 2016"/>
                <a:gd name="T76" fmla="*/ 2011 w 2012"/>
                <a:gd name="T77" fmla="*/ 957 h 2016"/>
                <a:gd name="T78" fmla="*/ 1966 w 2012"/>
                <a:gd name="T79" fmla="*/ 709 h 2016"/>
                <a:gd name="T80" fmla="*/ 1866 w 2012"/>
                <a:gd name="T81" fmla="*/ 486 h 2016"/>
                <a:gd name="T82" fmla="*/ 1717 w 2012"/>
                <a:gd name="T83" fmla="*/ 295 h 2016"/>
                <a:gd name="T84" fmla="*/ 1527 w 2012"/>
                <a:gd name="T85" fmla="*/ 146 h 2016"/>
                <a:gd name="T86" fmla="*/ 1304 w 2012"/>
                <a:gd name="T87" fmla="*/ 45 h 2016"/>
                <a:gd name="T88" fmla="*/ 1057 w 2012"/>
                <a:gd name="T89" fmla="*/ 1 h 2016"/>
                <a:gd name="T90" fmla="*/ 803 w 2012"/>
                <a:gd name="T91" fmla="*/ 20 h 2016"/>
                <a:gd name="T92" fmla="*/ 570 w 2012"/>
                <a:gd name="T93" fmla="*/ 100 h 2016"/>
                <a:gd name="T94" fmla="*/ 366 w 2012"/>
                <a:gd name="T95" fmla="*/ 231 h 2016"/>
                <a:gd name="T96" fmla="*/ 200 w 2012"/>
                <a:gd name="T97" fmla="*/ 405 h 2016"/>
                <a:gd name="T98" fmla="*/ 79 w 2012"/>
                <a:gd name="T99" fmla="*/ 616 h 2016"/>
                <a:gd name="T100" fmla="*/ 12 w 2012"/>
                <a:gd name="T101" fmla="*/ 855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012" h="2016">
                  <a:moveTo>
                    <a:pt x="1006" y="504"/>
                  </a:moveTo>
                  <a:lnTo>
                    <a:pt x="1032" y="505"/>
                  </a:lnTo>
                  <a:lnTo>
                    <a:pt x="1057" y="507"/>
                  </a:lnTo>
                  <a:lnTo>
                    <a:pt x="1082" y="510"/>
                  </a:lnTo>
                  <a:lnTo>
                    <a:pt x="1107" y="514"/>
                  </a:lnTo>
                  <a:lnTo>
                    <a:pt x="1131" y="520"/>
                  </a:lnTo>
                  <a:lnTo>
                    <a:pt x="1156" y="526"/>
                  </a:lnTo>
                  <a:lnTo>
                    <a:pt x="1179" y="534"/>
                  </a:lnTo>
                  <a:lnTo>
                    <a:pt x="1202" y="543"/>
                  </a:lnTo>
                  <a:lnTo>
                    <a:pt x="1224" y="553"/>
                  </a:lnTo>
                  <a:lnTo>
                    <a:pt x="1245" y="564"/>
                  </a:lnTo>
                  <a:lnTo>
                    <a:pt x="1266" y="577"/>
                  </a:lnTo>
                  <a:lnTo>
                    <a:pt x="1287" y="590"/>
                  </a:lnTo>
                  <a:lnTo>
                    <a:pt x="1306" y="604"/>
                  </a:lnTo>
                  <a:lnTo>
                    <a:pt x="1326" y="619"/>
                  </a:lnTo>
                  <a:lnTo>
                    <a:pt x="1344" y="635"/>
                  </a:lnTo>
                  <a:lnTo>
                    <a:pt x="1362" y="651"/>
                  </a:lnTo>
                  <a:lnTo>
                    <a:pt x="1378" y="669"/>
                  </a:lnTo>
                  <a:lnTo>
                    <a:pt x="1394" y="688"/>
                  </a:lnTo>
                  <a:lnTo>
                    <a:pt x="1409" y="707"/>
                  </a:lnTo>
                  <a:lnTo>
                    <a:pt x="1423" y="726"/>
                  </a:lnTo>
                  <a:lnTo>
                    <a:pt x="1436" y="747"/>
                  </a:lnTo>
                  <a:lnTo>
                    <a:pt x="1448" y="768"/>
                  </a:lnTo>
                  <a:lnTo>
                    <a:pt x="1459" y="789"/>
                  </a:lnTo>
                  <a:lnTo>
                    <a:pt x="1469" y="812"/>
                  </a:lnTo>
                  <a:lnTo>
                    <a:pt x="1478" y="835"/>
                  </a:lnTo>
                  <a:lnTo>
                    <a:pt x="1487" y="858"/>
                  </a:lnTo>
                  <a:lnTo>
                    <a:pt x="1493" y="882"/>
                  </a:lnTo>
                  <a:lnTo>
                    <a:pt x="1499" y="906"/>
                  </a:lnTo>
                  <a:lnTo>
                    <a:pt x="1503" y="931"/>
                  </a:lnTo>
                  <a:lnTo>
                    <a:pt x="1507" y="957"/>
                  </a:lnTo>
                  <a:lnTo>
                    <a:pt x="1508" y="982"/>
                  </a:lnTo>
                  <a:lnTo>
                    <a:pt x="1509" y="1008"/>
                  </a:lnTo>
                  <a:lnTo>
                    <a:pt x="1508" y="1034"/>
                  </a:lnTo>
                  <a:lnTo>
                    <a:pt x="1507" y="1060"/>
                  </a:lnTo>
                  <a:lnTo>
                    <a:pt x="1503" y="1085"/>
                  </a:lnTo>
                  <a:lnTo>
                    <a:pt x="1499" y="1110"/>
                  </a:lnTo>
                  <a:lnTo>
                    <a:pt x="1493" y="1134"/>
                  </a:lnTo>
                  <a:lnTo>
                    <a:pt x="1487" y="1158"/>
                  </a:lnTo>
                  <a:lnTo>
                    <a:pt x="1478" y="1182"/>
                  </a:lnTo>
                  <a:lnTo>
                    <a:pt x="1469" y="1205"/>
                  </a:lnTo>
                  <a:lnTo>
                    <a:pt x="1459" y="1227"/>
                  </a:lnTo>
                  <a:lnTo>
                    <a:pt x="1448" y="1248"/>
                  </a:lnTo>
                  <a:lnTo>
                    <a:pt x="1436" y="1269"/>
                  </a:lnTo>
                  <a:lnTo>
                    <a:pt x="1423" y="1290"/>
                  </a:lnTo>
                  <a:lnTo>
                    <a:pt x="1409" y="1310"/>
                  </a:lnTo>
                  <a:lnTo>
                    <a:pt x="1394" y="1329"/>
                  </a:lnTo>
                  <a:lnTo>
                    <a:pt x="1378" y="1347"/>
                  </a:lnTo>
                  <a:lnTo>
                    <a:pt x="1362" y="1365"/>
                  </a:lnTo>
                  <a:lnTo>
                    <a:pt x="1344" y="1381"/>
                  </a:lnTo>
                  <a:lnTo>
                    <a:pt x="1326" y="1397"/>
                  </a:lnTo>
                  <a:lnTo>
                    <a:pt x="1306" y="1412"/>
                  </a:lnTo>
                  <a:lnTo>
                    <a:pt x="1287" y="1427"/>
                  </a:lnTo>
                  <a:lnTo>
                    <a:pt x="1266" y="1440"/>
                  </a:lnTo>
                  <a:lnTo>
                    <a:pt x="1245" y="1452"/>
                  </a:lnTo>
                  <a:lnTo>
                    <a:pt x="1224" y="1463"/>
                  </a:lnTo>
                  <a:lnTo>
                    <a:pt x="1202" y="1473"/>
                  </a:lnTo>
                  <a:lnTo>
                    <a:pt x="1179" y="1482"/>
                  </a:lnTo>
                  <a:lnTo>
                    <a:pt x="1156" y="1490"/>
                  </a:lnTo>
                  <a:lnTo>
                    <a:pt x="1131" y="1496"/>
                  </a:lnTo>
                  <a:lnTo>
                    <a:pt x="1107" y="1502"/>
                  </a:lnTo>
                  <a:lnTo>
                    <a:pt x="1082" y="1506"/>
                  </a:lnTo>
                  <a:lnTo>
                    <a:pt x="1057" y="1509"/>
                  </a:lnTo>
                  <a:lnTo>
                    <a:pt x="1032" y="1511"/>
                  </a:lnTo>
                  <a:lnTo>
                    <a:pt x="1006" y="1512"/>
                  </a:lnTo>
                  <a:lnTo>
                    <a:pt x="980" y="1511"/>
                  </a:lnTo>
                  <a:lnTo>
                    <a:pt x="954" y="1509"/>
                  </a:lnTo>
                  <a:lnTo>
                    <a:pt x="929" y="1506"/>
                  </a:lnTo>
                  <a:lnTo>
                    <a:pt x="904" y="1502"/>
                  </a:lnTo>
                  <a:lnTo>
                    <a:pt x="880" y="1496"/>
                  </a:lnTo>
                  <a:lnTo>
                    <a:pt x="856" y="1490"/>
                  </a:lnTo>
                  <a:lnTo>
                    <a:pt x="833" y="1482"/>
                  </a:lnTo>
                  <a:lnTo>
                    <a:pt x="811" y="1473"/>
                  </a:lnTo>
                  <a:lnTo>
                    <a:pt x="787" y="1463"/>
                  </a:lnTo>
                  <a:lnTo>
                    <a:pt x="766" y="1452"/>
                  </a:lnTo>
                  <a:lnTo>
                    <a:pt x="745" y="1440"/>
                  </a:lnTo>
                  <a:lnTo>
                    <a:pt x="725" y="1427"/>
                  </a:lnTo>
                  <a:lnTo>
                    <a:pt x="705" y="1412"/>
                  </a:lnTo>
                  <a:lnTo>
                    <a:pt x="686" y="1397"/>
                  </a:lnTo>
                  <a:lnTo>
                    <a:pt x="668" y="1381"/>
                  </a:lnTo>
                  <a:lnTo>
                    <a:pt x="651" y="1365"/>
                  </a:lnTo>
                  <a:lnTo>
                    <a:pt x="633" y="1347"/>
                  </a:lnTo>
                  <a:lnTo>
                    <a:pt x="617" y="1329"/>
                  </a:lnTo>
                  <a:lnTo>
                    <a:pt x="603" y="1310"/>
                  </a:lnTo>
                  <a:lnTo>
                    <a:pt x="589" y="1290"/>
                  </a:lnTo>
                  <a:lnTo>
                    <a:pt x="576" y="1269"/>
                  </a:lnTo>
                  <a:lnTo>
                    <a:pt x="564" y="1248"/>
                  </a:lnTo>
                  <a:lnTo>
                    <a:pt x="553" y="1227"/>
                  </a:lnTo>
                  <a:lnTo>
                    <a:pt x="543" y="1205"/>
                  </a:lnTo>
                  <a:lnTo>
                    <a:pt x="534" y="1182"/>
                  </a:lnTo>
                  <a:lnTo>
                    <a:pt x="526" y="1158"/>
                  </a:lnTo>
                  <a:lnTo>
                    <a:pt x="519" y="1134"/>
                  </a:lnTo>
                  <a:lnTo>
                    <a:pt x="513" y="1110"/>
                  </a:lnTo>
                  <a:lnTo>
                    <a:pt x="509" y="1085"/>
                  </a:lnTo>
                  <a:lnTo>
                    <a:pt x="506" y="1060"/>
                  </a:lnTo>
                  <a:lnTo>
                    <a:pt x="504" y="1034"/>
                  </a:lnTo>
                  <a:lnTo>
                    <a:pt x="503" y="1008"/>
                  </a:lnTo>
                  <a:lnTo>
                    <a:pt x="504" y="982"/>
                  </a:lnTo>
                  <a:lnTo>
                    <a:pt x="506" y="957"/>
                  </a:lnTo>
                  <a:lnTo>
                    <a:pt x="509" y="931"/>
                  </a:lnTo>
                  <a:lnTo>
                    <a:pt x="513" y="906"/>
                  </a:lnTo>
                  <a:lnTo>
                    <a:pt x="519" y="882"/>
                  </a:lnTo>
                  <a:lnTo>
                    <a:pt x="526" y="858"/>
                  </a:lnTo>
                  <a:lnTo>
                    <a:pt x="534" y="835"/>
                  </a:lnTo>
                  <a:lnTo>
                    <a:pt x="543" y="812"/>
                  </a:lnTo>
                  <a:lnTo>
                    <a:pt x="553" y="789"/>
                  </a:lnTo>
                  <a:lnTo>
                    <a:pt x="564" y="768"/>
                  </a:lnTo>
                  <a:lnTo>
                    <a:pt x="576" y="747"/>
                  </a:lnTo>
                  <a:lnTo>
                    <a:pt x="589" y="726"/>
                  </a:lnTo>
                  <a:lnTo>
                    <a:pt x="603" y="707"/>
                  </a:lnTo>
                  <a:lnTo>
                    <a:pt x="617" y="688"/>
                  </a:lnTo>
                  <a:lnTo>
                    <a:pt x="633" y="669"/>
                  </a:lnTo>
                  <a:lnTo>
                    <a:pt x="651" y="651"/>
                  </a:lnTo>
                  <a:lnTo>
                    <a:pt x="668" y="635"/>
                  </a:lnTo>
                  <a:lnTo>
                    <a:pt x="686" y="619"/>
                  </a:lnTo>
                  <a:lnTo>
                    <a:pt x="705" y="604"/>
                  </a:lnTo>
                  <a:lnTo>
                    <a:pt x="725" y="590"/>
                  </a:lnTo>
                  <a:lnTo>
                    <a:pt x="745" y="577"/>
                  </a:lnTo>
                  <a:lnTo>
                    <a:pt x="766" y="564"/>
                  </a:lnTo>
                  <a:lnTo>
                    <a:pt x="787" y="553"/>
                  </a:lnTo>
                  <a:lnTo>
                    <a:pt x="811" y="543"/>
                  </a:lnTo>
                  <a:lnTo>
                    <a:pt x="833" y="534"/>
                  </a:lnTo>
                  <a:lnTo>
                    <a:pt x="856" y="526"/>
                  </a:lnTo>
                  <a:lnTo>
                    <a:pt x="880" y="520"/>
                  </a:lnTo>
                  <a:lnTo>
                    <a:pt x="904" y="514"/>
                  </a:lnTo>
                  <a:lnTo>
                    <a:pt x="929" y="510"/>
                  </a:lnTo>
                  <a:lnTo>
                    <a:pt x="954" y="507"/>
                  </a:lnTo>
                  <a:lnTo>
                    <a:pt x="980" y="505"/>
                  </a:lnTo>
                  <a:lnTo>
                    <a:pt x="1006" y="504"/>
                  </a:lnTo>
                  <a:close/>
                  <a:moveTo>
                    <a:pt x="0" y="1008"/>
                  </a:moveTo>
                  <a:lnTo>
                    <a:pt x="2" y="1060"/>
                  </a:lnTo>
                  <a:lnTo>
                    <a:pt x="5" y="1111"/>
                  </a:lnTo>
                  <a:lnTo>
                    <a:pt x="12" y="1161"/>
                  </a:lnTo>
                  <a:lnTo>
                    <a:pt x="21" y="1211"/>
                  </a:lnTo>
                  <a:lnTo>
                    <a:pt x="32" y="1260"/>
                  </a:lnTo>
                  <a:lnTo>
                    <a:pt x="45" y="1308"/>
                  </a:lnTo>
                  <a:lnTo>
                    <a:pt x="61" y="1355"/>
                  </a:lnTo>
                  <a:lnTo>
                    <a:pt x="79" y="1400"/>
                  </a:lnTo>
                  <a:lnTo>
                    <a:pt x="99" y="1445"/>
                  </a:lnTo>
                  <a:lnTo>
                    <a:pt x="121" y="1488"/>
                  </a:lnTo>
                  <a:lnTo>
                    <a:pt x="146" y="1530"/>
                  </a:lnTo>
                  <a:lnTo>
                    <a:pt x="172" y="1572"/>
                  </a:lnTo>
                  <a:lnTo>
                    <a:pt x="200" y="1611"/>
                  </a:lnTo>
                  <a:lnTo>
                    <a:pt x="230" y="1649"/>
                  </a:lnTo>
                  <a:lnTo>
                    <a:pt x="261" y="1686"/>
                  </a:lnTo>
                  <a:lnTo>
                    <a:pt x="294" y="1721"/>
                  </a:lnTo>
                  <a:lnTo>
                    <a:pt x="330" y="1754"/>
                  </a:lnTo>
                  <a:lnTo>
                    <a:pt x="366" y="1785"/>
                  </a:lnTo>
                  <a:lnTo>
                    <a:pt x="404" y="1816"/>
                  </a:lnTo>
                  <a:lnTo>
                    <a:pt x="443" y="1844"/>
                  </a:lnTo>
                  <a:lnTo>
                    <a:pt x="485" y="1870"/>
                  </a:lnTo>
                  <a:lnTo>
                    <a:pt x="527" y="1894"/>
                  </a:lnTo>
                  <a:lnTo>
                    <a:pt x="570" y="1917"/>
                  </a:lnTo>
                  <a:lnTo>
                    <a:pt x="614" y="1937"/>
                  </a:lnTo>
                  <a:lnTo>
                    <a:pt x="661" y="1955"/>
                  </a:lnTo>
                  <a:lnTo>
                    <a:pt x="707" y="1971"/>
                  </a:lnTo>
                  <a:lnTo>
                    <a:pt x="754" y="1984"/>
                  </a:lnTo>
                  <a:lnTo>
                    <a:pt x="803" y="1995"/>
                  </a:lnTo>
                  <a:lnTo>
                    <a:pt x="853" y="2004"/>
                  </a:lnTo>
                  <a:lnTo>
                    <a:pt x="903" y="2011"/>
                  </a:lnTo>
                  <a:lnTo>
                    <a:pt x="954" y="2015"/>
                  </a:lnTo>
                  <a:lnTo>
                    <a:pt x="1006" y="2016"/>
                  </a:lnTo>
                  <a:lnTo>
                    <a:pt x="1057" y="2015"/>
                  </a:lnTo>
                  <a:lnTo>
                    <a:pt x="1108" y="2011"/>
                  </a:lnTo>
                  <a:lnTo>
                    <a:pt x="1159" y="2004"/>
                  </a:lnTo>
                  <a:lnTo>
                    <a:pt x="1208" y="1995"/>
                  </a:lnTo>
                  <a:lnTo>
                    <a:pt x="1257" y="1984"/>
                  </a:lnTo>
                  <a:lnTo>
                    <a:pt x="1304" y="1971"/>
                  </a:lnTo>
                  <a:lnTo>
                    <a:pt x="1352" y="1955"/>
                  </a:lnTo>
                  <a:lnTo>
                    <a:pt x="1397" y="1937"/>
                  </a:lnTo>
                  <a:lnTo>
                    <a:pt x="1441" y="1917"/>
                  </a:lnTo>
                  <a:lnTo>
                    <a:pt x="1485" y="1894"/>
                  </a:lnTo>
                  <a:lnTo>
                    <a:pt x="1527" y="1870"/>
                  </a:lnTo>
                  <a:lnTo>
                    <a:pt x="1568" y="1844"/>
                  </a:lnTo>
                  <a:lnTo>
                    <a:pt x="1607" y="1816"/>
                  </a:lnTo>
                  <a:lnTo>
                    <a:pt x="1645" y="1785"/>
                  </a:lnTo>
                  <a:lnTo>
                    <a:pt x="1682" y="1754"/>
                  </a:lnTo>
                  <a:lnTo>
                    <a:pt x="1717" y="1721"/>
                  </a:lnTo>
                  <a:lnTo>
                    <a:pt x="1750" y="1686"/>
                  </a:lnTo>
                  <a:lnTo>
                    <a:pt x="1782" y="1649"/>
                  </a:lnTo>
                  <a:lnTo>
                    <a:pt x="1811" y="1611"/>
                  </a:lnTo>
                  <a:lnTo>
                    <a:pt x="1840" y="1572"/>
                  </a:lnTo>
                  <a:lnTo>
                    <a:pt x="1866" y="1530"/>
                  </a:lnTo>
                  <a:lnTo>
                    <a:pt x="1890" y="1488"/>
                  </a:lnTo>
                  <a:lnTo>
                    <a:pt x="1912" y="1445"/>
                  </a:lnTo>
                  <a:lnTo>
                    <a:pt x="1932" y="1400"/>
                  </a:lnTo>
                  <a:lnTo>
                    <a:pt x="1950" y="1355"/>
                  </a:lnTo>
                  <a:lnTo>
                    <a:pt x="1966" y="1308"/>
                  </a:lnTo>
                  <a:lnTo>
                    <a:pt x="1980" y="1260"/>
                  </a:lnTo>
                  <a:lnTo>
                    <a:pt x="1992" y="1211"/>
                  </a:lnTo>
                  <a:lnTo>
                    <a:pt x="2001" y="1161"/>
                  </a:lnTo>
                  <a:lnTo>
                    <a:pt x="2007" y="1111"/>
                  </a:lnTo>
                  <a:lnTo>
                    <a:pt x="2011" y="1060"/>
                  </a:lnTo>
                  <a:lnTo>
                    <a:pt x="2012" y="1008"/>
                  </a:lnTo>
                  <a:lnTo>
                    <a:pt x="2011" y="957"/>
                  </a:lnTo>
                  <a:lnTo>
                    <a:pt x="2007" y="905"/>
                  </a:lnTo>
                  <a:lnTo>
                    <a:pt x="2001" y="855"/>
                  </a:lnTo>
                  <a:lnTo>
                    <a:pt x="1992" y="805"/>
                  </a:lnTo>
                  <a:lnTo>
                    <a:pt x="1980" y="756"/>
                  </a:lnTo>
                  <a:lnTo>
                    <a:pt x="1966" y="709"/>
                  </a:lnTo>
                  <a:lnTo>
                    <a:pt x="1950" y="661"/>
                  </a:lnTo>
                  <a:lnTo>
                    <a:pt x="1932" y="616"/>
                  </a:lnTo>
                  <a:lnTo>
                    <a:pt x="1912" y="572"/>
                  </a:lnTo>
                  <a:lnTo>
                    <a:pt x="1890" y="528"/>
                  </a:lnTo>
                  <a:lnTo>
                    <a:pt x="1866" y="486"/>
                  </a:lnTo>
                  <a:lnTo>
                    <a:pt x="1840" y="445"/>
                  </a:lnTo>
                  <a:lnTo>
                    <a:pt x="1811" y="405"/>
                  </a:lnTo>
                  <a:lnTo>
                    <a:pt x="1782" y="367"/>
                  </a:lnTo>
                  <a:lnTo>
                    <a:pt x="1750" y="331"/>
                  </a:lnTo>
                  <a:lnTo>
                    <a:pt x="1717" y="295"/>
                  </a:lnTo>
                  <a:lnTo>
                    <a:pt x="1682" y="262"/>
                  </a:lnTo>
                  <a:lnTo>
                    <a:pt x="1645" y="231"/>
                  </a:lnTo>
                  <a:lnTo>
                    <a:pt x="1607" y="201"/>
                  </a:lnTo>
                  <a:lnTo>
                    <a:pt x="1568" y="172"/>
                  </a:lnTo>
                  <a:lnTo>
                    <a:pt x="1527" y="146"/>
                  </a:lnTo>
                  <a:lnTo>
                    <a:pt x="1485" y="122"/>
                  </a:lnTo>
                  <a:lnTo>
                    <a:pt x="1441" y="100"/>
                  </a:lnTo>
                  <a:lnTo>
                    <a:pt x="1397" y="80"/>
                  </a:lnTo>
                  <a:lnTo>
                    <a:pt x="1352" y="61"/>
                  </a:lnTo>
                  <a:lnTo>
                    <a:pt x="1304" y="45"/>
                  </a:lnTo>
                  <a:lnTo>
                    <a:pt x="1257" y="31"/>
                  </a:lnTo>
                  <a:lnTo>
                    <a:pt x="1208" y="20"/>
                  </a:lnTo>
                  <a:lnTo>
                    <a:pt x="1159" y="11"/>
                  </a:lnTo>
                  <a:lnTo>
                    <a:pt x="1108" y="5"/>
                  </a:lnTo>
                  <a:lnTo>
                    <a:pt x="1057" y="1"/>
                  </a:lnTo>
                  <a:lnTo>
                    <a:pt x="1006" y="0"/>
                  </a:lnTo>
                  <a:lnTo>
                    <a:pt x="954" y="1"/>
                  </a:lnTo>
                  <a:lnTo>
                    <a:pt x="903" y="5"/>
                  </a:lnTo>
                  <a:lnTo>
                    <a:pt x="853" y="11"/>
                  </a:lnTo>
                  <a:lnTo>
                    <a:pt x="803" y="20"/>
                  </a:lnTo>
                  <a:lnTo>
                    <a:pt x="754" y="31"/>
                  </a:lnTo>
                  <a:lnTo>
                    <a:pt x="707" y="45"/>
                  </a:lnTo>
                  <a:lnTo>
                    <a:pt x="661" y="61"/>
                  </a:lnTo>
                  <a:lnTo>
                    <a:pt x="614" y="80"/>
                  </a:lnTo>
                  <a:lnTo>
                    <a:pt x="570" y="100"/>
                  </a:lnTo>
                  <a:lnTo>
                    <a:pt x="527" y="122"/>
                  </a:lnTo>
                  <a:lnTo>
                    <a:pt x="485" y="146"/>
                  </a:lnTo>
                  <a:lnTo>
                    <a:pt x="443" y="172"/>
                  </a:lnTo>
                  <a:lnTo>
                    <a:pt x="404" y="201"/>
                  </a:lnTo>
                  <a:lnTo>
                    <a:pt x="366" y="231"/>
                  </a:lnTo>
                  <a:lnTo>
                    <a:pt x="330" y="262"/>
                  </a:lnTo>
                  <a:lnTo>
                    <a:pt x="294" y="295"/>
                  </a:lnTo>
                  <a:lnTo>
                    <a:pt x="261" y="331"/>
                  </a:lnTo>
                  <a:lnTo>
                    <a:pt x="230" y="367"/>
                  </a:lnTo>
                  <a:lnTo>
                    <a:pt x="200" y="405"/>
                  </a:lnTo>
                  <a:lnTo>
                    <a:pt x="172" y="445"/>
                  </a:lnTo>
                  <a:lnTo>
                    <a:pt x="146" y="486"/>
                  </a:lnTo>
                  <a:lnTo>
                    <a:pt x="121" y="528"/>
                  </a:lnTo>
                  <a:lnTo>
                    <a:pt x="99" y="572"/>
                  </a:lnTo>
                  <a:lnTo>
                    <a:pt x="79" y="616"/>
                  </a:lnTo>
                  <a:lnTo>
                    <a:pt x="61" y="661"/>
                  </a:lnTo>
                  <a:lnTo>
                    <a:pt x="45" y="709"/>
                  </a:lnTo>
                  <a:lnTo>
                    <a:pt x="32" y="756"/>
                  </a:lnTo>
                  <a:lnTo>
                    <a:pt x="21" y="805"/>
                  </a:lnTo>
                  <a:lnTo>
                    <a:pt x="12" y="855"/>
                  </a:lnTo>
                  <a:lnTo>
                    <a:pt x="5" y="905"/>
                  </a:lnTo>
                  <a:lnTo>
                    <a:pt x="2" y="957"/>
                  </a:lnTo>
                  <a:lnTo>
                    <a:pt x="0" y="10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62" name="íṥļiḍé">
              <a:extLst>
                <a:ext uri="{FF2B5EF4-FFF2-40B4-BE49-F238E27FC236}">
                  <a16:creationId xmlns:a16="http://schemas.microsoft.com/office/drawing/2014/main" id="{51B307E8-A992-4EBE-AFCC-93B57929C394}"/>
                </a:ext>
              </a:extLst>
            </p:cNvPr>
            <p:cNvSpPr/>
            <p:nvPr/>
          </p:nvSpPr>
          <p:spPr bwMode="auto">
            <a:xfrm>
              <a:off x="4327802" y="903599"/>
              <a:ext cx="38070" cy="38070"/>
            </a:xfrm>
            <a:custGeom>
              <a:avLst/>
              <a:gdLst>
                <a:gd name="T0" fmla="*/ 554 w 1006"/>
                <a:gd name="T1" fmla="*/ 1005 h 1008"/>
                <a:gd name="T2" fmla="*/ 628 w 1006"/>
                <a:gd name="T3" fmla="*/ 992 h 1008"/>
                <a:gd name="T4" fmla="*/ 699 w 1006"/>
                <a:gd name="T5" fmla="*/ 969 h 1008"/>
                <a:gd name="T6" fmla="*/ 763 w 1006"/>
                <a:gd name="T7" fmla="*/ 935 h 1008"/>
                <a:gd name="T8" fmla="*/ 822 w 1006"/>
                <a:gd name="T9" fmla="*/ 893 h 1008"/>
                <a:gd name="T10" fmla="*/ 875 w 1006"/>
                <a:gd name="T11" fmla="*/ 843 h 1008"/>
                <a:gd name="T12" fmla="*/ 920 w 1006"/>
                <a:gd name="T13" fmla="*/ 786 h 1008"/>
                <a:gd name="T14" fmla="*/ 956 w 1006"/>
                <a:gd name="T15" fmla="*/ 723 h 1008"/>
                <a:gd name="T16" fmla="*/ 983 w 1006"/>
                <a:gd name="T17" fmla="*/ 654 h 1008"/>
                <a:gd name="T18" fmla="*/ 1000 w 1006"/>
                <a:gd name="T19" fmla="*/ 581 h 1008"/>
                <a:gd name="T20" fmla="*/ 1006 w 1006"/>
                <a:gd name="T21" fmla="*/ 504 h 1008"/>
                <a:gd name="T22" fmla="*/ 1000 w 1006"/>
                <a:gd name="T23" fmla="*/ 427 h 1008"/>
                <a:gd name="T24" fmla="*/ 983 w 1006"/>
                <a:gd name="T25" fmla="*/ 354 h 1008"/>
                <a:gd name="T26" fmla="*/ 956 w 1006"/>
                <a:gd name="T27" fmla="*/ 285 h 1008"/>
                <a:gd name="T28" fmla="*/ 920 w 1006"/>
                <a:gd name="T29" fmla="*/ 222 h 1008"/>
                <a:gd name="T30" fmla="*/ 875 w 1006"/>
                <a:gd name="T31" fmla="*/ 165 h 1008"/>
                <a:gd name="T32" fmla="*/ 822 w 1006"/>
                <a:gd name="T33" fmla="*/ 115 h 1008"/>
                <a:gd name="T34" fmla="*/ 763 w 1006"/>
                <a:gd name="T35" fmla="*/ 72 h 1008"/>
                <a:gd name="T36" fmla="*/ 699 w 1006"/>
                <a:gd name="T37" fmla="*/ 39 h 1008"/>
                <a:gd name="T38" fmla="*/ 628 w 1006"/>
                <a:gd name="T39" fmla="*/ 16 h 1008"/>
                <a:gd name="T40" fmla="*/ 554 w 1006"/>
                <a:gd name="T41" fmla="*/ 3 h 1008"/>
                <a:gd name="T42" fmla="*/ 476 w 1006"/>
                <a:gd name="T43" fmla="*/ 1 h 1008"/>
                <a:gd name="T44" fmla="*/ 401 w 1006"/>
                <a:gd name="T45" fmla="*/ 10 h 1008"/>
                <a:gd name="T46" fmla="*/ 330 w 1006"/>
                <a:gd name="T47" fmla="*/ 30 h 1008"/>
                <a:gd name="T48" fmla="*/ 263 w 1006"/>
                <a:gd name="T49" fmla="*/ 60 h 1008"/>
                <a:gd name="T50" fmla="*/ 202 w 1006"/>
                <a:gd name="T51" fmla="*/ 100 h 1008"/>
                <a:gd name="T52" fmla="*/ 147 w 1006"/>
                <a:gd name="T53" fmla="*/ 147 h 1008"/>
                <a:gd name="T54" fmla="*/ 99 w 1006"/>
                <a:gd name="T55" fmla="*/ 202 h 1008"/>
                <a:gd name="T56" fmla="*/ 61 w 1006"/>
                <a:gd name="T57" fmla="*/ 264 h 1008"/>
                <a:gd name="T58" fmla="*/ 30 w 1006"/>
                <a:gd name="T59" fmla="*/ 330 h 1008"/>
                <a:gd name="T60" fmla="*/ 10 w 1006"/>
                <a:gd name="T61" fmla="*/ 402 h 1008"/>
                <a:gd name="T62" fmla="*/ 1 w 1006"/>
                <a:gd name="T63" fmla="*/ 478 h 1008"/>
                <a:gd name="T64" fmla="*/ 3 w 1006"/>
                <a:gd name="T65" fmla="*/ 555 h 1008"/>
                <a:gd name="T66" fmla="*/ 16 w 1006"/>
                <a:gd name="T67" fmla="*/ 630 h 1008"/>
                <a:gd name="T68" fmla="*/ 39 w 1006"/>
                <a:gd name="T69" fmla="*/ 700 h 1008"/>
                <a:gd name="T70" fmla="*/ 73 w 1006"/>
                <a:gd name="T71" fmla="*/ 765 h 1008"/>
                <a:gd name="T72" fmla="*/ 114 w 1006"/>
                <a:gd name="T73" fmla="*/ 824 h 1008"/>
                <a:gd name="T74" fmla="*/ 165 w 1006"/>
                <a:gd name="T75" fmla="*/ 877 h 1008"/>
                <a:gd name="T76" fmla="*/ 222 w 1006"/>
                <a:gd name="T77" fmla="*/ 922 h 1008"/>
                <a:gd name="T78" fmla="*/ 284 w 1006"/>
                <a:gd name="T79" fmla="*/ 959 h 1008"/>
                <a:gd name="T80" fmla="*/ 353 w 1006"/>
                <a:gd name="T81" fmla="*/ 985 h 1008"/>
                <a:gd name="T82" fmla="*/ 426 w 1006"/>
                <a:gd name="T83" fmla="*/ 1002 h 1008"/>
                <a:gd name="T84" fmla="*/ 503 w 1006"/>
                <a:gd name="T85" fmla="*/ 1008 h 1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" h="1008">
                  <a:moveTo>
                    <a:pt x="503" y="1008"/>
                  </a:moveTo>
                  <a:lnTo>
                    <a:pt x="529" y="1007"/>
                  </a:lnTo>
                  <a:lnTo>
                    <a:pt x="554" y="1005"/>
                  </a:lnTo>
                  <a:lnTo>
                    <a:pt x="579" y="1002"/>
                  </a:lnTo>
                  <a:lnTo>
                    <a:pt x="604" y="998"/>
                  </a:lnTo>
                  <a:lnTo>
                    <a:pt x="628" y="992"/>
                  </a:lnTo>
                  <a:lnTo>
                    <a:pt x="652" y="985"/>
                  </a:lnTo>
                  <a:lnTo>
                    <a:pt x="676" y="978"/>
                  </a:lnTo>
                  <a:lnTo>
                    <a:pt x="699" y="969"/>
                  </a:lnTo>
                  <a:lnTo>
                    <a:pt x="721" y="959"/>
                  </a:lnTo>
                  <a:lnTo>
                    <a:pt x="742" y="948"/>
                  </a:lnTo>
                  <a:lnTo>
                    <a:pt x="763" y="935"/>
                  </a:lnTo>
                  <a:lnTo>
                    <a:pt x="784" y="922"/>
                  </a:lnTo>
                  <a:lnTo>
                    <a:pt x="803" y="908"/>
                  </a:lnTo>
                  <a:lnTo>
                    <a:pt x="822" y="893"/>
                  </a:lnTo>
                  <a:lnTo>
                    <a:pt x="841" y="877"/>
                  </a:lnTo>
                  <a:lnTo>
                    <a:pt x="859" y="861"/>
                  </a:lnTo>
                  <a:lnTo>
                    <a:pt x="875" y="843"/>
                  </a:lnTo>
                  <a:lnTo>
                    <a:pt x="891" y="824"/>
                  </a:lnTo>
                  <a:lnTo>
                    <a:pt x="906" y="805"/>
                  </a:lnTo>
                  <a:lnTo>
                    <a:pt x="920" y="786"/>
                  </a:lnTo>
                  <a:lnTo>
                    <a:pt x="933" y="765"/>
                  </a:lnTo>
                  <a:lnTo>
                    <a:pt x="945" y="744"/>
                  </a:lnTo>
                  <a:lnTo>
                    <a:pt x="956" y="723"/>
                  </a:lnTo>
                  <a:lnTo>
                    <a:pt x="966" y="700"/>
                  </a:lnTo>
                  <a:lnTo>
                    <a:pt x="975" y="677"/>
                  </a:lnTo>
                  <a:lnTo>
                    <a:pt x="983" y="654"/>
                  </a:lnTo>
                  <a:lnTo>
                    <a:pt x="989" y="630"/>
                  </a:lnTo>
                  <a:lnTo>
                    <a:pt x="996" y="606"/>
                  </a:lnTo>
                  <a:lnTo>
                    <a:pt x="1000" y="581"/>
                  </a:lnTo>
                  <a:lnTo>
                    <a:pt x="1004" y="555"/>
                  </a:lnTo>
                  <a:lnTo>
                    <a:pt x="1006" y="530"/>
                  </a:lnTo>
                  <a:lnTo>
                    <a:pt x="1006" y="504"/>
                  </a:lnTo>
                  <a:lnTo>
                    <a:pt x="1006" y="478"/>
                  </a:lnTo>
                  <a:lnTo>
                    <a:pt x="1004" y="452"/>
                  </a:lnTo>
                  <a:lnTo>
                    <a:pt x="1000" y="427"/>
                  </a:lnTo>
                  <a:lnTo>
                    <a:pt x="996" y="402"/>
                  </a:lnTo>
                  <a:lnTo>
                    <a:pt x="989" y="378"/>
                  </a:lnTo>
                  <a:lnTo>
                    <a:pt x="983" y="354"/>
                  </a:lnTo>
                  <a:lnTo>
                    <a:pt x="975" y="330"/>
                  </a:lnTo>
                  <a:lnTo>
                    <a:pt x="966" y="307"/>
                  </a:lnTo>
                  <a:lnTo>
                    <a:pt x="956" y="285"/>
                  </a:lnTo>
                  <a:lnTo>
                    <a:pt x="945" y="264"/>
                  </a:lnTo>
                  <a:lnTo>
                    <a:pt x="933" y="243"/>
                  </a:lnTo>
                  <a:lnTo>
                    <a:pt x="920" y="222"/>
                  </a:lnTo>
                  <a:lnTo>
                    <a:pt x="906" y="202"/>
                  </a:lnTo>
                  <a:lnTo>
                    <a:pt x="891" y="183"/>
                  </a:lnTo>
                  <a:lnTo>
                    <a:pt x="875" y="165"/>
                  </a:lnTo>
                  <a:lnTo>
                    <a:pt x="859" y="147"/>
                  </a:lnTo>
                  <a:lnTo>
                    <a:pt x="841" y="131"/>
                  </a:lnTo>
                  <a:lnTo>
                    <a:pt x="822" y="115"/>
                  </a:lnTo>
                  <a:lnTo>
                    <a:pt x="803" y="100"/>
                  </a:lnTo>
                  <a:lnTo>
                    <a:pt x="784" y="85"/>
                  </a:lnTo>
                  <a:lnTo>
                    <a:pt x="763" y="72"/>
                  </a:lnTo>
                  <a:lnTo>
                    <a:pt x="742" y="60"/>
                  </a:lnTo>
                  <a:lnTo>
                    <a:pt x="721" y="49"/>
                  </a:lnTo>
                  <a:lnTo>
                    <a:pt x="699" y="39"/>
                  </a:lnTo>
                  <a:lnTo>
                    <a:pt x="676" y="30"/>
                  </a:lnTo>
                  <a:lnTo>
                    <a:pt x="652" y="22"/>
                  </a:lnTo>
                  <a:lnTo>
                    <a:pt x="628" y="16"/>
                  </a:lnTo>
                  <a:lnTo>
                    <a:pt x="604" y="10"/>
                  </a:lnTo>
                  <a:lnTo>
                    <a:pt x="579" y="6"/>
                  </a:lnTo>
                  <a:lnTo>
                    <a:pt x="554" y="3"/>
                  </a:lnTo>
                  <a:lnTo>
                    <a:pt x="529" y="1"/>
                  </a:lnTo>
                  <a:lnTo>
                    <a:pt x="503" y="0"/>
                  </a:lnTo>
                  <a:lnTo>
                    <a:pt x="476" y="1"/>
                  </a:lnTo>
                  <a:lnTo>
                    <a:pt x="451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4" y="49"/>
                  </a:lnTo>
                  <a:lnTo>
                    <a:pt x="263" y="60"/>
                  </a:lnTo>
                  <a:lnTo>
                    <a:pt x="242" y="72"/>
                  </a:lnTo>
                  <a:lnTo>
                    <a:pt x="222" y="85"/>
                  </a:lnTo>
                  <a:lnTo>
                    <a:pt x="202" y="100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0" y="165"/>
                  </a:lnTo>
                  <a:lnTo>
                    <a:pt x="114" y="183"/>
                  </a:lnTo>
                  <a:lnTo>
                    <a:pt x="99" y="202"/>
                  </a:lnTo>
                  <a:lnTo>
                    <a:pt x="86" y="222"/>
                  </a:lnTo>
                  <a:lnTo>
                    <a:pt x="73" y="243"/>
                  </a:lnTo>
                  <a:lnTo>
                    <a:pt x="61" y="264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3" y="354"/>
                  </a:lnTo>
                  <a:lnTo>
                    <a:pt x="16" y="378"/>
                  </a:lnTo>
                  <a:lnTo>
                    <a:pt x="10" y="402"/>
                  </a:lnTo>
                  <a:lnTo>
                    <a:pt x="6" y="427"/>
                  </a:lnTo>
                  <a:lnTo>
                    <a:pt x="3" y="452"/>
                  </a:lnTo>
                  <a:lnTo>
                    <a:pt x="1" y="478"/>
                  </a:lnTo>
                  <a:lnTo>
                    <a:pt x="0" y="504"/>
                  </a:lnTo>
                  <a:lnTo>
                    <a:pt x="1" y="530"/>
                  </a:lnTo>
                  <a:lnTo>
                    <a:pt x="3" y="555"/>
                  </a:lnTo>
                  <a:lnTo>
                    <a:pt x="6" y="581"/>
                  </a:lnTo>
                  <a:lnTo>
                    <a:pt x="10" y="606"/>
                  </a:lnTo>
                  <a:lnTo>
                    <a:pt x="16" y="630"/>
                  </a:lnTo>
                  <a:lnTo>
                    <a:pt x="23" y="654"/>
                  </a:lnTo>
                  <a:lnTo>
                    <a:pt x="30" y="677"/>
                  </a:lnTo>
                  <a:lnTo>
                    <a:pt x="39" y="700"/>
                  </a:lnTo>
                  <a:lnTo>
                    <a:pt x="49" y="723"/>
                  </a:lnTo>
                  <a:lnTo>
                    <a:pt x="61" y="744"/>
                  </a:lnTo>
                  <a:lnTo>
                    <a:pt x="73" y="765"/>
                  </a:lnTo>
                  <a:lnTo>
                    <a:pt x="86" y="786"/>
                  </a:lnTo>
                  <a:lnTo>
                    <a:pt x="99" y="805"/>
                  </a:lnTo>
                  <a:lnTo>
                    <a:pt x="114" y="824"/>
                  </a:lnTo>
                  <a:lnTo>
                    <a:pt x="130" y="843"/>
                  </a:lnTo>
                  <a:lnTo>
                    <a:pt x="147" y="861"/>
                  </a:lnTo>
                  <a:lnTo>
                    <a:pt x="165" y="877"/>
                  </a:lnTo>
                  <a:lnTo>
                    <a:pt x="183" y="893"/>
                  </a:lnTo>
                  <a:lnTo>
                    <a:pt x="202" y="908"/>
                  </a:lnTo>
                  <a:lnTo>
                    <a:pt x="222" y="922"/>
                  </a:lnTo>
                  <a:lnTo>
                    <a:pt x="242" y="935"/>
                  </a:lnTo>
                  <a:lnTo>
                    <a:pt x="263" y="948"/>
                  </a:lnTo>
                  <a:lnTo>
                    <a:pt x="284" y="959"/>
                  </a:lnTo>
                  <a:lnTo>
                    <a:pt x="307" y="969"/>
                  </a:lnTo>
                  <a:lnTo>
                    <a:pt x="330" y="978"/>
                  </a:lnTo>
                  <a:lnTo>
                    <a:pt x="353" y="985"/>
                  </a:lnTo>
                  <a:lnTo>
                    <a:pt x="377" y="992"/>
                  </a:lnTo>
                  <a:lnTo>
                    <a:pt x="401" y="998"/>
                  </a:lnTo>
                  <a:lnTo>
                    <a:pt x="426" y="1002"/>
                  </a:lnTo>
                  <a:lnTo>
                    <a:pt x="451" y="1005"/>
                  </a:lnTo>
                  <a:lnTo>
                    <a:pt x="476" y="1007"/>
                  </a:lnTo>
                  <a:lnTo>
                    <a:pt x="503" y="10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63" name="ïŝļiďe">
              <a:extLst>
                <a:ext uri="{FF2B5EF4-FFF2-40B4-BE49-F238E27FC236}">
                  <a16:creationId xmlns:a16="http://schemas.microsoft.com/office/drawing/2014/main" id="{087B3740-D44C-4155-96E8-651F3E22CAA3}"/>
                </a:ext>
              </a:extLst>
            </p:cNvPr>
            <p:cNvSpPr/>
            <p:nvPr/>
          </p:nvSpPr>
          <p:spPr bwMode="auto">
            <a:xfrm>
              <a:off x="4635176" y="614555"/>
              <a:ext cx="38070" cy="39479"/>
            </a:xfrm>
            <a:custGeom>
              <a:avLst/>
              <a:gdLst>
                <a:gd name="T0" fmla="*/ 452 w 1006"/>
                <a:gd name="T1" fmla="*/ 3 h 1008"/>
                <a:gd name="T2" fmla="*/ 377 w 1006"/>
                <a:gd name="T3" fmla="*/ 16 h 1008"/>
                <a:gd name="T4" fmla="*/ 307 w 1006"/>
                <a:gd name="T5" fmla="*/ 39 h 1008"/>
                <a:gd name="T6" fmla="*/ 243 w 1006"/>
                <a:gd name="T7" fmla="*/ 72 h 1008"/>
                <a:gd name="T8" fmla="*/ 183 w 1006"/>
                <a:gd name="T9" fmla="*/ 115 h 1008"/>
                <a:gd name="T10" fmla="*/ 131 w 1006"/>
                <a:gd name="T11" fmla="*/ 165 h 1008"/>
                <a:gd name="T12" fmla="*/ 86 w 1006"/>
                <a:gd name="T13" fmla="*/ 222 h 1008"/>
                <a:gd name="T14" fmla="*/ 49 w 1006"/>
                <a:gd name="T15" fmla="*/ 285 h 1008"/>
                <a:gd name="T16" fmla="*/ 22 w 1006"/>
                <a:gd name="T17" fmla="*/ 354 h 1008"/>
                <a:gd name="T18" fmla="*/ 6 w 1006"/>
                <a:gd name="T19" fmla="*/ 427 h 1008"/>
                <a:gd name="T20" fmla="*/ 0 w 1006"/>
                <a:gd name="T21" fmla="*/ 504 h 1008"/>
                <a:gd name="T22" fmla="*/ 6 w 1006"/>
                <a:gd name="T23" fmla="*/ 581 h 1008"/>
                <a:gd name="T24" fmla="*/ 22 w 1006"/>
                <a:gd name="T25" fmla="*/ 654 h 1008"/>
                <a:gd name="T26" fmla="*/ 49 w 1006"/>
                <a:gd name="T27" fmla="*/ 723 h 1008"/>
                <a:gd name="T28" fmla="*/ 86 w 1006"/>
                <a:gd name="T29" fmla="*/ 786 h 1008"/>
                <a:gd name="T30" fmla="*/ 131 w 1006"/>
                <a:gd name="T31" fmla="*/ 843 h 1008"/>
                <a:gd name="T32" fmla="*/ 183 w 1006"/>
                <a:gd name="T33" fmla="*/ 893 h 1008"/>
                <a:gd name="T34" fmla="*/ 243 w 1006"/>
                <a:gd name="T35" fmla="*/ 936 h 1008"/>
                <a:gd name="T36" fmla="*/ 307 w 1006"/>
                <a:gd name="T37" fmla="*/ 969 h 1008"/>
                <a:gd name="T38" fmla="*/ 377 w 1006"/>
                <a:gd name="T39" fmla="*/ 992 h 1008"/>
                <a:gd name="T40" fmla="*/ 452 w 1006"/>
                <a:gd name="T41" fmla="*/ 1005 h 1008"/>
                <a:gd name="T42" fmla="*/ 529 w 1006"/>
                <a:gd name="T43" fmla="*/ 1007 h 1008"/>
                <a:gd name="T44" fmla="*/ 605 w 1006"/>
                <a:gd name="T45" fmla="*/ 998 h 1008"/>
                <a:gd name="T46" fmla="*/ 676 w 1006"/>
                <a:gd name="T47" fmla="*/ 978 h 1008"/>
                <a:gd name="T48" fmla="*/ 743 w 1006"/>
                <a:gd name="T49" fmla="*/ 948 h 1008"/>
                <a:gd name="T50" fmla="*/ 804 w 1006"/>
                <a:gd name="T51" fmla="*/ 908 h 1008"/>
                <a:gd name="T52" fmla="*/ 858 w 1006"/>
                <a:gd name="T53" fmla="*/ 861 h 1008"/>
                <a:gd name="T54" fmla="*/ 906 w 1006"/>
                <a:gd name="T55" fmla="*/ 805 h 1008"/>
                <a:gd name="T56" fmla="*/ 946 w 1006"/>
                <a:gd name="T57" fmla="*/ 744 h 1008"/>
                <a:gd name="T58" fmla="*/ 976 w 1006"/>
                <a:gd name="T59" fmla="*/ 677 h 1008"/>
                <a:gd name="T60" fmla="*/ 996 w 1006"/>
                <a:gd name="T61" fmla="*/ 606 h 1008"/>
                <a:gd name="T62" fmla="*/ 1005 w 1006"/>
                <a:gd name="T63" fmla="*/ 530 h 1008"/>
                <a:gd name="T64" fmla="*/ 1003 w 1006"/>
                <a:gd name="T65" fmla="*/ 453 h 1008"/>
                <a:gd name="T66" fmla="*/ 990 w 1006"/>
                <a:gd name="T67" fmla="*/ 378 h 1008"/>
                <a:gd name="T68" fmla="*/ 967 w 1006"/>
                <a:gd name="T69" fmla="*/ 307 h 1008"/>
                <a:gd name="T70" fmla="*/ 934 w 1006"/>
                <a:gd name="T71" fmla="*/ 243 h 1008"/>
                <a:gd name="T72" fmla="*/ 891 w 1006"/>
                <a:gd name="T73" fmla="*/ 183 h 1008"/>
                <a:gd name="T74" fmla="*/ 841 w 1006"/>
                <a:gd name="T75" fmla="*/ 131 h 1008"/>
                <a:gd name="T76" fmla="*/ 784 w 1006"/>
                <a:gd name="T77" fmla="*/ 86 h 1008"/>
                <a:gd name="T78" fmla="*/ 721 w 1006"/>
                <a:gd name="T79" fmla="*/ 49 h 1008"/>
                <a:gd name="T80" fmla="*/ 653 w 1006"/>
                <a:gd name="T81" fmla="*/ 22 h 1008"/>
                <a:gd name="T82" fmla="*/ 580 w 1006"/>
                <a:gd name="T83" fmla="*/ 6 h 1008"/>
                <a:gd name="T84" fmla="*/ 503 w 1006"/>
                <a:gd name="T85" fmla="*/ 0 h 1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" h="1008">
                  <a:moveTo>
                    <a:pt x="503" y="0"/>
                  </a:moveTo>
                  <a:lnTo>
                    <a:pt x="477" y="1"/>
                  </a:lnTo>
                  <a:lnTo>
                    <a:pt x="452" y="3"/>
                  </a:lnTo>
                  <a:lnTo>
                    <a:pt x="427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5" y="49"/>
                  </a:lnTo>
                  <a:lnTo>
                    <a:pt x="264" y="60"/>
                  </a:lnTo>
                  <a:lnTo>
                    <a:pt x="243" y="72"/>
                  </a:lnTo>
                  <a:lnTo>
                    <a:pt x="221" y="86"/>
                  </a:lnTo>
                  <a:lnTo>
                    <a:pt x="202" y="100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100" y="203"/>
                  </a:lnTo>
                  <a:lnTo>
                    <a:pt x="86" y="222"/>
                  </a:lnTo>
                  <a:lnTo>
                    <a:pt x="73" y="243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1"/>
                  </a:lnTo>
                  <a:lnTo>
                    <a:pt x="22" y="354"/>
                  </a:lnTo>
                  <a:lnTo>
                    <a:pt x="16" y="378"/>
                  </a:lnTo>
                  <a:lnTo>
                    <a:pt x="10" y="402"/>
                  </a:lnTo>
                  <a:lnTo>
                    <a:pt x="6" y="427"/>
                  </a:lnTo>
                  <a:lnTo>
                    <a:pt x="3" y="453"/>
                  </a:lnTo>
                  <a:lnTo>
                    <a:pt x="1" y="478"/>
                  </a:lnTo>
                  <a:lnTo>
                    <a:pt x="0" y="504"/>
                  </a:lnTo>
                  <a:lnTo>
                    <a:pt x="1" y="530"/>
                  </a:lnTo>
                  <a:lnTo>
                    <a:pt x="3" y="555"/>
                  </a:lnTo>
                  <a:lnTo>
                    <a:pt x="6" y="581"/>
                  </a:lnTo>
                  <a:lnTo>
                    <a:pt x="10" y="606"/>
                  </a:lnTo>
                  <a:lnTo>
                    <a:pt x="16" y="630"/>
                  </a:lnTo>
                  <a:lnTo>
                    <a:pt x="22" y="654"/>
                  </a:lnTo>
                  <a:lnTo>
                    <a:pt x="30" y="677"/>
                  </a:lnTo>
                  <a:lnTo>
                    <a:pt x="39" y="701"/>
                  </a:lnTo>
                  <a:lnTo>
                    <a:pt x="49" y="723"/>
                  </a:lnTo>
                  <a:lnTo>
                    <a:pt x="60" y="744"/>
                  </a:lnTo>
                  <a:lnTo>
                    <a:pt x="73" y="765"/>
                  </a:lnTo>
                  <a:lnTo>
                    <a:pt x="86" y="786"/>
                  </a:lnTo>
                  <a:lnTo>
                    <a:pt x="100" y="805"/>
                  </a:lnTo>
                  <a:lnTo>
                    <a:pt x="115" y="825"/>
                  </a:lnTo>
                  <a:lnTo>
                    <a:pt x="131" y="843"/>
                  </a:lnTo>
                  <a:lnTo>
                    <a:pt x="147" y="861"/>
                  </a:lnTo>
                  <a:lnTo>
                    <a:pt x="165" y="877"/>
                  </a:lnTo>
                  <a:lnTo>
                    <a:pt x="183" y="893"/>
                  </a:lnTo>
                  <a:lnTo>
                    <a:pt x="202" y="908"/>
                  </a:lnTo>
                  <a:lnTo>
                    <a:pt x="221" y="922"/>
                  </a:lnTo>
                  <a:lnTo>
                    <a:pt x="243" y="936"/>
                  </a:lnTo>
                  <a:lnTo>
                    <a:pt x="264" y="948"/>
                  </a:lnTo>
                  <a:lnTo>
                    <a:pt x="285" y="959"/>
                  </a:lnTo>
                  <a:lnTo>
                    <a:pt x="307" y="969"/>
                  </a:lnTo>
                  <a:lnTo>
                    <a:pt x="330" y="978"/>
                  </a:lnTo>
                  <a:lnTo>
                    <a:pt x="353" y="986"/>
                  </a:lnTo>
                  <a:lnTo>
                    <a:pt x="377" y="992"/>
                  </a:lnTo>
                  <a:lnTo>
                    <a:pt x="401" y="998"/>
                  </a:lnTo>
                  <a:lnTo>
                    <a:pt x="427" y="1002"/>
                  </a:lnTo>
                  <a:lnTo>
                    <a:pt x="452" y="1005"/>
                  </a:lnTo>
                  <a:lnTo>
                    <a:pt x="477" y="1007"/>
                  </a:lnTo>
                  <a:lnTo>
                    <a:pt x="503" y="1008"/>
                  </a:lnTo>
                  <a:lnTo>
                    <a:pt x="529" y="1007"/>
                  </a:lnTo>
                  <a:lnTo>
                    <a:pt x="554" y="1005"/>
                  </a:lnTo>
                  <a:lnTo>
                    <a:pt x="580" y="1002"/>
                  </a:lnTo>
                  <a:lnTo>
                    <a:pt x="605" y="998"/>
                  </a:lnTo>
                  <a:lnTo>
                    <a:pt x="629" y="992"/>
                  </a:lnTo>
                  <a:lnTo>
                    <a:pt x="653" y="986"/>
                  </a:lnTo>
                  <a:lnTo>
                    <a:pt x="676" y="978"/>
                  </a:lnTo>
                  <a:lnTo>
                    <a:pt x="699" y="969"/>
                  </a:lnTo>
                  <a:lnTo>
                    <a:pt x="721" y="959"/>
                  </a:lnTo>
                  <a:lnTo>
                    <a:pt x="743" y="948"/>
                  </a:lnTo>
                  <a:lnTo>
                    <a:pt x="764" y="936"/>
                  </a:lnTo>
                  <a:lnTo>
                    <a:pt x="784" y="922"/>
                  </a:lnTo>
                  <a:lnTo>
                    <a:pt x="804" y="908"/>
                  </a:lnTo>
                  <a:lnTo>
                    <a:pt x="823" y="893"/>
                  </a:lnTo>
                  <a:lnTo>
                    <a:pt x="841" y="877"/>
                  </a:lnTo>
                  <a:lnTo>
                    <a:pt x="858" y="861"/>
                  </a:lnTo>
                  <a:lnTo>
                    <a:pt x="875" y="843"/>
                  </a:lnTo>
                  <a:lnTo>
                    <a:pt x="891" y="825"/>
                  </a:lnTo>
                  <a:lnTo>
                    <a:pt x="906" y="805"/>
                  </a:lnTo>
                  <a:lnTo>
                    <a:pt x="921" y="786"/>
                  </a:lnTo>
                  <a:lnTo>
                    <a:pt x="934" y="765"/>
                  </a:lnTo>
                  <a:lnTo>
                    <a:pt x="946" y="744"/>
                  </a:lnTo>
                  <a:lnTo>
                    <a:pt x="957" y="723"/>
                  </a:lnTo>
                  <a:lnTo>
                    <a:pt x="967" y="701"/>
                  </a:lnTo>
                  <a:lnTo>
                    <a:pt x="976" y="677"/>
                  </a:lnTo>
                  <a:lnTo>
                    <a:pt x="983" y="654"/>
                  </a:lnTo>
                  <a:lnTo>
                    <a:pt x="990" y="630"/>
                  </a:lnTo>
                  <a:lnTo>
                    <a:pt x="996" y="606"/>
                  </a:lnTo>
                  <a:lnTo>
                    <a:pt x="1000" y="581"/>
                  </a:lnTo>
                  <a:lnTo>
                    <a:pt x="1003" y="555"/>
                  </a:lnTo>
                  <a:lnTo>
                    <a:pt x="1005" y="530"/>
                  </a:lnTo>
                  <a:lnTo>
                    <a:pt x="1006" y="504"/>
                  </a:lnTo>
                  <a:lnTo>
                    <a:pt x="1005" y="478"/>
                  </a:lnTo>
                  <a:lnTo>
                    <a:pt x="1003" y="453"/>
                  </a:lnTo>
                  <a:lnTo>
                    <a:pt x="1000" y="427"/>
                  </a:lnTo>
                  <a:lnTo>
                    <a:pt x="996" y="402"/>
                  </a:lnTo>
                  <a:lnTo>
                    <a:pt x="990" y="378"/>
                  </a:lnTo>
                  <a:lnTo>
                    <a:pt x="983" y="354"/>
                  </a:lnTo>
                  <a:lnTo>
                    <a:pt x="976" y="331"/>
                  </a:lnTo>
                  <a:lnTo>
                    <a:pt x="967" y="307"/>
                  </a:lnTo>
                  <a:lnTo>
                    <a:pt x="957" y="285"/>
                  </a:lnTo>
                  <a:lnTo>
                    <a:pt x="946" y="263"/>
                  </a:lnTo>
                  <a:lnTo>
                    <a:pt x="934" y="243"/>
                  </a:lnTo>
                  <a:lnTo>
                    <a:pt x="921" y="222"/>
                  </a:lnTo>
                  <a:lnTo>
                    <a:pt x="906" y="203"/>
                  </a:lnTo>
                  <a:lnTo>
                    <a:pt x="891" y="183"/>
                  </a:lnTo>
                  <a:lnTo>
                    <a:pt x="875" y="165"/>
                  </a:lnTo>
                  <a:lnTo>
                    <a:pt x="858" y="147"/>
                  </a:lnTo>
                  <a:lnTo>
                    <a:pt x="841" y="131"/>
                  </a:lnTo>
                  <a:lnTo>
                    <a:pt x="823" y="115"/>
                  </a:lnTo>
                  <a:lnTo>
                    <a:pt x="804" y="100"/>
                  </a:lnTo>
                  <a:lnTo>
                    <a:pt x="784" y="86"/>
                  </a:lnTo>
                  <a:lnTo>
                    <a:pt x="764" y="72"/>
                  </a:lnTo>
                  <a:lnTo>
                    <a:pt x="743" y="60"/>
                  </a:lnTo>
                  <a:lnTo>
                    <a:pt x="721" y="49"/>
                  </a:lnTo>
                  <a:lnTo>
                    <a:pt x="699" y="39"/>
                  </a:lnTo>
                  <a:lnTo>
                    <a:pt x="676" y="30"/>
                  </a:lnTo>
                  <a:lnTo>
                    <a:pt x="653" y="22"/>
                  </a:lnTo>
                  <a:lnTo>
                    <a:pt x="629" y="16"/>
                  </a:lnTo>
                  <a:lnTo>
                    <a:pt x="605" y="10"/>
                  </a:lnTo>
                  <a:lnTo>
                    <a:pt x="580" y="6"/>
                  </a:lnTo>
                  <a:lnTo>
                    <a:pt x="554" y="3"/>
                  </a:lnTo>
                  <a:lnTo>
                    <a:pt x="529" y="1"/>
                  </a:lnTo>
                  <a:lnTo>
                    <a:pt x="50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64" name="íşḷiḑé">
              <a:extLst>
                <a:ext uri="{FF2B5EF4-FFF2-40B4-BE49-F238E27FC236}">
                  <a16:creationId xmlns:a16="http://schemas.microsoft.com/office/drawing/2014/main" id="{F483B394-90B8-40E9-AF75-548D4AE0AC00}"/>
                </a:ext>
              </a:extLst>
            </p:cNvPr>
            <p:cNvSpPr/>
            <p:nvPr/>
          </p:nvSpPr>
          <p:spPr bwMode="auto">
            <a:xfrm>
              <a:off x="1717176" y="1164261"/>
              <a:ext cx="404561" cy="303888"/>
            </a:xfrm>
            <a:custGeom>
              <a:avLst/>
              <a:gdLst>
                <a:gd name="T0" fmla="*/ 3355 w 16058"/>
                <a:gd name="T1" fmla="*/ 1202 h 12062"/>
                <a:gd name="T2" fmla="*/ 12900 w 16058"/>
                <a:gd name="T3" fmla="*/ 3520 h 12062"/>
                <a:gd name="T4" fmla="*/ 6375 w 16058"/>
                <a:gd name="T5" fmla="*/ 9292 h 12062"/>
                <a:gd name="T6" fmla="*/ 7499 w 16058"/>
                <a:gd name="T7" fmla="*/ 10191 h 12062"/>
                <a:gd name="T8" fmla="*/ 3867 w 16058"/>
                <a:gd name="T9" fmla="*/ 3520 h 12062"/>
                <a:gd name="T10" fmla="*/ 4867 w 16058"/>
                <a:gd name="T11" fmla="*/ 1808 h 12062"/>
                <a:gd name="T12" fmla="*/ 10392 w 16058"/>
                <a:gd name="T13" fmla="*/ 1006 h 12062"/>
                <a:gd name="T14" fmla="*/ 11161 w 16058"/>
                <a:gd name="T15" fmla="*/ 2489 h 12062"/>
                <a:gd name="T16" fmla="*/ 8559 w 16058"/>
                <a:gd name="T17" fmla="*/ 10191 h 12062"/>
                <a:gd name="T18" fmla="*/ 9279 w 16058"/>
                <a:gd name="T19" fmla="*/ 4022 h 12062"/>
                <a:gd name="T20" fmla="*/ 6524 w 16058"/>
                <a:gd name="T21" fmla="*/ 3192 h 12062"/>
                <a:gd name="T22" fmla="*/ 8421 w 16058"/>
                <a:gd name="T23" fmla="*/ 2263 h 12062"/>
                <a:gd name="T24" fmla="*/ 15764 w 16058"/>
                <a:gd name="T25" fmla="*/ 2849 h 12062"/>
                <a:gd name="T26" fmla="*/ 13141 w 16058"/>
                <a:gd name="T27" fmla="*/ 228 h 12062"/>
                <a:gd name="T28" fmla="*/ 13041 w 16058"/>
                <a:gd name="T29" fmla="*/ 156 h 12062"/>
                <a:gd name="T30" fmla="*/ 12934 w 16058"/>
                <a:gd name="T31" fmla="*/ 97 h 12062"/>
                <a:gd name="T32" fmla="*/ 12820 w 16058"/>
                <a:gd name="T33" fmla="*/ 51 h 12062"/>
                <a:gd name="T34" fmla="*/ 12702 w 16058"/>
                <a:gd name="T35" fmla="*/ 19 h 12062"/>
                <a:gd name="T36" fmla="*/ 12579 w 16058"/>
                <a:gd name="T37" fmla="*/ 3 h 12062"/>
                <a:gd name="T38" fmla="*/ 3529 w 16058"/>
                <a:gd name="T39" fmla="*/ 0 h 12062"/>
                <a:gd name="T40" fmla="*/ 3405 w 16058"/>
                <a:gd name="T41" fmla="*/ 11 h 12062"/>
                <a:gd name="T42" fmla="*/ 3285 w 16058"/>
                <a:gd name="T43" fmla="*/ 36 h 12062"/>
                <a:gd name="T44" fmla="*/ 3169 w 16058"/>
                <a:gd name="T45" fmla="*/ 76 h 12062"/>
                <a:gd name="T46" fmla="*/ 3059 w 16058"/>
                <a:gd name="T47" fmla="*/ 131 h 12062"/>
                <a:gd name="T48" fmla="*/ 2957 w 16058"/>
                <a:gd name="T49" fmla="*/ 197 h 12062"/>
                <a:gd name="T50" fmla="*/ 2861 w 16058"/>
                <a:gd name="T51" fmla="*/ 278 h 12062"/>
                <a:gd name="T52" fmla="*/ 242 w 16058"/>
                <a:gd name="T53" fmla="*/ 2906 h 12062"/>
                <a:gd name="T54" fmla="*/ 166 w 16058"/>
                <a:gd name="T55" fmla="*/ 3008 h 12062"/>
                <a:gd name="T56" fmla="*/ 103 w 16058"/>
                <a:gd name="T57" fmla="*/ 3116 h 12062"/>
                <a:gd name="T58" fmla="*/ 56 w 16058"/>
                <a:gd name="T59" fmla="*/ 3231 h 12062"/>
                <a:gd name="T60" fmla="*/ 23 w 16058"/>
                <a:gd name="T61" fmla="*/ 3349 h 12062"/>
                <a:gd name="T62" fmla="*/ 5 w 16058"/>
                <a:gd name="T63" fmla="*/ 3469 h 12062"/>
                <a:gd name="T64" fmla="*/ 1 w 16058"/>
                <a:gd name="T65" fmla="*/ 3611 h 12062"/>
                <a:gd name="T66" fmla="*/ 37 w 16058"/>
                <a:gd name="T67" fmla="*/ 3830 h 12062"/>
                <a:gd name="T68" fmla="*/ 90 w 16058"/>
                <a:gd name="T69" fmla="*/ 3978 h 12062"/>
                <a:gd name="T70" fmla="*/ 144 w 16058"/>
                <a:gd name="T71" fmla="*/ 4079 h 12062"/>
                <a:gd name="T72" fmla="*/ 209 w 16058"/>
                <a:gd name="T73" fmla="*/ 4174 h 12062"/>
                <a:gd name="T74" fmla="*/ 7297 w 16058"/>
                <a:gd name="T75" fmla="*/ 11744 h 12062"/>
                <a:gd name="T76" fmla="*/ 7395 w 16058"/>
                <a:gd name="T77" fmla="*/ 11836 h 12062"/>
                <a:gd name="T78" fmla="*/ 7502 w 16058"/>
                <a:gd name="T79" fmla="*/ 11912 h 12062"/>
                <a:gd name="T80" fmla="*/ 7618 w 16058"/>
                <a:gd name="T81" fmla="*/ 11974 h 12062"/>
                <a:gd name="T82" fmla="*/ 7741 w 16058"/>
                <a:gd name="T83" fmla="*/ 12020 h 12062"/>
                <a:gd name="T84" fmla="*/ 7869 w 16058"/>
                <a:gd name="T85" fmla="*/ 12049 h 12062"/>
                <a:gd name="T86" fmla="*/ 8002 w 16058"/>
                <a:gd name="T87" fmla="*/ 12062 h 12062"/>
                <a:gd name="T88" fmla="*/ 8135 w 16058"/>
                <a:gd name="T89" fmla="*/ 12056 h 12062"/>
                <a:gd name="T90" fmla="*/ 8266 w 16058"/>
                <a:gd name="T91" fmla="*/ 12034 h 12062"/>
                <a:gd name="T92" fmla="*/ 8392 w 16058"/>
                <a:gd name="T93" fmla="*/ 11994 h 12062"/>
                <a:gd name="T94" fmla="*/ 8511 w 16058"/>
                <a:gd name="T95" fmla="*/ 11938 h 12062"/>
                <a:gd name="T96" fmla="*/ 8622 w 16058"/>
                <a:gd name="T97" fmla="*/ 11868 h 12062"/>
                <a:gd name="T98" fmla="*/ 8724 w 16058"/>
                <a:gd name="T99" fmla="*/ 11782 h 12062"/>
                <a:gd name="T100" fmla="*/ 15821 w 16058"/>
                <a:gd name="T101" fmla="*/ 4210 h 12062"/>
                <a:gd name="T102" fmla="*/ 15892 w 16058"/>
                <a:gd name="T103" fmla="*/ 4115 h 12062"/>
                <a:gd name="T104" fmla="*/ 15951 w 16058"/>
                <a:gd name="T105" fmla="*/ 4014 h 12062"/>
                <a:gd name="T106" fmla="*/ 15997 w 16058"/>
                <a:gd name="T107" fmla="*/ 3908 h 12062"/>
                <a:gd name="T108" fmla="*/ 16030 w 16058"/>
                <a:gd name="T109" fmla="*/ 3799 h 12062"/>
                <a:gd name="T110" fmla="*/ 16050 w 16058"/>
                <a:gd name="T111" fmla="*/ 3686 h 12062"/>
                <a:gd name="T112" fmla="*/ 16058 w 16058"/>
                <a:gd name="T113" fmla="*/ 3574 h 12062"/>
                <a:gd name="T114" fmla="*/ 16053 w 16058"/>
                <a:gd name="T115" fmla="*/ 3456 h 12062"/>
                <a:gd name="T116" fmla="*/ 16034 w 16058"/>
                <a:gd name="T117" fmla="*/ 3338 h 12062"/>
                <a:gd name="T118" fmla="*/ 16000 w 16058"/>
                <a:gd name="T119" fmla="*/ 3222 h 12062"/>
                <a:gd name="T120" fmla="*/ 15953 w 16058"/>
                <a:gd name="T121" fmla="*/ 3111 h 12062"/>
                <a:gd name="T122" fmla="*/ 15891 w 16058"/>
                <a:gd name="T123" fmla="*/ 3005 h 12062"/>
                <a:gd name="T124" fmla="*/ 15816 w 16058"/>
                <a:gd name="T125" fmla="*/ 2905 h 12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58" h="12062">
                  <a:moveTo>
                    <a:pt x="3355" y="1202"/>
                  </a:moveTo>
                  <a:lnTo>
                    <a:pt x="4509" y="2165"/>
                  </a:lnTo>
                  <a:lnTo>
                    <a:pt x="3157" y="3520"/>
                  </a:lnTo>
                  <a:lnTo>
                    <a:pt x="1007" y="3520"/>
                  </a:lnTo>
                  <a:lnTo>
                    <a:pt x="3355" y="1202"/>
                  </a:lnTo>
                  <a:close/>
                  <a:moveTo>
                    <a:pt x="12900" y="3520"/>
                  </a:moveTo>
                  <a:lnTo>
                    <a:pt x="11549" y="2165"/>
                  </a:lnTo>
                  <a:lnTo>
                    <a:pt x="12702" y="1203"/>
                  </a:lnTo>
                  <a:lnTo>
                    <a:pt x="15013" y="3520"/>
                  </a:lnTo>
                  <a:lnTo>
                    <a:pt x="12900" y="3520"/>
                  </a:lnTo>
                  <a:close/>
                  <a:moveTo>
                    <a:pt x="12837" y="4022"/>
                  </a:moveTo>
                  <a:lnTo>
                    <a:pt x="14621" y="4022"/>
                  </a:lnTo>
                  <a:lnTo>
                    <a:pt x="9682" y="9292"/>
                  </a:lnTo>
                  <a:lnTo>
                    <a:pt x="12837" y="4022"/>
                  </a:lnTo>
                  <a:close/>
                  <a:moveTo>
                    <a:pt x="6375" y="9292"/>
                  </a:moveTo>
                  <a:lnTo>
                    <a:pt x="1438" y="4022"/>
                  </a:lnTo>
                  <a:lnTo>
                    <a:pt x="3221" y="4022"/>
                  </a:lnTo>
                  <a:lnTo>
                    <a:pt x="6375" y="9292"/>
                  </a:lnTo>
                  <a:close/>
                  <a:moveTo>
                    <a:pt x="6268" y="4022"/>
                  </a:moveTo>
                  <a:lnTo>
                    <a:pt x="7499" y="10191"/>
                  </a:lnTo>
                  <a:lnTo>
                    <a:pt x="3806" y="4022"/>
                  </a:lnTo>
                  <a:lnTo>
                    <a:pt x="6268" y="4022"/>
                  </a:lnTo>
                  <a:close/>
                  <a:moveTo>
                    <a:pt x="4897" y="2489"/>
                  </a:moveTo>
                  <a:lnTo>
                    <a:pt x="6132" y="3520"/>
                  </a:lnTo>
                  <a:lnTo>
                    <a:pt x="3867" y="3520"/>
                  </a:lnTo>
                  <a:lnTo>
                    <a:pt x="4897" y="2489"/>
                  </a:lnTo>
                  <a:close/>
                  <a:moveTo>
                    <a:pt x="4867" y="1808"/>
                  </a:moveTo>
                  <a:lnTo>
                    <a:pt x="3905" y="1006"/>
                  </a:lnTo>
                  <a:lnTo>
                    <a:pt x="5666" y="1006"/>
                  </a:lnTo>
                  <a:lnTo>
                    <a:pt x="4867" y="1808"/>
                  </a:lnTo>
                  <a:close/>
                  <a:moveTo>
                    <a:pt x="8029" y="1936"/>
                  </a:moveTo>
                  <a:lnTo>
                    <a:pt x="6915" y="1006"/>
                  </a:lnTo>
                  <a:lnTo>
                    <a:pt x="9143" y="1006"/>
                  </a:lnTo>
                  <a:lnTo>
                    <a:pt x="8029" y="1936"/>
                  </a:lnTo>
                  <a:close/>
                  <a:moveTo>
                    <a:pt x="10392" y="1006"/>
                  </a:moveTo>
                  <a:lnTo>
                    <a:pt x="12154" y="1006"/>
                  </a:lnTo>
                  <a:lnTo>
                    <a:pt x="11192" y="1808"/>
                  </a:lnTo>
                  <a:lnTo>
                    <a:pt x="10392" y="1006"/>
                  </a:lnTo>
                  <a:close/>
                  <a:moveTo>
                    <a:pt x="9926" y="3520"/>
                  </a:moveTo>
                  <a:lnTo>
                    <a:pt x="11161" y="2489"/>
                  </a:lnTo>
                  <a:lnTo>
                    <a:pt x="12190" y="3520"/>
                  </a:lnTo>
                  <a:lnTo>
                    <a:pt x="9926" y="3520"/>
                  </a:lnTo>
                  <a:close/>
                  <a:moveTo>
                    <a:pt x="9790" y="4022"/>
                  </a:moveTo>
                  <a:lnTo>
                    <a:pt x="12252" y="4022"/>
                  </a:lnTo>
                  <a:lnTo>
                    <a:pt x="8559" y="10191"/>
                  </a:lnTo>
                  <a:lnTo>
                    <a:pt x="9790" y="4022"/>
                  </a:lnTo>
                  <a:close/>
                  <a:moveTo>
                    <a:pt x="9279" y="4022"/>
                  </a:moveTo>
                  <a:lnTo>
                    <a:pt x="8029" y="10283"/>
                  </a:lnTo>
                  <a:lnTo>
                    <a:pt x="6779" y="4022"/>
                  </a:lnTo>
                  <a:lnTo>
                    <a:pt x="9279" y="4022"/>
                  </a:lnTo>
                  <a:close/>
                  <a:moveTo>
                    <a:pt x="6524" y="3192"/>
                  </a:moveTo>
                  <a:lnTo>
                    <a:pt x="5253" y="2132"/>
                  </a:lnTo>
                  <a:lnTo>
                    <a:pt x="6266" y="1117"/>
                  </a:lnTo>
                  <a:lnTo>
                    <a:pt x="7637" y="2263"/>
                  </a:lnTo>
                  <a:lnTo>
                    <a:pt x="6524" y="3192"/>
                  </a:lnTo>
                  <a:close/>
                  <a:moveTo>
                    <a:pt x="8421" y="2263"/>
                  </a:moveTo>
                  <a:lnTo>
                    <a:pt x="9792" y="1117"/>
                  </a:lnTo>
                  <a:lnTo>
                    <a:pt x="10806" y="2132"/>
                  </a:lnTo>
                  <a:lnTo>
                    <a:pt x="9534" y="3192"/>
                  </a:lnTo>
                  <a:lnTo>
                    <a:pt x="8421" y="2263"/>
                  </a:lnTo>
                  <a:close/>
                  <a:moveTo>
                    <a:pt x="9143" y="3520"/>
                  </a:moveTo>
                  <a:lnTo>
                    <a:pt x="6915" y="3520"/>
                  </a:lnTo>
                  <a:lnTo>
                    <a:pt x="8029" y="2589"/>
                  </a:lnTo>
                  <a:lnTo>
                    <a:pt x="9143" y="3520"/>
                  </a:lnTo>
                  <a:close/>
                  <a:moveTo>
                    <a:pt x="15764" y="2849"/>
                  </a:moveTo>
                  <a:lnTo>
                    <a:pt x="13215" y="295"/>
                  </a:lnTo>
                  <a:lnTo>
                    <a:pt x="13197" y="278"/>
                  </a:lnTo>
                  <a:lnTo>
                    <a:pt x="13179" y="260"/>
                  </a:lnTo>
                  <a:lnTo>
                    <a:pt x="13160" y="243"/>
                  </a:lnTo>
                  <a:lnTo>
                    <a:pt x="13141" y="228"/>
                  </a:lnTo>
                  <a:lnTo>
                    <a:pt x="13121" y="212"/>
                  </a:lnTo>
                  <a:lnTo>
                    <a:pt x="13102" y="197"/>
                  </a:lnTo>
                  <a:lnTo>
                    <a:pt x="13082" y="183"/>
                  </a:lnTo>
                  <a:lnTo>
                    <a:pt x="13062" y="169"/>
                  </a:lnTo>
                  <a:lnTo>
                    <a:pt x="13041" y="156"/>
                  </a:lnTo>
                  <a:lnTo>
                    <a:pt x="13020" y="143"/>
                  </a:lnTo>
                  <a:lnTo>
                    <a:pt x="12999" y="131"/>
                  </a:lnTo>
                  <a:lnTo>
                    <a:pt x="12978" y="119"/>
                  </a:lnTo>
                  <a:lnTo>
                    <a:pt x="12956" y="108"/>
                  </a:lnTo>
                  <a:lnTo>
                    <a:pt x="12934" y="97"/>
                  </a:lnTo>
                  <a:lnTo>
                    <a:pt x="12912" y="86"/>
                  </a:lnTo>
                  <a:lnTo>
                    <a:pt x="12890" y="76"/>
                  </a:lnTo>
                  <a:lnTo>
                    <a:pt x="12866" y="67"/>
                  </a:lnTo>
                  <a:lnTo>
                    <a:pt x="12843" y="59"/>
                  </a:lnTo>
                  <a:lnTo>
                    <a:pt x="12820" y="51"/>
                  </a:lnTo>
                  <a:lnTo>
                    <a:pt x="12797" y="43"/>
                  </a:lnTo>
                  <a:lnTo>
                    <a:pt x="12773" y="36"/>
                  </a:lnTo>
                  <a:lnTo>
                    <a:pt x="12750" y="30"/>
                  </a:lnTo>
                  <a:lnTo>
                    <a:pt x="12726" y="25"/>
                  </a:lnTo>
                  <a:lnTo>
                    <a:pt x="12702" y="19"/>
                  </a:lnTo>
                  <a:lnTo>
                    <a:pt x="12678" y="15"/>
                  </a:lnTo>
                  <a:lnTo>
                    <a:pt x="12654" y="11"/>
                  </a:lnTo>
                  <a:lnTo>
                    <a:pt x="12629" y="8"/>
                  </a:lnTo>
                  <a:lnTo>
                    <a:pt x="12605" y="5"/>
                  </a:lnTo>
                  <a:lnTo>
                    <a:pt x="12579" y="3"/>
                  </a:lnTo>
                  <a:lnTo>
                    <a:pt x="12555" y="1"/>
                  </a:lnTo>
                  <a:lnTo>
                    <a:pt x="12530" y="0"/>
                  </a:lnTo>
                  <a:lnTo>
                    <a:pt x="12505" y="0"/>
                  </a:lnTo>
                  <a:lnTo>
                    <a:pt x="3554" y="0"/>
                  </a:lnTo>
                  <a:lnTo>
                    <a:pt x="3529" y="0"/>
                  </a:lnTo>
                  <a:lnTo>
                    <a:pt x="3504" y="1"/>
                  </a:lnTo>
                  <a:lnTo>
                    <a:pt x="3480" y="3"/>
                  </a:lnTo>
                  <a:lnTo>
                    <a:pt x="3454" y="5"/>
                  </a:lnTo>
                  <a:lnTo>
                    <a:pt x="3430" y="8"/>
                  </a:lnTo>
                  <a:lnTo>
                    <a:pt x="3405" y="11"/>
                  </a:lnTo>
                  <a:lnTo>
                    <a:pt x="3381" y="15"/>
                  </a:lnTo>
                  <a:lnTo>
                    <a:pt x="3357" y="19"/>
                  </a:lnTo>
                  <a:lnTo>
                    <a:pt x="3333" y="25"/>
                  </a:lnTo>
                  <a:lnTo>
                    <a:pt x="3309" y="30"/>
                  </a:lnTo>
                  <a:lnTo>
                    <a:pt x="3285" y="36"/>
                  </a:lnTo>
                  <a:lnTo>
                    <a:pt x="3262" y="43"/>
                  </a:lnTo>
                  <a:lnTo>
                    <a:pt x="3239" y="51"/>
                  </a:lnTo>
                  <a:lnTo>
                    <a:pt x="3216" y="59"/>
                  </a:lnTo>
                  <a:lnTo>
                    <a:pt x="3193" y="67"/>
                  </a:lnTo>
                  <a:lnTo>
                    <a:pt x="3169" y="76"/>
                  </a:lnTo>
                  <a:lnTo>
                    <a:pt x="3147" y="86"/>
                  </a:lnTo>
                  <a:lnTo>
                    <a:pt x="3124" y="97"/>
                  </a:lnTo>
                  <a:lnTo>
                    <a:pt x="3103" y="108"/>
                  </a:lnTo>
                  <a:lnTo>
                    <a:pt x="3081" y="119"/>
                  </a:lnTo>
                  <a:lnTo>
                    <a:pt x="3059" y="131"/>
                  </a:lnTo>
                  <a:lnTo>
                    <a:pt x="3038" y="143"/>
                  </a:lnTo>
                  <a:lnTo>
                    <a:pt x="3017" y="156"/>
                  </a:lnTo>
                  <a:lnTo>
                    <a:pt x="2997" y="169"/>
                  </a:lnTo>
                  <a:lnTo>
                    <a:pt x="2977" y="183"/>
                  </a:lnTo>
                  <a:lnTo>
                    <a:pt x="2957" y="197"/>
                  </a:lnTo>
                  <a:lnTo>
                    <a:pt x="2937" y="212"/>
                  </a:lnTo>
                  <a:lnTo>
                    <a:pt x="2918" y="228"/>
                  </a:lnTo>
                  <a:lnTo>
                    <a:pt x="2898" y="243"/>
                  </a:lnTo>
                  <a:lnTo>
                    <a:pt x="2880" y="260"/>
                  </a:lnTo>
                  <a:lnTo>
                    <a:pt x="2861" y="278"/>
                  </a:lnTo>
                  <a:lnTo>
                    <a:pt x="2844" y="295"/>
                  </a:lnTo>
                  <a:lnTo>
                    <a:pt x="295" y="2849"/>
                  </a:lnTo>
                  <a:lnTo>
                    <a:pt x="277" y="2868"/>
                  </a:lnTo>
                  <a:lnTo>
                    <a:pt x="259" y="2887"/>
                  </a:lnTo>
                  <a:lnTo>
                    <a:pt x="242" y="2906"/>
                  </a:lnTo>
                  <a:lnTo>
                    <a:pt x="226" y="2926"/>
                  </a:lnTo>
                  <a:lnTo>
                    <a:pt x="210" y="2946"/>
                  </a:lnTo>
                  <a:lnTo>
                    <a:pt x="195" y="2966"/>
                  </a:lnTo>
                  <a:lnTo>
                    <a:pt x="180" y="2987"/>
                  </a:lnTo>
                  <a:lnTo>
                    <a:pt x="166" y="3008"/>
                  </a:lnTo>
                  <a:lnTo>
                    <a:pt x="152" y="3029"/>
                  </a:lnTo>
                  <a:lnTo>
                    <a:pt x="140" y="3051"/>
                  </a:lnTo>
                  <a:lnTo>
                    <a:pt x="126" y="3072"/>
                  </a:lnTo>
                  <a:lnTo>
                    <a:pt x="114" y="3094"/>
                  </a:lnTo>
                  <a:lnTo>
                    <a:pt x="103" y="3116"/>
                  </a:lnTo>
                  <a:lnTo>
                    <a:pt x="93" y="3139"/>
                  </a:lnTo>
                  <a:lnTo>
                    <a:pt x="83" y="3162"/>
                  </a:lnTo>
                  <a:lnTo>
                    <a:pt x="73" y="3185"/>
                  </a:lnTo>
                  <a:lnTo>
                    <a:pt x="64" y="3208"/>
                  </a:lnTo>
                  <a:lnTo>
                    <a:pt x="56" y="3231"/>
                  </a:lnTo>
                  <a:lnTo>
                    <a:pt x="48" y="3254"/>
                  </a:lnTo>
                  <a:lnTo>
                    <a:pt x="41" y="3277"/>
                  </a:lnTo>
                  <a:lnTo>
                    <a:pt x="34" y="3301"/>
                  </a:lnTo>
                  <a:lnTo>
                    <a:pt x="28" y="3324"/>
                  </a:lnTo>
                  <a:lnTo>
                    <a:pt x="23" y="3349"/>
                  </a:lnTo>
                  <a:lnTo>
                    <a:pt x="18" y="3373"/>
                  </a:lnTo>
                  <a:lnTo>
                    <a:pt x="14" y="3397"/>
                  </a:lnTo>
                  <a:lnTo>
                    <a:pt x="10" y="3421"/>
                  </a:lnTo>
                  <a:lnTo>
                    <a:pt x="7" y="3445"/>
                  </a:lnTo>
                  <a:lnTo>
                    <a:pt x="5" y="3469"/>
                  </a:lnTo>
                  <a:lnTo>
                    <a:pt x="3" y="3493"/>
                  </a:lnTo>
                  <a:lnTo>
                    <a:pt x="1" y="3518"/>
                  </a:lnTo>
                  <a:lnTo>
                    <a:pt x="0" y="3543"/>
                  </a:lnTo>
                  <a:lnTo>
                    <a:pt x="0" y="3567"/>
                  </a:lnTo>
                  <a:lnTo>
                    <a:pt x="1" y="3611"/>
                  </a:lnTo>
                  <a:lnTo>
                    <a:pt x="5" y="3655"/>
                  </a:lnTo>
                  <a:lnTo>
                    <a:pt x="10" y="3700"/>
                  </a:lnTo>
                  <a:lnTo>
                    <a:pt x="17" y="3743"/>
                  </a:lnTo>
                  <a:lnTo>
                    <a:pt x="26" y="3787"/>
                  </a:lnTo>
                  <a:lnTo>
                    <a:pt x="37" y="3830"/>
                  </a:lnTo>
                  <a:lnTo>
                    <a:pt x="49" y="3874"/>
                  </a:lnTo>
                  <a:lnTo>
                    <a:pt x="64" y="3916"/>
                  </a:lnTo>
                  <a:lnTo>
                    <a:pt x="72" y="3936"/>
                  </a:lnTo>
                  <a:lnTo>
                    <a:pt x="81" y="3957"/>
                  </a:lnTo>
                  <a:lnTo>
                    <a:pt x="90" y="3978"/>
                  </a:lnTo>
                  <a:lnTo>
                    <a:pt x="100" y="3998"/>
                  </a:lnTo>
                  <a:lnTo>
                    <a:pt x="110" y="4018"/>
                  </a:lnTo>
                  <a:lnTo>
                    <a:pt x="120" y="4039"/>
                  </a:lnTo>
                  <a:lnTo>
                    <a:pt x="132" y="4059"/>
                  </a:lnTo>
                  <a:lnTo>
                    <a:pt x="144" y="4079"/>
                  </a:lnTo>
                  <a:lnTo>
                    <a:pt x="156" y="4099"/>
                  </a:lnTo>
                  <a:lnTo>
                    <a:pt x="169" y="4118"/>
                  </a:lnTo>
                  <a:lnTo>
                    <a:pt x="182" y="4137"/>
                  </a:lnTo>
                  <a:lnTo>
                    <a:pt x="195" y="4156"/>
                  </a:lnTo>
                  <a:lnTo>
                    <a:pt x="209" y="4174"/>
                  </a:lnTo>
                  <a:lnTo>
                    <a:pt x="224" y="4193"/>
                  </a:lnTo>
                  <a:lnTo>
                    <a:pt x="239" y="4211"/>
                  </a:lnTo>
                  <a:lnTo>
                    <a:pt x="254" y="4228"/>
                  </a:lnTo>
                  <a:lnTo>
                    <a:pt x="7278" y="11724"/>
                  </a:lnTo>
                  <a:lnTo>
                    <a:pt x="7297" y="11744"/>
                  </a:lnTo>
                  <a:lnTo>
                    <a:pt x="7315" y="11763"/>
                  </a:lnTo>
                  <a:lnTo>
                    <a:pt x="7334" y="11782"/>
                  </a:lnTo>
                  <a:lnTo>
                    <a:pt x="7354" y="11801"/>
                  </a:lnTo>
                  <a:lnTo>
                    <a:pt x="7374" y="11819"/>
                  </a:lnTo>
                  <a:lnTo>
                    <a:pt x="7395" y="11836"/>
                  </a:lnTo>
                  <a:lnTo>
                    <a:pt x="7415" y="11852"/>
                  </a:lnTo>
                  <a:lnTo>
                    <a:pt x="7436" y="11868"/>
                  </a:lnTo>
                  <a:lnTo>
                    <a:pt x="7458" y="11883"/>
                  </a:lnTo>
                  <a:lnTo>
                    <a:pt x="7480" y="11898"/>
                  </a:lnTo>
                  <a:lnTo>
                    <a:pt x="7502" y="11912"/>
                  </a:lnTo>
                  <a:lnTo>
                    <a:pt x="7524" y="11925"/>
                  </a:lnTo>
                  <a:lnTo>
                    <a:pt x="7547" y="11938"/>
                  </a:lnTo>
                  <a:lnTo>
                    <a:pt x="7570" y="11950"/>
                  </a:lnTo>
                  <a:lnTo>
                    <a:pt x="7594" y="11962"/>
                  </a:lnTo>
                  <a:lnTo>
                    <a:pt x="7618" y="11974"/>
                  </a:lnTo>
                  <a:lnTo>
                    <a:pt x="7642" y="11985"/>
                  </a:lnTo>
                  <a:lnTo>
                    <a:pt x="7667" y="11994"/>
                  </a:lnTo>
                  <a:lnTo>
                    <a:pt x="7691" y="12004"/>
                  </a:lnTo>
                  <a:lnTo>
                    <a:pt x="7716" y="12012"/>
                  </a:lnTo>
                  <a:lnTo>
                    <a:pt x="7741" y="12020"/>
                  </a:lnTo>
                  <a:lnTo>
                    <a:pt x="7766" y="12027"/>
                  </a:lnTo>
                  <a:lnTo>
                    <a:pt x="7792" y="12034"/>
                  </a:lnTo>
                  <a:lnTo>
                    <a:pt x="7817" y="12040"/>
                  </a:lnTo>
                  <a:lnTo>
                    <a:pt x="7843" y="12045"/>
                  </a:lnTo>
                  <a:lnTo>
                    <a:pt x="7869" y="12049"/>
                  </a:lnTo>
                  <a:lnTo>
                    <a:pt x="7896" y="12053"/>
                  </a:lnTo>
                  <a:lnTo>
                    <a:pt x="7923" y="12056"/>
                  </a:lnTo>
                  <a:lnTo>
                    <a:pt x="7949" y="12059"/>
                  </a:lnTo>
                  <a:lnTo>
                    <a:pt x="7976" y="12061"/>
                  </a:lnTo>
                  <a:lnTo>
                    <a:pt x="8002" y="12062"/>
                  </a:lnTo>
                  <a:lnTo>
                    <a:pt x="8029" y="12062"/>
                  </a:lnTo>
                  <a:lnTo>
                    <a:pt x="8056" y="12062"/>
                  </a:lnTo>
                  <a:lnTo>
                    <a:pt x="8082" y="12061"/>
                  </a:lnTo>
                  <a:lnTo>
                    <a:pt x="8109" y="12059"/>
                  </a:lnTo>
                  <a:lnTo>
                    <a:pt x="8135" y="12056"/>
                  </a:lnTo>
                  <a:lnTo>
                    <a:pt x="8162" y="12053"/>
                  </a:lnTo>
                  <a:lnTo>
                    <a:pt x="8189" y="12049"/>
                  </a:lnTo>
                  <a:lnTo>
                    <a:pt x="8215" y="12045"/>
                  </a:lnTo>
                  <a:lnTo>
                    <a:pt x="8241" y="12040"/>
                  </a:lnTo>
                  <a:lnTo>
                    <a:pt x="8266" y="12034"/>
                  </a:lnTo>
                  <a:lnTo>
                    <a:pt x="8292" y="12027"/>
                  </a:lnTo>
                  <a:lnTo>
                    <a:pt x="8317" y="12020"/>
                  </a:lnTo>
                  <a:lnTo>
                    <a:pt x="8342" y="12012"/>
                  </a:lnTo>
                  <a:lnTo>
                    <a:pt x="8367" y="12004"/>
                  </a:lnTo>
                  <a:lnTo>
                    <a:pt x="8392" y="11994"/>
                  </a:lnTo>
                  <a:lnTo>
                    <a:pt x="8416" y="11985"/>
                  </a:lnTo>
                  <a:lnTo>
                    <a:pt x="8440" y="11974"/>
                  </a:lnTo>
                  <a:lnTo>
                    <a:pt x="8465" y="11962"/>
                  </a:lnTo>
                  <a:lnTo>
                    <a:pt x="8488" y="11950"/>
                  </a:lnTo>
                  <a:lnTo>
                    <a:pt x="8511" y="11938"/>
                  </a:lnTo>
                  <a:lnTo>
                    <a:pt x="8534" y="11925"/>
                  </a:lnTo>
                  <a:lnTo>
                    <a:pt x="8557" y="11912"/>
                  </a:lnTo>
                  <a:lnTo>
                    <a:pt x="8579" y="11898"/>
                  </a:lnTo>
                  <a:lnTo>
                    <a:pt x="8601" y="11883"/>
                  </a:lnTo>
                  <a:lnTo>
                    <a:pt x="8622" y="11868"/>
                  </a:lnTo>
                  <a:lnTo>
                    <a:pt x="8643" y="11852"/>
                  </a:lnTo>
                  <a:lnTo>
                    <a:pt x="8664" y="11836"/>
                  </a:lnTo>
                  <a:lnTo>
                    <a:pt x="8684" y="11819"/>
                  </a:lnTo>
                  <a:lnTo>
                    <a:pt x="8704" y="11801"/>
                  </a:lnTo>
                  <a:lnTo>
                    <a:pt x="8724" y="11782"/>
                  </a:lnTo>
                  <a:lnTo>
                    <a:pt x="8743" y="11763"/>
                  </a:lnTo>
                  <a:lnTo>
                    <a:pt x="8762" y="11744"/>
                  </a:lnTo>
                  <a:lnTo>
                    <a:pt x="8780" y="11724"/>
                  </a:lnTo>
                  <a:lnTo>
                    <a:pt x="15805" y="4228"/>
                  </a:lnTo>
                  <a:lnTo>
                    <a:pt x="15821" y="4210"/>
                  </a:lnTo>
                  <a:lnTo>
                    <a:pt x="15836" y="4192"/>
                  </a:lnTo>
                  <a:lnTo>
                    <a:pt x="15851" y="4173"/>
                  </a:lnTo>
                  <a:lnTo>
                    <a:pt x="15865" y="4154"/>
                  </a:lnTo>
                  <a:lnTo>
                    <a:pt x="15878" y="4135"/>
                  </a:lnTo>
                  <a:lnTo>
                    <a:pt x="15892" y="4115"/>
                  </a:lnTo>
                  <a:lnTo>
                    <a:pt x="15904" y="4096"/>
                  </a:lnTo>
                  <a:lnTo>
                    <a:pt x="15917" y="4076"/>
                  </a:lnTo>
                  <a:lnTo>
                    <a:pt x="15929" y="4056"/>
                  </a:lnTo>
                  <a:lnTo>
                    <a:pt x="15940" y="4034"/>
                  </a:lnTo>
                  <a:lnTo>
                    <a:pt x="15951" y="4014"/>
                  </a:lnTo>
                  <a:lnTo>
                    <a:pt x="15961" y="3993"/>
                  </a:lnTo>
                  <a:lnTo>
                    <a:pt x="15971" y="3972"/>
                  </a:lnTo>
                  <a:lnTo>
                    <a:pt x="15980" y="3951"/>
                  </a:lnTo>
                  <a:lnTo>
                    <a:pt x="15989" y="3930"/>
                  </a:lnTo>
                  <a:lnTo>
                    <a:pt x="15997" y="3908"/>
                  </a:lnTo>
                  <a:lnTo>
                    <a:pt x="16004" y="3887"/>
                  </a:lnTo>
                  <a:lnTo>
                    <a:pt x="16011" y="3864"/>
                  </a:lnTo>
                  <a:lnTo>
                    <a:pt x="16018" y="3842"/>
                  </a:lnTo>
                  <a:lnTo>
                    <a:pt x="16024" y="3820"/>
                  </a:lnTo>
                  <a:lnTo>
                    <a:pt x="16030" y="3799"/>
                  </a:lnTo>
                  <a:lnTo>
                    <a:pt x="16035" y="3776"/>
                  </a:lnTo>
                  <a:lnTo>
                    <a:pt x="16039" y="3754"/>
                  </a:lnTo>
                  <a:lnTo>
                    <a:pt x="16044" y="3732"/>
                  </a:lnTo>
                  <a:lnTo>
                    <a:pt x="16047" y="3710"/>
                  </a:lnTo>
                  <a:lnTo>
                    <a:pt x="16050" y="3686"/>
                  </a:lnTo>
                  <a:lnTo>
                    <a:pt x="16053" y="3664"/>
                  </a:lnTo>
                  <a:lnTo>
                    <a:pt x="16055" y="3642"/>
                  </a:lnTo>
                  <a:lnTo>
                    <a:pt x="16056" y="3619"/>
                  </a:lnTo>
                  <a:lnTo>
                    <a:pt x="16057" y="3597"/>
                  </a:lnTo>
                  <a:lnTo>
                    <a:pt x="16058" y="3574"/>
                  </a:lnTo>
                  <a:lnTo>
                    <a:pt x="16058" y="3552"/>
                  </a:lnTo>
                  <a:lnTo>
                    <a:pt x="16057" y="3528"/>
                  </a:lnTo>
                  <a:lnTo>
                    <a:pt x="16056" y="3503"/>
                  </a:lnTo>
                  <a:lnTo>
                    <a:pt x="16055" y="3479"/>
                  </a:lnTo>
                  <a:lnTo>
                    <a:pt x="16053" y="3456"/>
                  </a:lnTo>
                  <a:lnTo>
                    <a:pt x="16050" y="3432"/>
                  </a:lnTo>
                  <a:lnTo>
                    <a:pt x="16047" y="3408"/>
                  </a:lnTo>
                  <a:lnTo>
                    <a:pt x="16043" y="3385"/>
                  </a:lnTo>
                  <a:lnTo>
                    <a:pt x="16039" y="3362"/>
                  </a:lnTo>
                  <a:lnTo>
                    <a:pt x="16034" y="3338"/>
                  </a:lnTo>
                  <a:lnTo>
                    <a:pt x="16028" y="3314"/>
                  </a:lnTo>
                  <a:lnTo>
                    <a:pt x="16022" y="3291"/>
                  </a:lnTo>
                  <a:lnTo>
                    <a:pt x="16015" y="3268"/>
                  </a:lnTo>
                  <a:lnTo>
                    <a:pt x="16008" y="3245"/>
                  </a:lnTo>
                  <a:lnTo>
                    <a:pt x="16000" y="3222"/>
                  </a:lnTo>
                  <a:lnTo>
                    <a:pt x="15992" y="3200"/>
                  </a:lnTo>
                  <a:lnTo>
                    <a:pt x="15983" y="3178"/>
                  </a:lnTo>
                  <a:lnTo>
                    <a:pt x="15974" y="3155"/>
                  </a:lnTo>
                  <a:lnTo>
                    <a:pt x="15964" y="3132"/>
                  </a:lnTo>
                  <a:lnTo>
                    <a:pt x="15953" y="3111"/>
                  </a:lnTo>
                  <a:lnTo>
                    <a:pt x="15942" y="3089"/>
                  </a:lnTo>
                  <a:lnTo>
                    <a:pt x="15930" y="3068"/>
                  </a:lnTo>
                  <a:lnTo>
                    <a:pt x="15917" y="3047"/>
                  </a:lnTo>
                  <a:lnTo>
                    <a:pt x="15904" y="3026"/>
                  </a:lnTo>
                  <a:lnTo>
                    <a:pt x="15891" y="3005"/>
                  </a:lnTo>
                  <a:lnTo>
                    <a:pt x="15877" y="2985"/>
                  </a:lnTo>
                  <a:lnTo>
                    <a:pt x="15863" y="2964"/>
                  </a:lnTo>
                  <a:lnTo>
                    <a:pt x="15848" y="2944"/>
                  </a:lnTo>
                  <a:lnTo>
                    <a:pt x="15832" y="2924"/>
                  </a:lnTo>
                  <a:lnTo>
                    <a:pt x="15816" y="2905"/>
                  </a:lnTo>
                  <a:lnTo>
                    <a:pt x="15799" y="2886"/>
                  </a:lnTo>
                  <a:lnTo>
                    <a:pt x="15782" y="2868"/>
                  </a:lnTo>
                  <a:lnTo>
                    <a:pt x="15764" y="284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65" name="íṣḻîdê">
              <a:extLst>
                <a:ext uri="{FF2B5EF4-FFF2-40B4-BE49-F238E27FC236}">
                  <a16:creationId xmlns:a16="http://schemas.microsoft.com/office/drawing/2014/main" id="{5F337193-5E7A-4971-A33B-4F2E496F9461}"/>
                </a:ext>
              </a:extLst>
            </p:cNvPr>
            <p:cNvSpPr/>
            <p:nvPr/>
          </p:nvSpPr>
          <p:spPr bwMode="auto">
            <a:xfrm>
              <a:off x="1395669" y="1400908"/>
              <a:ext cx="195352" cy="158005"/>
            </a:xfrm>
            <a:custGeom>
              <a:avLst/>
              <a:gdLst>
                <a:gd name="T0" fmla="*/ 7283 w 10058"/>
                <a:gd name="T1" fmla="*/ 7525 h 8158"/>
                <a:gd name="T2" fmla="*/ 5279 w 10058"/>
                <a:gd name="T3" fmla="*/ 7654 h 8158"/>
                <a:gd name="T4" fmla="*/ 3276 w 10058"/>
                <a:gd name="T5" fmla="*/ 7576 h 8158"/>
                <a:gd name="T6" fmla="*/ 1272 w 10058"/>
                <a:gd name="T7" fmla="*/ 7293 h 8158"/>
                <a:gd name="T8" fmla="*/ 666 w 10058"/>
                <a:gd name="T9" fmla="*/ 5859 h 8158"/>
                <a:gd name="T10" fmla="*/ 503 w 10058"/>
                <a:gd name="T11" fmla="*/ 4276 h 8158"/>
                <a:gd name="T12" fmla="*/ 600 w 10058"/>
                <a:gd name="T13" fmla="*/ 2694 h 8158"/>
                <a:gd name="T14" fmla="*/ 959 w 10058"/>
                <a:gd name="T15" fmla="*/ 1111 h 8158"/>
                <a:gd name="T16" fmla="*/ 2775 w 10058"/>
                <a:gd name="T17" fmla="*/ 632 h 8158"/>
                <a:gd name="T18" fmla="*/ 4779 w 10058"/>
                <a:gd name="T19" fmla="*/ 504 h 8158"/>
                <a:gd name="T20" fmla="*/ 6782 w 10058"/>
                <a:gd name="T21" fmla="*/ 581 h 8158"/>
                <a:gd name="T22" fmla="*/ 8786 w 10058"/>
                <a:gd name="T23" fmla="*/ 864 h 8158"/>
                <a:gd name="T24" fmla="*/ 9392 w 10058"/>
                <a:gd name="T25" fmla="*/ 2298 h 8158"/>
                <a:gd name="T26" fmla="*/ 9555 w 10058"/>
                <a:gd name="T27" fmla="*/ 3881 h 8158"/>
                <a:gd name="T28" fmla="*/ 9458 w 10058"/>
                <a:gd name="T29" fmla="*/ 5463 h 8158"/>
                <a:gd name="T30" fmla="*/ 9099 w 10058"/>
                <a:gd name="T31" fmla="*/ 7045 h 8158"/>
                <a:gd name="T32" fmla="*/ 8369 w 10058"/>
                <a:gd name="T33" fmla="*/ 278 h 8158"/>
                <a:gd name="T34" fmla="*/ 7341 w 10058"/>
                <a:gd name="T35" fmla="*/ 133 h 8158"/>
                <a:gd name="T36" fmla="*/ 6311 w 10058"/>
                <a:gd name="T37" fmla="*/ 41 h 8158"/>
                <a:gd name="T38" fmla="*/ 5285 w 10058"/>
                <a:gd name="T39" fmla="*/ 1 h 8158"/>
                <a:gd name="T40" fmla="*/ 4260 w 10058"/>
                <a:gd name="T41" fmla="*/ 14 h 8158"/>
                <a:gd name="T42" fmla="*/ 3232 w 10058"/>
                <a:gd name="T43" fmla="*/ 80 h 8158"/>
                <a:gd name="T44" fmla="*/ 2203 w 10058"/>
                <a:gd name="T45" fmla="*/ 199 h 8158"/>
                <a:gd name="T46" fmla="*/ 1177 w 10058"/>
                <a:gd name="T47" fmla="*/ 370 h 8158"/>
                <a:gd name="T48" fmla="*/ 826 w 10058"/>
                <a:gd name="T49" fmla="*/ 451 h 8158"/>
                <a:gd name="T50" fmla="*/ 713 w 10058"/>
                <a:gd name="T51" fmla="*/ 518 h 8158"/>
                <a:gd name="T52" fmla="*/ 621 w 10058"/>
                <a:gd name="T53" fmla="*/ 610 h 8158"/>
                <a:gd name="T54" fmla="*/ 555 w 10058"/>
                <a:gd name="T55" fmla="*/ 725 h 8158"/>
                <a:gd name="T56" fmla="*/ 212 w 10058"/>
                <a:gd name="T57" fmla="*/ 2000 h 8158"/>
                <a:gd name="T58" fmla="*/ 9 w 10058"/>
                <a:gd name="T59" fmla="*/ 3663 h 8158"/>
                <a:gd name="T60" fmla="*/ 76 w 10058"/>
                <a:gd name="T61" fmla="*/ 5327 h 8158"/>
                <a:gd name="T62" fmla="*/ 416 w 10058"/>
                <a:gd name="T63" fmla="*/ 6987 h 8158"/>
                <a:gd name="T64" fmla="*/ 584 w 10058"/>
                <a:gd name="T65" fmla="*/ 7492 h 8158"/>
                <a:gd name="T66" fmla="*/ 664 w 10058"/>
                <a:gd name="T67" fmla="*/ 7596 h 8158"/>
                <a:gd name="T68" fmla="*/ 766 w 10058"/>
                <a:gd name="T69" fmla="*/ 7676 h 8158"/>
                <a:gd name="T70" fmla="*/ 888 w 10058"/>
                <a:gd name="T71" fmla="*/ 7728 h 8158"/>
                <a:gd name="T72" fmla="*/ 1689 w 10058"/>
                <a:gd name="T73" fmla="*/ 7879 h 8158"/>
                <a:gd name="T74" fmla="*/ 2717 w 10058"/>
                <a:gd name="T75" fmla="*/ 8024 h 8158"/>
                <a:gd name="T76" fmla="*/ 3746 w 10058"/>
                <a:gd name="T77" fmla="*/ 8117 h 8158"/>
                <a:gd name="T78" fmla="*/ 4773 w 10058"/>
                <a:gd name="T79" fmla="*/ 8156 h 8158"/>
                <a:gd name="T80" fmla="*/ 5798 w 10058"/>
                <a:gd name="T81" fmla="*/ 8143 h 8158"/>
                <a:gd name="T82" fmla="*/ 6826 w 10058"/>
                <a:gd name="T83" fmla="*/ 8076 h 8158"/>
                <a:gd name="T84" fmla="*/ 7855 w 10058"/>
                <a:gd name="T85" fmla="*/ 7958 h 8158"/>
                <a:gd name="T86" fmla="*/ 8881 w 10058"/>
                <a:gd name="T87" fmla="*/ 7787 h 8158"/>
                <a:gd name="T88" fmla="*/ 9232 w 10058"/>
                <a:gd name="T89" fmla="*/ 7706 h 8158"/>
                <a:gd name="T90" fmla="*/ 9345 w 10058"/>
                <a:gd name="T91" fmla="*/ 7640 h 8158"/>
                <a:gd name="T92" fmla="*/ 9438 w 10058"/>
                <a:gd name="T93" fmla="*/ 7547 h 8158"/>
                <a:gd name="T94" fmla="*/ 9502 w 10058"/>
                <a:gd name="T95" fmla="*/ 7431 h 8158"/>
                <a:gd name="T96" fmla="*/ 9846 w 10058"/>
                <a:gd name="T97" fmla="*/ 6158 h 8158"/>
                <a:gd name="T98" fmla="*/ 10050 w 10058"/>
                <a:gd name="T99" fmla="*/ 4495 h 8158"/>
                <a:gd name="T100" fmla="*/ 9982 w 10058"/>
                <a:gd name="T101" fmla="*/ 2831 h 8158"/>
                <a:gd name="T102" fmla="*/ 9642 w 10058"/>
                <a:gd name="T103" fmla="*/ 1170 h 8158"/>
                <a:gd name="T104" fmla="*/ 9474 w 10058"/>
                <a:gd name="T105" fmla="*/ 665 h 8158"/>
                <a:gd name="T106" fmla="*/ 9394 w 10058"/>
                <a:gd name="T107" fmla="*/ 561 h 8158"/>
                <a:gd name="T108" fmla="*/ 9292 w 10058"/>
                <a:gd name="T109" fmla="*/ 480 h 8158"/>
                <a:gd name="T110" fmla="*/ 9170 w 10058"/>
                <a:gd name="T111" fmla="*/ 429 h 8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058" h="8158">
                  <a:moveTo>
                    <a:pt x="9036" y="7243"/>
                  </a:moveTo>
                  <a:lnTo>
                    <a:pt x="8786" y="7293"/>
                  </a:lnTo>
                  <a:lnTo>
                    <a:pt x="8535" y="7340"/>
                  </a:lnTo>
                  <a:lnTo>
                    <a:pt x="8285" y="7383"/>
                  </a:lnTo>
                  <a:lnTo>
                    <a:pt x="8034" y="7423"/>
                  </a:lnTo>
                  <a:lnTo>
                    <a:pt x="7784" y="7461"/>
                  </a:lnTo>
                  <a:lnTo>
                    <a:pt x="7533" y="7494"/>
                  </a:lnTo>
                  <a:lnTo>
                    <a:pt x="7283" y="7525"/>
                  </a:lnTo>
                  <a:lnTo>
                    <a:pt x="7032" y="7552"/>
                  </a:lnTo>
                  <a:lnTo>
                    <a:pt x="6782" y="7576"/>
                  </a:lnTo>
                  <a:lnTo>
                    <a:pt x="6531" y="7597"/>
                  </a:lnTo>
                  <a:lnTo>
                    <a:pt x="6281" y="7615"/>
                  </a:lnTo>
                  <a:lnTo>
                    <a:pt x="6030" y="7630"/>
                  </a:lnTo>
                  <a:lnTo>
                    <a:pt x="5780" y="7641"/>
                  </a:lnTo>
                  <a:lnTo>
                    <a:pt x="5530" y="7649"/>
                  </a:lnTo>
                  <a:lnTo>
                    <a:pt x="5279" y="7654"/>
                  </a:lnTo>
                  <a:lnTo>
                    <a:pt x="5029" y="7655"/>
                  </a:lnTo>
                  <a:lnTo>
                    <a:pt x="4779" y="7654"/>
                  </a:lnTo>
                  <a:lnTo>
                    <a:pt x="4529" y="7649"/>
                  </a:lnTo>
                  <a:lnTo>
                    <a:pt x="4278" y="7641"/>
                  </a:lnTo>
                  <a:lnTo>
                    <a:pt x="4028" y="7630"/>
                  </a:lnTo>
                  <a:lnTo>
                    <a:pt x="3777" y="7615"/>
                  </a:lnTo>
                  <a:lnTo>
                    <a:pt x="3527" y="7597"/>
                  </a:lnTo>
                  <a:lnTo>
                    <a:pt x="3276" y="7576"/>
                  </a:lnTo>
                  <a:lnTo>
                    <a:pt x="3026" y="7552"/>
                  </a:lnTo>
                  <a:lnTo>
                    <a:pt x="2775" y="7525"/>
                  </a:lnTo>
                  <a:lnTo>
                    <a:pt x="2525" y="7494"/>
                  </a:lnTo>
                  <a:lnTo>
                    <a:pt x="2274" y="7461"/>
                  </a:lnTo>
                  <a:lnTo>
                    <a:pt x="2024" y="7423"/>
                  </a:lnTo>
                  <a:lnTo>
                    <a:pt x="1773" y="7383"/>
                  </a:lnTo>
                  <a:lnTo>
                    <a:pt x="1523" y="7340"/>
                  </a:lnTo>
                  <a:lnTo>
                    <a:pt x="1272" y="7293"/>
                  </a:lnTo>
                  <a:lnTo>
                    <a:pt x="1022" y="7243"/>
                  </a:lnTo>
                  <a:lnTo>
                    <a:pt x="959" y="7045"/>
                  </a:lnTo>
                  <a:lnTo>
                    <a:pt x="900" y="6848"/>
                  </a:lnTo>
                  <a:lnTo>
                    <a:pt x="845" y="6650"/>
                  </a:lnTo>
                  <a:lnTo>
                    <a:pt x="795" y="6451"/>
                  </a:lnTo>
                  <a:lnTo>
                    <a:pt x="747" y="6254"/>
                  </a:lnTo>
                  <a:lnTo>
                    <a:pt x="705" y="6056"/>
                  </a:lnTo>
                  <a:lnTo>
                    <a:pt x="666" y="5859"/>
                  </a:lnTo>
                  <a:lnTo>
                    <a:pt x="632" y="5661"/>
                  </a:lnTo>
                  <a:lnTo>
                    <a:pt x="600" y="5463"/>
                  </a:lnTo>
                  <a:lnTo>
                    <a:pt x="574" y="5265"/>
                  </a:lnTo>
                  <a:lnTo>
                    <a:pt x="552" y="5067"/>
                  </a:lnTo>
                  <a:lnTo>
                    <a:pt x="534" y="4870"/>
                  </a:lnTo>
                  <a:lnTo>
                    <a:pt x="519" y="4672"/>
                  </a:lnTo>
                  <a:lnTo>
                    <a:pt x="509" y="4474"/>
                  </a:lnTo>
                  <a:lnTo>
                    <a:pt x="503" y="4276"/>
                  </a:lnTo>
                  <a:lnTo>
                    <a:pt x="501" y="4078"/>
                  </a:lnTo>
                  <a:lnTo>
                    <a:pt x="503" y="3881"/>
                  </a:lnTo>
                  <a:lnTo>
                    <a:pt x="509" y="3683"/>
                  </a:lnTo>
                  <a:lnTo>
                    <a:pt x="519" y="3486"/>
                  </a:lnTo>
                  <a:lnTo>
                    <a:pt x="534" y="3287"/>
                  </a:lnTo>
                  <a:lnTo>
                    <a:pt x="552" y="3089"/>
                  </a:lnTo>
                  <a:lnTo>
                    <a:pt x="574" y="2892"/>
                  </a:lnTo>
                  <a:lnTo>
                    <a:pt x="600" y="2694"/>
                  </a:lnTo>
                  <a:lnTo>
                    <a:pt x="632" y="2497"/>
                  </a:lnTo>
                  <a:lnTo>
                    <a:pt x="666" y="2298"/>
                  </a:lnTo>
                  <a:lnTo>
                    <a:pt x="705" y="2100"/>
                  </a:lnTo>
                  <a:lnTo>
                    <a:pt x="747" y="1903"/>
                  </a:lnTo>
                  <a:lnTo>
                    <a:pt x="795" y="1705"/>
                  </a:lnTo>
                  <a:lnTo>
                    <a:pt x="845" y="1508"/>
                  </a:lnTo>
                  <a:lnTo>
                    <a:pt x="900" y="1309"/>
                  </a:lnTo>
                  <a:lnTo>
                    <a:pt x="959" y="1111"/>
                  </a:lnTo>
                  <a:lnTo>
                    <a:pt x="1022" y="914"/>
                  </a:lnTo>
                  <a:lnTo>
                    <a:pt x="1272" y="864"/>
                  </a:lnTo>
                  <a:lnTo>
                    <a:pt x="1523" y="817"/>
                  </a:lnTo>
                  <a:lnTo>
                    <a:pt x="1773" y="774"/>
                  </a:lnTo>
                  <a:lnTo>
                    <a:pt x="2024" y="734"/>
                  </a:lnTo>
                  <a:lnTo>
                    <a:pt x="2274" y="697"/>
                  </a:lnTo>
                  <a:lnTo>
                    <a:pt x="2525" y="663"/>
                  </a:lnTo>
                  <a:lnTo>
                    <a:pt x="2775" y="632"/>
                  </a:lnTo>
                  <a:lnTo>
                    <a:pt x="3026" y="605"/>
                  </a:lnTo>
                  <a:lnTo>
                    <a:pt x="3276" y="581"/>
                  </a:lnTo>
                  <a:lnTo>
                    <a:pt x="3527" y="560"/>
                  </a:lnTo>
                  <a:lnTo>
                    <a:pt x="3777" y="543"/>
                  </a:lnTo>
                  <a:lnTo>
                    <a:pt x="4028" y="528"/>
                  </a:lnTo>
                  <a:lnTo>
                    <a:pt x="4278" y="517"/>
                  </a:lnTo>
                  <a:lnTo>
                    <a:pt x="4529" y="509"/>
                  </a:lnTo>
                  <a:lnTo>
                    <a:pt x="4779" y="504"/>
                  </a:lnTo>
                  <a:lnTo>
                    <a:pt x="5029" y="503"/>
                  </a:lnTo>
                  <a:lnTo>
                    <a:pt x="5279" y="504"/>
                  </a:lnTo>
                  <a:lnTo>
                    <a:pt x="5530" y="509"/>
                  </a:lnTo>
                  <a:lnTo>
                    <a:pt x="5780" y="517"/>
                  </a:lnTo>
                  <a:lnTo>
                    <a:pt x="6030" y="528"/>
                  </a:lnTo>
                  <a:lnTo>
                    <a:pt x="6281" y="543"/>
                  </a:lnTo>
                  <a:lnTo>
                    <a:pt x="6531" y="560"/>
                  </a:lnTo>
                  <a:lnTo>
                    <a:pt x="6782" y="581"/>
                  </a:lnTo>
                  <a:lnTo>
                    <a:pt x="7032" y="605"/>
                  </a:lnTo>
                  <a:lnTo>
                    <a:pt x="7283" y="632"/>
                  </a:lnTo>
                  <a:lnTo>
                    <a:pt x="7533" y="663"/>
                  </a:lnTo>
                  <a:lnTo>
                    <a:pt x="7784" y="697"/>
                  </a:lnTo>
                  <a:lnTo>
                    <a:pt x="8034" y="734"/>
                  </a:lnTo>
                  <a:lnTo>
                    <a:pt x="8285" y="774"/>
                  </a:lnTo>
                  <a:lnTo>
                    <a:pt x="8535" y="817"/>
                  </a:lnTo>
                  <a:lnTo>
                    <a:pt x="8786" y="864"/>
                  </a:lnTo>
                  <a:lnTo>
                    <a:pt x="9036" y="914"/>
                  </a:lnTo>
                  <a:lnTo>
                    <a:pt x="9099" y="1111"/>
                  </a:lnTo>
                  <a:lnTo>
                    <a:pt x="9158" y="1309"/>
                  </a:lnTo>
                  <a:lnTo>
                    <a:pt x="9213" y="1508"/>
                  </a:lnTo>
                  <a:lnTo>
                    <a:pt x="9264" y="1705"/>
                  </a:lnTo>
                  <a:lnTo>
                    <a:pt x="9311" y="1903"/>
                  </a:lnTo>
                  <a:lnTo>
                    <a:pt x="9353" y="2100"/>
                  </a:lnTo>
                  <a:lnTo>
                    <a:pt x="9392" y="2298"/>
                  </a:lnTo>
                  <a:lnTo>
                    <a:pt x="9427" y="2497"/>
                  </a:lnTo>
                  <a:lnTo>
                    <a:pt x="9458" y="2694"/>
                  </a:lnTo>
                  <a:lnTo>
                    <a:pt x="9484" y="2892"/>
                  </a:lnTo>
                  <a:lnTo>
                    <a:pt x="9506" y="3089"/>
                  </a:lnTo>
                  <a:lnTo>
                    <a:pt x="9524" y="3287"/>
                  </a:lnTo>
                  <a:lnTo>
                    <a:pt x="9539" y="3486"/>
                  </a:lnTo>
                  <a:lnTo>
                    <a:pt x="9549" y="3683"/>
                  </a:lnTo>
                  <a:lnTo>
                    <a:pt x="9555" y="3881"/>
                  </a:lnTo>
                  <a:lnTo>
                    <a:pt x="9557" y="4078"/>
                  </a:lnTo>
                  <a:lnTo>
                    <a:pt x="9555" y="4276"/>
                  </a:lnTo>
                  <a:lnTo>
                    <a:pt x="9549" y="4474"/>
                  </a:lnTo>
                  <a:lnTo>
                    <a:pt x="9539" y="4672"/>
                  </a:lnTo>
                  <a:lnTo>
                    <a:pt x="9524" y="4870"/>
                  </a:lnTo>
                  <a:lnTo>
                    <a:pt x="9506" y="5067"/>
                  </a:lnTo>
                  <a:lnTo>
                    <a:pt x="9484" y="5265"/>
                  </a:lnTo>
                  <a:lnTo>
                    <a:pt x="9458" y="5463"/>
                  </a:lnTo>
                  <a:lnTo>
                    <a:pt x="9427" y="5661"/>
                  </a:lnTo>
                  <a:lnTo>
                    <a:pt x="9392" y="5859"/>
                  </a:lnTo>
                  <a:lnTo>
                    <a:pt x="9353" y="6056"/>
                  </a:lnTo>
                  <a:lnTo>
                    <a:pt x="9311" y="6254"/>
                  </a:lnTo>
                  <a:lnTo>
                    <a:pt x="9264" y="6451"/>
                  </a:lnTo>
                  <a:lnTo>
                    <a:pt x="9213" y="6650"/>
                  </a:lnTo>
                  <a:lnTo>
                    <a:pt x="9158" y="6848"/>
                  </a:lnTo>
                  <a:lnTo>
                    <a:pt x="9099" y="7045"/>
                  </a:lnTo>
                  <a:lnTo>
                    <a:pt x="9036" y="7243"/>
                  </a:lnTo>
                  <a:close/>
                  <a:moveTo>
                    <a:pt x="9137" y="421"/>
                  </a:moveTo>
                  <a:lnTo>
                    <a:pt x="9009" y="395"/>
                  </a:lnTo>
                  <a:lnTo>
                    <a:pt x="8881" y="370"/>
                  </a:lnTo>
                  <a:lnTo>
                    <a:pt x="8754" y="346"/>
                  </a:lnTo>
                  <a:lnTo>
                    <a:pt x="8625" y="322"/>
                  </a:lnTo>
                  <a:lnTo>
                    <a:pt x="8497" y="299"/>
                  </a:lnTo>
                  <a:lnTo>
                    <a:pt x="8369" y="278"/>
                  </a:lnTo>
                  <a:lnTo>
                    <a:pt x="8241" y="257"/>
                  </a:lnTo>
                  <a:lnTo>
                    <a:pt x="8112" y="237"/>
                  </a:lnTo>
                  <a:lnTo>
                    <a:pt x="7984" y="218"/>
                  </a:lnTo>
                  <a:lnTo>
                    <a:pt x="7855" y="199"/>
                  </a:lnTo>
                  <a:lnTo>
                    <a:pt x="7726" y="182"/>
                  </a:lnTo>
                  <a:lnTo>
                    <a:pt x="7598" y="165"/>
                  </a:lnTo>
                  <a:lnTo>
                    <a:pt x="7469" y="148"/>
                  </a:lnTo>
                  <a:lnTo>
                    <a:pt x="7341" y="133"/>
                  </a:lnTo>
                  <a:lnTo>
                    <a:pt x="7212" y="118"/>
                  </a:lnTo>
                  <a:lnTo>
                    <a:pt x="7084" y="105"/>
                  </a:lnTo>
                  <a:lnTo>
                    <a:pt x="6955" y="92"/>
                  </a:lnTo>
                  <a:lnTo>
                    <a:pt x="6826" y="80"/>
                  </a:lnTo>
                  <a:lnTo>
                    <a:pt x="6697" y="69"/>
                  </a:lnTo>
                  <a:lnTo>
                    <a:pt x="6569" y="59"/>
                  </a:lnTo>
                  <a:lnTo>
                    <a:pt x="6440" y="49"/>
                  </a:lnTo>
                  <a:lnTo>
                    <a:pt x="6311" y="41"/>
                  </a:lnTo>
                  <a:lnTo>
                    <a:pt x="6183" y="33"/>
                  </a:lnTo>
                  <a:lnTo>
                    <a:pt x="6055" y="26"/>
                  </a:lnTo>
                  <a:lnTo>
                    <a:pt x="5926" y="20"/>
                  </a:lnTo>
                  <a:lnTo>
                    <a:pt x="5798" y="14"/>
                  </a:lnTo>
                  <a:lnTo>
                    <a:pt x="5669" y="10"/>
                  </a:lnTo>
                  <a:lnTo>
                    <a:pt x="5542" y="6"/>
                  </a:lnTo>
                  <a:lnTo>
                    <a:pt x="5413" y="3"/>
                  </a:lnTo>
                  <a:lnTo>
                    <a:pt x="5285" y="1"/>
                  </a:lnTo>
                  <a:lnTo>
                    <a:pt x="5157" y="0"/>
                  </a:lnTo>
                  <a:lnTo>
                    <a:pt x="5029" y="0"/>
                  </a:lnTo>
                  <a:lnTo>
                    <a:pt x="4901" y="0"/>
                  </a:lnTo>
                  <a:lnTo>
                    <a:pt x="4773" y="1"/>
                  </a:lnTo>
                  <a:lnTo>
                    <a:pt x="4645" y="3"/>
                  </a:lnTo>
                  <a:lnTo>
                    <a:pt x="4517" y="6"/>
                  </a:lnTo>
                  <a:lnTo>
                    <a:pt x="4389" y="10"/>
                  </a:lnTo>
                  <a:lnTo>
                    <a:pt x="4260" y="14"/>
                  </a:lnTo>
                  <a:lnTo>
                    <a:pt x="4132" y="20"/>
                  </a:lnTo>
                  <a:lnTo>
                    <a:pt x="4004" y="26"/>
                  </a:lnTo>
                  <a:lnTo>
                    <a:pt x="3875" y="33"/>
                  </a:lnTo>
                  <a:lnTo>
                    <a:pt x="3746" y="41"/>
                  </a:lnTo>
                  <a:lnTo>
                    <a:pt x="3618" y="49"/>
                  </a:lnTo>
                  <a:lnTo>
                    <a:pt x="3489" y="59"/>
                  </a:lnTo>
                  <a:lnTo>
                    <a:pt x="3361" y="69"/>
                  </a:lnTo>
                  <a:lnTo>
                    <a:pt x="3232" y="80"/>
                  </a:lnTo>
                  <a:lnTo>
                    <a:pt x="3103" y="92"/>
                  </a:lnTo>
                  <a:lnTo>
                    <a:pt x="2974" y="105"/>
                  </a:lnTo>
                  <a:lnTo>
                    <a:pt x="2846" y="118"/>
                  </a:lnTo>
                  <a:lnTo>
                    <a:pt x="2717" y="133"/>
                  </a:lnTo>
                  <a:lnTo>
                    <a:pt x="2589" y="148"/>
                  </a:lnTo>
                  <a:lnTo>
                    <a:pt x="2460" y="165"/>
                  </a:lnTo>
                  <a:lnTo>
                    <a:pt x="2332" y="182"/>
                  </a:lnTo>
                  <a:lnTo>
                    <a:pt x="2203" y="199"/>
                  </a:lnTo>
                  <a:lnTo>
                    <a:pt x="2074" y="218"/>
                  </a:lnTo>
                  <a:lnTo>
                    <a:pt x="1946" y="237"/>
                  </a:lnTo>
                  <a:lnTo>
                    <a:pt x="1818" y="257"/>
                  </a:lnTo>
                  <a:lnTo>
                    <a:pt x="1689" y="278"/>
                  </a:lnTo>
                  <a:lnTo>
                    <a:pt x="1561" y="299"/>
                  </a:lnTo>
                  <a:lnTo>
                    <a:pt x="1433" y="322"/>
                  </a:lnTo>
                  <a:lnTo>
                    <a:pt x="1305" y="346"/>
                  </a:lnTo>
                  <a:lnTo>
                    <a:pt x="1177" y="370"/>
                  </a:lnTo>
                  <a:lnTo>
                    <a:pt x="1049" y="395"/>
                  </a:lnTo>
                  <a:lnTo>
                    <a:pt x="921" y="421"/>
                  </a:lnTo>
                  <a:lnTo>
                    <a:pt x="904" y="424"/>
                  </a:lnTo>
                  <a:lnTo>
                    <a:pt x="888" y="429"/>
                  </a:lnTo>
                  <a:lnTo>
                    <a:pt x="872" y="433"/>
                  </a:lnTo>
                  <a:lnTo>
                    <a:pt x="857" y="439"/>
                  </a:lnTo>
                  <a:lnTo>
                    <a:pt x="841" y="444"/>
                  </a:lnTo>
                  <a:lnTo>
                    <a:pt x="826" y="451"/>
                  </a:lnTo>
                  <a:lnTo>
                    <a:pt x="811" y="457"/>
                  </a:lnTo>
                  <a:lnTo>
                    <a:pt x="796" y="464"/>
                  </a:lnTo>
                  <a:lnTo>
                    <a:pt x="781" y="472"/>
                  </a:lnTo>
                  <a:lnTo>
                    <a:pt x="766" y="480"/>
                  </a:lnTo>
                  <a:lnTo>
                    <a:pt x="753" y="489"/>
                  </a:lnTo>
                  <a:lnTo>
                    <a:pt x="739" y="499"/>
                  </a:lnTo>
                  <a:lnTo>
                    <a:pt x="726" y="508"/>
                  </a:lnTo>
                  <a:lnTo>
                    <a:pt x="713" y="518"/>
                  </a:lnTo>
                  <a:lnTo>
                    <a:pt x="700" y="528"/>
                  </a:lnTo>
                  <a:lnTo>
                    <a:pt x="688" y="538"/>
                  </a:lnTo>
                  <a:lnTo>
                    <a:pt x="676" y="549"/>
                  </a:lnTo>
                  <a:lnTo>
                    <a:pt x="664" y="561"/>
                  </a:lnTo>
                  <a:lnTo>
                    <a:pt x="653" y="573"/>
                  </a:lnTo>
                  <a:lnTo>
                    <a:pt x="642" y="585"/>
                  </a:lnTo>
                  <a:lnTo>
                    <a:pt x="632" y="597"/>
                  </a:lnTo>
                  <a:lnTo>
                    <a:pt x="621" y="610"/>
                  </a:lnTo>
                  <a:lnTo>
                    <a:pt x="611" y="623"/>
                  </a:lnTo>
                  <a:lnTo>
                    <a:pt x="602" y="637"/>
                  </a:lnTo>
                  <a:lnTo>
                    <a:pt x="593" y="650"/>
                  </a:lnTo>
                  <a:lnTo>
                    <a:pt x="584" y="665"/>
                  </a:lnTo>
                  <a:lnTo>
                    <a:pt x="576" y="680"/>
                  </a:lnTo>
                  <a:lnTo>
                    <a:pt x="569" y="695"/>
                  </a:lnTo>
                  <a:lnTo>
                    <a:pt x="562" y="710"/>
                  </a:lnTo>
                  <a:lnTo>
                    <a:pt x="555" y="725"/>
                  </a:lnTo>
                  <a:lnTo>
                    <a:pt x="549" y="740"/>
                  </a:lnTo>
                  <a:lnTo>
                    <a:pt x="544" y="756"/>
                  </a:lnTo>
                  <a:lnTo>
                    <a:pt x="478" y="963"/>
                  </a:lnTo>
                  <a:lnTo>
                    <a:pt x="416" y="1170"/>
                  </a:lnTo>
                  <a:lnTo>
                    <a:pt x="359" y="1377"/>
                  </a:lnTo>
                  <a:lnTo>
                    <a:pt x="306" y="1584"/>
                  </a:lnTo>
                  <a:lnTo>
                    <a:pt x="257" y="1791"/>
                  </a:lnTo>
                  <a:lnTo>
                    <a:pt x="212" y="2000"/>
                  </a:lnTo>
                  <a:lnTo>
                    <a:pt x="172" y="2207"/>
                  </a:lnTo>
                  <a:lnTo>
                    <a:pt x="136" y="2414"/>
                  </a:lnTo>
                  <a:lnTo>
                    <a:pt x="104" y="2622"/>
                  </a:lnTo>
                  <a:lnTo>
                    <a:pt x="76" y="2831"/>
                  </a:lnTo>
                  <a:lnTo>
                    <a:pt x="53" y="3038"/>
                  </a:lnTo>
                  <a:lnTo>
                    <a:pt x="34" y="3246"/>
                  </a:lnTo>
                  <a:lnTo>
                    <a:pt x="19" y="3454"/>
                  </a:lnTo>
                  <a:lnTo>
                    <a:pt x="9" y="3663"/>
                  </a:lnTo>
                  <a:lnTo>
                    <a:pt x="2" y="3870"/>
                  </a:lnTo>
                  <a:lnTo>
                    <a:pt x="0" y="4078"/>
                  </a:lnTo>
                  <a:lnTo>
                    <a:pt x="2" y="4286"/>
                  </a:lnTo>
                  <a:lnTo>
                    <a:pt x="9" y="4495"/>
                  </a:lnTo>
                  <a:lnTo>
                    <a:pt x="19" y="4703"/>
                  </a:lnTo>
                  <a:lnTo>
                    <a:pt x="34" y="4910"/>
                  </a:lnTo>
                  <a:lnTo>
                    <a:pt x="53" y="5118"/>
                  </a:lnTo>
                  <a:lnTo>
                    <a:pt x="76" y="5327"/>
                  </a:lnTo>
                  <a:lnTo>
                    <a:pt x="104" y="5534"/>
                  </a:lnTo>
                  <a:lnTo>
                    <a:pt x="136" y="5742"/>
                  </a:lnTo>
                  <a:lnTo>
                    <a:pt x="172" y="5949"/>
                  </a:lnTo>
                  <a:lnTo>
                    <a:pt x="212" y="6158"/>
                  </a:lnTo>
                  <a:lnTo>
                    <a:pt x="257" y="6365"/>
                  </a:lnTo>
                  <a:lnTo>
                    <a:pt x="306" y="6572"/>
                  </a:lnTo>
                  <a:lnTo>
                    <a:pt x="359" y="6779"/>
                  </a:lnTo>
                  <a:lnTo>
                    <a:pt x="416" y="6987"/>
                  </a:lnTo>
                  <a:lnTo>
                    <a:pt x="478" y="7193"/>
                  </a:lnTo>
                  <a:lnTo>
                    <a:pt x="544" y="7400"/>
                  </a:lnTo>
                  <a:lnTo>
                    <a:pt x="549" y="7416"/>
                  </a:lnTo>
                  <a:lnTo>
                    <a:pt x="555" y="7431"/>
                  </a:lnTo>
                  <a:lnTo>
                    <a:pt x="562" y="7448"/>
                  </a:lnTo>
                  <a:lnTo>
                    <a:pt x="569" y="7463"/>
                  </a:lnTo>
                  <a:lnTo>
                    <a:pt x="576" y="7477"/>
                  </a:lnTo>
                  <a:lnTo>
                    <a:pt x="584" y="7492"/>
                  </a:lnTo>
                  <a:lnTo>
                    <a:pt x="593" y="7506"/>
                  </a:lnTo>
                  <a:lnTo>
                    <a:pt x="602" y="7520"/>
                  </a:lnTo>
                  <a:lnTo>
                    <a:pt x="611" y="7533"/>
                  </a:lnTo>
                  <a:lnTo>
                    <a:pt x="621" y="7547"/>
                  </a:lnTo>
                  <a:lnTo>
                    <a:pt x="632" y="7559"/>
                  </a:lnTo>
                  <a:lnTo>
                    <a:pt x="642" y="7572"/>
                  </a:lnTo>
                  <a:lnTo>
                    <a:pt x="653" y="7584"/>
                  </a:lnTo>
                  <a:lnTo>
                    <a:pt x="664" y="7596"/>
                  </a:lnTo>
                  <a:lnTo>
                    <a:pt x="676" y="7607"/>
                  </a:lnTo>
                  <a:lnTo>
                    <a:pt x="688" y="7619"/>
                  </a:lnTo>
                  <a:lnTo>
                    <a:pt x="700" y="7630"/>
                  </a:lnTo>
                  <a:lnTo>
                    <a:pt x="713" y="7640"/>
                  </a:lnTo>
                  <a:lnTo>
                    <a:pt x="726" y="7650"/>
                  </a:lnTo>
                  <a:lnTo>
                    <a:pt x="739" y="7659"/>
                  </a:lnTo>
                  <a:lnTo>
                    <a:pt x="753" y="7668"/>
                  </a:lnTo>
                  <a:lnTo>
                    <a:pt x="766" y="7676"/>
                  </a:lnTo>
                  <a:lnTo>
                    <a:pt x="781" y="7684"/>
                  </a:lnTo>
                  <a:lnTo>
                    <a:pt x="796" y="7692"/>
                  </a:lnTo>
                  <a:lnTo>
                    <a:pt x="811" y="7699"/>
                  </a:lnTo>
                  <a:lnTo>
                    <a:pt x="826" y="7706"/>
                  </a:lnTo>
                  <a:lnTo>
                    <a:pt x="841" y="7712"/>
                  </a:lnTo>
                  <a:lnTo>
                    <a:pt x="857" y="7718"/>
                  </a:lnTo>
                  <a:lnTo>
                    <a:pt x="872" y="7723"/>
                  </a:lnTo>
                  <a:lnTo>
                    <a:pt x="888" y="7728"/>
                  </a:lnTo>
                  <a:lnTo>
                    <a:pt x="904" y="7732"/>
                  </a:lnTo>
                  <a:lnTo>
                    <a:pt x="921" y="7735"/>
                  </a:lnTo>
                  <a:lnTo>
                    <a:pt x="1049" y="7761"/>
                  </a:lnTo>
                  <a:lnTo>
                    <a:pt x="1177" y="7787"/>
                  </a:lnTo>
                  <a:lnTo>
                    <a:pt x="1305" y="7811"/>
                  </a:lnTo>
                  <a:lnTo>
                    <a:pt x="1433" y="7834"/>
                  </a:lnTo>
                  <a:lnTo>
                    <a:pt x="1561" y="7857"/>
                  </a:lnTo>
                  <a:lnTo>
                    <a:pt x="1689" y="7879"/>
                  </a:lnTo>
                  <a:lnTo>
                    <a:pt x="1818" y="7900"/>
                  </a:lnTo>
                  <a:lnTo>
                    <a:pt x="1946" y="7920"/>
                  </a:lnTo>
                  <a:lnTo>
                    <a:pt x="2074" y="7939"/>
                  </a:lnTo>
                  <a:lnTo>
                    <a:pt x="2203" y="7958"/>
                  </a:lnTo>
                  <a:lnTo>
                    <a:pt x="2332" y="7976"/>
                  </a:lnTo>
                  <a:lnTo>
                    <a:pt x="2460" y="7993"/>
                  </a:lnTo>
                  <a:lnTo>
                    <a:pt x="2589" y="8009"/>
                  </a:lnTo>
                  <a:lnTo>
                    <a:pt x="2717" y="8024"/>
                  </a:lnTo>
                  <a:lnTo>
                    <a:pt x="2846" y="8038"/>
                  </a:lnTo>
                  <a:lnTo>
                    <a:pt x="2974" y="8052"/>
                  </a:lnTo>
                  <a:lnTo>
                    <a:pt x="3103" y="8064"/>
                  </a:lnTo>
                  <a:lnTo>
                    <a:pt x="3232" y="8076"/>
                  </a:lnTo>
                  <a:lnTo>
                    <a:pt x="3361" y="8088"/>
                  </a:lnTo>
                  <a:lnTo>
                    <a:pt x="3489" y="8098"/>
                  </a:lnTo>
                  <a:lnTo>
                    <a:pt x="3618" y="8107"/>
                  </a:lnTo>
                  <a:lnTo>
                    <a:pt x="3746" y="8117"/>
                  </a:lnTo>
                  <a:lnTo>
                    <a:pt x="3875" y="8125"/>
                  </a:lnTo>
                  <a:lnTo>
                    <a:pt x="4004" y="8132"/>
                  </a:lnTo>
                  <a:lnTo>
                    <a:pt x="4132" y="8138"/>
                  </a:lnTo>
                  <a:lnTo>
                    <a:pt x="4260" y="8143"/>
                  </a:lnTo>
                  <a:lnTo>
                    <a:pt x="4389" y="8148"/>
                  </a:lnTo>
                  <a:lnTo>
                    <a:pt x="4517" y="8152"/>
                  </a:lnTo>
                  <a:lnTo>
                    <a:pt x="4645" y="8154"/>
                  </a:lnTo>
                  <a:lnTo>
                    <a:pt x="4773" y="8156"/>
                  </a:lnTo>
                  <a:lnTo>
                    <a:pt x="4901" y="8158"/>
                  </a:lnTo>
                  <a:lnTo>
                    <a:pt x="5029" y="8158"/>
                  </a:lnTo>
                  <a:lnTo>
                    <a:pt x="5157" y="8158"/>
                  </a:lnTo>
                  <a:lnTo>
                    <a:pt x="5285" y="8156"/>
                  </a:lnTo>
                  <a:lnTo>
                    <a:pt x="5413" y="8154"/>
                  </a:lnTo>
                  <a:lnTo>
                    <a:pt x="5542" y="8152"/>
                  </a:lnTo>
                  <a:lnTo>
                    <a:pt x="5669" y="8148"/>
                  </a:lnTo>
                  <a:lnTo>
                    <a:pt x="5798" y="8143"/>
                  </a:lnTo>
                  <a:lnTo>
                    <a:pt x="5926" y="8138"/>
                  </a:lnTo>
                  <a:lnTo>
                    <a:pt x="6055" y="8132"/>
                  </a:lnTo>
                  <a:lnTo>
                    <a:pt x="6183" y="8125"/>
                  </a:lnTo>
                  <a:lnTo>
                    <a:pt x="6311" y="8117"/>
                  </a:lnTo>
                  <a:lnTo>
                    <a:pt x="6440" y="8107"/>
                  </a:lnTo>
                  <a:lnTo>
                    <a:pt x="6569" y="8098"/>
                  </a:lnTo>
                  <a:lnTo>
                    <a:pt x="6697" y="8088"/>
                  </a:lnTo>
                  <a:lnTo>
                    <a:pt x="6826" y="8076"/>
                  </a:lnTo>
                  <a:lnTo>
                    <a:pt x="6955" y="8064"/>
                  </a:lnTo>
                  <a:lnTo>
                    <a:pt x="7084" y="8052"/>
                  </a:lnTo>
                  <a:lnTo>
                    <a:pt x="7212" y="8038"/>
                  </a:lnTo>
                  <a:lnTo>
                    <a:pt x="7341" y="8024"/>
                  </a:lnTo>
                  <a:lnTo>
                    <a:pt x="7469" y="8009"/>
                  </a:lnTo>
                  <a:lnTo>
                    <a:pt x="7598" y="7993"/>
                  </a:lnTo>
                  <a:lnTo>
                    <a:pt x="7726" y="7976"/>
                  </a:lnTo>
                  <a:lnTo>
                    <a:pt x="7855" y="7958"/>
                  </a:lnTo>
                  <a:lnTo>
                    <a:pt x="7984" y="7939"/>
                  </a:lnTo>
                  <a:lnTo>
                    <a:pt x="8112" y="7920"/>
                  </a:lnTo>
                  <a:lnTo>
                    <a:pt x="8241" y="7900"/>
                  </a:lnTo>
                  <a:lnTo>
                    <a:pt x="8369" y="7879"/>
                  </a:lnTo>
                  <a:lnTo>
                    <a:pt x="8497" y="7857"/>
                  </a:lnTo>
                  <a:lnTo>
                    <a:pt x="8625" y="7834"/>
                  </a:lnTo>
                  <a:lnTo>
                    <a:pt x="8754" y="7811"/>
                  </a:lnTo>
                  <a:lnTo>
                    <a:pt x="8881" y="7787"/>
                  </a:lnTo>
                  <a:lnTo>
                    <a:pt x="9009" y="7761"/>
                  </a:lnTo>
                  <a:lnTo>
                    <a:pt x="9137" y="7735"/>
                  </a:lnTo>
                  <a:lnTo>
                    <a:pt x="9154" y="7732"/>
                  </a:lnTo>
                  <a:lnTo>
                    <a:pt x="9170" y="7728"/>
                  </a:lnTo>
                  <a:lnTo>
                    <a:pt x="9186" y="7723"/>
                  </a:lnTo>
                  <a:lnTo>
                    <a:pt x="9201" y="7718"/>
                  </a:lnTo>
                  <a:lnTo>
                    <a:pt x="9217" y="7712"/>
                  </a:lnTo>
                  <a:lnTo>
                    <a:pt x="9232" y="7706"/>
                  </a:lnTo>
                  <a:lnTo>
                    <a:pt x="9247" y="7699"/>
                  </a:lnTo>
                  <a:lnTo>
                    <a:pt x="9263" y="7692"/>
                  </a:lnTo>
                  <a:lnTo>
                    <a:pt x="9277" y="7684"/>
                  </a:lnTo>
                  <a:lnTo>
                    <a:pt x="9292" y="7676"/>
                  </a:lnTo>
                  <a:lnTo>
                    <a:pt x="9306" y="7668"/>
                  </a:lnTo>
                  <a:lnTo>
                    <a:pt x="9319" y="7659"/>
                  </a:lnTo>
                  <a:lnTo>
                    <a:pt x="9333" y="7650"/>
                  </a:lnTo>
                  <a:lnTo>
                    <a:pt x="9345" y="7640"/>
                  </a:lnTo>
                  <a:lnTo>
                    <a:pt x="9358" y="7630"/>
                  </a:lnTo>
                  <a:lnTo>
                    <a:pt x="9370" y="7619"/>
                  </a:lnTo>
                  <a:lnTo>
                    <a:pt x="9382" y="7607"/>
                  </a:lnTo>
                  <a:lnTo>
                    <a:pt x="9394" y="7596"/>
                  </a:lnTo>
                  <a:lnTo>
                    <a:pt x="9405" y="7584"/>
                  </a:lnTo>
                  <a:lnTo>
                    <a:pt x="9416" y="7572"/>
                  </a:lnTo>
                  <a:lnTo>
                    <a:pt x="9427" y="7559"/>
                  </a:lnTo>
                  <a:lnTo>
                    <a:pt x="9438" y="7547"/>
                  </a:lnTo>
                  <a:lnTo>
                    <a:pt x="9447" y="7533"/>
                  </a:lnTo>
                  <a:lnTo>
                    <a:pt x="9456" y="7520"/>
                  </a:lnTo>
                  <a:lnTo>
                    <a:pt x="9465" y="7506"/>
                  </a:lnTo>
                  <a:lnTo>
                    <a:pt x="9474" y="7492"/>
                  </a:lnTo>
                  <a:lnTo>
                    <a:pt x="9482" y="7477"/>
                  </a:lnTo>
                  <a:lnTo>
                    <a:pt x="9489" y="7463"/>
                  </a:lnTo>
                  <a:lnTo>
                    <a:pt x="9496" y="7448"/>
                  </a:lnTo>
                  <a:lnTo>
                    <a:pt x="9502" y="7431"/>
                  </a:lnTo>
                  <a:lnTo>
                    <a:pt x="9508" y="7416"/>
                  </a:lnTo>
                  <a:lnTo>
                    <a:pt x="9514" y="7400"/>
                  </a:lnTo>
                  <a:lnTo>
                    <a:pt x="9580" y="7193"/>
                  </a:lnTo>
                  <a:lnTo>
                    <a:pt x="9642" y="6987"/>
                  </a:lnTo>
                  <a:lnTo>
                    <a:pt x="9699" y="6779"/>
                  </a:lnTo>
                  <a:lnTo>
                    <a:pt x="9752" y="6572"/>
                  </a:lnTo>
                  <a:lnTo>
                    <a:pt x="9801" y="6365"/>
                  </a:lnTo>
                  <a:lnTo>
                    <a:pt x="9846" y="6158"/>
                  </a:lnTo>
                  <a:lnTo>
                    <a:pt x="9886" y="5949"/>
                  </a:lnTo>
                  <a:lnTo>
                    <a:pt x="9922" y="5742"/>
                  </a:lnTo>
                  <a:lnTo>
                    <a:pt x="9955" y="5534"/>
                  </a:lnTo>
                  <a:lnTo>
                    <a:pt x="9982" y="5327"/>
                  </a:lnTo>
                  <a:lnTo>
                    <a:pt x="10005" y="5118"/>
                  </a:lnTo>
                  <a:lnTo>
                    <a:pt x="10024" y="4910"/>
                  </a:lnTo>
                  <a:lnTo>
                    <a:pt x="10039" y="4703"/>
                  </a:lnTo>
                  <a:lnTo>
                    <a:pt x="10050" y="4495"/>
                  </a:lnTo>
                  <a:lnTo>
                    <a:pt x="10056" y="4286"/>
                  </a:lnTo>
                  <a:lnTo>
                    <a:pt x="10058" y="4078"/>
                  </a:lnTo>
                  <a:lnTo>
                    <a:pt x="10056" y="3870"/>
                  </a:lnTo>
                  <a:lnTo>
                    <a:pt x="10050" y="3663"/>
                  </a:lnTo>
                  <a:lnTo>
                    <a:pt x="10039" y="3454"/>
                  </a:lnTo>
                  <a:lnTo>
                    <a:pt x="10024" y="3246"/>
                  </a:lnTo>
                  <a:lnTo>
                    <a:pt x="10005" y="3038"/>
                  </a:lnTo>
                  <a:lnTo>
                    <a:pt x="9982" y="2831"/>
                  </a:lnTo>
                  <a:lnTo>
                    <a:pt x="9955" y="2622"/>
                  </a:lnTo>
                  <a:lnTo>
                    <a:pt x="9922" y="2414"/>
                  </a:lnTo>
                  <a:lnTo>
                    <a:pt x="9886" y="2207"/>
                  </a:lnTo>
                  <a:lnTo>
                    <a:pt x="9846" y="2000"/>
                  </a:lnTo>
                  <a:lnTo>
                    <a:pt x="9801" y="1791"/>
                  </a:lnTo>
                  <a:lnTo>
                    <a:pt x="9752" y="1584"/>
                  </a:lnTo>
                  <a:lnTo>
                    <a:pt x="9699" y="1377"/>
                  </a:lnTo>
                  <a:lnTo>
                    <a:pt x="9642" y="1170"/>
                  </a:lnTo>
                  <a:lnTo>
                    <a:pt x="9580" y="963"/>
                  </a:lnTo>
                  <a:lnTo>
                    <a:pt x="9514" y="756"/>
                  </a:lnTo>
                  <a:lnTo>
                    <a:pt x="9508" y="740"/>
                  </a:lnTo>
                  <a:lnTo>
                    <a:pt x="9502" y="725"/>
                  </a:lnTo>
                  <a:lnTo>
                    <a:pt x="9496" y="710"/>
                  </a:lnTo>
                  <a:lnTo>
                    <a:pt x="9489" y="695"/>
                  </a:lnTo>
                  <a:lnTo>
                    <a:pt x="9482" y="680"/>
                  </a:lnTo>
                  <a:lnTo>
                    <a:pt x="9474" y="665"/>
                  </a:lnTo>
                  <a:lnTo>
                    <a:pt x="9465" y="650"/>
                  </a:lnTo>
                  <a:lnTo>
                    <a:pt x="9456" y="637"/>
                  </a:lnTo>
                  <a:lnTo>
                    <a:pt x="9447" y="623"/>
                  </a:lnTo>
                  <a:lnTo>
                    <a:pt x="9438" y="610"/>
                  </a:lnTo>
                  <a:lnTo>
                    <a:pt x="9427" y="597"/>
                  </a:lnTo>
                  <a:lnTo>
                    <a:pt x="9416" y="585"/>
                  </a:lnTo>
                  <a:lnTo>
                    <a:pt x="9405" y="573"/>
                  </a:lnTo>
                  <a:lnTo>
                    <a:pt x="9394" y="561"/>
                  </a:lnTo>
                  <a:lnTo>
                    <a:pt x="9382" y="549"/>
                  </a:lnTo>
                  <a:lnTo>
                    <a:pt x="9370" y="538"/>
                  </a:lnTo>
                  <a:lnTo>
                    <a:pt x="9358" y="528"/>
                  </a:lnTo>
                  <a:lnTo>
                    <a:pt x="9345" y="518"/>
                  </a:lnTo>
                  <a:lnTo>
                    <a:pt x="9333" y="508"/>
                  </a:lnTo>
                  <a:lnTo>
                    <a:pt x="9319" y="499"/>
                  </a:lnTo>
                  <a:lnTo>
                    <a:pt x="9306" y="489"/>
                  </a:lnTo>
                  <a:lnTo>
                    <a:pt x="9292" y="480"/>
                  </a:lnTo>
                  <a:lnTo>
                    <a:pt x="9277" y="472"/>
                  </a:lnTo>
                  <a:lnTo>
                    <a:pt x="9263" y="464"/>
                  </a:lnTo>
                  <a:lnTo>
                    <a:pt x="9247" y="457"/>
                  </a:lnTo>
                  <a:lnTo>
                    <a:pt x="9232" y="451"/>
                  </a:lnTo>
                  <a:lnTo>
                    <a:pt x="9217" y="444"/>
                  </a:lnTo>
                  <a:lnTo>
                    <a:pt x="9201" y="439"/>
                  </a:lnTo>
                  <a:lnTo>
                    <a:pt x="9186" y="433"/>
                  </a:lnTo>
                  <a:lnTo>
                    <a:pt x="9170" y="429"/>
                  </a:lnTo>
                  <a:lnTo>
                    <a:pt x="9154" y="424"/>
                  </a:lnTo>
                  <a:lnTo>
                    <a:pt x="9137" y="4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66" name="isľíḑè">
              <a:extLst>
                <a:ext uri="{FF2B5EF4-FFF2-40B4-BE49-F238E27FC236}">
                  <a16:creationId xmlns:a16="http://schemas.microsoft.com/office/drawing/2014/main" id="{6FA2817A-4670-44FC-BA26-03A2225004A6}"/>
                </a:ext>
              </a:extLst>
            </p:cNvPr>
            <p:cNvSpPr/>
            <p:nvPr/>
          </p:nvSpPr>
          <p:spPr bwMode="auto">
            <a:xfrm>
              <a:off x="1356886" y="1363561"/>
              <a:ext cx="312419" cy="244190"/>
            </a:xfrm>
            <a:custGeom>
              <a:avLst/>
              <a:gdLst>
                <a:gd name="T0" fmla="*/ 11699 w 16095"/>
                <a:gd name="T1" fmla="*/ 10946 h 12580"/>
                <a:gd name="T2" fmla="*/ 8453 w 16095"/>
                <a:gd name="T3" fmla="*/ 11069 h 12580"/>
                <a:gd name="T4" fmla="*/ 5208 w 16095"/>
                <a:gd name="T5" fmla="*/ 10995 h 12580"/>
                <a:gd name="T6" fmla="*/ 1962 w 16095"/>
                <a:gd name="T7" fmla="*/ 10724 h 12580"/>
                <a:gd name="T8" fmla="*/ 1178 w 16095"/>
                <a:gd name="T9" fmla="*/ 8647 h 12580"/>
                <a:gd name="T10" fmla="*/ 1006 w 16095"/>
                <a:gd name="T11" fmla="*/ 6328 h 12580"/>
                <a:gd name="T12" fmla="*/ 1110 w 16095"/>
                <a:gd name="T13" fmla="*/ 4009 h 12580"/>
                <a:gd name="T14" fmla="*/ 1489 w 16095"/>
                <a:gd name="T15" fmla="*/ 1690 h 12580"/>
                <a:gd name="T16" fmla="*/ 4396 w 16095"/>
                <a:gd name="T17" fmla="*/ 1131 h 12580"/>
                <a:gd name="T18" fmla="*/ 7642 w 16095"/>
                <a:gd name="T19" fmla="*/ 1008 h 12580"/>
                <a:gd name="T20" fmla="*/ 10887 w 16095"/>
                <a:gd name="T21" fmla="*/ 1082 h 12580"/>
                <a:gd name="T22" fmla="*/ 14133 w 16095"/>
                <a:gd name="T23" fmla="*/ 1353 h 12580"/>
                <a:gd name="T24" fmla="*/ 14916 w 16095"/>
                <a:gd name="T25" fmla="*/ 3430 h 12580"/>
                <a:gd name="T26" fmla="*/ 15089 w 16095"/>
                <a:gd name="T27" fmla="*/ 5749 h 12580"/>
                <a:gd name="T28" fmla="*/ 14985 w 16095"/>
                <a:gd name="T29" fmla="*/ 8068 h 12580"/>
                <a:gd name="T30" fmla="*/ 14606 w 16095"/>
                <a:gd name="T31" fmla="*/ 10387 h 12580"/>
                <a:gd name="T32" fmla="*/ 15438 w 16095"/>
                <a:gd name="T33" fmla="*/ 950 h 12580"/>
                <a:gd name="T34" fmla="*/ 15263 w 16095"/>
                <a:gd name="T35" fmla="*/ 702 h 12580"/>
                <a:gd name="T36" fmla="*/ 15025 w 16095"/>
                <a:gd name="T37" fmla="*/ 519 h 12580"/>
                <a:gd name="T38" fmla="*/ 14738 w 16095"/>
                <a:gd name="T39" fmla="*/ 415 h 12580"/>
                <a:gd name="T40" fmla="*/ 13423 w 16095"/>
                <a:gd name="T41" fmla="*/ 266 h 12580"/>
                <a:gd name="T42" fmla="*/ 11768 w 16095"/>
                <a:gd name="T43" fmla="*/ 128 h 12580"/>
                <a:gd name="T44" fmla="*/ 10112 w 16095"/>
                <a:gd name="T45" fmla="*/ 39 h 12580"/>
                <a:gd name="T46" fmla="*/ 8459 w 16095"/>
                <a:gd name="T47" fmla="*/ 2 h 12580"/>
                <a:gd name="T48" fmla="*/ 6810 w 16095"/>
                <a:gd name="T49" fmla="*/ 14 h 12580"/>
                <a:gd name="T50" fmla="*/ 5154 w 16095"/>
                <a:gd name="T51" fmla="*/ 77 h 12580"/>
                <a:gd name="T52" fmla="*/ 3498 w 16095"/>
                <a:gd name="T53" fmla="*/ 190 h 12580"/>
                <a:gd name="T54" fmla="*/ 1846 w 16095"/>
                <a:gd name="T55" fmla="*/ 353 h 12580"/>
                <a:gd name="T56" fmla="*/ 1208 w 16095"/>
                <a:gd name="T57" fmla="*/ 456 h 12580"/>
                <a:gd name="T58" fmla="*/ 944 w 16095"/>
                <a:gd name="T59" fmla="*/ 602 h 12580"/>
                <a:gd name="T60" fmla="*/ 734 w 16095"/>
                <a:gd name="T61" fmla="*/ 819 h 12580"/>
                <a:gd name="T62" fmla="*/ 599 w 16095"/>
                <a:gd name="T63" fmla="*/ 1093 h 12580"/>
                <a:gd name="T64" fmla="*/ 225 w 16095"/>
                <a:gd name="T65" fmla="*/ 2990 h 12580"/>
                <a:gd name="T66" fmla="*/ 9 w 16095"/>
                <a:gd name="T67" fmla="*/ 5428 h 12580"/>
                <a:gd name="T68" fmla="*/ 81 w 16095"/>
                <a:gd name="T69" fmla="*/ 7869 h 12580"/>
                <a:gd name="T70" fmla="*/ 442 w 16095"/>
                <a:gd name="T71" fmla="*/ 10303 h 12580"/>
                <a:gd name="T72" fmla="*/ 657 w 16095"/>
                <a:gd name="T73" fmla="*/ 11128 h 12580"/>
                <a:gd name="T74" fmla="*/ 831 w 16095"/>
                <a:gd name="T75" fmla="*/ 11375 h 12580"/>
                <a:gd name="T76" fmla="*/ 1070 w 16095"/>
                <a:gd name="T77" fmla="*/ 11558 h 12580"/>
                <a:gd name="T78" fmla="*/ 1357 w 16095"/>
                <a:gd name="T79" fmla="*/ 11662 h 12580"/>
                <a:gd name="T80" fmla="*/ 2627 w 16095"/>
                <a:gd name="T81" fmla="*/ 11805 h 12580"/>
                <a:gd name="T82" fmla="*/ 4221 w 16095"/>
                <a:gd name="T83" fmla="*/ 11939 h 12580"/>
                <a:gd name="T84" fmla="*/ 4540 w 16095"/>
                <a:gd name="T85" fmla="*/ 12035 h 12580"/>
                <a:gd name="T86" fmla="*/ 4544 w 16095"/>
                <a:gd name="T87" fmla="*/ 12128 h 12580"/>
                <a:gd name="T88" fmla="*/ 4950 w 16095"/>
                <a:gd name="T89" fmla="*/ 12316 h 12580"/>
                <a:gd name="T90" fmla="*/ 5807 w 16095"/>
                <a:gd name="T91" fmla="*/ 12465 h 12580"/>
                <a:gd name="T92" fmla="*/ 7000 w 16095"/>
                <a:gd name="T93" fmla="*/ 12558 h 12580"/>
                <a:gd name="T94" fmla="*/ 8408 w 16095"/>
                <a:gd name="T95" fmla="*/ 12577 h 12580"/>
                <a:gd name="T96" fmla="*/ 9726 w 16095"/>
                <a:gd name="T97" fmla="*/ 12520 h 12580"/>
                <a:gd name="T98" fmla="*/ 10766 w 16095"/>
                <a:gd name="T99" fmla="*/ 12397 h 12580"/>
                <a:gd name="T100" fmla="*/ 11411 w 16095"/>
                <a:gd name="T101" fmla="*/ 12227 h 12580"/>
                <a:gd name="T102" fmla="*/ 11568 w 16095"/>
                <a:gd name="T103" fmla="*/ 12063 h 12580"/>
                <a:gd name="T104" fmla="*/ 11514 w 16095"/>
                <a:gd name="T105" fmla="*/ 11992 h 12580"/>
                <a:gd name="T106" fmla="*/ 12672 w 16095"/>
                <a:gd name="T107" fmla="*/ 11878 h 12580"/>
                <a:gd name="T108" fmla="*/ 14263 w 16095"/>
                <a:gd name="T109" fmla="*/ 11722 h 12580"/>
                <a:gd name="T110" fmla="*/ 14886 w 16095"/>
                <a:gd name="T111" fmla="*/ 11621 h 12580"/>
                <a:gd name="T112" fmla="*/ 15150 w 16095"/>
                <a:gd name="T113" fmla="*/ 11475 h 12580"/>
                <a:gd name="T114" fmla="*/ 15360 w 16095"/>
                <a:gd name="T115" fmla="*/ 11258 h 12580"/>
                <a:gd name="T116" fmla="*/ 15496 w 16095"/>
                <a:gd name="T117" fmla="*/ 10985 h 12580"/>
                <a:gd name="T118" fmla="*/ 15870 w 16095"/>
                <a:gd name="T119" fmla="*/ 9087 h 12580"/>
                <a:gd name="T120" fmla="*/ 16086 w 16095"/>
                <a:gd name="T121" fmla="*/ 6649 h 12580"/>
                <a:gd name="T122" fmla="*/ 16014 w 16095"/>
                <a:gd name="T123" fmla="*/ 4208 h 12580"/>
                <a:gd name="T124" fmla="*/ 15652 w 16095"/>
                <a:gd name="T125" fmla="*/ 1775 h 12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95" h="12580">
                  <a:moveTo>
                    <a:pt x="14539" y="10677"/>
                  </a:moveTo>
                  <a:lnTo>
                    <a:pt x="14133" y="10724"/>
                  </a:lnTo>
                  <a:lnTo>
                    <a:pt x="13728" y="10769"/>
                  </a:lnTo>
                  <a:lnTo>
                    <a:pt x="13322" y="10810"/>
                  </a:lnTo>
                  <a:lnTo>
                    <a:pt x="12916" y="10849"/>
                  </a:lnTo>
                  <a:lnTo>
                    <a:pt x="12510" y="10884"/>
                  </a:lnTo>
                  <a:lnTo>
                    <a:pt x="12104" y="10917"/>
                  </a:lnTo>
                  <a:lnTo>
                    <a:pt x="11699" y="10946"/>
                  </a:lnTo>
                  <a:lnTo>
                    <a:pt x="11293" y="10972"/>
                  </a:lnTo>
                  <a:lnTo>
                    <a:pt x="10887" y="10995"/>
                  </a:lnTo>
                  <a:lnTo>
                    <a:pt x="10482" y="11015"/>
                  </a:lnTo>
                  <a:lnTo>
                    <a:pt x="10075" y="11032"/>
                  </a:lnTo>
                  <a:lnTo>
                    <a:pt x="9670" y="11046"/>
                  </a:lnTo>
                  <a:lnTo>
                    <a:pt x="9265" y="11057"/>
                  </a:lnTo>
                  <a:lnTo>
                    <a:pt x="8858" y="11064"/>
                  </a:lnTo>
                  <a:lnTo>
                    <a:pt x="8453" y="11069"/>
                  </a:lnTo>
                  <a:lnTo>
                    <a:pt x="8048" y="11071"/>
                  </a:lnTo>
                  <a:lnTo>
                    <a:pt x="7642" y="11069"/>
                  </a:lnTo>
                  <a:lnTo>
                    <a:pt x="7236" y="11064"/>
                  </a:lnTo>
                  <a:lnTo>
                    <a:pt x="6830" y="11057"/>
                  </a:lnTo>
                  <a:lnTo>
                    <a:pt x="6424" y="11046"/>
                  </a:lnTo>
                  <a:lnTo>
                    <a:pt x="6019" y="11032"/>
                  </a:lnTo>
                  <a:lnTo>
                    <a:pt x="5613" y="11015"/>
                  </a:lnTo>
                  <a:lnTo>
                    <a:pt x="5208" y="10995"/>
                  </a:lnTo>
                  <a:lnTo>
                    <a:pt x="4801" y="10972"/>
                  </a:lnTo>
                  <a:lnTo>
                    <a:pt x="4396" y="10946"/>
                  </a:lnTo>
                  <a:lnTo>
                    <a:pt x="3990" y="10917"/>
                  </a:lnTo>
                  <a:lnTo>
                    <a:pt x="3584" y="10884"/>
                  </a:lnTo>
                  <a:lnTo>
                    <a:pt x="3179" y="10849"/>
                  </a:lnTo>
                  <a:lnTo>
                    <a:pt x="2772" y="10810"/>
                  </a:lnTo>
                  <a:lnTo>
                    <a:pt x="2367" y="10769"/>
                  </a:lnTo>
                  <a:lnTo>
                    <a:pt x="1962" y="10724"/>
                  </a:lnTo>
                  <a:lnTo>
                    <a:pt x="1555" y="10677"/>
                  </a:lnTo>
                  <a:lnTo>
                    <a:pt x="1489" y="10387"/>
                  </a:lnTo>
                  <a:lnTo>
                    <a:pt x="1426" y="10097"/>
                  </a:lnTo>
                  <a:lnTo>
                    <a:pt x="1368" y="9807"/>
                  </a:lnTo>
                  <a:lnTo>
                    <a:pt x="1314" y="9516"/>
                  </a:lnTo>
                  <a:lnTo>
                    <a:pt x="1264" y="9227"/>
                  </a:lnTo>
                  <a:lnTo>
                    <a:pt x="1219" y="8937"/>
                  </a:lnTo>
                  <a:lnTo>
                    <a:pt x="1178" y="8647"/>
                  </a:lnTo>
                  <a:lnTo>
                    <a:pt x="1142" y="8357"/>
                  </a:lnTo>
                  <a:lnTo>
                    <a:pt x="1110" y="8068"/>
                  </a:lnTo>
                  <a:lnTo>
                    <a:pt x="1081" y="7778"/>
                  </a:lnTo>
                  <a:lnTo>
                    <a:pt x="1057" y="7488"/>
                  </a:lnTo>
                  <a:lnTo>
                    <a:pt x="1038" y="7197"/>
                  </a:lnTo>
                  <a:lnTo>
                    <a:pt x="1023" y="6908"/>
                  </a:lnTo>
                  <a:lnTo>
                    <a:pt x="1012" y="6618"/>
                  </a:lnTo>
                  <a:lnTo>
                    <a:pt x="1006" y="6328"/>
                  </a:lnTo>
                  <a:lnTo>
                    <a:pt x="1004" y="6038"/>
                  </a:lnTo>
                  <a:lnTo>
                    <a:pt x="1006" y="5749"/>
                  </a:lnTo>
                  <a:lnTo>
                    <a:pt x="1012" y="5459"/>
                  </a:lnTo>
                  <a:lnTo>
                    <a:pt x="1023" y="5169"/>
                  </a:lnTo>
                  <a:lnTo>
                    <a:pt x="1038" y="4878"/>
                  </a:lnTo>
                  <a:lnTo>
                    <a:pt x="1057" y="4589"/>
                  </a:lnTo>
                  <a:lnTo>
                    <a:pt x="1081" y="4299"/>
                  </a:lnTo>
                  <a:lnTo>
                    <a:pt x="1110" y="4009"/>
                  </a:lnTo>
                  <a:lnTo>
                    <a:pt x="1142" y="3719"/>
                  </a:lnTo>
                  <a:lnTo>
                    <a:pt x="1178" y="3430"/>
                  </a:lnTo>
                  <a:lnTo>
                    <a:pt x="1219" y="3140"/>
                  </a:lnTo>
                  <a:lnTo>
                    <a:pt x="1264" y="2850"/>
                  </a:lnTo>
                  <a:lnTo>
                    <a:pt x="1314" y="2560"/>
                  </a:lnTo>
                  <a:lnTo>
                    <a:pt x="1368" y="2270"/>
                  </a:lnTo>
                  <a:lnTo>
                    <a:pt x="1426" y="1980"/>
                  </a:lnTo>
                  <a:lnTo>
                    <a:pt x="1489" y="1690"/>
                  </a:lnTo>
                  <a:lnTo>
                    <a:pt x="1555" y="1400"/>
                  </a:lnTo>
                  <a:lnTo>
                    <a:pt x="1962" y="1353"/>
                  </a:lnTo>
                  <a:lnTo>
                    <a:pt x="2367" y="1308"/>
                  </a:lnTo>
                  <a:lnTo>
                    <a:pt x="2772" y="1267"/>
                  </a:lnTo>
                  <a:lnTo>
                    <a:pt x="3179" y="1228"/>
                  </a:lnTo>
                  <a:lnTo>
                    <a:pt x="3584" y="1192"/>
                  </a:lnTo>
                  <a:lnTo>
                    <a:pt x="3990" y="1160"/>
                  </a:lnTo>
                  <a:lnTo>
                    <a:pt x="4396" y="1131"/>
                  </a:lnTo>
                  <a:lnTo>
                    <a:pt x="4801" y="1105"/>
                  </a:lnTo>
                  <a:lnTo>
                    <a:pt x="5208" y="1082"/>
                  </a:lnTo>
                  <a:lnTo>
                    <a:pt x="5613" y="1061"/>
                  </a:lnTo>
                  <a:lnTo>
                    <a:pt x="6019" y="1045"/>
                  </a:lnTo>
                  <a:lnTo>
                    <a:pt x="6424" y="1031"/>
                  </a:lnTo>
                  <a:lnTo>
                    <a:pt x="6830" y="1020"/>
                  </a:lnTo>
                  <a:lnTo>
                    <a:pt x="7236" y="1013"/>
                  </a:lnTo>
                  <a:lnTo>
                    <a:pt x="7642" y="1008"/>
                  </a:lnTo>
                  <a:lnTo>
                    <a:pt x="8048" y="1006"/>
                  </a:lnTo>
                  <a:lnTo>
                    <a:pt x="8453" y="1008"/>
                  </a:lnTo>
                  <a:lnTo>
                    <a:pt x="8858" y="1013"/>
                  </a:lnTo>
                  <a:lnTo>
                    <a:pt x="9265" y="1020"/>
                  </a:lnTo>
                  <a:lnTo>
                    <a:pt x="9670" y="1031"/>
                  </a:lnTo>
                  <a:lnTo>
                    <a:pt x="10075" y="1045"/>
                  </a:lnTo>
                  <a:lnTo>
                    <a:pt x="10482" y="1061"/>
                  </a:lnTo>
                  <a:lnTo>
                    <a:pt x="10887" y="1082"/>
                  </a:lnTo>
                  <a:lnTo>
                    <a:pt x="11293" y="1105"/>
                  </a:lnTo>
                  <a:lnTo>
                    <a:pt x="11699" y="1131"/>
                  </a:lnTo>
                  <a:lnTo>
                    <a:pt x="12104" y="1160"/>
                  </a:lnTo>
                  <a:lnTo>
                    <a:pt x="12510" y="1192"/>
                  </a:lnTo>
                  <a:lnTo>
                    <a:pt x="12916" y="1228"/>
                  </a:lnTo>
                  <a:lnTo>
                    <a:pt x="13322" y="1267"/>
                  </a:lnTo>
                  <a:lnTo>
                    <a:pt x="13728" y="1308"/>
                  </a:lnTo>
                  <a:lnTo>
                    <a:pt x="14133" y="1353"/>
                  </a:lnTo>
                  <a:lnTo>
                    <a:pt x="14539" y="1400"/>
                  </a:lnTo>
                  <a:lnTo>
                    <a:pt x="14606" y="1690"/>
                  </a:lnTo>
                  <a:lnTo>
                    <a:pt x="14669" y="1980"/>
                  </a:lnTo>
                  <a:lnTo>
                    <a:pt x="14727" y="2270"/>
                  </a:lnTo>
                  <a:lnTo>
                    <a:pt x="14780" y="2560"/>
                  </a:lnTo>
                  <a:lnTo>
                    <a:pt x="14831" y="2850"/>
                  </a:lnTo>
                  <a:lnTo>
                    <a:pt x="14876" y="3140"/>
                  </a:lnTo>
                  <a:lnTo>
                    <a:pt x="14916" y="3430"/>
                  </a:lnTo>
                  <a:lnTo>
                    <a:pt x="14953" y="3719"/>
                  </a:lnTo>
                  <a:lnTo>
                    <a:pt x="14985" y="4009"/>
                  </a:lnTo>
                  <a:lnTo>
                    <a:pt x="15014" y="4299"/>
                  </a:lnTo>
                  <a:lnTo>
                    <a:pt x="15037" y="4589"/>
                  </a:lnTo>
                  <a:lnTo>
                    <a:pt x="15057" y="4878"/>
                  </a:lnTo>
                  <a:lnTo>
                    <a:pt x="15072" y="5169"/>
                  </a:lnTo>
                  <a:lnTo>
                    <a:pt x="15082" y="5459"/>
                  </a:lnTo>
                  <a:lnTo>
                    <a:pt x="15089" y="5749"/>
                  </a:lnTo>
                  <a:lnTo>
                    <a:pt x="15091" y="6038"/>
                  </a:lnTo>
                  <a:lnTo>
                    <a:pt x="15089" y="6328"/>
                  </a:lnTo>
                  <a:lnTo>
                    <a:pt x="15082" y="6618"/>
                  </a:lnTo>
                  <a:lnTo>
                    <a:pt x="15072" y="6908"/>
                  </a:lnTo>
                  <a:lnTo>
                    <a:pt x="15057" y="7197"/>
                  </a:lnTo>
                  <a:lnTo>
                    <a:pt x="15037" y="7488"/>
                  </a:lnTo>
                  <a:lnTo>
                    <a:pt x="15014" y="7778"/>
                  </a:lnTo>
                  <a:lnTo>
                    <a:pt x="14985" y="8068"/>
                  </a:lnTo>
                  <a:lnTo>
                    <a:pt x="14953" y="8357"/>
                  </a:lnTo>
                  <a:lnTo>
                    <a:pt x="14916" y="8647"/>
                  </a:lnTo>
                  <a:lnTo>
                    <a:pt x="14876" y="8937"/>
                  </a:lnTo>
                  <a:lnTo>
                    <a:pt x="14831" y="9227"/>
                  </a:lnTo>
                  <a:lnTo>
                    <a:pt x="14780" y="9516"/>
                  </a:lnTo>
                  <a:lnTo>
                    <a:pt x="14727" y="9807"/>
                  </a:lnTo>
                  <a:lnTo>
                    <a:pt x="14669" y="10097"/>
                  </a:lnTo>
                  <a:lnTo>
                    <a:pt x="14606" y="10387"/>
                  </a:lnTo>
                  <a:lnTo>
                    <a:pt x="14539" y="10677"/>
                  </a:lnTo>
                  <a:close/>
                  <a:moveTo>
                    <a:pt x="15518" y="1168"/>
                  </a:moveTo>
                  <a:lnTo>
                    <a:pt x="15508" y="1130"/>
                  </a:lnTo>
                  <a:lnTo>
                    <a:pt x="15496" y="1093"/>
                  </a:lnTo>
                  <a:lnTo>
                    <a:pt x="15483" y="1055"/>
                  </a:lnTo>
                  <a:lnTo>
                    <a:pt x="15470" y="1019"/>
                  </a:lnTo>
                  <a:lnTo>
                    <a:pt x="15454" y="984"/>
                  </a:lnTo>
                  <a:lnTo>
                    <a:pt x="15438" y="950"/>
                  </a:lnTo>
                  <a:lnTo>
                    <a:pt x="15420" y="916"/>
                  </a:lnTo>
                  <a:lnTo>
                    <a:pt x="15401" y="882"/>
                  </a:lnTo>
                  <a:lnTo>
                    <a:pt x="15381" y="850"/>
                  </a:lnTo>
                  <a:lnTo>
                    <a:pt x="15360" y="819"/>
                  </a:lnTo>
                  <a:lnTo>
                    <a:pt x="15338" y="789"/>
                  </a:lnTo>
                  <a:lnTo>
                    <a:pt x="15313" y="759"/>
                  </a:lnTo>
                  <a:lnTo>
                    <a:pt x="15289" y="730"/>
                  </a:lnTo>
                  <a:lnTo>
                    <a:pt x="15263" y="702"/>
                  </a:lnTo>
                  <a:lnTo>
                    <a:pt x="15237" y="676"/>
                  </a:lnTo>
                  <a:lnTo>
                    <a:pt x="15209" y="650"/>
                  </a:lnTo>
                  <a:lnTo>
                    <a:pt x="15181" y="626"/>
                  </a:lnTo>
                  <a:lnTo>
                    <a:pt x="15150" y="602"/>
                  </a:lnTo>
                  <a:lnTo>
                    <a:pt x="15120" y="580"/>
                  </a:lnTo>
                  <a:lnTo>
                    <a:pt x="15089" y="558"/>
                  </a:lnTo>
                  <a:lnTo>
                    <a:pt x="15057" y="538"/>
                  </a:lnTo>
                  <a:lnTo>
                    <a:pt x="15025" y="519"/>
                  </a:lnTo>
                  <a:lnTo>
                    <a:pt x="14990" y="502"/>
                  </a:lnTo>
                  <a:lnTo>
                    <a:pt x="14956" y="485"/>
                  </a:lnTo>
                  <a:lnTo>
                    <a:pt x="14922" y="470"/>
                  </a:lnTo>
                  <a:lnTo>
                    <a:pt x="14886" y="456"/>
                  </a:lnTo>
                  <a:lnTo>
                    <a:pt x="14850" y="444"/>
                  </a:lnTo>
                  <a:lnTo>
                    <a:pt x="14813" y="433"/>
                  </a:lnTo>
                  <a:lnTo>
                    <a:pt x="14775" y="423"/>
                  </a:lnTo>
                  <a:lnTo>
                    <a:pt x="14738" y="415"/>
                  </a:lnTo>
                  <a:lnTo>
                    <a:pt x="14699" y="407"/>
                  </a:lnTo>
                  <a:lnTo>
                    <a:pt x="14661" y="401"/>
                  </a:lnTo>
                  <a:lnTo>
                    <a:pt x="14454" y="377"/>
                  </a:lnTo>
                  <a:lnTo>
                    <a:pt x="14248" y="353"/>
                  </a:lnTo>
                  <a:lnTo>
                    <a:pt x="14043" y="330"/>
                  </a:lnTo>
                  <a:lnTo>
                    <a:pt x="13837" y="308"/>
                  </a:lnTo>
                  <a:lnTo>
                    <a:pt x="13629" y="287"/>
                  </a:lnTo>
                  <a:lnTo>
                    <a:pt x="13423" y="266"/>
                  </a:lnTo>
                  <a:lnTo>
                    <a:pt x="13217" y="245"/>
                  </a:lnTo>
                  <a:lnTo>
                    <a:pt x="13010" y="226"/>
                  </a:lnTo>
                  <a:lnTo>
                    <a:pt x="12804" y="208"/>
                  </a:lnTo>
                  <a:lnTo>
                    <a:pt x="12596" y="190"/>
                  </a:lnTo>
                  <a:lnTo>
                    <a:pt x="12389" y="174"/>
                  </a:lnTo>
                  <a:lnTo>
                    <a:pt x="12183" y="158"/>
                  </a:lnTo>
                  <a:lnTo>
                    <a:pt x="11976" y="142"/>
                  </a:lnTo>
                  <a:lnTo>
                    <a:pt x="11768" y="128"/>
                  </a:lnTo>
                  <a:lnTo>
                    <a:pt x="11561" y="114"/>
                  </a:lnTo>
                  <a:lnTo>
                    <a:pt x="11354" y="101"/>
                  </a:lnTo>
                  <a:lnTo>
                    <a:pt x="11147" y="89"/>
                  </a:lnTo>
                  <a:lnTo>
                    <a:pt x="10940" y="77"/>
                  </a:lnTo>
                  <a:lnTo>
                    <a:pt x="10732" y="66"/>
                  </a:lnTo>
                  <a:lnTo>
                    <a:pt x="10526" y="57"/>
                  </a:lnTo>
                  <a:lnTo>
                    <a:pt x="10319" y="48"/>
                  </a:lnTo>
                  <a:lnTo>
                    <a:pt x="10112" y="39"/>
                  </a:lnTo>
                  <a:lnTo>
                    <a:pt x="9904" y="32"/>
                  </a:lnTo>
                  <a:lnTo>
                    <a:pt x="9698" y="25"/>
                  </a:lnTo>
                  <a:lnTo>
                    <a:pt x="9491" y="19"/>
                  </a:lnTo>
                  <a:lnTo>
                    <a:pt x="9285" y="14"/>
                  </a:lnTo>
                  <a:lnTo>
                    <a:pt x="9078" y="10"/>
                  </a:lnTo>
                  <a:lnTo>
                    <a:pt x="8871" y="6"/>
                  </a:lnTo>
                  <a:lnTo>
                    <a:pt x="8665" y="4"/>
                  </a:lnTo>
                  <a:lnTo>
                    <a:pt x="8459" y="2"/>
                  </a:lnTo>
                  <a:lnTo>
                    <a:pt x="8254" y="0"/>
                  </a:lnTo>
                  <a:lnTo>
                    <a:pt x="8048" y="0"/>
                  </a:lnTo>
                  <a:lnTo>
                    <a:pt x="7841" y="0"/>
                  </a:lnTo>
                  <a:lnTo>
                    <a:pt x="7636" y="2"/>
                  </a:lnTo>
                  <a:lnTo>
                    <a:pt x="7430" y="4"/>
                  </a:lnTo>
                  <a:lnTo>
                    <a:pt x="7224" y="6"/>
                  </a:lnTo>
                  <a:lnTo>
                    <a:pt x="7016" y="10"/>
                  </a:lnTo>
                  <a:lnTo>
                    <a:pt x="6810" y="14"/>
                  </a:lnTo>
                  <a:lnTo>
                    <a:pt x="6604" y="19"/>
                  </a:lnTo>
                  <a:lnTo>
                    <a:pt x="6397" y="25"/>
                  </a:lnTo>
                  <a:lnTo>
                    <a:pt x="6190" y="32"/>
                  </a:lnTo>
                  <a:lnTo>
                    <a:pt x="5983" y="39"/>
                  </a:lnTo>
                  <a:lnTo>
                    <a:pt x="5776" y="48"/>
                  </a:lnTo>
                  <a:lnTo>
                    <a:pt x="5569" y="57"/>
                  </a:lnTo>
                  <a:lnTo>
                    <a:pt x="5362" y="66"/>
                  </a:lnTo>
                  <a:lnTo>
                    <a:pt x="5154" y="77"/>
                  </a:lnTo>
                  <a:lnTo>
                    <a:pt x="4948" y="89"/>
                  </a:lnTo>
                  <a:lnTo>
                    <a:pt x="4741" y="101"/>
                  </a:lnTo>
                  <a:lnTo>
                    <a:pt x="4534" y="114"/>
                  </a:lnTo>
                  <a:lnTo>
                    <a:pt x="4327" y="128"/>
                  </a:lnTo>
                  <a:lnTo>
                    <a:pt x="4119" y="142"/>
                  </a:lnTo>
                  <a:lnTo>
                    <a:pt x="3912" y="158"/>
                  </a:lnTo>
                  <a:lnTo>
                    <a:pt x="3705" y="174"/>
                  </a:lnTo>
                  <a:lnTo>
                    <a:pt x="3498" y="190"/>
                  </a:lnTo>
                  <a:lnTo>
                    <a:pt x="3291" y="208"/>
                  </a:lnTo>
                  <a:lnTo>
                    <a:pt x="3084" y="226"/>
                  </a:lnTo>
                  <a:lnTo>
                    <a:pt x="2878" y="245"/>
                  </a:lnTo>
                  <a:lnTo>
                    <a:pt x="2671" y="266"/>
                  </a:lnTo>
                  <a:lnTo>
                    <a:pt x="2465" y="287"/>
                  </a:lnTo>
                  <a:lnTo>
                    <a:pt x="2258" y="308"/>
                  </a:lnTo>
                  <a:lnTo>
                    <a:pt x="2052" y="330"/>
                  </a:lnTo>
                  <a:lnTo>
                    <a:pt x="1846" y="353"/>
                  </a:lnTo>
                  <a:lnTo>
                    <a:pt x="1640" y="377"/>
                  </a:lnTo>
                  <a:lnTo>
                    <a:pt x="1434" y="401"/>
                  </a:lnTo>
                  <a:lnTo>
                    <a:pt x="1395" y="407"/>
                  </a:lnTo>
                  <a:lnTo>
                    <a:pt x="1357" y="415"/>
                  </a:lnTo>
                  <a:lnTo>
                    <a:pt x="1319" y="423"/>
                  </a:lnTo>
                  <a:lnTo>
                    <a:pt x="1282" y="433"/>
                  </a:lnTo>
                  <a:lnTo>
                    <a:pt x="1244" y="444"/>
                  </a:lnTo>
                  <a:lnTo>
                    <a:pt x="1208" y="456"/>
                  </a:lnTo>
                  <a:lnTo>
                    <a:pt x="1173" y="470"/>
                  </a:lnTo>
                  <a:lnTo>
                    <a:pt x="1138" y="485"/>
                  </a:lnTo>
                  <a:lnTo>
                    <a:pt x="1104" y="502"/>
                  </a:lnTo>
                  <a:lnTo>
                    <a:pt x="1070" y="519"/>
                  </a:lnTo>
                  <a:lnTo>
                    <a:pt x="1037" y="538"/>
                  </a:lnTo>
                  <a:lnTo>
                    <a:pt x="1005" y="558"/>
                  </a:lnTo>
                  <a:lnTo>
                    <a:pt x="974" y="580"/>
                  </a:lnTo>
                  <a:lnTo>
                    <a:pt x="944" y="602"/>
                  </a:lnTo>
                  <a:lnTo>
                    <a:pt x="914" y="626"/>
                  </a:lnTo>
                  <a:lnTo>
                    <a:pt x="885" y="650"/>
                  </a:lnTo>
                  <a:lnTo>
                    <a:pt x="858" y="676"/>
                  </a:lnTo>
                  <a:lnTo>
                    <a:pt x="831" y="702"/>
                  </a:lnTo>
                  <a:lnTo>
                    <a:pt x="806" y="730"/>
                  </a:lnTo>
                  <a:lnTo>
                    <a:pt x="781" y="759"/>
                  </a:lnTo>
                  <a:lnTo>
                    <a:pt x="757" y="789"/>
                  </a:lnTo>
                  <a:lnTo>
                    <a:pt x="734" y="819"/>
                  </a:lnTo>
                  <a:lnTo>
                    <a:pt x="713" y="850"/>
                  </a:lnTo>
                  <a:lnTo>
                    <a:pt x="693" y="882"/>
                  </a:lnTo>
                  <a:lnTo>
                    <a:pt x="674" y="916"/>
                  </a:lnTo>
                  <a:lnTo>
                    <a:pt x="657" y="950"/>
                  </a:lnTo>
                  <a:lnTo>
                    <a:pt x="640" y="984"/>
                  </a:lnTo>
                  <a:lnTo>
                    <a:pt x="625" y="1019"/>
                  </a:lnTo>
                  <a:lnTo>
                    <a:pt x="611" y="1055"/>
                  </a:lnTo>
                  <a:lnTo>
                    <a:pt x="599" y="1093"/>
                  </a:lnTo>
                  <a:lnTo>
                    <a:pt x="586" y="1130"/>
                  </a:lnTo>
                  <a:lnTo>
                    <a:pt x="577" y="1168"/>
                  </a:lnTo>
                  <a:lnTo>
                    <a:pt x="507" y="1471"/>
                  </a:lnTo>
                  <a:lnTo>
                    <a:pt x="442" y="1775"/>
                  </a:lnTo>
                  <a:lnTo>
                    <a:pt x="381" y="2078"/>
                  </a:lnTo>
                  <a:lnTo>
                    <a:pt x="325" y="2381"/>
                  </a:lnTo>
                  <a:lnTo>
                    <a:pt x="273" y="2686"/>
                  </a:lnTo>
                  <a:lnTo>
                    <a:pt x="225" y="2990"/>
                  </a:lnTo>
                  <a:lnTo>
                    <a:pt x="183" y="3294"/>
                  </a:lnTo>
                  <a:lnTo>
                    <a:pt x="145" y="3599"/>
                  </a:lnTo>
                  <a:lnTo>
                    <a:pt x="111" y="3904"/>
                  </a:lnTo>
                  <a:lnTo>
                    <a:pt x="81" y="4208"/>
                  </a:lnTo>
                  <a:lnTo>
                    <a:pt x="56" y="4513"/>
                  </a:lnTo>
                  <a:lnTo>
                    <a:pt x="36" y="4818"/>
                  </a:lnTo>
                  <a:lnTo>
                    <a:pt x="20" y="5123"/>
                  </a:lnTo>
                  <a:lnTo>
                    <a:pt x="9" y="5428"/>
                  </a:lnTo>
                  <a:lnTo>
                    <a:pt x="2" y="5734"/>
                  </a:lnTo>
                  <a:lnTo>
                    <a:pt x="0" y="6038"/>
                  </a:lnTo>
                  <a:lnTo>
                    <a:pt x="2" y="6343"/>
                  </a:lnTo>
                  <a:lnTo>
                    <a:pt x="9" y="6649"/>
                  </a:lnTo>
                  <a:lnTo>
                    <a:pt x="20" y="6954"/>
                  </a:lnTo>
                  <a:lnTo>
                    <a:pt x="36" y="7259"/>
                  </a:lnTo>
                  <a:lnTo>
                    <a:pt x="56" y="7564"/>
                  </a:lnTo>
                  <a:lnTo>
                    <a:pt x="81" y="7869"/>
                  </a:lnTo>
                  <a:lnTo>
                    <a:pt x="111" y="8173"/>
                  </a:lnTo>
                  <a:lnTo>
                    <a:pt x="145" y="8478"/>
                  </a:lnTo>
                  <a:lnTo>
                    <a:pt x="183" y="8783"/>
                  </a:lnTo>
                  <a:lnTo>
                    <a:pt x="225" y="9087"/>
                  </a:lnTo>
                  <a:lnTo>
                    <a:pt x="273" y="9392"/>
                  </a:lnTo>
                  <a:lnTo>
                    <a:pt x="325" y="9696"/>
                  </a:lnTo>
                  <a:lnTo>
                    <a:pt x="381" y="9999"/>
                  </a:lnTo>
                  <a:lnTo>
                    <a:pt x="442" y="10303"/>
                  </a:lnTo>
                  <a:lnTo>
                    <a:pt x="507" y="10606"/>
                  </a:lnTo>
                  <a:lnTo>
                    <a:pt x="577" y="10910"/>
                  </a:lnTo>
                  <a:lnTo>
                    <a:pt x="586" y="10947"/>
                  </a:lnTo>
                  <a:lnTo>
                    <a:pt x="599" y="10985"/>
                  </a:lnTo>
                  <a:lnTo>
                    <a:pt x="611" y="11022"/>
                  </a:lnTo>
                  <a:lnTo>
                    <a:pt x="625" y="11058"/>
                  </a:lnTo>
                  <a:lnTo>
                    <a:pt x="640" y="11093"/>
                  </a:lnTo>
                  <a:lnTo>
                    <a:pt x="657" y="11128"/>
                  </a:lnTo>
                  <a:lnTo>
                    <a:pt x="674" y="11161"/>
                  </a:lnTo>
                  <a:lnTo>
                    <a:pt x="693" y="11195"/>
                  </a:lnTo>
                  <a:lnTo>
                    <a:pt x="713" y="11227"/>
                  </a:lnTo>
                  <a:lnTo>
                    <a:pt x="734" y="11258"/>
                  </a:lnTo>
                  <a:lnTo>
                    <a:pt x="757" y="11289"/>
                  </a:lnTo>
                  <a:lnTo>
                    <a:pt x="781" y="11318"/>
                  </a:lnTo>
                  <a:lnTo>
                    <a:pt x="806" y="11348"/>
                  </a:lnTo>
                  <a:lnTo>
                    <a:pt x="831" y="11375"/>
                  </a:lnTo>
                  <a:lnTo>
                    <a:pt x="858" y="11402"/>
                  </a:lnTo>
                  <a:lnTo>
                    <a:pt x="885" y="11427"/>
                  </a:lnTo>
                  <a:lnTo>
                    <a:pt x="914" y="11451"/>
                  </a:lnTo>
                  <a:lnTo>
                    <a:pt x="944" y="11475"/>
                  </a:lnTo>
                  <a:lnTo>
                    <a:pt x="974" y="11497"/>
                  </a:lnTo>
                  <a:lnTo>
                    <a:pt x="1005" y="11519"/>
                  </a:lnTo>
                  <a:lnTo>
                    <a:pt x="1037" y="11539"/>
                  </a:lnTo>
                  <a:lnTo>
                    <a:pt x="1070" y="11558"/>
                  </a:lnTo>
                  <a:lnTo>
                    <a:pt x="1104" y="11576"/>
                  </a:lnTo>
                  <a:lnTo>
                    <a:pt x="1138" y="11592"/>
                  </a:lnTo>
                  <a:lnTo>
                    <a:pt x="1173" y="11607"/>
                  </a:lnTo>
                  <a:lnTo>
                    <a:pt x="1208" y="11621"/>
                  </a:lnTo>
                  <a:lnTo>
                    <a:pt x="1244" y="11633"/>
                  </a:lnTo>
                  <a:lnTo>
                    <a:pt x="1282" y="11644"/>
                  </a:lnTo>
                  <a:lnTo>
                    <a:pt x="1319" y="11654"/>
                  </a:lnTo>
                  <a:lnTo>
                    <a:pt x="1357" y="11662"/>
                  </a:lnTo>
                  <a:lnTo>
                    <a:pt x="1395" y="11669"/>
                  </a:lnTo>
                  <a:lnTo>
                    <a:pt x="1434" y="11676"/>
                  </a:lnTo>
                  <a:lnTo>
                    <a:pt x="1633" y="11699"/>
                  </a:lnTo>
                  <a:lnTo>
                    <a:pt x="1831" y="11722"/>
                  </a:lnTo>
                  <a:lnTo>
                    <a:pt x="2030" y="11744"/>
                  </a:lnTo>
                  <a:lnTo>
                    <a:pt x="2228" y="11765"/>
                  </a:lnTo>
                  <a:lnTo>
                    <a:pt x="2427" y="11786"/>
                  </a:lnTo>
                  <a:lnTo>
                    <a:pt x="2627" y="11805"/>
                  </a:lnTo>
                  <a:lnTo>
                    <a:pt x="2826" y="11824"/>
                  </a:lnTo>
                  <a:lnTo>
                    <a:pt x="3025" y="11844"/>
                  </a:lnTo>
                  <a:lnTo>
                    <a:pt x="3224" y="11861"/>
                  </a:lnTo>
                  <a:lnTo>
                    <a:pt x="3423" y="11878"/>
                  </a:lnTo>
                  <a:lnTo>
                    <a:pt x="3622" y="11894"/>
                  </a:lnTo>
                  <a:lnTo>
                    <a:pt x="3822" y="11910"/>
                  </a:lnTo>
                  <a:lnTo>
                    <a:pt x="4021" y="11924"/>
                  </a:lnTo>
                  <a:lnTo>
                    <a:pt x="4221" y="11939"/>
                  </a:lnTo>
                  <a:lnTo>
                    <a:pt x="4420" y="11952"/>
                  </a:lnTo>
                  <a:lnTo>
                    <a:pt x="4619" y="11965"/>
                  </a:lnTo>
                  <a:lnTo>
                    <a:pt x="4599" y="11978"/>
                  </a:lnTo>
                  <a:lnTo>
                    <a:pt x="4581" y="11992"/>
                  </a:lnTo>
                  <a:lnTo>
                    <a:pt x="4565" y="12007"/>
                  </a:lnTo>
                  <a:lnTo>
                    <a:pt x="4551" y="12021"/>
                  </a:lnTo>
                  <a:lnTo>
                    <a:pt x="4546" y="12028"/>
                  </a:lnTo>
                  <a:lnTo>
                    <a:pt x="4540" y="12035"/>
                  </a:lnTo>
                  <a:lnTo>
                    <a:pt x="4536" y="12042"/>
                  </a:lnTo>
                  <a:lnTo>
                    <a:pt x="4533" y="12049"/>
                  </a:lnTo>
                  <a:lnTo>
                    <a:pt x="4530" y="12056"/>
                  </a:lnTo>
                  <a:lnTo>
                    <a:pt x="4528" y="12063"/>
                  </a:lnTo>
                  <a:lnTo>
                    <a:pt x="4526" y="12070"/>
                  </a:lnTo>
                  <a:lnTo>
                    <a:pt x="4526" y="12077"/>
                  </a:lnTo>
                  <a:lnTo>
                    <a:pt x="4531" y="12103"/>
                  </a:lnTo>
                  <a:lnTo>
                    <a:pt x="4544" y="12128"/>
                  </a:lnTo>
                  <a:lnTo>
                    <a:pt x="4566" y="12153"/>
                  </a:lnTo>
                  <a:lnTo>
                    <a:pt x="4597" y="12179"/>
                  </a:lnTo>
                  <a:lnTo>
                    <a:pt x="4636" y="12203"/>
                  </a:lnTo>
                  <a:lnTo>
                    <a:pt x="4684" y="12227"/>
                  </a:lnTo>
                  <a:lnTo>
                    <a:pt x="4739" y="12250"/>
                  </a:lnTo>
                  <a:lnTo>
                    <a:pt x="4802" y="12273"/>
                  </a:lnTo>
                  <a:lnTo>
                    <a:pt x="4873" y="12295"/>
                  </a:lnTo>
                  <a:lnTo>
                    <a:pt x="4950" y="12316"/>
                  </a:lnTo>
                  <a:lnTo>
                    <a:pt x="5036" y="12338"/>
                  </a:lnTo>
                  <a:lnTo>
                    <a:pt x="5127" y="12359"/>
                  </a:lnTo>
                  <a:lnTo>
                    <a:pt x="5225" y="12378"/>
                  </a:lnTo>
                  <a:lnTo>
                    <a:pt x="5329" y="12397"/>
                  </a:lnTo>
                  <a:lnTo>
                    <a:pt x="5440" y="12415"/>
                  </a:lnTo>
                  <a:lnTo>
                    <a:pt x="5557" y="12433"/>
                  </a:lnTo>
                  <a:lnTo>
                    <a:pt x="5680" y="12449"/>
                  </a:lnTo>
                  <a:lnTo>
                    <a:pt x="5807" y="12465"/>
                  </a:lnTo>
                  <a:lnTo>
                    <a:pt x="5940" y="12480"/>
                  </a:lnTo>
                  <a:lnTo>
                    <a:pt x="6078" y="12494"/>
                  </a:lnTo>
                  <a:lnTo>
                    <a:pt x="6221" y="12508"/>
                  </a:lnTo>
                  <a:lnTo>
                    <a:pt x="6369" y="12520"/>
                  </a:lnTo>
                  <a:lnTo>
                    <a:pt x="6520" y="12531"/>
                  </a:lnTo>
                  <a:lnTo>
                    <a:pt x="6676" y="12541"/>
                  </a:lnTo>
                  <a:lnTo>
                    <a:pt x="6836" y="12550"/>
                  </a:lnTo>
                  <a:lnTo>
                    <a:pt x="7000" y="12558"/>
                  </a:lnTo>
                  <a:lnTo>
                    <a:pt x="7167" y="12564"/>
                  </a:lnTo>
                  <a:lnTo>
                    <a:pt x="7337" y="12570"/>
                  </a:lnTo>
                  <a:lnTo>
                    <a:pt x="7511" y="12574"/>
                  </a:lnTo>
                  <a:lnTo>
                    <a:pt x="7687" y="12577"/>
                  </a:lnTo>
                  <a:lnTo>
                    <a:pt x="7866" y="12579"/>
                  </a:lnTo>
                  <a:lnTo>
                    <a:pt x="8048" y="12580"/>
                  </a:lnTo>
                  <a:lnTo>
                    <a:pt x="8229" y="12579"/>
                  </a:lnTo>
                  <a:lnTo>
                    <a:pt x="8408" y="12577"/>
                  </a:lnTo>
                  <a:lnTo>
                    <a:pt x="8584" y="12574"/>
                  </a:lnTo>
                  <a:lnTo>
                    <a:pt x="8758" y="12570"/>
                  </a:lnTo>
                  <a:lnTo>
                    <a:pt x="8928" y="12564"/>
                  </a:lnTo>
                  <a:lnTo>
                    <a:pt x="9095" y="12558"/>
                  </a:lnTo>
                  <a:lnTo>
                    <a:pt x="9259" y="12550"/>
                  </a:lnTo>
                  <a:lnTo>
                    <a:pt x="9419" y="12541"/>
                  </a:lnTo>
                  <a:lnTo>
                    <a:pt x="9575" y="12531"/>
                  </a:lnTo>
                  <a:lnTo>
                    <a:pt x="9726" y="12520"/>
                  </a:lnTo>
                  <a:lnTo>
                    <a:pt x="9874" y="12508"/>
                  </a:lnTo>
                  <a:lnTo>
                    <a:pt x="10017" y="12494"/>
                  </a:lnTo>
                  <a:lnTo>
                    <a:pt x="10155" y="12480"/>
                  </a:lnTo>
                  <a:lnTo>
                    <a:pt x="10288" y="12465"/>
                  </a:lnTo>
                  <a:lnTo>
                    <a:pt x="10415" y="12449"/>
                  </a:lnTo>
                  <a:lnTo>
                    <a:pt x="10538" y="12433"/>
                  </a:lnTo>
                  <a:lnTo>
                    <a:pt x="10655" y="12415"/>
                  </a:lnTo>
                  <a:lnTo>
                    <a:pt x="10766" y="12397"/>
                  </a:lnTo>
                  <a:lnTo>
                    <a:pt x="10870" y="12378"/>
                  </a:lnTo>
                  <a:lnTo>
                    <a:pt x="10968" y="12359"/>
                  </a:lnTo>
                  <a:lnTo>
                    <a:pt x="11059" y="12338"/>
                  </a:lnTo>
                  <a:lnTo>
                    <a:pt x="11145" y="12316"/>
                  </a:lnTo>
                  <a:lnTo>
                    <a:pt x="11222" y="12295"/>
                  </a:lnTo>
                  <a:lnTo>
                    <a:pt x="11293" y="12273"/>
                  </a:lnTo>
                  <a:lnTo>
                    <a:pt x="11356" y="12250"/>
                  </a:lnTo>
                  <a:lnTo>
                    <a:pt x="11411" y="12227"/>
                  </a:lnTo>
                  <a:lnTo>
                    <a:pt x="11459" y="12203"/>
                  </a:lnTo>
                  <a:lnTo>
                    <a:pt x="11498" y="12179"/>
                  </a:lnTo>
                  <a:lnTo>
                    <a:pt x="11529" y="12153"/>
                  </a:lnTo>
                  <a:lnTo>
                    <a:pt x="11551" y="12128"/>
                  </a:lnTo>
                  <a:lnTo>
                    <a:pt x="11565" y="12103"/>
                  </a:lnTo>
                  <a:lnTo>
                    <a:pt x="11569" y="12077"/>
                  </a:lnTo>
                  <a:lnTo>
                    <a:pt x="11569" y="12070"/>
                  </a:lnTo>
                  <a:lnTo>
                    <a:pt x="11568" y="12063"/>
                  </a:lnTo>
                  <a:lnTo>
                    <a:pt x="11565" y="12056"/>
                  </a:lnTo>
                  <a:lnTo>
                    <a:pt x="11563" y="12049"/>
                  </a:lnTo>
                  <a:lnTo>
                    <a:pt x="11559" y="12042"/>
                  </a:lnTo>
                  <a:lnTo>
                    <a:pt x="11554" y="12035"/>
                  </a:lnTo>
                  <a:lnTo>
                    <a:pt x="11549" y="12028"/>
                  </a:lnTo>
                  <a:lnTo>
                    <a:pt x="11544" y="12021"/>
                  </a:lnTo>
                  <a:lnTo>
                    <a:pt x="11530" y="12007"/>
                  </a:lnTo>
                  <a:lnTo>
                    <a:pt x="11514" y="11992"/>
                  </a:lnTo>
                  <a:lnTo>
                    <a:pt x="11496" y="11978"/>
                  </a:lnTo>
                  <a:lnTo>
                    <a:pt x="11475" y="11965"/>
                  </a:lnTo>
                  <a:lnTo>
                    <a:pt x="11674" y="11952"/>
                  </a:lnTo>
                  <a:lnTo>
                    <a:pt x="11874" y="11939"/>
                  </a:lnTo>
                  <a:lnTo>
                    <a:pt x="12073" y="11924"/>
                  </a:lnTo>
                  <a:lnTo>
                    <a:pt x="12272" y="11910"/>
                  </a:lnTo>
                  <a:lnTo>
                    <a:pt x="12473" y="11894"/>
                  </a:lnTo>
                  <a:lnTo>
                    <a:pt x="12672" y="11878"/>
                  </a:lnTo>
                  <a:lnTo>
                    <a:pt x="12871" y="11861"/>
                  </a:lnTo>
                  <a:lnTo>
                    <a:pt x="13070" y="11844"/>
                  </a:lnTo>
                  <a:lnTo>
                    <a:pt x="13269" y="11824"/>
                  </a:lnTo>
                  <a:lnTo>
                    <a:pt x="13468" y="11805"/>
                  </a:lnTo>
                  <a:lnTo>
                    <a:pt x="13668" y="11786"/>
                  </a:lnTo>
                  <a:lnTo>
                    <a:pt x="13867" y="11765"/>
                  </a:lnTo>
                  <a:lnTo>
                    <a:pt x="14065" y="11744"/>
                  </a:lnTo>
                  <a:lnTo>
                    <a:pt x="14263" y="11722"/>
                  </a:lnTo>
                  <a:lnTo>
                    <a:pt x="14462" y="11699"/>
                  </a:lnTo>
                  <a:lnTo>
                    <a:pt x="14661" y="11676"/>
                  </a:lnTo>
                  <a:lnTo>
                    <a:pt x="14699" y="11669"/>
                  </a:lnTo>
                  <a:lnTo>
                    <a:pt x="14738" y="11662"/>
                  </a:lnTo>
                  <a:lnTo>
                    <a:pt x="14775" y="11654"/>
                  </a:lnTo>
                  <a:lnTo>
                    <a:pt x="14813" y="11644"/>
                  </a:lnTo>
                  <a:lnTo>
                    <a:pt x="14850" y="11633"/>
                  </a:lnTo>
                  <a:lnTo>
                    <a:pt x="14886" y="11621"/>
                  </a:lnTo>
                  <a:lnTo>
                    <a:pt x="14922" y="11607"/>
                  </a:lnTo>
                  <a:lnTo>
                    <a:pt x="14956" y="11592"/>
                  </a:lnTo>
                  <a:lnTo>
                    <a:pt x="14990" y="11576"/>
                  </a:lnTo>
                  <a:lnTo>
                    <a:pt x="15025" y="11558"/>
                  </a:lnTo>
                  <a:lnTo>
                    <a:pt x="15057" y="11539"/>
                  </a:lnTo>
                  <a:lnTo>
                    <a:pt x="15089" y="11519"/>
                  </a:lnTo>
                  <a:lnTo>
                    <a:pt x="15120" y="11497"/>
                  </a:lnTo>
                  <a:lnTo>
                    <a:pt x="15150" y="11475"/>
                  </a:lnTo>
                  <a:lnTo>
                    <a:pt x="15181" y="11451"/>
                  </a:lnTo>
                  <a:lnTo>
                    <a:pt x="15209" y="11427"/>
                  </a:lnTo>
                  <a:lnTo>
                    <a:pt x="15237" y="11402"/>
                  </a:lnTo>
                  <a:lnTo>
                    <a:pt x="15263" y="11375"/>
                  </a:lnTo>
                  <a:lnTo>
                    <a:pt x="15289" y="11348"/>
                  </a:lnTo>
                  <a:lnTo>
                    <a:pt x="15313" y="11318"/>
                  </a:lnTo>
                  <a:lnTo>
                    <a:pt x="15338" y="11289"/>
                  </a:lnTo>
                  <a:lnTo>
                    <a:pt x="15360" y="11258"/>
                  </a:lnTo>
                  <a:lnTo>
                    <a:pt x="15381" y="11227"/>
                  </a:lnTo>
                  <a:lnTo>
                    <a:pt x="15401" y="11195"/>
                  </a:lnTo>
                  <a:lnTo>
                    <a:pt x="15420" y="11161"/>
                  </a:lnTo>
                  <a:lnTo>
                    <a:pt x="15438" y="11128"/>
                  </a:lnTo>
                  <a:lnTo>
                    <a:pt x="15454" y="11093"/>
                  </a:lnTo>
                  <a:lnTo>
                    <a:pt x="15470" y="11058"/>
                  </a:lnTo>
                  <a:lnTo>
                    <a:pt x="15483" y="11022"/>
                  </a:lnTo>
                  <a:lnTo>
                    <a:pt x="15496" y="10985"/>
                  </a:lnTo>
                  <a:lnTo>
                    <a:pt x="15508" y="10947"/>
                  </a:lnTo>
                  <a:lnTo>
                    <a:pt x="15518" y="10910"/>
                  </a:lnTo>
                  <a:lnTo>
                    <a:pt x="15587" y="10606"/>
                  </a:lnTo>
                  <a:lnTo>
                    <a:pt x="15652" y="10303"/>
                  </a:lnTo>
                  <a:lnTo>
                    <a:pt x="15714" y="9999"/>
                  </a:lnTo>
                  <a:lnTo>
                    <a:pt x="15770" y="9696"/>
                  </a:lnTo>
                  <a:lnTo>
                    <a:pt x="15822" y="9392"/>
                  </a:lnTo>
                  <a:lnTo>
                    <a:pt x="15870" y="9087"/>
                  </a:lnTo>
                  <a:lnTo>
                    <a:pt x="15912" y="8783"/>
                  </a:lnTo>
                  <a:lnTo>
                    <a:pt x="15950" y="8478"/>
                  </a:lnTo>
                  <a:lnTo>
                    <a:pt x="15984" y="8173"/>
                  </a:lnTo>
                  <a:lnTo>
                    <a:pt x="16014" y="7869"/>
                  </a:lnTo>
                  <a:lnTo>
                    <a:pt x="16039" y="7564"/>
                  </a:lnTo>
                  <a:lnTo>
                    <a:pt x="16059" y="7259"/>
                  </a:lnTo>
                  <a:lnTo>
                    <a:pt x="16075" y="6954"/>
                  </a:lnTo>
                  <a:lnTo>
                    <a:pt x="16086" y="6649"/>
                  </a:lnTo>
                  <a:lnTo>
                    <a:pt x="16093" y="6343"/>
                  </a:lnTo>
                  <a:lnTo>
                    <a:pt x="16095" y="6038"/>
                  </a:lnTo>
                  <a:lnTo>
                    <a:pt x="16093" y="5734"/>
                  </a:lnTo>
                  <a:lnTo>
                    <a:pt x="16086" y="5428"/>
                  </a:lnTo>
                  <a:lnTo>
                    <a:pt x="16075" y="5123"/>
                  </a:lnTo>
                  <a:lnTo>
                    <a:pt x="16059" y="4818"/>
                  </a:lnTo>
                  <a:lnTo>
                    <a:pt x="16039" y="4513"/>
                  </a:lnTo>
                  <a:lnTo>
                    <a:pt x="16014" y="4208"/>
                  </a:lnTo>
                  <a:lnTo>
                    <a:pt x="15984" y="3904"/>
                  </a:lnTo>
                  <a:lnTo>
                    <a:pt x="15950" y="3599"/>
                  </a:lnTo>
                  <a:lnTo>
                    <a:pt x="15912" y="3294"/>
                  </a:lnTo>
                  <a:lnTo>
                    <a:pt x="15870" y="2990"/>
                  </a:lnTo>
                  <a:lnTo>
                    <a:pt x="15822" y="2686"/>
                  </a:lnTo>
                  <a:lnTo>
                    <a:pt x="15770" y="2381"/>
                  </a:lnTo>
                  <a:lnTo>
                    <a:pt x="15714" y="2078"/>
                  </a:lnTo>
                  <a:lnTo>
                    <a:pt x="15652" y="1775"/>
                  </a:lnTo>
                  <a:lnTo>
                    <a:pt x="15587" y="1471"/>
                  </a:lnTo>
                  <a:lnTo>
                    <a:pt x="15518" y="1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67" name="íśḻîḓe">
              <a:extLst>
                <a:ext uri="{FF2B5EF4-FFF2-40B4-BE49-F238E27FC236}">
                  <a16:creationId xmlns:a16="http://schemas.microsoft.com/office/drawing/2014/main" id="{59412C0A-BA32-45F9-A74A-48D57361D9EA}"/>
                </a:ext>
              </a:extLst>
            </p:cNvPr>
            <p:cNvSpPr/>
            <p:nvPr/>
          </p:nvSpPr>
          <p:spPr bwMode="auto">
            <a:xfrm>
              <a:off x="1601076" y="1412399"/>
              <a:ext cx="29446" cy="29447"/>
            </a:xfrm>
            <a:custGeom>
              <a:avLst/>
              <a:gdLst>
                <a:gd name="T0" fmla="*/ 806 w 1510"/>
                <a:gd name="T1" fmla="*/ 508 h 1509"/>
                <a:gd name="T2" fmla="*/ 864 w 1510"/>
                <a:gd name="T3" fmla="*/ 528 h 1509"/>
                <a:gd name="T4" fmla="*/ 915 w 1510"/>
                <a:gd name="T5" fmla="*/ 561 h 1509"/>
                <a:gd name="T6" fmla="*/ 957 w 1510"/>
                <a:gd name="T7" fmla="*/ 605 h 1509"/>
                <a:gd name="T8" fmla="*/ 987 w 1510"/>
                <a:gd name="T9" fmla="*/ 657 h 1509"/>
                <a:gd name="T10" fmla="*/ 1004 w 1510"/>
                <a:gd name="T11" fmla="*/ 717 h 1509"/>
                <a:gd name="T12" fmla="*/ 1005 w 1510"/>
                <a:gd name="T13" fmla="*/ 781 h 1509"/>
                <a:gd name="T14" fmla="*/ 991 w 1510"/>
                <a:gd name="T15" fmla="*/ 841 h 1509"/>
                <a:gd name="T16" fmla="*/ 964 w 1510"/>
                <a:gd name="T17" fmla="*/ 896 h 1509"/>
                <a:gd name="T18" fmla="*/ 924 w 1510"/>
                <a:gd name="T19" fmla="*/ 941 h 1509"/>
                <a:gd name="T20" fmla="*/ 875 w 1510"/>
                <a:gd name="T21" fmla="*/ 976 h 1509"/>
                <a:gd name="T22" fmla="*/ 818 w 1510"/>
                <a:gd name="T23" fmla="*/ 998 h 1509"/>
                <a:gd name="T24" fmla="*/ 756 w 1510"/>
                <a:gd name="T25" fmla="*/ 1006 h 1509"/>
                <a:gd name="T26" fmla="*/ 692 w 1510"/>
                <a:gd name="T27" fmla="*/ 998 h 1509"/>
                <a:gd name="T28" fmla="*/ 636 w 1510"/>
                <a:gd name="T29" fmla="*/ 976 h 1509"/>
                <a:gd name="T30" fmla="*/ 587 w 1510"/>
                <a:gd name="T31" fmla="*/ 941 h 1509"/>
                <a:gd name="T32" fmla="*/ 546 w 1510"/>
                <a:gd name="T33" fmla="*/ 896 h 1509"/>
                <a:gd name="T34" fmla="*/ 519 w 1510"/>
                <a:gd name="T35" fmla="*/ 841 h 1509"/>
                <a:gd name="T36" fmla="*/ 505 w 1510"/>
                <a:gd name="T37" fmla="*/ 781 h 1509"/>
                <a:gd name="T38" fmla="*/ 506 w 1510"/>
                <a:gd name="T39" fmla="*/ 717 h 1509"/>
                <a:gd name="T40" fmla="*/ 523 w 1510"/>
                <a:gd name="T41" fmla="*/ 657 h 1509"/>
                <a:gd name="T42" fmla="*/ 553 w 1510"/>
                <a:gd name="T43" fmla="*/ 605 h 1509"/>
                <a:gd name="T44" fmla="*/ 596 w 1510"/>
                <a:gd name="T45" fmla="*/ 561 h 1509"/>
                <a:gd name="T46" fmla="*/ 646 w 1510"/>
                <a:gd name="T47" fmla="*/ 528 h 1509"/>
                <a:gd name="T48" fmla="*/ 704 w 1510"/>
                <a:gd name="T49" fmla="*/ 508 h 1509"/>
                <a:gd name="T50" fmla="*/ 756 w 1510"/>
                <a:gd name="T51" fmla="*/ 1509 h 1509"/>
                <a:gd name="T52" fmla="*/ 944 w 1510"/>
                <a:gd name="T53" fmla="*/ 1486 h 1509"/>
                <a:gd name="T54" fmla="*/ 1115 w 1510"/>
                <a:gd name="T55" fmla="*/ 1419 h 1509"/>
                <a:gd name="T56" fmla="*/ 1263 w 1510"/>
                <a:gd name="T57" fmla="*/ 1313 h 1509"/>
                <a:gd name="T58" fmla="*/ 1381 w 1510"/>
                <a:gd name="T59" fmla="*/ 1177 h 1509"/>
                <a:gd name="T60" fmla="*/ 1464 w 1510"/>
                <a:gd name="T61" fmla="*/ 1014 h 1509"/>
                <a:gd name="T62" fmla="*/ 1506 w 1510"/>
                <a:gd name="T63" fmla="*/ 832 h 1509"/>
                <a:gd name="T64" fmla="*/ 1501 w 1510"/>
                <a:gd name="T65" fmla="*/ 640 h 1509"/>
                <a:gd name="T66" fmla="*/ 1451 w 1510"/>
                <a:gd name="T67" fmla="*/ 461 h 1509"/>
                <a:gd name="T68" fmla="*/ 1360 w 1510"/>
                <a:gd name="T69" fmla="*/ 303 h 1509"/>
                <a:gd name="T70" fmla="*/ 1236 w 1510"/>
                <a:gd name="T71" fmla="*/ 172 h 1509"/>
                <a:gd name="T72" fmla="*/ 1083 w 1510"/>
                <a:gd name="T73" fmla="*/ 75 h 1509"/>
                <a:gd name="T74" fmla="*/ 908 w 1510"/>
                <a:gd name="T75" fmla="*/ 15 h 1509"/>
                <a:gd name="T76" fmla="*/ 716 w 1510"/>
                <a:gd name="T77" fmla="*/ 1 h 1509"/>
                <a:gd name="T78" fmla="*/ 531 w 1510"/>
                <a:gd name="T79" fmla="*/ 34 h 1509"/>
                <a:gd name="T80" fmla="*/ 364 w 1510"/>
                <a:gd name="T81" fmla="*/ 110 h 1509"/>
                <a:gd name="T82" fmla="*/ 222 w 1510"/>
                <a:gd name="T83" fmla="*/ 222 h 1509"/>
                <a:gd name="T84" fmla="*/ 110 w 1510"/>
                <a:gd name="T85" fmla="*/ 363 h 1509"/>
                <a:gd name="T86" fmla="*/ 34 w 1510"/>
                <a:gd name="T87" fmla="*/ 530 h 1509"/>
                <a:gd name="T88" fmla="*/ 1 w 1510"/>
                <a:gd name="T89" fmla="*/ 717 h 1509"/>
                <a:gd name="T90" fmla="*/ 16 w 1510"/>
                <a:gd name="T91" fmla="*/ 907 h 1509"/>
                <a:gd name="T92" fmla="*/ 75 w 1510"/>
                <a:gd name="T93" fmla="*/ 1082 h 1509"/>
                <a:gd name="T94" fmla="*/ 173 w 1510"/>
                <a:gd name="T95" fmla="*/ 1235 h 1509"/>
                <a:gd name="T96" fmla="*/ 304 w 1510"/>
                <a:gd name="T97" fmla="*/ 1359 h 1509"/>
                <a:gd name="T98" fmla="*/ 462 w 1510"/>
                <a:gd name="T99" fmla="*/ 1450 h 1509"/>
                <a:gd name="T100" fmla="*/ 640 w 1510"/>
                <a:gd name="T101" fmla="*/ 1501 h 1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10" h="1509">
                  <a:moveTo>
                    <a:pt x="756" y="503"/>
                  </a:moveTo>
                  <a:lnTo>
                    <a:pt x="769" y="503"/>
                  </a:lnTo>
                  <a:lnTo>
                    <a:pt x="781" y="504"/>
                  </a:lnTo>
                  <a:lnTo>
                    <a:pt x="794" y="506"/>
                  </a:lnTo>
                  <a:lnTo>
                    <a:pt x="806" y="508"/>
                  </a:lnTo>
                  <a:lnTo>
                    <a:pt x="818" y="511"/>
                  </a:lnTo>
                  <a:lnTo>
                    <a:pt x="830" y="514"/>
                  </a:lnTo>
                  <a:lnTo>
                    <a:pt x="841" y="518"/>
                  </a:lnTo>
                  <a:lnTo>
                    <a:pt x="853" y="523"/>
                  </a:lnTo>
                  <a:lnTo>
                    <a:pt x="864" y="528"/>
                  </a:lnTo>
                  <a:lnTo>
                    <a:pt x="875" y="533"/>
                  </a:lnTo>
                  <a:lnTo>
                    <a:pt x="885" y="539"/>
                  </a:lnTo>
                  <a:lnTo>
                    <a:pt x="896" y="547"/>
                  </a:lnTo>
                  <a:lnTo>
                    <a:pt x="906" y="554"/>
                  </a:lnTo>
                  <a:lnTo>
                    <a:pt x="915" y="561"/>
                  </a:lnTo>
                  <a:lnTo>
                    <a:pt x="924" y="569"/>
                  </a:lnTo>
                  <a:lnTo>
                    <a:pt x="933" y="578"/>
                  </a:lnTo>
                  <a:lnTo>
                    <a:pt x="941" y="586"/>
                  </a:lnTo>
                  <a:lnTo>
                    <a:pt x="949" y="595"/>
                  </a:lnTo>
                  <a:lnTo>
                    <a:pt x="957" y="605"/>
                  </a:lnTo>
                  <a:lnTo>
                    <a:pt x="964" y="615"/>
                  </a:lnTo>
                  <a:lnTo>
                    <a:pt x="970" y="625"/>
                  </a:lnTo>
                  <a:lnTo>
                    <a:pt x="976" y="635"/>
                  </a:lnTo>
                  <a:lnTo>
                    <a:pt x="982" y="646"/>
                  </a:lnTo>
                  <a:lnTo>
                    <a:pt x="987" y="657"/>
                  </a:lnTo>
                  <a:lnTo>
                    <a:pt x="991" y="668"/>
                  </a:lnTo>
                  <a:lnTo>
                    <a:pt x="995" y="680"/>
                  </a:lnTo>
                  <a:lnTo>
                    <a:pt x="999" y="692"/>
                  </a:lnTo>
                  <a:lnTo>
                    <a:pt x="1001" y="704"/>
                  </a:lnTo>
                  <a:lnTo>
                    <a:pt x="1004" y="717"/>
                  </a:lnTo>
                  <a:lnTo>
                    <a:pt x="1005" y="730"/>
                  </a:lnTo>
                  <a:lnTo>
                    <a:pt x="1006" y="742"/>
                  </a:lnTo>
                  <a:lnTo>
                    <a:pt x="1007" y="755"/>
                  </a:lnTo>
                  <a:lnTo>
                    <a:pt x="1006" y="768"/>
                  </a:lnTo>
                  <a:lnTo>
                    <a:pt x="1005" y="781"/>
                  </a:lnTo>
                  <a:lnTo>
                    <a:pt x="1004" y="793"/>
                  </a:lnTo>
                  <a:lnTo>
                    <a:pt x="1001" y="805"/>
                  </a:lnTo>
                  <a:lnTo>
                    <a:pt x="999" y="818"/>
                  </a:lnTo>
                  <a:lnTo>
                    <a:pt x="995" y="829"/>
                  </a:lnTo>
                  <a:lnTo>
                    <a:pt x="991" y="841"/>
                  </a:lnTo>
                  <a:lnTo>
                    <a:pt x="987" y="852"/>
                  </a:lnTo>
                  <a:lnTo>
                    <a:pt x="982" y="863"/>
                  </a:lnTo>
                  <a:lnTo>
                    <a:pt x="976" y="874"/>
                  </a:lnTo>
                  <a:lnTo>
                    <a:pt x="970" y="886"/>
                  </a:lnTo>
                  <a:lnTo>
                    <a:pt x="964" y="896"/>
                  </a:lnTo>
                  <a:lnTo>
                    <a:pt x="957" y="906"/>
                  </a:lnTo>
                  <a:lnTo>
                    <a:pt x="949" y="915"/>
                  </a:lnTo>
                  <a:lnTo>
                    <a:pt x="941" y="924"/>
                  </a:lnTo>
                  <a:lnTo>
                    <a:pt x="933" y="933"/>
                  </a:lnTo>
                  <a:lnTo>
                    <a:pt x="924" y="941"/>
                  </a:lnTo>
                  <a:lnTo>
                    <a:pt x="915" y="949"/>
                  </a:lnTo>
                  <a:lnTo>
                    <a:pt x="906" y="956"/>
                  </a:lnTo>
                  <a:lnTo>
                    <a:pt x="896" y="963"/>
                  </a:lnTo>
                  <a:lnTo>
                    <a:pt x="885" y="970"/>
                  </a:lnTo>
                  <a:lnTo>
                    <a:pt x="875" y="976"/>
                  </a:lnTo>
                  <a:lnTo>
                    <a:pt x="864" y="981"/>
                  </a:lnTo>
                  <a:lnTo>
                    <a:pt x="853" y="987"/>
                  </a:lnTo>
                  <a:lnTo>
                    <a:pt x="841" y="991"/>
                  </a:lnTo>
                  <a:lnTo>
                    <a:pt x="830" y="995"/>
                  </a:lnTo>
                  <a:lnTo>
                    <a:pt x="818" y="998"/>
                  </a:lnTo>
                  <a:lnTo>
                    <a:pt x="806" y="1001"/>
                  </a:lnTo>
                  <a:lnTo>
                    <a:pt x="794" y="1003"/>
                  </a:lnTo>
                  <a:lnTo>
                    <a:pt x="781" y="1005"/>
                  </a:lnTo>
                  <a:lnTo>
                    <a:pt x="769" y="1006"/>
                  </a:lnTo>
                  <a:lnTo>
                    <a:pt x="756" y="1006"/>
                  </a:lnTo>
                  <a:lnTo>
                    <a:pt x="743" y="1006"/>
                  </a:lnTo>
                  <a:lnTo>
                    <a:pt x="730" y="1005"/>
                  </a:lnTo>
                  <a:lnTo>
                    <a:pt x="717" y="1003"/>
                  </a:lnTo>
                  <a:lnTo>
                    <a:pt x="704" y="1001"/>
                  </a:lnTo>
                  <a:lnTo>
                    <a:pt x="692" y="998"/>
                  </a:lnTo>
                  <a:lnTo>
                    <a:pt x="680" y="995"/>
                  </a:lnTo>
                  <a:lnTo>
                    <a:pt x="669" y="991"/>
                  </a:lnTo>
                  <a:lnTo>
                    <a:pt x="657" y="987"/>
                  </a:lnTo>
                  <a:lnTo>
                    <a:pt x="646" y="981"/>
                  </a:lnTo>
                  <a:lnTo>
                    <a:pt x="636" y="976"/>
                  </a:lnTo>
                  <a:lnTo>
                    <a:pt x="625" y="970"/>
                  </a:lnTo>
                  <a:lnTo>
                    <a:pt x="615" y="963"/>
                  </a:lnTo>
                  <a:lnTo>
                    <a:pt x="605" y="956"/>
                  </a:lnTo>
                  <a:lnTo>
                    <a:pt x="596" y="949"/>
                  </a:lnTo>
                  <a:lnTo>
                    <a:pt x="587" y="941"/>
                  </a:lnTo>
                  <a:lnTo>
                    <a:pt x="578" y="933"/>
                  </a:lnTo>
                  <a:lnTo>
                    <a:pt x="570" y="924"/>
                  </a:lnTo>
                  <a:lnTo>
                    <a:pt x="562" y="915"/>
                  </a:lnTo>
                  <a:lnTo>
                    <a:pt x="553" y="906"/>
                  </a:lnTo>
                  <a:lnTo>
                    <a:pt x="546" y="896"/>
                  </a:lnTo>
                  <a:lnTo>
                    <a:pt x="540" y="886"/>
                  </a:lnTo>
                  <a:lnTo>
                    <a:pt x="534" y="874"/>
                  </a:lnTo>
                  <a:lnTo>
                    <a:pt x="528" y="863"/>
                  </a:lnTo>
                  <a:lnTo>
                    <a:pt x="523" y="852"/>
                  </a:lnTo>
                  <a:lnTo>
                    <a:pt x="519" y="841"/>
                  </a:lnTo>
                  <a:lnTo>
                    <a:pt x="515" y="829"/>
                  </a:lnTo>
                  <a:lnTo>
                    <a:pt x="511" y="818"/>
                  </a:lnTo>
                  <a:lnTo>
                    <a:pt x="509" y="805"/>
                  </a:lnTo>
                  <a:lnTo>
                    <a:pt x="506" y="793"/>
                  </a:lnTo>
                  <a:lnTo>
                    <a:pt x="505" y="781"/>
                  </a:lnTo>
                  <a:lnTo>
                    <a:pt x="504" y="768"/>
                  </a:lnTo>
                  <a:lnTo>
                    <a:pt x="503" y="755"/>
                  </a:lnTo>
                  <a:lnTo>
                    <a:pt x="504" y="742"/>
                  </a:lnTo>
                  <a:lnTo>
                    <a:pt x="505" y="730"/>
                  </a:lnTo>
                  <a:lnTo>
                    <a:pt x="506" y="717"/>
                  </a:lnTo>
                  <a:lnTo>
                    <a:pt x="509" y="704"/>
                  </a:lnTo>
                  <a:lnTo>
                    <a:pt x="511" y="692"/>
                  </a:lnTo>
                  <a:lnTo>
                    <a:pt x="515" y="680"/>
                  </a:lnTo>
                  <a:lnTo>
                    <a:pt x="519" y="668"/>
                  </a:lnTo>
                  <a:lnTo>
                    <a:pt x="523" y="657"/>
                  </a:lnTo>
                  <a:lnTo>
                    <a:pt x="528" y="646"/>
                  </a:lnTo>
                  <a:lnTo>
                    <a:pt x="534" y="635"/>
                  </a:lnTo>
                  <a:lnTo>
                    <a:pt x="540" y="625"/>
                  </a:lnTo>
                  <a:lnTo>
                    <a:pt x="546" y="615"/>
                  </a:lnTo>
                  <a:lnTo>
                    <a:pt x="553" y="605"/>
                  </a:lnTo>
                  <a:lnTo>
                    <a:pt x="562" y="595"/>
                  </a:lnTo>
                  <a:lnTo>
                    <a:pt x="570" y="586"/>
                  </a:lnTo>
                  <a:lnTo>
                    <a:pt x="578" y="578"/>
                  </a:lnTo>
                  <a:lnTo>
                    <a:pt x="587" y="569"/>
                  </a:lnTo>
                  <a:lnTo>
                    <a:pt x="596" y="561"/>
                  </a:lnTo>
                  <a:lnTo>
                    <a:pt x="605" y="554"/>
                  </a:lnTo>
                  <a:lnTo>
                    <a:pt x="615" y="547"/>
                  </a:lnTo>
                  <a:lnTo>
                    <a:pt x="625" y="539"/>
                  </a:lnTo>
                  <a:lnTo>
                    <a:pt x="636" y="533"/>
                  </a:lnTo>
                  <a:lnTo>
                    <a:pt x="646" y="528"/>
                  </a:lnTo>
                  <a:lnTo>
                    <a:pt x="657" y="523"/>
                  </a:lnTo>
                  <a:lnTo>
                    <a:pt x="669" y="518"/>
                  </a:lnTo>
                  <a:lnTo>
                    <a:pt x="680" y="514"/>
                  </a:lnTo>
                  <a:lnTo>
                    <a:pt x="692" y="511"/>
                  </a:lnTo>
                  <a:lnTo>
                    <a:pt x="704" y="508"/>
                  </a:lnTo>
                  <a:lnTo>
                    <a:pt x="717" y="506"/>
                  </a:lnTo>
                  <a:lnTo>
                    <a:pt x="730" y="504"/>
                  </a:lnTo>
                  <a:lnTo>
                    <a:pt x="743" y="503"/>
                  </a:lnTo>
                  <a:lnTo>
                    <a:pt x="756" y="503"/>
                  </a:lnTo>
                  <a:close/>
                  <a:moveTo>
                    <a:pt x="756" y="1509"/>
                  </a:moveTo>
                  <a:lnTo>
                    <a:pt x="794" y="1508"/>
                  </a:lnTo>
                  <a:lnTo>
                    <a:pt x="832" y="1506"/>
                  </a:lnTo>
                  <a:lnTo>
                    <a:pt x="870" y="1501"/>
                  </a:lnTo>
                  <a:lnTo>
                    <a:pt x="908" y="1494"/>
                  </a:lnTo>
                  <a:lnTo>
                    <a:pt x="944" y="1486"/>
                  </a:lnTo>
                  <a:lnTo>
                    <a:pt x="980" y="1476"/>
                  </a:lnTo>
                  <a:lnTo>
                    <a:pt x="1014" y="1464"/>
                  </a:lnTo>
                  <a:lnTo>
                    <a:pt x="1049" y="1450"/>
                  </a:lnTo>
                  <a:lnTo>
                    <a:pt x="1083" y="1435"/>
                  </a:lnTo>
                  <a:lnTo>
                    <a:pt x="1115" y="1419"/>
                  </a:lnTo>
                  <a:lnTo>
                    <a:pt x="1147" y="1401"/>
                  </a:lnTo>
                  <a:lnTo>
                    <a:pt x="1177" y="1381"/>
                  </a:lnTo>
                  <a:lnTo>
                    <a:pt x="1206" y="1359"/>
                  </a:lnTo>
                  <a:lnTo>
                    <a:pt x="1236" y="1337"/>
                  </a:lnTo>
                  <a:lnTo>
                    <a:pt x="1263" y="1313"/>
                  </a:lnTo>
                  <a:lnTo>
                    <a:pt x="1289" y="1289"/>
                  </a:lnTo>
                  <a:lnTo>
                    <a:pt x="1314" y="1263"/>
                  </a:lnTo>
                  <a:lnTo>
                    <a:pt x="1337" y="1235"/>
                  </a:lnTo>
                  <a:lnTo>
                    <a:pt x="1360" y="1206"/>
                  </a:lnTo>
                  <a:lnTo>
                    <a:pt x="1381" y="1177"/>
                  </a:lnTo>
                  <a:lnTo>
                    <a:pt x="1400" y="1146"/>
                  </a:lnTo>
                  <a:lnTo>
                    <a:pt x="1419" y="1115"/>
                  </a:lnTo>
                  <a:lnTo>
                    <a:pt x="1436" y="1082"/>
                  </a:lnTo>
                  <a:lnTo>
                    <a:pt x="1451" y="1049"/>
                  </a:lnTo>
                  <a:lnTo>
                    <a:pt x="1464" y="1014"/>
                  </a:lnTo>
                  <a:lnTo>
                    <a:pt x="1476" y="979"/>
                  </a:lnTo>
                  <a:lnTo>
                    <a:pt x="1486" y="944"/>
                  </a:lnTo>
                  <a:lnTo>
                    <a:pt x="1494" y="907"/>
                  </a:lnTo>
                  <a:lnTo>
                    <a:pt x="1501" y="869"/>
                  </a:lnTo>
                  <a:lnTo>
                    <a:pt x="1506" y="832"/>
                  </a:lnTo>
                  <a:lnTo>
                    <a:pt x="1509" y="794"/>
                  </a:lnTo>
                  <a:lnTo>
                    <a:pt x="1510" y="755"/>
                  </a:lnTo>
                  <a:lnTo>
                    <a:pt x="1509" y="717"/>
                  </a:lnTo>
                  <a:lnTo>
                    <a:pt x="1506" y="678"/>
                  </a:lnTo>
                  <a:lnTo>
                    <a:pt x="1501" y="640"/>
                  </a:lnTo>
                  <a:lnTo>
                    <a:pt x="1494" y="603"/>
                  </a:lnTo>
                  <a:lnTo>
                    <a:pt x="1486" y="567"/>
                  </a:lnTo>
                  <a:lnTo>
                    <a:pt x="1476" y="530"/>
                  </a:lnTo>
                  <a:lnTo>
                    <a:pt x="1464" y="495"/>
                  </a:lnTo>
                  <a:lnTo>
                    <a:pt x="1451" y="461"/>
                  </a:lnTo>
                  <a:lnTo>
                    <a:pt x="1436" y="428"/>
                  </a:lnTo>
                  <a:lnTo>
                    <a:pt x="1419" y="396"/>
                  </a:lnTo>
                  <a:lnTo>
                    <a:pt x="1400" y="363"/>
                  </a:lnTo>
                  <a:lnTo>
                    <a:pt x="1381" y="333"/>
                  </a:lnTo>
                  <a:lnTo>
                    <a:pt x="1360" y="303"/>
                  </a:lnTo>
                  <a:lnTo>
                    <a:pt x="1337" y="275"/>
                  </a:lnTo>
                  <a:lnTo>
                    <a:pt x="1314" y="248"/>
                  </a:lnTo>
                  <a:lnTo>
                    <a:pt x="1289" y="222"/>
                  </a:lnTo>
                  <a:lnTo>
                    <a:pt x="1263" y="196"/>
                  </a:lnTo>
                  <a:lnTo>
                    <a:pt x="1236" y="172"/>
                  </a:lnTo>
                  <a:lnTo>
                    <a:pt x="1206" y="150"/>
                  </a:lnTo>
                  <a:lnTo>
                    <a:pt x="1177" y="129"/>
                  </a:lnTo>
                  <a:lnTo>
                    <a:pt x="1147" y="110"/>
                  </a:lnTo>
                  <a:lnTo>
                    <a:pt x="1115" y="92"/>
                  </a:lnTo>
                  <a:lnTo>
                    <a:pt x="1083" y="75"/>
                  </a:lnTo>
                  <a:lnTo>
                    <a:pt x="1049" y="60"/>
                  </a:lnTo>
                  <a:lnTo>
                    <a:pt x="1014" y="46"/>
                  </a:lnTo>
                  <a:lnTo>
                    <a:pt x="980" y="34"/>
                  </a:lnTo>
                  <a:lnTo>
                    <a:pt x="944" y="24"/>
                  </a:lnTo>
                  <a:lnTo>
                    <a:pt x="908" y="15"/>
                  </a:lnTo>
                  <a:lnTo>
                    <a:pt x="870" y="9"/>
                  </a:lnTo>
                  <a:lnTo>
                    <a:pt x="832" y="4"/>
                  </a:lnTo>
                  <a:lnTo>
                    <a:pt x="794" y="1"/>
                  </a:lnTo>
                  <a:lnTo>
                    <a:pt x="756" y="0"/>
                  </a:lnTo>
                  <a:lnTo>
                    <a:pt x="716" y="1"/>
                  </a:lnTo>
                  <a:lnTo>
                    <a:pt x="678" y="4"/>
                  </a:lnTo>
                  <a:lnTo>
                    <a:pt x="640" y="9"/>
                  </a:lnTo>
                  <a:lnTo>
                    <a:pt x="604" y="15"/>
                  </a:lnTo>
                  <a:lnTo>
                    <a:pt x="567" y="24"/>
                  </a:lnTo>
                  <a:lnTo>
                    <a:pt x="531" y="34"/>
                  </a:lnTo>
                  <a:lnTo>
                    <a:pt x="496" y="46"/>
                  </a:lnTo>
                  <a:lnTo>
                    <a:pt x="462" y="60"/>
                  </a:lnTo>
                  <a:lnTo>
                    <a:pt x="428" y="75"/>
                  </a:lnTo>
                  <a:lnTo>
                    <a:pt x="396" y="92"/>
                  </a:lnTo>
                  <a:lnTo>
                    <a:pt x="364" y="110"/>
                  </a:lnTo>
                  <a:lnTo>
                    <a:pt x="333" y="129"/>
                  </a:lnTo>
                  <a:lnTo>
                    <a:pt x="304" y="150"/>
                  </a:lnTo>
                  <a:lnTo>
                    <a:pt x="276" y="172"/>
                  </a:lnTo>
                  <a:lnTo>
                    <a:pt x="248" y="196"/>
                  </a:lnTo>
                  <a:lnTo>
                    <a:pt x="222" y="222"/>
                  </a:lnTo>
                  <a:lnTo>
                    <a:pt x="196" y="248"/>
                  </a:lnTo>
                  <a:lnTo>
                    <a:pt x="173" y="275"/>
                  </a:lnTo>
                  <a:lnTo>
                    <a:pt x="150" y="303"/>
                  </a:lnTo>
                  <a:lnTo>
                    <a:pt x="130" y="333"/>
                  </a:lnTo>
                  <a:lnTo>
                    <a:pt x="110" y="363"/>
                  </a:lnTo>
                  <a:lnTo>
                    <a:pt x="92" y="396"/>
                  </a:lnTo>
                  <a:lnTo>
                    <a:pt x="75" y="428"/>
                  </a:lnTo>
                  <a:lnTo>
                    <a:pt x="60" y="461"/>
                  </a:lnTo>
                  <a:lnTo>
                    <a:pt x="46" y="495"/>
                  </a:lnTo>
                  <a:lnTo>
                    <a:pt x="34" y="530"/>
                  </a:lnTo>
                  <a:lnTo>
                    <a:pt x="24" y="567"/>
                  </a:lnTo>
                  <a:lnTo>
                    <a:pt x="16" y="603"/>
                  </a:lnTo>
                  <a:lnTo>
                    <a:pt x="9" y="640"/>
                  </a:lnTo>
                  <a:lnTo>
                    <a:pt x="4" y="678"/>
                  </a:lnTo>
                  <a:lnTo>
                    <a:pt x="1" y="717"/>
                  </a:lnTo>
                  <a:lnTo>
                    <a:pt x="0" y="755"/>
                  </a:lnTo>
                  <a:lnTo>
                    <a:pt x="1" y="794"/>
                  </a:lnTo>
                  <a:lnTo>
                    <a:pt x="4" y="832"/>
                  </a:lnTo>
                  <a:lnTo>
                    <a:pt x="9" y="869"/>
                  </a:lnTo>
                  <a:lnTo>
                    <a:pt x="16" y="907"/>
                  </a:lnTo>
                  <a:lnTo>
                    <a:pt x="24" y="944"/>
                  </a:lnTo>
                  <a:lnTo>
                    <a:pt x="34" y="979"/>
                  </a:lnTo>
                  <a:lnTo>
                    <a:pt x="46" y="1014"/>
                  </a:lnTo>
                  <a:lnTo>
                    <a:pt x="60" y="1049"/>
                  </a:lnTo>
                  <a:lnTo>
                    <a:pt x="75" y="1082"/>
                  </a:lnTo>
                  <a:lnTo>
                    <a:pt x="92" y="1115"/>
                  </a:lnTo>
                  <a:lnTo>
                    <a:pt x="110" y="1146"/>
                  </a:lnTo>
                  <a:lnTo>
                    <a:pt x="130" y="1177"/>
                  </a:lnTo>
                  <a:lnTo>
                    <a:pt x="150" y="1206"/>
                  </a:lnTo>
                  <a:lnTo>
                    <a:pt x="173" y="1235"/>
                  </a:lnTo>
                  <a:lnTo>
                    <a:pt x="196" y="1263"/>
                  </a:lnTo>
                  <a:lnTo>
                    <a:pt x="222" y="1289"/>
                  </a:lnTo>
                  <a:lnTo>
                    <a:pt x="248" y="1313"/>
                  </a:lnTo>
                  <a:lnTo>
                    <a:pt x="276" y="1337"/>
                  </a:lnTo>
                  <a:lnTo>
                    <a:pt x="304" y="1359"/>
                  </a:lnTo>
                  <a:lnTo>
                    <a:pt x="333" y="1381"/>
                  </a:lnTo>
                  <a:lnTo>
                    <a:pt x="364" y="1401"/>
                  </a:lnTo>
                  <a:lnTo>
                    <a:pt x="396" y="1419"/>
                  </a:lnTo>
                  <a:lnTo>
                    <a:pt x="428" y="1435"/>
                  </a:lnTo>
                  <a:lnTo>
                    <a:pt x="462" y="1450"/>
                  </a:lnTo>
                  <a:lnTo>
                    <a:pt x="496" y="1464"/>
                  </a:lnTo>
                  <a:lnTo>
                    <a:pt x="531" y="1476"/>
                  </a:lnTo>
                  <a:lnTo>
                    <a:pt x="567" y="1486"/>
                  </a:lnTo>
                  <a:lnTo>
                    <a:pt x="604" y="1494"/>
                  </a:lnTo>
                  <a:lnTo>
                    <a:pt x="640" y="1501"/>
                  </a:lnTo>
                  <a:lnTo>
                    <a:pt x="678" y="1506"/>
                  </a:lnTo>
                  <a:lnTo>
                    <a:pt x="716" y="1508"/>
                  </a:lnTo>
                  <a:lnTo>
                    <a:pt x="756" y="15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68" name="íṥľíḋê">
              <a:extLst>
                <a:ext uri="{FF2B5EF4-FFF2-40B4-BE49-F238E27FC236}">
                  <a16:creationId xmlns:a16="http://schemas.microsoft.com/office/drawing/2014/main" id="{A9353315-C764-415D-A83D-1D8A1B0D98C6}"/>
                </a:ext>
              </a:extLst>
            </p:cNvPr>
            <p:cNvSpPr/>
            <p:nvPr/>
          </p:nvSpPr>
          <p:spPr bwMode="auto">
            <a:xfrm>
              <a:off x="1591021" y="1539522"/>
              <a:ext cx="39501" cy="9337"/>
            </a:xfrm>
            <a:custGeom>
              <a:avLst/>
              <a:gdLst>
                <a:gd name="T0" fmla="*/ 239 w 2013"/>
                <a:gd name="T1" fmla="*/ 0 h 503"/>
                <a:gd name="T2" fmla="*/ 201 w 2013"/>
                <a:gd name="T3" fmla="*/ 5 h 503"/>
                <a:gd name="T4" fmla="*/ 165 w 2013"/>
                <a:gd name="T5" fmla="*/ 15 h 503"/>
                <a:gd name="T6" fmla="*/ 132 w 2013"/>
                <a:gd name="T7" fmla="*/ 30 h 503"/>
                <a:gd name="T8" fmla="*/ 102 w 2013"/>
                <a:gd name="T9" fmla="*/ 50 h 503"/>
                <a:gd name="T10" fmla="*/ 74 w 2013"/>
                <a:gd name="T11" fmla="*/ 73 h 503"/>
                <a:gd name="T12" fmla="*/ 51 w 2013"/>
                <a:gd name="T13" fmla="*/ 100 h 503"/>
                <a:gd name="T14" fmla="*/ 30 w 2013"/>
                <a:gd name="T15" fmla="*/ 132 h 503"/>
                <a:gd name="T16" fmla="*/ 15 w 2013"/>
                <a:gd name="T17" fmla="*/ 165 h 503"/>
                <a:gd name="T18" fmla="*/ 5 w 2013"/>
                <a:gd name="T19" fmla="*/ 201 h 503"/>
                <a:gd name="T20" fmla="*/ 0 w 2013"/>
                <a:gd name="T21" fmla="*/ 238 h 503"/>
                <a:gd name="T22" fmla="*/ 1 w 2013"/>
                <a:gd name="T23" fmla="*/ 277 h 503"/>
                <a:gd name="T24" fmla="*/ 8 w 2013"/>
                <a:gd name="T25" fmla="*/ 315 h 503"/>
                <a:gd name="T26" fmla="*/ 20 w 2013"/>
                <a:gd name="T27" fmla="*/ 349 h 503"/>
                <a:gd name="T28" fmla="*/ 36 w 2013"/>
                <a:gd name="T29" fmla="*/ 382 h 503"/>
                <a:gd name="T30" fmla="*/ 58 w 2013"/>
                <a:gd name="T31" fmla="*/ 411 h 503"/>
                <a:gd name="T32" fmla="*/ 83 w 2013"/>
                <a:gd name="T33" fmla="*/ 437 h 503"/>
                <a:gd name="T34" fmla="*/ 111 w 2013"/>
                <a:gd name="T35" fmla="*/ 459 h 503"/>
                <a:gd name="T36" fmla="*/ 143 w 2013"/>
                <a:gd name="T37" fmla="*/ 478 h 503"/>
                <a:gd name="T38" fmla="*/ 177 w 2013"/>
                <a:gd name="T39" fmla="*/ 492 h 503"/>
                <a:gd name="T40" fmla="*/ 214 w 2013"/>
                <a:gd name="T41" fmla="*/ 500 h 503"/>
                <a:gd name="T42" fmla="*/ 252 w 2013"/>
                <a:gd name="T43" fmla="*/ 503 h 503"/>
                <a:gd name="T44" fmla="*/ 1787 w 2013"/>
                <a:gd name="T45" fmla="*/ 502 h 503"/>
                <a:gd name="T46" fmla="*/ 1824 w 2013"/>
                <a:gd name="T47" fmla="*/ 495 h 503"/>
                <a:gd name="T48" fmla="*/ 1859 w 2013"/>
                <a:gd name="T49" fmla="*/ 483 h 503"/>
                <a:gd name="T50" fmla="*/ 1891 w 2013"/>
                <a:gd name="T51" fmla="*/ 467 h 503"/>
                <a:gd name="T52" fmla="*/ 1922 w 2013"/>
                <a:gd name="T53" fmla="*/ 445 h 503"/>
                <a:gd name="T54" fmla="*/ 1948 w 2013"/>
                <a:gd name="T55" fmla="*/ 420 h 503"/>
                <a:gd name="T56" fmla="*/ 1970 w 2013"/>
                <a:gd name="T57" fmla="*/ 392 h 503"/>
                <a:gd name="T58" fmla="*/ 1988 w 2013"/>
                <a:gd name="T59" fmla="*/ 360 h 503"/>
                <a:gd name="T60" fmla="*/ 2001 w 2013"/>
                <a:gd name="T61" fmla="*/ 326 h 503"/>
                <a:gd name="T62" fmla="*/ 2010 w 2013"/>
                <a:gd name="T63" fmla="*/ 289 h 503"/>
                <a:gd name="T64" fmla="*/ 2013 w 2013"/>
                <a:gd name="T65" fmla="*/ 251 h 503"/>
                <a:gd name="T66" fmla="*/ 2010 w 2013"/>
                <a:gd name="T67" fmla="*/ 213 h 503"/>
                <a:gd name="T68" fmla="*/ 2001 w 2013"/>
                <a:gd name="T69" fmla="*/ 177 h 503"/>
                <a:gd name="T70" fmla="*/ 1988 w 2013"/>
                <a:gd name="T71" fmla="*/ 143 h 503"/>
                <a:gd name="T72" fmla="*/ 1970 w 2013"/>
                <a:gd name="T73" fmla="*/ 110 h 503"/>
                <a:gd name="T74" fmla="*/ 1948 w 2013"/>
                <a:gd name="T75" fmla="*/ 82 h 503"/>
                <a:gd name="T76" fmla="*/ 1922 w 2013"/>
                <a:gd name="T77" fmla="*/ 57 h 503"/>
                <a:gd name="T78" fmla="*/ 1891 w 2013"/>
                <a:gd name="T79" fmla="*/ 36 h 503"/>
                <a:gd name="T80" fmla="*/ 1859 w 2013"/>
                <a:gd name="T81" fmla="*/ 20 h 503"/>
                <a:gd name="T82" fmla="*/ 1824 w 2013"/>
                <a:gd name="T83" fmla="*/ 8 h 503"/>
                <a:gd name="T84" fmla="*/ 1787 w 2013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13" h="503">
                  <a:moveTo>
                    <a:pt x="1762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1" y="43"/>
                  </a:lnTo>
                  <a:lnTo>
                    <a:pt x="102" y="50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4" y="73"/>
                  </a:lnTo>
                  <a:lnTo>
                    <a:pt x="66" y="82"/>
                  </a:lnTo>
                  <a:lnTo>
                    <a:pt x="58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6" y="120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6"/>
                  </a:lnTo>
                  <a:lnTo>
                    <a:pt x="0" y="238"/>
                  </a:lnTo>
                  <a:lnTo>
                    <a:pt x="0" y="251"/>
                  </a:lnTo>
                  <a:lnTo>
                    <a:pt x="0" y="264"/>
                  </a:lnTo>
                  <a:lnTo>
                    <a:pt x="1" y="277"/>
                  </a:lnTo>
                  <a:lnTo>
                    <a:pt x="3" y="289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4" y="392"/>
                  </a:lnTo>
                  <a:lnTo>
                    <a:pt x="51" y="402"/>
                  </a:lnTo>
                  <a:lnTo>
                    <a:pt x="58" y="411"/>
                  </a:lnTo>
                  <a:lnTo>
                    <a:pt x="66" y="420"/>
                  </a:lnTo>
                  <a:lnTo>
                    <a:pt x="74" y="429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3"/>
                  </a:lnTo>
                  <a:lnTo>
                    <a:pt x="111" y="459"/>
                  </a:lnTo>
                  <a:lnTo>
                    <a:pt x="122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1762" y="503"/>
                  </a:lnTo>
                  <a:lnTo>
                    <a:pt x="1775" y="503"/>
                  </a:lnTo>
                  <a:lnTo>
                    <a:pt x="1787" y="502"/>
                  </a:lnTo>
                  <a:lnTo>
                    <a:pt x="1800" y="500"/>
                  </a:lnTo>
                  <a:lnTo>
                    <a:pt x="1812" y="498"/>
                  </a:lnTo>
                  <a:lnTo>
                    <a:pt x="1824" y="495"/>
                  </a:lnTo>
                  <a:lnTo>
                    <a:pt x="1836" y="492"/>
                  </a:lnTo>
                  <a:lnTo>
                    <a:pt x="1848" y="488"/>
                  </a:lnTo>
                  <a:lnTo>
                    <a:pt x="1859" y="483"/>
                  </a:lnTo>
                  <a:lnTo>
                    <a:pt x="1870" y="478"/>
                  </a:lnTo>
                  <a:lnTo>
                    <a:pt x="1881" y="473"/>
                  </a:lnTo>
                  <a:lnTo>
                    <a:pt x="1891" y="467"/>
                  </a:lnTo>
                  <a:lnTo>
                    <a:pt x="1902" y="459"/>
                  </a:lnTo>
                  <a:lnTo>
                    <a:pt x="1912" y="453"/>
                  </a:lnTo>
                  <a:lnTo>
                    <a:pt x="1922" y="445"/>
                  </a:lnTo>
                  <a:lnTo>
                    <a:pt x="1931" y="437"/>
                  </a:lnTo>
                  <a:lnTo>
                    <a:pt x="1939" y="429"/>
                  </a:lnTo>
                  <a:lnTo>
                    <a:pt x="1948" y="420"/>
                  </a:lnTo>
                  <a:lnTo>
                    <a:pt x="1956" y="411"/>
                  </a:lnTo>
                  <a:lnTo>
                    <a:pt x="1963" y="402"/>
                  </a:lnTo>
                  <a:lnTo>
                    <a:pt x="1970" y="392"/>
                  </a:lnTo>
                  <a:lnTo>
                    <a:pt x="1977" y="382"/>
                  </a:lnTo>
                  <a:lnTo>
                    <a:pt x="1983" y="371"/>
                  </a:lnTo>
                  <a:lnTo>
                    <a:pt x="1988" y="360"/>
                  </a:lnTo>
                  <a:lnTo>
                    <a:pt x="1993" y="349"/>
                  </a:lnTo>
                  <a:lnTo>
                    <a:pt x="1998" y="338"/>
                  </a:lnTo>
                  <a:lnTo>
                    <a:pt x="2001" y="326"/>
                  </a:lnTo>
                  <a:lnTo>
                    <a:pt x="2005" y="315"/>
                  </a:lnTo>
                  <a:lnTo>
                    <a:pt x="2008" y="303"/>
                  </a:lnTo>
                  <a:lnTo>
                    <a:pt x="2010" y="289"/>
                  </a:lnTo>
                  <a:lnTo>
                    <a:pt x="2011" y="277"/>
                  </a:lnTo>
                  <a:lnTo>
                    <a:pt x="2012" y="264"/>
                  </a:lnTo>
                  <a:lnTo>
                    <a:pt x="2013" y="251"/>
                  </a:lnTo>
                  <a:lnTo>
                    <a:pt x="2012" y="238"/>
                  </a:lnTo>
                  <a:lnTo>
                    <a:pt x="2011" y="226"/>
                  </a:lnTo>
                  <a:lnTo>
                    <a:pt x="2010" y="213"/>
                  </a:lnTo>
                  <a:lnTo>
                    <a:pt x="2008" y="201"/>
                  </a:lnTo>
                  <a:lnTo>
                    <a:pt x="2005" y="189"/>
                  </a:lnTo>
                  <a:lnTo>
                    <a:pt x="2001" y="177"/>
                  </a:lnTo>
                  <a:lnTo>
                    <a:pt x="1998" y="165"/>
                  </a:lnTo>
                  <a:lnTo>
                    <a:pt x="1993" y="154"/>
                  </a:lnTo>
                  <a:lnTo>
                    <a:pt x="1988" y="143"/>
                  </a:lnTo>
                  <a:lnTo>
                    <a:pt x="1983" y="132"/>
                  </a:lnTo>
                  <a:lnTo>
                    <a:pt x="1977" y="120"/>
                  </a:lnTo>
                  <a:lnTo>
                    <a:pt x="1970" y="110"/>
                  </a:lnTo>
                  <a:lnTo>
                    <a:pt x="1963" y="100"/>
                  </a:lnTo>
                  <a:lnTo>
                    <a:pt x="1956" y="91"/>
                  </a:lnTo>
                  <a:lnTo>
                    <a:pt x="1948" y="82"/>
                  </a:lnTo>
                  <a:lnTo>
                    <a:pt x="1939" y="73"/>
                  </a:lnTo>
                  <a:lnTo>
                    <a:pt x="1931" y="65"/>
                  </a:lnTo>
                  <a:lnTo>
                    <a:pt x="1922" y="57"/>
                  </a:lnTo>
                  <a:lnTo>
                    <a:pt x="1912" y="50"/>
                  </a:lnTo>
                  <a:lnTo>
                    <a:pt x="1902" y="43"/>
                  </a:lnTo>
                  <a:lnTo>
                    <a:pt x="1891" y="36"/>
                  </a:lnTo>
                  <a:lnTo>
                    <a:pt x="1881" y="30"/>
                  </a:lnTo>
                  <a:lnTo>
                    <a:pt x="1870" y="25"/>
                  </a:lnTo>
                  <a:lnTo>
                    <a:pt x="1859" y="20"/>
                  </a:lnTo>
                  <a:lnTo>
                    <a:pt x="1848" y="15"/>
                  </a:lnTo>
                  <a:lnTo>
                    <a:pt x="1836" y="11"/>
                  </a:lnTo>
                  <a:lnTo>
                    <a:pt x="1824" y="8"/>
                  </a:lnTo>
                  <a:lnTo>
                    <a:pt x="1812" y="5"/>
                  </a:lnTo>
                  <a:lnTo>
                    <a:pt x="1800" y="3"/>
                  </a:lnTo>
                  <a:lnTo>
                    <a:pt x="1787" y="1"/>
                  </a:lnTo>
                  <a:lnTo>
                    <a:pt x="1775" y="0"/>
                  </a:lnTo>
                  <a:lnTo>
                    <a:pt x="17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69" name="îŝľide">
              <a:extLst>
                <a:ext uri="{FF2B5EF4-FFF2-40B4-BE49-F238E27FC236}">
                  <a16:creationId xmlns:a16="http://schemas.microsoft.com/office/drawing/2014/main" id="{D9E64DB2-3844-4CE2-8D97-C3A8E4DDBA90}"/>
                </a:ext>
              </a:extLst>
            </p:cNvPr>
            <p:cNvSpPr/>
            <p:nvPr/>
          </p:nvSpPr>
          <p:spPr bwMode="auto">
            <a:xfrm>
              <a:off x="1601076" y="1510075"/>
              <a:ext cx="38783" cy="10055"/>
            </a:xfrm>
            <a:custGeom>
              <a:avLst/>
              <a:gdLst>
                <a:gd name="T0" fmla="*/ 240 w 2013"/>
                <a:gd name="T1" fmla="*/ 0 h 503"/>
                <a:gd name="T2" fmla="*/ 201 w 2013"/>
                <a:gd name="T3" fmla="*/ 5 h 503"/>
                <a:gd name="T4" fmla="*/ 165 w 2013"/>
                <a:gd name="T5" fmla="*/ 15 h 503"/>
                <a:gd name="T6" fmla="*/ 132 w 2013"/>
                <a:gd name="T7" fmla="*/ 30 h 503"/>
                <a:gd name="T8" fmla="*/ 102 w 2013"/>
                <a:gd name="T9" fmla="*/ 49 h 503"/>
                <a:gd name="T10" fmla="*/ 75 w 2013"/>
                <a:gd name="T11" fmla="*/ 73 h 503"/>
                <a:gd name="T12" fmla="*/ 51 w 2013"/>
                <a:gd name="T13" fmla="*/ 100 h 503"/>
                <a:gd name="T14" fmla="*/ 31 w 2013"/>
                <a:gd name="T15" fmla="*/ 130 h 503"/>
                <a:gd name="T16" fmla="*/ 16 w 2013"/>
                <a:gd name="T17" fmla="*/ 165 h 503"/>
                <a:gd name="T18" fmla="*/ 5 w 2013"/>
                <a:gd name="T19" fmla="*/ 200 h 503"/>
                <a:gd name="T20" fmla="*/ 1 w 2013"/>
                <a:gd name="T21" fmla="*/ 238 h 503"/>
                <a:gd name="T22" fmla="*/ 2 w 2013"/>
                <a:gd name="T23" fmla="*/ 276 h 503"/>
                <a:gd name="T24" fmla="*/ 8 w 2013"/>
                <a:gd name="T25" fmla="*/ 314 h 503"/>
                <a:gd name="T26" fmla="*/ 20 w 2013"/>
                <a:gd name="T27" fmla="*/ 349 h 503"/>
                <a:gd name="T28" fmla="*/ 37 w 2013"/>
                <a:gd name="T29" fmla="*/ 381 h 503"/>
                <a:gd name="T30" fmla="*/ 58 w 2013"/>
                <a:gd name="T31" fmla="*/ 411 h 503"/>
                <a:gd name="T32" fmla="*/ 83 w 2013"/>
                <a:gd name="T33" fmla="*/ 437 h 503"/>
                <a:gd name="T34" fmla="*/ 112 w 2013"/>
                <a:gd name="T35" fmla="*/ 459 h 503"/>
                <a:gd name="T36" fmla="*/ 143 w 2013"/>
                <a:gd name="T37" fmla="*/ 477 h 503"/>
                <a:gd name="T38" fmla="*/ 177 w 2013"/>
                <a:gd name="T39" fmla="*/ 491 h 503"/>
                <a:gd name="T40" fmla="*/ 213 w 2013"/>
                <a:gd name="T41" fmla="*/ 500 h 503"/>
                <a:gd name="T42" fmla="*/ 252 w 2013"/>
                <a:gd name="T43" fmla="*/ 503 h 503"/>
                <a:gd name="T44" fmla="*/ 1787 w 2013"/>
                <a:gd name="T45" fmla="*/ 501 h 503"/>
                <a:gd name="T46" fmla="*/ 1824 w 2013"/>
                <a:gd name="T47" fmla="*/ 495 h 503"/>
                <a:gd name="T48" fmla="*/ 1859 w 2013"/>
                <a:gd name="T49" fmla="*/ 483 h 503"/>
                <a:gd name="T50" fmla="*/ 1892 w 2013"/>
                <a:gd name="T51" fmla="*/ 465 h 503"/>
                <a:gd name="T52" fmla="*/ 1922 w 2013"/>
                <a:gd name="T53" fmla="*/ 445 h 503"/>
                <a:gd name="T54" fmla="*/ 1948 w 2013"/>
                <a:gd name="T55" fmla="*/ 420 h 503"/>
                <a:gd name="T56" fmla="*/ 1970 w 2013"/>
                <a:gd name="T57" fmla="*/ 391 h 503"/>
                <a:gd name="T58" fmla="*/ 1988 w 2013"/>
                <a:gd name="T59" fmla="*/ 360 h 503"/>
                <a:gd name="T60" fmla="*/ 2002 w 2013"/>
                <a:gd name="T61" fmla="*/ 326 h 503"/>
                <a:gd name="T62" fmla="*/ 2010 w 2013"/>
                <a:gd name="T63" fmla="*/ 289 h 503"/>
                <a:gd name="T64" fmla="*/ 2013 w 2013"/>
                <a:gd name="T65" fmla="*/ 251 h 503"/>
                <a:gd name="T66" fmla="*/ 2010 w 2013"/>
                <a:gd name="T67" fmla="*/ 213 h 503"/>
                <a:gd name="T68" fmla="*/ 2002 w 2013"/>
                <a:gd name="T69" fmla="*/ 176 h 503"/>
                <a:gd name="T70" fmla="*/ 1988 w 2013"/>
                <a:gd name="T71" fmla="*/ 141 h 503"/>
                <a:gd name="T72" fmla="*/ 1970 w 2013"/>
                <a:gd name="T73" fmla="*/ 110 h 503"/>
                <a:gd name="T74" fmla="*/ 1948 w 2013"/>
                <a:gd name="T75" fmla="*/ 82 h 503"/>
                <a:gd name="T76" fmla="*/ 1922 w 2013"/>
                <a:gd name="T77" fmla="*/ 57 h 503"/>
                <a:gd name="T78" fmla="*/ 1892 w 2013"/>
                <a:gd name="T79" fmla="*/ 36 h 503"/>
                <a:gd name="T80" fmla="*/ 1859 w 2013"/>
                <a:gd name="T81" fmla="*/ 19 h 503"/>
                <a:gd name="T82" fmla="*/ 1824 w 2013"/>
                <a:gd name="T83" fmla="*/ 7 h 503"/>
                <a:gd name="T84" fmla="*/ 1787 w 2013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13" h="503">
                  <a:moveTo>
                    <a:pt x="1762" y="0"/>
                  </a:move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3" y="2"/>
                  </a:lnTo>
                  <a:lnTo>
                    <a:pt x="201" y="5"/>
                  </a:lnTo>
                  <a:lnTo>
                    <a:pt x="189" y="7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8" y="91"/>
                  </a:lnTo>
                  <a:lnTo>
                    <a:pt x="51" y="100"/>
                  </a:lnTo>
                  <a:lnTo>
                    <a:pt x="43" y="110"/>
                  </a:lnTo>
                  <a:lnTo>
                    <a:pt x="37" y="120"/>
                  </a:lnTo>
                  <a:lnTo>
                    <a:pt x="31" y="130"/>
                  </a:lnTo>
                  <a:lnTo>
                    <a:pt x="25" y="141"/>
                  </a:lnTo>
                  <a:lnTo>
                    <a:pt x="20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5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89"/>
                  </a:lnTo>
                  <a:lnTo>
                    <a:pt x="5" y="301"/>
                  </a:lnTo>
                  <a:lnTo>
                    <a:pt x="8" y="314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1" y="371"/>
                  </a:lnTo>
                  <a:lnTo>
                    <a:pt x="37" y="381"/>
                  </a:lnTo>
                  <a:lnTo>
                    <a:pt x="43" y="391"/>
                  </a:lnTo>
                  <a:lnTo>
                    <a:pt x="51" y="401"/>
                  </a:lnTo>
                  <a:lnTo>
                    <a:pt x="58" y="411"/>
                  </a:lnTo>
                  <a:lnTo>
                    <a:pt x="66" y="420"/>
                  </a:lnTo>
                  <a:lnTo>
                    <a:pt x="75" y="428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2"/>
                  </a:lnTo>
                  <a:lnTo>
                    <a:pt x="112" y="459"/>
                  </a:lnTo>
                  <a:lnTo>
                    <a:pt x="122" y="465"/>
                  </a:lnTo>
                  <a:lnTo>
                    <a:pt x="132" y="471"/>
                  </a:lnTo>
                  <a:lnTo>
                    <a:pt x="143" y="477"/>
                  </a:lnTo>
                  <a:lnTo>
                    <a:pt x="154" y="483"/>
                  </a:lnTo>
                  <a:lnTo>
                    <a:pt x="165" y="487"/>
                  </a:lnTo>
                  <a:lnTo>
                    <a:pt x="177" y="491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7" y="501"/>
                  </a:lnTo>
                  <a:lnTo>
                    <a:pt x="240" y="502"/>
                  </a:lnTo>
                  <a:lnTo>
                    <a:pt x="252" y="503"/>
                  </a:lnTo>
                  <a:lnTo>
                    <a:pt x="1762" y="503"/>
                  </a:lnTo>
                  <a:lnTo>
                    <a:pt x="1775" y="502"/>
                  </a:lnTo>
                  <a:lnTo>
                    <a:pt x="1787" y="501"/>
                  </a:lnTo>
                  <a:lnTo>
                    <a:pt x="1800" y="500"/>
                  </a:lnTo>
                  <a:lnTo>
                    <a:pt x="1812" y="498"/>
                  </a:lnTo>
                  <a:lnTo>
                    <a:pt x="1824" y="495"/>
                  </a:lnTo>
                  <a:lnTo>
                    <a:pt x="1836" y="491"/>
                  </a:lnTo>
                  <a:lnTo>
                    <a:pt x="1848" y="487"/>
                  </a:lnTo>
                  <a:lnTo>
                    <a:pt x="1859" y="483"/>
                  </a:lnTo>
                  <a:lnTo>
                    <a:pt x="1870" y="477"/>
                  </a:lnTo>
                  <a:lnTo>
                    <a:pt x="1881" y="471"/>
                  </a:lnTo>
                  <a:lnTo>
                    <a:pt x="1892" y="465"/>
                  </a:lnTo>
                  <a:lnTo>
                    <a:pt x="1902" y="459"/>
                  </a:lnTo>
                  <a:lnTo>
                    <a:pt x="1912" y="452"/>
                  </a:lnTo>
                  <a:lnTo>
                    <a:pt x="1922" y="445"/>
                  </a:lnTo>
                  <a:lnTo>
                    <a:pt x="1931" y="437"/>
                  </a:lnTo>
                  <a:lnTo>
                    <a:pt x="1940" y="428"/>
                  </a:lnTo>
                  <a:lnTo>
                    <a:pt x="1948" y="420"/>
                  </a:lnTo>
                  <a:lnTo>
                    <a:pt x="1956" y="411"/>
                  </a:lnTo>
                  <a:lnTo>
                    <a:pt x="1963" y="401"/>
                  </a:lnTo>
                  <a:lnTo>
                    <a:pt x="1970" y="391"/>
                  </a:lnTo>
                  <a:lnTo>
                    <a:pt x="1977" y="381"/>
                  </a:lnTo>
                  <a:lnTo>
                    <a:pt x="1983" y="371"/>
                  </a:lnTo>
                  <a:lnTo>
                    <a:pt x="1988" y="360"/>
                  </a:lnTo>
                  <a:lnTo>
                    <a:pt x="1993" y="349"/>
                  </a:lnTo>
                  <a:lnTo>
                    <a:pt x="1998" y="338"/>
                  </a:lnTo>
                  <a:lnTo>
                    <a:pt x="2002" y="326"/>
                  </a:lnTo>
                  <a:lnTo>
                    <a:pt x="2005" y="314"/>
                  </a:lnTo>
                  <a:lnTo>
                    <a:pt x="2008" y="301"/>
                  </a:lnTo>
                  <a:lnTo>
                    <a:pt x="2010" y="289"/>
                  </a:lnTo>
                  <a:lnTo>
                    <a:pt x="2012" y="276"/>
                  </a:lnTo>
                  <a:lnTo>
                    <a:pt x="2013" y="264"/>
                  </a:lnTo>
                  <a:lnTo>
                    <a:pt x="2013" y="251"/>
                  </a:lnTo>
                  <a:lnTo>
                    <a:pt x="2013" y="238"/>
                  </a:lnTo>
                  <a:lnTo>
                    <a:pt x="2012" y="225"/>
                  </a:lnTo>
                  <a:lnTo>
                    <a:pt x="2010" y="213"/>
                  </a:lnTo>
                  <a:lnTo>
                    <a:pt x="2008" y="200"/>
                  </a:lnTo>
                  <a:lnTo>
                    <a:pt x="2005" y="188"/>
                  </a:lnTo>
                  <a:lnTo>
                    <a:pt x="2002" y="176"/>
                  </a:lnTo>
                  <a:lnTo>
                    <a:pt x="1998" y="165"/>
                  </a:lnTo>
                  <a:lnTo>
                    <a:pt x="1993" y="153"/>
                  </a:lnTo>
                  <a:lnTo>
                    <a:pt x="1988" y="141"/>
                  </a:lnTo>
                  <a:lnTo>
                    <a:pt x="1983" y="130"/>
                  </a:lnTo>
                  <a:lnTo>
                    <a:pt x="1977" y="120"/>
                  </a:lnTo>
                  <a:lnTo>
                    <a:pt x="1970" y="110"/>
                  </a:lnTo>
                  <a:lnTo>
                    <a:pt x="1963" y="100"/>
                  </a:lnTo>
                  <a:lnTo>
                    <a:pt x="1956" y="91"/>
                  </a:lnTo>
                  <a:lnTo>
                    <a:pt x="1948" y="82"/>
                  </a:lnTo>
                  <a:lnTo>
                    <a:pt x="1940" y="73"/>
                  </a:lnTo>
                  <a:lnTo>
                    <a:pt x="1931" y="65"/>
                  </a:lnTo>
                  <a:lnTo>
                    <a:pt x="1922" y="57"/>
                  </a:lnTo>
                  <a:lnTo>
                    <a:pt x="1912" y="49"/>
                  </a:lnTo>
                  <a:lnTo>
                    <a:pt x="1902" y="42"/>
                  </a:lnTo>
                  <a:lnTo>
                    <a:pt x="1892" y="36"/>
                  </a:lnTo>
                  <a:lnTo>
                    <a:pt x="1881" y="30"/>
                  </a:lnTo>
                  <a:lnTo>
                    <a:pt x="1870" y="24"/>
                  </a:lnTo>
                  <a:lnTo>
                    <a:pt x="1859" y="19"/>
                  </a:lnTo>
                  <a:lnTo>
                    <a:pt x="1848" y="15"/>
                  </a:lnTo>
                  <a:lnTo>
                    <a:pt x="1836" y="11"/>
                  </a:lnTo>
                  <a:lnTo>
                    <a:pt x="1824" y="7"/>
                  </a:lnTo>
                  <a:lnTo>
                    <a:pt x="1812" y="5"/>
                  </a:lnTo>
                  <a:lnTo>
                    <a:pt x="1800" y="2"/>
                  </a:lnTo>
                  <a:lnTo>
                    <a:pt x="1787" y="1"/>
                  </a:lnTo>
                  <a:lnTo>
                    <a:pt x="1775" y="0"/>
                  </a:lnTo>
                  <a:lnTo>
                    <a:pt x="17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70" name="íṥļíḋè">
              <a:extLst>
                <a:ext uri="{FF2B5EF4-FFF2-40B4-BE49-F238E27FC236}">
                  <a16:creationId xmlns:a16="http://schemas.microsoft.com/office/drawing/2014/main" id="{AE94B1AC-B250-4FD9-8EB1-4489A51DA852}"/>
                </a:ext>
              </a:extLst>
            </p:cNvPr>
            <p:cNvSpPr/>
            <p:nvPr/>
          </p:nvSpPr>
          <p:spPr bwMode="auto">
            <a:xfrm>
              <a:off x="1601076" y="1480629"/>
              <a:ext cx="38783" cy="10055"/>
            </a:xfrm>
            <a:custGeom>
              <a:avLst/>
              <a:gdLst>
                <a:gd name="T0" fmla="*/ 240 w 2013"/>
                <a:gd name="T1" fmla="*/ 0 h 504"/>
                <a:gd name="T2" fmla="*/ 201 w 2013"/>
                <a:gd name="T3" fmla="*/ 6 h 504"/>
                <a:gd name="T4" fmla="*/ 165 w 2013"/>
                <a:gd name="T5" fmla="*/ 16 h 504"/>
                <a:gd name="T6" fmla="*/ 132 w 2013"/>
                <a:gd name="T7" fmla="*/ 31 h 504"/>
                <a:gd name="T8" fmla="*/ 102 w 2013"/>
                <a:gd name="T9" fmla="*/ 51 h 504"/>
                <a:gd name="T10" fmla="*/ 75 w 2013"/>
                <a:gd name="T11" fmla="*/ 74 h 504"/>
                <a:gd name="T12" fmla="*/ 51 w 2013"/>
                <a:gd name="T13" fmla="*/ 102 h 504"/>
                <a:gd name="T14" fmla="*/ 31 w 2013"/>
                <a:gd name="T15" fmla="*/ 132 h 504"/>
                <a:gd name="T16" fmla="*/ 16 w 2013"/>
                <a:gd name="T17" fmla="*/ 165 h 504"/>
                <a:gd name="T18" fmla="*/ 5 w 2013"/>
                <a:gd name="T19" fmla="*/ 202 h 504"/>
                <a:gd name="T20" fmla="*/ 1 w 2013"/>
                <a:gd name="T21" fmla="*/ 239 h 504"/>
                <a:gd name="T22" fmla="*/ 2 w 2013"/>
                <a:gd name="T23" fmla="*/ 278 h 504"/>
                <a:gd name="T24" fmla="*/ 8 w 2013"/>
                <a:gd name="T25" fmla="*/ 315 h 504"/>
                <a:gd name="T26" fmla="*/ 20 w 2013"/>
                <a:gd name="T27" fmla="*/ 350 h 504"/>
                <a:gd name="T28" fmla="*/ 37 w 2013"/>
                <a:gd name="T29" fmla="*/ 383 h 504"/>
                <a:gd name="T30" fmla="*/ 58 w 2013"/>
                <a:gd name="T31" fmla="*/ 412 h 504"/>
                <a:gd name="T32" fmla="*/ 83 w 2013"/>
                <a:gd name="T33" fmla="*/ 438 h 504"/>
                <a:gd name="T34" fmla="*/ 112 w 2013"/>
                <a:gd name="T35" fmla="*/ 460 h 504"/>
                <a:gd name="T36" fmla="*/ 143 w 2013"/>
                <a:gd name="T37" fmla="*/ 479 h 504"/>
                <a:gd name="T38" fmla="*/ 177 w 2013"/>
                <a:gd name="T39" fmla="*/ 492 h 504"/>
                <a:gd name="T40" fmla="*/ 213 w 2013"/>
                <a:gd name="T41" fmla="*/ 501 h 504"/>
                <a:gd name="T42" fmla="*/ 252 w 2013"/>
                <a:gd name="T43" fmla="*/ 504 h 504"/>
                <a:gd name="T44" fmla="*/ 1787 w 2013"/>
                <a:gd name="T45" fmla="*/ 503 h 504"/>
                <a:gd name="T46" fmla="*/ 1824 w 2013"/>
                <a:gd name="T47" fmla="*/ 495 h 504"/>
                <a:gd name="T48" fmla="*/ 1859 w 2013"/>
                <a:gd name="T49" fmla="*/ 484 h 504"/>
                <a:gd name="T50" fmla="*/ 1892 w 2013"/>
                <a:gd name="T51" fmla="*/ 467 h 504"/>
                <a:gd name="T52" fmla="*/ 1922 w 2013"/>
                <a:gd name="T53" fmla="*/ 446 h 504"/>
                <a:gd name="T54" fmla="*/ 1948 w 2013"/>
                <a:gd name="T55" fmla="*/ 421 h 504"/>
                <a:gd name="T56" fmla="*/ 1970 w 2013"/>
                <a:gd name="T57" fmla="*/ 393 h 504"/>
                <a:gd name="T58" fmla="*/ 1988 w 2013"/>
                <a:gd name="T59" fmla="*/ 362 h 504"/>
                <a:gd name="T60" fmla="*/ 2002 w 2013"/>
                <a:gd name="T61" fmla="*/ 326 h 504"/>
                <a:gd name="T62" fmla="*/ 2010 w 2013"/>
                <a:gd name="T63" fmla="*/ 290 h 504"/>
                <a:gd name="T64" fmla="*/ 2013 w 2013"/>
                <a:gd name="T65" fmla="*/ 252 h 504"/>
                <a:gd name="T66" fmla="*/ 2010 w 2013"/>
                <a:gd name="T67" fmla="*/ 214 h 504"/>
                <a:gd name="T68" fmla="*/ 2002 w 2013"/>
                <a:gd name="T69" fmla="*/ 178 h 504"/>
                <a:gd name="T70" fmla="*/ 1988 w 2013"/>
                <a:gd name="T71" fmla="*/ 143 h 504"/>
                <a:gd name="T72" fmla="*/ 1970 w 2013"/>
                <a:gd name="T73" fmla="*/ 111 h 504"/>
                <a:gd name="T74" fmla="*/ 1948 w 2013"/>
                <a:gd name="T75" fmla="*/ 83 h 504"/>
                <a:gd name="T76" fmla="*/ 1922 w 2013"/>
                <a:gd name="T77" fmla="*/ 58 h 504"/>
                <a:gd name="T78" fmla="*/ 1892 w 2013"/>
                <a:gd name="T79" fmla="*/ 37 h 504"/>
                <a:gd name="T80" fmla="*/ 1859 w 2013"/>
                <a:gd name="T81" fmla="*/ 21 h 504"/>
                <a:gd name="T82" fmla="*/ 1824 w 2013"/>
                <a:gd name="T83" fmla="*/ 9 h 504"/>
                <a:gd name="T84" fmla="*/ 1787 w 2013"/>
                <a:gd name="T85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13" h="504">
                  <a:moveTo>
                    <a:pt x="1762" y="0"/>
                  </a:move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3" y="3"/>
                  </a:lnTo>
                  <a:lnTo>
                    <a:pt x="201" y="6"/>
                  </a:lnTo>
                  <a:lnTo>
                    <a:pt x="189" y="9"/>
                  </a:lnTo>
                  <a:lnTo>
                    <a:pt x="177" y="12"/>
                  </a:lnTo>
                  <a:lnTo>
                    <a:pt x="165" y="16"/>
                  </a:lnTo>
                  <a:lnTo>
                    <a:pt x="154" y="21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2" y="37"/>
                  </a:lnTo>
                  <a:lnTo>
                    <a:pt x="112" y="44"/>
                  </a:lnTo>
                  <a:lnTo>
                    <a:pt x="102" y="51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5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3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6" y="165"/>
                  </a:lnTo>
                  <a:lnTo>
                    <a:pt x="12" y="178"/>
                  </a:lnTo>
                  <a:lnTo>
                    <a:pt x="8" y="190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2" y="227"/>
                  </a:lnTo>
                  <a:lnTo>
                    <a:pt x="1" y="239"/>
                  </a:lnTo>
                  <a:lnTo>
                    <a:pt x="0" y="252"/>
                  </a:lnTo>
                  <a:lnTo>
                    <a:pt x="1" y="265"/>
                  </a:lnTo>
                  <a:lnTo>
                    <a:pt x="2" y="278"/>
                  </a:lnTo>
                  <a:lnTo>
                    <a:pt x="3" y="290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2" y="326"/>
                  </a:lnTo>
                  <a:lnTo>
                    <a:pt x="16" y="339"/>
                  </a:lnTo>
                  <a:lnTo>
                    <a:pt x="20" y="350"/>
                  </a:lnTo>
                  <a:lnTo>
                    <a:pt x="25" y="362"/>
                  </a:lnTo>
                  <a:lnTo>
                    <a:pt x="31" y="372"/>
                  </a:lnTo>
                  <a:lnTo>
                    <a:pt x="37" y="383"/>
                  </a:lnTo>
                  <a:lnTo>
                    <a:pt x="43" y="393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5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4"/>
                  </a:lnTo>
                  <a:lnTo>
                    <a:pt x="112" y="460"/>
                  </a:lnTo>
                  <a:lnTo>
                    <a:pt x="122" y="467"/>
                  </a:lnTo>
                  <a:lnTo>
                    <a:pt x="132" y="473"/>
                  </a:lnTo>
                  <a:lnTo>
                    <a:pt x="143" y="479"/>
                  </a:lnTo>
                  <a:lnTo>
                    <a:pt x="154" y="484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1"/>
                  </a:lnTo>
                  <a:lnTo>
                    <a:pt x="227" y="503"/>
                  </a:lnTo>
                  <a:lnTo>
                    <a:pt x="240" y="504"/>
                  </a:lnTo>
                  <a:lnTo>
                    <a:pt x="252" y="504"/>
                  </a:lnTo>
                  <a:lnTo>
                    <a:pt x="1762" y="504"/>
                  </a:lnTo>
                  <a:lnTo>
                    <a:pt x="1775" y="504"/>
                  </a:lnTo>
                  <a:lnTo>
                    <a:pt x="1787" y="503"/>
                  </a:lnTo>
                  <a:lnTo>
                    <a:pt x="1800" y="501"/>
                  </a:lnTo>
                  <a:lnTo>
                    <a:pt x="1812" y="498"/>
                  </a:lnTo>
                  <a:lnTo>
                    <a:pt x="1824" y="495"/>
                  </a:lnTo>
                  <a:lnTo>
                    <a:pt x="1836" y="492"/>
                  </a:lnTo>
                  <a:lnTo>
                    <a:pt x="1848" y="488"/>
                  </a:lnTo>
                  <a:lnTo>
                    <a:pt x="1859" y="484"/>
                  </a:lnTo>
                  <a:lnTo>
                    <a:pt x="1870" y="479"/>
                  </a:lnTo>
                  <a:lnTo>
                    <a:pt x="1881" y="473"/>
                  </a:lnTo>
                  <a:lnTo>
                    <a:pt x="1892" y="467"/>
                  </a:lnTo>
                  <a:lnTo>
                    <a:pt x="1902" y="460"/>
                  </a:lnTo>
                  <a:lnTo>
                    <a:pt x="1912" y="454"/>
                  </a:lnTo>
                  <a:lnTo>
                    <a:pt x="1922" y="446"/>
                  </a:lnTo>
                  <a:lnTo>
                    <a:pt x="1931" y="438"/>
                  </a:lnTo>
                  <a:lnTo>
                    <a:pt x="1940" y="430"/>
                  </a:lnTo>
                  <a:lnTo>
                    <a:pt x="1948" y="421"/>
                  </a:lnTo>
                  <a:lnTo>
                    <a:pt x="1956" y="412"/>
                  </a:lnTo>
                  <a:lnTo>
                    <a:pt x="1963" y="403"/>
                  </a:lnTo>
                  <a:lnTo>
                    <a:pt x="1970" y="393"/>
                  </a:lnTo>
                  <a:lnTo>
                    <a:pt x="1977" y="383"/>
                  </a:lnTo>
                  <a:lnTo>
                    <a:pt x="1983" y="372"/>
                  </a:lnTo>
                  <a:lnTo>
                    <a:pt x="1988" y="362"/>
                  </a:lnTo>
                  <a:lnTo>
                    <a:pt x="1993" y="350"/>
                  </a:lnTo>
                  <a:lnTo>
                    <a:pt x="1998" y="339"/>
                  </a:lnTo>
                  <a:lnTo>
                    <a:pt x="2002" y="326"/>
                  </a:lnTo>
                  <a:lnTo>
                    <a:pt x="2005" y="315"/>
                  </a:lnTo>
                  <a:lnTo>
                    <a:pt x="2008" y="303"/>
                  </a:lnTo>
                  <a:lnTo>
                    <a:pt x="2010" y="290"/>
                  </a:lnTo>
                  <a:lnTo>
                    <a:pt x="2012" y="278"/>
                  </a:lnTo>
                  <a:lnTo>
                    <a:pt x="2013" y="265"/>
                  </a:lnTo>
                  <a:lnTo>
                    <a:pt x="2013" y="252"/>
                  </a:lnTo>
                  <a:lnTo>
                    <a:pt x="2013" y="239"/>
                  </a:lnTo>
                  <a:lnTo>
                    <a:pt x="2012" y="227"/>
                  </a:lnTo>
                  <a:lnTo>
                    <a:pt x="2010" y="214"/>
                  </a:lnTo>
                  <a:lnTo>
                    <a:pt x="2008" y="202"/>
                  </a:lnTo>
                  <a:lnTo>
                    <a:pt x="2005" y="190"/>
                  </a:lnTo>
                  <a:lnTo>
                    <a:pt x="2002" y="178"/>
                  </a:lnTo>
                  <a:lnTo>
                    <a:pt x="1998" y="165"/>
                  </a:lnTo>
                  <a:lnTo>
                    <a:pt x="1993" y="154"/>
                  </a:lnTo>
                  <a:lnTo>
                    <a:pt x="1988" y="143"/>
                  </a:lnTo>
                  <a:lnTo>
                    <a:pt x="1983" y="132"/>
                  </a:lnTo>
                  <a:lnTo>
                    <a:pt x="1977" y="122"/>
                  </a:lnTo>
                  <a:lnTo>
                    <a:pt x="1970" y="111"/>
                  </a:lnTo>
                  <a:lnTo>
                    <a:pt x="1963" y="102"/>
                  </a:lnTo>
                  <a:lnTo>
                    <a:pt x="1956" y="92"/>
                  </a:lnTo>
                  <a:lnTo>
                    <a:pt x="1948" y="83"/>
                  </a:lnTo>
                  <a:lnTo>
                    <a:pt x="1940" y="74"/>
                  </a:lnTo>
                  <a:lnTo>
                    <a:pt x="1931" y="66"/>
                  </a:lnTo>
                  <a:lnTo>
                    <a:pt x="1922" y="58"/>
                  </a:lnTo>
                  <a:lnTo>
                    <a:pt x="1912" y="51"/>
                  </a:lnTo>
                  <a:lnTo>
                    <a:pt x="1902" y="44"/>
                  </a:lnTo>
                  <a:lnTo>
                    <a:pt x="1892" y="37"/>
                  </a:lnTo>
                  <a:lnTo>
                    <a:pt x="1881" y="31"/>
                  </a:lnTo>
                  <a:lnTo>
                    <a:pt x="1870" y="26"/>
                  </a:lnTo>
                  <a:lnTo>
                    <a:pt x="1859" y="21"/>
                  </a:lnTo>
                  <a:lnTo>
                    <a:pt x="1848" y="16"/>
                  </a:lnTo>
                  <a:lnTo>
                    <a:pt x="1836" y="12"/>
                  </a:lnTo>
                  <a:lnTo>
                    <a:pt x="1824" y="9"/>
                  </a:lnTo>
                  <a:lnTo>
                    <a:pt x="1812" y="6"/>
                  </a:lnTo>
                  <a:lnTo>
                    <a:pt x="1800" y="3"/>
                  </a:lnTo>
                  <a:lnTo>
                    <a:pt x="1787" y="1"/>
                  </a:lnTo>
                  <a:lnTo>
                    <a:pt x="1775" y="0"/>
                  </a:lnTo>
                  <a:lnTo>
                    <a:pt x="17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71" name="íŝľîḓè">
              <a:extLst>
                <a:ext uri="{FF2B5EF4-FFF2-40B4-BE49-F238E27FC236}">
                  <a16:creationId xmlns:a16="http://schemas.microsoft.com/office/drawing/2014/main" id="{7444978E-2EE7-4D42-A2D1-F7C2CCAFF2B2}"/>
                </a:ext>
              </a:extLst>
            </p:cNvPr>
            <p:cNvSpPr/>
            <p:nvPr/>
          </p:nvSpPr>
          <p:spPr bwMode="auto">
            <a:xfrm>
              <a:off x="1435170" y="1439691"/>
              <a:ext cx="58174" cy="40938"/>
            </a:xfrm>
            <a:custGeom>
              <a:avLst/>
              <a:gdLst>
                <a:gd name="T0" fmla="*/ 420 w 3005"/>
                <a:gd name="T1" fmla="*/ 185 h 2110"/>
                <a:gd name="T2" fmla="*/ 370 w 3005"/>
                <a:gd name="T3" fmla="*/ 200 h 2110"/>
                <a:gd name="T4" fmla="*/ 323 w 3005"/>
                <a:gd name="T5" fmla="*/ 224 h 2110"/>
                <a:gd name="T6" fmla="*/ 257 w 3005"/>
                <a:gd name="T7" fmla="*/ 273 h 2110"/>
                <a:gd name="T8" fmla="*/ 205 w 3005"/>
                <a:gd name="T9" fmla="*/ 336 h 2110"/>
                <a:gd name="T10" fmla="*/ 178 w 3005"/>
                <a:gd name="T11" fmla="*/ 383 h 2110"/>
                <a:gd name="T12" fmla="*/ 160 w 3005"/>
                <a:gd name="T13" fmla="*/ 432 h 2110"/>
                <a:gd name="T14" fmla="*/ 0 w 3005"/>
                <a:gd name="T15" fmla="*/ 1872 h 2110"/>
                <a:gd name="T16" fmla="*/ 5 w 3005"/>
                <a:gd name="T17" fmla="*/ 1922 h 2110"/>
                <a:gd name="T18" fmla="*/ 20 w 3005"/>
                <a:gd name="T19" fmla="*/ 1968 h 2110"/>
                <a:gd name="T20" fmla="*/ 43 w 3005"/>
                <a:gd name="T21" fmla="*/ 2009 h 2110"/>
                <a:gd name="T22" fmla="*/ 74 w 3005"/>
                <a:gd name="T23" fmla="*/ 2045 h 2110"/>
                <a:gd name="T24" fmla="*/ 111 w 3005"/>
                <a:gd name="T25" fmla="*/ 2074 h 2110"/>
                <a:gd name="T26" fmla="*/ 154 w 3005"/>
                <a:gd name="T27" fmla="*/ 2095 h 2110"/>
                <a:gd name="T28" fmla="*/ 201 w 3005"/>
                <a:gd name="T29" fmla="*/ 2107 h 2110"/>
                <a:gd name="T30" fmla="*/ 251 w 3005"/>
                <a:gd name="T31" fmla="*/ 2110 h 2110"/>
                <a:gd name="T32" fmla="*/ 302 w 3005"/>
                <a:gd name="T33" fmla="*/ 2102 h 2110"/>
                <a:gd name="T34" fmla="*/ 348 w 3005"/>
                <a:gd name="T35" fmla="*/ 2085 h 2110"/>
                <a:gd name="T36" fmla="*/ 390 w 3005"/>
                <a:gd name="T37" fmla="*/ 2060 h 2110"/>
                <a:gd name="T38" fmla="*/ 427 w 3005"/>
                <a:gd name="T39" fmla="*/ 2028 h 2110"/>
                <a:gd name="T40" fmla="*/ 458 w 3005"/>
                <a:gd name="T41" fmla="*/ 1989 h 2110"/>
                <a:gd name="T42" fmla="*/ 481 w 3005"/>
                <a:gd name="T43" fmla="*/ 1945 h 2110"/>
                <a:gd name="T44" fmla="*/ 495 w 3005"/>
                <a:gd name="T45" fmla="*/ 1897 h 2110"/>
                <a:gd name="T46" fmla="*/ 583 w 3005"/>
                <a:gd name="T47" fmla="*/ 906 h 2110"/>
                <a:gd name="T48" fmla="*/ 595 w 3005"/>
                <a:gd name="T49" fmla="*/ 855 h 2110"/>
                <a:gd name="T50" fmla="*/ 616 w 3005"/>
                <a:gd name="T51" fmla="*/ 807 h 2110"/>
                <a:gd name="T52" fmla="*/ 646 w 3005"/>
                <a:gd name="T53" fmla="*/ 762 h 2110"/>
                <a:gd name="T54" fmla="*/ 681 w 3005"/>
                <a:gd name="T55" fmla="*/ 722 h 2110"/>
                <a:gd name="T56" fmla="*/ 722 w 3005"/>
                <a:gd name="T57" fmla="*/ 688 h 2110"/>
                <a:gd name="T58" fmla="*/ 767 w 3005"/>
                <a:gd name="T59" fmla="*/ 661 h 2110"/>
                <a:gd name="T60" fmla="*/ 817 w 3005"/>
                <a:gd name="T61" fmla="*/ 642 h 2110"/>
                <a:gd name="T62" fmla="*/ 867 w 3005"/>
                <a:gd name="T63" fmla="*/ 632 h 2110"/>
                <a:gd name="T64" fmla="*/ 2791 w 3005"/>
                <a:gd name="T65" fmla="*/ 498 h 2110"/>
                <a:gd name="T66" fmla="*/ 2840 w 3005"/>
                <a:gd name="T67" fmla="*/ 484 h 2110"/>
                <a:gd name="T68" fmla="*/ 2884 w 3005"/>
                <a:gd name="T69" fmla="*/ 461 h 2110"/>
                <a:gd name="T70" fmla="*/ 2922 w 3005"/>
                <a:gd name="T71" fmla="*/ 430 h 2110"/>
                <a:gd name="T72" fmla="*/ 2955 w 3005"/>
                <a:gd name="T73" fmla="*/ 393 h 2110"/>
                <a:gd name="T74" fmla="*/ 2980 w 3005"/>
                <a:gd name="T75" fmla="*/ 351 h 2110"/>
                <a:gd name="T76" fmla="*/ 2998 w 3005"/>
                <a:gd name="T77" fmla="*/ 305 h 2110"/>
                <a:gd name="T78" fmla="*/ 3005 w 3005"/>
                <a:gd name="T79" fmla="*/ 254 h 2110"/>
                <a:gd name="T80" fmla="*/ 3003 w 3005"/>
                <a:gd name="T81" fmla="*/ 203 h 2110"/>
                <a:gd name="T82" fmla="*/ 2989 w 3005"/>
                <a:gd name="T83" fmla="*/ 156 h 2110"/>
                <a:gd name="T84" fmla="*/ 2968 w 3005"/>
                <a:gd name="T85" fmla="*/ 112 h 2110"/>
                <a:gd name="T86" fmla="*/ 2939 w 3005"/>
                <a:gd name="T87" fmla="*/ 74 h 2110"/>
                <a:gd name="T88" fmla="*/ 2904 w 3005"/>
                <a:gd name="T89" fmla="*/ 44 h 2110"/>
                <a:gd name="T90" fmla="*/ 2863 w 3005"/>
                <a:gd name="T91" fmla="*/ 20 h 2110"/>
                <a:gd name="T92" fmla="*/ 2816 w 3005"/>
                <a:gd name="T93" fmla="*/ 5 h 2110"/>
                <a:gd name="T94" fmla="*/ 2766 w 3005"/>
                <a:gd name="T95" fmla="*/ 0 h 2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005" h="2110">
                  <a:moveTo>
                    <a:pt x="2753" y="0"/>
                  </a:moveTo>
                  <a:lnTo>
                    <a:pt x="446" y="180"/>
                  </a:lnTo>
                  <a:lnTo>
                    <a:pt x="433" y="182"/>
                  </a:lnTo>
                  <a:lnTo>
                    <a:pt x="420" y="185"/>
                  </a:lnTo>
                  <a:lnTo>
                    <a:pt x="408" y="188"/>
                  </a:lnTo>
                  <a:lnTo>
                    <a:pt x="395" y="191"/>
                  </a:lnTo>
                  <a:lnTo>
                    <a:pt x="383" y="195"/>
                  </a:lnTo>
                  <a:lnTo>
                    <a:pt x="370" y="200"/>
                  </a:lnTo>
                  <a:lnTo>
                    <a:pt x="358" y="205"/>
                  </a:lnTo>
                  <a:lnTo>
                    <a:pt x="346" y="211"/>
                  </a:lnTo>
                  <a:lnTo>
                    <a:pt x="334" y="217"/>
                  </a:lnTo>
                  <a:lnTo>
                    <a:pt x="323" y="224"/>
                  </a:lnTo>
                  <a:lnTo>
                    <a:pt x="311" y="231"/>
                  </a:lnTo>
                  <a:lnTo>
                    <a:pt x="300" y="239"/>
                  </a:lnTo>
                  <a:lnTo>
                    <a:pt x="277" y="255"/>
                  </a:lnTo>
                  <a:lnTo>
                    <a:pt x="257" y="273"/>
                  </a:lnTo>
                  <a:lnTo>
                    <a:pt x="238" y="294"/>
                  </a:lnTo>
                  <a:lnTo>
                    <a:pt x="220" y="314"/>
                  </a:lnTo>
                  <a:lnTo>
                    <a:pt x="212" y="325"/>
                  </a:lnTo>
                  <a:lnTo>
                    <a:pt x="205" y="336"/>
                  </a:lnTo>
                  <a:lnTo>
                    <a:pt x="197" y="347"/>
                  </a:lnTo>
                  <a:lnTo>
                    <a:pt x="190" y="359"/>
                  </a:lnTo>
                  <a:lnTo>
                    <a:pt x="184" y="371"/>
                  </a:lnTo>
                  <a:lnTo>
                    <a:pt x="178" y="383"/>
                  </a:lnTo>
                  <a:lnTo>
                    <a:pt x="173" y="395"/>
                  </a:lnTo>
                  <a:lnTo>
                    <a:pt x="168" y="407"/>
                  </a:lnTo>
                  <a:lnTo>
                    <a:pt x="164" y="419"/>
                  </a:lnTo>
                  <a:lnTo>
                    <a:pt x="160" y="432"/>
                  </a:lnTo>
                  <a:lnTo>
                    <a:pt x="157" y="444"/>
                  </a:lnTo>
                  <a:lnTo>
                    <a:pt x="155" y="457"/>
                  </a:lnTo>
                  <a:lnTo>
                    <a:pt x="1" y="1859"/>
                  </a:lnTo>
                  <a:lnTo>
                    <a:pt x="0" y="1872"/>
                  </a:lnTo>
                  <a:lnTo>
                    <a:pt x="1" y="1885"/>
                  </a:lnTo>
                  <a:lnTo>
                    <a:pt x="2" y="1897"/>
                  </a:lnTo>
                  <a:lnTo>
                    <a:pt x="3" y="1910"/>
                  </a:lnTo>
                  <a:lnTo>
                    <a:pt x="5" y="1922"/>
                  </a:lnTo>
                  <a:lnTo>
                    <a:pt x="8" y="1933"/>
                  </a:lnTo>
                  <a:lnTo>
                    <a:pt x="12" y="1945"/>
                  </a:lnTo>
                  <a:lnTo>
                    <a:pt x="16" y="1957"/>
                  </a:lnTo>
                  <a:lnTo>
                    <a:pt x="20" y="1968"/>
                  </a:lnTo>
                  <a:lnTo>
                    <a:pt x="25" y="1979"/>
                  </a:lnTo>
                  <a:lnTo>
                    <a:pt x="31" y="1990"/>
                  </a:lnTo>
                  <a:lnTo>
                    <a:pt x="37" y="2000"/>
                  </a:lnTo>
                  <a:lnTo>
                    <a:pt x="43" y="2009"/>
                  </a:lnTo>
                  <a:lnTo>
                    <a:pt x="50" y="2019"/>
                  </a:lnTo>
                  <a:lnTo>
                    <a:pt x="57" y="2028"/>
                  </a:lnTo>
                  <a:lnTo>
                    <a:pt x="65" y="2037"/>
                  </a:lnTo>
                  <a:lnTo>
                    <a:pt x="74" y="2045"/>
                  </a:lnTo>
                  <a:lnTo>
                    <a:pt x="82" y="2053"/>
                  </a:lnTo>
                  <a:lnTo>
                    <a:pt x="91" y="2060"/>
                  </a:lnTo>
                  <a:lnTo>
                    <a:pt x="101" y="2067"/>
                  </a:lnTo>
                  <a:lnTo>
                    <a:pt x="111" y="2074"/>
                  </a:lnTo>
                  <a:lnTo>
                    <a:pt x="122" y="2080"/>
                  </a:lnTo>
                  <a:lnTo>
                    <a:pt x="132" y="2085"/>
                  </a:lnTo>
                  <a:lnTo>
                    <a:pt x="143" y="2090"/>
                  </a:lnTo>
                  <a:lnTo>
                    <a:pt x="154" y="2095"/>
                  </a:lnTo>
                  <a:lnTo>
                    <a:pt x="165" y="2099"/>
                  </a:lnTo>
                  <a:lnTo>
                    <a:pt x="177" y="2102"/>
                  </a:lnTo>
                  <a:lnTo>
                    <a:pt x="189" y="2105"/>
                  </a:lnTo>
                  <a:lnTo>
                    <a:pt x="201" y="2107"/>
                  </a:lnTo>
                  <a:lnTo>
                    <a:pt x="213" y="2109"/>
                  </a:lnTo>
                  <a:lnTo>
                    <a:pt x="226" y="2110"/>
                  </a:lnTo>
                  <a:lnTo>
                    <a:pt x="239" y="2110"/>
                  </a:lnTo>
                  <a:lnTo>
                    <a:pt x="251" y="2110"/>
                  </a:lnTo>
                  <a:lnTo>
                    <a:pt x="264" y="2109"/>
                  </a:lnTo>
                  <a:lnTo>
                    <a:pt x="276" y="2107"/>
                  </a:lnTo>
                  <a:lnTo>
                    <a:pt x="290" y="2105"/>
                  </a:lnTo>
                  <a:lnTo>
                    <a:pt x="302" y="2102"/>
                  </a:lnTo>
                  <a:lnTo>
                    <a:pt x="314" y="2099"/>
                  </a:lnTo>
                  <a:lnTo>
                    <a:pt x="325" y="2095"/>
                  </a:lnTo>
                  <a:lnTo>
                    <a:pt x="337" y="2090"/>
                  </a:lnTo>
                  <a:lnTo>
                    <a:pt x="348" y="2085"/>
                  </a:lnTo>
                  <a:lnTo>
                    <a:pt x="359" y="2080"/>
                  </a:lnTo>
                  <a:lnTo>
                    <a:pt x="370" y="2074"/>
                  </a:lnTo>
                  <a:lnTo>
                    <a:pt x="380" y="2067"/>
                  </a:lnTo>
                  <a:lnTo>
                    <a:pt x="390" y="2060"/>
                  </a:lnTo>
                  <a:lnTo>
                    <a:pt x="400" y="2053"/>
                  </a:lnTo>
                  <a:lnTo>
                    <a:pt x="409" y="2045"/>
                  </a:lnTo>
                  <a:lnTo>
                    <a:pt x="418" y="2037"/>
                  </a:lnTo>
                  <a:lnTo>
                    <a:pt x="427" y="2028"/>
                  </a:lnTo>
                  <a:lnTo>
                    <a:pt x="435" y="2019"/>
                  </a:lnTo>
                  <a:lnTo>
                    <a:pt x="443" y="2009"/>
                  </a:lnTo>
                  <a:lnTo>
                    <a:pt x="450" y="2000"/>
                  </a:lnTo>
                  <a:lnTo>
                    <a:pt x="458" y="1989"/>
                  </a:lnTo>
                  <a:lnTo>
                    <a:pt x="465" y="1979"/>
                  </a:lnTo>
                  <a:lnTo>
                    <a:pt x="471" y="1968"/>
                  </a:lnTo>
                  <a:lnTo>
                    <a:pt x="476" y="1957"/>
                  </a:lnTo>
                  <a:lnTo>
                    <a:pt x="481" y="1945"/>
                  </a:lnTo>
                  <a:lnTo>
                    <a:pt x="485" y="1933"/>
                  </a:lnTo>
                  <a:lnTo>
                    <a:pt x="489" y="1921"/>
                  </a:lnTo>
                  <a:lnTo>
                    <a:pt x="493" y="1909"/>
                  </a:lnTo>
                  <a:lnTo>
                    <a:pt x="495" y="1897"/>
                  </a:lnTo>
                  <a:lnTo>
                    <a:pt x="497" y="1884"/>
                  </a:lnTo>
                  <a:lnTo>
                    <a:pt x="499" y="1872"/>
                  </a:lnTo>
                  <a:lnTo>
                    <a:pt x="500" y="1859"/>
                  </a:lnTo>
                  <a:lnTo>
                    <a:pt x="583" y="906"/>
                  </a:lnTo>
                  <a:lnTo>
                    <a:pt x="585" y="893"/>
                  </a:lnTo>
                  <a:lnTo>
                    <a:pt x="588" y="880"/>
                  </a:lnTo>
                  <a:lnTo>
                    <a:pt x="591" y="868"/>
                  </a:lnTo>
                  <a:lnTo>
                    <a:pt x="595" y="855"/>
                  </a:lnTo>
                  <a:lnTo>
                    <a:pt x="600" y="843"/>
                  </a:lnTo>
                  <a:lnTo>
                    <a:pt x="605" y="831"/>
                  </a:lnTo>
                  <a:lnTo>
                    <a:pt x="610" y="819"/>
                  </a:lnTo>
                  <a:lnTo>
                    <a:pt x="616" y="807"/>
                  </a:lnTo>
                  <a:lnTo>
                    <a:pt x="622" y="796"/>
                  </a:lnTo>
                  <a:lnTo>
                    <a:pt x="630" y="784"/>
                  </a:lnTo>
                  <a:lnTo>
                    <a:pt x="638" y="773"/>
                  </a:lnTo>
                  <a:lnTo>
                    <a:pt x="646" y="762"/>
                  </a:lnTo>
                  <a:lnTo>
                    <a:pt x="654" y="751"/>
                  </a:lnTo>
                  <a:lnTo>
                    <a:pt x="663" y="741"/>
                  </a:lnTo>
                  <a:lnTo>
                    <a:pt x="672" y="731"/>
                  </a:lnTo>
                  <a:lnTo>
                    <a:pt x="681" y="722"/>
                  </a:lnTo>
                  <a:lnTo>
                    <a:pt x="691" y="713"/>
                  </a:lnTo>
                  <a:lnTo>
                    <a:pt x="701" y="704"/>
                  </a:lnTo>
                  <a:lnTo>
                    <a:pt x="711" y="696"/>
                  </a:lnTo>
                  <a:lnTo>
                    <a:pt x="722" y="688"/>
                  </a:lnTo>
                  <a:lnTo>
                    <a:pt x="733" y="680"/>
                  </a:lnTo>
                  <a:lnTo>
                    <a:pt x="744" y="673"/>
                  </a:lnTo>
                  <a:lnTo>
                    <a:pt x="756" y="667"/>
                  </a:lnTo>
                  <a:lnTo>
                    <a:pt x="767" y="661"/>
                  </a:lnTo>
                  <a:lnTo>
                    <a:pt x="779" y="655"/>
                  </a:lnTo>
                  <a:lnTo>
                    <a:pt x="791" y="650"/>
                  </a:lnTo>
                  <a:lnTo>
                    <a:pt x="804" y="646"/>
                  </a:lnTo>
                  <a:lnTo>
                    <a:pt x="817" y="642"/>
                  </a:lnTo>
                  <a:lnTo>
                    <a:pt x="829" y="638"/>
                  </a:lnTo>
                  <a:lnTo>
                    <a:pt x="842" y="635"/>
                  </a:lnTo>
                  <a:lnTo>
                    <a:pt x="855" y="633"/>
                  </a:lnTo>
                  <a:lnTo>
                    <a:pt x="867" y="632"/>
                  </a:lnTo>
                  <a:lnTo>
                    <a:pt x="2753" y="502"/>
                  </a:lnTo>
                  <a:lnTo>
                    <a:pt x="2766" y="501"/>
                  </a:lnTo>
                  <a:lnTo>
                    <a:pt x="2779" y="500"/>
                  </a:lnTo>
                  <a:lnTo>
                    <a:pt x="2791" y="498"/>
                  </a:lnTo>
                  <a:lnTo>
                    <a:pt x="2804" y="495"/>
                  </a:lnTo>
                  <a:lnTo>
                    <a:pt x="2816" y="492"/>
                  </a:lnTo>
                  <a:lnTo>
                    <a:pt x="2829" y="488"/>
                  </a:lnTo>
                  <a:lnTo>
                    <a:pt x="2840" y="484"/>
                  </a:lnTo>
                  <a:lnTo>
                    <a:pt x="2851" y="479"/>
                  </a:lnTo>
                  <a:lnTo>
                    <a:pt x="2863" y="473"/>
                  </a:lnTo>
                  <a:lnTo>
                    <a:pt x="2873" y="467"/>
                  </a:lnTo>
                  <a:lnTo>
                    <a:pt x="2884" y="461"/>
                  </a:lnTo>
                  <a:lnTo>
                    <a:pt x="2894" y="453"/>
                  </a:lnTo>
                  <a:lnTo>
                    <a:pt x="2904" y="446"/>
                  </a:lnTo>
                  <a:lnTo>
                    <a:pt x="2913" y="438"/>
                  </a:lnTo>
                  <a:lnTo>
                    <a:pt x="2922" y="430"/>
                  </a:lnTo>
                  <a:lnTo>
                    <a:pt x="2931" y="421"/>
                  </a:lnTo>
                  <a:lnTo>
                    <a:pt x="2939" y="412"/>
                  </a:lnTo>
                  <a:lnTo>
                    <a:pt x="2947" y="403"/>
                  </a:lnTo>
                  <a:lnTo>
                    <a:pt x="2955" y="393"/>
                  </a:lnTo>
                  <a:lnTo>
                    <a:pt x="2962" y="383"/>
                  </a:lnTo>
                  <a:lnTo>
                    <a:pt x="2968" y="373"/>
                  </a:lnTo>
                  <a:lnTo>
                    <a:pt x="2974" y="362"/>
                  </a:lnTo>
                  <a:lnTo>
                    <a:pt x="2980" y="351"/>
                  </a:lnTo>
                  <a:lnTo>
                    <a:pt x="2985" y="340"/>
                  </a:lnTo>
                  <a:lnTo>
                    <a:pt x="2989" y="328"/>
                  </a:lnTo>
                  <a:lnTo>
                    <a:pt x="2993" y="317"/>
                  </a:lnTo>
                  <a:lnTo>
                    <a:pt x="2998" y="305"/>
                  </a:lnTo>
                  <a:lnTo>
                    <a:pt x="3000" y="291"/>
                  </a:lnTo>
                  <a:lnTo>
                    <a:pt x="3003" y="279"/>
                  </a:lnTo>
                  <a:lnTo>
                    <a:pt x="3004" y="267"/>
                  </a:lnTo>
                  <a:lnTo>
                    <a:pt x="3005" y="254"/>
                  </a:lnTo>
                  <a:lnTo>
                    <a:pt x="3005" y="241"/>
                  </a:lnTo>
                  <a:lnTo>
                    <a:pt x="3005" y="228"/>
                  </a:lnTo>
                  <a:lnTo>
                    <a:pt x="3004" y="215"/>
                  </a:lnTo>
                  <a:lnTo>
                    <a:pt x="3003" y="203"/>
                  </a:lnTo>
                  <a:lnTo>
                    <a:pt x="3000" y="191"/>
                  </a:lnTo>
                  <a:lnTo>
                    <a:pt x="2998" y="179"/>
                  </a:lnTo>
                  <a:lnTo>
                    <a:pt x="2993" y="167"/>
                  </a:lnTo>
                  <a:lnTo>
                    <a:pt x="2989" y="156"/>
                  </a:lnTo>
                  <a:lnTo>
                    <a:pt x="2985" y="145"/>
                  </a:lnTo>
                  <a:lnTo>
                    <a:pt x="2980" y="134"/>
                  </a:lnTo>
                  <a:lnTo>
                    <a:pt x="2974" y="122"/>
                  </a:lnTo>
                  <a:lnTo>
                    <a:pt x="2968" y="112"/>
                  </a:lnTo>
                  <a:lnTo>
                    <a:pt x="2962" y="102"/>
                  </a:lnTo>
                  <a:lnTo>
                    <a:pt x="2955" y="92"/>
                  </a:lnTo>
                  <a:lnTo>
                    <a:pt x="2947" y="83"/>
                  </a:lnTo>
                  <a:lnTo>
                    <a:pt x="2939" y="74"/>
                  </a:lnTo>
                  <a:lnTo>
                    <a:pt x="2931" y="66"/>
                  </a:lnTo>
                  <a:lnTo>
                    <a:pt x="2922" y="58"/>
                  </a:lnTo>
                  <a:lnTo>
                    <a:pt x="2913" y="51"/>
                  </a:lnTo>
                  <a:lnTo>
                    <a:pt x="2904" y="44"/>
                  </a:lnTo>
                  <a:lnTo>
                    <a:pt x="2894" y="37"/>
                  </a:lnTo>
                  <a:lnTo>
                    <a:pt x="2884" y="31"/>
                  </a:lnTo>
                  <a:lnTo>
                    <a:pt x="2873" y="25"/>
                  </a:lnTo>
                  <a:lnTo>
                    <a:pt x="2863" y="20"/>
                  </a:lnTo>
                  <a:lnTo>
                    <a:pt x="2851" y="16"/>
                  </a:lnTo>
                  <a:lnTo>
                    <a:pt x="2840" y="12"/>
                  </a:lnTo>
                  <a:lnTo>
                    <a:pt x="2829" y="8"/>
                  </a:lnTo>
                  <a:lnTo>
                    <a:pt x="2816" y="5"/>
                  </a:lnTo>
                  <a:lnTo>
                    <a:pt x="2804" y="3"/>
                  </a:lnTo>
                  <a:lnTo>
                    <a:pt x="2791" y="1"/>
                  </a:lnTo>
                  <a:lnTo>
                    <a:pt x="2779" y="0"/>
                  </a:lnTo>
                  <a:lnTo>
                    <a:pt x="2766" y="0"/>
                  </a:lnTo>
                  <a:lnTo>
                    <a:pt x="275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72" name="iṩ1iḓé">
              <a:extLst>
                <a:ext uri="{FF2B5EF4-FFF2-40B4-BE49-F238E27FC236}">
                  <a16:creationId xmlns:a16="http://schemas.microsoft.com/office/drawing/2014/main" id="{07AC56FA-7BA9-4D9A-8633-9FCA411D243F}"/>
                </a:ext>
              </a:extLst>
            </p:cNvPr>
            <p:cNvSpPr/>
            <p:nvPr/>
          </p:nvSpPr>
          <p:spPr bwMode="auto">
            <a:xfrm>
              <a:off x="1650029" y="1484568"/>
              <a:ext cx="287159" cy="287159"/>
            </a:xfrm>
            <a:custGeom>
              <a:avLst/>
              <a:gdLst>
                <a:gd name="T0" fmla="*/ 8083 w 16058"/>
                <a:gd name="T1" fmla="*/ 10645 h 16058"/>
                <a:gd name="T2" fmla="*/ 6322 w 16058"/>
                <a:gd name="T3" fmla="*/ 9396 h 16058"/>
                <a:gd name="T4" fmla="*/ 5244 w 16058"/>
                <a:gd name="T5" fmla="*/ 7514 h 16058"/>
                <a:gd name="T6" fmla="*/ 5076 w 16058"/>
                <a:gd name="T7" fmla="*/ 5258 h 16058"/>
                <a:gd name="T8" fmla="*/ 5875 w 16058"/>
                <a:gd name="T9" fmla="*/ 3217 h 16058"/>
                <a:gd name="T10" fmla="*/ 7435 w 16058"/>
                <a:gd name="T11" fmla="*/ 1730 h 16058"/>
                <a:gd name="T12" fmla="*/ 9523 w 16058"/>
                <a:gd name="T13" fmla="*/ 1030 h 16058"/>
                <a:gd name="T14" fmla="*/ 11761 w 16058"/>
                <a:gd name="T15" fmla="*/ 1308 h 16058"/>
                <a:gd name="T16" fmla="*/ 13584 w 16058"/>
                <a:gd name="T17" fmla="*/ 2474 h 16058"/>
                <a:gd name="T18" fmla="*/ 14750 w 16058"/>
                <a:gd name="T19" fmla="*/ 4297 h 16058"/>
                <a:gd name="T20" fmla="*/ 15028 w 16058"/>
                <a:gd name="T21" fmla="*/ 6535 h 16058"/>
                <a:gd name="T22" fmla="*/ 14328 w 16058"/>
                <a:gd name="T23" fmla="*/ 8624 h 16058"/>
                <a:gd name="T24" fmla="*/ 12841 w 16058"/>
                <a:gd name="T25" fmla="*/ 10183 h 16058"/>
                <a:gd name="T26" fmla="*/ 10800 w 16058"/>
                <a:gd name="T27" fmla="*/ 10982 h 16058"/>
                <a:gd name="T28" fmla="*/ 2326 w 16058"/>
                <a:gd name="T29" fmla="*/ 14973 h 16058"/>
                <a:gd name="T30" fmla="*/ 2162 w 16058"/>
                <a:gd name="T31" fmla="*/ 15080 h 16058"/>
                <a:gd name="T32" fmla="*/ 1975 w 16058"/>
                <a:gd name="T33" fmla="*/ 15148 h 16058"/>
                <a:gd name="T34" fmla="*/ 1771 w 16058"/>
                <a:gd name="T35" fmla="*/ 15172 h 16058"/>
                <a:gd name="T36" fmla="*/ 1387 w 16058"/>
                <a:gd name="T37" fmla="*/ 15084 h 16058"/>
                <a:gd name="T38" fmla="*/ 1088 w 16058"/>
                <a:gd name="T39" fmla="*/ 14850 h 16058"/>
                <a:gd name="T40" fmla="*/ 913 w 16058"/>
                <a:gd name="T41" fmla="*/ 14508 h 16058"/>
                <a:gd name="T42" fmla="*/ 890 w 16058"/>
                <a:gd name="T43" fmla="*/ 14194 h 16058"/>
                <a:gd name="T44" fmla="*/ 935 w 16058"/>
                <a:gd name="T45" fmla="*/ 13998 h 16058"/>
                <a:gd name="T46" fmla="*/ 1021 w 16058"/>
                <a:gd name="T47" fmla="*/ 13820 h 16058"/>
                <a:gd name="T48" fmla="*/ 1142 w 16058"/>
                <a:gd name="T49" fmla="*/ 13667 h 16058"/>
                <a:gd name="T50" fmla="*/ 5408 w 16058"/>
                <a:gd name="T51" fmla="*/ 9863 h 16058"/>
                <a:gd name="T52" fmla="*/ 5742 w 16058"/>
                <a:gd name="T53" fmla="*/ 10234 h 16058"/>
                <a:gd name="T54" fmla="*/ 6106 w 16058"/>
                <a:gd name="T55" fmla="*/ 10575 h 16058"/>
                <a:gd name="T56" fmla="*/ 2407 w 16058"/>
                <a:gd name="T57" fmla="*/ 14900 h 16058"/>
                <a:gd name="T58" fmla="*/ 7693 w 16058"/>
                <a:gd name="T59" fmla="*/ 474 h 16058"/>
                <a:gd name="T60" fmla="*/ 5579 w 16058"/>
                <a:gd name="T61" fmla="*/ 1973 h 16058"/>
                <a:gd name="T62" fmla="*/ 4285 w 16058"/>
                <a:gd name="T63" fmla="*/ 4231 h 16058"/>
                <a:gd name="T64" fmla="*/ 4022 w 16058"/>
                <a:gd name="T65" fmla="*/ 6306 h 16058"/>
                <a:gd name="T66" fmla="*/ 4119 w 16058"/>
                <a:gd name="T67" fmla="*/ 7138 h 16058"/>
                <a:gd name="T68" fmla="*/ 4326 w 16058"/>
                <a:gd name="T69" fmla="*/ 7930 h 16058"/>
                <a:gd name="T70" fmla="*/ 4634 w 16058"/>
                <a:gd name="T71" fmla="*/ 8676 h 16058"/>
                <a:gd name="T72" fmla="*/ 386 w 16058"/>
                <a:gd name="T73" fmla="*/ 13185 h 16058"/>
                <a:gd name="T74" fmla="*/ 179 w 16058"/>
                <a:gd name="T75" fmla="*/ 13512 h 16058"/>
                <a:gd name="T76" fmla="*/ 46 w 16058"/>
                <a:gd name="T77" fmla="*/ 13883 h 16058"/>
                <a:gd name="T78" fmla="*/ 0 w 16058"/>
                <a:gd name="T79" fmla="*/ 14287 h 16058"/>
                <a:gd name="T80" fmla="*/ 175 w 16058"/>
                <a:gd name="T81" fmla="*/ 15054 h 16058"/>
                <a:gd name="T82" fmla="*/ 644 w 16058"/>
                <a:gd name="T83" fmla="*/ 15654 h 16058"/>
                <a:gd name="T84" fmla="*/ 1329 w 16058"/>
                <a:gd name="T85" fmla="*/ 16002 h 16058"/>
                <a:gd name="T86" fmla="*/ 1954 w 16058"/>
                <a:gd name="T87" fmla="*/ 16049 h 16058"/>
                <a:gd name="T88" fmla="*/ 2344 w 16058"/>
                <a:gd name="T89" fmla="*/ 15963 h 16058"/>
                <a:gd name="T90" fmla="*/ 2698 w 16058"/>
                <a:gd name="T91" fmla="*/ 15795 h 16058"/>
                <a:gd name="T92" fmla="*/ 3003 w 16058"/>
                <a:gd name="T93" fmla="*/ 15557 h 16058"/>
                <a:gd name="T94" fmla="*/ 7703 w 16058"/>
                <a:gd name="T95" fmla="*/ 11572 h 16058"/>
                <a:gd name="T96" fmla="*/ 8472 w 16058"/>
                <a:gd name="T97" fmla="*/ 11837 h 16058"/>
                <a:gd name="T98" fmla="*/ 9285 w 16058"/>
                <a:gd name="T99" fmla="*/ 11996 h 16058"/>
                <a:gd name="T100" fmla="*/ 10346 w 16058"/>
                <a:gd name="T101" fmla="*/ 12035 h 16058"/>
                <a:gd name="T102" fmla="*/ 12907 w 16058"/>
                <a:gd name="T103" fmla="*/ 11317 h 16058"/>
                <a:gd name="T104" fmla="*/ 14862 w 16058"/>
                <a:gd name="T105" fmla="*/ 9625 h 16058"/>
                <a:gd name="T106" fmla="*/ 15936 w 16058"/>
                <a:gd name="T107" fmla="*/ 7235 h 16058"/>
                <a:gd name="T108" fmla="*/ 15868 w 16058"/>
                <a:gd name="T109" fmla="*/ 4517 h 16058"/>
                <a:gd name="T110" fmla="*/ 14683 w 16058"/>
                <a:gd name="T111" fmla="*/ 2191 h 16058"/>
                <a:gd name="T112" fmla="*/ 12647 w 16058"/>
                <a:gd name="T113" fmla="*/ 594 h 16058"/>
                <a:gd name="T114" fmla="*/ 10036 w 16058"/>
                <a:gd name="T115" fmla="*/ 0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058" h="16058">
                  <a:moveTo>
                    <a:pt x="10036" y="11040"/>
                  </a:moveTo>
                  <a:lnTo>
                    <a:pt x="9778" y="11034"/>
                  </a:lnTo>
                  <a:lnTo>
                    <a:pt x="9523" y="11014"/>
                  </a:lnTo>
                  <a:lnTo>
                    <a:pt x="9272" y="10982"/>
                  </a:lnTo>
                  <a:lnTo>
                    <a:pt x="9025" y="10938"/>
                  </a:lnTo>
                  <a:lnTo>
                    <a:pt x="8783" y="10882"/>
                  </a:lnTo>
                  <a:lnTo>
                    <a:pt x="8544" y="10814"/>
                  </a:lnTo>
                  <a:lnTo>
                    <a:pt x="8311" y="10736"/>
                  </a:lnTo>
                  <a:lnTo>
                    <a:pt x="8083" y="10645"/>
                  </a:lnTo>
                  <a:lnTo>
                    <a:pt x="7860" y="10545"/>
                  </a:lnTo>
                  <a:lnTo>
                    <a:pt x="7645" y="10434"/>
                  </a:lnTo>
                  <a:lnTo>
                    <a:pt x="7435" y="10313"/>
                  </a:lnTo>
                  <a:lnTo>
                    <a:pt x="7231" y="10183"/>
                  </a:lnTo>
                  <a:lnTo>
                    <a:pt x="7034" y="10043"/>
                  </a:lnTo>
                  <a:lnTo>
                    <a:pt x="6845" y="9894"/>
                  </a:lnTo>
                  <a:lnTo>
                    <a:pt x="6662" y="9736"/>
                  </a:lnTo>
                  <a:lnTo>
                    <a:pt x="6488" y="9570"/>
                  </a:lnTo>
                  <a:lnTo>
                    <a:pt x="6322" y="9396"/>
                  </a:lnTo>
                  <a:lnTo>
                    <a:pt x="6164" y="9213"/>
                  </a:lnTo>
                  <a:lnTo>
                    <a:pt x="6015" y="9024"/>
                  </a:lnTo>
                  <a:lnTo>
                    <a:pt x="5875" y="8827"/>
                  </a:lnTo>
                  <a:lnTo>
                    <a:pt x="5745" y="8624"/>
                  </a:lnTo>
                  <a:lnTo>
                    <a:pt x="5624" y="8413"/>
                  </a:lnTo>
                  <a:lnTo>
                    <a:pt x="5513" y="8198"/>
                  </a:lnTo>
                  <a:lnTo>
                    <a:pt x="5413" y="7975"/>
                  </a:lnTo>
                  <a:lnTo>
                    <a:pt x="5322" y="7747"/>
                  </a:lnTo>
                  <a:lnTo>
                    <a:pt x="5244" y="7514"/>
                  </a:lnTo>
                  <a:lnTo>
                    <a:pt x="5176" y="7275"/>
                  </a:lnTo>
                  <a:lnTo>
                    <a:pt x="5120" y="7033"/>
                  </a:lnTo>
                  <a:lnTo>
                    <a:pt x="5076" y="6786"/>
                  </a:lnTo>
                  <a:lnTo>
                    <a:pt x="5044" y="6535"/>
                  </a:lnTo>
                  <a:lnTo>
                    <a:pt x="5025" y="6280"/>
                  </a:lnTo>
                  <a:lnTo>
                    <a:pt x="5018" y="6022"/>
                  </a:lnTo>
                  <a:lnTo>
                    <a:pt x="5025" y="5764"/>
                  </a:lnTo>
                  <a:lnTo>
                    <a:pt x="5044" y="5509"/>
                  </a:lnTo>
                  <a:lnTo>
                    <a:pt x="5076" y="5258"/>
                  </a:lnTo>
                  <a:lnTo>
                    <a:pt x="5120" y="5011"/>
                  </a:lnTo>
                  <a:lnTo>
                    <a:pt x="5176" y="4768"/>
                  </a:lnTo>
                  <a:lnTo>
                    <a:pt x="5244" y="4529"/>
                  </a:lnTo>
                  <a:lnTo>
                    <a:pt x="5322" y="4297"/>
                  </a:lnTo>
                  <a:lnTo>
                    <a:pt x="5413" y="4069"/>
                  </a:lnTo>
                  <a:lnTo>
                    <a:pt x="5513" y="3846"/>
                  </a:lnTo>
                  <a:lnTo>
                    <a:pt x="5624" y="3630"/>
                  </a:lnTo>
                  <a:lnTo>
                    <a:pt x="5745" y="3420"/>
                  </a:lnTo>
                  <a:lnTo>
                    <a:pt x="5875" y="3217"/>
                  </a:lnTo>
                  <a:lnTo>
                    <a:pt x="6015" y="3020"/>
                  </a:lnTo>
                  <a:lnTo>
                    <a:pt x="6164" y="2830"/>
                  </a:lnTo>
                  <a:lnTo>
                    <a:pt x="6322" y="2648"/>
                  </a:lnTo>
                  <a:lnTo>
                    <a:pt x="6488" y="2474"/>
                  </a:lnTo>
                  <a:lnTo>
                    <a:pt x="6662" y="2307"/>
                  </a:lnTo>
                  <a:lnTo>
                    <a:pt x="6845" y="2150"/>
                  </a:lnTo>
                  <a:lnTo>
                    <a:pt x="7034" y="2000"/>
                  </a:lnTo>
                  <a:lnTo>
                    <a:pt x="7231" y="1861"/>
                  </a:lnTo>
                  <a:lnTo>
                    <a:pt x="7435" y="1730"/>
                  </a:lnTo>
                  <a:lnTo>
                    <a:pt x="7645" y="1610"/>
                  </a:lnTo>
                  <a:lnTo>
                    <a:pt x="7860" y="1498"/>
                  </a:lnTo>
                  <a:lnTo>
                    <a:pt x="8083" y="1398"/>
                  </a:lnTo>
                  <a:lnTo>
                    <a:pt x="8311" y="1308"/>
                  </a:lnTo>
                  <a:lnTo>
                    <a:pt x="8544" y="1229"/>
                  </a:lnTo>
                  <a:lnTo>
                    <a:pt x="8783" y="1161"/>
                  </a:lnTo>
                  <a:lnTo>
                    <a:pt x="9025" y="1106"/>
                  </a:lnTo>
                  <a:lnTo>
                    <a:pt x="9272" y="1062"/>
                  </a:lnTo>
                  <a:lnTo>
                    <a:pt x="9523" y="1030"/>
                  </a:lnTo>
                  <a:lnTo>
                    <a:pt x="9778" y="1010"/>
                  </a:lnTo>
                  <a:lnTo>
                    <a:pt x="10036" y="1004"/>
                  </a:lnTo>
                  <a:lnTo>
                    <a:pt x="10294" y="1010"/>
                  </a:lnTo>
                  <a:lnTo>
                    <a:pt x="10549" y="1030"/>
                  </a:lnTo>
                  <a:lnTo>
                    <a:pt x="10800" y="1062"/>
                  </a:lnTo>
                  <a:lnTo>
                    <a:pt x="11048" y="1106"/>
                  </a:lnTo>
                  <a:lnTo>
                    <a:pt x="11291" y="1161"/>
                  </a:lnTo>
                  <a:lnTo>
                    <a:pt x="11529" y="1229"/>
                  </a:lnTo>
                  <a:lnTo>
                    <a:pt x="11761" y="1308"/>
                  </a:lnTo>
                  <a:lnTo>
                    <a:pt x="11989" y="1398"/>
                  </a:lnTo>
                  <a:lnTo>
                    <a:pt x="12212" y="1498"/>
                  </a:lnTo>
                  <a:lnTo>
                    <a:pt x="12428" y="1610"/>
                  </a:lnTo>
                  <a:lnTo>
                    <a:pt x="12639" y="1730"/>
                  </a:lnTo>
                  <a:lnTo>
                    <a:pt x="12841" y="1861"/>
                  </a:lnTo>
                  <a:lnTo>
                    <a:pt x="13038" y="2000"/>
                  </a:lnTo>
                  <a:lnTo>
                    <a:pt x="13228" y="2150"/>
                  </a:lnTo>
                  <a:lnTo>
                    <a:pt x="13410" y="2307"/>
                  </a:lnTo>
                  <a:lnTo>
                    <a:pt x="13584" y="2474"/>
                  </a:lnTo>
                  <a:lnTo>
                    <a:pt x="13751" y="2648"/>
                  </a:lnTo>
                  <a:lnTo>
                    <a:pt x="13908" y="2830"/>
                  </a:lnTo>
                  <a:lnTo>
                    <a:pt x="14058" y="3020"/>
                  </a:lnTo>
                  <a:lnTo>
                    <a:pt x="14197" y="3217"/>
                  </a:lnTo>
                  <a:lnTo>
                    <a:pt x="14328" y="3420"/>
                  </a:lnTo>
                  <a:lnTo>
                    <a:pt x="14448" y="3630"/>
                  </a:lnTo>
                  <a:lnTo>
                    <a:pt x="14560" y="3846"/>
                  </a:lnTo>
                  <a:lnTo>
                    <a:pt x="14660" y="4069"/>
                  </a:lnTo>
                  <a:lnTo>
                    <a:pt x="14750" y="4297"/>
                  </a:lnTo>
                  <a:lnTo>
                    <a:pt x="14829" y="4529"/>
                  </a:lnTo>
                  <a:lnTo>
                    <a:pt x="14897" y="4768"/>
                  </a:lnTo>
                  <a:lnTo>
                    <a:pt x="14952" y="5011"/>
                  </a:lnTo>
                  <a:lnTo>
                    <a:pt x="14996" y="5258"/>
                  </a:lnTo>
                  <a:lnTo>
                    <a:pt x="15028" y="5509"/>
                  </a:lnTo>
                  <a:lnTo>
                    <a:pt x="15048" y="5764"/>
                  </a:lnTo>
                  <a:lnTo>
                    <a:pt x="15054" y="6022"/>
                  </a:lnTo>
                  <a:lnTo>
                    <a:pt x="15048" y="6280"/>
                  </a:lnTo>
                  <a:lnTo>
                    <a:pt x="15028" y="6535"/>
                  </a:lnTo>
                  <a:lnTo>
                    <a:pt x="14996" y="6786"/>
                  </a:lnTo>
                  <a:lnTo>
                    <a:pt x="14952" y="7033"/>
                  </a:lnTo>
                  <a:lnTo>
                    <a:pt x="14897" y="7275"/>
                  </a:lnTo>
                  <a:lnTo>
                    <a:pt x="14829" y="7514"/>
                  </a:lnTo>
                  <a:lnTo>
                    <a:pt x="14750" y="7747"/>
                  </a:lnTo>
                  <a:lnTo>
                    <a:pt x="14660" y="7975"/>
                  </a:lnTo>
                  <a:lnTo>
                    <a:pt x="14560" y="8198"/>
                  </a:lnTo>
                  <a:lnTo>
                    <a:pt x="14448" y="8413"/>
                  </a:lnTo>
                  <a:lnTo>
                    <a:pt x="14328" y="8624"/>
                  </a:lnTo>
                  <a:lnTo>
                    <a:pt x="14197" y="8827"/>
                  </a:lnTo>
                  <a:lnTo>
                    <a:pt x="14058" y="9024"/>
                  </a:lnTo>
                  <a:lnTo>
                    <a:pt x="13908" y="9213"/>
                  </a:lnTo>
                  <a:lnTo>
                    <a:pt x="13751" y="9396"/>
                  </a:lnTo>
                  <a:lnTo>
                    <a:pt x="13584" y="9570"/>
                  </a:lnTo>
                  <a:lnTo>
                    <a:pt x="13410" y="9736"/>
                  </a:lnTo>
                  <a:lnTo>
                    <a:pt x="13228" y="9894"/>
                  </a:lnTo>
                  <a:lnTo>
                    <a:pt x="13038" y="10043"/>
                  </a:lnTo>
                  <a:lnTo>
                    <a:pt x="12841" y="10183"/>
                  </a:lnTo>
                  <a:lnTo>
                    <a:pt x="12639" y="10313"/>
                  </a:lnTo>
                  <a:lnTo>
                    <a:pt x="12428" y="10434"/>
                  </a:lnTo>
                  <a:lnTo>
                    <a:pt x="12212" y="10545"/>
                  </a:lnTo>
                  <a:lnTo>
                    <a:pt x="11989" y="10645"/>
                  </a:lnTo>
                  <a:lnTo>
                    <a:pt x="11761" y="10736"/>
                  </a:lnTo>
                  <a:lnTo>
                    <a:pt x="11529" y="10814"/>
                  </a:lnTo>
                  <a:lnTo>
                    <a:pt x="11291" y="10882"/>
                  </a:lnTo>
                  <a:lnTo>
                    <a:pt x="11048" y="10938"/>
                  </a:lnTo>
                  <a:lnTo>
                    <a:pt x="10800" y="10982"/>
                  </a:lnTo>
                  <a:lnTo>
                    <a:pt x="10549" y="11014"/>
                  </a:lnTo>
                  <a:lnTo>
                    <a:pt x="10294" y="11034"/>
                  </a:lnTo>
                  <a:lnTo>
                    <a:pt x="10036" y="11040"/>
                  </a:lnTo>
                  <a:close/>
                  <a:moveTo>
                    <a:pt x="2407" y="14900"/>
                  </a:moveTo>
                  <a:lnTo>
                    <a:pt x="2391" y="14915"/>
                  </a:lnTo>
                  <a:lnTo>
                    <a:pt x="2376" y="14930"/>
                  </a:lnTo>
                  <a:lnTo>
                    <a:pt x="2360" y="14945"/>
                  </a:lnTo>
                  <a:lnTo>
                    <a:pt x="2342" y="14959"/>
                  </a:lnTo>
                  <a:lnTo>
                    <a:pt x="2326" y="14973"/>
                  </a:lnTo>
                  <a:lnTo>
                    <a:pt x="2309" y="14987"/>
                  </a:lnTo>
                  <a:lnTo>
                    <a:pt x="2291" y="15000"/>
                  </a:lnTo>
                  <a:lnTo>
                    <a:pt x="2274" y="15013"/>
                  </a:lnTo>
                  <a:lnTo>
                    <a:pt x="2256" y="15025"/>
                  </a:lnTo>
                  <a:lnTo>
                    <a:pt x="2238" y="15037"/>
                  </a:lnTo>
                  <a:lnTo>
                    <a:pt x="2219" y="15048"/>
                  </a:lnTo>
                  <a:lnTo>
                    <a:pt x="2200" y="15059"/>
                  </a:lnTo>
                  <a:lnTo>
                    <a:pt x="2181" y="15069"/>
                  </a:lnTo>
                  <a:lnTo>
                    <a:pt x="2162" y="15080"/>
                  </a:lnTo>
                  <a:lnTo>
                    <a:pt x="2142" y="15090"/>
                  </a:lnTo>
                  <a:lnTo>
                    <a:pt x="2122" y="15099"/>
                  </a:lnTo>
                  <a:lnTo>
                    <a:pt x="2102" y="15108"/>
                  </a:lnTo>
                  <a:lnTo>
                    <a:pt x="2081" y="15116"/>
                  </a:lnTo>
                  <a:lnTo>
                    <a:pt x="2060" y="15123"/>
                  </a:lnTo>
                  <a:lnTo>
                    <a:pt x="2039" y="15130"/>
                  </a:lnTo>
                  <a:lnTo>
                    <a:pt x="2018" y="15137"/>
                  </a:lnTo>
                  <a:lnTo>
                    <a:pt x="1996" y="15143"/>
                  </a:lnTo>
                  <a:lnTo>
                    <a:pt x="1975" y="15148"/>
                  </a:lnTo>
                  <a:lnTo>
                    <a:pt x="1953" y="15153"/>
                  </a:lnTo>
                  <a:lnTo>
                    <a:pt x="1931" y="15158"/>
                  </a:lnTo>
                  <a:lnTo>
                    <a:pt x="1909" y="15162"/>
                  </a:lnTo>
                  <a:lnTo>
                    <a:pt x="1886" y="15165"/>
                  </a:lnTo>
                  <a:lnTo>
                    <a:pt x="1864" y="15168"/>
                  </a:lnTo>
                  <a:lnTo>
                    <a:pt x="1841" y="15170"/>
                  </a:lnTo>
                  <a:lnTo>
                    <a:pt x="1818" y="15171"/>
                  </a:lnTo>
                  <a:lnTo>
                    <a:pt x="1794" y="15172"/>
                  </a:lnTo>
                  <a:lnTo>
                    <a:pt x="1771" y="15172"/>
                  </a:lnTo>
                  <a:lnTo>
                    <a:pt x="1725" y="15171"/>
                  </a:lnTo>
                  <a:lnTo>
                    <a:pt x="1680" y="15168"/>
                  </a:lnTo>
                  <a:lnTo>
                    <a:pt x="1636" y="15162"/>
                  </a:lnTo>
                  <a:lnTo>
                    <a:pt x="1593" y="15154"/>
                  </a:lnTo>
                  <a:lnTo>
                    <a:pt x="1550" y="15145"/>
                  </a:lnTo>
                  <a:lnTo>
                    <a:pt x="1507" y="15133"/>
                  </a:lnTo>
                  <a:lnTo>
                    <a:pt x="1466" y="15119"/>
                  </a:lnTo>
                  <a:lnTo>
                    <a:pt x="1426" y="15103"/>
                  </a:lnTo>
                  <a:lnTo>
                    <a:pt x="1387" y="15084"/>
                  </a:lnTo>
                  <a:lnTo>
                    <a:pt x="1349" y="15065"/>
                  </a:lnTo>
                  <a:lnTo>
                    <a:pt x="1312" y="15044"/>
                  </a:lnTo>
                  <a:lnTo>
                    <a:pt x="1276" y="15021"/>
                  </a:lnTo>
                  <a:lnTo>
                    <a:pt x="1241" y="14996"/>
                  </a:lnTo>
                  <a:lnTo>
                    <a:pt x="1208" y="14970"/>
                  </a:lnTo>
                  <a:lnTo>
                    <a:pt x="1176" y="14942"/>
                  </a:lnTo>
                  <a:lnTo>
                    <a:pt x="1145" y="14913"/>
                  </a:lnTo>
                  <a:lnTo>
                    <a:pt x="1116" y="14882"/>
                  </a:lnTo>
                  <a:lnTo>
                    <a:pt x="1088" y="14850"/>
                  </a:lnTo>
                  <a:lnTo>
                    <a:pt x="1062" y="14817"/>
                  </a:lnTo>
                  <a:lnTo>
                    <a:pt x="1037" y="14782"/>
                  </a:lnTo>
                  <a:lnTo>
                    <a:pt x="1014" y="14746"/>
                  </a:lnTo>
                  <a:lnTo>
                    <a:pt x="993" y="14709"/>
                  </a:lnTo>
                  <a:lnTo>
                    <a:pt x="974" y="14671"/>
                  </a:lnTo>
                  <a:lnTo>
                    <a:pt x="955" y="14632"/>
                  </a:lnTo>
                  <a:lnTo>
                    <a:pt x="939" y="14592"/>
                  </a:lnTo>
                  <a:lnTo>
                    <a:pt x="925" y="14551"/>
                  </a:lnTo>
                  <a:lnTo>
                    <a:pt x="913" y="14508"/>
                  </a:lnTo>
                  <a:lnTo>
                    <a:pt x="903" y="14465"/>
                  </a:lnTo>
                  <a:lnTo>
                    <a:pt x="896" y="14422"/>
                  </a:lnTo>
                  <a:lnTo>
                    <a:pt x="890" y="14378"/>
                  </a:lnTo>
                  <a:lnTo>
                    <a:pt x="887" y="14333"/>
                  </a:lnTo>
                  <a:lnTo>
                    <a:pt x="886" y="14287"/>
                  </a:lnTo>
                  <a:lnTo>
                    <a:pt x="886" y="14264"/>
                  </a:lnTo>
                  <a:lnTo>
                    <a:pt x="887" y="14240"/>
                  </a:lnTo>
                  <a:lnTo>
                    <a:pt x="888" y="14217"/>
                  </a:lnTo>
                  <a:lnTo>
                    <a:pt x="890" y="14194"/>
                  </a:lnTo>
                  <a:lnTo>
                    <a:pt x="893" y="14172"/>
                  </a:lnTo>
                  <a:lnTo>
                    <a:pt x="896" y="14149"/>
                  </a:lnTo>
                  <a:lnTo>
                    <a:pt x="900" y="14127"/>
                  </a:lnTo>
                  <a:lnTo>
                    <a:pt x="905" y="14105"/>
                  </a:lnTo>
                  <a:lnTo>
                    <a:pt x="910" y="14083"/>
                  </a:lnTo>
                  <a:lnTo>
                    <a:pt x="915" y="14062"/>
                  </a:lnTo>
                  <a:lnTo>
                    <a:pt x="921" y="14040"/>
                  </a:lnTo>
                  <a:lnTo>
                    <a:pt x="928" y="14019"/>
                  </a:lnTo>
                  <a:lnTo>
                    <a:pt x="935" y="13998"/>
                  </a:lnTo>
                  <a:lnTo>
                    <a:pt x="942" y="13977"/>
                  </a:lnTo>
                  <a:lnTo>
                    <a:pt x="950" y="13956"/>
                  </a:lnTo>
                  <a:lnTo>
                    <a:pt x="959" y="13936"/>
                  </a:lnTo>
                  <a:lnTo>
                    <a:pt x="968" y="13916"/>
                  </a:lnTo>
                  <a:lnTo>
                    <a:pt x="978" y="13896"/>
                  </a:lnTo>
                  <a:lnTo>
                    <a:pt x="988" y="13877"/>
                  </a:lnTo>
                  <a:lnTo>
                    <a:pt x="999" y="13858"/>
                  </a:lnTo>
                  <a:lnTo>
                    <a:pt x="1010" y="13839"/>
                  </a:lnTo>
                  <a:lnTo>
                    <a:pt x="1021" y="13820"/>
                  </a:lnTo>
                  <a:lnTo>
                    <a:pt x="1033" y="13802"/>
                  </a:lnTo>
                  <a:lnTo>
                    <a:pt x="1045" y="13784"/>
                  </a:lnTo>
                  <a:lnTo>
                    <a:pt x="1058" y="13767"/>
                  </a:lnTo>
                  <a:lnTo>
                    <a:pt x="1071" y="13749"/>
                  </a:lnTo>
                  <a:lnTo>
                    <a:pt x="1085" y="13732"/>
                  </a:lnTo>
                  <a:lnTo>
                    <a:pt x="1099" y="13716"/>
                  </a:lnTo>
                  <a:lnTo>
                    <a:pt x="1113" y="13698"/>
                  </a:lnTo>
                  <a:lnTo>
                    <a:pt x="1127" y="13682"/>
                  </a:lnTo>
                  <a:lnTo>
                    <a:pt x="1142" y="13667"/>
                  </a:lnTo>
                  <a:lnTo>
                    <a:pt x="1158" y="13651"/>
                  </a:lnTo>
                  <a:lnTo>
                    <a:pt x="1154" y="13647"/>
                  </a:lnTo>
                  <a:lnTo>
                    <a:pt x="5202" y="9601"/>
                  </a:lnTo>
                  <a:lnTo>
                    <a:pt x="5235" y="9645"/>
                  </a:lnTo>
                  <a:lnTo>
                    <a:pt x="5268" y="9689"/>
                  </a:lnTo>
                  <a:lnTo>
                    <a:pt x="5302" y="9733"/>
                  </a:lnTo>
                  <a:lnTo>
                    <a:pt x="5337" y="9776"/>
                  </a:lnTo>
                  <a:lnTo>
                    <a:pt x="5372" y="9819"/>
                  </a:lnTo>
                  <a:lnTo>
                    <a:pt x="5408" y="9863"/>
                  </a:lnTo>
                  <a:lnTo>
                    <a:pt x="5443" y="9906"/>
                  </a:lnTo>
                  <a:lnTo>
                    <a:pt x="5479" y="9948"/>
                  </a:lnTo>
                  <a:lnTo>
                    <a:pt x="5516" y="9989"/>
                  </a:lnTo>
                  <a:lnTo>
                    <a:pt x="5552" y="10031"/>
                  </a:lnTo>
                  <a:lnTo>
                    <a:pt x="5589" y="10072"/>
                  </a:lnTo>
                  <a:lnTo>
                    <a:pt x="5627" y="10114"/>
                  </a:lnTo>
                  <a:lnTo>
                    <a:pt x="5665" y="10154"/>
                  </a:lnTo>
                  <a:lnTo>
                    <a:pt x="5704" y="10194"/>
                  </a:lnTo>
                  <a:lnTo>
                    <a:pt x="5742" y="10234"/>
                  </a:lnTo>
                  <a:lnTo>
                    <a:pt x="5781" y="10273"/>
                  </a:lnTo>
                  <a:lnTo>
                    <a:pt x="5820" y="10312"/>
                  </a:lnTo>
                  <a:lnTo>
                    <a:pt x="5860" y="10350"/>
                  </a:lnTo>
                  <a:lnTo>
                    <a:pt x="5900" y="10390"/>
                  </a:lnTo>
                  <a:lnTo>
                    <a:pt x="5940" y="10427"/>
                  </a:lnTo>
                  <a:lnTo>
                    <a:pt x="5982" y="10465"/>
                  </a:lnTo>
                  <a:lnTo>
                    <a:pt x="6023" y="10502"/>
                  </a:lnTo>
                  <a:lnTo>
                    <a:pt x="6064" y="10539"/>
                  </a:lnTo>
                  <a:lnTo>
                    <a:pt x="6106" y="10575"/>
                  </a:lnTo>
                  <a:lnTo>
                    <a:pt x="6148" y="10611"/>
                  </a:lnTo>
                  <a:lnTo>
                    <a:pt x="6190" y="10647"/>
                  </a:lnTo>
                  <a:lnTo>
                    <a:pt x="6234" y="10683"/>
                  </a:lnTo>
                  <a:lnTo>
                    <a:pt x="6277" y="10718"/>
                  </a:lnTo>
                  <a:lnTo>
                    <a:pt x="6320" y="10752"/>
                  </a:lnTo>
                  <a:lnTo>
                    <a:pt x="6364" y="10786"/>
                  </a:lnTo>
                  <a:lnTo>
                    <a:pt x="6408" y="10820"/>
                  </a:lnTo>
                  <a:lnTo>
                    <a:pt x="6453" y="10854"/>
                  </a:lnTo>
                  <a:lnTo>
                    <a:pt x="2407" y="14900"/>
                  </a:lnTo>
                  <a:close/>
                  <a:moveTo>
                    <a:pt x="10036" y="0"/>
                  </a:moveTo>
                  <a:lnTo>
                    <a:pt x="9726" y="8"/>
                  </a:lnTo>
                  <a:lnTo>
                    <a:pt x="9421" y="31"/>
                  </a:lnTo>
                  <a:lnTo>
                    <a:pt x="9119" y="69"/>
                  </a:lnTo>
                  <a:lnTo>
                    <a:pt x="8823" y="122"/>
                  </a:lnTo>
                  <a:lnTo>
                    <a:pt x="8532" y="190"/>
                  </a:lnTo>
                  <a:lnTo>
                    <a:pt x="8246" y="271"/>
                  </a:lnTo>
                  <a:lnTo>
                    <a:pt x="7966" y="365"/>
                  </a:lnTo>
                  <a:lnTo>
                    <a:pt x="7693" y="474"/>
                  </a:lnTo>
                  <a:lnTo>
                    <a:pt x="7426" y="594"/>
                  </a:lnTo>
                  <a:lnTo>
                    <a:pt x="7166" y="727"/>
                  </a:lnTo>
                  <a:lnTo>
                    <a:pt x="6914" y="872"/>
                  </a:lnTo>
                  <a:lnTo>
                    <a:pt x="6669" y="1029"/>
                  </a:lnTo>
                  <a:lnTo>
                    <a:pt x="6433" y="1196"/>
                  </a:lnTo>
                  <a:lnTo>
                    <a:pt x="6206" y="1375"/>
                  </a:lnTo>
                  <a:lnTo>
                    <a:pt x="5988" y="1565"/>
                  </a:lnTo>
                  <a:lnTo>
                    <a:pt x="5778" y="1763"/>
                  </a:lnTo>
                  <a:lnTo>
                    <a:pt x="5579" y="1973"/>
                  </a:lnTo>
                  <a:lnTo>
                    <a:pt x="5389" y="2191"/>
                  </a:lnTo>
                  <a:lnTo>
                    <a:pt x="5211" y="2419"/>
                  </a:lnTo>
                  <a:lnTo>
                    <a:pt x="5043" y="2655"/>
                  </a:lnTo>
                  <a:lnTo>
                    <a:pt x="4887" y="2899"/>
                  </a:lnTo>
                  <a:lnTo>
                    <a:pt x="4741" y="3151"/>
                  </a:lnTo>
                  <a:lnTo>
                    <a:pt x="4609" y="3411"/>
                  </a:lnTo>
                  <a:lnTo>
                    <a:pt x="4488" y="3678"/>
                  </a:lnTo>
                  <a:lnTo>
                    <a:pt x="4380" y="3951"/>
                  </a:lnTo>
                  <a:lnTo>
                    <a:pt x="4285" y="4231"/>
                  </a:lnTo>
                  <a:lnTo>
                    <a:pt x="4204" y="4517"/>
                  </a:lnTo>
                  <a:lnTo>
                    <a:pt x="4137" y="4808"/>
                  </a:lnTo>
                  <a:lnTo>
                    <a:pt x="4084" y="5104"/>
                  </a:lnTo>
                  <a:lnTo>
                    <a:pt x="4046" y="5407"/>
                  </a:lnTo>
                  <a:lnTo>
                    <a:pt x="4023" y="5712"/>
                  </a:lnTo>
                  <a:lnTo>
                    <a:pt x="4015" y="6022"/>
                  </a:lnTo>
                  <a:lnTo>
                    <a:pt x="4016" y="6117"/>
                  </a:lnTo>
                  <a:lnTo>
                    <a:pt x="4018" y="6211"/>
                  </a:lnTo>
                  <a:lnTo>
                    <a:pt x="4022" y="6306"/>
                  </a:lnTo>
                  <a:lnTo>
                    <a:pt x="4027" y="6400"/>
                  </a:lnTo>
                  <a:lnTo>
                    <a:pt x="4033" y="6493"/>
                  </a:lnTo>
                  <a:lnTo>
                    <a:pt x="4041" y="6587"/>
                  </a:lnTo>
                  <a:lnTo>
                    <a:pt x="4051" y="6680"/>
                  </a:lnTo>
                  <a:lnTo>
                    <a:pt x="4062" y="6772"/>
                  </a:lnTo>
                  <a:lnTo>
                    <a:pt x="4074" y="6864"/>
                  </a:lnTo>
                  <a:lnTo>
                    <a:pt x="4087" y="6956"/>
                  </a:lnTo>
                  <a:lnTo>
                    <a:pt x="4102" y="7046"/>
                  </a:lnTo>
                  <a:lnTo>
                    <a:pt x="4119" y="7138"/>
                  </a:lnTo>
                  <a:lnTo>
                    <a:pt x="4136" y="7227"/>
                  </a:lnTo>
                  <a:lnTo>
                    <a:pt x="4155" y="7317"/>
                  </a:lnTo>
                  <a:lnTo>
                    <a:pt x="4176" y="7406"/>
                  </a:lnTo>
                  <a:lnTo>
                    <a:pt x="4197" y="7495"/>
                  </a:lnTo>
                  <a:lnTo>
                    <a:pt x="4220" y="7583"/>
                  </a:lnTo>
                  <a:lnTo>
                    <a:pt x="4244" y="7671"/>
                  </a:lnTo>
                  <a:lnTo>
                    <a:pt x="4270" y="7758"/>
                  </a:lnTo>
                  <a:lnTo>
                    <a:pt x="4298" y="7844"/>
                  </a:lnTo>
                  <a:lnTo>
                    <a:pt x="4326" y="7930"/>
                  </a:lnTo>
                  <a:lnTo>
                    <a:pt x="4355" y="8015"/>
                  </a:lnTo>
                  <a:lnTo>
                    <a:pt x="4386" y="8100"/>
                  </a:lnTo>
                  <a:lnTo>
                    <a:pt x="4417" y="8185"/>
                  </a:lnTo>
                  <a:lnTo>
                    <a:pt x="4450" y="8268"/>
                  </a:lnTo>
                  <a:lnTo>
                    <a:pt x="4484" y="8351"/>
                  </a:lnTo>
                  <a:lnTo>
                    <a:pt x="4520" y="8433"/>
                  </a:lnTo>
                  <a:lnTo>
                    <a:pt x="4556" y="8515"/>
                  </a:lnTo>
                  <a:lnTo>
                    <a:pt x="4595" y="8596"/>
                  </a:lnTo>
                  <a:lnTo>
                    <a:pt x="4634" y="8676"/>
                  </a:lnTo>
                  <a:lnTo>
                    <a:pt x="4673" y="8757"/>
                  </a:lnTo>
                  <a:lnTo>
                    <a:pt x="4715" y="8835"/>
                  </a:lnTo>
                  <a:lnTo>
                    <a:pt x="528" y="13021"/>
                  </a:lnTo>
                  <a:lnTo>
                    <a:pt x="531" y="13025"/>
                  </a:lnTo>
                  <a:lnTo>
                    <a:pt x="501" y="13055"/>
                  </a:lnTo>
                  <a:lnTo>
                    <a:pt x="471" y="13086"/>
                  </a:lnTo>
                  <a:lnTo>
                    <a:pt x="443" y="13118"/>
                  </a:lnTo>
                  <a:lnTo>
                    <a:pt x="414" y="13152"/>
                  </a:lnTo>
                  <a:lnTo>
                    <a:pt x="386" y="13185"/>
                  </a:lnTo>
                  <a:lnTo>
                    <a:pt x="360" y="13219"/>
                  </a:lnTo>
                  <a:lnTo>
                    <a:pt x="335" y="13253"/>
                  </a:lnTo>
                  <a:lnTo>
                    <a:pt x="310" y="13288"/>
                  </a:lnTo>
                  <a:lnTo>
                    <a:pt x="286" y="13324"/>
                  </a:lnTo>
                  <a:lnTo>
                    <a:pt x="263" y="13360"/>
                  </a:lnTo>
                  <a:lnTo>
                    <a:pt x="241" y="13397"/>
                  </a:lnTo>
                  <a:lnTo>
                    <a:pt x="219" y="13436"/>
                  </a:lnTo>
                  <a:lnTo>
                    <a:pt x="199" y="13474"/>
                  </a:lnTo>
                  <a:lnTo>
                    <a:pt x="179" y="13512"/>
                  </a:lnTo>
                  <a:lnTo>
                    <a:pt x="161" y="13551"/>
                  </a:lnTo>
                  <a:lnTo>
                    <a:pt x="143" y="13591"/>
                  </a:lnTo>
                  <a:lnTo>
                    <a:pt x="126" y="13631"/>
                  </a:lnTo>
                  <a:lnTo>
                    <a:pt x="110" y="13672"/>
                  </a:lnTo>
                  <a:lnTo>
                    <a:pt x="95" y="13714"/>
                  </a:lnTo>
                  <a:lnTo>
                    <a:pt x="81" y="13755"/>
                  </a:lnTo>
                  <a:lnTo>
                    <a:pt x="69" y="13797"/>
                  </a:lnTo>
                  <a:lnTo>
                    <a:pt x="57" y="13840"/>
                  </a:lnTo>
                  <a:lnTo>
                    <a:pt x="46" y="13883"/>
                  </a:lnTo>
                  <a:lnTo>
                    <a:pt x="37" y="13926"/>
                  </a:lnTo>
                  <a:lnTo>
                    <a:pt x="28" y="13970"/>
                  </a:lnTo>
                  <a:lnTo>
                    <a:pt x="21" y="14015"/>
                  </a:lnTo>
                  <a:lnTo>
                    <a:pt x="15" y="14059"/>
                  </a:lnTo>
                  <a:lnTo>
                    <a:pt x="9" y="14104"/>
                  </a:lnTo>
                  <a:lnTo>
                    <a:pt x="5" y="14149"/>
                  </a:lnTo>
                  <a:lnTo>
                    <a:pt x="2" y="14195"/>
                  </a:lnTo>
                  <a:lnTo>
                    <a:pt x="1" y="14240"/>
                  </a:lnTo>
                  <a:lnTo>
                    <a:pt x="0" y="14287"/>
                  </a:lnTo>
                  <a:lnTo>
                    <a:pt x="2" y="14378"/>
                  </a:lnTo>
                  <a:lnTo>
                    <a:pt x="9" y="14468"/>
                  </a:lnTo>
                  <a:lnTo>
                    <a:pt x="20" y="14557"/>
                  </a:lnTo>
                  <a:lnTo>
                    <a:pt x="36" y="14644"/>
                  </a:lnTo>
                  <a:lnTo>
                    <a:pt x="56" y="14729"/>
                  </a:lnTo>
                  <a:lnTo>
                    <a:pt x="79" y="14814"/>
                  </a:lnTo>
                  <a:lnTo>
                    <a:pt x="107" y="14896"/>
                  </a:lnTo>
                  <a:lnTo>
                    <a:pt x="140" y="14976"/>
                  </a:lnTo>
                  <a:lnTo>
                    <a:pt x="175" y="15054"/>
                  </a:lnTo>
                  <a:lnTo>
                    <a:pt x="214" y="15132"/>
                  </a:lnTo>
                  <a:lnTo>
                    <a:pt x="256" y="15205"/>
                  </a:lnTo>
                  <a:lnTo>
                    <a:pt x="302" y="15277"/>
                  </a:lnTo>
                  <a:lnTo>
                    <a:pt x="352" y="15346"/>
                  </a:lnTo>
                  <a:lnTo>
                    <a:pt x="404" y="15414"/>
                  </a:lnTo>
                  <a:lnTo>
                    <a:pt x="460" y="15478"/>
                  </a:lnTo>
                  <a:lnTo>
                    <a:pt x="519" y="15539"/>
                  </a:lnTo>
                  <a:lnTo>
                    <a:pt x="580" y="15598"/>
                  </a:lnTo>
                  <a:lnTo>
                    <a:pt x="644" y="15654"/>
                  </a:lnTo>
                  <a:lnTo>
                    <a:pt x="712" y="15706"/>
                  </a:lnTo>
                  <a:lnTo>
                    <a:pt x="781" y="15756"/>
                  </a:lnTo>
                  <a:lnTo>
                    <a:pt x="853" y="15801"/>
                  </a:lnTo>
                  <a:lnTo>
                    <a:pt x="926" y="15844"/>
                  </a:lnTo>
                  <a:lnTo>
                    <a:pt x="1004" y="15883"/>
                  </a:lnTo>
                  <a:lnTo>
                    <a:pt x="1082" y="15918"/>
                  </a:lnTo>
                  <a:lnTo>
                    <a:pt x="1162" y="15951"/>
                  </a:lnTo>
                  <a:lnTo>
                    <a:pt x="1244" y="15979"/>
                  </a:lnTo>
                  <a:lnTo>
                    <a:pt x="1329" y="16002"/>
                  </a:lnTo>
                  <a:lnTo>
                    <a:pt x="1414" y="16022"/>
                  </a:lnTo>
                  <a:lnTo>
                    <a:pt x="1501" y="16038"/>
                  </a:lnTo>
                  <a:lnTo>
                    <a:pt x="1590" y="16049"/>
                  </a:lnTo>
                  <a:lnTo>
                    <a:pt x="1680" y="16056"/>
                  </a:lnTo>
                  <a:lnTo>
                    <a:pt x="1771" y="16058"/>
                  </a:lnTo>
                  <a:lnTo>
                    <a:pt x="1818" y="16057"/>
                  </a:lnTo>
                  <a:lnTo>
                    <a:pt x="1863" y="16056"/>
                  </a:lnTo>
                  <a:lnTo>
                    <a:pt x="1909" y="16053"/>
                  </a:lnTo>
                  <a:lnTo>
                    <a:pt x="1954" y="16049"/>
                  </a:lnTo>
                  <a:lnTo>
                    <a:pt x="1999" y="16043"/>
                  </a:lnTo>
                  <a:lnTo>
                    <a:pt x="2043" y="16037"/>
                  </a:lnTo>
                  <a:lnTo>
                    <a:pt x="2088" y="16030"/>
                  </a:lnTo>
                  <a:lnTo>
                    <a:pt x="2132" y="16021"/>
                  </a:lnTo>
                  <a:lnTo>
                    <a:pt x="2175" y="16012"/>
                  </a:lnTo>
                  <a:lnTo>
                    <a:pt x="2218" y="16001"/>
                  </a:lnTo>
                  <a:lnTo>
                    <a:pt x="2261" y="15989"/>
                  </a:lnTo>
                  <a:lnTo>
                    <a:pt x="2302" y="15977"/>
                  </a:lnTo>
                  <a:lnTo>
                    <a:pt x="2344" y="15963"/>
                  </a:lnTo>
                  <a:lnTo>
                    <a:pt x="2386" y="15948"/>
                  </a:lnTo>
                  <a:lnTo>
                    <a:pt x="2427" y="15932"/>
                  </a:lnTo>
                  <a:lnTo>
                    <a:pt x="2467" y="15915"/>
                  </a:lnTo>
                  <a:lnTo>
                    <a:pt x="2507" y="15897"/>
                  </a:lnTo>
                  <a:lnTo>
                    <a:pt x="2546" y="15878"/>
                  </a:lnTo>
                  <a:lnTo>
                    <a:pt x="2584" y="15859"/>
                  </a:lnTo>
                  <a:lnTo>
                    <a:pt x="2622" y="15839"/>
                  </a:lnTo>
                  <a:lnTo>
                    <a:pt x="2661" y="15817"/>
                  </a:lnTo>
                  <a:lnTo>
                    <a:pt x="2698" y="15795"/>
                  </a:lnTo>
                  <a:lnTo>
                    <a:pt x="2734" y="15772"/>
                  </a:lnTo>
                  <a:lnTo>
                    <a:pt x="2770" y="15748"/>
                  </a:lnTo>
                  <a:lnTo>
                    <a:pt x="2805" y="15723"/>
                  </a:lnTo>
                  <a:lnTo>
                    <a:pt x="2839" y="15698"/>
                  </a:lnTo>
                  <a:lnTo>
                    <a:pt x="2873" y="15671"/>
                  </a:lnTo>
                  <a:lnTo>
                    <a:pt x="2906" y="15644"/>
                  </a:lnTo>
                  <a:lnTo>
                    <a:pt x="2940" y="15615"/>
                  </a:lnTo>
                  <a:lnTo>
                    <a:pt x="2971" y="15587"/>
                  </a:lnTo>
                  <a:lnTo>
                    <a:pt x="3003" y="15557"/>
                  </a:lnTo>
                  <a:lnTo>
                    <a:pt x="3033" y="15527"/>
                  </a:lnTo>
                  <a:lnTo>
                    <a:pt x="3032" y="15526"/>
                  </a:lnTo>
                  <a:lnTo>
                    <a:pt x="7217" y="11342"/>
                  </a:lnTo>
                  <a:lnTo>
                    <a:pt x="7296" y="11383"/>
                  </a:lnTo>
                  <a:lnTo>
                    <a:pt x="7377" y="11423"/>
                  </a:lnTo>
                  <a:lnTo>
                    <a:pt x="7457" y="11462"/>
                  </a:lnTo>
                  <a:lnTo>
                    <a:pt x="7538" y="11500"/>
                  </a:lnTo>
                  <a:lnTo>
                    <a:pt x="7621" y="11537"/>
                  </a:lnTo>
                  <a:lnTo>
                    <a:pt x="7703" y="11572"/>
                  </a:lnTo>
                  <a:lnTo>
                    <a:pt x="7786" y="11606"/>
                  </a:lnTo>
                  <a:lnTo>
                    <a:pt x="7869" y="11640"/>
                  </a:lnTo>
                  <a:lnTo>
                    <a:pt x="7954" y="11671"/>
                  </a:lnTo>
                  <a:lnTo>
                    <a:pt x="8039" y="11702"/>
                  </a:lnTo>
                  <a:lnTo>
                    <a:pt x="8124" y="11731"/>
                  </a:lnTo>
                  <a:lnTo>
                    <a:pt x="8211" y="11759"/>
                  </a:lnTo>
                  <a:lnTo>
                    <a:pt x="8297" y="11787"/>
                  </a:lnTo>
                  <a:lnTo>
                    <a:pt x="8384" y="11813"/>
                  </a:lnTo>
                  <a:lnTo>
                    <a:pt x="8472" y="11837"/>
                  </a:lnTo>
                  <a:lnTo>
                    <a:pt x="8560" y="11860"/>
                  </a:lnTo>
                  <a:lnTo>
                    <a:pt x="8649" y="11882"/>
                  </a:lnTo>
                  <a:lnTo>
                    <a:pt x="8739" y="11902"/>
                  </a:lnTo>
                  <a:lnTo>
                    <a:pt x="8828" y="11921"/>
                  </a:lnTo>
                  <a:lnTo>
                    <a:pt x="8918" y="11939"/>
                  </a:lnTo>
                  <a:lnTo>
                    <a:pt x="9010" y="11955"/>
                  </a:lnTo>
                  <a:lnTo>
                    <a:pt x="9100" y="11970"/>
                  </a:lnTo>
                  <a:lnTo>
                    <a:pt x="9192" y="11984"/>
                  </a:lnTo>
                  <a:lnTo>
                    <a:pt x="9285" y="11996"/>
                  </a:lnTo>
                  <a:lnTo>
                    <a:pt x="9377" y="12007"/>
                  </a:lnTo>
                  <a:lnTo>
                    <a:pt x="9470" y="12016"/>
                  </a:lnTo>
                  <a:lnTo>
                    <a:pt x="9564" y="12024"/>
                  </a:lnTo>
                  <a:lnTo>
                    <a:pt x="9657" y="12031"/>
                  </a:lnTo>
                  <a:lnTo>
                    <a:pt x="9751" y="12036"/>
                  </a:lnTo>
                  <a:lnTo>
                    <a:pt x="9846" y="12040"/>
                  </a:lnTo>
                  <a:lnTo>
                    <a:pt x="9941" y="12042"/>
                  </a:lnTo>
                  <a:lnTo>
                    <a:pt x="10036" y="12044"/>
                  </a:lnTo>
                  <a:lnTo>
                    <a:pt x="10346" y="12035"/>
                  </a:lnTo>
                  <a:lnTo>
                    <a:pt x="10651" y="12012"/>
                  </a:lnTo>
                  <a:lnTo>
                    <a:pt x="10954" y="11974"/>
                  </a:lnTo>
                  <a:lnTo>
                    <a:pt x="11250" y="11921"/>
                  </a:lnTo>
                  <a:lnTo>
                    <a:pt x="11541" y="11854"/>
                  </a:lnTo>
                  <a:lnTo>
                    <a:pt x="11827" y="11773"/>
                  </a:lnTo>
                  <a:lnTo>
                    <a:pt x="12107" y="11678"/>
                  </a:lnTo>
                  <a:lnTo>
                    <a:pt x="12380" y="11570"/>
                  </a:lnTo>
                  <a:lnTo>
                    <a:pt x="12647" y="11449"/>
                  </a:lnTo>
                  <a:lnTo>
                    <a:pt x="12907" y="11317"/>
                  </a:lnTo>
                  <a:lnTo>
                    <a:pt x="13159" y="11171"/>
                  </a:lnTo>
                  <a:lnTo>
                    <a:pt x="13403" y="11015"/>
                  </a:lnTo>
                  <a:lnTo>
                    <a:pt x="13639" y="10847"/>
                  </a:lnTo>
                  <a:lnTo>
                    <a:pt x="13866" y="10669"/>
                  </a:lnTo>
                  <a:lnTo>
                    <a:pt x="14085" y="10479"/>
                  </a:lnTo>
                  <a:lnTo>
                    <a:pt x="14295" y="10280"/>
                  </a:lnTo>
                  <a:lnTo>
                    <a:pt x="14493" y="10070"/>
                  </a:lnTo>
                  <a:lnTo>
                    <a:pt x="14683" y="9852"/>
                  </a:lnTo>
                  <a:lnTo>
                    <a:pt x="14862" y="9625"/>
                  </a:lnTo>
                  <a:lnTo>
                    <a:pt x="15029" y="9389"/>
                  </a:lnTo>
                  <a:lnTo>
                    <a:pt x="15186" y="9144"/>
                  </a:lnTo>
                  <a:lnTo>
                    <a:pt x="15331" y="8892"/>
                  </a:lnTo>
                  <a:lnTo>
                    <a:pt x="15464" y="8632"/>
                  </a:lnTo>
                  <a:lnTo>
                    <a:pt x="15584" y="8365"/>
                  </a:lnTo>
                  <a:lnTo>
                    <a:pt x="15693" y="8092"/>
                  </a:lnTo>
                  <a:lnTo>
                    <a:pt x="15787" y="7812"/>
                  </a:lnTo>
                  <a:lnTo>
                    <a:pt x="15868" y="7526"/>
                  </a:lnTo>
                  <a:lnTo>
                    <a:pt x="15936" y="7235"/>
                  </a:lnTo>
                  <a:lnTo>
                    <a:pt x="15989" y="6939"/>
                  </a:lnTo>
                  <a:lnTo>
                    <a:pt x="16027" y="6638"/>
                  </a:lnTo>
                  <a:lnTo>
                    <a:pt x="16050" y="6332"/>
                  </a:lnTo>
                  <a:lnTo>
                    <a:pt x="16058" y="6022"/>
                  </a:lnTo>
                  <a:lnTo>
                    <a:pt x="16050" y="5712"/>
                  </a:lnTo>
                  <a:lnTo>
                    <a:pt x="16027" y="5407"/>
                  </a:lnTo>
                  <a:lnTo>
                    <a:pt x="15989" y="5104"/>
                  </a:lnTo>
                  <a:lnTo>
                    <a:pt x="15936" y="4808"/>
                  </a:lnTo>
                  <a:lnTo>
                    <a:pt x="15868" y="4517"/>
                  </a:lnTo>
                  <a:lnTo>
                    <a:pt x="15787" y="4231"/>
                  </a:lnTo>
                  <a:lnTo>
                    <a:pt x="15693" y="3951"/>
                  </a:lnTo>
                  <a:lnTo>
                    <a:pt x="15584" y="3678"/>
                  </a:lnTo>
                  <a:lnTo>
                    <a:pt x="15464" y="3411"/>
                  </a:lnTo>
                  <a:lnTo>
                    <a:pt x="15331" y="3151"/>
                  </a:lnTo>
                  <a:lnTo>
                    <a:pt x="15186" y="2899"/>
                  </a:lnTo>
                  <a:lnTo>
                    <a:pt x="15029" y="2655"/>
                  </a:lnTo>
                  <a:lnTo>
                    <a:pt x="14862" y="2419"/>
                  </a:lnTo>
                  <a:lnTo>
                    <a:pt x="14683" y="2191"/>
                  </a:lnTo>
                  <a:lnTo>
                    <a:pt x="14493" y="1973"/>
                  </a:lnTo>
                  <a:lnTo>
                    <a:pt x="14295" y="1763"/>
                  </a:lnTo>
                  <a:lnTo>
                    <a:pt x="14085" y="1565"/>
                  </a:lnTo>
                  <a:lnTo>
                    <a:pt x="13866" y="1375"/>
                  </a:lnTo>
                  <a:lnTo>
                    <a:pt x="13639" y="1196"/>
                  </a:lnTo>
                  <a:lnTo>
                    <a:pt x="13403" y="1029"/>
                  </a:lnTo>
                  <a:lnTo>
                    <a:pt x="13159" y="872"/>
                  </a:lnTo>
                  <a:lnTo>
                    <a:pt x="12907" y="727"/>
                  </a:lnTo>
                  <a:lnTo>
                    <a:pt x="12647" y="594"/>
                  </a:lnTo>
                  <a:lnTo>
                    <a:pt x="12380" y="474"/>
                  </a:lnTo>
                  <a:lnTo>
                    <a:pt x="12107" y="365"/>
                  </a:lnTo>
                  <a:lnTo>
                    <a:pt x="11827" y="271"/>
                  </a:lnTo>
                  <a:lnTo>
                    <a:pt x="11541" y="190"/>
                  </a:lnTo>
                  <a:lnTo>
                    <a:pt x="11250" y="122"/>
                  </a:lnTo>
                  <a:lnTo>
                    <a:pt x="10954" y="69"/>
                  </a:lnTo>
                  <a:lnTo>
                    <a:pt x="10651" y="31"/>
                  </a:lnTo>
                  <a:lnTo>
                    <a:pt x="10346" y="8"/>
                  </a:lnTo>
                  <a:lnTo>
                    <a:pt x="100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73" name="iš1îďe">
              <a:extLst>
                <a:ext uri="{FF2B5EF4-FFF2-40B4-BE49-F238E27FC236}">
                  <a16:creationId xmlns:a16="http://schemas.microsoft.com/office/drawing/2014/main" id="{CCF6A313-4860-4C98-B69C-C1CB1BDE4111}"/>
                </a:ext>
              </a:extLst>
            </p:cNvPr>
            <p:cNvSpPr/>
            <p:nvPr/>
          </p:nvSpPr>
          <p:spPr bwMode="auto">
            <a:xfrm>
              <a:off x="1766481" y="1529561"/>
              <a:ext cx="67489" cy="67489"/>
            </a:xfrm>
            <a:custGeom>
              <a:avLst/>
              <a:gdLst>
                <a:gd name="T0" fmla="*/ 2977 w 3763"/>
                <a:gd name="T1" fmla="*/ 40 h 3764"/>
                <a:gd name="T2" fmla="*/ 2305 w 3763"/>
                <a:gd name="T3" fmla="*/ 213 h 3764"/>
                <a:gd name="T4" fmla="*/ 1691 w 3763"/>
                <a:gd name="T5" fmla="*/ 509 h 3764"/>
                <a:gd name="T6" fmla="*/ 1151 w 3763"/>
                <a:gd name="T7" fmla="*/ 912 h 3764"/>
                <a:gd name="T8" fmla="*/ 697 w 3763"/>
                <a:gd name="T9" fmla="*/ 1411 h 3764"/>
                <a:gd name="T10" fmla="*/ 346 w 3763"/>
                <a:gd name="T11" fmla="*/ 1990 h 3764"/>
                <a:gd name="T12" fmla="*/ 110 w 3763"/>
                <a:gd name="T13" fmla="*/ 2635 h 3764"/>
                <a:gd name="T14" fmla="*/ 5 w 3763"/>
                <a:gd name="T15" fmla="*/ 3332 h 3764"/>
                <a:gd name="T16" fmla="*/ 3 w 3763"/>
                <a:gd name="T17" fmla="*/ 3551 h 3764"/>
                <a:gd name="T18" fmla="*/ 15 w 3763"/>
                <a:gd name="T19" fmla="*/ 3599 h 3764"/>
                <a:gd name="T20" fmla="*/ 36 w 3763"/>
                <a:gd name="T21" fmla="*/ 3643 h 3764"/>
                <a:gd name="T22" fmla="*/ 65 w 3763"/>
                <a:gd name="T23" fmla="*/ 3681 h 3764"/>
                <a:gd name="T24" fmla="*/ 100 w 3763"/>
                <a:gd name="T25" fmla="*/ 3713 h 3764"/>
                <a:gd name="T26" fmla="*/ 142 w 3763"/>
                <a:gd name="T27" fmla="*/ 3739 h 3764"/>
                <a:gd name="T28" fmla="*/ 188 w 3763"/>
                <a:gd name="T29" fmla="*/ 3756 h 3764"/>
                <a:gd name="T30" fmla="*/ 237 w 3763"/>
                <a:gd name="T31" fmla="*/ 3764 h 3764"/>
                <a:gd name="T32" fmla="*/ 289 w 3763"/>
                <a:gd name="T33" fmla="*/ 3761 h 3764"/>
                <a:gd name="T34" fmla="*/ 337 w 3763"/>
                <a:gd name="T35" fmla="*/ 3749 h 3764"/>
                <a:gd name="T36" fmla="*/ 381 w 3763"/>
                <a:gd name="T37" fmla="*/ 3728 h 3764"/>
                <a:gd name="T38" fmla="*/ 419 w 3763"/>
                <a:gd name="T39" fmla="*/ 3698 h 3764"/>
                <a:gd name="T40" fmla="*/ 451 w 3763"/>
                <a:gd name="T41" fmla="*/ 3663 h 3764"/>
                <a:gd name="T42" fmla="*/ 476 w 3763"/>
                <a:gd name="T43" fmla="*/ 3621 h 3764"/>
                <a:gd name="T44" fmla="*/ 493 w 3763"/>
                <a:gd name="T45" fmla="*/ 3576 h 3764"/>
                <a:gd name="T46" fmla="*/ 501 w 3763"/>
                <a:gd name="T47" fmla="*/ 3526 h 3764"/>
                <a:gd name="T48" fmla="*/ 537 w 3763"/>
                <a:gd name="T49" fmla="*/ 3054 h 3764"/>
                <a:gd name="T50" fmla="*/ 684 w 3763"/>
                <a:gd name="T51" fmla="*/ 2478 h 3764"/>
                <a:gd name="T52" fmla="*/ 937 w 3763"/>
                <a:gd name="T53" fmla="*/ 1952 h 3764"/>
                <a:gd name="T54" fmla="*/ 1283 w 3763"/>
                <a:gd name="T55" fmla="*/ 1488 h 3764"/>
                <a:gd name="T56" fmla="*/ 1711 w 3763"/>
                <a:gd name="T57" fmla="*/ 1100 h 3764"/>
                <a:gd name="T58" fmla="*/ 2208 w 3763"/>
                <a:gd name="T59" fmla="*/ 799 h 3764"/>
                <a:gd name="T60" fmla="*/ 2760 w 3763"/>
                <a:gd name="T61" fmla="*/ 596 h 3764"/>
                <a:gd name="T62" fmla="*/ 3358 w 3763"/>
                <a:gd name="T63" fmla="*/ 506 h 3764"/>
                <a:gd name="T64" fmla="*/ 3550 w 3763"/>
                <a:gd name="T65" fmla="*/ 499 h 3764"/>
                <a:gd name="T66" fmla="*/ 3599 w 3763"/>
                <a:gd name="T67" fmla="*/ 487 h 3764"/>
                <a:gd name="T68" fmla="*/ 3643 w 3763"/>
                <a:gd name="T69" fmla="*/ 466 h 3764"/>
                <a:gd name="T70" fmla="*/ 3681 w 3763"/>
                <a:gd name="T71" fmla="*/ 437 h 3764"/>
                <a:gd name="T72" fmla="*/ 3713 w 3763"/>
                <a:gd name="T73" fmla="*/ 402 h 3764"/>
                <a:gd name="T74" fmla="*/ 3738 w 3763"/>
                <a:gd name="T75" fmla="*/ 359 h 3764"/>
                <a:gd name="T76" fmla="*/ 3755 w 3763"/>
                <a:gd name="T77" fmla="*/ 313 h 3764"/>
                <a:gd name="T78" fmla="*/ 3763 w 3763"/>
                <a:gd name="T79" fmla="*/ 264 h 3764"/>
                <a:gd name="T80" fmla="*/ 3760 w 3763"/>
                <a:gd name="T81" fmla="*/ 213 h 3764"/>
                <a:gd name="T82" fmla="*/ 3748 w 3763"/>
                <a:gd name="T83" fmla="*/ 165 h 3764"/>
                <a:gd name="T84" fmla="*/ 3727 w 3763"/>
                <a:gd name="T85" fmla="*/ 120 h 3764"/>
                <a:gd name="T86" fmla="*/ 3698 w 3763"/>
                <a:gd name="T87" fmla="*/ 82 h 3764"/>
                <a:gd name="T88" fmla="*/ 3663 w 3763"/>
                <a:gd name="T89" fmla="*/ 50 h 3764"/>
                <a:gd name="T90" fmla="*/ 3621 w 3763"/>
                <a:gd name="T91" fmla="*/ 25 h 3764"/>
                <a:gd name="T92" fmla="*/ 3574 w 3763"/>
                <a:gd name="T93" fmla="*/ 8 h 3764"/>
                <a:gd name="T94" fmla="*/ 3525 w 3763"/>
                <a:gd name="T95" fmla="*/ 0 h 3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763" h="3764">
                  <a:moveTo>
                    <a:pt x="3512" y="0"/>
                  </a:moveTo>
                  <a:lnTo>
                    <a:pt x="3332" y="5"/>
                  </a:lnTo>
                  <a:lnTo>
                    <a:pt x="3153" y="18"/>
                  </a:lnTo>
                  <a:lnTo>
                    <a:pt x="2977" y="40"/>
                  </a:lnTo>
                  <a:lnTo>
                    <a:pt x="2805" y="71"/>
                  </a:lnTo>
                  <a:lnTo>
                    <a:pt x="2634" y="110"/>
                  </a:lnTo>
                  <a:lnTo>
                    <a:pt x="2467" y="158"/>
                  </a:lnTo>
                  <a:lnTo>
                    <a:pt x="2305" y="213"/>
                  </a:lnTo>
                  <a:lnTo>
                    <a:pt x="2145" y="276"/>
                  </a:lnTo>
                  <a:lnTo>
                    <a:pt x="1990" y="346"/>
                  </a:lnTo>
                  <a:lnTo>
                    <a:pt x="1838" y="424"/>
                  </a:lnTo>
                  <a:lnTo>
                    <a:pt x="1691" y="509"/>
                  </a:lnTo>
                  <a:lnTo>
                    <a:pt x="1548" y="600"/>
                  </a:lnTo>
                  <a:lnTo>
                    <a:pt x="1411" y="698"/>
                  </a:lnTo>
                  <a:lnTo>
                    <a:pt x="1278" y="802"/>
                  </a:lnTo>
                  <a:lnTo>
                    <a:pt x="1151" y="912"/>
                  </a:lnTo>
                  <a:lnTo>
                    <a:pt x="1028" y="1029"/>
                  </a:lnTo>
                  <a:lnTo>
                    <a:pt x="912" y="1151"/>
                  </a:lnTo>
                  <a:lnTo>
                    <a:pt x="801" y="1279"/>
                  </a:lnTo>
                  <a:lnTo>
                    <a:pt x="697" y="1411"/>
                  </a:lnTo>
                  <a:lnTo>
                    <a:pt x="600" y="1549"/>
                  </a:lnTo>
                  <a:lnTo>
                    <a:pt x="508" y="1691"/>
                  </a:lnTo>
                  <a:lnTo>
                    <a:pt x="423" y="1839"/>
                  </a:lnTo>
                  <a:lnTo>
                    <a:pt x="346" y="1990"/>
                  </a:lnTo>
                  <a:lnTo>
                    <a:pt x="276" y="2146"/>
                  </a:lnTo>
                  <a:lnTo>
                    <a:pt x="212" y="2305"/>
                  </a:lnTo>
                  <a:lnTo>
                    <a:pt x="157" y="2468"/>
                  </a:lnTo>
                  <a:lnTo>
                    <a:pt x="110" y="2635"/>
                  </a:lnTo>
                  <a:lnTo>
                    <a:pt x="71" y="2805"/>
                  </a:lnTo>
                  <a:lnTo>
                    <a:pt x="40" y="2978"/>
                  </a:lnTo>
                  <a:lnTo>
                    <a:pt x="18" y="3153"/>
                  </a:lnTo>
                  <a:lnTo>
                    <a:pt x="5" y="3332"/>
                  </a:lnTo>
                  <a:lnTo>
                    <a:pt x="0" y="3513"/>
                  </a:lnTo>
                  <a:lnTo>
                    <a:pt x="0" y="3526"/>
                  </a:lnTo>
                  <a:lnTo>
                    <a:pt x="1" y="3539"/>
                  </a:lnTo>
                  <a:lnTo>
                    <a:pt x="3" y="3551"/>
                  </a:lnTo>
                  <a:lnTo>
                    <a:pt x="5" y="3563"/>
                  </a:lnTo>
                  <a:lnTo>
                    <a:pt x="8" y="3576"/>
                  </a:lnTo>
                  <a:lnTo>
                    <a:pt x="11" y="3587"/>
                  </a:lnTo>
                  <a:lnTo>
                    <a:pt x="15" y="3599"/>
                  </a:lnTo>
                  <a:lnTo>
                    <a:pt x="20" y="3610"/>
                  </a:lnTo>
                  <a:lnTo>
                    <a:pt x="25" y="3621"/>
                  </a:lnTo>
                  <a:lnTo>
                    <a:pt x="30" y="3632"/>
                  </a:lnTo>
                  <a:lnTo>
                    <a:pt x="36" y="3643"/>
                  </a:lnTo>
                  <a:lnTo>
                    <a:pt x="43" y="3653"/>
                  </a:lnTo>
                  <a:lnTo>
                    <a:pt x="50" y="3663"/>
                  </a:lnTo>
                  <a:lnTo>
                    <a:pt x="57" y="3672"/>
                  </a:lnTo>
                  <a:lnTo>
                    <a:pt x="65" y="3681"/>
                  </a:lnTo>
                  <a:lnTo>
                    <a:pt x="73" y="3690"/>
                  </a:lnTo>
                  <a:lnTo>
                    <a:pt x="82" y="3698"/>
                  </a:lnTo>
                  <a:lnTo>
                    <a:pt x="91" y="3706"/>
                  </a:lnTo>
                  <a:lnTo>
                    <a:pt x="100" y="3713"/>
                  </a:lnTo>
                  <a:lnTo>
                    <a:pt x="110" y="3721"/>
                  </a:lnTo>
                  <a:lnTo>
                    <a:pt x="120" y="3728"/>
                  </a:lnTo>
                  <a:lnTo>
                    <a:pt x="131" y="3734"/>
                  </a:lnTo>
                  <a:lnTo>
                    <a:pt x="142" y="3739"/>
                  </a:lnTo>
                  <a:lnTo>
                    <a:pt x="153" y="3744"/>
                  </a:lnTo>
                  <a:lnTo>
                    <a:pt x="164" y="3749"/>
                  </a:lnTo>
                  <a:lnTo>
                    <a:pt x="176" y="3753"/>
                  </a:lnTo>
                  <a:lnTo>
                    <a:pt x="188" y="3756"/>
                  </a:lnTo>
                  <a:lnTo>
                    <a:pt x="200" y="3759"/>
                  </a:lnTo>
                  <a:lnTo>
                    <a:pt x="212" y="3761"/>
                  </a:lnTo>
                  <a:lnTo>
                    <a:pt x="224" y="3763"/>
                  </a:lnTo>
                  <a:lnTo>
                    <a:pt x="237" y="3764"/>
                  </a:lnTo>
                  <a:lnTo>
                    <a:pt x="250" y="3764"/>
                  </a:lnTo>
                  <a:lnTo>
                    <a:pt x="264" y="3764"/>
                  </a:lnTo>
                  <a:lnTo>
                    <a:pt x="276" y="3763"/>
                  </a:lnTo>
                  <a:lnTo>
                    <a:pt x="289" y="3761"/>
                  </a:lnTo>
                  <a:lnTo>
                    <a:pt x="301" y="3759"/>
                  </a:lnTo>
                  <a:lnTo>
                    <a:pt x="313" y="3756"/>
                  </a:lnTo>
                  <a:lnTo>
                    <a:pt x="325" y="3753"/>
                  </a:lnTo>
                  <a:lnTo>
                    <a:pt x="337" y="3749"/>
                  </a:lnTo>
                  <a:lnTo>
                    <a:pt x="348" y="3744"/>
                  </a:lnTo>
                  <a:lnTo>
                    <a:pt x="359" y="3739"/>
                  </a:lnTo>
                  <a:lnTo>
                    <a:pt x="370" y="3734"/>
                  </a:lnTo>
                  <a:lnTo>
                    <a:pt x="381" y="3728"/>
                  </a:lnTo>
                  <a:lnTo>
                    <a:pt x="391" y="3721"/>
                  </a:lnTo>
                  <a:lnTo>
                    <a:pt x="401" y="3713"/>
                  </a:lnTo>
                  <a:lnTo>
                    <a:pt x="410" y="3706"/>
                  </a:lnTo>
                  <a:lnTo>
                    <a:pt x="419" y="3698"/>
                  </a:lnTo>
                  <a:lnTo>
                    <a:pt x="428" y="3690"/>
                  </a:lnTo>
                  <a:lnTo>
                    <a:pt x="436" y="3681"/>
                  </a:lnTo>
                  <a:lnTo>
                    <a:pt x="444" y="3672"/>
                  </a:lnTo>
                  <a:lnTo>
                    <a:pt x="451" y="3663"/>
                  </a:lnTo>
                  <a:lnTo>
                    <a:pt x="458" y="3653"/>
                  </a:lnTo>
                  <a:lnTo>
                    <a:pt x="465" y="3643"/>
                  </a:lnTo>
                  <a:lnTo>
                    <a:pt x="471" y="3632"/>
                  </a:lnTo>
                  <a:lnTo>
                    <a:pt x="476" y="3621"/>
                  </a:lnTo>
                  <a:lnTo>
                    <a:pt x="481" y="3610"/>
                  </a:lnTo>
                  <a:lnTo>
                    <a:pt x="486" y="3599"/>
                  </a:lnTo>
                  <a:lnTo>
                    <a:pt x="490" y="3587"/>
                  </a:lnTo>
                  <a:lnTo>
                    <a:pt x="493" y="3576"/>
                  </a:lnTo>
                  <a:lnTo>
                    <a:pt x="496" y="3563"/>
                  </a:lnTo>
                  <a:lnTo>
                    <a:pt x="498" y="3551"/>
                  </a:lnTo>
                  <a:lnTo>
                    <a:pt x="500" y="3539"/>
                  </a:lnTo>
                  <a:lnTo>
                    <a:pt x="501" y="3526"/>
                  </a:lnTo>
                  <a:lnTo>
                    <a:pt x="501" y="3513"/>
                  </a:lnTo>
                  <a:lnTo>
                    <a:pt x="505" y="3358"/>
                  </a:lnTo>
                  <a:lnTo>
                    <a:pt x="517" y="3205"/>
                  </a:lnTo>
                  <a:lnTo>
                    <a:pt x="537" y="3054"/>
                  </a:lnTo>
                  <a:lnTo>
                    <a:pt x="563" y="2907"/>
                  </a:lnTo>
                  <a:lnTo>
                    <a:pt x="596" y="2760"/>
                  </a:lnTo>
                  <a:lnTo>
                    <a:pt x="637" y="2618"/>
                  </a:lnTo>
                  <a:lnTo>
                    <a:pt x="684" y="2478"/>
                  </a:lnTo>
                  <a:lnTo>
                    <a:pt x="738" y="2341"/>
                  </a:lnTo>
                  <a:lnTo>
                    <a:pt x="798" y="2208"/>
                  </a:lnTo>
                  <a:lnTo>
                    <a:pt x="865" y="2078"/>
                  </a:lnTo>
                  <a:lnTo>
                    <a:pt x="937" y="1952"/>
                  </a:lnTo>
                  <a:lnTo>
                    <a:pt x="1015" y="1830"/>
                  </a:lnTo>
                  <a:lnTo>
                    <a:pt x="1100" y="1711"/>
                  </a:lnTo>
                  <a:lnTo>
                    <a:pt x="1189" y="1598"/>
                  </a:lnTo>
                  <a:lnTo>
                    <a:pt x="1283" y="1488"/>
                  </a:lnTo>
                  <a:lnTo>
                    <a:pt x="1384" y="1384"/>
                  </a:lnTo>
                  <a:lnTo>
                    <a:pt x="1488" y="1285"/>
                  </a:lnTo>
                  <a:lnTo>
                    <a:pt x="1597" y="1189"/>
                  </a:lnTo>
                  <a:lnTo>
                    <a:pt x="1711" y="1100"/>
                  </a:lnTo>
                  <a:lnTo>
                    <a:pt x="1829" y="1017"/>
                  </a:lnTo>
                  <a:lnTo>
                    <a:pt x="1952" y="937"/>
                  </a:lnTo>
                  <a:lnTo>
                    <a:pt x="2077" y="865"/>
                  </a:lnTo>
                  <a:lnTo>
                    <a:pt x="2208" y="799"/>
                  </a:lnTo>
                  <a:lnTo>
                    <a:pt x="2340" y="739"/>
                  </a:lnTo>
                  <a:lnTo>
                    <a:pt x="2478" y="685"/>
                  </a:lnTo>
                  <a:lnTo>
                    <a:pt x="2617" y="637"/>
                  </a:lnTo>
                  <a:lnTo>
                    <a:pt x="2760" y="596"/>
                  </a:lnTo>
                  <a:lnTo>
                    <a:pt x="2906" y="563"/>
                  </a:lnTo>
                  <a:lnTo>
                    <a:pt x="3054" y="537"/>
                  </a:lnTo>
                  <a:lnTo>
                    <a:pt x="3204" y="517"/>
                  </a:lnTo>
                  <a:lnTo>
                    <a:pt x="3358" y="506"/>
                  </a:lnTo>
                  <a:lnTo>
                    <a:pt x="3512" y="502"/>
                  </a:lnTo>
                  <a:lnTo>
                    <a:pt x="3525" y="502"/>
                  </a:lnTo>
                  <a:lnTo>
                    <a:pt x="3538" y="501"/>
                  </a:lnTo>
                  <a:lnTo>
                    <a:pt x="3550" y="499"/>
                  </a:lnTo>
                  <a:lnTo>
                    <a:pt x="3562" y="497"/>
                  </a:lnTo>
                  <a:lnTo>
                    <a:pt x="3574" y="494"/>
                  </a:lnTo>
                  <a:lnTo>
                    <a:pt x="3587" y="491"/>
                  </a:lnTo>
                  <a:lnTo>
                    <a:pt x="3599" y="487"/>
                  </a:lnTo>
                  <a:lnTo>
                    <a:pt x="3610" y="482"/>
                  </a:lnTo>
                  <a:lnTo>
                    <a:pt x="3621" y="477"/>
                  </a:lnTo>
                  <a:lnTo>
                    <a:pt x="3632" y="472"/>
                  </a:lnTo>
                  <a:lnTo>
                    <a:pt x="3643" y="466"/>
                  </a:lnTo>
                  <a:lnTo>
                    <a:pt x="3653" y="459"/>
                  </a:lnTo>
                  <a:lnTo>
                    <a:pt x="3663" y="452"/>
                  </a:lnTo>
                  <a:lnTo>
                    <a:pt x="3672" y="445"/>
                  </a:lnTo>
                  <a:lnTo>
                    <a:pt x="3681" y="437"/>
                  </a:lnTo>
                  <a:lnTo>
                    <a:pt x="3690" y="429"/>
                  </a:lnTo>
                  <a:lnTo>
                    <a:pt x="3698" y="420"/>
                  </a:lnTo>
                  <a:lnTo>
                    <a:pt x="3706" y="411"/>
                  </a:lnTo>
                  <a:lnTo>
                    <a:pt x="3713" y="402"/>
                  </a:lnTo>
                  <a:lnTo>
                    <a:pt x="3720" y="391"/>
                  </a:lnTo>
                  <a:lnTo>
                    <a:pt x="3727" y="381"/>
                  </a:lnTo>
                  <a:lnTo>
                    <a:pt x="3733" y="370"/>
                  </a:lnTo>
                  <a:lnTo>
                    <a:pt x="3738" y="359"/>
                  </a:lnTo>
                  <a:lnTo>
                    <a:pt x="3743" y="348"/>
                  </a:lnTo>
                  <a:lnTo>
                    <a:pt x="3748" y="337"/>
                  </a:lnTo>
                  <a:lnTo>
                    <a:pt x="3752" y="325"/>
                  </a:lnTo>
                  <a:lnTo>
                    <a:pt x="3755" y="313"/>
                  </a:lnTo>
                  <a:lnTo>
                    <a:pt x="3758" y="301"/>
                  </a:lnTo>
                  <a:lnTo>
                    <a:pt x="3760" y="289"/>
                  </a:lnTo>
                  <a:lnTo>
                    <a:pt x="3762" y="276"/>
                  </a:lnTo>
                  <a:lnTo>
                    <a:pt x="3763" y="264"/>
                  </a:lnTo>
                  <a:lnTo>
                    <a:pt x="3763" y="251"/>
                  </a:lnTo>
                  <a:lnTo>
                    <a:pt x="3763" y="238"/>
                  </a:lnTo>
                  <a:lnTo>
                    <a:pt x="3762" y="225"/>
                  </a:lnTo>
                  <a:lnTo>
                    <a:pt x="3760" y="213"/>
                  </a:lnTo>
                  <a:lnTo>
                    <a:pt x="3758" y="201"/>
                  </a:lnTo>
                  <a:lnTo>
                    <a:pt x="3755" y="188"/>
                  </a:lnTo>
                  <a:lnTo>
                    <a:pt x="3752" y="177"/>
                  </a:lnTo>
                  <a:lnTo>
                    <a:pt x="3748" y="165"/>
                  </a:lnTo>
                  <a:lnTo>
                    <a:pt x="3743" y="154"/>
                  </a:lnTo>
                  <a:lnTo>
                    <a:pt x="3738" y="143"/>
                  </a:lnTo>
                  <a:lnTo>
                    <a:pt x="3733" y="132"/>
                  </a:lnTo>
                  <a:lnTo>
                    <a:pt x="3727" y="120"/>
                  </a:lnTo>
                  <a:lnTo>
                    <a:pt x="3720" y="110"/>
                  </a:lnTo>
                  <a:lnTo>
                    <a:pt x="3713" y="100"/>
                  </a:lnTo>
                  <a:lnTo>
                    <a:pt x="3706" y="91"/>
                  </a:lnTo>
                  <a:lnTo>
                    <a:pt x="3698" y="82"/>
                  </a:lnTo>
                  <a:lnTo>
                    <a:pt x="3690" y="73"/>
                  </a:lnTo>
                  <a:lnTo>
                    <a:pt x="3681" y="65"/>
                  </a:lnTo>
                  <a:lnTo>
                    <a:pt x="3672" y="57"/>
                  </a:lnTo>
                  <a:lnTo>
                    <a:pt x="3663" y="50"/>
                  </a:lnTo>
                  <a:lnTo>
                    <a:pt x="3653" y="43"/>
                  </a:lnTo>
                  <a:lnTo>
                    <a:pt x="3643" y="36"/>
                  </a:lnTo>
                  <a:lnTo>
                    <a:pt x="3632" y="30"/>
                  </a:lnTo>
                  <a:lnTo>
                    <a:pt x="3621" y="25"/>
                  </a:lnTo>
                  <a:lnTo>
                    <a:pt x="3610" y="20"/>
                  </a:lnTo>
                  <a:lnTo>
                    <a:pt x="3599" y="15"/>
                  </a:lnTo>
                  <a:lnTo>
                    <a:pt x="3587" y="11"/>
                  </a:lnTo>
                  <a:lnTo>
                    <a:pt x="3574" y="8"/>
                  </a:lnTo>
                  <a:lnTo>
                    <a:pt x="3562" y="5"/>
                  </a:lnTo>
                  <a:lnTo>
                    <a:pt x="3550" y="3"/>
                  </a:lnTo>
                  <a:lnTo>
                    <a:pt x="3538" y="1"/>
                  </a:lnTo>
                  <a:lnTo>
                    <a:pt x="3525" y="0"/>
                  </a:lnTo>
                  <a:lnTo>
                    <a:pt x="35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74" name="íSľiďè">
              <a:extLst>
                <a:ext uri="{FF2B5EF4-FFF2-40B4-BE49-F238E27FC236}">
                  <a16:creationId xmlns:a16="http://schemas.microsoft.com/office/drawing/2014/main" id="{3783BE8F-4799-4E77-B921-BB1452826E47}"/>
                </a:ext>
              </a:extLst>
            </p:cNvPr>
            <p:cNvSpPr/>
            <p:nvPr/>
          </p:nvSpPr>
          <p:spPr bwMode="auto">
            <a:xfrm>
              <a:off x="1813649" y="1712024"/>
              <a:ext cx="404054" cy="361004"/>
            </a:xfrm>
            <a:custGeom>
              <a:avLst/>
              <a:gdLst>
                <a:gd name="T0" fmla="*/ 8326 w 16095"/>
                <a:gd name="T1" fmla="*/ 13008 h 14096"/>
                <a:gd name="T2" fmla="*/ 8191 w 16095"/>
                <a:gd name="T3" fmla="*/ 13069 h 14096"/>
                <a:gd name="T4" fmla="*/ 8048 w 16095"/>
                <a:gd name="T5" fmla="*/ 13090 h 14096"/>
                <a:gd name="T6" fmla="*/ 7903 w 16095"/>
                <a:gd name="T7" fmla="*/ 13069 h 14096"/>
                <a:gd name="T8" fmla="*/ 7768 w 16095"/>
                <a:gd name="T9" fmla="*/ 13008 h 14096"/>
                <a:gd name="T10" fmla="*/ 1995 w 16095"/>
                <a:gd name="T11" fmla="*/ 7293 h 14096"/>
                <a:gd name="T12" fmla="*/ 1368 w 16095"/>
                <a:gd name="T13" fmla="*/ 6355 h 14096"/>
                <a:gd name="T14" fmla="*/ 1055 w 16095"/>
                <a:gd name="T15" fmla="*/ 5309 h 14096"/>
                <a:gd name="T16" fmla="*/ 1055 w 16095"/>
                <a:gd name="T17" fmla="*/ 4226 h 14096"/>
                <a:gd name="T18" fmla="*/ 1368 w 16095"/>
                <a:gd name="T19" fmla="*/ 3179 h 14096"/>
                <a:gd name="T20" fmla="*/ 1995 w 16095"/>
                <a:gd name="T21" fmla="*/ 2241 h 14096"/>
                <a:gd name="T22" fmla="*/ 2857 w 16095"/>
                <a:gd name="T23" fmla="*/ 1536 h 14096"/>
                <a:gd name="T24" fmla="*/ 3845 w 16095"/>
                <a:gd name="T25" fmla="*/ 1126 h 14096"/>
                <a:gd name="T26" fmla="*/ 4896 w 16095"/>
                <a:gd name="T27" fmla="*/ 1005 h 14096"/>
                <a:gd name="T28" fmla="*/ 5943 w 16095"/>
                <a:gd name="T29" fmla="*/ 1178 h 14096"/>
                <a:gd name="T30" fmla="*/ 6922 w 16095"/>
                <a:gd name="T31" fmla="*/ 1644 h 14096"/>
                <a:gd name="T32" fmla="*/ 8873 w 16095"/>
                <a:gd name="T33" fmla="*/ 1866 h 14096"/>
                <a:gd name="T34" fmla="*/ 9814 w 16095"/>
                <a:gd name="T35" fmla="*/ 1301 h 14096"/>
                <a:gd name="T36" fmla="*/ 10846 w 16095"/>
                <a:gd name="T37" fmla="*/ 1030 h 14096"/>
                <a:gd name="T38" fmla="*/ 11903 w 16095"/>
                <a:gd name="T39" fmla="*/ 1053 h 14096"/>
                <a:gd name="T40" fmla="*/ 12919 w 16095"/>
                <a:gd name="T41" fmla="*/ 1367 h 14096"/>
                <a:gd name="T42" fmla="*/ 13830 w 16095"/>
                <a:gd name="T43" fmla="*/ 1971 h 14096"/>
                <a:gd name="T44" fmla="*/ 14553 w 16095"/>
                <a:gd name="T45" fmla="*/ 2850 h 14096"/>
                <a:gd name="T46" fmla="*/ 14970 w 16095"/>
                <a:gd name="T47" fmla="*/ 3868 h 14096"/>
                <a:gd name="T48" fmla="*/ 15074 w 16095"/>
                <a:gd name="T49" fmla="*/ 4948 h 14096"/>
                <a:gd name="T50" fmla="*/ 14866 w 16095"/>
                <a:gd name="T51" fmla="*/ 6015 h 14096"/>
                <a:gd name="T52" fmla="*/ 14344 w 16095"/>
                <a:gd name="T53" fmla="*/ 6997 h 14096"/>
                <a:gd name="T54" fmla="*/ 14329 w 16095"/>
                <a:gd name="T55" fmla="*/ 1071 h 14096"/>
                <a:gd name="T56" fmla="*/ 13143 w 16095"/>
                <a:gd name="T57" fmla="*/ 364 h 14096"/>
                <a:gd name="T58" fmla="*/ 11837 w 16095"/>
                <a:gd name="T59" fmla="*/ 29 h 14096"/>
                <a:gd name="T60" fmla="*/ 10497 w 16095"/>
                <a:gd name="T61" fmla="*/ 65 h 14096"/>
                <a:gd name="T62" fmla="*/ 9205 w 16095"/>
                <a:gd name="T63" fmla="*/ 471 h 14096"/>
                <a:gd name="T64" fmla="*/ 8046 w 16095"/>
                <a:gd name="T65" fmla="*/ 1245 h 14096"/>
                <a:gd name="T66" fmla="*/ 6889 w 16095"/>
                <a:gd name="T67" fmla="*/ 471 h 14096"/>
                <a:gd name="T68" fmla="*/ 5598 w 16095"/>
                <a:gd name="T69" fmla="*/ 65 h 14096"/>
                <a:gd name="T70" fmla="*/ 4258 w 16095"/>
                <a:gd name="T71" fmla="*/ 29 h 14096"/>
                <a:gd name="T72" fmla="*/ 2953 w 16095"/>
                <a:gd name="T73" fmla="*/ 364 h 14096"/>
                <a:gd name="T74" fmla="*/ 1766 w 16095"/>
                <a:gd name="T75" fmla="*/ 1071 h 14096"/>
                <a:gd name="T76" fmla="*/ 794 w 16095"/>
                <a:gd name="T77" fmla="*/ 2140 h 14096"/>
                <a:gd name="T78" fmla="*/ 198 w 16095"/>
                <a:gd name="T79" fmla="*/ 3407 h 14096"/>
                <a:gd name="T80" fmla="*/ 0 w 16095"/>
                <a:gd name="T81" fmla="*/ 4767 h 14096"/>
                <a:gd name="T82" fmla="*/ 198 w 16095"/>
                <a:gd name="T83" fmla="*/ 6127 h 14096"/>
                <a:gd name="T84" fmla="*/ 794 w 16095"/>
                <a:gd name="T85" fmla="*/ 7395 h 14096"/>
                <a:gd name="T86" fmla="*/ 1805 w 16095"/>
                <a:gd name="T87" fmla="*/ 8534 h 14096"/>
                <a:gd name="T88" fmla="*/ 4393 w 16095"/>
                <a:gd name="T89" fmla="*/ 11099 h 14096"/>
                <a:gd name="T90" fmla="*/ 6755 w 16095"/>
                <a:gd name="T91" fmla="*/ 13439 h 14096"/>
                <a:gd name="T92" fmla="*/ 7211 w 16095"/>
                <a:gd name="T93" fmla="*/ 13847 h 14096"/>
                <a:gd name="T94" fmla="*/ 7614 w 16095"/>
                <a:gd name="T95" fmla="*/ 14034 h 14096"/>
                <a:gd name="T96" fmla="*/ 8048 w 16095"/>
                <a:gd name="T97" fmla="*/ 14096 h 14096"/>
                <a:gd name="T98" fmla="*/ 8480 w 16095"/>
                <a:gd name="T99" fmla="*/ 14034 h 14096"/>
                <a:gd name="T100" fmla="*/ 8884 w 16095"/>
                <a:gd name="T101" fmla="*/ 13847 h 14096"/>
                <a:gd name="T102" fmla="*/ 9360 w 16095"/>
                <a:gd name="T103" fmla="*/ 13419 h 14096"/>
                <a:gd name="T104" fmla="*/ 11881 w 16095"/>
                <a:gd name="T105" fmla="*/ 10921 h 14096"/>
                <a:gd name="T106" fmla="*/ 14427 w 16095"/>
                <a:gd name="T107" fmla="*/ 8398 h 14096"/>
                <a:gd name="T108" fmla="*/ 15301 w 16095"/>
                <a:gd name="T109" fmla="*/ 7395 h 14096"/>
                <a:gd name="T110" fmla="*/ 15897 w 16095"/>
                <a:gd name="T111" fmla="*/ 6127 h 14096"/>
                <a:gd name="T112" fmla="*/ 16095 w 16095"/>
                <a:gd name="T113" fmla="*/ 4767 h 14096"/>
                <a:gd name="T114" fmla="*/ 15897 w 16095"/>
                <a:gd name="T115" fmla="*/ 3407 h 14096"/>
                <a:gd name="T116" fmla="*/ 15301 w 16095"/>
                <a:gd name="T117" fmla="*/ 2140 h 14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095" h="14096">
                  <a:moveTo>
                    <a:pt x="13965" y="7434"/>
                  </a:moveTo>
                  <a:lnTo>
                    <a:pt x="8406" y="12943"/>
                  </a:lnTo>
                  <a:lnTo>
                    <a:pt x="8387" y="12960"/>
                  </a:lnTo>
                  <a:lnTo>
                    <a:pt x="8367" y="12977"/>
                  </a:lnTo>
                  <a:lnTo>
                    <a:pt x="8347" y="12992"/>
                  </a:lnTo>
                  <a:lnTo>
                    <a:pt x="8326" y="13008"/>
                  </a:lnTo>
                  <a:lnTo>
                    <a:pt x="8305" y="13021"/>
                  </a:lnTo>
                  <a:lnTo>
                    <a:pt x="8283" y="13033"/>
                  </a:lnTo>
                  <a:lnTo>
                    <a:pt x="8261" y="13044"/>
                  </a:lnTo>
                  <a:lnTo>
                    <a:pt x="8239" y="13053"/>
                  </a:lnTo>
                  <a:lnTo>
                    <a:pt x="8215" y="13062"/>
                  </a:lnTo>
                  <a:lnTo>
                    <a:pt x="8191" y="13069"/>
                  </a:lnTo>
                  <a:lnTo>
                    <a:pt x="8168" y="13076"/>
                  </a:lnTo>
                  <a:lnTo>
                    <a:pt x="8144" y="13081"/>
                  </a:lnTo>
                  <a:lnTo>
                    <a:pt x="8120" y="13085"/>
                  </a:lnTo>
                  <a:lnTo>
                    <a:pt x="8096" y="13088"/>
                  </a:lnTo>
                  <a:lnTo>
                    <a:pt x="8072" y="13089"/>
                  </a:lnTo>
                  <a:lnTo>
                    <a:pt x="8048" y="13090"/>
                  </a:lnTo>
                  <a:lnTo>
                    <a:pt x="8023" y="13089"/>
                  </a:lnTo>
                  <a:lnTo>
                    <a:pt x="7998" y="13088"/>
                  </a:lnTo>
                  <a:lnTo>
                    <a:pt x="7974" y="13085"/>
                  </a:lnTo>
                  <a:lnTo>
                    <a:pt x="7950" y="13081"/>
                  </a:lnTo>
                  <a:lnTo>
                    <a:pt x="7927" y="13076"/>
                  </a:lnTo>
                  <a:lnTo>
                    <a:pt x="7903" y="13069"/>
                  </a:lnTo>
                  <a:lnTo>
                    <a:pt x="7880" y="13062"/>
                  </a:lnTo>
                  <a:lnTo>
                    <a:pt x="7856" y="13053"/>
                  </a:lnTo>
                  <a:lnTo>
                    <a:pt x="7833" y="13044"/>
                  </a:lnTo>
                  <a:lnTo>
                    <a:pt x="7811" y="13033"/>
                  </a:lnTo>
                  <a:lnTo>
                    <a:pt x="7790" y="13021"/>
                  </a:lnTo>
                  <a:lnTo>
                    <a:pt x="7768" y="13008"/>
                  </a:lnTo>
                  <a:lnTo>
                    <a:pt x="7748" y="12992"/>
                  </a:lnTo>
                  <a:lnTo>
                    <a:pt x="7728" y="12977"/>
                  </a:lnTo>
                  <a:lnTo>
                    <a:pt x="7707" y="12960"/>
                  </a:lnTo>
                  <a:lnTo>
                    <a:pt x="7689" y="12943"/>
                  </a:lnTo>
                  <a:lnTo>
                    <a:pt x="2130" y="7434"/>
                  </a:lnTo>
                  <a:lnTo>
                    <a:pt x="1995" y="7293"/>
                  </a:lnTo>
                  <a:lnTo>
                    <a:pt x="1868" y="7148"/>
                  </a:lnTo>
                  <a:lnTo>
                    <a:pt x="1751" y="6997"/>
                  </a:lnTo>
                  <a:lnTo>
                    <a:pt x="1643" y="6843"/>
                  </a:lnTo>
                  <a:lnTo>
                    <a:pt x="1542" y="6684"/>
                  </a:lnTo>
                  <a:lnTo>
                    <a:pt x="1452" y="6521"/>
                  </a:lnTo>
                  <a:lnTo>
                    <a:pt x="1368" y="6355"/>
                  </a:lnTo>
                  <a:lnTo>
                    <a:pt x="1295" y="6186"/>
                  </a:lnTo>
                  <a:lnTo>
                    <a:pt x="1229" y="6015"/>
                  </a:lnTo>
                  <a:lnTo>
                    <a:pt x="1173" y="5841"/>
                  </a:lnTo>
                  <a:lnTo>
                    <a:pt x="1125" y="5666"/>
                  </a:lnTo>
                  <a:lnTo>
                    <a:pt x="1085" y="5487"/>
                  </a:lnTo>
                  <a:lnTo>
                    <a:pt x="1055" y="5309"/>
                  </a:lnTo>
                  <a:lnTo>
                    <a:pt x="1034" y="5129"/>
                  </a:lnTo>
                  <a:lnTo>
                    <a:pt x="1021" y="4948"/>
                  </a:lnTo>
                  <a:lnTo>
                    <a:pt x="1016" y="4767"/>
                  </a:lnTo>
                  <a:lnTo>
                    <a:pt x="1021" y="4586"/>
                  </a:lnTo>
                  <a:lnTo>
                    <a:pt x="1034" y="4405"/>
                  </a:lnTo>
                  <a:lnTo>
                    <a:pt x="1055" y="4226"/>
                  </a:lnTo>
                  <a:lnTo>
                    <a:pt x="1085" y="4047"/>
                  </a:lnTo>
                  <a:lnTo>
                    <a:pt x="1125" y="3868"/>
                  </a:lnTo>
                  <a:lnTo>
                    <a:pt x="1173" y="3693"/>
                  </a:lnTo>
                  <a:lnTo>
                    <a:pt x="1229" y="3519"/>
                  </a:lnTo>
                  <a:lnTo>
                    <a:pt x="1295" y="3348"/>
                  </a:lnTo>
                  <a:lnTo>
                    <a:pt x="1368" y="3179"/>
                  </a:lnTo>
                  <a:lnTo>
                    <a:pt x="1452" y="3013"/>
                  </a:lnTo>
                  <a:lnTo>
                    <a:pt x="1542" y="2850"/>
                  </a:lnTo>
                  <a:lnTo>
                    <a:pt x="1643" y="2691"/>
                  </a:lnTo>
                  <a:lnTo>
                    <a:pt x="1751" y="2537"/>
                  </a:lnTo>
                  <a:lnTo>
                    <a:pt x="1868" y="2386"/>
                  </a:lnTo>
                  <a:lnTo>
                    <a:pt x="1995" y="2241"/>
                  </a:lnTo>
                  <a:lnTo>
                    <a:pt x="2130" y="2100"/>
                  </a:lnTo>
                  <a:lnTo>
                    <a:pt x="2265" y="1971"/>
                  </a:lnTo>
                  <a:lnTo>
                    <a:pt x="2407" y="1851"/>
                  </a:lnTo>
                  <a:lnTo>
                    <a:pt x="2553" y="1738"/>
                  </a:lnTo>
                  <a:lnTo>
                    <a:pt x="2703" y="1633"/>
                  </a:lnTo>
                  <a:lnTo>
                    <a:pt x="2857" y="1536"/>
                  </a:lnTo>
                  <a:lnTo>
                    <a:pt x="3015" y="1448"/>
                  </a:lnTo>
                  <a:lnTo>
                    <a:pt x="3176" y="1367"/>
                  </a:lnTo>
                  <a:lnTo>
                    <a:pt x="3339" y="1295"/>
                  </a:lnTo>
                  <a:lnTo>
                    <a:pt x="3506" y="1230"/>
                  </a:lnTo>
                  <a:lnTo>
                    <a:pt x="3675" y="1174"/>
                  </a:lnTo>
                  <a:lnTo>
                    <a:pt x="3845" y="1126"/>
                  </a:lnTo>
                  <a:lnTo>
                    <a:pt x="4018" y="1085"/>
                  </a:lnTo>
                  <a:lnTo>
                    <a:pt x="4192" y="1053"/>
                  </a:lnTo>
                  <a:lnTo>
                    <a:pt x="4367" y="1029"/>
                  </a:lnTo>
                  <a:lnTo>
                    <a:pt x="4543" y="1013"/>
                  </a:lnTo>
                  <a:lnTo>
                    <a:pt x="4719" y="1005"/>
                  </a:lnTo>
                  <a:lnTo>
                    <a:pt x="4896" y="1005"/>
                  </a:lnTo>
                  <a:lnTo>
                    <a:pt x="5072" y="1014"/>
                  </a:lnTo>
                  <a:lnTo>
                    <a:pt x="5249" y="1030"/>
                  </a:lnTo>
                  <a:lnTo>
                    <a:pt x="5424" y="1055"/>
                  </a:lnTo>
                  <a:lnTo>
                    <a:pt x="5599" y="1087"/>
                  </a:lnTo>
                  <a:lnTo>
                    <a:pt x="5772" y="1129"/>
                  </a:lnTo>
                  <a:lnTo>
                    <a:pt x="5943" y="1178"/>
                  </a:lnTo>
                  <a:lnTo>
                    <a:pt x="6113" y="1235"/>
                  </a:lnTo>
                  <a:lnTo>
                    <a:pt x="6281" y="1301"/>
                  </a:lnTo>
                  <a:lnTo>
                    <a:pt x="6446" y="1374"/>
                  </a:lnTo>
                  <a:lnTo>
                    <a:pt x="6608" y="1456"/>
                  </a:lnTo>
                  <a:lnTo>
                    <a:pt x="6767" y="1547"/>
                  </a:lnTo>
                  <a:lnTo>
                    <a:pt x="6922" y="1644"/>
                  </a:lnTo>
                  <a:lnTo>
                    <a:pt x="7074" y="1751"/>
                  </a:lnTo>
                  <a:lnTo>
                    <a:pt x="7222" y="1866"/>
                  </a:lnTo>
                  <a:lnTo>
                    <a:pt x="7365" y="1989"/>
                  </a:lnTo>
                  <a:lnTo>
                    <a:pt x="8046" y="2603"/>
                  </a:lnTo>
                  <a:lnTo>
                    <a:pt x="8730" y="1989"/>
                  </a:lnTo>
                  <a:lnTo>
                    <a:pt x="8873" y="1866"/>
                  </a:lnTo>
                  <a:lnTo>
                    <a:pt x="9021" y="1751"/>
                  </a:lnTo>
                  <a:lnTo>
                    <a:pt x="9173" y="1644"/>
                  </a:lnTo>
                  <a:lnTo>
                    <a:pt x="9328" y="1547"/>
                  </a:lnTo>
                  <a:lnTo>
                    <a:pt x="9487" y="1456"/>
                  </a:lnTo>
                  <a:lnTo>
                    <a:pt x="9649" y="1374"/>
                  </a:lnTo>
                  <a:lnTo>
                    <a:pt x="9814" y="1301"/>
                  </a:lnTo>
                  <a:lnTo>
                    <a:pt x="9982" y="1235"/>
                  </a:lnTo>
                  <a:lnTo>
                    <a:pt x="10152" y="1178"/>
                  </a:lnTo>
                  <a:lnTo>
                    <a:pt x="10323" y="1129"/>
                  </a:lnTo>
                  <a:lnTo>
                    <a:pt x="10496" y="1087"/>
                  </a:lnTo>
                  <a:lnTo>
                    <a:pt x="10671" y="1055"/>
                  </a:lnTo>
                  <a:lnTo>
                    <a:pt x="10846" y="1030"/>
                  </a:lnTo>
                  <a:lnTo>
                    <a:pt x="11023" y="1014"/>
                  </a:lnTo>
                  <a:lnTo>
                    <a:pt x="11199" y="1005"/>
                  </a:lnTo>
                  <a:lnTo>
                    <a:pt x="11376" y="1005"/>
                  </a:lnTo>
                  <a:lnTo>
                    <a:pt x="11552" y="1013"/>
                  </a:lnTo>
                  <a:lnTo>
                    <a:pt x="11728" y="1029"/>
                  </a:lnTo>
                  <a:lnTo>
                    <a:pt x="11903" y="1053"/>
                  </a:lnTo>
                  <a:lnTo>
                    <a:pt x="12077" y="1085"/>
                  </a:lnTo>
                  <a:lnTo>
                    <a:pt x="12250" y="1126"/>
                  </a:lnTo>
                  <a:lnTo>
                    <a:pt x="12420" y="1174"/>
                  </a:lnTo>
                  <a:lnTo>
                    <a:pt x="12589" y="1230"/>
                  </a:lnTo>
                  <a:lnTo>
                    <a:pt x="12756" y="1295"/>
                  </a:lnTo>
                  <a:lnTo>
                    <a:pt x="12919" y="1367"/>
                  </a:lnTo>
                  <a:lnTo>
                    <a:pt x="13080" y="1448"/>
                  </a:lnTo>
                  <a:lnTo>
                    <a:pt x="13238" y="1536"/>
                  </a:lnTo>
                  <a:lnTo>
                    <a:pt x="13392" y="1633"/>
                  </a:lnTo>
                  <a:lnTo>
                    <a:pt x="13542" y="1738"/>
                  </a:lnTo>
                  <a:lnTo>
                    <a:pt x="13688" y="1851"/>
                  </a:lnTo>
                  <a:lnTo>
                    <a:pt x="13830" y="1971"/>
                  </a:lnTo>
                  <a:lnTo>
                    <a:pt x="13965" y="2100"/>
                  </a:lnTo>
                  <a:lnTo>
                    <a:pt x="14100" y="2241"/>
                  </a:lnTo>
                  <a:lnTo>
                    <a:pt x="14227" y="2386"/>
                  </a:lnTo>
                  <a:lnTo>
                    <a:pt x="14344" y="2537"/>
                  </a:lnTo>
                  <a:lnTo>
                    <a:pt x="14452" y="2691"/>
                  </a:lnTo>
                  <a:lnTo>
                    <a:pt x="14553" y="2850"/>
                  </a:lnTo>
                  <a:lnTo>
                    <a:pt x="14643" y="3013"/>
                  </a:lnTo>
                  <a:lnTo>
                    <a:pt x="14727" y="3179"/>
                  </a:lnTo>
                  <a:lnTo>
                    <a:pt x="14800" y="3348"/>
                  </a:lnTo>
                  <a:lnTo>
                    <a:pt x="14866" y="3519"/>
                  </a:lnTo>
                  <a:lnTo>
                    <a:pt x="14922" y="3693"/>
                  </a:lnTo>
                  <a:lnTo>
                    <a:pt x="14970" y="3868"/>
                  </a:lnTo>
                  <a:lnTo>
                    <a:pt x="15010" y="4047"/>
                  </a:lnTo>
                  <a:lnTo>
                    <a:pt x="15040" y="4226"/>
                  </a:lnTo>
                  <a:lnTo>
                    <a:pt x="15061" y="4405"/>
                  </a:lnTo>
                  <a:lnTo>
                    <a:pt x="15074" y="4586"/>
                  </a:lnTo>
                  <a:lnTo>
                    <a:pt x="15079" y="4767"/>
                  </a:lnTo>
                  <a:lnTo>
                    <a:pt x="15074" y="4948"/>
                  </a:lnTo>
                  <a:lnTo>
                    <a:pt x="15061" y="5129"/>
                  </a:lnTo>
                  <a:lnTo>
                    <a:pt x="15040" y="5309"/>
                  </a:lnTo>
                  <a:lnTo>
                    <a:pt x="15010" y="5487"/>
                  </a:lnTo>
                  <a:lnTo>
                    <a:pt x="14970" y="5666"/>
                  </a:lnTo>
                  <a:lnTo>
                    <a:pt x="14922" y="5841"/>
                  </a:lnTo>
                  <a:lnTo>
                    <a:pt x="14866" y="6015"/>
                  </a:lnTo>
                  <a:lnTo>
                    <a:pt x="14800" y="6186"/>
                  </a:lnTo>
                  <a:lnTo>
                    <a:pt x="14727" y="6355"/>
                  </a:lnTo>
                  <a:lnTo>
                    <a:pt x="14643" y="6521"/>
                  </a:lnTo>
                  <a:lnTo>
                    <a:pt x="14553" y="6684"/>
                  </a:lnTo>
                  <a:lnTo>
                    <a:pt x="14452" y="6843"/>
                  </a:lnTo>
                  <a:lnTo>
                    <a:pt x="14344" y="6997"/>
                  </a:lnTo>
                  <a:lnTo>
                    <a:pt x="14227" y="7148"/>
                  </a:lnTo>
                  <a:lnTo>
                    <a:pt x="14100" y="7293"/>
                  </a:lnTo>
                  <a:lnTo>
                    <a:pt x="13965" y="7434"/>
                  </a:lnTo>
                  <a:close/>
                  <a:moveTo>
                    <a:pt x="14684" y="1390"/>
                  </a:moveTo>
                  <a:lnTo>
                    <a:pt x="14510" y="1225"/>
                  </a:lnTo>
                  <a:lnTo>
                    <a:pt x="14329" y="1071"/>
                  </a:lnTo>
                  <a:lnTo>
                    <a:pt x="14142" y="927"/>
                  </a:lnTo>
                  <a:lnTo>
                    <a:pt x="13951" y="794"/>
                  </a:lnTo>
                  <a:lnTo>
                    <a:pt x="13755" y="672"/>
                  </a:lnTo>
                  <a:lnTo>
                    <a:pt x="13555" y="559"/>
                  </a:lnTo>
                  <a:lnTo>
                    <a:pt x="13351" y="456"/>
                  </a:lnTo>
                  <a:lnTo>
                    <a:pt x="13143" y="364"/>
                  </a:lnTo>
                  <a:lnTo>
                    <a:pt x="12930" y="282"/>
                  </a:lnTo>
                  <a:lnTo>
                    <a:pt x="12716" y="211"/>
                  </a:lnTo>
                  <a:lnTo>
                    <a:pt x="12499" y="150"/>
                  </a:lnTo>
                  <a:lnTo>
                    <a:pt x="12280" y="100"/>
                  </a:lnTo>
                  <a:lnTo>
                    <a:pt x="12059" y="59"/>
                  </a:lnTo>
                  <a:lnTo>
                    <a:pt x="11837" y="29"/>
                  </a:lnTo>
                  <a:lnTo>
                    <a:pt x="11614" y="9"/>
                  </a:lnTo>
                  <a:lnTo>
                    <a:pt x="11390" y="0"/>
                  </a:lnTo>
                  <a:lnTo>
                    <a:pt x="11166" y="1"/>
                  </a:lnTo>
                  <a:lnTo>
                    <a:pt x="10943" y="12"/>
                  </a:lnTo>
                  <a:lnTo>
                    <a:pt x="10719" y="33"/>
                  </a:lnTo>
                  <a:lnTo>
                    <a:pt x="10497" y="65"/>
                  </a:lnTo>
                  <a:lnTo>
                    <a:pt x="10276" y="107"/>
                  </a:lnTo>
                  <a:lnTo>
                    <a:pt x="10056" y="159"/>
                  </a:lnTo>
                  <a:lnTo>
                    <a:pt x="9840" y="222"/>
                  </a:lnTo>
                  <a:lnTo>
                    <a:pt x="9625" y="295"/>
                  </a:lnTo>
                  <a:lnTo>
                    <a:pt x="9414" y="378"/>
                  </a:lnTo>
                  <a:lnTo>
                    <a:pt x="9205" y="471"/>
                  </a:lnTo>
                  <a:lnTo>
                    <a:pt x="9001" y="574"/>
                  </a:lnTo>
                  <a:lnTo>
                    <a:pt x="8800" y="688"/>
                  </a:lnTo>
                  <a:lnTo>
                    <a:pt x="8605" y="812"/>
                  </a:lnTo>
                  <a:lnTo>
                    <a:pt x="8413" y="946"/>
                  </a:lnTo>
                  <a:lnTo>
                    <a:pt x="8228" y="1090"/>
                  </a:lnTo>
                  <a:lnTo>
                    <a:pt x="8046" y="1245"/>
                  </a:lnTo>
                  <a:lnTo>
                    <a:pt x="7866" y="1090"/>
                  </a:lnTo>
                  <a:lnTo>
                    <a:pt x="7681" y="946"/>
                  </a:lnTo>
                  <a:lnTo>
                    <a:pt x="7490" y="812"/>
                  </a:lnTo>
                  <a:lnTo>
                    <a:pt x="7294" y="688"/>
                  </a:lnTo>
                  <a:lnTo>
                    <a:pt x="7094" y="574"/>
                  </a:lnTo>
                  <a:lnTo>
                    <a:pt x="6889" y="471"/>
                  </a:lnTo>
                  <a:lnTo>
                    <a:pt x="6680" y="378"/>
                  </a:lnTo>
                  <a:lnTo>
                    <a:pt x="6469" y="295"/>
                  </a:lnTo>
                  <a:lnTo>
                    <a:pt x="6255" y="222"/>
                  </a:lnTo>
                  <a:lnTo>
                    <a:pt x="6038" y="159"/>
                  </a:lnTo>
                  <a:lnTo>
                    <a:pt x="5819" y="107"/>
                  </a:lnTo>
                  <a:lnTo>
                    <a:pt x="5598" y="65"/>
                  </a:lnTo>
                  <a:lnTo>
                    <a:pt x="5376" y="33"/>
                  </a:lnTo>
                  <a:lnTo>
                    <a:pt x="5152" y="12"/>
                  </a:lnTo>
                  <a:lnTo>
                    <a:pt x="4929" y="1"/>
                  </a:lnTo>
                  <a:lnTo>
                    <a:pt x="4705" y="0"/>
                  </a:lnTo>
                  <a:lnTo>
                    <a:pt x="4481" y="9"/>
                  </a:lnTo>
                  <a:lnTo>
                    <a:pt x="4258" y="29"/>
                  </a:lnTo>
                  <a:lnTo>
                    <a:pt x="4036" y="59"/>
                  </a:lnTo>
                  <a:lnTo>
                    <a:pt x="3816" y="100"/>
                  </a:lnTo>
                  <a:lnTo>
                    <a:pt x="3596" y="150"/>
                  </a:lnTo>
                  <a:lnTo>
                    <a:pt x="3379" y="211"/>
                  </a:lnTo>
                  <a:lnTo>
                    <a:pt x="3165" y="282"/>
                  </a:lnTo>
                  <a:lnTo>
                    <a:pt x="2953" y="364"/>
                  </a:lnTo>
                  <a:lnTo>
                    <a:pt x="2744" y="456"/>
                  </a:lnTo>
                  <a:lnTo>
                    <a:pt x="2540" y="559"/>
                  </a:lnTo>
                  <a:lnTo>
                    <a:pt x="2340" y="672"/>
                  </a:lnTo>
                  <a:lnTo>
                    <a:pt x="2144" y="794"/>
                  </a:lnTo>
                  <a:lnTo>
                    <a:pt x="1953" y="927"/>
                  </a:lnTo>
                  <a:lnTo>
                    <a:pt x="1766" y="1071"/>
                  </a:lnTo>
                  <a:lnTo>
                    <a:pt x="1586" y="1225"/>
                  </a:lnTo>
                  <a:lnTo>
                    <a:pt x="1411" y="1390"/>
                  </a:lnTo>
                  <a:lnTo>
                    <a:pt x="1240" y="1569"/>
                  </a:lnTo>
                  <a:lnTo>
                    <a:pt x="1080" y="1753"/>
                  </a:lnTo>
                  <a:lnTo>
                    <a:pt x="931" y="1943"/>
                  </a:lnTo>
                  <a:lnTo>
                    <a:pt x="794" y="2140"/>
                  </a:lnTo>
                  <a:lnTo>
                    <a:pt x="667" y="2340"/>
                  </a:lnTo>
                  <a:lnTo>
                    <a:pt x="551" y="2546"/>
                  </a:lnTo>
                  <a:lnTo>
                    <a:pt x="447" y="2756"/>
                  </a:lnTo>
                  <a:lnTo>
                    <a:pt x="353" y="2970"/>
                  </a:lnTo>
                  <a:lnTo>
                    <a:pt x="271" y="3187"/>
                  </a:lnTo>
                  <a:lnTo>
                    <a:pt x="198" y="3407"/>
                  </a:lnTo>
                  <a:lnTo>
                    <a:pt x="138" y="3630"/>
                  </a:lnTo>
                  <a:lnTo>
                    <a:pt x="89" y="3855"/>
                  </a:lnTo>
                  <a:lnTo>
                    <a:pt x="49" y="4082"/>
                  </a:lnTo>
                  <a:lnTo>
                    <a:pt x="22" y="4309"/>
                  </a:lnTo>
                  <a:lnTo>
                    <a:pt x="6" y="4538"/>
                  </a:lnTo>
                  <a:lnTo>
                    <a:pt x="0" y="4767"/>
                  </a:lnTo>
                  <a:lnTo>
                    <a:pt x="6" y="4996"/>
                  </a:lnTo>
                  <a:lnTo>
                    <a:pt x="22" y="5225"/>
                  </a:lnTo>
                  <a:lnTo>
                    <a:pt x="49" y="5453"/>
                  </a:lnTo>
                  <a:lnTo>
                    <a:pt x="89" y="5680"/>
                  </a:lnTo>
                  <a:lnTo>
                    <a:pt x="138" y="5904"/>
                  </a:lnTo>
                  <a:lnTo>
                    <a:pt x="198" y="6127"/>
                  </a:lnTo>
                  <a:lnTo>
                    <a:pt x="271" y="6347"/>
                  </a:lnTo>
                  <a:lnTo>
                    <a:pt x="353" y="6565"/>
                  </a:lnTo>
                  <a:lnTo>
                    <a:pt x="447" y="6778"/>
                  </a:lnTo>
                  <a:lnTo>
                    <a:pt x="551" y="6989"/>
                  </a:lnTo>
                  <a:lnTo>
                    <a:pt x="667" y="7194"/>
                  </a:lnTo>
                  <a:lnTo>
                    <a:pt x="794" y="7395"/>
                  </a:lnTo>
                  <a:lnTo>
                    <a:pt x="931" y="7591"/>
                  </a:lnTo>
                  <a:lnTo>
                    <a:pt x="1080" y="7782"/>
                  </a:lnTo>
                  <a:lnTo>
                    <a:pt x="1240" y="7966"/>
                  </a:lnTo>
                  <a:lnTo>
                    <a:pt x="1411" y="8144"/>
                  </a:lnTo>
                  <a:lnTo>
                    <a:pt x="1562" y="8294"/>
                  </a:lnTo>
                  <a:lnTo>
                    <a:pt x="1805" y="8534"/>
                  </a:lnTo>
                  <a:lnTo>
                    <a:pt x="2125" y="8850"/>
                  </a:lnTo>
                  <a:lnTo>
                    <a:pt x="2507" y="9230"/>
                  </a:lnTo>
                  <a:lnTo>
                    <a:pt x="2939" y="9659"/>
                  </a:lnTo>
                  <a:lnTo>
                    <a:pt x="3407" y="10122"/>
                  </a:lnTo>
                  <a:lnTo>
                    <a:pt x="3896" y="10606"/>
                  </a:lnTo>
                  <a:lnTo>
                    <a:pt x="4393" y="11099"/>
                  </a:lnTo>
                  <a:lnTo>
                    <a:pt x="4884" y="11585"/>
                  </a:lnTo>
                  <a:lnTo>
                    <a:pt x="5354" y="12051"/>
                  </a:lnTo>
                  <a:lnTo>
                    <a:pt x="5790" y="12483"/>
                  </a:lnTo>
                  <a:lnTo>
                    <a:pt x="6178" y="12868"/>
                  </a:lnTo>
                  <a:lnTo>
                    <a:pt x="6504" y="13191"/>
                  </a:lnTo>
                  <a:lnTo>
                    <a:pt x="6755" y="13439"/>
                  </a:lnTo>
                  <a:lnTo>
                    <a:pt x="6915" y="13598"/>
                  </a:lnTo>
                  <a:lnTo>
                    <a:pt x="6971" y="13654"/>
                  </a:lnTo>
                  <a:lnTo>
                    <a:pt x="7028" y="13707"/>
                  </a:lnTo>
                  <a:lnTo>
                    <a:pt x="7087" y="13758"/>
                  </a:lnTo>
                  <a:lnTo>
                    <a:pt x="7148" y="13804"/>
                  </a:lnTo>
                  <a:lnTo>
                    <a:pt x="7211" y="13847"/>
                  </a:lnTo>
                  <a:lnTo>
                    <a:pt x="7274" y="13887"/>
                  </a:lnTo>
                  <a:lnTo>
                    <a:pt x="7340" y="13923"/>
                  </a:lnTo>
                  <a:lnTo>
                    <a:pt x="7407" y="13956"/>
                  </a:lnTo>
                  <a:lnTo>
                    <a:pt x="7475" y="13985"/>
                  </a:lnTo>
                  <a:lnTo>
                    <a:pt x="7545" y="14011"/>
                  </a:lnTo>
                  <a:lnTo>
                    <a:pt x="7614" y="14034"/>
                  </a:lnTo>
                  <a:lnTo>
                    <a:pt x="7685" y="14053"/>
                  </a:lnTo>
                  <a:lnTo>
                    <a:pt x="7757" y="14068"/>
                  </a:lnTo>
                  <a:lnTo>
                    <a:pt x="7829" y="14080"/>
                  </a:lnTo>
                  <a:lnTo>
                    <a:pt x="7902" y="14089"/>
                  </a:lnTo>
                  <a:lnTo>
                    <a:pt x="7974" y="14094"/>
                  </a:lnTo>
                  <a:lnTo>
                    <a:pt x="8048" y="14096"/>
                  </a:lnTo>
                  <a:lnTo>
                    <a:pt x="8120" y="14094"/>
                  </a:lnTo>
                  <a:lnTo>
                    <a:pt x="8193" y="14089"/>
                  </a:lnTo>
                  <a:lnTo>
                    <a:pt x="8266" y="14080"/>
                  </a:lnTo>
                  <a:lnTo>
                    <a:pt x="8338" y="14068"/>
                  </a:lnTo>
                  <a:lnTo>
                    <a:pt x="8410" y="14053"/>
                  </a:lnTo>
                  <a:lnTo>
                    <a:pt x="8480" y="14034"/>
                  </a:lnTo>
                  <a:lnTo>
                    <a:pt x="8550" y="14011"/>
                  </a:lnTo>
                  <a:lnTo>
                    <a:pt x="8620" y="13985"/>
                  </a:lnTo>
                  <a:lnTo>
                    <a:pt x="8688" y="13956"/>
                  </a:lnTo>
                  <a:lnTo>
                    <a:pt x="8755" y="13923"/>
                  </a:lnTo>
                  <a:lnTo>
                    <a:pt x="8820" y="13887"/>
                  </a:lnTo>
                  <a:lnTo>
                    <a:pt x="8884" y="13847"/>
                  </a:lnTo>
                  <a:lnTo>
                    <a:pt x="8947" y="13804"/>
                  </a:lnTo>
                  <a:lnTo>
                    <a:pt x="9008" y="13758"/>
                  </a:lnTo>
                  <a:lnTo>
                    <a:pt x="9067" y="13707"/>
                  </a:lnTo>
                  <a:lnTo>
                    <a:pt x="9124" y="13654"/>
                  </a:lnTo>
                  <a:lnTo>
                    <a:pt x="9185" y="13593"/>
                  </a:lnTo>
                  <a:lnTo>
                    <a:pt x="9360" y="13419"/>
                  </a:lnTo>
                  <a:lnTo>
                    <a:pt x="9632" y="13151"/>
                  </a:lnTo>
                  <a:lnTo>
                    <a:pt x="9984" y="12801"/>
                  </a:lnTo>
                  <a:lnTo>
                    <a:pt x="10400" y="12388"/>
                  </a:lnTo>
                  <a:lnTo>
                    <a:pt x="10867" y="11926"/>
                  </a:lnTo>
                  <a:lnTo>
                    <a:pt x="11365" y="11432"/>
                  </a:lnTo>
                  <a:lnTo>
                    <a:pt x="11881" y="10921"/>
                  </a:lnTo>
                  <a:lnTo>
                    <a:pt x="12397" y="10410"/>
                  </a:lnTo>
                  <a:lnTo>
                    <a:pt x="12897" y="9915"/>
                  </a:lnTo>
                  <a:lnTo>
                    <a:pt x="13367" y="9449"/>
                  </a:lnTo>
                  <a:lnTo>
                    <a:pt x="13789" y="9031"/>
                  </a:lnTo>
                  <a:lnTo>
                    <a:pt x="14148" y="8675"/>
                  </a:lnTo>
                  <a:lnTo>
                    <a:pt x="14427" y="8398"/>
                  </a:lnTo>
                  <a:lnTo>
                    <a:pt x="14611" y="8216"/>
                  </a:lnTo>
                  <a:lnTo>
                    <a:pt x="14684" y="8144"/>
                  </a:lnTo>
                  <a:lnTo>
                    <a:pt x="14855" y="7966"/>
                  </a:lnTo>
                  <a:lnTo>
                    <a:pt x="15015" y="7782"/>
                  </a:lnTo>
                  <a:lnTo>
                    <a:pt x="15164" y="7591"/>
                  </a:lnTo>
                  <a:lnTo>
                    <a:pt x="15301" y="7395"/>
                  </a:lnTo>
                  <a:lnTo>
                    <a:pt x="15428" y="7194"/>
                  </a:lnTo>
                  <a:lnTo>
                    <a:pt x="15544" y="6989"/>
                  </a:lnTo>
                  <a:lnTo>
                    <a:pt x="15648" y="6778"/>
                  </a:lnTo>
                  <a:lnTo>
                    <a:pt x="15742" y="6565"/>
                  </a:lnTo>
                  <a:lnTo>
                    <a:pt x="15824" y="6347"/>
                  </a:lnTo>
                  <a:lnTo>
                    <a:pt x="15897" y="6127"/>
                  </a:lnTo>
                  <a:lnTo>
                    <a:pt x="15957" y="5904"/>
                  </a:lnTo>
                  <a:lnTo>
                    <a:pt x="16006" y="5680"/>
                  </a:lnTo>
                  <a:lnTo>
                    <a:pt x="16046" y="5453"/>
                  </a:lnTo>
                  <a:lnTo>
                    <a:pt x="16073" y="5225"/>
                  </a:lnTo>
                  <a:lnTo>
                    <a:pt x="16089" y="4996"/>
                  </a:lnTo>
                  <a:lnTo>
                    <a:pt x="16095" y="4767"/>
                  </a:lnTo>
                  <a:lnTo>
                    <a:pt x="16089" y="4538"/>
                  </a:lnTo>
                  <a:lnTo>
                    <a:pt x="16073" y="4309"/>
                  </a:lnTo>
                  <a:lnTo>
                    <a:pt x="16046" y="4082"/>
                  </a:lnTo>
                  <a:lnTo>
                    <a:pt x="16006" y="3855"/>
                  </a:lnTo>
                  <a:lnTo>
                    <a:pt x="15957" y="3630"/>
                  </a:lnTo>
                  <a:lnTo>
                    <a:pt x="15897" y="3407"/>
                  </a:lnTo>
                  <a:lnTo>
                    <a:pt x="15824" y="3187"/>
                  </a:lnTo>
                  <a:lnTo>
                    <a:pt x="15742" y="2970"/>
                  </a:lnTo>
                  <a:lnTo>
                    <a:pt x="15648" y="2756"/>
                  </a:lnTo>
                  <a:lnTo>
                    <a:pt x="15544" y="2546"/>
                  </a:lnTo>
                  <a:lnTo>
                    <a:pt x="15428" y="2340"/>
                  </a:lnTo>
                  <a:lnTo>
                    <a:pt x="15301" y="2140"/>
                  </a:lnTo>
                  <a:lnTo>
                    <a:pt x="15164" y="1943"/>
                  </a:lnTo>
                  <a:lnTo>
                    <a:pt x="15015" y="1753"/>
                  </a:lnTo>
                  <a:lnTo>
                    <a:pt x="14855" y="1569"/>
                  </a:lnTo>
                  <a:lnTo>
                    <a:pt x="14684" y="13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75" name="í$1íďe">
              <a:extLst>
                <a:ext uri="{FF2B5EF4-FFF2-40B4-BE49-F238E27FC236}">
                  <a16:creationId xmlns:a16="http://schemas.microsoft.com/office/drawing/2014/main" id="{F0A423F4-2814-4585-8758-9F950B536115}"/>
                </a:ext>
              </a:extLst>
            </p:cNvPr>
            <p:cNvSpPr/>
            <p:nvPr/>
          </p:nvSpPr>
          <p:spPr bwMode="auto">
            <a:xfrm>
              <a:off x="1876812" y="1776455"/>
              <a:ext cx="60376" cy="61589"/>
            </a:xfrm>
            <a:custGeom>
              <a:avLst/>
              <a:gdLst>
                <a:gd name="T0" fmla="*/ 2026 w 2389"/>
                <a:gd name="T1" fmla="*/ 3 h 2391"/>
                <a:gd name="T2" fmla="*/ 1602 w 2389"/>
                <a:gd name="T3" fmla="*/ 69 h 2391"/>
                <a:gd name="T4" fmla="*/ 1210 w 2389"/>
                <a:gd name="T5" fmla="*/ 213 h 2391"/>
                <a:gd name="T6" fmla="*/ 858 w 2389"/>
                <a:gd name="T7" fmla="*/ 426 h 2391"/>
                <a:gd name="T8" fmla="*/ 554 w 2389"/>
                <a:gd name="T9" fmla="*/ 702 h 2391"/>
                <a:gd name="T10" fmla="*/ 309 w 2389"/>
                <a:gd name="T11" fmla="*/ 1031 h 2391"/>
                <a:gd name="T12" fmla="*/ 130 w 2389"/>
                <a:gd name="T13" fmla="*/ 1405 h 2391"/>
                <a:gd name="T14" fmla="*/ 24 w 2389"/>
                <a:gd name="T15" fmla="*/ 1814 h 2391"/>
                <a:gd name="T16" fmla="*/ 0 w 2389"/>
                <a:gd name="T17" fmla="*/ 2153 h 2391"/>
                <a:gd name="T18" fmla="*/ 8 w 2389"/>
                <a:gd name="T19" fmla="*/ 2203 h 2391"/>
                <a:gd name="T20" fmla="*/ 25 w 2389"/>
                <a:gd name="T21" fmla="*/ 2249 h 2391"/>
                <a:gd name="T22" fmla="*/ 50 w 2389"/>
                <a:gd name="T23" fmla="*/ 2291 h 2391"/>
                <a:gd name="T24" fmla="*/ 82 w 2389"/>
                <a:gd name="T25" fmla="*/ 2327 h 2391"/>
                <a:gd name="T26" fmla="*/ 121 w 2389"/>
                <a:gd name="T27" fmla="*/ 2355 h 2391"/>
                <a:gd name="T28" fmla="*/ 165 w 2389"/>
                <a:gd name="T29" fmla="*/ 2376 h 2391"/>
                <a:gd name="T30" fmla="*/ 213 w 2389"/>
                <a:gd name="T31" fmla="*/ 2389 h 2391"/>
                <a:gd name="T32" fmla="*/ 264 w 2389"/>
                <a:gd name="T33" fmla="*/ 2391 h 2391"/>
                <a:gd name="T34" fmla="*/ 314 w 2389"/>
                <a:gd name="T35" fmla="*/ 2384 h 2391"/>
                <a:gd name="T36" fmla="*/ 360 w 2389"/>
                <a:gd name="T37" fmla="*/ 2367 h 2391"/>
                <a:gd name="T38" fmla="*/ 402 w 2389"/>
                <a:gd name="T39" fmla="*/ 2342 h 2391"/>
                <a:gd name="T40" fmla="*/ 437 w 2389"/>
                <a:gd name="T41" fmla="*/ 2310 h 2391"/>
                <a:gd name="T42" fmla="*/ 467 w 2389"/>
                <a:gd name="T43" fmla="*/ 2271 h 2391"/>
                <a:gd name="T44" fmla="*/ 488 w 2389"/>
                <a:gd name="T45" fmla="*/ 2226 h 2391"/>
                <a:gd name="T46" fmla="*/ 500 w 2389"/>
                <a:gd name="T47" fmla="*/ 2178 h 2391"/>
                <a:gd name="T48" fmla="*/ 503 w 2389"/>
                <a:gd name="T49" fmla="*/ 2140 h 2391"/>
                <a:gd name="T50" fmla="*/ 536 w 2389"/>
                <a:gd name="T51" fmla="*/ 1810 h 2391"/>
                <a:gd name="T52" fmla="*/ 632 w 2389"/>
                <a:gd name="T53" fmla="*/ 1503 h 2391"/>
                <a:gd name="T54" fmla="*/ 782 w 2389"/>
                <a:gd name="T55" fmla="*/ 1225 h 2391"/>
                <a:gd name="T56" fmla="*/ 982 w 2389"/>
                <a:gd name="T57" fmla="*/ 983 h 2391"/>
                <a:gd name="T58" fmla="*/ 1223 w 2389"/>
                <a:gd name="T59" fmla="*/ 783 h 2391"/>
                <a:gd name="T60" fmla="*/ 1501 w 2389"/>
                <a:gd name="T61" fmla="*/ 632 h 2391"/>
                <a:gd name="T62" fmla="*/ 1808 w 2389"/>
                <a:gd name="T63" fmla="*/ 537 h 2391"/>
                <a:gd name="T64" fmla="*/ 2137 w 2389"/>
                <a:gd name="T65" fmla="*/ 504 h 2391"/>
                <a:gd name="T66" fmla="*/ 2176 w 2389"/>
                <a:gd name="T67" fmla="*/ 501 h 2391"/>
                <a:gd name="T68" fmla="*/ 2224 w 2389"/>
                <a:gd name="T69" fmla="*/ 488 h 2391"/>
                <a:gd name="T70" fmla="*/ 2268 w 2389"/>
                <a:gd name="T71" fmla="*/ 467 h 2391"/>
                <a:gd name="T72" fmla="*/ 2306 w 2389"/>
                <a:gd name="T73" fmla="*/ 438 h 2391"/>
                <a:gd name="T74" fmla="*/ 2340 w 2389"/>
                <a:gd name="T75" fmla="*/ 403 h 2391"/>
                <a:gd name="T76" fmla="*/ 2365 w 2389"/>
                <a:gd name="T77" fmla="*/ 362 h 2391"/>
                <a:gd name="T78" fmla="*/ 2381 w 2389"/>
                <a:gd name="T79" fmla="*/ 315 h 2391"/>
                <a:gd name="T80" fmla="*/ 2389 w 2389"/>
                <a:gd name="T81" fmla="*/ 265 h 2391"/>
                <a:gd name="T82" fmla="*/ 2386 w 2389"/>
                <a:gd name="T83" fmla="*/ 214 h 2391"/>
                <a:gd name="T84" fmla="*/ 2374 w 2389"/>
                <a:gd name="T85" fmla="*/ 165 h 2391"/>
                <a:gd name="T86" fmla="*/ 2353 w 2389"/>
                <a:gd name="T87" fmla="*/ 122 h 2391"/>
                <a:gd name="T88" fmla="*/ 2324 w 2389"/>
                <a:gd name="T89" fmla="*/ 83 h 2391"/>
                <a:gd name="T90" fmla="*/ 2288 w 2389"/>
                <a:gd name="T91" fmla="*/ 50 h 2391"/>
                <a:gd name="T92" fmla="*/ 2247 w 2389"/>
                <a:gd name="T93" fmla="*/ 25 h 2391"/>
                <a:gd name="T94" fmla="*/ 2201 w 2389"/>
                <a:gd name="T95" fmla="*/ 8 h 2391"/>
                <a:gd name="T96" fmla="*/ 2151 w 2389"/>
                <a:gd name="T97" fmla="*/ 0 h 2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389" h="2391">
                  <a:moveTo>
                    <a:pt x="2137" y="0"/>
                  </a:moveTo>
                  <a:lnTo>
                    <a:pt x="2136" y="0"/>
                  </a:lnTo>
                  <a:lnTo>
                    <a:pt x="2135" y="1"/>
                  </a:lnTo>
                  <a:lnTo>
                    <a:pt x="2026" y="3"/>
                  </a:lnTo>
                  <a:lnTo>
                    <a:pt x="1917" y="12"/>
                  </a:lnTo>
                  <a:lnTo>
                    <a:pt x="1811" y="25"/>
                  </a:lnTo>
                  <a:lnTo>
                    <a:pt x="1705" y="44"/>
                  </a:lnTo>
                  <a:lnTo>
                    <a:pt x="1602" y="69"/>
                  </a:lnTo>
                  <a:lnTo>
                    <a:pt x="1501" y="97"/>
                  </a:lnTo>
                  <a:lnTo>
                    <a:pt x="1401" y="131"/>
                  </a:lnTo>
                  <a:lnTo>
                    <a:pt x="1305" y="169"/>
                  </a:lnTo>
                  <a:lnTo>
                    <a:pt x="1210" y="213"/>
                  </a:lnTo>
                  <a:lnTo>
                    <a:pt x="1117" y="259"/>
                  </a:lnTo>
                  <a:lnTo>
                    <a:pt x="1028" y="311"/>
                  </a:lnTo>
                  <a:lnTo>
                    <a:pt x="941" y="367"/>
                  </a:lnTo>
                  <a:lnTo>
                    <a:pt x="858" y="426"/>
                  </a:lnTo>
                  <a:lnTo>
                    <a:pt x="777" y="489"/>
                  </a:lnTo>
                  <a:lnTo>
                    <a:pt x="700" y="557"/>
                  </a:lnTo>
                  <a:lnTo>
                    <a:pt x="626" y="627"/>
                  </a:lnTo>
                  <a:lnTo>
                    <a:pt x="554" y="702"/>
                  </a:lnTo>
                  <a:lnTo>
                    <a:pt x="488" y="779"/>
                  </a:lnTo>
                  <a:lnTo>
                    <a:pt x="424" y="861"/>
                  </a:lnTo>
                  <a:lnTo>
                    <a:pt x="365" y="945"/>
                  </a:lnTo>
                  <a:lnTo>
                    <a:pt x="309" y="1031"/>
                  </a:lnTo>
                  <a:lnTo>
                    <a:pt x="257" y="1121"/>
                  </a:lnTo>
                  <a:lnTo>
                    <a:pt x="210" y="1213"/>
                  </a:lnTo>
                  <a:lnTo>
                    <a:pt x="168" y="1308"/>
                  </a:lnTo>
                  <a:lnTo>
                    <a:pt x="130" y="1405"/>
                  </a:lnTo>
                  <a:lnTo>
                    <a:pt x="95" y="1504"/>
                  </a:lnTo>
                  <a:lnTo>
                    <a:pt x="67" y="1606"/>
                  </a:lnTo>
                  <a:lnTo>
                    <a:pt x="43" y="1709"/>
                  </a:lnTo>
                  <a:lnTo>
                    <a:pt x="24" y="1814"/>
                  </a:lnTo>
                  <a:lnTo>
                    <a:pt x="11" y="1921"/>
                  </a:lnTo>
                  <a:lnTo>
                    <a:pt x="3" y="2030"/>
                  </a:lnTo>
                  <a:lnTo>
                    <a:pt x="0" y="2140"/>
                  </a:lnTo>
                  <a:lnTo>
                    <a:pt x="0" y="2153"/>
                  </a:lnTo>
                  <a:lnTo>
                    <a:pt x="1" y="2166"/>
                  </a:lnTo>
                  <a:lnTo>
                    <a:pt x="3" y="2178"/>
                  </a:lnTo>
                  <a:lnTo>
                    <a:pt x="5" y="2191"/>
                  </a:lnTo>
                  <a:lnTo>
                    <a:pt x="8" y="2203"/>
                  </a:lnTo>
                  <a:lnTo>
                    <a:pt x="11" y="2215"/>
                  </a:lnTo>
                  <a:lnTo>
                    <a:pt x="15" y="2226"/>
                  </a:lnTo>
                  <a:lnTo>
                    <a:pt x="20" y="2238"/>
                  </a:lnTo>
                  <a:lnTo>
                    <a:pt x="25" y="2249"/>
                  </a:lnTo>
                  <a:lnTo>
                    <a:pt x="30" y="2261"/>
                  </a:lnTo>
                  <a:lnTo>
                    <a:pt x="36" y="2271"/>
                  </a:lnTo>
                  <a:lnTo>
                    <a:pt x="43" y="2281"/>
                  </a:lnTo>
                  <a:lnTo>
                    <a:pt x="50" y="2291"/>
                  </a:lnTo>
                  <a:lnTo>
                    <a:pt x="57" y="2300"/>
                  </a:lnTo>
                  <a:lnTo>
                    <a:pt x="65" y="2310"/>
                  </a:lnTo>
                  <a:lnTo>
                    <a:pt x="73" y="2318"/>
                  </a:lnTo>
                  <a:lnTo>
                    <a:pt x="82" y="2327"/>
                  </a:lnTo>
                  <a:lnTo>
                    <a:pt x="91" y="2334"/>
                  </a:lnTo>
                  <a:lnTo>
                    <a:pt x="100" y="2342"/>
                  </a:lnTo>
                  <a:lnTo>
                    <a:pt x="110" y="2349"/>
                  </a:lnTo>
                  <a:lnTo>
                    <a:pt x="121" y="2355"/>
                  </a:lnTo>
                  <a:lnTo>
                    <a:pt x="132" y="2361"/>
                  </a:lnTo>
                  <a:lnTo>
                    <a:pt x="143" y="2367"/>
                  </a:lnTo>
                  <a:lnTo>
                    <a:pt x="154" y="2372"/>
                  </a:lnTo>
                  <a:lnTo>
                    <a:pt x="165" y="2376"/>
                  </a:lnTo>
                  <a:lnTo>
                    <a:pt x="177" y="2380"/>
                  </a:lnTo>
                  <a:lnTo>
                    <a:pt x="188" y="2384"/>
                  </a:lnTo>
                  <a:lnTo>
                    <a:pt x="201" y="2386"/>
                  </a:lnTo>
                  <a:lnTo>
                    <a:pt x="213" y="2389"/>
                  </a:lnTo>
                  <a:lnTo>
                    <a:pt x="225" y="2390"/>
                  </a:lnTo>
                  <a:lnTo>
                    <a:pt x="238" y="2391"/>
                  </a:lnTo>
                  <a:lnTo>
                    <a:pt x="251" y="2391"/>
                  </a:lnTo>
                  <a:lnTo>
                    <a:pt x="264" y="2391"/>
                  </a:lnTo>
                  <a:lnTo>
                    <a:pt x="277" y="2390"/>
                  </a:lnTo>
                  <a:lnTo>
                    <a:pt x="290" y="2389"/>
                  </a:lnTo>
                  <a:lnTo>
                    <a:pt x="302" y="2386"/>
                  </a:lnTo>
                  <a:lnTo>
                    <a:pt x="314" y="2384"/>
                  </a:lnTo>
                  <a:lnTo>
                    <a:pt x="326" y="2380"/>
                  </a:lnTo>
                  <a:lnTo>
                    <a:pt x="338" y="2376"/>
                  </a:lnTo>
                  <a:lnTo>
                    <a:pt x="349" y="2372"/>
                  </a:lnTo>
                  <a:lnTo>
                    <a:pt x="360" y="2367"/>
                  </a:lnTo>
                  <a:lnTo>
                    <a:pt x="371" y="2361"/>
                  </a:lnTo>
                  <a:lnTo>
                    <a:pt x="382" y="2355"/>
                  </a:lnTo>
                  <a:lnTo>
                    <a:pt x="392" y="2349"/>
                  </a:lnTo>
                  <a:lnTo>
                    <a:pt x="402" y="2342"/>
                  </a:lnTo>
                  <a:lnTo>
                    <a:pt x="411" y="2334"/>
                  </a:lnTo>
                  <a:lnTo>
                    <a:pt x="420" y="2327"/>
                  </a:lnTo>
                  <a:lnTo>
                    <a:pt x="429" y="2318"/>
                  </a:lnTo>
                  <a:lnTo>
                    <a:pt x="437" y="2310"/>
                  </a:lnTo>
                  <a:lnTo>
                    <a:pt x="445" y="2300"/>
                  </a:lnTo>
                  <a:lnTo>
                    <a:pt x="453" y="2291"/>
                  </a:lnTo>
                  <a:lnTo>
                    <a:pt x="460" y="2281"/>
                  </a:lnTo>
                  <a:lnTo>
                    <a:pt x="467" y="2271"/>
                  </a:lnTo>
                  <a:lnTo>
                    <a:pt x="473" y="2261"/>
                  </a:lnTo>
                  <a:lnTo>
                    <a:pt x="478" y="2249"/>
                  </a:lnTo>
                  <a:lnTo>
                    <a:pt x="483" y="2238"/>
                  </a:lnTo>
                  <a:lnTo>
                    <a:pt x="488" y="2226"/>
                  </a:lnTo>
                  <a:lnTo>
                    <a:pt x="492" y="2215"/>
                  </a:lnTo>
                  <a:lnTo>
                    <a:pt x="495" y="2203"/>
                  </a:lnTo>
                  <a:lnTo>
                    <a:pt x="498" y="2191"/>
                  </a:lnTo>
                  <a:lnTo>
                    <a:pt x="500" y="2178"/>
                  </a:lnTo>
                  <a:lnTo>
                    <a:pt x="502" y="2166"/>
                  </a:lnTo>
                  <a:lnTo>
                    <a:pt x="503" y="2153"/>
                  </a:lnTo>
                  <a:lnTo>
                    <a:pt x="503" y="2140"/>
                  </a:lnTo>
                  <a:lnTo>
                    <a:pt x="503" y="2140"/>
                  </a:lnTo>
                  <a:lnTo>
                    <a:pt x="505" y="2055"/>
                  </a:lnTo>
                  <a:lnTo>
                    <a:pt x="511" y="1973"/>
                  </a:lnTo>
                  <a:lnTo>
                    <a:pt x="522" y="1890"/>
                  </a:lnTo>
                  <a:lnTo>
                    <a:pt x="536" y="1810"/>
                  </a:lnTo>
                  <a:lnTo>
                    <a:pt x="554" y="1731"/>
                  </a:lnTo>
                  <a:lnTo>
                    <a:pt x="576" y="1653"/>
                  </a:lnTo>
                  <a:lnTo>
                    <a:pt x="602" y="1577"/>
                  </a:lnTo>
                  <a:lnTo>
                    <a:pt x="632" y="1503"/>
                  </a:lnTo>
                  <a:lnTo>
                    <a:pt x="664" y="1431"/>
                  </a:lnTo>
                  <a:lnTo>
                    <a:pt x="700" y="1360"/>
                  </a:lnTo>
                  <a:lnTo>
                    <a:pt x="739" y="1292"/>
                  </a:lnTo>
                  <a:lnTo>
                    <a:pt x="782" y="1225"/>
                  </a:lnTo>
                  <a:lnTo>
                    <a:pt x="828" y="1161"/>
                  </a:lnTo>
                  <a:lnTo>
                    <a:pt x="876" y="1100"/>
                  </a:lnTo>
                  <a:lnTo>
                    <a:pt x="927" y="1040"/>
                  </a:lnTo>
                  <a:lnTo>
                    <a:pt x="982" y="983"/>
                  </a:lnTo>
                  <a:lnTo>
                    <a:pt x="1038" y="928"/>
                  </a:lnTo>
                  <a:lnTo>
                    <a:pt x="1097" y="877"/>
                  </a:lnTo>
                  <a:lnTo>
                    <a:pt x="1160" y="829"/>
                  </a:lnTo>
                  <a:lnTo>
                    <a:pt x="1223" y="783"/>
                  </a:lnTo>
                  <a:lnTo>
                    <a:pt x="1289" y="741"/>
                  </a:lnTo>
                  <a:lnTo>
                    <a:pt x="1358" y="701"/>
                  </a:lnTo>
                  <a:lnTo>
                    <a:pt x="1428" y="666"/>
                  </a:lnTo>
                  <a:lnTo>
                    <a:pt x="1501" y="632"/>
                  </a:lnTo>
                  <a:lnTo>
                    <a:pt x="1575" y="603"/>
                  </a:lnTo>
                  <a:lnTo>
                    <a:pt x="1652" y="577"/>
                  </a:lnTo>
                  <a:lnTo>
                    <a:pt x="1729" y="555"/>
                  </a:lnTo>
                  <a:lnTo>
                    <a:pt x="1808" y="537"/>
                  </a:lnTo>
                  <a:lnTo>
                    <a:pt x="1888" y="523"/>
                  </a:lnTo>
                  <a:lnTo>
                    <a:pt x="1970" y="513"/>
                  </a:lnTo>
                  <a:lnTo>
                    <a:pt x="2053" y="506"/>
                  </a:lnTo>
                  <a:lnTo>
                    <a:pt x="2137" y="504"/>
                  </a:lnTo>
                  <a:lnTo>
                    <a:pt x="2137" y="504"/>
                  </a:lnTo>
                  <a:lnTo>
                    <a:pt x="2151" y="504"/>
                  </a:lnTo>
                  <a:lnTo>
                    <a:pt x="2164" y="503"/>
                  </a:lnTo>
                  <a:lnTo>
                    <a:pt x="2176" y="501"/>
                  </a:lnTo>
                  <a:lnTo>
                    <a:pt x="2189" y="499"/>
                  </a:lnTo>
                  <a:lnTo>
                    <a:pt x="2201" y="496"/>
                  </a:lnTo>
                  <a:lnTo>
                    <a:pt x="2213" y="492"/>
                  </a:lnTo>
                  <a:lnTo>
                    <a:pt x="2224" y="488"/>
                  </a:lnTo>
                  <a:lnTo>
                    <a:pt x="2235" y="484"/>
                  </a:lnTo>
                  <a:lnTo>
                    <a:pt x="2247" y="479"/>
                  </a:lnTo>
                  <a:lnTo>
                    <a:pt x="2257" y="473"/>
                  </a:lnTo>
                  <a:lnTo>
                    <a:pt x="2268" y="467"/>
                  </a:lnTo>
                  <a:lnTo>
                    <a:pt x="2278" y="461"/>
                  </a:lnTo>
                  <a:lnTo>
                    <a:pt x="2288" y="454"/>
                  </a:lnTo>
                  <a:lnTo>
                    <a:pt x="2297" y="446"/>
                  </a:lnTo>
                  <a:lnTo>
                    <a:pt x="2306" y="438"/>
                  </a:lnTo>
                  <a:lnTo>
                    <a:pt x="2316" y="430"/>
                  </a:lnTo>
                  <a:lnTo>
                    <a:pt x="2324" y="421"/>
                  </a:lnTo>
                  <a:lnTo>
                    <a:pt x="2332" y="412"/>
                  </a:lnTo>
                  <a:lnTo>
                    <a:pt x="2340" y="403"/>
                  </a:lnTo>
                  <a:lnTo>
                    <a:pt x="2347" y="393"/>
                  </a:lnTo>
                  <a:lnTo>
                    <a:pt x="2353" y="383"/>
                  </a:lnTo>
                  <a:lnTo>
                    <a:pt x="2359" y="372"/>
                  </a:lnTo>
                  <a:lnTo>
                    <a:pt x="2365" y="362"/>
                  </a:lnTo>
                  <a:lnTo>
                    <a:pt x="2370" y="350"/>
                  </a:lnTo>
                  <a:lnTo>
                    <a:pt x="2374" y="338"/>
                  </a:lnTo>
                  <a:lnTo>
                    <a:pt x="2378" y="326"/>
                  </a:lnTo>
                  <a:lnTo>
                    <a:pt x="2381" y="315"/>
                  </a:lnTo>
                  <a:lnTo>
                    <a:pt x="2384" y="303"/>
                  </a:lnTo>
                  <a:lnTo>
                    <a:pt x="2386" y="290"/>
                  </a:lnTo>
                  <a:lnTo>
                    <a:pt x="2388" y="278"/>
                  </a:lnTo>
                  <a:lnTo>
                    <a:pt x="2389" y="265"/>
                  </a:lnTo>
                  <a:lnTo>
                    <a:pt x="2389" y="252"/>
                  </a:lnTo>
                  <a:lnTo>
                    <a:pt x="2389" y="239"/>
                  </a:lnTo>
                  <a:lnTo>
                    <a:pt x="2388" y="227"/>
                  </a:lnTo>
                  <a:lnTo>
                    <a:pt x="2386" y="214"/>
                  </a:lnTo>
                  <a:lnTo>
                    <a:pt x="2384" y="202"/>
                  </a:lnTo>
                  <a:lnTo>
                    <a:pt x="2381" y="189"/>
                  </a:lnTo>
                  <a:lnTo>
                    <a:pt x="2378" y="177"/>
                  </a:lnTo>
                  <a:lnTo>
                    <a:pt x="2374" y="165"/>
                  </a:lnTo>
                  <a:lnTo>
                    <a:pt x="2370" y="154"/>
                  </a:lnTo>
                  <a:lnTo>
                    <a:pt x="2365" y="143"/>
                  </a:lnTo>
                  <a:lnTo>
                    <a:pt x="2359" y="132"/>
                  </a:lnTo>
                  <a:lnTo>
                    <a:pt x="2353" y="122"/>
                  </a:lnTo>
                  <a:lnTo>
                    <a:pt x="2347" y="111"/>
                  </a:lnTo>
                  <a:lnTo>
                    <a:pt x="2340" y="102"/>
                  </a:lnTo>
                  <a:lnTo>
                    <a:pt x="2332" y="92"/>
                  </a:lnTo>
                  <a:lnTo>
                    <a:pt x="2324" y="83"/>
                  </a:lnTo>
                  <a:lnTo>
                    <a:pt x="2316" y="74"/>
                  </a:lnTo>
                  <a:lnTo>
                    <a:pt x="2306" y="66"/>
                  </a:lnTo>
                  <a:lnTo>
                    <a:pt x="2297" y="58"/>
                  </a:lnTo>
                  <a:lnTo>
                    <a:pt x="2288" y="50"/>
                  </a:lnTo>
                  <a:lnTo>
                    <a:pt x="2278" y="43"/>
                  </a:lnTo>
                  <a:lnTo>
                    <a:pt x="2268" y="36"/>
                  </a:lnTo>
                  <a:lnTo>
                    <a:pt x="2257" y="30"/>
                  </a:lnTo>
                  <a:lnTo>
                    <a:pt x="2247" y="25"/>
                  </a:lnTo>
                  <a:lnTo>
                    <a:pt x="2235" y="20"/>
                  </a:lnTo>
                  <a:lnTo>
                    <a:pt x="2224" y="15"/>
                  </a:lnTo>
                  <a:lnTo>
                    <a:pt x="2213" y="11"/>
                  </a:lnTo>
                  <a:lnTo>
                    <a:pt x="2201" y="8"/>
                  </a:lnTo>
                  <a:lnTo>
                    <a:pt x="2189" y="5"/>
                  </a:lnTo>
                  <a:lnTo>
                    <a:pt x="2176" y="3"/>
                  </a:lnTo>
                  <a:lnTo>
                    <a:pt x="2164" y="1"/>
                  </a:lnTo>
                  <a:lnTo>
                    <a:pt x="2151" y="0"/>
                  </a:lnTo>
                  <a:lnTo>
                    <a:pt x="213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76" name="ï$1íḋe">
              <a:extLst>
                <a:ext uri="{FF2B5EF4-FFF2-40B4-BE49-F238E27FC236}">
                  <a16:creationId xmlns:a16="http://schemas.microsoft.com/office/drawing/2014/main" id="{682E43D4-53E0-4F89-9A58-C6463E343F4B}"/>
                </a:ext>
              </a:extLst>
            </p:cNvPr>
            <p:cNvSpPr/>
            <p:nvPr/>
          </p:nvSpPr>
          <p:spPr bwMode="auto">
            <a:xfrm>
              <a:off x="2022460" y="1515372"/>
              <a:ext cx="78763" cy="50669"/>
            </a:xfrm>
            <a:custGeom>
              <a:avLst/>
              <a:gdLst>
                <a:gd name="T0" fmla="*/ 4713 w 5797"/>
                <a:gd name="T1" fmla="*/ 41 h 3756"/>
                <a:gd name="T2" fmla="*/ 3661 w 5797"/>
                <a:gd name="T3" fmla="*/ 216 h 3756"/>
                <a:gd name="T4" fmla="*/ 2695 w 5797"/>
                <a:gd name="T5" fmla="*/ 516 h 3756"/>
                <a:gd name="T6" fmla="*/ 1839 w 5797"/>
                <a:gd name="T7" fmla="*/ 924 h 3756"/>
                <a:gd name="T8" fmla="*/ 1118 w 5797"/>
                <a:gd name="T9" fmla="*/ 1423 h 3756"/>
                <a:gd name="T10" fmla="*/ 556 w 5797"/>
                <a:gd name="T11" fmla="*/ 2001 h 3756"/>
                <a:gd name="T12" fmla="*/ 178 w 5797"/>
                <a:gd name="T13" fmla="*/ 2641 h 3756"/>
                <a:gd name="T14" fmla="*/ 7 w 5797"/>
                <a:gd name="T15" fmla="*/ 3329 h 3756"/>
                <a:gd name="T16" fmla="*/ 3 w 5797"/>
                <a:gd name="T17" fmla="*/ 3544 h 3756"/>
                <a:gd name="T18" fmla="*/ 15 w 5797"/>
                <a:gd name="T19" fmla="*/ 3592 h 3756"/>
                <a:gd name="T20" fmla="*/ 36 w 5797"/>
                <a:gd name="T21" fmla="*/ 3636 h 3756"/>
                <a:gd name="T22" fmla="*/ 65 w 5797"/>
                <a:gd name="T23" fmla="*/ 3674 h 3756"/>
                <a:gd name="T24" fmla="*/ 100 w 5797"/>
                <a:gd name="T25" fmla="*/ 3706 h 3756"/>
                <a:gd name="T26" fmla="*/ 143 w 5797"/>
                <a:gd name="T27" fmla="*/ 3731 h 3756"/>
                <a:gd name="T28" fmla="*/ 189 w 5797"/>
                <a:gd name="T29" fmla="*/ 3748 h 3756"/>
                <a:gd name="T30" fmla="*/ 239 w 5797"/>
                <a:gd name="T31" fmla="*/ 3756 h 3756"/>
                <a:gd name="T32" fmla="*/ 290 w 5797"/>
                <a:gd name="T33" fmla="*/ 3753 h 3756"/>
                <a:gd name="T34" fmla="*/ 338 w 5797"/>
                <a:gd name="T35" fmla="*/ 3741 h 3756"/>
                <a:gd name="T36" fmla="*/ 383 w 5797"/>
                <a:gd name="T37" fmla="*/ 3720 h 3756"/>
                <a:gd name="T38" fmla="*/ 421 w 5797"/>
                <a:gd name="T39" fmla="*/ 3691 h 3756"/>
                <a:gd name="T40" fmla="*/ 453 w 5797"/>
                <a:gd name="T41" fmla="*/ 3655 h 3756"/>
                <a:gd name="T42" fmla="*/ 479 w 5797"/>
                <a:gd name="T43" fmla="*/ 3614 h 3756"/>
                <a:gd name="T44" fmla="*/ 496 w 5797"/>
                <a:gd name="T45" fmla="*/ 3568 h 3756"/>
                <a:gd name="T46" fmla="*/ 504 w 5797"/>
                <a:gd name="T47" fmla="*/ 3519 h 3756"/>
                <a:gd name="T48" fmla="*/ 564 w 5797"/>
                <a:gd name="T49" fmla="*/ 3062 h 3756"/>
                <a:gd name="T50" fmla="*/ 820 w 5797"/>
                <a:gd name="T51" fmla="*/ 2496 h 3756"/>
                <a:gd name="T52" fmla="*/ 1257 w 5797"/>
                <a:gd name="T53" fmla="*/ 1973 h 3756"/>
                <a:gd name="T54" fmla="*/ 1848 w 5797"/>
                <a:gd name="T55" fmla="*/ 1509 h 3756"/>
                <a:gd name="T56" fmla="*/ 2572 w 5797"/>
                <a:gd name="T57" fmla="*/ 1115 h 3756"/>
                <a:gd name="T58" fmla="*/ 3402 w 5797"/>
                <a:gd name="T59" fmla="*/ 807 h 3756"/>
                <a:gd name="T60" fmla="*/ 4318 w 5797"/>
                <a:gd name="T61" fmla="*/ 599 h 3756"/>
                <a:gd name="T62" fmla="*/ 5294 w 5797"/>
                <a:gd name="T63" fmla="*/ 505 h 3756"/>
                <a:gd name="T64" fmla="*/ 5583 w 5797"/>
                <a:gd name="T65" fmla="*/ 498 h 3756"/>
                <a:gd name="T66" fmla="*/ 5632 w 5797"/>
                <a:gd name="T67" fmla="*/ 486 h 3756"/>
                <a:gd name="T68" fmla="*/ 5676 w 5797"/>
                <a:gd name="T69" fmla="*/ 465 h 3756"/>
                <a:gd name="T70" fmla="*/ 5714 w 5797"/>
                <a:gd name="T71" fmla="*/ 436 h 3756"/>
                <a:gd name="T72" fmla="*/ 5747 w 5797"/>
                <a:gd name="T73" fmla="*/ 401 h 3756"/>
                <a:gd name="T74" fmla="*/ 5772 w 5797"/>
                <a:gd name="T75" fmla="*/ 359 h 3756"/>
                <a:gd name="T76" fmla="*/ 5789 w 5797"/>
                <a:gd name="T77" fmla="*/ 313 h 3756"/>
                <a:gd name="T78" fmla="*/ 5797 w 5797"/>
                <a:gd name="T79" fmla="*/ 264 h 3756"/>
                <a:gd name="T80" fmla="*/ 5794 w 5797"/>
                <a:gd name="T81" fmla="*/ 212 h 3756"/>
                <a:gd name="T82" fmla="*/ 5782 w 5797"/>
                <a:gd name="T83" fmla="*/ 164 h 3756"/>
                <a:gd name="T84" fmla="*/ 5761 w 5797"/>
                <a:gd name="T85" fmla="*/ 120 h 3756"/>
                <a:gd name="T86" fmla="*/ 5732 w 5797"/>
                <a:gd name="T87" fmla="*/ 82 h 3756"/>
                <a:gd name="T88" fmla="*/ 5696 w 5797"/>
                <a:gd name="T89" fmla="*/ 50 h 3756"/>
                <a:gd name="T90" fmla="*/ 5654 w 5797"/>
                <a:gd name="T91" fmla="*/ 25 h 3756"/>
                <a:gd name="T92" fmla="*/ 5609 w 5797"/>
                <a:gd name="T93" fmla="*/ 8 h 3756"/>
                <a:gd name="T94" fmla="*/ 5558 w 5797"/>
                <a:gd name="T95" fmla="*/ 0 h 3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797" h="3756">
                  <a:moveTo>
                    <a:pt x="5545" y="0"/>
                  </a:moveTo>
                  <a:lnTo>
                    <a:pt x="5265" y="5"/>
                  </a:lnTo>
                  <a:lnTo>
                    <a:pt x="4987" y="18"/>
                  </a:lnTo>
                  <a:lnTo>
                    <a:pt x="4713" y="41"/>
                  </a:lnTo>
                  <a:lnTo>
                    <a:pt x="4444" y="73"/>
                  </a:lnTo>
                  <a:lnTo>
                    <a:pt x="4178" y="112"/>
                  </a:lnTo>
                  <a:lnTo>
                    <a:pt x="3917" y="160"/>
                  </a:lnTo>
                  <a:lnTo>
                    <a:pt x="3661" y="216"/>
                  </a:lnTo>
                  <a:lnTo>
                    <a:pt x="3411" y="281"/>
                  </a:lnTo>
                  <a:lnTo>
                    <a:pt x="3166" y="352"/>
                  </a:lnTo>
                  <a:lnTo>
                    <a:pt x="2927" y="431"/>
                  </a:lnTo>
                  <a:lnTo>
                    <a:pt x="2695" y="516"/>
                  </a:lnTo>
                  <a:lnTo>
                    <a:pt x="2470" y="608"/>
                  </a:lnTo>
                  <a:lnTo>
                    <a:pt x="2251" y="707"/>
                  </a:lnTo>
                  <a:lnTo>
                    <a:pt x="2041" y="812"/>
                  </a:lnTo>
                  <a:lnTo>
                    <a:pt x="1839" y="924"/>
                  </a:lnTo>
                  <a:lnTo>
                    <a:pt x="1645" y="1041"/>
                  </a:lnTo>
                  <a:lnTo>
                    <a:pt x="1460" y="1163"/>
                  </a:lnTo>
                  <a:lnTo>
                    <a:pt x="1284" y="1291"/>
                  </a:lnTo>
                  <a:lnTo>
                    <a:pt x="1118" y="1423"/>
                  </a:lnTo>
                  <a:lnTo>
                    <a:pt x="961" y="1562"/>
                  </a:lnTo>
                  <a:lnTo>
                    <a:pt x="815" y="1704"/>
                  </a:lnTo>
                  <a:lnTo>
                    <a:pt x="680" y="1851"/>
                  </a:lnTo>
                  <a:lnTo>
                    <a:pt x="556" y="2001"/>
                  </a:lnTo>
                  <a:lnTo>
                    <a:pt x="443" y="2157"/>
                  </a:lnTo>
                  <a:lnTo>
                    <a:pt x="342" y="2315"/>
                  </a:lnTo>
                  <a:lnTo>
                    <a:pt x="254" y="2477"/>
                  </a:lnTo>
                  <a:lnTo>
                    <a:pt x="178" y="2641"/>
                  </a:lnTo>
                  <a:lnTo>
                    <a:pt x="115" y="2810"/>
                  </a:lnTo>
                  <a:lnTo>
                    <a:pt x="65" y="2980"/>
                  </a:lnTo>
                  <a:lnTo>
                    <a:pt x="29" y="3153"/>
                  </a:lnTo>
                  <a:lnTo>
                    <a:pt x="7" y="3329"/>
                  </a:lnTo>
                  <a:lnTo>
                    <a:pt x="0" y="3506"/>
                  </a:lnTo>
                  <a:lnTo>
                    <a:pt x="0" y="3519"/>
                  </a:lnTo>
                  <a:lnTo>
                    <a:pt x="1" y="3531"/>
                  </a:lnTo>
                  <a:lnTo>
                    <a:pt x="3" y="3544"/>
                  </a:lnTo>
                  <a:lnTo>
                    <a:pt x="5" y="3556"/>
                  </a:lnTo>
                  <a:lnTo>
                    <a:pt x="8" y="3568"/>
                  </a:lnTo>
                  <a:lnTo>
                    <a:pt x="11" y="3580"/>
                  </a:lnTo>
                  <a:lnTo>
                    <a:pt x="15" y="3592"/>
                  </a:lnTo>
                  <a:lnTo>
                    <a:pt x="20" y="3603"/>
                  </a:lnTo>
                  <a:lnTo>
                    <a:pt x="25" y="3614"/>
                  </a:lnTo>
                  <a:lnTo>
                    <a:pt x="30" y="3625"/>
                  </a:lnTo>
                  <a:lnTo>
                    <a:pt x="36" y="3636"/>
                  </a:lnTo>
                  <a:lnTo>
                    <a:pt x="43" y="3646"/>
                  </a:lnTo>
                  <a:lnTo>
                    <a:pt x="50" y="3655"/>
                  </a:lnTo>
                  <a:lnTo>
                    <a:pt x="57" y="3665"/>
                  </a:lnTo>
                  <a:lnTo>
                    <a:pt x="65" y="3674"/>
                  </a:lnTo>
                  <a:lnTo>
                    <a:pt x="73" y="3683"/>
                  </a:lnTo>
                  <a:lnTo>
                    <a:pt x="82" y="3691"/>
                  </a:lnTo>
                  <a:lnTo>
                    <a:pt x="91" y="3699"/>
                  </a:lnTo>
                  <a:lnTo>
                    <a:pt x="100" y="3706"/>
                  </a:lnTo>
                  <a:lnTo>
                    <a:pt x="111" y="3713"/>
                  </a:lnTo>
                  <a:lnTo>
                    <a:pt x="121" y="3720"/>
                  </a:lnTo>
                  <a:lnTo>
                    <a:pt x="132" y="3726"/>
                  </a:lnTo>
                  <a:lnTo>
                    <a:pt x="143" y="3731"/>
                  </a:lnTo>
                  <a:lnTo>
                    <a:pt x="154" y="3736"/>
                  </a:lnTo>
                  <a:lnTo>
                    <a:pt x="165" y="3741"/>
                  </a:lnTo>
                  <a:lnTo>
                    <a:pt x="177" y="3745"/>
                  </a:lnTo>
                  <a:lnTo>
                    <a:pt x="189" y="3748"/>
                  </a:lnTo>
                  <a:lnTo>
                    <a:pt x="201" y="3751"/>
                  </a:lnTo>
                  <a:lnTo>
                    <a:pt x="213" y="3753"/>
                  </a:lnTo>
                  <a:lnTo>
                    <a:pt x="226" y="3755"/>
                  </a:lnTo>
                  <a:lnTo>
                    <a:pt x="239" y="3756"/>
                  </a:lnTo>
                  <a:lnTo>
                    <a:pt x="252" y="3756"/>
                  </a:lnTo>
                  <a:lnTo>
                    <a:pt x="265" y="3756"/>
                  </a:lnTo>
                  <a:lnTo>
                    <a:pt x="278" y="3755"/>
                  </a:lnTo>
                  <a:lnTo>
                    <a:pt x="290" y="3753"/>
                  </a:lnTo>
                  <a:lnTo>
                    <a:pt x="302" y="3751"/>
                  </a:lnTo>
                  <a:lnTo>
                    <a:pt x="315" y="3748"/>
                  </a:lnTo>
                  <a:lnTo>
                    <a:pt x="326" y="3745"/>
                  </a:lnTo>
                  <a:lnTo>
                    <a:pt x="338" y="3741"/>
                  </a:lnTo>
                  <a:lnTo>
                    <a:pt x="349" y="3736"/>
                  </a:lnTo>
                  <a:lnTo>
                    <a:pt x="361" y="3731"/>
                  </a:lnTo>
                  <a:lnTo>
                    <a:pt x="372" y="3726"/>
                  </a:lnTo>
                  <a:lnTo>
                    <a:pt x="383" y="3720"/>
                  </a:lnTo>
                  <a:lnTo>
                    <a:pt x="393" y="3713"/>
                  </a:lnTo>
                  <a:lnTo>
                    <a:pt x="403" y="3706"/>
                  </a:lnTo>
                  <a:lnTo>
                    <a:pt x="412" y="3699"/>
                  </a:lnTo>
                  <a:lnTo>
                    <a:pt x="421" y="3691"/>
                  </a:lnTo>
                  <a:lnTo>
                    <a:pt x="430" y="3683"/>
                  </a:lnTo>
                  <a:lnTo>
                    <a:pt x="438" y="3674"/>
                  </a:lnTo>
                  <a:lnTo>
                    <a:pt x="446" y="3665"/>
                  </a:lnTo>
                  <a:lnTo>
                    <a:pt x="453" y="3655"/>
                  </a:lnTo>
                  <a:lnTo>
                    <a:pt x="460" y="3646"/>
                  </a:lnTo>
                  <a:lnTo>
                    <a:pt x="467" y="3636"/>
                  </a:lnTo>
                  <a:lnTo>
                    <a:pt x="474" y="3625"/>
                  </a:lnTo>
                  <a:lnTo>
                    <a:pt x="479" y="3614"/>
                  </a:lnTo>
                  <a:lnTo>
                    <a:pt x="484" y="3603"/>
                  </a:lnTo>
                  <a:lnTo>
                    <a:pt x="489" y="3592"/>
                  </a:lnTo>
                  <a:lnTo>
                    <a:pt x="493" y="3580"/>
                  </a:lnTo>
                  <a:lnTo>
                    <a:pt x="496" y="3568"/>
                  </a:lnTo>
                  <a:lnTo>
                    <a:pt x="499" y="3556"/>
                  </a:lnTo>
                  <a:lnTo>
                    <a:pt x="501" y="3544"/>
                  </a:lnTo>
                  <a:lnTo>
                    <a:pt x="503" y="3531"/>
                  </a:lnTo>
                  <a:lnTo>
                    <a:pt x="504" y="3519"/>
                  </a:lnTo>
                  <a:lnTo>
                    <a:pt x="504" y="3506"/>
                  </a:lnTo>
                  <a:lnTo>
                    <a:pt x="511" y="3357"/>
                  </a:lnTo>
                  <a:lnTo>
                    <a:pt x="531" y="3208"/>
                  </a:lnTo>
                  <a:lnTo>
                    <a:pt x="564" y="3062"/>
                  </a:lnTo>
                  <a:lnTo>
                    <a:pt x="611" y="2917"/>
                  </a:lnTo>
                  <a:lnTo>
                    <a:pt x="669" y="2775"/>
                  </a:lnTo>
                  <a:lnTo>
                    <a:pt x="739" y="2634"/>
                  </a:lnTo>
                  <a:lnTo>
                    <a:pt x="820" y="2496"/>
                  </a:lnTo>
                  <a:lnTo>
                    <a:pt x="914" y="2361"/>
                  </a:lnTo>
                  <a:lnTo>
                    <a:pt x="1018" y="2229"/>
                  </a:lnTo>
                  <a:lnTo>
                    <a:pt x="1132" y="2100"/>
                  </a:lnTo>
                  <a:lnTo>
                    <a:pt x="1257" y="1973"/>
                  </a:lnTo>
                  <a:lnTo>
                    <a:pt x="1391" y="1851"/>
                  </a:lnTo>
                  <a:lnTo>
                    <a:pt x="1534" y="1733"/>
                  </a:lnTo>
                  <a:lnTo>
                    <a:pt x="1686" y="1619"/>
                  </a:lnTo>
                  <a:lnTo>
                    <a:pt x="1848" y="1509"/>
                  </a:lnTo>
                  <a:lnTo>
                    <a:pt x="2017" y="1403"/>
                  </a:lnTo>
                  <a:lnTo>
                    <a:pt x="2195" y="1302"/>
                  </a:lnTo>
                  <a:lnTo>
                    <a:pt x="2379" y="1206"/>
                  </a:lnTo>
                  <a:lnTo>
                    <a:pt x="2572" y="1115"/>
                  </a:lnTo>
                  <a:lnTo>
                    <a:pt x="2769" y="1030"/>
                  </a:lnTo>
                  <a:lnTo>
                    <a:pt x="2975" y="950"/>
                  </a:lnTo>
                  <a:lnTo>
                    <a:pt x="3186" y="876"/>
                  </a:lnTo>
                  <a:lnTo>
                    <a:pt x="3402" y="807"/>
                  </a:lnTo>
                  <a:lnTo>
                    <a:pt x="3624" y="745"/>
                  </a:lnTo>
                  <a:lnTo>
                    <a:pt x="3851" y="690"/>
                  </a:lnTo>
                  <a:lnTo>
                    <a:pt x="4083" y="641"/>
                  </a:lnTo>
                  <a:lnTo>
                    <a:pt x="4318" y="599"/>
                  </a:lnTo>
                  <a:lnTo>
                    <a:pt x="4557" y="564"/>
                  </a:lnTo>
                  <a:lnTo>
                    <a:pt x="4800" y="537"/>
                  </a:lnTo>
                  <a:lnTo>
                    <a:pt x="5046" y="517"/>
                  </a:lnTo>
                  <a:lnTo>
                    <a:pt x="5294" y="505"/>
                  </a:lnTo>
                  <a:lnTo>
                    <a:pt x="5545" y="501"/>
                  </a:lnTo>
                  <a:lnTo>
                    <a:pt x="5558" y="501"/>
                  </a:lnTo>
                  <a:lnTo>
                    <a:pt x="5571" y="500"/>
                  </a:lnTo>
                  <a:lnTo>
                    <a:pt x="5583" y="498"/>
                  </a:lnTo>
                  <a:lnTo>
                    <a:pt x="5595" y="496"/>
                  </a:lnTo>
                  <a:lnTo>
                    <a:pt x="5609" y="493"/>
                  </a:lnTo>
                  <a:lnTo>
                    <a:pt x="5620" y="490"/>
                  </a:lnTo>
                  <a:lnTo>
                    <a:pt x="5632" y="486"/>
                  </a:lnTo>
                  <a:lnTo>
                    <a:pt x="5643" y="481"/>
                  </a:lnTo>
                  <a:lnTo>
                    <a:pt x="5654" y="476"/>
                  </a:lnTo>
                  <a:lnTo>
                    <a:pt x="5665" y="471"/>
                  </a:lnTo>
                  <a:lnTo>
                    <a:pt x="5676" y="465"/>
                  </a:lnTo>
                  <a:lnTo>
                    <a:pt x="5686" y="458"/>
                  </a:lnTo>
                  <a:lnTo>
                    <a:pt x="5696" y="451"/>
                  </a:lnTo>
                  <a:lnTo>
                    <a:pt x="5705" y="444"/>
                  </a:lnTo>
                  <a:lnTo>
                    <a:pt x="5714" y="436"/>
                  </a:lnTo>
                  <a:lnTo>
                    <a:pt x="5723" y="428"/>
                  </a:lnTo>
                  <a:lnTo>
                    <a:pt x="5732" y="419"/>
                  </a:lnTo>
                  <a:lnTo>
                    <a:pt x="5740" y="410"/>
                  </a:lnTo>
                  <a:lnTo>
                    <a:pt x="5747" y="401"/>
                  </a:lnTo>
                  <a:lnTo>
                    <a:pt x="5754" y="391"/>
                  </a:lnTo>
                  <a:lnTo>
                    <a:pt x="5761" y="381"/>
                  </a:lnTo>
                  <a:lnTo>
                    <a:pt x="5767" y="370"/>
                  </a:lnTo>
                  <a:lnTo>
                    <a:pt x="5772" y="359"/>
                  </a:lnTo>
                  <a:lnTo>
                    <a:pt x="5777" y="348"/>
                  </a:lnTo>
                  <a:lnTo>
                    <a:pt x="5782" y="337"/>
                  </a:lnTo>
                  <a:lnTo>
                    <a:pt x="5786" y="325"/>
                  </a:lnTo>
                  <a:lnTo>
                    <a:pt x="5789" y="313"/>
                  </a:lnTo>
                  <a:lnTo>
                    <a:pt x="5792" y="301"/>
                  </a:lnTo>
                  <a:lnTo>
                    <a:pt x="5794" y="289"/>
                  </a:lnTo>
                  <a:lnTo>
                    <a:pt x="5796" y="277"/>
                  </a:lnTo>
                  <a:lnTo>
                    <a:pt x="5797" y="264"/>
                  </a:lnTo>
                  <a:lnTo>
                    <a:pt x="5797" y="251"/>
                  </a:lnTo>
                  <a:lnTo>
                    <a:pt x="5797" y="237"/>
                  </a:lnTo>
                  <a:lnTo>
                    <a:pt x="5796" y="225"/>
                  </a:lnTo>
                  <a:lnTo>
                    <a:pt x="5794" y="212"/>
                  </a:lnTo>
                  <a:lnTo>
                    <a:pt x="5792" y="200"/>
                  </a:lnTo>
                  <a:lnTo>
                    <a:pt x="5789" y="188"/>
                  </a:lnTo>
                  <a:lnTo>
                    <a:pt x="5786" y="176"/>
                  </a:lnTo>
                  <a:lnTo>
                    <a:pt x="5782" y="164"/>
                  </a:lnTo>
                  <a:lnTo>
                    <a:pt x="5777" y="153"/>
                  </a:lnTo>
                  <a:lnTo>
                    <a:pt x="5772" y="142"/>
                  </a:lnTo>
                  <a:lnTo>
                    <a:pt x="5767" y="131"/>
                  </a:lnTo>
                  <a:lnTo>
                    <a:pt x="5761" y="120"/>
                  </a:lnTo>
                  <a:lnTo>
                    <a:pt x="5754" y="110"/>
                  </a:lnTo>
                  <a:lnTo>
                    <a:pt x="5747" y="100"/>
                  </a:lnTo>
                  <a:lnTo>
                    <a:pt x="5740" y="91"/>
                  </a:lnTo>
                  <a:lnTo>
                    <a:pt x="5732" y="82"/>
                  </a:lnTo>
                  <a:lnTo>
                    <a:pt x="5723" y="73"/>
                  </a:lnTo>
                  <a:lnTo>
                    <a:pt x="5714" y="65"/>
                  </a:lnTo>
                  <a:lnTo>
                    <a:pt x="5705" y="57"/>
                  </a:lnTo>
                  <a:lnTo>
                    <a:pt x="5696" y="50"/>
                  </a:lnTo>
                  <a:lnTo>
                    <a:pt x="5686" y="43"/>
                  </a:lnTo>
                  <a:lnTo>
                    <a:pt x="5676" y="36"/>
                  </a:lnTo>
                  <a:lnTo>
                    <a:pt x="5665" y="30"/>
                  </a:lnTo>
                  <a:lnTo>
                    <a:pt x="5654" y="25"/>
                  </a:lnTo>
                  <a:lnTo>
                    <a:pt x="5643" y="20"/>
                  </a:lnTo>
                  <a:lnTo>
                    <a:pt x="5632" y="15"/>
                  </a:lnTo>
                  <a:lnTo>
                    <a:pt x="5620" y="11"/>
                  </a:lnTo>
                  <a:lnTo>
                    <a:pt x="5609" y="8"/>
                  </a:lnTo>
                  <a:lnTo>
                    <a:pt x="5595" y="5"/>
                  </a:lnTo>
                  <a:lnTo>
                    <a:pt x="5583" y="3"/>
                  </a:lnTo>
                  <a:lnTo>
                    <a:pt x="5571" y="1"/>
                  </a:lnTo>
                  <a:lnTo>
                    <a:pt x="5558" y="0"/>
                  </a:lnTo>
                  <a:lnTo>
                    <a:pt x="55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77" name="îŝḷïḋé">
              <a:extLst>
                <a:ext uri="{FF2B5EF4-FFF2-40B4-BE49-F238E27FC236}">
                  <a16:creationId xmlns:a16="http://schemas.microsoft.com/office/drawing/2014/main" id="{61491CAA-8B0A-498E-A6FD-5501DFF9BF0D}"/>
                </a:ext>
              </a:extLst>
            </p:cNvPr>
            <p:cNvSpPr/>
            <p:nvPr/>
          </p:nvSpPr>
          <p:spPr bwMode="auto">
            <a:xfrm>
              <a:off x="1988346" y="1481258"/>
              <a:ext cx="218729" cy="190134"/>
            </a:xfrm>
            <a:custGeom>
              <a:avLst/>
              <a:gdLst>
                <a:gd name="T0" fmla="*/ 7365 w 16132"/>
                <a:gd name="T1" fmla="*/ 10992 h 14023"/>
                <a:gd name="T2" fmla="*/ 6620 w 16132"/>
                <a:gd name="T3" fmla="*/ 10910 h 14023"/>
                <a:gd name="T4" fmla="*/ 6344 w 16132"/>
                <a:gd name="T5" fmla="*/ 10917 h 14023"/>
                <a:gd name="T6" fmla="*/ 6106 w 16132"/>
                <a:gd name="T7" fmla="*/ 10988 h 14023"/>
                <a:gd name="T8" fmla="*/ 5892 w 16132"/>
                <a:gd name="T9" fmla="*/ 11114 h 14023"/>
                <a:gd name="T10" fmla="*/ 5710 w 16132"/>
                <a:gd name="T11" fmla="*/ 11296 h 14023"/>
                <a:gd name="T12" fmla="*/ 5336 w 16132"/>
                <a:gd name="T13" fmla="*/ 11674 h 14023"/>
                <a:gd name="T14" fmla="*/ 4873 w 16132"/>
                <a:gd name="T15" fmla="*/ 12065 h 14023"/>
                <a:gd name="T16" fmla="*/ 4310 w 16132"/>
                <a:gd name="T17" fmla="*/ 12459 h 14023"/>
                <a:gd name="T18" fmla="*/ 4388 w 16132"/>
                <a:gd name="T19" fmla="*/ 11971 h 14023"/>
                <a:gd name="T20" fmla="*/ 4488 w 16132"/>
                <a:gd name="T21" fmla="*/ 11553 h 14023"/>
                <a:gd name="T22" fmla="*/ 4535 w 16132"/>
                <a:gd name="T23" fmla="*/ 11121 h 14023"/>
                <a:gd name="T24" fmla="*/ 4531 w 16132"/>
                <a:gd name="T25" fmla="*/ 10842 h 14023"/>
                <a:gd name="T26" fmla="*/ 4442 w 16132"/>
                <a:gd name="T27" fmla="*/ 10547 h 14023"/>
                <a:gd name="T28" fmla="*/ 4269 w 16132"/>
                <a:gd name="T29" fmla="*/ 10296 h 14023"/>
                <a:gd name="T30" fmla="*/ 4023 w 16132"/>
                <a:gd name="T31" fmla="*/ 10106 h 14023"/>
                <a:gd name="T32" fmla="*/ 2737 w 16132"/>
                <a:gd name="T33" fmla="*/ 9277 h 14023"/>
                <a:gd name="T34" fmla="*/ 1706 w 16132"/>
                <a:gd name="T35" fmla="*/ 8163 h 14023"/>
                <a:gd name="T36" fmla="*/ 1123 w 16132"/>
                <a:gd name="T37" fmla="*/ 6901 h 14023"/>
                <a:gd name="T38" fmla="*/ 1090 w 16132"/>
                <a:gd name="T39" fmla="*/ 5248 h 14023"/>
                <a:gd name="T40" fmla="*/ 2215 w 16132"/>
                <a:gd name="T41" fmla="*/ 3211 h 14023"/>
                <a:gd name="T42" fmla="*/ 4409 w 16132"/>
                <a:gd name="T43" fmla="*/ 1728 h 14023"/>
                <a:gd name="T44" fmla="*/ 7345 w 16132"/>
                <a:gd name="T45" fmla="*/ 1028 h 14023"/>
                <a:gd name="T46" fmla="*/ 10490 w 16132"/>
                <a:gd name="T47" fmla="*/ 1306 h 14023"/>
                <a:gd name="T48" fmla="*/ 13054 w 16132"/>
                <a:gd name="T49" fmla="*/ 2470 h 14023"/>
                <a:gd name="T50" fmla="*/ 14695 w 16132"/>
                <a:gd name="T51" fmla="*/ 4290 h 14023"/>
                <a:gd name="T52" fmla="*/ 15087 w 16132"/>
                <a:gd name="T53" fmla="*/ 6521 h 14023"/>
                <a:gd name="T54" fmla="*/ 14100 w 16132"/>
                <a:gd name="T55" fmla="*/ 8605 h 14023"/>
                <a:gd name="T56" fmla="*/ 12009 w 16132"/>
                <a:gd name="T57" fmla="*/ 10162 h 14023"/>
                <a:gd name="T58" fmla="*/ 9140 w 16132"/>
                <a:gd name="T59" fmla="*/ 10960 h 14023"/>
                <a:gd name="T60" fmla="*/ 6051 w 16132"/>
                <a:gd name="T61" fmla="*/ 189 h 14023"/>
                <a:gd name="T62" fmla="*/ 2935 w 16132"/>
                <a:gd name="T63" fmla="*/ 1372 h 14023"/>
                <a:gd name="T64" fmla="*/ 796 w 16132"/>
                <a:gd name="T65" fmla="*/ 3405 h 14023"/>
                <a:gd name="T66" fmla="*/ 0 w 16132"/>
                <a:gd name="T67" fmla="*/ 6010 h 14023"/>
                <a:gd name="T68" fmla="*/ 318 w 16132"/>
                <a:gd name="T69" fmla="*/ 7685 h 14023"/>
                <a:gd name="T70" fmla="*/ 1211 w 16132"/>
                <a:gd name="T71" fmla="*/ 9177 h 14023"/>
                <a:gd name="T72" fmla="*/ 2590 w 16132"/>
                <a:gd name="T73" fmla="*/ 10421 h 14023"/>
                <a:gd name="T74" fmla="*/ 3529 w 16132"/>
                <a:gd name="T75" fmla="*/ 11018 h 14023"/>
                <a:gd name="T76" fmla="*/ 3392 w 16132"/>
                <a:gd name="T77" fmla="*/ 11780 h 14023"/>
                <a:gd name="T78" fmla="*/ 3075 w 16132"/>
                <a:gd name="T79" fmla="*/ 12505 h 14023"/>
                <a:gd name="T80" fmla="*/ 2616 w 16132"/>
                <a:gd name="T81" fmla="*/ 13290 h 14023"/>
                <a:gd name="T82" fmla="*/ 2522 w 16132"/>
                <a:gd name="T83" fmla="*/ 13545 h 14023"/>
                <a:gd name="T84" fmla="*/ 2556 w 16132"/>
                <a:gd name="T85" fmla="*/ 13746 h 14023"/>
                <a:gd name="T86" fmla="*/ 2670 w 16132"/>
                <a:gd name="T87" fmla="*/ 13905 h 14023"/>
                <a:gd name="T88" fmla="*/ 2841 w 16132"/>
                <a:gd name="T89" fmla="*/ 14003 h 14023"/>
                <a:gd name="T90" fmla="*/ 3078 w 16132"/>
                <a:gd name="T91" fmla="*/ 14016 h 14023"/>
                <a:gd name="T92" fmla="*/ 3690 w 16132"/>
                <a:gd name="T93" fmla="*/ 13870 h 14023"/>
                <a:gd name="T94" fmla="*/ 4910 w 16132"/>
                <a:gd name="T95" fmla="*/ 13267 h 14023"/>
                <a:gd name="T96" fmla="*/ 5885 w 16132"/>
                <a:gd name="T97" fmla="*/ 12528 h 14023"/>
                <a:gd name="T98" fmla="*/ 6475 w 16132"/>
                <a:gd name="T99" fmla="*/ 11947 h 14023"/>
                <a:gd name="T100" fmla="*/ 7278 w 16132"/>
                <a:gd name="T101" fmla="*/ 11990 h 14023"/>
                <a:gd name="T102" fmla="*/ 8481 w 16132"/>
                <a:gd name="T103" fmla="*/ 12012 h 14023"/>
                <a:gd name="T104" fmla="*/ 11910 w 16132"/>
                <a:gd name="T105" fmla="*/ 11295 h 14023"/>
                <a:gd name="T106" fmla="*/ 14530 w 16132"/>
                <a:gd name="T107" fmla="*/ 9606 h 14023"/>
                <a:gd name="T108" fmla="*/ 15968 w 16132"/>
                <a:gd name="T109" fmla="*/ 7221 h 14023"/>
                <a:gd name="T110" fmla="*/ 15878 w 16132"/>
                <a:gd name="T111" fmla="*/ 4508 h 14023"/>
                <a:gd name="T112" fmla="*/ 14290 w 16132"/>
                <a:gd name="T113" fmla="*/ 2188 h 14023"/>
                <a:gd name="T114" fmla="*/ 11563 w 16132"/>
                <a:gd name="T115" fmla="*/ 593 h 14023"/>
                <a:gd name="T116" fmla="*/ 8066 w 16132"/>
                <a:gd name="T117" fmla="*/ 0 h 14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132" h="14023">
                  <a:moveTo>
                    <a:pt x="8066" y="11018"/>
                  </a:moveTo>
                  <a:lnTo>
                    <a:pt x="7979" y="11018"/>
                  </a:lnTo>
                  <a:lnTo>
                    <a:pt x="7893" y="11016"/>
                  </a:lnTo>
                  <a:lnTo>
                    <a:pt x="7805" y="11014"/>
                  </a:lnTo>
                  <a:lnTo>
                    <a:pt x="7717" y="11012"/>
                  </a:lnTo>
                  <a:lnTo>
                    <a:pt x="7629" y="11008"/>
                  </a:lnTo>
                  <a:lnTo>
                    <a:pt x="7542" y="11003"/>
                  </a:lnTo>
                  <a:lnTo>
                    <a:pt x="7454" y="10998"/>
                  </a:lnTo>
                  <a:lnTo>
                    <a:pt x="7365" y="10992"/>
                  </a:lnTo>
                  <a:lnTo>
                    <a:pt x="7278" y="10985"/>
                  </a:lnTo>
                  <a:lnTo>
                    <a:pt x="7189" y="10978"/>
                  </a:lnTo>
                  <a:lnTo>
                    <a:pt x="7100" y="10969"/>
                  </a:lnTo>
                  <a:lnTo>
                    <a:pt x="7011" y="10960"/>
                  </a:lnTo>
                  <a:lnTo>
                    <a:pt x="6923" y="10950"/>
                  </a:lnTo>
                  <a:lnTo>
                    <a:pt x="6834" y="10939"/>
                  </a:lnTo>
                  <a:lnTo>
                    <a:pt x="6745" y="10927"/>
                  </a:lnTo>
                  <a:lnTo>
                    <a:pt x="6656" y="10914"/>
                  </a:lnTo>
                  <a:lnTo>
                    <a:pt x="6620" y="10910"/>
                  </a:lnTo>
                  <a:lnTo>
                    <a:pt x="6583" y="10906"/>
                  </a:lnTo>
                  <a:lnTo>
                    <a:pt x="6547" y="10904"/>
                  </a:lnTo>
                  <a:lnTo>
                    <a:pt x="6510" y="10903"/>
                  </a:lnTo>
                  <a:lnTo>
                    <a:pt x="6482" y="10904"/>
                  </a:lnTo>
                  <a:lnTo>
                    <a:pt x="6455" y="10905"/>
                  </a:lnTo>
                  <a:lnTo>
                    <a:pt x="6427" y="10907"/>
                  </a:lnTo>
                  <a:lnTo>
                    <a:pt x="6398" y="10910"/>
                  </a:lnTo>
                  <a:lnTo>
                    <a:pt x="6371" y="10913"/>
                  </a:lnTo>
                  <a:lnTo>
                    <a:pt x="6344" y="10917"/>
                  </a:lnTo>
                  <a:lnTo>
                    <a:pt x="6317" y="10922"/>
                  </a:lnTo>
                  <a:lnTo>
                    <a:pt x="6289" y="10928"/>
                  </a:lnTo>
                  <a:lnTo>
                    <a:pt x="6262" y="10934"/>
                  </a:lnTo>
                  <a:lnTo>
                    <a:pt x="6236" y="10941"/>
                  </a:lnTo>
                  <a:lnTo>
                    <a:pt x="6210" y="10949"/>
                  </a:lnTo>
                  <a:lnTo>
                    <a:pt x="6183" y="10958"/>
                  </a:lnTo>
                  <a:lnTo>
                    <a:pt x="6157" y="10967"/>
                  </a:lnTo>
                  <a:lnTo>
                    <a:pt x="6131" y="10977"/>
                  </a:lnTo>
                  <a:lnTo>
                    <a:pt x="6106" y="10988"/>
                  </a:lnTo>
                  <a:lnTo>
                    <a:pt x="6081" y="10999"/>
                  </a:lnTo>
                  <a:lnTo>
                    <a:pt x="6056" y="11011"/>
                  </a:lnTo>
                  <a:lnTo>
                    <a:pt x="6031" y="11024"/>
                  </a:lnTo>
                  <a:lnTo>
                    <a:pt x="6007" y="11037"/>
                  </a:lnTo>
                  <a:lnTo>
                    <a:pt x="5983" y="11051"/>
                  </a:lnTo>
                  <a:lnTo>
                    <a:pt x="5960" y="11066"/>
                  </a:lnTo>
                  <a:lnTo>
                    <a:pt x="5937" y="11081"/>
                  </a:lnTo>
                  <a:lnTo>
                    <a:pt x="5914" y="11097"/>
                  </a:lnTo>
                  <a:lnTo>
                    <a:pt x="5892" y="11114"/>
                  </a:lnTo>
                  <a:lnTo>
                    <a:pt x="5870" y="11131"/>
                  </a:lnTo>
                  <a:lnTo>
                    <a:pt x="5849" y="11149"/>
                  </a:lnTo>
                  <a:lnTo>
                    <a:pt x="5828" y="11167"/>
                  </a:lnTo>
                  <a:lnTo>
                    <a:pt x="5808" y="11187"/>
                  </a:lnTo>
                  <a:lnTo>
                    <a:pt x="5787" y="11206"/>
                  </a:lnTo>
                  <a:lnTo>
                    <a:pt x="5768" y="11227"/>
                  </a:lnTo>
                  <a:lnTo>
                    <a:pt x="5749" y="11248"/>
                  </a:lnTo>
                  <a:lnTo>
                    <a:pt x="5731" y="11269"/>
                  </a:lnTo>
                  <a:lnTo>
                    <a:pt x="5710" y="11296"/>
                  </a:lnTo>
                  <a:lnTo>
                    <a:pt x="5686" y="11323"/>
                  </a:lnTo>
                  <a:lnTo>
                    <a:pt x="5660" y="11352"/>
                  </a:lnTo>
                  <a:lnTo>
                    <a:pt x="5632" y="11382"/>
                  </a:lnTo>
                  <a:lnTo>
                    <a:pt x="5570" y="11448"/>
                  </a:lnTo>
                  <a:lnTo>
                    <a:pt x="5499" y="11518"/>
                  </a:lnTo>
                  <a:lnTo>
                    <a:pt x="5461" y="11556"/>
                  </a:lnTo>
                  <a:lnTo>
                    <a:pt x="5420" y="11594"/>
                  </a:lnTo>
                  <a:lnTo>
                    <a:pt x="5379" y="11633"/>
                  </a:lnTo>
                  <a:lnTo>
                    <a:pt x="5336" y="11674"/>
                  </a:lnTo>
                  <a:lnTo>
                    <a:pt x="5290" y="11715"/>
                  </a:lnTo>
                  <a:lnTo>
                    <a:pt x="5243" y="11757"/>
                  </a:lnTo>
                  <a:lnTo>
                    <a:pt x="5195" y="11799"/>
                  </a:lnTo>
                  <a:lnTo>
                    <a:pt x="5145" y="11842"/>
                  </a:lnTo>
                  <a:lnTo>
                    <a:pt x="5093" y="11886"/>
                  </a:lnTo>
                  <a:lnTo>
                    <a:pt x="5040" y="11931"/>
                  </a:lnTo>
                  <a:lnTo>
                    <a:pt x="4986" y="11975"/>
                  </a:lnTo>
                  <a:lnTo>
                    <a:pt x="4930" y="12020"/>
                  </a:lnTo>
                  <a:lnTo>
                    <a:pt x="4873" y="12065"/>
                  </a:lnTo>
                  <a:lnTo>
                    <a:pt x="4814" y="12109"/>
                  </a:lnTo>
                  <a:lnTo>
                    <a:pt x="4755" y="12154"/>
                  </a:lnTo>
                  <a:lnTo>
                    <a:pt x="4694" y="12199"/>
                  </a:lnTo>
                  <a:lnTo>
                    <a:pt x="4633" y="12243"/>
                  </a:lnTo>
                  <a:lnTo>
                    <a:pt x="4570" y="12287"/>
                  </a:lnTo>
                  <a:lnTo>
                    <a:pt x="4507" y="12331"/>
                  </a:lnTo>
                  <a:lnTo>
                    <a:pt x="4442" y="12374"/>
                  </a:lnTo>
                  <a:lnTo>
                    <a:pt x="4377" y="12417"/>
                  </a:lnTo>
                  <a:lnTo>
                    <a:pt x="4310" y="12459"/>
                  </a:lnTo>
                  <a:lnTo>
                    <a:pt x="4244" y="12501"/>
                  </a:lnTo>
                  <a:lnTo>
                    <a:pt x="4176" y="12542"/>
                  </a:lnTo>
                  <a:lnTo>
                    <a:pt x="4212" y="12456"/>
                  </a:lnTo>
                  <a:lnTo>
                    <a:pt x="4248" y="12371"/>
                  </a:lnTo>
                  <a:lnTo>
                    <a:pt x="4281" y="12284"/>
                  </a:lnTo>
                  <a:lnTo>
                    <a:pt x="4313" y="12196"/>
                  </a:lnTo>
                  <a:lnTo>
                    <a:pt x="4345" y="12107"/>
                  </a:lnTo>
                  <a:lnTo>
                    <a:pt x="4374" y="12017"/>
                  </a:lnTo>
                  <a:lnTo>
                    <a:pt x="4388" y="11971"/>
                  </a:lnTo>
                  <a:lnTo>
                    <a:pt x="4401" y="11926"/>
                  </a:lnTo>
                  <a:lnTo>
                    <a:pt x="4414" y="11879"/>
                  </a:lnTo>
                  <a:lnTo>
                    <a:pt x="4426" y="11833"/>
                  </a:lnTo>
                  <a:lnTo>
                    <a:pt x="4438" y="11787"/>
                  </a:lnTo>
                  <a:lnTo>
                    <a:pt x="4449" y="11740"/>
                  </a:lnTo>
                  <a:lnTo>
                    <a:pt x="4459" y="11694"/>
                  </a:lnTo>
                  <a:lnTo>
                    <a:pt x="4470" y="11647"/>
                  </a:lnTo>
                  <a:lnTo>
                    <a:pt x="4480" y="11600"/>
                  </a:lnTo>
                  <a:lnTo>
                    <a:pt x="4488" y="11553"/>
                  </a:lnTo>
                  <a:lnTo>
                    <a:pt x="4496" y="11506"/>
                  </a:lnTo>
                  <a:lnTo>
                    <a:pt x="4504" y="11458"/>
                  </a:lnTo>
                  <a:lnTo>
                    <a:pt x="4510" y="11411"/>
                  </a:lnTo>
                  <a:lnTo>
                    <a:pt x="4516" y="11363"/>
                  </a:lnTo>
                  <a:lnTo>
                    <a:pt x="4522" y="11315"/>
                  </a:lnTo>
                  <a:lnTo>
                    <a:pt x="4526" y="11266"/>
                  </a:lnTo>
                  <a:lnTo>
                    <a:pt x="4530" y="11218"/>
                  </a:lnTo>
                  <a:lnTo>
                    <a:pt x="4533" y="11170"/>
                  </a:lnTo>
                  <a:lnTo>
                    <a:pt x="4535" y="11121"/>
                  </a:lnTo>
                  <a:lnTo>
                    <a:pt x="4537" y="11073"/>
                  </a:lnTo>
                  <a:lnTo>
                    <a:pt x="4538" y="11049"/>
                  </a:lnTo>
                  <a:lnTo>
                    <a:pt x="4540" y="11025"/>
                  </a:lnTo>
                  <a:lnTo>
                    <a:pt x="4541" y="11002"/>
                  </a:lnTo>
                  <a:lnTo>
                    <a:pt x="4541" y="10981"/>
                  </a:lnTo>
                  <a:lnTo>
                    <a:pt x="4540" y="10946"/>
                  </a:lnTo>
                  <a:lnTo>
                    <a:pt x="4539" y="10911"/>
                  </a:lnTo>
                  <a:lnTo>
                    <a:pt x="4536" y="10876"/>
                  </a:lnTo>
                  <a:lnTo>
                    <a:pt x="4531" y="10842"/>
                  </a:lnTo>
                  <a:lnTo>
                    <a:pt x="4526" y="10808"/>
                  </a:lnTo>
                  <a:lnTo>
                    <a:pt x="4519" y="10774"/>
                  </a:lnTo>
                  <a:lnTo>
                    <a:pt x="4512" y="10741"/>
                  </a:lnTo>
                  <a:lnTo>
                    <a:pt x="4503" y="10707"/>
                  </a:lnTo>
                  <a:lnTo>
                    <a:pt x="4493" y="10675"/>
                  </a:lnTo>
                  <a:lnTo>
                    <a:pt x="4482" y="10641"/>
                  </a:lnTo>
                  <a:lnTo>
                    <a:pt x="4470" y="10610"/>
                  </a:lnTo>
                  <a:lnTo>
                    <a:pt x="4456" y="10578"/>
                  </a:lnTo>
                  <a:lnTo>
                    <a:pt x="4442" y="10547"/>
                  </a:lnTo>
                  <a:lnTo>
                    <a:pt x="4426" y="10517"/>
                  </a:lnTo>
                  <a:lnTo>
                    <a:pt x="4410" y="10487"/>
                  </a:lnTo>
                  <a:lnTo>
                    <a:pt x="4393" y="10458"/>
                  </a:lnTo>
                  <a:lnTo>
                    <a:pt x="4375" y="10429"/>
                  </a:lnTo>
                  <a:lnTo>
                    <a:pt x="4356" y="10401"/>
                  </a:lnTo>
                  <a:lnTo>
                    <a:pt x="4334" y="10374"/>
                  </a:lnTo>
                  <a:lnTo>
                    <a:pt x="4313" y="10347"/>
                  </a:lnTo>
                  <a:lnTo>
                    <a:pt x="4291" y="10321"/>
                  </a:lnTo>
                  <a:lnTo>
                    <a:pt x="4269" y="10296"/>
                  </a:lnTo>
                  <a:lnTo>
                    <a:pt x="4245" y="10271"/>
                  </a:lnTo>
                  <a:lnTo>
                    <a:pt x="4220" y="10248"/>
                  </a:lnTo>
                  <a:lnTo>
                    <a:pt x="4194" y="10225"/>
                  </a:lnTo>
                  <a:lnTo>
                    <a:pt x="4168" y="10203"/>
                  </a:lnTo>
                  <a:lnTo>
                    <a:pt x="4140" y="10182"/>
                  </a:lnTo>
                  <a:lnTo>
                    <a:pt x="4112" y="10161"/>
                  </a:lnTo>
                  <a:lnTo>
                    <a:pt x="4083" y="10142"/>
                  </a:lnTo>
                  <a:lnTo>
                    <a:pt x="4053" y="10123"/>
                  </a:lnTo>
                  <a:lnTo>
                    <a:pt x="4023" y="10106"/>
                  </a:lnTo>
                  <a:lnTo>
                    <a:pt x="3992" y="10089"/>
                  </a:lnTo>
                  <a:lnTo>
                    <a:pt x="3819" y="9998"/>
                  </a:lnTo>
                  <a:lnTo>
                    <a:pt x="3650" y="9904"/>
                  </a:lnTo>
                  <a:lnTo>
                    <a:pt x="3487" y="9807"/>
                  </a:lnTo>
                  <a:lnTo>
                    <a:pt x="3327" y="9707"/>
                  </a:lnTo>
                  <a:lnTo>
                    <a:pt x="3173" y="9604"/>
                  </a:lnTo>
                  <a:lnTo>
                    <a:pt x="3023" y="9499"/>
                  </a:lnTo>
                  <a:lnTo>
                    <a:pt x="2878" y="9389"/>
                  </a:lnTo>
                  <a:lnTo>
                    <a:pt x="2737" y="9277"/>
                  </a:lnTo>
                  <a:lnTo>
                    <a:pt x="2602" y="9163"/>
                  </a:lnTo>
                  <a:lnTo>
                    <a:pt x="2472" y="9046"/>
                  </a:lnTo>
                  <a:lnTo>
                    <a:pt x="2346" y="8927"/>
                  </a:lnTo>
                  <a:lnTo>
                    <a:pt x="2226" y="8805"/>
                  </a:lnTo>
                  <a:lnTo>
                    <a:pt x="2112" y="8681"/>
                  </a:lnTo>
                  <a:lnTo>
                    <a:pt x="2002" y="8555"/>
                  </a:lnTo>
                  <a:lnTo>
                    <a:pt x="1899" y="8427"/>
                  </a:lnTo>
                  <a:lnTo>
                    <a:pt x="1800" y="8297"/>
                  </a:lnTo>
                  <a:lnTo>
                    <a:pt x="1706" y="8163"/>
                  </a:lnTo>
                  <a:lnTo>
                    <a:pt x="1618" y="8030"/>
                  </a:lnTo>
                  <a:lnTo>
                    <a:pt x="1537" y="7894"/>
                  </a:lnTo>
                  <a:lnTo>
                    <a:pt x="1460" y="7757"/>
                  </a:lnTo>
                  <a:lnTo>
                    <a:pt x="1388" y="7617"/>
                  </a:lnTo>
                  <a:lnTo>
                    <a:pt x="1324" y="7476"/>
                  </a:lnTo>
                  <a:lnTo>
                    <a:pt x="1264" y="7335"/>
                  </a:lnTo>
                  <a:lnTo>
                    <a:pt x="1212" y="7192"/>
                  </a:lnTo>
                  <a:lnTo>
                    <a:pt x="1165" y="7047"/>
                  </a:lnTo>
                  <a:lnTo>
                    <a:pt x="1123" y="6901"/>
                  </a:lnTo>
                  <a:lnTo>
                    <a:pt x="1089" y="6755"/>
                  </a:lnTo>
                  <a:lnTo>
                    <a:pt x="1060" y="6608"/>
                  </a:lnTo>
                  <a:lnTo>
                    <a:pt x="1037" y="6459"/>
                  </a:lnTo>
                  <a:lnTo>
                    <a:pt x="1021" y="6309"/>
                  </a:lnTo>
                  <a:lnTo>
                    <a:pt x="1011" y="6160"/>
                  </a:lnTo>
                  <a:lnTo>
                    <a:pt x="1008" y="6010"/>
                  </a:lnTo>
                  <a:lnTo>
                    <a:pt x="1017" y="5752"/>
                  </a:lnTo>
                  <a:lnTo>
                    <a:pt x="1045" y="5498"/>
                  </a:lnTo>
                  <a:lnTo>
                    <a:pt x="1090" y="5248"/>
                  </a:lnTo>
                  <a:lnTo>
                    <a:pt x="1151" y="5002"/>
                  </a:lnTo>
                  <a:lnTo>
                    <a:pt x="1231" y="4760"/>
                  </a:lnTo>
                  <a:lnTo>
                    <a:pt x="1326" y="4522"/>
                  </a:lnTo>
                  <a:lnTo>
                    <a:pt x="1437" y="4290"/>
                  </a:lnTo>
                  <a:lnTo>
                    <a:pt x="1564" y="4063"/>
                  </a:lnTo>
                  <a:lnTo>
                    <a:pt x="1705" y="3840"/>
                  </a:lnTo>
                  <a:lnTo>
                    <a:pt x="1861" y="3625"/>
                  </a:lnTo>
                  <a:lnTo>
                    <a:pt x="2032" y="3415"/>
                  </a:lnTo>
                  <a:lnTo>
                    <a:pt x="2215" y="3211"/>
                  </a:lnTo>
                  <a:lnTo>
                    <a:pt x="2412" y="3015"/>
                  </a:lnTo>
                  <a:lnTo>
                    <a:pt x="2621" y="2826"/>
                  </a:lnTo>
                  <a:lnTo>
                    <a:pt x="2844" y="2644"/>
                  </a:lnTo>
                  <a:lnTo>
                    <a:pt x="3078" y="2470"/>
                  </a:lnTo>
                  <a:lnTo>
                    <a:pt x="3323" y="2304"/>
                  </a:lnTo>
                  <a:lnTo>
                    <a:pt x="3579" y="2147"/>
                  </a:lnTo>
                  <a:lnTo>
                    <a:pt x="3845" y="1998"/>
                  </a:lnTo>
                  <a:lnTo>
                    <a:pt x="4123" y="1858"/>
                  </a:lnTo>
                  <a:lnTo>
                    <a:pt x="4409" y="1728"/>
                  </a:lnTo>
                  <a:lnTo>
                    <a:pt x="4704" y="1607"/>
                  </a:lnTo>
                  <a:lnTo>
                    <a:pt x="5009" y="1496"/>
                  </a:lnTo>
                  <a:lnTo>
                    <a:pt x="5322" y="1395"/>
                  </a:lnTo>
                  <a:lnTo>
                    <a:pt x="5642" y="1306"/>
                  </a:lnTo>
                  <a:lnTo>
                    <a:pt x="5970" y="1227"/>
                  </a:lnTo>
                  <a:lnTo>
                    <a:pt x="6305" y="1160"/>
                  </a:lnTo>
                  <a:lnTo>
                    <a:pt x="6645" y="1104"/>
                  </a:lnTo>
                  <a:lnTo>
                    <a:pt x="6992" y="1060"/>
                  </a:lnTo>
                  <a:lnTo>
                    <a:pt x="7345" y="1028"/>
                  </a:lnTo>
                  <a:lnTo>
                    <a:pt x="7703" y="1008"/>
                  </a:lnTo>
                  <a:lnTo>
                    <a:pt x="8066" y="1002"/>
                  </a:lnTo>
                  <a:lnTo>
                    <a:pt x="8429" y="1008"/>
                  </a:lnTo>
                  <a:lnTo>
                    <a:pt x="8787" y="1028"/>
                  </a:lnTo>
                  <a:lnTo>
                    <a:pt x="9140" y="1060"/>
                  </a:lnTo>
                  <a:lnTo>
                    <a:pt x="9487" y="1104"/>
                  </a:lnTo>
                  <a:lnTo>
                    <a:pt x="9827" y="1160"/>
                  </a:lnTo>
                  <a:lnTo>
                    <a:pt x="10162" y="1227"/>
                  </a:lnTo>
                  <a:lnTo>
                    <a:pt x="10490" y="1306"/>
                  </a:lnTo>
                  <a:lnTo>
                    <a:pt x="10810" y="1395"/>
                  </a:lnTo>
                  <a:lnTo>
                    <a:pt x="11123" y="1496"/>
                  </a:lnTo>
                  <a:lnTo>
                    <a:pt x="11428" y="1607"/>
                  </a:lnTo>
                  <a:lnTo>
                    <a:pt x="11723" y="1728"/>
                  </a:lnTo>
                  <a:lnTo>
                    <a:pt x="12009" y="1858"/>
                  </a:lnTo>
                  <a:lnTo>
                    <a:pt x="12287" y="1998"/>
                  </a:lnTo>
                  <a:lnTo>
                    <a:pt x="12553" y="2147"/>
                  </a:lnTo>
                  <a:lnTo>
                    <a:pt x="12809" y="2304"/>
                  </a:lnTo>
                  <a:lnTo>
                    <a:pt x="13054" y="2470"/>
                  </a:lnTo>
                  <a:lnTo>
                    <a:pt x="13288" y="2644"/>
                  </a:lnTo>
                  <a:lnTo>
                    <a:pt x="13511" y="2826"/>
                  </a:lnTo>
                  <a:lnTo>
                    <a:pt x="13720" y="3015"/>
                  </a:lnTo>
                  <a:lnTo>
                    <a:pt x="13917" y="3211"/>
                  </a:lnTo>
                  <a:lnTo>
                    <a:pt x="14100" y="3415"/>
                  </a:lnTo>
                  <a:lnTo>
                    <a:pt x="14271" y="3625"/>
                  </a:lnTo>
                  <a:lnTo>
                    <a:pt x="14427" y="3840"/>
                  </a:lnTo>
                  <a:lnTo>
                    <a:pt x="14568" y="4063"/>
                  </a:lnTo>
                  <a:lnTo>
                    <a:pt x="14695" y="4290"/>
                  </a:lnTo>
                  <a:lnTo>
                    <a:pt x="14806" y="4522"/>
                  </a:lnTo>
                  <a:lnTo>
                    <a:pt x="14901" y="4760"/>
                  </a:lnTo>
                  <a:lnTo>
                    <a:pt x="14981" y="5002"/>
                  </a:lnTo>
                  <a:lnTo>
                    <a:pt x="15042" y="5248"/>
                  </a:lnTo>
                  <a:lnTo>
                    <a:pt x="15087" y="5498"/>
                  </a:lnTo>
                  <a:lnTo>
                    <a:pt x="15115" y="5752"/>
                  </a:lnTo>
                  <a:lnTo>
                    <a:pt x="15124" y="6010"/>
                  </a:lnTo>
                  <a:lnTo>
                    <a:pt x="15115" y="6267"/>
                  </a:lnTo>
                  <a:lnTo>
                    <a:pt x="15087" y="6521"/>
                  </a:lnTo>
                  <a:lnTo>
                    <a:pt x="15042" y="6771"/>
                  </a:lnTo>
                  <a:lnTo>
                    <a:pt x="14981" y="7018"/>
                  </a:lnTo>
                  <a:lnTo>
                    <a:pt x="14901" y="7260"/>
                  </a:lnTo>
                  <a:lnTo>
                    <a:pt x="14806" y="7497"/>
                  </a:lnTo>
                  <a:lnTo>
                    <a:pt x="14695" y="7730"/>
                  </a:lnTo>
                  <a:lnTo>
                    <a:pt x="14568" y="7957"/>
                  </a:lnTo>
                  <a:lnTo>
                    <a:pt x="14427" y="8179"/>
                  </a:lnTo>
                  <a:lnTo>
                    <a:pt x="14271" y="8395"/>
                  </a:lnTo>
                  <a:lnTo>
                    <a:pt x="14100" y="8605"/>
                  </a:lnTo>
                  <a:lnTo>
                    <a:pt x="13917" y="8807"/>
                  </a:lnTo>
                  <a:lnTo>
                    <a:pt x="13720" y="9005"/>
                  </a:lnTo>
                  <a:lnTo>
                    <a:pt x="13511" y="9194"/>
                  </a:lnTo>
                  <a:lnTo>
                    <a:pt x="13288" y="9375"/>
                  </a:lnTo>
                  <a:lnTo>
                    <a:pt x="13054" y="9550"/>
                  </a:lnTo>
                  <a:lnTo>
                    <a:pt x="12809" y="9715"/>
                  </a:lnTo>
                  <a:lnTo>
                    <a:pt x="12553" y="9873"/>
                  </a:lnTo>
                  <a:lnTo>
                    <a:pt x="12287" y="10021"/>
                  </a:lnTo>
                  <a:lnTo>
                    <a:pt x="12009" y="10162"/>
                  </a:lnTo>
                  <a:lnTo>
                    <a:pt x="11723" y="10292"/>
                  </a:lnTo>
                  <a:lnTo>
                    <a:pt x="11428" y="10413"/>
                  </a:lnTo>
                  <a:lnTo>
                    <a:pt x="11123" y="10523"/>
                  </a:lnTo>
                  <a:lnTo>
                    <a:pt x="10810" y="10623"/>
                  </a:lnTo>
                  <a:lnTo>
                    <a:pt x="10490" y="10714"/>
                  </a:lnTo>
                  <a:lnTo>
                    <a:pt x="10162" y="10793"/>
                  </a:lnTo>
                  <a:lnTo>
                    <a:pt x="9827" y="10860"/>
                  </a:lnTo>
                  <a:lnTo>
                    <a:pt x="9487" y="10916"/>
                  </a:lnTo>
                  <a:lnTo>
                    <a:pt x="9140" y="10960"/>
                  </a:lnTo>
                  <a:lnTo>
                    <a:pt x="8787" y="10992"/>
                  </a:lnTo>
                  <a:lnTo>
                    <a:pt x="8429" y="11011"/>
                  </a:lnTo>
                  <a:lnTo>
                    <a:pt x="8066" y="11018"/>
                  </a:lnTo>
                  <a:close/>
                  <a:moveTo>
                    <a:pt x="8066" y="0"/>
                  </a:moveTo>
                  <a:lnTo>
                    <a:pt x="7651" y="8"/>
                  </a:lnTo>
                  <a:lnTo>
                    <a:pt x="7241" y="31"/>
                  </a:lnTo>
                  <a:lnTo>
                    <a:pt x="6838" y="69"/>
                  </a:lnTo>
                  <a:lnTo>
                    <a:pt x="6441" y="122"/>
                  </a:lnTo>
                  <a:lnTo>
                    <a:pt x="6051" y="189"/>
                  </a:lnTo>
                  <a:lnTo>
                    <a:pt x="5667" y="270"/>
                  </a:lnTo>
                  <a:lnTo>
                    <a:pt x="5292" y="365"/>
                  </a:lnTo>
                  <a:lnTo>
                    <a:pt x="4926" y="473"/>
                  </a:lnTo>
                  <a:lnTo>
                    <a:pt x="4569" y="593"/>
                  </a:lnTo>
                  <a:lnTo>
                    <a:pt x="4222" y="725"/>
                  </a:lnTo>
                  <a:lnTo>
                    <a:pt x="3884" y="870"/>
                  </a:lnTo>
                  <a:lnTo>
                    <a:pt x="3556" y="1027"/>
                  </a:lnTo>
                  <a:lnTo>
                    <a:pt x="3240" y="1194"/>
                  </a:lnTo>
                  <a:lnTo>
                    <a:pt x="2935" y="1372"/>
                  </a:lnTo>
                  <a:lnTo>
                    <a:pt x="2643" y="1562"/>
                  </a:lnTo>
                  <a:lnTo>
                    <a:pt x="2362" y="1760"/>
                  </a:lnTo>
                  <a:lnTo>
                    <a:pt x="2095" y="1969"/>
                  </a:lnTo>
                  <a:lnTo>
                    <a:pt x="1842" y="2188"/>
                  </a:lnTo>
                  <a:lnTo>
                    <a:pt x="1602" y="2414"/>
                  </a:lnTo>
                  <a:lnTo>
                    <a:pt x="1377" y="2649"/>
                  </a:lnTo>
                  <a:lnTo>
                    <a:pt x="1168" y="2894"/>
                  </a:lnTo>
                  <a:lnTo>
                    <a:pt x="974" y="3145"/>
                  </a:lnTo>
                  <a:lnTo>
                    <a:pt x="796" y="3405"/>
                  </a:lnTo>
                  <a:lnTo>
                    <a:pt x="634" y="3671"/>
                  </a:lnTo>
                  <a:lnTo>
                    <a:pt x="489" y="3943"/>
                  </a:lnTo>
                  <a:lnTo>
                    <a:pt x="363" y="4223"/>
                  </a:lnTo>
                  <a:lnTo>
                    <a:pt x="254" y="4508"/>
                  </a:lnTo>
                  <a:lnTo>
                    <a:pt x="163" y="4799"/>
                  </a:lnTo>
                  <a:lnTo>
                    <a:pt x="93" y="5094"/>
                  </a:lnTo>
                  <a:lnTo>
                    <a:pt x="41" y="5396"/>
                  </a:lnTo>
                  <a:lnTo>
                    <a:pt x="10" y="5700"/>
                  </a:lnTo>
                  <a:lnTo>
                    <a:pt x="0" y="6010"/>
                  </a:lnTo>
                  <a:lnTo>
                    <a:pt x="4" y="6203"/>
                  </a:lnTo>
                  <a:lnTo>
                    <a:pt x="16" y="6394"/>
                  </a:lnTo>
                  <a:lnTo>
                    <a:pt x="36" y="6584"/>
                  </a:lnTo>
                  <a:lnTo>
                    <a:pt x="65" y="6772"/>
                  </a:lnTo>
                  <a:lnTo>
                    <a:pt x="100" y="6958"/>
                  </a:lnTo>
                  <a:lnTo>
                    <a:pt x="143" y="7144"/>
                  </a:lnTo>
                  <a:lnTo>
                    <a:pt x="195" y="7326"/>
                  </a:lnTo>
                  <a:lnTo>
                    <a:pt x="252" y="7506"/>
                  </a:lnTo>
                  <a:lnTo>
                    <a:pt x="318" y="7685"/>
                  </a:lnTo>
                  <a:lnTo>
                    <a:pt x="390" y="7861"/>
                  </a:lnTo>
                  <a:lnTo>
                    <a:pt x="470" y="8034"/>
                  </a:lnTo>
                  <a:lnTo>
                    <a:pt x="556" y="8205"/>
                  </a:lnTo>
                  <a:lnTo>
                    <a:pt x="648" y="8375"/>
                  </a:lnTo>
                  <a:lnTo>
                    <a:pt x="748" y="8541"/>
                  </a:lnTo>
                  <a:lnTo>
                    <a:pt x="855" y="8704"/>
                  </a:lnTo>
                  <a:lnTo>
                    <a:pt x="967" y="8865"/>
                  </a:lnTo>
                  <a:lnTo>
                    <a:pt x="1086" y="9023"/>
                  </a:lnTo>
                  <a:lnTo>
                    <a:pt x="1211" y="9177"/>
                  </a:lnTo>
                  <a:lnTo>
                    <a:pt x="1341" y="9329"/>
                  </a:lnTo>
                  <a:lnTo>
                    <a:pt x="1478" y="9478"/>
                  </a:lnTo>
                  <a:lnTo>
                    <a:pt x="1620" y="9623"/>
                  </a:lnTo>
                  <a:lnTo>
                    <a:pt x="1768" y="9765"/>
                  </a:lnTo>
                  <a:lnTo>
                    <a:pt x="1923" y="9903"/>
                  </a:lnTo>
                  <a:lnTo>
                    <a:pt x="2081" y="10038"/>
                  </a:lnTo>
                  <a:lnTo>
                    <a:pt x="2245" y="10170"/>
                  </a:lnTo>
                  <a:lnTo>
                    <a:pt x="2415" y="10298"/>
                  </a:lnTo>
                  <a:lnTo>
                    <a:pt x="2590" y="10421"/>
                  </a:lnTo>
                  <a:lnTo>
                    <a:pt x="2769" y="10541"/>
                  </a:lnTo>
                  <a:lnTo>
                    <a:pt x="2953" y="10657"/>
                  </a:lnTo>
                  <a:lnTo>
                    <a:pt x="3142" y="10770"/>
                  </a:lnTo>
                  <a:lnTo>
                    <a:pt x="3335" y="10878"/>
                  </a:lnTo>
                  <a:lnTo>
                    <a:pt x="3533" y="10981"/>
                  </a:lnTo>
                  <a:lnTo>
                    <a:pt x="3532" y="10990"/>
                  </a:lnTo>
                  <a:lnTo>
                    <a:pt x="3531" y="10999"/>
                  </a:lnTo>
                  <a:lnTo>
                    <a:pt x="3530" y="11008"/>
                  </a:lnTo>
                  <a:lnTo>
                    <a:pt x="3529" y="11018"/>
                  </a:lnTo>
                  <a:lnTo>
                    <a:pt x="3527" y="11102"/>
                  </a:lnTo>
                  <a:lnTo>
                    <a:pt x="3521" y="11187"/>
                  </a:lnTo>
                  <a:lnTo>
                    <a:pt x="3512" y="11271"/>
                  </a:lnTo>
                  <a:lnTo>
                    <a:pt x="3500" y="11357"/>
                  </a:lnTo>
                  <a:lnTo>
                    <a:pt x="3484" y="11442"/>
                  </a:lnTo>
                  <a:lnTo>
                    <a:pt x="3464" y="11527"/>
                  </a:lnTo>
                  <a:lnTo>
                    <a:pt x="3443" y="11612"/>
                  </a:lnTo>
                  <a:lnTo>
                    <a:pt x="3419" y="11696"/>
                  </a:lnTo>
                  <a:lnTo>
                    <a:pt x="3392" y="11780"/>
                  </a:lnTo>
                  <a:lnTo>
                    <a:pt x="3364" y="11863"/>
                  </a:lnTo>
                  <a:lnTo>
                    <a:pt x="3332" y="11947"/>
                  </a:lnTo>
                  <a:lnTo>
                    <a:pt x="3300" y="12030"/>
                  </a:lnTo>
                  <a:lnTo>
                    <a:pt x="3266" y="12111"/>
                  </a:lnTo>
                  <a:lnTo>
                    <a:pt x="3229" y="12192"/>
                  </a:lnTo>
                  <a:lnTo>
                    <a:pt x="3192" y="12271"/>
                  </a:lnTo>
                  <a:lnTo>
                    <a:pt x="3155" y="12350"/>
                  </a:lnTo>
                  <a:lnTo>
                    <a:pt x="3115" y="12428"/>
                  </a:lnTo>
                  <a:lnTo>
                    <a:pt x="3075" y="12505"/>
                  </a:lnTo>
                  <a:lnTo>
                    <a:pt x="3036" y="12580"/>
                  </a:lnTo>
                  <a:lnTo>
                    <a:pt x="2995" y="12653"/>
                  </a:lnTo>
                  <a:lnTo>
                    <a:pt x="2954" y="12726"/>
                  </a:lnTo>
                  <a:lnTo>
                    <a:pt x="2914" y="12796"/>
                  </a:lnTo>
                  <a:lnTo>
                    <a:pt x="2874" y="12864"/>
                  </a:lnTo>
                  <a:lnTo>
                    <a:pt x="2834" y="12931"/>
                  </a:lnTo>
                  <a:lnTo>
                    <a:pt x="2757" y="13059"/>
                  </a:lnTo>
                  <a:lnTo>
                    <a:pt x="2684" y="13180"/>
                  </a:lnTo>
                  <a:lnTo>
                    <a:pt x="2616" y="13290"/>
                  </a:lnTo>
                  <a:lnTo>
                    <a:pt x="2557" y="13390"/>
                  </a:lnTo>
                  <a:lnTo>
                    <a:pt x="2558" y="13390"/>
                  </a:lnTo>
                  <a:lnTo>
                    <a:pt x="2550" y="13411"/>
                  </a:lnTo>
                  <a:lnTo>
                    <a:pt x="2542" y="13432"/>
                  </a:lnTo>
                  <a:lnTo>
                    <a:pt x="2536" y="13454"/>
                  </a:lnTo>
                  <a:lnTo>
                    <a:pt x="2531" y="13476"/>
                  </a:lnTo>
                  <a:lnTo>
                    <a:pt x="2527" y="13499"/>
                  </a:lnTo>
                  <a:lnTo>
                    <a:pt x="2523" y="13522"/>
                  </a:lnTo>
                  <a:lnTo>
                    <a:pt x="2522" y="13545"/>
                  </a:lnTo>
                  <a:lnTo>
                    <a:pt x="2521" y="13569"/>
                  </a:lnTo>
                  <a:lnTo>
                    <a:pt x="2522" y="13592"/>
                  </a:lnTo>
                  <a:lnTo>
                    <a:pt x="2523" y="13615"/>
                  </a:lnTo>
                  <a:lnTo>
                    <a:pt x="2526" y="13638"/>
                  </a:lnTo>
                  <a:lnTo>
                    <a:pt x="2530" y="13660"/>
                  </a:lnTo>
                  <a:lnTo>
                    <a:pt x="2535" y="13682"/>
                  </a:lnTo>
                  <a:lnTo>
                    <a:pt x="2541" y="13704"/>
                  </a:lnTo>
                  <a:lnTo>
                    <a:pt x="2548" y="13726"/>
                  </a:lnTo>
                  <a:lnTo>
                    <a:pt x="2556" y="13746"/>
                  </a:lnTo>
                  <a:lnTo>
                    <a:pt x="2566" y="13766"/>
                  </a:lnTo>
                  <a:lnTo>
                    <a:pt x="2576" y="13786"/>
                  </a:lnTo>
                  <a:lnTo>
                    <a:pt x="2586" y="13805"/>
                  </a:lnTo>
                  <a:lnTo>
                    <a:pt x="2598" y="13823"/>
                  </a:lnTo>
                  <a:lnTo>
                    <a:pt x="2611" y="13841"/>
                  </a:lnTo>
                  <a:lnTo>
                    <a:pt x="2624" y="13858"/>
                  </a:lnTo>
                  <a:lnTo>
                    <a:pt x="2640" y="13875"/>
                  </a:lnTo>
                  <a:lnTo>
                    <a:pt x="2655" y="13890"/>
                  </a:lnTo>
                  <a:lnTo>
                    <a:pt x="2670" y="13905"/>
                  </a:lnTo>
                  <a:lnTo>
                    <a:pt x="2687" y="13920"/>
                  </a:lnTo>
                  <a:lnTo>
                    <a:pt x="2704" y="13933"/>
                  </a:lnTo>
                  <a:lnTo>
                    <a:pt x="2722" y="13946"/>
                  </a:lnTo>
                  <a:lnTo>
                    <a:pt x="2740" y="13958"/>
                  </a:lnTo>
                  <a:lnTo>
                    <a:pt x="2760" y="13968"/>
                  </a:lnTo>
                  <a:lnTo>
                    <a:pt x="2779" y="13978"/>
                  </a:lnTo>
                  <a:lnTo>
                    <a:pt x="2800" y="13987"/>
                  </a:lnTo>
                  <a:lnTo>
                    <a:pt x="2820" y="13996"/>
                  </a:lnTo>
                  <a:lnTo>
                    <a:pt x="2841" y="14003"/>
                  </a:lnTo>
                  <a:lnTo>
                    <a:pt x="2863" y="14009"/>
                  </a:lnTo>
                  <a:lnTo>
                    <a:pt x="2886" y="14014"/>
                  </a:lnTo>
                  <a:lnTo>
                    <a:pt x="2908" y="14018"/>
                  </a:lnTo>
                  <a:lnTo>
                    <a:pt x="2931" y="14021"/>
                  </a:lnTo>
                  <a:lnTo>
                    <a:pt x="2954" y="14022"/>
                  </a:lnTo>
                  <a:lnTo>
                    <a:pt x="2977" y="14023"/>
                  </a:lnTo>
                  <a:lnTo>
                    <a:pt x="3018" y="14021"/>
                  </a:lnTo>
                  <a:lnTo>
                    <a:pt x="3060" y="14017"/>
                  </a:lnTo>
                  <a:lnTo>
                    <a:pt x="3078" y="14016"/>
                  </a:lnTo>
                  <a:lnTo>
                    <a:pt x="3093" y="14015"/>
                  </a:lnTo>
                  <a:lnTo>
                    <a:pt x="3099" y="14015"/>
                  </a:lnTo>
                  <a:lnTo>
                    <a:pt x="3103" y="14015"/>
                  </a:lnTo>
                  <a:lnTo>
                    <a:pt x="3105" y="14016"/>
                  </a:lnTo>
                  <a:lnTo>
                    <a:pt x="3106" y="14016"/>
                  </a:lnTo>
                  <a:lnTo>
                    <a:pt x="3254" y="13989"/>
                  </a:lnTo>
                  <a:lnTo>
                    <a:pt x="3400" y="13955"/>
                  </a:lnTo>
                  <a:lnTo>
                    <a:pt x="3546" y="13915"/>
                  </a:lnTo>
                  <a:lnTo>
                    <a:pt x="3690" y="13870"/>
                  </a:lnTo>
                  <a:lnTo>
                    <a:pt x="3833" y="13819"/>
                  </a:lnTo>
                  <a:lnTo>
                    <a:pt x="3976" y="13763"/>
                  </a:lnTo>
                  <a:lnTo>
                    <a:pt x="4116" y="13701"/>
                  </a:lnTo>
                  <a:lnTo>
                    <a:pt x="4254" y="13637"/>
                  </a:lnTo>
                  <a:lnTo>
                    <a:pt x="4390" y="13569"/>
                  </a:lnTo>
                  <a:lnTo>
                    <a:pt x="4524" y="13497"/>
                  </a:lnTo>
                  <a:lnTo>
                    <a:pt x="4656" y="13423"/>
                  </a:lnTo>
                  <a:lnTo>
                    <a:pt x="4784" y="13346"/>
                  </a:lnTo>
                  <a:lnTo>
                    <a:pt x="4910" y="13267"/>
                  </a:lnTo>
                  <a:lnTo>
                    <a:pt x="5033" y="13186"/>
                  </a:lnTo>
                  <a:lnTo>
                    <a:pt x="5153" y="13104"/>
                  </a:lnTo>
                  <a:lnTo>
                    <a:pt x="5269" y="13021"/>
                  </a:lnTo>
                  <a:lnTo>
                    <a:pt x="5382" y="12938"/>
                  </a:lnTo>
                  <a:lnTo>
                    <a:pt x="5491" y="12854"/>
                  </a:lnTo>
                  <a:lnTo>
                    <a:pt x="5596" y="12771"/>
                  </a:lnTo>
                  <a:lnTo>
                    <a:pt x="5697" y="12689"/>
                  </a:lnTo>
                  <a:lnTo>
                    <a:pt x="5793" y="12608"/>
                  </a:lnTo>
                  <a:lnTo>
                    <a:pt x="5885" y="12528"/>
                  </a:lnTo>
                  <a:lnTo>
                    <a:pt x="5972" y="12450"/>
                  </a:lnTo>
                  <a:lnTo>
                    <a:pt x="6055" y="12375"/>
                  </a:lnTo>
                  <a:lnTo>
                    <a:pt x="6131" y="12302"/>
                  </a:lnTo>
                  <a:lnTo>
                    <a:pt x="6203" y="12233"/>
                  </a:lnTo>
                  <a:lnTo>
                    <a:pt x="6269" y="12167"/>
                  </a:lnTo>
                  <a:lnTo>
                    <a:pt x="6330" y="12105"/>
                  </a:lnTo>
                  <a:lnTo>
                    <a:pt x="6384" y="12048"/>
                  </a:lnTo>
                  <a:lnTo>
                    <a:pt x="6433" y="11995"/>
                  </a:lnTo>
                  <a:lnTo>
                    <a:pt x="6475" y="11947"/>
                  </a:lnTo>
                  <a:lnTo>
                    <a:pt x="6510" y="11906"/>
                  </a:lnTo>
                  <a:lnTo>
                    <a:pt x="6605" y="11919"/>
                  </a:lnTo>
                  <a:lnTo>
                    <a:pt x="6700" y="11932"/>
                  </a:lnTo>
                  <a:lnTo>
                    <a:pt x="6796" y="11943"/>
                  </a:lnTo>
                  <a:lnTo>
                    <a:pt x="6891" y="11954"/>
                  </a:lnTo>
                  <a:lnTo>
                    <a:pt x="6987" y="11965"/>
                  </a:lnTo>
                  <a:lnTo>
                    <a:pt x="7083" y="11974"/>
                  </a:lnTo>
                  <a:lnTo>
                    <a:pt x="7180" y="11983"/>
                  </a:lnTo>
                  <a:lnTo>
                    <a:pt x="7278" y="11990"/>
                  </a:lnTo>
                  <a:lnTo>
                    <a:pt x="7374" y="11997"/>
                  </a:lnTo>
                  <a:lnTo>
                    <a:pt x="7472" y="12003"/>
                  </a:lnTo>
                  <a:lnTo>
                    <a:pt x="7571" y="12008"/>
                  </a:lnTo>
                  <a:lnTo>
                    <a:pt x="7669" y="12012"/>
                  </a:lnTo>
                  <a:lnTo>
                    <a:pt x="7768" y="12016"/>
                  </a:lnTo>
                  <a:lnTo>
                    <a:pt x="7867" y="12018"/>
                  </a:lnTo>
                  <a:lnTo>
                    <a:pt x="7966" y="12019"/>
                  </a:lnTo>
                  <a:lnTo>
                    <a:pt x="8066" y="12020"/>
                  </a:lnTo>
                  <a:lnTo>
                    <a:pt x="8481" y="12012"/>
                  </a:lnTo>
                  <a:lnTo>
                    <a:pt x="8891" y="11989"/>
                  </a:lnTo>
                  <a:lnTo>
                    <a:pt x="9294" y="11951"/>
                  </a:lnTo>
                  <a:lnTo>
                    <a:pt x="9691" y="11898"/>
                  </a:lnTo>
                  <a:lnTo>
                    <a:pt x="10081" y="11830"/>
                  </a:lnTo>
                  <a:lnTo>
                    <a:pt x="10465" y="11749"/>
                  </a:lnTo>
                  <a:lnTo>
                    <a:pt x="10840" y="11655"/>
                  </a:lnTo>
                  <a:lnTo>
                    <a:pt x="11206" y="11547"/>
                  </a:lnTo>
                  <a:lnTo>
                    <a:pt x="11563" y="11427"/>
                  </a:lnTo>
                  <a:lnTo>
                    <a:pt x="11910" y="11295"/>
                  </a:lnTo>
                  <a:lnTo>
                    <a:pt x="12248" y="11149"/>
                  </a:lnTo>
                  <a:lnTo>
                    <a:pt x="12576" y="10993"/>
                  </a:lnTo>
                  <a:lnTo>
                    <a:pt x="12891" y="10826"/>
                  </a:lnTo>
                  <a:lnTo>
                    <a:pt x="13197" y="10647"/>
                  </a:lnTo>
                  <a:lnTo>
                    <a:pt x="13489" y="10458"/>
                  </a:lnTo>
                  <a:lnTo>
                    <a:pt x="13770" y="10260"/>
                  </a:lnTo>
                  <a:lnTo>
                    <a:pt x="14037" y="10050"/>
                  </a:lnTo>
                  <a:lnTo>
                    <a:pt x="14290" y="9832"/>
                  </a:lnTo>
                  <a:lnTo>
                    <a:pt x="14530" y="9606"/>
                  </a:lnTo>
                  <a:lnTo>
                    <a:pt x="14755" y="9370"/>
                  </a:lnTo>
                  <a:lnTo>
                    <a:pt x="14964" y="9126"/>
                  </a:lnTo>
                  <a:lnTo>
                    <a:pt x="15158" y="8875"/>
                  </a:lnTo>
                  <a:lnTo>
                    <a:pt x="15336" y="8615"/>
                  </a:lnTo>
                  <a:lnTo>
                    <a:pt x="15498" y="8349"/>
                  </a:lnTo>
                  <a:lnTo>
                    <a:pt x="15643" y="8076"/>
                  </a:lnTo>
                  <a:lnTo>
                    <a:pt x="15769" y="7797"/>
                  </a:lnTo>
                  <a:lnTo>
                    <a:pt x="15878" y="7511"/>
                  </a:lnTo>
                  <a:lnTo>
                    <a:pt x="15968" y="7221"/>
                  </a:lnTo>
                  <a:lnTo>
                    <a:pt x="16039" y="6925"/>
                  </a:lnTo>
                  <a:lnTo>
                    <a:pt x="16091" y="6624"/>
                  </a:lnTo>
                  <a:lnTo>
                    <a:pt x="16122" y="6319"/>
                  </a:lnTo>
                  <a:lnTo>
                    <a:pt x="16132" y="6010"/>
                  </a:lnTo>
                  <a:lnTo>
                    <a:pt x="16122" y="5700"/>
                  </a:lnTo>
                  <a:lnTo>
                    <a:pt x="16091" y="5396"/>
                  </a:lnTo>
                  <a:lnTo>
                    <a:pt x="16039" y="5094"/>
                  </a:lnTo>
                  <a:lnTo>
                    <a:pt x="15968" y="4799"/>
                  </a:lnTo>
                  <a:lnTo>
                    <a:pt x="15878" y="4508"/>
                  </a:lnTo>
                  <a:lnTo>
                    <a:pt x="15769" y="4223"/>
                  </a:lnTo>
                  <a:lnTo>
                    <a:pt x="15643" y="3943"/>
                  </a:lnTo>
                  <a:lnTo>
                    <a:pt x="15498" y="3671"/>
                  </a:lnTo>
                  <a:lnTo>
                    <a:pt x="15336" y="3405"/>
                  </a:lnTo>
                  <a:lnTo>
                    <a:pt x="15158" y="3145"/>
                  </a:lnTo>
                  <a:lnTo>
                    <a:pt x="14964" y="2894"/>
                  </a:lnTo>
                  <a:lnTo>
                    <a:pt x="14755" y="2649"/>
                  </a:lnTo>
                  <a:lnTo>
                    <a:pt x="14530" y="2414"/>
                  </a:lnTo>
                  <a:lnTo>
                    <a:pt x="14290" y="2188"/>
                  </a:lnTo>
                  <a:lnTo>
                    <a:pt x="14037" y="1969"/>
                  </a:lnTo>
                  <a:lnTo>
                    <a:pt x="13770" y="1760"/>
                  </a:lnTo>
                  <a:lnTo>
                    <a:pt x="13489" y="1562"/>
                  </a:lnTo>
                  <a:lnTo>
                    <a:pt x="13197" y="1372"/>
                  </a:lnTo>
                  <a:lnTo>
                    <a:pt x="12891" y="1194"/>
                  </a:lnTo>
                  <a:lnTo>
                    <a:pt x="12576" y="1027"/>
                  </a:lnTo>
                  <a:lnTo>
                    <a:pt x="12248" y="870"/>
                  </a:lnTo>
                  <a:lnTo>
                    <a:pt x="11910" y="725"/>
                  </a:lnTo>
                  <a:lnTo>
                    <a:pt x="11563" y="593"/>
                  </a:lnTo>
                  <a:lnTo>
                    <a:pt x="11206" y="473"/>
                  </a:lnTo>
                  <a:lnTo>
                    <a:pt x="10840" y="365"/>
                  </a:lnTo>
                  <a:lnTo>
                    <a:pt x="10465" y="270"/>
                  </a:lnTo>
                  <a:lnTo>
                    <a:pt x="10081" y="189"/>
                  </a:lnTo>
                  <a:lnTo>
                    <a:pt x="9691" y="122"/>
                  </a:lnTo>
                  <a:lnTo>
                    <a:pt x="9294" y="69"/>
                  </a:lnTo>
                  <a:lnTo>
                    <a:pt x="8891" y="31"/>
                  </a:lnTo>
                  <a:lnTo>
                    <a:pt x="8481" y="8"/>
                  </a:lnTo>
                  <a:lnTo>
                    <a:pt x="80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78" name="îṥ1ïďe">
              <a:extLst>
                <a:ext uri="{FF2B5EF4-FFF2-40B4-BE49-F238E27FC236}">
                  <a16:creationId xmlns:a16="http://schemas.microsoft.com/office/drawing/2014/main" id="{7781461B-24F9-45B6-9C9D-D8FF62A3E42C}"/>
                </a:ext>
              </a:extLst>
            </p:cNvPr>
            <p:cNvSpPr/>
            <p:nvPr/>
          </p:nvSpPr>
          <p:spPr bwMode="auto">
            <a:xfrm>
              <a:off x="5893447" y="138117"/>
              <a:ext cx="236122" cy="151900"/>
            </a:xfrm>
            <a:custGeom>
              <a:avLst/>
              <a:gdLst>
                <a:gd name="T0" fmla="*/ 4713 w 5797"/>
                <a:gd name="T1" fmla="*/ 41 h 3756"/>
                <a:gd name="T2" fmla="*/ 3661 w 5797"/>
                <a:gd name="T3" fmla="*/ 216 h 3756"/>
                <a:gd name="T4" fmla="*/ 2695 w 5797"/>
                <a:gd name="T5" fmla="*/ 516 h 3756"/>
                <a:gd name="T6" fmla="*/ 1839 w 5797"/>
                <a:gd name="T7" fmla="*/ 924 h 3756"/>
                <a:gd name="T8" fmla="*/ 1118 w 5797"/>
                <a:gd name="T9" fmla="*/ 1423 h 3756"/>
                <a:gd name="T10" fmla="*/ 556 w 5797"/>
                <a:gd name="T11" fmla="*/ 2001 h 3756"/>
                <a:gd name="T12" fmla="*/ 178 w 5797"/>
                <a:gd name="T13" fmla="*/ 2641 h 3756"/>
                <a:gd name="T14" fmla="*/ 7 w 5797"/>
                <a:gd name="T15" fmla="*/ 3329 h 3756"/>
                <a:gd name="T16" fmla="*/ 3 w 5797"/>
                <a:gd name="T17" fmla="*/ 3544 h 3756"/>
                <a:gd name="T18" fmla="*/ 15 w 5797"/>
                <a:gd name="T19" fmla="*/ 3592 h 3756"/>
                <a:gd name="T20" fmla="*/ 36 w 5797"/>
                <a:gd name="T21" fmla="*/ 3636 h 3756"/>
                <a:gd name="T22" fmla="*/ 65 w 5797"/>
                <a:gd name="T23" fmla="*/ 3674 h 3756"/>
                <a:gd name="T24" fmla="*/ 100 w 5797"/>
                <a:gd name="T25" fmla="*/ 3706 h 3756"/>
                <a:gd name="T26" fmla="*/ 143 w 5797"/>
                <a:gd name="T27" fmla="*/ 3731 h 3756"/>
                <a:gd name="T28" fmla="*/ 189 w 5797"/>
                <a:gd name="T29" fmla="*/ 3748 h 3756"/>
                <a:gd name="T30" fmla="*/ 239 w 5797"/>
                <a:gd name="T31" fmla="*/ 3756 h 3756"/>
                <a:gd name="T32" fmla="*/ 290 w 5797"/>
                <a:gd name="T33" fmla="*/ 3753 h 3756"/>
                <a:gd name="T34" fmla="*/ 338 w 5797"/>
                <a:gd name="T35" fmla="*/ 3741 h 3756"/>
                <a:gd name="T36" fmla="*/ 383 w 5797"/>
                <a:gd name="T37" fmla="*/ 3720 h 3756"/>
                <a:gd name="T38" fmla="*/ 421 w 5797"/>
                <a:gd name="T39" fmla="*/ 3691 h 3756"/>
                <a:gd name="T40" fmla="*/ 453 w 5797"/>
                <a:gd name="T41" fmla="*/ 3655 h 3756"/>
                <a:gd name="T42" fmla="*/ 479 w 5797"/>
                <a:gd name="T43" fmla="*/ 3614 h 3756"/>
                <a:gd name="T44" fmla="*/ 496 w 5797"/>
                <a:gd name="T45" fmla="*/ 3568 h 3756"/>
                <a:gd name="T46" fmla="*/ 504 w 5797"/>
                <a:gd name="T47" fmla="*/ 3519 h 3756"/>
                <a:gd name="T48" fmla="*/ 564 w 5797"/>
                <a:gd name="T49" fmla="*/ 3062 h 3756"/>
                <a:gd name="T50" fmla="*/ 820 w 5797"/>
                <a:gd name="T51" fmla="*/ 2496 h 3756"/>
                <a:gd name="T52" fmla="*/ 1257 w 5797"/>
                <a:gd name="T53" fmla="*/ 1973 h 3756"/>
                <a:gd name="T54" fmla="*/ 1848 w 5797"/>
                <a:gd name="T55" fmla="*/ 1509 h 3756"/>
                <a:gd name="T56" fmla="*/ 2572 w 5797"/>
                <a:gd name="T57" fmla="*/ 1115 h 3756"/>
                <a:gd name="T58" fmla="*/ 3402 w 5797"/>
                <a:gd name="T59" fmla="*/ 807 h 3756"/>
                <a:gd name="T60" fmla="*/ 4318 w 5797"/>
                <a:gd name="T61" fmla="*/ 599 h 3756"/>
                <a:gd name="T62" fmla="*/ 5294 w 5797"/>
                <a:gd name="T63" fmla="*/ 505 h 3756"/>
                <a:gd name="T64" fmla="*/ 5583 w 5797"/>
                <a:gd name="T65" fmla="*/ 498 h 3756"/>
                <a:gd name="T66" fmla="*/ 5632 w 5797"/>
                <a:gd name="T67" fmla="*/ 486 h 3756"/>
                <a:gd name="T68" fmla="*/ 5676 w 5797"/>
                <a:gd name="T69" fmla="*/ 465 h 3756"/>
                <a:gd name="T70" fmla="*/ 5714 w 5797"/>
                <a:gd name="T71" fmla="*/ 436 h 3756"/>
                <a:gd name="T72" fmla="*/ 5747 w 5797"/>
                <a:gd name="T73" fmla="*/ 401 h 3756"/>
                <a:gd name="T74" fmla="*/ 5772 w 5797"/>
                <a:gd name="T75" fmla="*/ 359 h 3756"/>
                <a:gd name="T76" fmla="*/ 5789 w 5797"/>
                <a:gd name="T77" fmla="*/ 313 h 3756"/>
                <a:gd name="T78" fmla="*/ 5797 w 5797"/>
                <a:gd name="T79" fmla="*/ 264 h 3756"/>
                <a:gd name="T80" fmla="*/ 5794 w 5797"/>
                <a:gd name="T81" fmla="*/ 212 h 3756"/>
                <a:gd name="T82" fmla="*/ 5782 w 5797"/>
                <a:gd name="T83" fmla="*/ 164 h 3756"/>
                <a:gd name="T84" fmla="*/ 5761 w 5797"/>
                <a:gd name="T85" fmla="*/ 120 h 3756"/>
                <a:gd name="T86" fmla="*/ 5732 w 5797"/>
                <a:gd name="T87" fmla="*/ 82 h 3756"/>
                <a:gd name="T88" fmla="*/ 5696 w 5797"/>
                <a:gd name="T89" fmla="*/ 50 h 3756"/>
                <a:gd name="T90" fmla="*/ 5654 w 5797"/>
                <a:gd name="T91" fmla="*/ 25 h 3756"/>
                <a:gd name="T92" fmla="*/ 5609 w 5797"/>
                <a:gd name="T93" fmla="*/ 8 h 3756"/>
                <a:gd name="T94" fmla="*/ 5558 w 5797"/>
                <a:gd name="T95" fmla="*/ 0 h 3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797" h="3756">
                  <a:moveTo>
                    <a:pt x="5545" y="0"/>
                  </a:moveTo>
                  <a:lnTo>
                    <a:pt x="5265" y="5"/>
                  </a:lnTo>
                  <a:lnTo>
                    <a:pt x="4987" y="18"/>
                  </a:lnTo>
                  <a:lnTo>
                    <a:pt x="4713" y="41"/>
                  </a:lnTo>
                  <a:lnTo>
                    <a:pt x="4444" y="73"/>
                  </a:lnTo>
                  <a:lnTo>
                    <a:pt x="4178" y="112"/>
                  </a:lnTo>
                  <a:lnTo>
                    <a:pt x="3917" y="160"/>
                  </a:lnTo>
                  <a:lnTo>
                    <a:pt x="3661" y="216"/>
                  </a:lnTo>
                  <a:lnTo>
                    <a:pt x="3411" y="281"/>
                  </a:lnTo>
                  <a:lnTo>
                    <a:pt x="3166" y="352"/>
                  </a:lnTo>
                  <a:lnTo>
                    <a:pt x="2927" y="431"/>
                  </a:lnTo>
                  <a:lnTo>
                    <a:pt x="2695" y="516"/>
                  </a:lnTo>
                  <a:lnTo>
                    <a:pt x="2470" y="608"/>
                  </a:lnTo>
                  <a:lnTo>
                    <a:pt x="2251" y="707"/>
                  </a:lnTo>
                  <a:lnTo>
                    <a:pt x="2041" y="812"/>
                  </a:lnTo>
                  <a:lnTo>
                    <a:pt x="1839" y="924"/>
                  </a:lnTo>
                  <a:lnTo>
                    <a:pt x="1645" y="1041"/>
                  </a:lnTo>
                  <a:lnTo>
                    <a:pt x="1460" y="1163"/>
                  </a:lnTo>
                  <a:lnTo>
                    <a:pt x="1284" y="1291"/>
                  </a:lnTo>
                  <a:lnTo>
                    <a:pt x="1118" y="1423"/>
                  </a:lnTo>
                  <a:lnTo>
                    <a:pt x="961" y="1562"/>
                  </a:lnTo>
                  <a:lnTo>
                    <a:pt x="815" y="1704"/>
                  </a:lnTo>
                  <a:lnTo>
                    <a:pt x="680" y="1851"/>
                  </a:lnTo>
                  <a:lnTo>
                    <a:pt x="556" y="2001"/>
                  </a:lnTo>
                  <a:lnTo>
                    <a:pt x="443" y="2157"/>
                  </a:lnTo>
                  <a:lnTo>
                    <a:pt x="342" y="2315"/>
                  </a:lnTo>
                  <a:lnTo>
                    <a:pt x="254" y="2477"/>
                  </a:lnTo>
                  <a:lnTo>
                    <a:pt x="178" y="2641"/>
                  </a:lnTo>
                  <a:lnTo>
                    <a:pt x="115" y="2810"/>
                  </a:lnTo>
                  <a:lnTo>
                    <a:pt x="65" y="2980"/>
                  </a:lnTo>
                  <a:lnTo>
                    <a:pt x="29" y="3153"/>
                  </a:lnTo>
                  <a:lnTo>
                    <a:pt x="7" y="3329"/>
                  </a:lnTo>
                  <a:lnTo>
                    <a:pt x="0" y="3506"/>
                  </a:lnTo>
                  <a:lnTo>
                    <a:pt x="0" y="3519"/>
                  </a:lnTo>
                  <a:lnTo>
                    <a:pt x="1" y="3531"/>
                  </a:lnTo>
                  <a:lnTo>
                    <a:pt x="3" y="3544"/>
                  </a:lnTo>
                  <a:lnTo>
                    <a:pt x="5" y="3556"/>
                  </a:lnTo>
                  <a:lnTo>
                    <a:pt x="8" y="3568"/>
                  </a:lnTo>
                  <a:lnTo>
                    <a:pt x="11" y="3580"/>
                  </a:lnTo>
                  <a:lnTo>
                    <a:pt x="15" y="3592"/>
                  </a:lnTo>
                  <a:lnTo>
                    <a:pt x="20" y="3603"/>
                  </a:lnTo>
                  <a:lnTo>
                    <a:pt x="25" y="3614"/>
                  </a:lnTo>
                  <a:lnTo>
                    <a:pt x="30" y="3625"/>
                  </a:lnTo>
                  <a:lnTo>
                    <a:pt x="36" y="3636"/>
                  </a:lnTo>
                  <a:lnTo>
                    <a:pt x="43" y="3646"/>
                  </a:lnTo>
                  <a:lnTo>
                    <a:pt x="50" y="3655"/>
                  </a:lnTo>
                  <a:lnTo>
                    <a:pt x="57" y="3665"/>
                  </a:lnTo>
                  <a:lnTo>
                    <a:pt x="65" y="3674"/>
                  </a:lnTo>
                  <a:lnTo>
                    <a:pt x="73" y="3683"/>
                  </a:lnTo>
                  <a:lnTo>
                    <a:pt x="82" y="3691"/>
                  </a:lnTo>
                  <a:lnTo>
                    <a:pt x="91" y="3699"/>
                  </a:lnTo>
                  <a:lnTo>
                    <a:pt x="100" y="3706"/>
                  </a:lnTo>
                  <a:lnTo>
                    <a:pt x="111" y="3713"/>
                  </a:lnTo>
                  <a:lnTo>
                    <a:pt x="121" y="3720"/>
                  </a:lnTo>
                  <a:lnTo>
                    <a:pt x="132" y="3726"/>
                  </a:lnTo>
                  <a:lnTo>
                    <a:pt x="143" y="3731"/>
                  </a:lnTo>
                  <a:lnTo>
                    <a:pt x="154" y="3736"/>
                  </a:lnTo>
                  <a:lnTo>
                    <a:pt x="165" y="3741"/>
                  </a:lnTo>
                  <a:lnTo>
                    <a:pt x="177" y="3745"/>
                  </a:lnTo>
                  <a:lnTo>
                    <a:pt x="189" y="3748"/>
                  </a:lnTo>
                  <a:lnTo>
                    <a:pt x="201" y="3751"/>
                  </a:lnTo>
                  <a:lnTo>
                    <a:pt x="213" y="3753"/>
                  </a:lnTo>
                  <a:lnTo>
                    <a:pt x="226" y="3755"/>
                  </a:lnTo>
                  <a:lnTo>
                    <a:pt x="239" y="3756"/>
                  </a:lnTo>
                  <a:lnTo>
                    <a:pt x="252" y="3756"/>
                  </a:lnTo>
                  <a:lnTo>
                    <a:pt x="265" y="3756"/>
                  </a:lnTo>
                  <a:lnTo>
                    <a:pt x="278" y="3755"/>
                  </a:lnTo>
                  <a:lnTo>
                    <a:pt x="290" y="3753"/>
                  </a:lnTo>
                  <a:lnTo>
                    <a:pt x="302" y="3751"/>
                  </a:lnTo>
                  <a:lnTo>
                    <a:pt x="315" y="3748"/>
                  </a:lnTo>
                  <a:lnTo>
                    <a:pt x="326" y="3745"/>
                  </a:lnTo>
                  <a:lnTo>
                    <a:pt x="338" y="3741"/>
                  </a:lnTo>
                  <a:lnTo>
                    <a:pt x="349" y="3736"/>
                  </a:lnTo>
                  <a:lnTo>
                    <a:pt x="361" y="3731"/>
                  </a:lnTo>
                  <a:lnTo>
                    <a:pt x="372" y="3726"/>
                  </a:lnTo>
                  <a:lnTo>
                    <a:pt x="383" y="3720"/>
                  </a:lnTo>
                  <a:lnTo>
                    <a:pt x="393" y="3713"/>
                  </a:lnTo>
                  <a:lnTo>
                    <a:pt x="403" y="3706"/>
                  </a:lnTo>
                  <a:lnTo>
                    <a:pt x="412" y="3699"/>
                  </a:lnTo>
                  <a:lnTo>
                    <a:pt x="421" y="3691"/>
                  </a:lnTo>
                  <a:lnTo>
                    <a:pt x="430" y="3683"/>
                  </a:lnTo>
                  <a:lnTo>
                    <a:pt x="438" y="3674"/>
                  </a:lnTo>
                  <a:lnTo>
                    <a:pt x="446" y="3665"/>
                  </a:lnTo>
                  <a:lnTo>
                    <a:pt x="453" y="3655"/>
                  </a:lnTo>
                  <a:lnTo>
                    <a:pt x="460" y="3646"/>
                  </a:lnTo>
                  <a:lnTo>
                    <a:pt x="467" y="3636"/>
                  </a:lnTo>
                  <a:lnTo>
                    <a:pt x="474" y="3625"/>
                  </a:lnTo>
                  <a:lnTo>
                    <a:pt x="479" y="3614"/>
                  </a:lnTo>
                  <a:lnTo>
                    <a:pt x="484" y="3603"/>
                  </a:lnTo>
                  <a:lnTo>
                    <a:pt x="489" y="3592"/>
                  </a:lnTo>
                  <a:lnTo>
                    <a:pt x="493" y="3580"/>
                  </a:lnTo>
                  <a:lnTo>
                    <a:pt x="496" y="3568"/>
                  </a:lnTo>
                  <a:lnTo>
                    <a:pt x="499" y="3556"/>
                  </a:lnTo>
                  <a:lnTo>
                    <a:pt x="501" y="3544"/>
                  </a:lnTo>
                  <a:lnTo>
                    <a:pt x="503" y="3531"/>
                  </a:lnTo>
                  <a:lnTo>
                    <a:pt x="504" y="3519"/>
                  </a:lnTo>
                  <a:lnTo>
                    <a:pt x="504" y="3506"/>
                  </a:lnTo>
                  <a:lnTo>
                    <a:pt x="511" y="3357"/>
                  </a:lnTo>
                  <a:lnTo>
                    <a:pt x="531" y="3208"/>
                  </a:lnTo>
                  <a:lnTo>
                    <a:pt x="564" y="3062"/>
                  </a:lnTo>
                  <a:lnTo>
                    <a:pt x="611" y="2917"/>
                  </a:lnTo>
                  <a:lnTo>
                    <a:pt x="669" y="2775"/>
                  </a:lnTo>
                  <a:lnTo>
                    <a:pt x="739" y="2634"/>
                  </a:lnTo>
                  <a:lnTo>
                    <a:pt x="820" y="2496"/>
                  </a:lnTo>
                  <a:lnTo>
                    <a:pt x="914" y="2361"/>
                  </a:lnTo>
                  <a:lnTo>
                    <a:pt x="1018" y="2229"/>
                  </a:lnTo>
                  <a:lnTo>
                    <a:pt x="1132" y="2100"/>
                  </a:lnTo>
                  <a:lnTo>
                    <a:pt x="1257" y="1973"/>
                  </a:lnTo>
                  <a:lnTo>
                    <a:pt x="1391" y="1851"/>
                  </a:lnTo>
                  <a:lnTo>
                    <a:pt x="1534" y="1733"/>
                  </a:lnTo>
                  <a:lnTo>
                    <a:pt x="1686" y="1619"/>
                  </a:lnTo>
                  <a:lnTo>
                    <a:pt x="1848" y="1509"/>
                  </a:lnTo>
                  <a:lnTo>
                    <a:pt x="2017" y="1403"/>
                  </a:lnTo>
                  <a:lnTo>
                    <a:pt x="2195" y="1302"/>
                  </a:lnTo>
                  <a:lnTo>
                    <a:pt x="2379" y="1206"/>
                  </a:lnTo>
                  <a:lnTo>
                    <a:pt x="2572" y="1115"/>
                  </a:lnTo>
                  <a:lnTo>
                    <a:pt x="2769" y="1030"/>
                  </a:lnTo>
                  <a:lnTo>
                    <a:pt x="2975" y="950"/>
                  </a:lnTo>
                  <a:lnTo>
                    <a:pt x="3186" y="876"/>
                  </a:lnTo>
                  <a:lnTo>
                    <a:pt x="3402" y="807"/>
                  </a:lnTo>
                  <a:lnTo>
                    <a:pt x="3624" y="745"/>
                  </a:lnTo>
                  <a:lnTo>
                    <a:pt x="3851" y="690"/>
                  </a:lnTo>
                  <a:lnTo>
                    <a:pt x="4083" y="641"/>
                  </a:lnTo>
                  <a:lnTo>
                    <a:pt x="4318" y="599"/>
                  </a:lnTo>
                  <a:lnTo>
                    <a:pt x="4557" y="564"/>
                  </a:lnTo>
                  <a:lnTo>
                    <a:pt x="4800" y="537"/>
                  </a:lnTo>
                  <a:lnTo>
                    <a:pt x="5046" y="517"/>
                  </a:lnTo>
                  <a:lnTo>
                    <a:pt x="5294" y="505"/>
                  </a:lnTo>
                  <a:lnTo>
                    <a:pt x="5545" y="501"/>
                  </a:lnTo>
                  <a:lnTo>
                    <a:pt x="5558" y="501"/>
                  </a:lnTo>
                  <a:lnTo>
                    <a:pt x="5571" y="500"/>
                  </a:lnTo>
                  <a:lnTo>
                    <a:pt x="5583" y="498"/>
                  </a:lnTo>
                  <a:lnTo>
                    <a:pt x="5595" y="496"/>
                  </a:lnTo>
                  <a:lnTo>
                    <a:pt x="5609" y="493"/>
                  </a:lnTo>
                  <a:lnTo>
                    <a:pt x="5620" y="490"/>
                  </a:lnTo>
                  <a:lnTo>
                    <a:pt x="5632" y="486"/>
                  </a:lnTo>
                  <a:lnTo>
                    <a:pt x="5643" y="481"/>
                  </a:lnTo>
                  <a:lnTo>
                    <a:pt x="5654" y="476"/>
                  </a:lnTo>
                  <a:lnTo>
                    <a:pt x="5665" y="471"/>
                  </a:lnTo>
                  <a:lnTo>
                    <a:pt x="5676" y="465"/>
                  </a:lnTo>
                  <a:lnTo>
                    <a:pt x="5686" y="458"/>
                  </a:lnTo>
                  <a:lnTo>
                    <a:pt x="5696" y="451"/>
                  </a:lnTo>
                  <a:lnTo>
                    <a:pt x="5705" y="444"/>
                  </a:lnTo>
                  <a:lnTo>
                    <a:pt x="5714" y="436"/>
                  </a:lnTo>
                  <a:lnTo>
                    <a:pt x="5723" y="428"/>
                  </a:lnTo>
                  <a:lnTo>
                    <a:pt x="5732" y="419"/>
                  </a:lnTo>
                  <a:lnTo>
                    <a:pt x="5740" y="410"/>
                  </a:lnTo>
                  <a:lnTo>
                    <a:pt x="5747" y="401"/>
                  </a:lnTo>
                  <a:lnTo>
                    <a:pt x="5754" y="391"/>
                  </a:lnTo>
                  <a:lnTo>
                    <a:pt x="5761" y="381"/>
                  </a:lnTo>
                  <a:lnTo>
                    <a:pt x="5767" y="370"/>
                  </a:lnTo>
                  <a:lnTo>
                    <a:pt x="5772" y="359"/>
                  </a:lnTo>
                  <a:lnTo>
                    <a:pt x="5777" y="348"/>
                  </a:lnTo>
                  <a:lnTo>
                    <a:pt x="5782" y="337"/>
                  </a:lnTo>
                  <a:lnTo>
                    <a:pt x="5786" y="325"/>
                  </a:lnTo>
                  <a:lnTo>
                    <a:pt x="5789" y="313"/>
                  </a:lnTo>
                  <a:lnTo>
                    <a:pt x="5792" y="301"/>
                  </a:lnTo>
                  <a:lnTo>
                    <a:pt x="5794" y="289"/>
                  </a:lnTo>
                  <a:lnTo>
                    <a:pt x="5796" y="277"/>
                  </a:lnTo>
                  <a:lnTo>
                    <a:pt x="5797" y="264"/>
                  </a:lnTo>
                  <a:lnTo>
                    <a:pt x="5797" y="251"/>
                  </a:lnTo>
                  <a:lnTo>
                    <a:pt x="5797" y="237"/>
                  </a:lnTo>
                  <a:lnTo>
                    <a:pt x="5796" y="225"/>
                  </a:lnTo>
                  <a:lnTo>
                    <a:pt x="5794" y="212"/>
                  </a:lnTo>
                  <a:lnTo>
                    <a:pt x="5792" y="200"/>
                  </a:lnTo>
                  <a:lnTo>
                    <a:pt x="5789" y="188"/>
                  </a:lnTo>
                  <a:lnTo>
                    <a:pt x="5786" y="176"/>
                  </a:lnTo>
                  <a:lnTo>
                    <a:pt x="5782" y="164"/>
                  </a:lnTo>
                  <a:lnTo>
                    <a:pt x="5777" y="153"/>
                  </a:lnTo>
                  <a:lnTo>
                    <a:pt x="5772" y="142"/>
                  </a:lnTo>
                  <a:lnTo>
                    <a:pt x="5767" y="131"/>
                  </a:lnTo>
                  <a:lnTo>
                    <a:pt x="5761" y="120"/>
                  </a:lnTo>
                  <a:lnTo>
                    <a:pt x="5754" y="110"/>
                  </a:lnTo>
                  <a:lnTo>
                    <a:pt x="5747" y="100"/>
                  </a:lnTo>
                  <a:lnTo>
                    <a:pt x="5740" y="91"/>
                  </a:lnTo>
                  <a:lnTo>
                    <a:pt x="5732" y="82"/>
                  </a:lnTo>
                  <a:lnTo>
                    <a:pt x="5723" y="73"/>
                  </a:lnTo>
                  <a:lnTo>
                    <a:pt x="5714" y="65"/>
                  </a:lnTo>
                  <a:lnTo>
                    <a:pt x="5705" y="57"/>
                  </a:lnTo>
                  <a:lnTo>
                    <a:pt x="5696" y="50"/>
                  </a:lnTo>
                  <a:lnTo>
                    <a:pt x="5686" y="43"/>
                  </a:lnTo>
                  <a:lnTo>
                    <a:pt x="5676" y="36"/>
                  </a:lnTo>
                  <a:lnTo>
                    <a:pt x="5665" y="30"/>
                  </a:lnTo>
                  <a:lnTo>
                    <a:pt x="5654" y="25"/>
                  </a:lnTo>
                  <a:lnTo>
                    <a:pt x="5643" y="20"/>
                  </a:lnTo>
                  <a:lnTo>
                    <a:pt x="5632" y="15"/>
                  </a:lnTo>
                  <a:lnTo>
                    <a:pt x="5620" y="11"/>
                  </a:lnTo>
                  <a:lnTo>
                    <a:pt x="5609" y="8"/>
                  </a:lnTo>
                  <a:lnTo>
                    <a:pt x="5595" y="5"/>
                  </a:lnTo>
                  <a:lnTo>
                    <a:pt x="5583" y="3"/>
                  </a:lnTo>
                  <a:lnTo>
                    <a:pt x="5571" y="1"/>
                  </a:lnTo>
                  <a:lnTo>
                    <a:pt x="5558" y="0"/>
                  </a:lnTo>
                  <a:lnTo>
                    <a:pt x="55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79" name="ïṧḷîďe">
              <a:extLst>
                <a:ext uri="{FF2B5EF4-FFF2-40B4-BE49-F238E27FC236}">
                  <a16:creationId xmlns:a16="http://schemas.microsoft.com/office/drawing/2014/main" id="{15F5CE8B-EB39-42AD-8D97-51BA2FB17B0E}"/>
                </a:ext>
              </a:extLst>
            </p:cNvPr>
            <p:cNvSpPr/>
            <p:nvPr/>
          </p:nvSpPr>
          <p:spPr bwMode="auto">
            <a:xfrm>
              <a:off x="5791178" y="35848"/>
              <a:ext cx="655727" cy="570000"/>
            </a:xfrm>
            <a:custGeom>
              <a:avLst/>
              <a:gdLst>
                <a:gd name="T0" fmla="*/ 7365 w 16132"/>
                <a:gd name="T1" fmla="*/ 10992 h 14023"/>
                <a:gd name="T2" fmla="*/ 6620 w 16132"/>
                <a:gd name="T3" fmla="*/ 10910 h 14023"/>
                <a:gd name="T4" fmla="*/ 6344 w 16132"/>
                <a:gd name="T5" fmla="*/ 10917 h 14023"/>
                <a:gd name="T6" fmla="*/ 6106 w 16132"/>
                <a:gd name="T7" fmla="*/ 10988 h 14023"/>
                <a:gd name="T8" fmla="*/ 5892 w 16132"/>
                <a:gd name="T9" fmla="*/ 11114 h 14023"/>
                <a:gd name="T10" fmla="*/ 5710 w 16132"/>
                <a:gd name="T11" fmla="*/ 11296 h 14023"/>
                <a:gd name="T12" fmla="*/ 5336 w 16132"/>
                <a:gd name="T13" fmla="*/ 11674 h 14023"/>
                <a:gd name="T14" fmla="*/ 4873 w 16132"/>
                <a:gd name="T15" fmla="*/ 12065 h 14023"/>
                <a:gd name="T16" fmla="*/ 4310 w 16132"/>
                <a:gd name="T17" fmla="*/ 12459 h 14023"/>
                <a:gd name="T18" fmla="*/ 4388 w 16132"/>
                <a:gd name="T19" fmla="*/ 11971 h 14023"/>
                <a:gd name="T20" fmla="*/ 4488 w 16132"/>
                <a:gd name="T21" fmla="*/ 11553 h 14023"/>
                <a:gd name="T22" fmla="*/ 4535 w 16132"/>
                <a:gd name="T23" fmla="*/ 11121 h 14023"/>
                <a:gd name="T24" fmla="*/ 4531 w 16132"/>
                <a:gd name="T25" fmla="*/ 10842 h 14023"/>
                <a:gd name="T26" fmla="*/ 4442 w 16132"/>
                <a:gd name="T27" fmla="*/ 10547 h 14023"/>
                <a:gd name="T28" fmla="*/ 4269 w 16132"/>
                <a:gd name="T29" fmla="*/ 10296 h 14023"/>
                <a:gd name="T30" fmla="*/ 4023 w 16132"/>
                <a:gd name="T31" fmla="*/ 10106 h 14023"/>
                <a:gd name="T32" fmla="*/ 2737 w 16132"/>
                <a:gd name="T33" fmla="*/ 9277 h 14023"/>
                <a:gd name="T34" fmla="*/ 1706 w 16132"/>
                <a:gd name="T35" fmla="*/ 8163 h 14023"/>
                <a:gd name="T36" fmla="*/ 1123 w 16132"/>
                <a:gd name="T37" fmla="*/ 6901 h 14023"/>
                <a:gd name="T38" fmla="*/ 1090 w 16132"/>
                <a:gd name="T39" fmla="*/ 5248 h 14023"/>
                <a:gd name="T40" fmla="*/ 2215 w 16132"/>
                <a:gd name="T41" fmla="*/ 3211 h 14023"/>
                <a:gd name="T42" fmla="*/ 4409 w 16132"/>
                <a:gd name="T43" fmla="*/ 1728 h 14023"/>
                <a:gd name="T44" fmla="*/ 7345 w 16132"/>
                <a:gd name="T45" fmla="*/ 1028 h 14023"/>
                <a:gd name="T46" fmla="*/ 10490 w 16132"/>
                <a:gd name="T47" fmla="*/ 1306 h 14023"/>
                <a:gd name="T48" fmla="*/ 13054 w 16132"/>
                <a:gd name="T49" fmla="*/ 2470 h 14023"/>
                <a:gd name="T50" fmla="*/ 14695 w 16132"/>
                <a:gd name="T51" fmla="*/ 4290 h 14023"/>
                <a:gd name="T52" fmla="*/ 15087 w 16132"/>
                <a:gd name="T53" fmla="*/ 6521 h 14023"/>
                <a:gd name="T54" fmla="*/ 14100 w 16132"/>
                <a:gd name="T55" fmla="*/ 8605 h 14023"/>
                <a:gd name="T56" fmla="*/ 12009 w 16132"/>
                <a:gd name="T57" fmla="*/ 10162 h 14023"/>
                <a:gd name="T58" fmla="*/ 9140 w 16132"/>
                <a:gd name="T59" fmla="*/ 10960 h 14023"/>
                <a:gd name="T60" fmla="*/ 6051 w 16132"/>
                <a:gd name="T61" fmla="*/ 189 h 14023"/>
                <a:gd name="T62" fmla="*/ 2935 w 16132"/>
                <a:gd name="T63" fmla="*/ 1372 h 14023"/>
                <a:gd name="T64" fmla="*/ 796 w 16132"/>
                <a:gd name="T65" fmla="*/ 3405 h 14023"/>
                <a:gd name="T66" fmla="*/ 0 w 16132"/>
                <a:gd name="T67" fmla="*/ 6010 h 14023"/>
                <a:gd name="T68" fmla="*/ 318 w 16132"/>
                <a:gd name="T69" fmla="*/ 7685 h 14023"/>
                <a:gd name="T70" fmla="*/ 1211 w 16132"/>
                <a:gd name="T71" fmla="*/ 9177 h 14023"/>
                <a:gd name="T72" fmla="*/ 2590 w 16132"/>
                <a:gd name="T73" fmla="*/ 10421 h 14023"/>
                <a:gd name="T74" fmla="*/ 3529 w 16132"/>
                <a:gd name="T75" fmla="*/ 11018 h 14023"/>
                <a:gd name="T76" fmla="*/ 3392 w 16132"/>
                <a:gd name="T77" fmla="*/ 11780 h 14023"/>
                <a:gd name="T78" fmla="*/ 3075 w 16132"/>
                <a:gd name="T79" fmla="*/ 12505 h 14023"/>
                <a:gd name="T80" fmla="*/ 2616 w 16132"/>
                <a:gd name="T81" fmla="*/ 13290 h 14023"/>
                <a:gd name="T82" fmla="*/ 2522 w 16132"/>
                <a:gd name="T83" fmla="*/ 13545 h 14023"/>
                <a:gd name="T84" fmla="*/ 2556 w 16132"/>
                <a:gd name="T85" fmla="*/ 13746 h 14023"/>
                <a:gd name="T86" fmla="*/ 2670 w 16132"/>
                <a:gd name="T87" fmla="*/ 13905 h 14023"/>
                <a:gd name="T88" fmla="*/ 2841 w 16132"/>
                <a:gd name="T89" fmla="*/ 14003 h 14023"/>
                <a:gd name="T90" fmla="*/ 3078 w 16132"/>
                <a:gd name="T91" fmla="*/ 14016 h 14023"/>
                <a:gd name="T92" fmla="*/ 3690 w 16132"/>
                <a:gd name="T93" fmla="*/ 13870 h 14023"/>
                <a:gd name="T94" fmla="*/ 4910 w 16132"/>
                <a:gd name="T95" fmla="*/ 13267 h 14023"/>
                <a:gd name="T96" fmla="*/ 5885 w 16132"/>
                <a:gd name="T97" fmla="*/ 12528 h 14023"/>
                <a:gd name="T98" fmla="*/ 6475 w 16132"/>
                <a:gd name="T99" fmla="*/ 11947 h 14023"/>
                <a:gd name="T100" fmla="*/ 7278 w 16132"/>
                <a:gd name="T101" fmla="*/ 11990 h 14023"/>
                <a:gd name="T102" fmla="*/ 8481 w 16132"/>
                <a:gd name="T103" fmla="*/ 12012 h 14023"/>
                <a:gd name="T104" fmla="*/ 11910 w 16132"/>
                <a:gd name="T105" fmla="*/ 11295 h 14023"/>
                <a:gd name="T106" fmla="*/ 14530 w 16132"/>
                <a:gd name="T107" fmla="*/ 9606 h 14023"/>
                <a:gd name="T108" fmla="*/ 15968 w 16132"/>
                <a:gd name="T109" fmla="*/ 7221 h 14023"/>
                <a:gd name="T110" fmla="*/ 15878 w 16132"/>
                <a:gd name="T111" fmla="*/ 4508 h 14023"/>
                <a:gd name="T112" fmla="*/ 14290 w 16132"/>
                <a:gd name="T113" fmla="*/ 2188 h 14023"/>
                <a:gd name="T114" fmla="*/ 11563 w 16132"/>
                <a:gd name="T115" fmla="*/ 593 h 14023"/>
                <a:gd name="T116" fmla="*/ 8066 w 16132"/>
                <a:gd name="T117" fmla="*/ 0 h 14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132" h="14023">
                  <a:moveTo>
                    <a:pt x="8066" y="11018"/>
                  </a:moveTo>
                  <a:lnTo>
                    <a:pt x="7979" y="11018"/>
                  </a:lnTo>
                  <a:lnTo>
                    <a:pt x="7893" y="11016"/>
                  </a:lnTo>
                  <a:lnTo>
                    <a:pt x="7805" y="11014"/>
                  </a:lnTo>
                  <a:lnTo>
                    <a:pt x="7717" y="11012"/>
                  </a:lnTo>
                  <a:lnTo>
                    <a:pt x="7629" y="11008"/>
                  </a:lnTo>
                  <a:lnTo>
                    <a:pt x="7542" y="11003"/>
                  </a:lnTo>
                  <a:lnTo>
                    <a:pt x="7454" y="10998"/>
                  </a:lnTo>
                  <a:lnTo>
                    <a:pt x="7365" y="10992"/>
                  </a:lnTo>
                  <a:lnTo>
                    <a:pt x="7278" y="10985"/>
                  </a:lnTo>
                  <a:lnTo>
                    <a:pt x="7189" y="10978"/>
                  </a:lnTo>
                  <a:lnTo>
                    <a:pt x="7100" y="10969"/>
                  </a:lnTo>
                  <a:lnTo>
                    <a:pt x="7011" y="10960"/>
                  </a:lnTo>
                  <a:lnTo>
                    <a:pt x="6923" y="10950"/>
                  </a:lnTo>
                  <a:lnTo>
                    <a:pt x="6834" y="10939"/>
                  </a:lnTo>
                  <a:lnTo>
                    <a:pt x="6745" y="10927"/>
                  </a:lnTo>
                  <a:lnTo>
                    <a:pt x="6656" y="10914"/>
                  </a:lnTo>
                  <a:lnTo>
                    <a:pt x="6620" y="10910"/>
                  </a:lnTo>
                  <a:lnTo>
                    <a:pt x="6583" y="10906"/>
                  </a:lnTo>
                  <a:lnTo>
                    <a:pt x="6547" y="10904"/>
                  </a:lnTo>
                  <a:lnTo>
                    <a:pt x="6510" y="10903"/>
                  </a:lnTo>
                  <a:lnTo>
                    <a:pt x="6482" y="10904"/>
                  </a:lnTo>
                  <a:lnTo>
                    <a:pt x="6455" y="10905"/>
                  </a:lnTo>
                  <a:lnTo>
                    <a:pt x="6427" y="10907"/>
                  </a:lnTo>
                  <a:lnTo>
                    <a:pt x="6398" y="10910"/>
                  </a:lnTo>
                  <a:lnTo>
                    <a:pt x="6371" y="10913"/>
                  </a:lnTo>
                  <a:lnTo>
                    <a:pt x="6344" y="10917"/>
                  </a:lnTo>
                  <a:lnTo>
                    <a:pt x="6317" y="10922"/>
                  </a:lnTo>
                  <a:lnTo>
                    <a:pt x="6289" y="10928"/>
                  </a:lnTo>
                  <a:lnTo>
                    <a:pt x="6262" y="10934"/>
                  </a:lnTo>
                  <a:lnTo>
                    <a:pt x="6236" y="10941"/>
                  </a:lnTo>
                  <a:lnTo>
                    <a:pt x="6210" y="10949"/>
                  </a:lnTo>
                  <a:lnTo>
                    <a:pt x="6183" y="10958"/>
                  </a:lnTo>
                  <a:lnTo>
                    <a:pt x="6157" y="10967"/>
                  </a:lnTo>
                  <a:lnTo>
                    <a:pt x="6131" y="10977"/>
                  </a:lnTo>
                  <a:lnTo>
                    <a:pt x="6106" y="10988"/>
                  </a:lnTo>
                  <a:lnTo>
                    <a:pt x="6081" y="10999"/>
                  </a:lnTo>
                  <a:lnTo>
                    <a:pt x="6056" y="11011"/>
                  </a:lnTo>
                  <a:lnTo>
                    <a:pt x="6031" y="11024"/>
                  </a:lnTo>
                  <a:lnTo>
                    <a:pt x="6007" y="11037"/>
                  </a:lnTo>
                  <a:lnTo>
                    <a:pt x="5983" y="11051"/>
                  </a:lnTo>
                  <a:lnTo>
                    <a:pt x="5960" y="11066"/>
                  </a:lnTo>
                  <a:lnTo>
                    <a:pt x="5937" y="11081"/>
                  </a:lnTo>
                  <a:lnTo>
                    <a:pt x="5914" y="11097"/>
                  </a:lnTo>
                  <a:lnTo>
                    <a:pt x="5892" y="11114"/>
                  </a:lnTo>
                  <a:lnTo>
                    <a:pt x="5870" y="11131"/>
                  </a:lnTo>
                  <a:lnTo>
                    <a:pt x="5849" y="11149"/>
                  </a:lnTo>
                  <a:lnTo>
                    <a:pt x="5828" y="11167"/>
                  </a:lnTo>
                  <a:lnTo>
                    <a:pt x="5808" y="11187"/>
                  </a:lnTo>
                  <a:lnTo>
                    <a:pt x="5787" y="11206"/>
                  </a:lnTo>
                  <a:lnTo>
                    <a:pt x="5768" y="11227"/>
                  </a:lnTo>
                  <a:lnTo>
                    <a:pt x="5749" y="11248"/>
                  </a:lnTo>
                  <a:lnTo>
                    <a:pt x="5731" y="11269"/>
                  </a:lnTo>
                  <a:lnTo>
                    <a:pt x="5710" y="11296"/>
                  </a:lnTo>
                  <a:lnTo>
                    <a:pt x="5686" y="11323"/>
                  </a:lnTo>
                  <a:lnTo>
                    <a:pt x="5660" y="11352"/>
                  </a:lnTo>
                  <a:lnTo>
                    <a:pt x="5632" y="11382"/>
                  </a:lnTo>
                  <a:lnTo>
                    <a:pt x="5570" y="11448"/>
                  </a:lnTo>
                  <a:lnTo>
                    <a:pt x="5499" y="11518"/>
                  </a:lnTo>
                  <a:lnTo>
                    <a:pt x="5461" y="11556"/>
                  </a:lnTo>
                  <a:lnTo>
                    <a:pt x="5420" y="11594"/>
                  </a:lnTo>
                  <a:lnTo>
                    <a:pt x="5379" y="11633"/>
                  </a:lnTo>
                  <a:lnTo>
                    <a:pt x="5336" y="11674"/>
                  </a:lnTo>
                  <a:lnTo>
                    <a:pt x="5290" y="11715"/>
                  </a:lnTo>
                  <a:lnTo>
                    <a:pt x="5243" y="11757"/>
                  </a:lnTo>
                  <a:lnTo>
                    <a:pt x="5195" y="11799"/>
                  </a:lnTo>
                  <a:lnTo>
                    <a:pt x="5145" y="11842"/>
                  </a:lnTo>
                  <a:lnTo>
                    <a:pt x="5093" y="11886"/>
                  </a:lnTo>
                  <a:lnTo>
                    <a:pt x="5040" y="11931"/>
                  </a:lnTo>
                  <a:lnTo>
                    <a:pt x="4986" y="11975"/>
                  </a:lnTo>
                  <a:lnTo>
                    <a:pt x="4930" y="12020"/>
                  </a:lnTo>
                  <a:lnTo>
                    <a:pt x="4873" y="12065"/>
                  </a:lnTo>
                  <a:lnTo>
                    <a:pt x="4814" y="12109"/>
                  </a:lnTo>
                  <a:lnTo>
                    <a:pt x="4755" y="12154"/>
                  </a:lnTo>
                  <a:lnTo>
                    <a:pt x="4694" y="12199"/>
                  </a:lnTo>
                  <a:lnTo>
                    <a:pt x="4633" y="12243"/>
                  </a:lnTo>
                  <a:lnTo>
                    <a:pt x="4570" y="12287"/>
                  </a:lnTo>
                  <a:lnTo>
                    <a:pt x="4507" y="12331"/>
                  </a:lnTo>
                  <a:lnTo>
                    <a:pt x="4442" y="12374"/>
                  </a:lnTo>
                  <a:lnTo>
                    <a:pt x="4377" y="12417"/>
                  </a:lnTo>
                  <a:lnTo>
                    <a:pt x="4310" y="12459"/>
                  </a:lnTo>
                  <a:lnTo>
                    <a:pt x="4244" y="12501"/>
                  </a:lnTo>
                  <a:lnTo>
                    <a:pt x="4176" y="12542"/>
                  </a:lnTo>
                  <a:lnTo>
                    <a:pt x="4212" y="12456"/>
                  </a:lnTo>
                  <a:lnTo>
                    <a:pt x="4248" y="12371"/>
                  </a:lnTo>
                  <a:lnTo>
                    <a:pt x="4281" y="12284"/>
                  </a:lnTo>
                  <a:lnTo>
                    <a:pt x="4313" y="12196"/>
                  </a:lnTo>
                  <a:lnTo>
                    <a:pt x="4345" y="12107"/>
                  </a:lnTo>
                  <a:lnTo>
                    <a:pt x="4374" y="12017"/>
                  </a:lnTo>
                  <a:lnTo>
                    <a:pt x="4388" y="11971"/>
                  </a:lnTo>
                  <a:lnTo>
                    <a:pt x="4401" y="11926"/>
                  </a:lnTo>
                  <a:lnTo>
                    <a:pt x="4414" y="11879"/>
                  </a:lnTo>
                  <a:lnTo>
                    <a:pt x="4426" y="11833"/>
                  </a:lnTo>
                  <a:lnTo>
                    <a:pt x="4438" y="11787"/>
                  </a:lnTo>
                  <a:lnTo>
                    <a:pt x="4449" y="11740"/>
                  </a:lnTo>
                  <a:lnTo>
                    <a:pt x="4459" y="11694"/>
                  </a:lnTo>
                  <a:lnTo>
                    <a:pt x="4470" y="11647"/>
                  </a:lnTo>
                  <a:lnTo>
                    <a:pt x="4480" y="11600"/>
                  </a:lnTo>
                  <a:lnTo>
                    <a:pt x="4488" y="11553"/>
                  </a:lnTo>
                  <a:lnTo>
                    <a:pt x="4496" y="11506"/>
                  </a:lnTo>
                  <a:lnTo>
                    <a:pt x="4504" y="11458"/>
                  </a:lnTo>
                  <a:lnTo>
                    <a:pt x="4510" y="11411"/>
                  </a:lnTo>
                  <a:lnTo>
                    <a:pt x="4516" y="11363"/>
                  </a:lnTo>
                  <a:lnTo>
                    <a:pt x="4522" y="11315"/>
                  </a:lnTo>
                  <a:lnTo>
                    <a:pt x="4526" y="11266"/>
                  </a:lnTo>
                  <a:lnTo>
                    <a:pt x="4530" y="11218"/>
                  </a:lnTo>
                  <a:lnTo>
                    <a:pt x="4533" y="11170"/>
                  </a:lnTo>
                  <a:lnTo>
                    <a:pt x="4535" y="11121"/>
                  </a:lnTo>
                  <a:lnTo>
                    <a:pt x="4537" y="11073"/>
                  </a:lnTo>
                  <a:lnTo>
                    <a:pt x="4538" y="11049"/>
                  </a:lnTo>
                  <a:lnTo>
                    <a:pt x="4540" y="11025"/>
                  </a:lnTo>
                  <a:lnTo>
                    <a:pt x="4541" y="11002"/>
                  </a:lnTo>
                  <a:lnTo>
                    <a:pt x="4541" y="10981"/>
                  </a:lnTo>
                  <a:lnTo>
                    <a:pt x="4540" y="10946"/>
                  </a:lnTo>
                  <a:lnTo>
                    <a:pt x="4539" y="10911"/>
                  </a:lnTo>
                  <a:lnTo>
                    <a:pt x="4536" y="10876"/>
                  </a:lnTo>
                  <a:lnTo>
                    <a:pt x="4531" y="10842"/>
                  </a:lnTo>
                  <a:lnTo>
                    <a:pt x="4526" y="10808"/>
                  </a:lnTo>
                  <a:lnTo>
                    <a:pt x="4519" y="10774"/>
                  </a:lnTo>
                  <a:lnTo>
                    <a:pt x="4512" y="10741"/>
                  </a:lnTo>
                  <a:lnTo>
                    <a:pt x="4503" y="10707"/>
                  </a:lnTo>
                  <a:lnTo>
                    <a:pt x="4493" y="10675"/>
                  </a:lnTo>
                  <a:lnTo>
                    <a:pt x="4482" y="10641"/>
                  </a:lnTo>
                  <a:lnTo>
                    <a:pt x="4470" y="10610"/>
                  </a:lnTo>
                  <a:lnTo>
                    <a:pt x="4456" y="10578"/>
                  </a:lnTo>
                  <a:lnTo>
                    <a:pt x="4442" y="10547"/>
                  </a:lnTo>
                  <a:lnTo>
                    <a:pt x="4426" y="10517"/>
                  </a:lnTo>
                  <a:lnTo>
                    <a:pt x="4410" y="10487"/>
                  </a:lnTo>
                  <a:lnTo>
                    <a:pt x="4393" y="10458"/>
                  </a:lnTo>
                  <a:lnTo>
                    <a:pt x="4375" y="10429"/>
                  </a:lnTo>
                  <a:lnTo>
                    <a:pt x="4356" y="10401"/>
                  </a:lnTo>
                  <a:lnTo>
                    <a:pt x="4334" y="10374"/>
                  </a:lnTo>
                  <a:lnTo>
                    <a:pt x="4313" y="10347"/>
                  </a:lnTo>
                  <a:lnTo>
                    <a:pt x="4291" y="10321"/>
                  </a:lnTo>
                  <a:lnTo>
                    <a:pt x="4269" y="10296"/>
                  </a:lnTo>
                  <a:lnTo>
                    <a:pt x="4245" y="10271"/>
                  </a:lnTo>
                  <a:lnTo>
                    <a:pt x="4220" y="10248"/>
                  </a:lnTo>
                  <a:lnTo>
                    <a:pt x="4194" y="10225"/>
                  </a:lnTo>
                  <a:lnTo>
                    <a:pt x="4168" y="10203"/>
                  </a:lnTo>
                  <a:lnTo>
                    <a:pt x="4140" y="10182"/>
                  </a:lnTo>
                  <a:lnTo>
                    <a:pt x="4112" y="10161"/>
                  </a:lnTo>
                  <a:lnTo>
                    <a:pt x="4083" y="10142"/>
                  </a:lnTo>
                  <a:lnTo>
                    <a:pt x="4053" y="10123"/>
                  </a:lnTo>
                  <a:lnTo>
                    <a:pt x="4023" y="10106"/>
                  </a:lnTo>
                  <a:lnTo>
                    <a:pt x="3992" y="10089"/>
                  </a:lnTo>
                  <a:lnTo>
                    <a:pt x="3819" y="9998"/>
                  </a:lnTo>
                  <a:lnTo>
                    <a:pt x="3650" y="9904"/>
                  </a:lnTo>
                  <a:lnTo>
                    <a:pt x="3487" y="9807"/>
                  </a:lnTo>
                  <a:lnTo>
                    <a:pt x="3327" y="9707"/>
                  </a:lnTo>
                  <a:lnTo>
                    <a:pt x="3173" y="9604"/>
                  </a:lnTo>
                  <a:lnTo>
                    <a:pt x="3023" y="9499"/>
                  </a:lnTo>
                  <a:lnTo>
                    <a:pt x="2878" y="9389"/>
                  </a:lnTo>
                  <a:lnTo>
                    <a:pt x="2737" y="9277"/>
                  </a:lnTo>
                  <a:lnTo>
                    <a:pt x="2602" y="9163"/>
                  </a:lnTo>
                  <a:lnTo>
                    <a:pt x="2472" y="9046"/>
                  </a:lnTo>
                  <a:lnTo>
                    <a:pt x="2346" y="8927"/>
                  </a:lnTo>
                  <a:lnTo>
                    <a:pt x="2226" y="8805"/>
                  </a:lnTo>
                  <a:lnTo>
                    <a:pt x="2112" y="8681"/>
                  </a:lnTo>
                  <a:lnTo>
                    <a:pt x="2002" y="8555"/>
                  </a:lnTo>
                  <a:lnTo>
                    <a:pt x="1899" y="8427"/>
                  </a:lnTo>
                  <a:lnTo>
                    <a:pt x="1800" y="8297"/>
                  </a:lnTo>
                  <a:lnTo>
                    <a:pt x="1706" y="8163"/>
                  </a:lnTo>
                  <a:lnTo>
                    <a:pt x="1618" y="8030"/>
                  </a:lnTo>
                  <a:lnTo>
                    <a:pt x="1537" y="7894"/>
                  </a:lnTo>
                  <a:lnTo>
                    <a:pt x="1460" y="7757"/>
                  </a:lnTo>
                  <a:lnTo>
                    <a:pt x="1388" y="7617"/>
                  </a:lnTo>
                  <a:lnTo>
                    <a:pt x="1324" y="7476"/>
                  </a:lnTo>
                  <a:lnTo>
                    <a:pt x="1264" y="7335"/>
                  </a:lnTo>
                  <a:lnTo>
                    <a:pt x="1212" y="7192"/>
                  </a:lnTo>
                  <a:lnTo>
                    <a:pt x="1165" y="7047"/>
                  </a:lnTo>
                  <a:lnTo>
                    <a:pt x="1123" y="6901"/>
                  </a:lnTo>
                  <a:lnTo>
                    <a:pt x="1089" y="6755"/>
                  </a:lnTo>
                  <a:lnTo>
                    <a:pt x="1060" y="6608"/>
                  </a:lnTo>
                  <a:lnTo>
                    <a:pt x="1037" y="6459"/>
                  </a:lnTo>
                  <a:lnTo>
                    <a:pt x="1021" y="6309"/>
                  </a:lnTo>
                  <a:lnTo>
                    <a:pt x="1011" y="6160"/>
                  </a:lnTo>
                  <a:lnTo>
                    <a:pt x="1008" y="6010"/>
                  </a:lnTo>
                  <a:lnTo>
                    <a:pt x="1017" y="5752"/>
                  </a:lnTo>
                  <a:lnTo>
                    <a:pt x="1045" y="5498"/>
                  </a:lnTo>
                  <a:lnTo>
                    <a:pt x="1090" y="5248"/>
                  </a:lnTo>
                  <a:lnTo>
                    <a:pt x="1151" y="5002"/>
                  </a:lnTo>
                  <a:lnTo>
                    <a:pt x="1231" y="4760"/>
                  </a:lnTo>
                  <a:lnTo>
                    <a:pt x="1326" y="4522"/>
                  </a:lnTo>
                  <a:lnTo>
                    <a:pt x="1437" y="4290"/>
                  </a:lnTo>
                  <a:lnTo>
                    <a:pt x="1564" y="4063"/>
                  </a:lnTo>
                  <a:lnTo>
                    <a:pt x="1705" y="3840"/>
                  </a:lnTo>
                  <a:lnTo>
                    <a:pt x="1861" y="3625"/>
                  </a:lnTo>
                  <a:lnTo>
                    <a:pt x="2032" y="3415"/>
                  </a:lnTo>
                  <a:lnTo>
                    <a:pt x="2215" y="3211"/>
                  </a:lnTo>
                  <a:lnTo>
                    <a:pt x="2412" y="3015"/>
                  </a:lnTo>
                  <a:lnTo>
                    <a:pt x="2621" y="2826"/>
                  </a:lnTo>
                  <a:lnTo>
                    <a:pt x="2844" y="2644"/>
                  </a:lnTo>
                  <a:lnTo>
                    <a:pt x="3078" y="2470"/>
                  </a:lnTo>
                  <a:lnTo>
                    <a:pt x="3323" y="2304"/>
                  </a:lnTo>
                  <a:lnTo>
                    <a:pt x="3579" y="2147"/>
                  </a:lnTo>
                  <a:lnTo>
                    <a:pt x="3845" y="1998"/>
                  </a:lnTo>
                  <a:lnTo>
                    <a:pt x="4123" y="1858"/>
                  </a:lnTo>
                  <a:lnTo>
                    <a:pt x="4409" y="1728"/>
                  </a:lnTo>
                  <a:lnTo>
                    <a:pt x="4704" y="1607"/>
                  </a:lnTo>
                  <a:lnTo>
                    <a:pt x="5009" y="1496"/>
                  </a:lnTo>
                  <a:lnTo>
                    <a:pt x="5322" y="1395"/>
                  </a:lnTo>
                  <a:lnTo>
                    <a:pt x="5642" y="1306"/>
                  </a:lnTo>
                  <a:lnTo>
                    <a:pt x="5970" y="1227"/>
                  </a:lnTo>
                  <a:lnTo>
                    <a:pt x="6305" y="1160"/>
                  </a:lnTo>
                  <a:lnTo>
                    <a:pt x="6645" y="1104"/>
                  </a:lnTo>
                  <a:lnTo>
                    <a:pt x="6992" y="1060"/>
                  </a:lnTo>
                  <a:lnTo>
                    <a:pt x="7345" y="1028"/>
                  </a:lnTo>
                  <a:lnTo>
                    <a:pt x="7703" y="1008"/>
                  </a:lnTo>
                  <a:lnTo>
                    <a:pt x="8066" y="1002"/>
                  </a:lnTo>
                  <a:lnTo>
                    <a:pt x="8429" y="1008"/>
                  </a:lnTo>
                  <a:lnTo>
                    <a:pt x="8787" y="1028"/>
                  </a:lnTo>
                  <a:lnTo>
                    <a:pt x="9140" y="1060"/>
                  </a:lnTo>
                  <a:lnTo>
                    <a:pt x="9487" y="1104"/>
                  </a:lnTo>
                  <a:lnTo>
                    <a:pt x="9827" y="1160"/>
                  </a:lnTo>
                  <a:lnTo>
                    <a:pt x="10162" y="1227"/>
                  </a:lnTo>
                  <a:lnTo>
                    <a:pt x="10490" y="1306"/>
                  </a:lnTo>
                  <a:lnTo>
                    <a:pt x="10810" y="1395"/>
                  </a:lnTo>
                  <a:lnTo>
                    <a:pt x="11123" y="1496"/>
                  </a:lnTo>
                  <a:lnTo>
                    <a:pt x="11428" y="1607"/>
                  </a:lnTo>
                  <a:lnTo>
                    <a:pt x="11723" y="1728"/>
                  </a:lnTo>
                  <a:lnTo>
                    <a:pt x="12009" y="1858"/>
                  </a:lnTo>
                  <a:lnTo>
                    <a:pt x="12287" y="1998"/>
                  </a:lnTo>
                  <a:lnTo>
                    <a:pt x="12553" y="2147"/>
                  </a:lnTo>
                  <a:lnTo>
                    <a:pt x="12809" y="2304"/>
                  </a:lnTo>
                  <a:lnTo>
                    <a:pt x="13054" y="2470"/>
                  </a:lnTo>
                  <a:lnTo>
                    <a:pt x="13288" y="2644"/>
                  </a:lnTo>
                  <a:lnTo>
                    <a:pt x="13511" y="2826"/>
                  </a:lnTo>
                  <a:lnTo>
                    <a:pt x="13720" y="3015"/>
                  </a:lnTo>
                  <a:lnTo>
                    <a:pt x="13917" y="3211"/>
                  </a:lnTo>
                  <a:lnTo>
                    <a:pt x="14100" y="3415"/>
                  </a:lnTo>
                  <a:lnTo>
                    <a:pt x="14271" y="3625"/>
                  </a:lnTo>
                  <a:lnTo>
                    <a:pt x="14427" y="3840"/>
                  </a:lnTo>
                  <a:lnTo>
                    <a:pt x="14568" y="4063"/>
                  </a:lnTo>
                  <a:lnTo>
                    <a:pt x="14695" y="4290"/>
                  </a:lnTo>
                  <a:lnTo>
                    <a:pt x="14806" y="4522"/>
                  </a:lnTo>
                  <a:lnTo>
                    <a:pt x="14901" y="4760"/>
                  </a:lnTo>
                  <a:lnTo>
                    <a:pt x="14981" y="5002"/>
                  </a:lnTo>
                  <a:lnTo>
                    <a:pt x="15042" y="5248"/>
                  </a:lnTo>
                  <a:lnTo>
                    <a:pt x="15087" y="5498"/>
                  </a:lnTo>
                  <a:lnTo>
                    <a:pt x="15115" y="5752"/>
                  </a:lnTo>
                  <a:lnTo>
                    <a:pt x="15124" y="6010"/>
                  </a:lnTo>
                  <a:lnTo>
                    <a:pt x="15115" y="6267"/>
                  </a:lnTo>
                  <a:lnTo>
                    <a:pt x="15087" y="6521"/>
                  </a:lnTo>
                  <a:lnTo>
                    <a:pt x="15042" y="6771"/>
                  </a:lnTo>
                  <a:lnTo>
                    <a:pt x="14981" y="7018"/>
                  </a:lnTo>
                  <a:lnTo>
                    <a:pt x="14901" y="7260"/>
                  </a:lnTo>
                  <a:lnTo>
                    <a:pt x="14806" y="7497"/>
                  </a:lnTo>
                  <a:lnTo>
                    <a:pt x="14695" y="7730"/>
                  </a:lnTo>
                  <a:lnTo>
                    <a:pt x="14568" y="7957"/>
                  </a:lnTo>
                  <a:lnTo>
                    <a:pt x="14427" y="8179"/>
                  </a:lnTo>
                  <a:lnTo>
                    <a:pt x="14271" y="8395"/>
                  </a:lnTo>
                  <a:lnTo>
                    <a:pt x="14100" y="8605"/>
                  </a:lnTo>
                  <a:lnTo>
                    <a:pt x="13917" y="8807"/>
                  </a:lnTo>
                  <a:lnTo>
                    <a:pt x="13720" y="9005"/>
                  </a:lnTo>
                  <a:lnTo>
                    <a:pt x="13511" y="9194"/>
                  </a:lnTo>
                  <a:lnTo>
                    <a:pt x="13288" y="9375"/>
                  </a:lnTo>
                  <a:lnTo>
                    <a:pt x="13054" y="9550"/>
                  </a:lnTo>
                  <a:lnTo>
                    <a:pt x="12809" y="9715"/>
                  </a:lnTo>
                  <a:lnTo>
                    <a:pt x="12553" y="9873"/>
                  </a:lnTo>
                  <a:lnTo>
                    <a:pt x="12287" y="10021"/>
                  </a:lnTo>
                  <a:lnTo>
                    <a:pt x="12009" y="10162"/>
                  </a:lnTo>
                  <a:lnTo>
                    <a:pt x="11723" y="10292"/>
                  </a:lnTo>
                  <a:lnTo>
                    <a:pt x="11428" y="10413"/>
                  </a:lnTo>
                  <a:lnTo>
                    <a:pt x="11123" y="10523"/>
                  </a:lnTo>
                  <a:lnTo>
                    <a:pt x="10810" y="10623"/>
                  </a:lnTo>
                  <a:lnTo>
                    <a:pt x="10490" y="10714"/>
                  </a:lnTo>
                  <a:lnTo>
                    <a:pt x="10162" y="10793"/>
                  </a:lnTo>
                  <a:lnTo>
                    <a:pt x="9827" y="10860"/>
                  </a:lnTo>
                  <a:lnTo>
                    <a:pt x="9487" y="10916"/>
                  </a:lnTo>
                  <a:lnTo>
                    <a:pt x="9140" y="10960"/>
                  </a:lnTo>
                  <a:lnTo>
                    <a:pt x="8787" y="10992"/>
                  </a:lnTo>
                  <a:lnTo>
                    <a:pt x="8429" y="11011"/>
                  </a:lnTo>
                  <a:lnTo>
                    <a:pt x="8066" y="11018"/>
                  </a:lnTo>
                  <a:close/>
                  <a:moveTo>
                    <a:pt x="8066" y="0"/>
                  </a:moveTo>
                  <a:lnTo>
                    <a:pt x="7651" y="8"/>
                  </a:lnTo>
                  <a:lnTo>
                    <a:pt x="7241" y="31"/>
                  </a:lnTo>
                  <a:lnTo>
                    <a:pt x="6838" y="69"/>
                  </a:lnTo>
                  <a:lnTo>
                    <a:pt x="6441" y="122"/>
                  </a:lnTo>
                  <a:lnTo>
                    <a:pt x="6051" y="189"/>
                  </a:lnTo>
                  <a:lnTo>
                    <a:pt x="5667" y="270"/>
                  </a:lnTo>
                  <a:lnTo>
                    <a:pt x="5292" y="365"/>
                  </a:lnTo>
                  <a:lnTo>
                    <a:pt x="4926" y="473"/>
                  </a:lnTo>
                  <a:lnTo>
                    <a:pt x="4569" y="593"/>
                  </a:lnTo>
                  <a:lnTo>
                    <a:pt x="4222" y="725"/>
                  </a:lnTo>
                  <a:lnTo>
                    <a:pt x="3884" y="870"/>
                  </a:lnTo>
                  <a:lnTo>
                    <a:pt x="3556" y="1027"/>
                  </a:lnTo>
                  <a:lnTo>
                    <a:pt x="3240" y="1194"/>
                  </a:lnTo>
                  <a:lnTo>
                    <a:pt x="2935" y="1372"/>
                  </a:lnTo>
                  <a:lnTo>
                    <a:pt x="2643" y="1562"/>
                  </a:lnTo>
                  <a:lnTo>
                    <a:pt x="2362" y="1760"/>
                  </a:lnTo>
                  <a:lnTo>
                    <a:pt x="2095" y="1969"/>
                  </a:lnTo>
                  <a:lnTo>
                    <a:pt x="1842" y="2188"/>
                  </a:lnTo>
                  <a:lnTo>
                    <a:pt x="1602" y="2414"/>
                  </a:lnTo>
                  <a:lnTo>
                    <a:pt x="1377" y="2649"/>
                  </a:lnTo>
                  <a:lnTo>
                    <a:pt x="1168" y="2894"/>
                  </a:lnTo>
                  <a:lnTo>
                    <a:pt x="974" y="3145"/>
                  </a:lnTo>
                  <a:lnTo>
                    <a:pt x="796" y="3405"/>
                  </a:lnTo>
                  <a:lnTo>
                    <a:pt x="634" y="3671"/>
                  </a:lnTo>
                  <a:lnTo>
                    <a:pt x="489" y="3943"/>
                  </a:lnTo>
                  <a:lnTo>
                    <a:pt x="363" y="4223"/>
                  </a:lnTo>
                  <a:lnTo>
                    <a:pt x="254" y="4508"/>
                  </a:lnTo>
                  <a:lnTo>
                    <a:pt x="163" y="4799"/>
                  </a:lnTo>
                  <a:lnTo>
                    <a:pt x="93" y="5094"/>
                  </a:lnTo>
                  <a:lnTo>
                    <a:pt x="41" y="5396"/>
                  </a:lnTo>
                  <a:lnTo>
                    <a:pt x="10" y="5700"/>
                  </a:lnTo>
                  <a:lnTo>
                    <a:pt x="0" y="6010"/>
                  </a:lnTo>
                  <a:lnTo>
                    <a:pt x="4" y="6203"/>
                  </a:lnTo>
                  <a:lnTo>
                    <a:pt x="16" y="6394"/>
                  </a:lnTo>
                  <a:lnTo>
                    <a:pt x="36" y="6584"/>
                  </a:lnTo>
                  <a:lnTo>
                    <a:pt x="65" y="6772"/>
                  </a:lnTo>
                  <a:lnTo>
                    <a:pt x="100" y="6958"/>
                  </a:lnTo>
                  <a:lnTo>
                    <a:pt x="143" y="7144"/>
                  </a:lnTo>
                  <a:lnTo>
                    <a:pt x="195" y="7326"/>
                  </a:lnTo>
                  <a:lnTo>
                    <a:pt x="252" y="7506"/>
                  </a:lnTo>
                  <a:lnTo>
                    <a:pt x="318" y="7685"/>
                  </a:lnTo>
                  <a:lnTo>
                    <a:pt x="390" y="7861"/>
                  </a:lnTo>
                  <a:lnTo>
                    <a:pt x="470" y="8034"/>
                  </a:lnTo>
                  <a:lnTo>
                    <a:pt x="556" y="8205"/>
                  </a:lnTo>
                  <a:lnTo>
                    <a:pt x="648" y="8375"/>
                  </a:lnTo>
                  <a:lnTo>
                    <a:pt x="748" y="8541"/>
                  </a:lnTo>
                  <a:lnTo>
                    <a:pt x="855" y="8704"/>
                  </a:lnTo>
                  <a:lnTo>
                    <a:pt x="967" y="8865"/>
                  </a:lnTo>
                  <a:lnTo>
                    <a:pt x="1086" y="9023"/>
                  </a:lnTo>
                  <a:lnTo>
                    <a:pt x="1211" y="9177"/>
                  </a:lnTo>
                  <a:lnTo>
                    <a:pt x="1341" y="9329"/>
                  </a:lnTo>
                  <a:lnTo>
                    <a:pt x="1478" y="9478"/>
                  </a:lnTo>
                  <a:lnTo>
                    <a:pt x="1620" y="9623"/>
                  </a:lnTo>
                  <a:lnTo>
                    <a:pt x="1768" y="9765"/>
                  </a:lnTo>
                  <a:lnTo>
                    <a:pt x="1923" y="9903"/>
                  </a:lnTo>
                  <a:lnTo>
                    <a:pt x="2081" y="10038"/>
                  </a:lnTo>
                  <a:lnTo>
                    <a:pt x="2245" y="10170"/>
                  </a:lnTo>
                  <a:lnTo>
                    <a:pt x="2415" y="10298"/>
                  </a:lnTo>
                  <a:lnTo>
                    <a:pt x="2590" y="10421"/>
                  </a:lnTo>
                  <a:lnTo>
                    <a:pt x="2769" y="10541"/>
                  </a:lnTo>
                  <a:lnTo>
                    <a:pt x="2953" y="10657"/>
                  </a:lnTo>
                  <a:lnTo>
                    <a:pt x="3142" y="10770"/>
                  </a:lnTo>
                  <a:lnTo>
                    <a:pt x="3335" y="10878"/>
                  </a:lnTo>
                  <a:lnTo>
                    <a:pt x="3533" y="10981"/>
                  </a:lnTo>
                  <a:lnTo>
                    <a:pt x="3532" y="10990"/>
                  </a:lnTo>
                  <a:lnTo>
                    <a:pt x="3531" y="10999"/>
                  </a:lnTo>
                  <a:lnTo>
                    <a:pt x="3530" y="11008"/>
                  </a:lnTo>
                  <a:lnTo>
                    <a:pt x="3529" y="11018"/>
                  </a:lnTo>
                  <a:lnTo>
                    <a:pt x="3527" y="11102"/>
                  </a:lnTo>
                  <a:lnTo>
                    <a:pt x="3521" y="11187"/>
                  </a:lnTo>
                  <a:lnTo>
                    <a:pt x="3512" y="11271"/>
                  </a:lnTo>
                  <a:lnTo>
                    <a:pt x="3500" y="11357"/>
                  </a:lnTo>
                  <a:lnTo>
                    <a:pt x="3484" y="11442"/>
                  </a:lnTo>
                  <a:lnTo>
                    <a:pt x="3464" y="11527"/>
                  </a:lnTo>
                  <a:lnTo>
                    <a:pt x="3443" y="11612"/>
                  </a:lnTo>
                  <a:lnTo>
                    <a:pt x="3419" y="11696"/>
                  </a:lnTo>
                  <a:lnTo>
                    <a:pt x="3392" y="11780"/>
                  </a:lnTo>
                  <a:lnTo>
                    <a:pt x="3364" y="11863"/>
                  </a:lnTo>
                  <a:lnTo>
                    <a:pt x="3332" y="11947"/>
                  </a:lnTo>
                  <a:lnTo>
                    <a:pt x="3300" y="12030"/>
                  </a:lnTo>
                  <a:lnTo>
                    <a:pt x="3266" y="12111"/>
                  </a:lnTo>
                  <a:lnTo>
                    <a:pt x="3229" y="12192"/>
                  </a:lnTo>
                  <a:lnTo>
                    <a:pt x="3192" y="12271"/>
                  </a:lnTo>
                  <a:lnTo>
                    <a:pt x="3155" y="12350"/>
                  </a:lnTo>
                  <a:lnTo>
                    <a:pt x="3115" y="12428"/>
                  </a:lnTo>
                  <a:lnTo>
                    <a:pt x="3075" y="12505"/>
                  </a:lnTo>
                  <a:lnTo>
                    <a:pt x="3036" y="12580"/>
                  </a:lnTo>
                  <a:lnTo>
                    <a:pt x="2995" y="12653"/>
                  </a:lnTo>
                  <a:lnTo>
                    <a:pt x="2954" y="12726"/>
                  </a:lnTo>
                  <a:lnTo>
                    <a:pt x="2914" y="12796"/>
                  </a:lnTo>
                  <a:lnTo>
                    <a:pt x="2874" y="12864"/>
                  </a:lnTo>
                  <a:lnTo>
                    <a:pt x="2834" y="12931"/>
                  </a:lnTo>
                  <a:lnTo>
                    <a:pt x="2757" y="13059"/>
                  </a:lnTo>
                  <a:lnTo>
                    <a:pt x="2684" y="13180"/>
                  </a:lnTo>
                  <a:lnTo>
                    <a:pt x="2616" y="13290"/>
                  </a:lnTo>
                  <a:lnTo>
                    <a:pt x="2557" y="13390"/>
                  </a:lnTo>
                  <a:lnTo>
                    <a:pt x="2558" y="13390"/>
                  </a:lnTo>
                  <a:lnTo>
                    <a:pt x="2550" y="13411"/>
                  </a:lnTo>
                  <a:lnTo>
                    <a:pt x="2542" y="13432"/>
                  </a:lnTo>
                  <a:lnTo>
                    <a:pt x="2536" y="13454"/>
                  </a:lnTo>
                  <a:lnTo>
                    <a:pt x="2531" y="13476"/>
                  </a:lnTo>
                  <a:lnTo>
                    <a:pt x="2527" y="13499"/>
                  </a:lnTo>
                  <a:lnTo>
                    <a:pt x="2523" y="13522"/>
                  </a:lnTo>
                  <a:lnTo>
                    <a:pt x="2522" y="13545"/>
                  </a:lnTo>
                  <a:lnTo>
                    <a:pt x="2521" y="13569"/>
                  </a:lnTo>
                  <a:lnTo>
                    <a:pt x="2522" y="13592"/>
                  </a:lnTo>
                  <a:lnTo>
                    <a:pt x="2523" y="13615"/>
                  </a:lnTo>
                  <a:lnTo>
                    <a:pt x="2526" y="13638"/>
                  </a:lnTo>
                  <a:lnTo>
                    <a:pt x="2530" y="13660"/>
                  </a:lnTo>
                  <a:lnTo>
                    <a:pt x="2535" y="13682"/>
                  </a:lnTo>
                  <a:lnTo>
                    <a:pt x="2541" y="13704"/>
                  </a:lnTo>
                  <a:lnTo>
                    <a:pt x="2548" y="13726"/>
                  </a:lnTo>
                  <a:lnTo>
                    <a:pt x="2556" y="13746"/>
                  </a:lnTo>
                  <a:lnTo>
                    <a:pt x="2566" y="13766"/>
                  </a:lnTo>
                  <a:lnTo>
                    <a:pt x="2576" y="13786"/>
                  </a:lnTo>
                  <a:lnTo>
                    <a:pt x="2586" y="13805"/>
                  </a:lnTo>
                  <a:lnTo>
                    <a:pt x="2598" y="13823"/>
                  </a:lnTo>
                  <a:lnTo>
                    <a:pt x="2611" y="13841"/>
                  </a:lnTo>
                  <a:lnTo>
                    <a:pt x="2624" y="13858"/>
                  </a:lnTo>
                  <a:lnTo>
                    <a:pt x="2640" y="13875"/>
                  </a:lnTo>
                  <a:lnTo>
                    <a:pt x="2655" y="13890"/>
                  </a:lnTo>
                  <a:lnTo>
                    <a:pt x="2670" y="13905"/>
                  </a:lnTo>
                  <a:lnTo>
                    <a:pt x="2687" y="13920"/>
                  </a:lnTo>
                  <a:lnTo>
                    <a:pt x="2704" y="13933"/>
                  </a:lnTo>
                  <a:lnTo>
                    <a:pt x="2722" y="13946"/>
                  </a:lnTo>
                  <a:lnTo>
                    <a:pt x="2740" y="13958"/>
                  </a:lnTo>
                  <a:lnTo>
                    <a:pt x="2760" y="13968"/>
                  </a:lnTo>
                  <a:lnTo>
                    <a:pt x="2779" y="13978"/>
                  </a:lnTo>
                  <a:lnTo>
                    <a:pt x="2800" y="13987"/>
                  </a:lnTo>
                  <a:lnTo>
                    <a:pt x="2820" y="13996"/>
                  </a:lnTo>
                  <a:lnTo>
                    <a:pt x="2841" y="14003"/>
                  </a:lnTo>
                  <a:lnTo>
                    <a:pt x="2863" y="14009"/>
                  </a:lnTo>
                  <a:lnTo>
                    <a:pt x="2886" y="14014"/>
                  </a:lnTo>
                  <a:lnTo>
                    <a:pt x="2908" y="14018"/>
                  </a:lnTo>
                  <a:lnTo>
                    <a:pt x="2931" y="14021"/>
                  </a:lnTo>
                  <a:lnTo>
                    <a:pt x="2954" y="14022"/>
                  </a:lnTo>
                  <a:lnTo>
                    <a:pt x="2977" y="14023"/>
                  </a:lnTo>
                  <a:lnTo>
                    <a:pt x="3018" y="14021"/>
                  </a:lnTo>
                  <a:lnTo>
                    <a:pt x="3060" y="14017"/>
                  </a:lnTo>
                  <a:lnTo>
                    <a:pt x="3078" y="14016"/>
                  </a:lnTo>
                  <a:lnTo>
                    <a:pt x="3093" y="14015"/>
                  </a:lnTo>
                  <a:lnTo>
                    <a:pt x="3099" y="14015"/>
                  </a:lnTo>
                  <a:lnTo>
                    <a:pt x="3103" y="14015"/>
                  </a:lnTo>
                  <a:lnTo>
                    <a:pt x="3105" y="14016"/>
                  </a:lnTo>
                  <a:lnTo>
                    <a:pt x="3106" y="14016"/>
                  </a:lnTo>
                  <a:lnTo>
                    <a:pt x="3254" y="13989"/>
                  </a:lnTo>
                  <a:lnTo>
                    <a:pt x="3400" y="13955"/>
                  </a:lnTo>
                  <a:lnTo>
                    <a:pt x="3546" y="13915"/>
                  </a:lnTo>
                  <a:lnTo>
                    <a:pt x="3690" y="13870"/>
                  </a:lnTo>
                  <a:lnTo>
                    <a:pt x="3833" y="13819"/>
                  </a:lnTo>
                  <a:lnTo>
                    <a:pt x="3976" y="13763"/>
                  </a:lnTo>
                  <a:lnTo>
                    <a:pt x="4116" y="13701"/>
                  </a:lnTo>
                  <a:lnTo>
                    <a:pt x="4254" y="13637"/>
                  </a:lnTo>
                  <a:lnTo>
                    <a:pt x="4390" y="13569"/>
                  </a:lnTo>
                  <a:lnTo>
                    <a:pt x="4524" y="13497"/>
                  </a:lnTo>
                  <a:lnTo>
                    <a:pt x="4656" y="13423"/>
                  </a:lnTo>
                  <a:lnTo>
                    <a:pt x="4784" y="13346"/>
                  </a:lnTo>
                  <a:lnTo>
                    <a:pt x="4910" y="13267"/>
                  </a:lnTo>
                  <a:lnTo>
                    <a:pt x="5033" y="13186"/>
                  </a:lnTo>
                  <a:lnTo>
                    <a:pt x="5153" y="13104"/>
                  </a:lnTo>
                  <a:lnTo>
                    <a:pt x="5269" y="13021"/>
                  </a:lnTo>
                  <a:lnTo>
                    <a:pt x="5382" y="12938"/>
                  </a:lnTo>
                  <a:lnTo>
                    <a:pt x="5491" y="12854"/>
                  </a:lnTo>
                  <a:lnTo>
                    <a:pt x="5596" y="12771"/>
                  </a:lnTo>
                  <a:lnTo>
                    <a:pt x="5697" y="12689"/>
                  </a:lnTo>
                  <a:lnTo>
                    <a:pt x="5793" y="12608"/>
                  </a:lnTo>
                  <a:lnTo>
                    <a:pt x="5885" y="12528"/>
                  </a:lnTo>
                  <a:lnTo>
                    <a:pt x="5972" y="12450"/>
                  </a:lnTo>
                  <a:lnTo>
                    <a:pt x="6055" y="12375"/>
                  </a:lnTo>
                  <a:lnTo>
                    <a:pt x="6131" y="12302"/>
                  </a:lnTo>
                  <a:lnTo>
                    <a:pt x="6203" y="12233"/>
                  </a:lnTo>
                  <a:lnTo>
                    <a:pt x="6269" y="12167"/>
                  </a:lnTo>
                  <a:lnTo>
                    <a:pt x="6330" y="12105"/>
                  </a:lnTo>
                  <a:lnTo>
                    <a:pt x="6384" y="12048"/>
                  </a:lnTo>
                  <a:lnTo>
                    <a:pt x="6433" y="11995"/>
                  </a:lnTo>
                  <a:lnTo>
                    <a:pt x="6475" y="11947"/>
                  </a:lnTo>
                  <a:lnTo>
                    <a:pt x="6510" y="11906"/>
                  </a:lnTo>
                  <a:lnTo>
                    <a:pt x="6605" y="11919"/>
                  </a:lnTo>
                  <a:lnTo>
                    <a:pt x="6700" y="11932"/>
                  </a:lnTo>
                  <a:lnTo>
                    <a:pt x="6796" y="11943"/>
                  </a:lnTo>
                  <a:lnTo>
                    <a:pt x="6891" y="11954"/>
                  </a:lnTo>
                  <a:lnTo>
                    <a:pt x="6987" y="11965"/>
                  </a:lnTo>
                  <a:lnTo>
                    <a:pt x="7083" y="11974"/>
                  </a:lnTo>
                  <a:lnTo>
                    <a:pt x="7180" y="11983"/>
                  </a:lnTo>
                  <a:lnTo>
                    <a:pt x="7278" y="11990"/>
                  </a:lnTo>
                  <a:lnTo>
                    <a:pt x="7374" y="11997"/>
                  </a:lnTo>
                  <a:lnTo>
                    <a:pt x="7472" y="12003"/>
                  </a:lnTo>
                  <a:lnTo>
                    <a:pt x="7571" y="12008"/>
                  </a:lnTo>
                  <a:lnTo>
                    <a:pt x="7669" y="12012"/>
                  </a:lnTo>
                  <a:lnTo>
                    <a:pt x="7768" y="12016"/>
                  </a:lnTo>
                  <a:lnTo>
                    <a:pt x="7867" y="12018"/>
                  </a:lnTo>
                  <a:lnTo>
                    <a:pt x="7966" y="12019"/>
                  </a:lnTo>
                  <a:lnTo>
                    <a:pt x="8066" y="12020"/>
                  </a:lnTo>
                  <a:lnTo>
                    <a:pt x="8481" y="12012"/>
                  </a:lnTo>
                  <a:lnTo>
                    <a:pt x="8891" y="11989"/>
                  </a:lnTo>
                  <a:lnTo>
                    <a:pt x="9294" y="11951"/>
                  </a:lnTo>
                  <a:lnTo>
                    <a:pt x="9691" y="11898"/>
                  </a:lnTo>
                  <a:lnTo>
                    <a:pt x="10081" y="11830"/>
                  </a:lnTo>
                  <a:lnTo>
                    <a:pt x="10465" y="11749"/>
                  </a:lnTo>
                  <a:lnTo>
                    <a:pt x="10840" y="11655"/>
                  </a:lnTo>
                  <a:lnTo>
                    <a:pt x="11206" y="11547"/>
                  </a:lnTo>
                  <a:lnTo>
                    <a:pt x="11563" y="11427"/>
                  </a:lnTo>
                  <a:lnTo>
                    <a:pt x="11910" y="11295"/>
                  </a:lnTo>
                  <a:lnTo>
                    <a:pt x="12248" y="11149"/>
                  </a:lnTo>
                  <a:lnTo>
                    <a:pt x="12576" y="10993"/>
                  </a:lnTo>
                  <a:lnTo>
                    <a:pt x="12891" y="10826"/>
                  </a:lnTo>
                  <a:lnTo>
                    <a:pt x="13197" y="10647"/>
                  </a:lnTo>
                  <a:lnTo>
                    <a:pt x="13489" y="10458"/>
                  </a:lnTo>
                  <a:lnTo>
                    <a:pt x="13770" y="10260"/>
                  </a:lnTo>
                  <a:lnTo>
                    <a:pt x="14037" y="10050"/>
                  </a:lnTo>
                  <a:lnTo>
                    <a:pt x="14290" y="9832"/>
                  </a:lnTo>
                  <a:lnTo>
                    <a:pt x="14530" y="9606"/>
                  </a:lnTo>
                  <a:lnTo>
                    <a:pt x="14755" y="9370"/>
                  </a:lnTo>
                  <a:lnTo>
                    <a:pt x="14964" y="9126"/>
                  </a:lnTo>
                  <a:lnTo>
                    <a:pt x="15158" y="8875"/>
                  </a:lnTo>
                  <a:lnTo>
                    <a:pt x="15336" y="8615"/>
                  </a:lnTo>
                  <a:lnTo>
                    <a:pt x="15498" y="8349"/>
                  </a:lnTo>
                  <a:lnTo>
                    <a:pt x="15643" y="8076"/>
                  </a:lnTo>
                  <a:lnTo>
                    <a:pt x="15769" y="7797"/>
                  </a:lnTo>
                  <a:lnTo>
                    <a:pt x="15878" y="7511"/>
                  </a:lnTo>
                  <a:lnTo>
                    <a:pt x="15968" y="7221"/>
                  </a:lnTo>
                  <a:lnTo>
                    <a:pt x="16039" y="6925"/>
                  </a:lnTo>
                  <a:lnTo>
                    <a:pt x="16091" y="6624"/>
                  </a:lnTo>
                  <a:lnTo>
                    <a:pt x="16122" y="6319"/>
                  </a:lnTo>
                  <a:lnTo>
                    <a:pt x="16132" y="6010"/>
                  </a:lnTo>
                  <a:lnTo>
                    <a:pt x="16122" y="5700"/>
                  </a:lnTo>
                  <a:lnTo>
                    <a:pt x="16091" y="5396"/>
                  </a:lnTo>
                  <a:lnTo>
                    <a:pt x="16039" y="5094"/>
                  </a:lnTo>
                  <a:lnTo>
                    <a:pt x="15968" y="4799"/>
                  </a:lnTo>
                  <a:lnTo>
                    <a:pt x="15878" y="4508"/>
                  </a:lnTo>
                  <a:lnTo>
                    <a:pt x="15769" y="4223"/>
                  </a:lnTo>
                  <a:lnTo>
                    <a:pt x="15643" y="3943"/>
                  </a:lnTo>
                  <a:lnTo>
                    <a:pt x="15498" y="3671"/>
                  </a:lnTo>
                  <a:lnTo>
                    <a:pt x="15336" y="3405"/>
                  </a:lnTo>
                  <a:lnTo>
                    <a:pt x="15158" y="3145"/>
                  </a:lnTo>
                  <a:lnTo>
                    <a:pt x="14964" y="2894"/>
                  </a:lnTo>
                  <a:lnTo>
                    <a:pt x="14755" y="2649"/>
                  </a:lnTo>
                  <a:lnTo>
                    <a:pt x="14530" y="2414"/>
                  </a:lnTo>
                  <a:lnTo>
                    <a:pt x="14290" y="2188"/>
                  </a:lnTo>
                  <a:lnTo>
                    <a:pt x="14037" y="1969"/>
                  </a:lnTo>
                  <a:lnTo>
                    <a:pt x="13770" y="1760"/>
                  </a:lnTo>
                  <a:lnTo>
                    <a:pt x="13489" y="1562"/>
                  </a:lnTo>
                  <a:lnTo>
                    <a:pt x="13197" y="1372"/>
                  </a:lnTo>
                  <a:lnTo>
                    <a:pt x="12891" y="1194"/>
                  </a:lnTo>
                  <a:lnTo>
                    <a:pt x="12576" y="1027"/>
                  </a:lnTo>
                  <a:lnTo>
                    <a:pt x="12248" y="870"/>
                  </a:lnTo>
                  <a:lnTo>
                    <a:pt x="11910" y="725"/>
                  </a:lnTo>
                  <a:lnTo>
                    <a:pt x="11563" y="593"/>
                  </a:lnTo>
                  <a:lnTo>
                    <a:pt x="11206" y="473"/>
                  </a:lnTo>
                  <a:lnTo>
                    <a:pt x="10840" y="365"/>
                  </a:lnTo>
                  <a:lnTo>
                    <a:pt x="10465" y="270"/>
                  </a:lnTo>
                  <a:lnTo>
                    <a:pt x="10081" y="189"/>
                  </a:lnTo>
                  <a:lnTo>
                    <a:pt x="9691" y="122"/>
                  </a:lnTo>
                  <a:lnTo>
                    <a:pt x="9294" y="69"/>
                  </a:lnTo>
                  <a:lnTo>
                    <a:pt x="8891" y="31"/>
                  </a:lnTo>
                  <a:lnTo>
                    <a:pt x="8481" y="8"/>
                  </a:lnTo>
                  <a:lnTo>
                    <a:pt x="80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80" name="i$ḷiḋé">
              <a:extLst>
                <a:ext uri="{FF2B5EF4-FFF2-40B4-BE49-F238E27FC236}">
                  <a16:creationId xmlns:a16="http://schemas.microsoft.com/office/drawing/2014/main" id="{8ED71717-84FB-4153-BAB7-A1C82211AC68}"/>
                </a:ext>
              </a:extLst>
            </p:cNvPr>
            <p:cNvSpPr/>
            <p:nvPr/>
          </p:nvSpPr>
          <p:spPr bwMode="auto">
            <a:xfrm>
              <a:off x="5665456" y="574997"/>
              <a:ext cx="131262" cy="131262"/>
            </a:xfrm>
            <a:custGeom>
              <a:avLst/>
              <a:gdLst>
                <a:gd name="T0" fmla="*/ 3521 w 6031"/>
                <a:gd name="T1" fmla="*/ 553 h 6022"/>
                <a:gd name="T2" fmla="*/ 4104 w 6031"/>
                <a:gd name="T3" fmla="*/ 750 h 6022"/>
                <a:gd name="T4" fmla="*/ 4613 w 6031"/>
                <a:gd name="T5" fmla="*/ 1076 h 6022"/>
                <a:gd name="T6" fmla="*/ 5029 w 6031"/>
                <a:gd name="T7" fmla="*/ 1511 h 6022"/>
                <a:gd name="T8" fmla="*/ 5330 w 6031"/>
                <a:gd name="T9" fmla="*/ 2036 h 6022"/>
                <a:gd name="T10" fmla="*/ 5499 w 6031"/>
                <a:gd name="T11" fmla="*/ 2630 h 6022"/>
                <a:gd name="T12" fmla="*/ 5515 w 6031"/>
                <a:gd name="T13" fmla="*/ 3268 h 6022"/>
                <a:gd name="T14" fmla="*/ 5375 w 6031"/>
                <a:gd name="T15" fmla="*/ 3873 h 6022"/>
                <a:gd name="T16" fmla="*/ 5098 w 6031"/>
                <a:gd name="T17" fmla="*/ 4413 h 6022"/>
                <a:gd name="T18" fmla="*/ 4704 w 6031"/>
                <a:gd name="T19" fmla="*/ 4868 h 6022"/>
                <a:gd name="T20" fmla="*/ 4213 w 6031"/>
                <a:gd name="T21" fmla="*/ 5217 h 6022"/>
                <a:gd name="T22" fmla="*/ 3643 w 6031"/>
                <a:gd name="T23" fmla="*/ 5441 h 6022"/>
                <a:gd name="T24" fmla="*/ 3016 w 6031"/>
                <a:gd name="T25" fmla="*/ 5520 h 6022"/>
                <a:gd name="T26" fmla="*/ 2388 w 6031"/>
                <a:gd name="T27" fmla="*/ 5441 h 6022"/>
                <a:gd name="T28" fmla="*/ 1818 w 6031"/>
                <a:gd name="T29" fmla="*/ 5217 h 6022"/>
                <a:gd name="T30" fmla="*/ 1327 w 6031"/>
                <a:gd name="T31" fmla="*/ 4868 h 6022"/>
                <a:gd name="T32" fmla="*/ 932 w 6031"/>
                <a:gd name="T33" fmla="*/ 4413 h 6022"/>
                <a:gd name="T34" fmla="*/ 656 w 6031"/>
                <a:gd name="T35" fmla="*/ 3873 h 6022"/>
                <a:gd name="T36" fmla="*/ 516 w 6031"/>
                <a:gd name="T37" fmla="*/ 3268 h 6022"/>
                <a:gd name="T38" fmla="*/ 532 w 6031"/>
                <a:gd name="T39" fmla="*/ 2630 h 6022"/>
                <a:gd name="T40" fmla="*/ 701 w 6031"/>
                <a:gd name="T41" fmla="*/ 2036 h 6022"/>
                <a:gd name="T42" fmla="*/ 1002 w 6031"/>
                <a:gd name="T43" fmla="*/ 1511 h 6022"/>
                <a:gd name="T44" fmla="*/ 1417 w 6031"/>
                <a:gd name="T45" fmla="*/ 1076 h 6022"/>
                <a:gd name="T46" fmla="*/ 1927 w 6031"/>
                <a:gd name="T47" fmla="*/ 750 h 6022"/>
                <a:gd name="T48" fmla="*/ 2510 w 6031"/>
                <a:gd name="T49" fmla="*/ 553 h 6022"/>
                <a:gd name="T50" fmla="*/ 3016 w 6031"/>
                <a:gd name="T51" fmla="*/ 6022 h 6022"/>
                <a:gd name="T52" fmla="*/ 3768 w 6031"/>
                <a:gd name="T53" fmla="*/ 5928 h 6022"/>
                <a:gd name="T54" fmla="*/ 4452 w 6031"/>
                <a:gd name="T55" fmla="*/ 5659 h 6022"/>
                <a:gd name="T56" fmla="*/ 5042 w 6031"/>
                <a:gd name="T57" fmla="*/ 5239 h 6022"/>
                <a:gd name="T58" fmla="*/ 5515 w 6031"/>
                <a:gd name="T59" fmla="*/ 4693 h 6022"/>
                <a:gd name="T60" fmla="*/ 5848 w 6031"/>
                <a:gd name="T61" fmla="*/ 4046 h 6022"/>
                <a:gd name="T62" fmla="*/ 6015 w 6031"/>
                <a:gd name="T63" fmla="*/ 3318 h 6022"/>
                <a:gd name="T64" fmla="*/ 5996 w 6031"/>
                <a:gd name="T65" fmla="*/ 2554 h 6022"/>
                <a:gd name="T66" fmla="*/ 5794 w 6031"/>
                <a:gd name="T67" fmla="*/ 1840 h 6022"/>
                <a:gd name="T68" fmla="*/ 5431 w 6031"/>
                <a:gd name="T69" fmla="*/ 1211 h 6022"/>
                <a:gd name="T70" fmla="*/ 4932 w 6031"/>
                <a:gd name="T71" fmla="*/ 689 h 6022"/>
                <a:gd name="T72" fmla="*/ 4322 w 6031"/>
                <a:gd name="T73" fmla="*/ 297 h 6022"/>
                <a:gd name="T74" fmla="*/ 3623 w 6031"/>
                <a:gd name="T75" fmla="*/ 62 h 6022"/>
                <a:gd name="T76" fmla="*/ 2861 w 6031"/>
                <a:gd name="T77" fmla="*/ 4 h 6022"/>
                <a:gd name="T78" fmla="*/ 2120 w 6031"/>
                <a:gd name="T79" fmla="*/ 136 h 6022"/>
                <a:gd name="T80" fmla="*/ 1453 w 6031"/>
                <a:gd name="T81" fmla="*/ 437 h 6022"/>
                <a:gd name="T82" fmla="*/ 884 w 6031"/>
                <a:gd name="T83" fmla="*/ 884 h 6022"/>
                <a:gd name="T84" fmla="*/ 437 w 6031"/>
                <a:gd name="T85" fmla="*/ 1452 h 6022"/>
                <a:gd name="T86" fmla="*/ 136 w 6031"/>
                <a:gd name="T87" fmla="*/ 2117 h 6022"/>
                <a:gd name="T88" fmla="*/ 4 w 6031"/>
                <a:gd name="T89" fmla="*/ 2857 h 6022"/>
                <a:gd name="T90" fmla="*/ 62 w 6031"/>
                <a:gd name="T91" fmla="*/ 3617 h 6022"/>
                <a:gd name="T92" fmla="*/ 298 w 6031"/>
                <a:gd name="T93" fmla="*/ 4316 h 6022"/>
                <a:gd name="T94" fmla="*/ 690 w 6031"/>
                <a:gd name="T95" fmla="*/ 4925 h 6022"/>
                <a:gd name="T96" fmla="*/ 1212 w 6031"/>
                <a:gd name="T97" fmla="*/ 5424 h 6022"/>
                <a:gd name="T98" fmla="*/ 1843 w 6031"/>
                <a:gd name="T99" fmla="*/ 5785 h 6022"/>
                <a:gd name="T100" fmla="*/ 2557 w 6031"/>
                <a:gd name="T101" fmla="*/ 5988 h 6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31" h="6022">
                  <a:moveTo>
                    <a:pt x="3016" y="502"/>
                  </a:moveTo>
                  <a:lnTo>
                    <a:pt x="3144" y="505"/>
                  </a:lnTo>
                  <a:lnTo>
                    <a:pt x="3272" y="515"/>
                  </a:lnTo>
                  <a:lnTo>
                    <a:pt x="3397" y="531"/>
                  </a:lnTo>
                  <a:lnTo>
                    <a:pt x="3521" y="553"/>
                  </a:lnTo>
                  <a:lnTo>
                    <a:pt x="3643" y="582"/>
                  </a:lnTo>
                  <a:lnTo>
                    <a:pt x="3762" y="616"/>
                  </a:lnTo>
                  <a:lnTo>
                    <a:pt x="3879" y="655"/>
                  </a:lnTo>
                  <a:lnTo>
                    <a:pt x="3992" y="700"/>
                  </a:lnTo>
                  <a:lnTo>
                    <a:pt x="4104" y="750"/>
                  </a:lnTo>
                  <a:lnTo>
                    <a:pt x="4213" y="805"/>
                  </a:lnTo>
                  <a:lnTo>
                    <a:pt x="4318" y="866"/>
                  </a:lnTo>
                  <a:lnTo>
                    <a:pt x="4420" y="932"/>
                  </a:lnTo>
                  <a:lnTo>
                    <a:pt x="4518" y="1001"/>
                  </a:lnTo>
                  <a:lnTo>
                    <a:pt x="4613" y="1076"/>
                  </a:lnTo>
                  <a:lnTo>
                    <a:pt x="4704" y="1155"/>
                  </a:lnTo>
                  <a:lnTo>
                    <a:pt x="4791" y="1238"/>
                  </a:lnTo>
                  <a:lnTo>
                    <a:pt x="4875" y="1325"/>
                  </a:lnTo>
                  <a:lnTo>
                    <a:pt x="4954" y="1417"/>
                  </a:lnTo>
                  <a:lnTo>
                    <a:pt x="5029" y="1511"/>
                  </a:lnTo>
                  <a:lnTo>
                    <a:pt x="5098" y="1609"/>
                  </a:lnTo>
                  <a:lnTo>
                    <a:pt x="5164" y="1712"/>
                  </a:lnTo>
                  <a:lnTo>
                    <a:pt x="5225" y="1816"/>
                  </a:lnTo>
                  <a:lnTo>
                    <a:pt x="5280" y="1924"/>
                  </a:lnTo>
                  <a:lnTo>
                    <a:pt x="5330" y="2036"/>
                  </a:lnTo>
                  <a:lnTo>
                    <a:pt x="5375" y="2149"/>
                  </a:lnTo>
                  <a:lnTo>
                    <a:pt x="5415" y="2266"/>
                  </a:lnTo>
                  <a:lnTo>
                    <a:pt x="5449" y="2385"/>
                  </a:lnTo>
                  <a:lnTo>
                    <a:pt x="5477" y="2506"/>
                  </a:lnTo>
                  <a:lnTo>
                    <a:pt x="5499" y="2630"/>
                  </a:lnTo>
                  <a:lnTo>
                    <a:pt x="5515" y="2755"/>
                  </a:lnTo>
                  <a:lnTo>
                    <a:pt x="5525" y="2883"/>
                  </a:lnTo>
                  <a:lnTo>
                    <a:pt x="5528" y="3011"/>
                  </a:lnTo>
                  <a:lnTo>
                    <a:pt x="5525" y="3141"/>
                  </a:lnTo>
                  <a:lnTo>
                    <a:pt x="5515" y="3268"/>
                  </a:lnTo>
                  <a:lnTo>
                    <a:pt x="5499" y="3394"/>
                  </a:lnTo>
                  <a:lnTo>
                    <a:pt x="5477" y="3517"/>
                  </a:lnTo>
                  <a:lnTo>
                    <a:pt x="5449" y="3638"/>
                  </a:lnTo>
                  <a:lnTo>
                    <a:pt x="5415" y="3757"/>
                  </a:lnTo>
                  <a:lnTo>
                    <a:pt x="5375" y="3873"/>
                  </a:lnTo>
                  <a:lnTo>
                    <a:pt x="5330" y="3988"/>
                  </a:lnTo>
                  <a:lnTo>
                    <a:pt x="5280" y="4098"/>
                  </a:lnTo>
                  <a:lnTo>
                    <a:pt x="5225" y="4207"/>
                  </a:lnTo>
                  <a:lnTo>
                    <a:pt x="5164" y="4312"/>
                  </a:lnTo>
                  <a:lnTo>
                    <a:pt x="5098" y="4413"/>
                  </a:lnTo>
                  <a:lnTo>
                    <a:pt x="5029" y="4512"/>
                  </a:lnTo>
                  <a:lnTo>
                    <a:pt x="4954" y="4607"/>
                  </a:lnTo>
                  <a:lnTo>
                    <a:pt x="4875" y="4697"/>
                  </a:lnTo>
                  <a:lnTo>
                    <a:pt x="4791" y="4785"/>
                  </a:lnTo>
                  <a:lnTo>
                    <a:pt x="4704" y="4868"/>
                  </a:lnTo>
                  <a:lnTo>
                    <a:pt x="4613" y="4947"/>
                  </a:lnTo>
                  <a:lnTo>
                    <a:pt x="4518" y="5022"/>
                  </a:lnTo>
                  <a:lnTo>
                    <a:pt x="4420" y="5092"/>
                  </a:lnTo>
                  <a:lnTo>
                    <a:pt x="4318" y="5157"/>
                  </a:lnTo>
                  <a:lnTo>
                    <a:pt x="4213" y="5217"/>
                  </a:lnTo>
                  <a:lnTo>
                    <a:pt x="4104" y="5272"/>
                  </a:lnTo>
                  <a:lnTo>
                    <a:pt x="3992" y="5324"/>
                  </a:lnTo>
                  <a:lnTo>
                    <a:pt x="3879" y="5368"/>
                  </a:lnTo>
                  <a:lnTo>
                    <a:pt x="3762" y="5408"/>
                  </a:lnTo>
                  <a:lnTo>
                    <a:pt x="3643" y="5441"/>
                  </a:lnTo>
                  <a:lnTo>
                    <a:pt x="3521" y="5469"/>
                  </a:lnTo>
                  <a:lnTo>
                    <a:pt x="3397" y="5491"/>
                  </a:lnTo>
                  <a:lnTo>
                    <a:pt x="3272" y="5507"/>
                  </a:lnTo>
                  <a:lnTo>
                    <a:pt x="3144" y="5517"/>
                  </a:lnTo>
                  <a:lnTo>
                    <a:pt x="3016" y="5520"/>
                  </a:lnTo>
                  <a:lnTo>
                    <a:pt x="2886" y="5517"/>
                  </a:lnTo>
                  <a:lnTo>
                    <a:pt x="2759" y="5507"/>
                  </a:lnTo>
                  <a:lnTo>
                    <a:pt x="2634" y="5491"/>
                  </a:lnTo>
                  <a:lnTo>
                    <a:pt x="2510" y="5469"/>
                  </a:lnTo>
                  <a:lnTo>
                    <a:pt x="2388" y="5441"/>
                  </a:lnTo>
                  <a:lnTo>
                    <a:pt x="2269" y="5408"/>
                  </a:lnTo>
                  <a:lnTo>
                    <a:pt x="2152" y="5368"/>
                  </a:lnTo>
                  <a:lnTo>
                    <a:pt x="2039" y="5324"/>
                  </a:lnTo>
                  <a:lnTo>
                    <a:pt x="1927" y="5272"/>
                  </a:lnTo>
                  <a:lnTo>
                    <a:pt x="1818" y="5217"/>
                  </a:lnTo>
                  <a:lnTo>
                    <a:pt x="1713" y="5157"/>
                  </a:lnTo>
                  <a:lnTo>
                    <a:pt x="1611" y="5092"/>
                  </a:lnTo>
                  <a:lnTo>
                    <a:pt x="1513" y="5022"/>
                  </a:lnTo>
                  <a:lnTo>
                    <a:pt x="1417" y="4947"/>
                  </a:lnTo>
                  <a:lnTo>
                    <a:pt x="1327" y="4868"/>
                  </a:lnTo>
                  <a:lnTo>
                    <a:pt x="1240" y="4785"/>
                  </a:lnTo>
                  <a:lnTo>
                    <a:pt x="1156" y="4697"/>
                  </a:lnTo>
                  <a:lnTo>
                    <a:pt x="1077" y="4607"/>
                  </a:lnTo>
                  <a:lnTo>
                    <a:pt x="1002" y="4512"/>
                  </a:lnTo>
                  <a:lnTo>
                    <a:pt x="932" y="4413"/>
                  </a:lnTo>
                  <a:lnTo>
                    <a:pt x="867" y="4312"/>
                  </a:lnTo>
                  <a:lnTo>
                    <a:pt x="806" y="4207"/>
                  </a:lnTo>
                  <a:lnTo>
                    <a:pt x="751" y="4098"/>
                  </a:lnTo>
                  <a:lnTo>
                    <a:pt x="701" y="3988"/>
                  </a:lnTo>
                  <a:lnTo>
                    <a:pt x="656" y="3873"/>
                  </a:lnTo>
                  <a:lnTo>
                    <a:pt x="615" y="3757"/>
                  </a:lnTo>
                  <a:lnTo>
                    <a:pt x="582" y="3638"/>
                  </a:lnTo>
                  <a:lnTo>
                    <a:pt x="554" y="3517"/>
                  </a:lnTo>
                  <a:lnTo>
                    <a:pt x="532" y="3394"/>
                  </a:lnTo>
                  <a:lnTo>
                    <a:pt x="516" y="3268"/>
                  </a:lnTo>
                  <a:lnTo>
                    <a:pt x="506" y="3141"/>
                  </a:lnTo>
                  <a:lnTo>
                    <a:pt x="503" y="3011"/>
                  </a:lnTo>
                  <a:lnTo>
                    <a:pt x="506" y="2883"/>
                  </a:lnTo>
                  <a:lnTo>
                    <a:pt x="516" y="2755"/>
                  </a:lnTo>
                  <a:lnTo>
                    <a:pt x="532" y="2630"/>
                  </a:lnTo>
                  <a:lnTo>
                    <a:pt x="554" y="2506"/>
                  </a:lnTo>
                  <a:lnTo>
                    <a:pt x="582" y="2385"/>
                  </a:lnTo>
                  <a:lnTo>
                    <a:pt x="615" y="2266"/>
                  </a:lnTo>
                  <a:lnTo>
                    <a:pt x="656" y="2149"/>
                  </a:lnTo>
                  <a:lnTo>
                    <a:pt x="701" y="2036"/>
                  </a:lnTo>
                  <a:lnTo>
                    <a:pt x="751" y="1924"/>
                  </a:lnTo>
                  <a:lnTo>
                    <a:pt x="806" y="1816"/>
                  </a:lnTo>
                  <a:lnTo>
                    <a:pt x="867" y="1712"/>
                  </a:lnTo>
                  <a:lnTo>
                    <a:pt x="932" y="1609"/>
                  </a:lnTo>
                  <a:lnTo>
                    <a:pt x="1002" y="1511"/>
                  </a:lnTo>
                  <a:lnTo>
                    <a:pt x="1077" y="1417"/>
                  </a:lnTo>
                  <a:lnTo>
                    <a:pt x="1156" y="1325"/>
                  </a:lnTo>
                  <a:lnTo>
                    <a:pt x="1240" y="1238"/>
                  </a:lnTo>
                  <a:lnTo>
                    <a:pt x="1327" y="1155"/>
                  </a:lnTo>
                  <a:lnTo>
                    <a:pt x="1417" y="1076"/>
                  </a:lnTo>
                  <a:lnTo>
                    <a:pt x="1513" y="1001"/>
                  </a:lnTo>
                  <a:lnTo>
                    <a:pt x="1611" y="932"/>
                  </a:lnTo>
                  <a:lnTo>
                    <a:pt x="1713" y="866"/>
                  </a:lnTo>
                  <a:lnTo>
                    <a:pt x="1818" y="805"/>
                  </a:lnTo>
                  <a:lnTo>
                    <a:pt x="1927" y="750"/>
                  </a:lnTo>
                  <a:lnTo>
                    <a:pt x="2039" y="700"/>
                  </a:lnTo>
                  <a:lnTo>
                    <a:pt x="2152" y="655"/>
                  </a:lnTo>
                  <a:lnTo>
                    <a:pt x="2269" y="616"/>
                  </a:lnTo>
                  <a:lnTo>
                    <a:pt x="2388" y="582"/>
                  </a:lnTo>
                  <a:lnTo>
                    <a:pt x="2510" y="553"/>
                  </a:lnTo>
                  <a:lnTo>
                    <a:pt x="2634" y="531"/>
                  </a:lnTo>
                  <a:lnTo>
                    <a:pt x="2759" y="515"/>
                  </a:lnTo>
                  <a:lnTo>
                    <a:pt x="2886" y="505"/>
                  </a:lnTo>
                  <a:lnTo>
                    <a:pt x="3016" y="502"/>
                  </a:lnTo>
                  <a:close/>
                  <a:moveTo>
                    <a:pt x="3016" y="6022"/>
                  </a:moveTo>
                  <a:lnTo>
                    <a:pt x="3170" y="6018"/>
                  </a:lnTo>
                  <a:lnTo>
                    <a:pt x="3323" y="6007"/>
                  </a:lnTo>
                  <a:lnTo>
                    <a:pt x="3474" y="5988"/>
                  </a:lnTo>
                  <a:lnTo>
                    <a:pt x="3623" y="5961"/>
                  </a:lnTo>
                  <a:lnTo>
                    <a:pt x="3768" y="5928"/>
                  </a:lnTo>
                  <a:lnTo>
                    <a:pt x="3911" y="5887"/>
                  </a:lnTo>
                  <a:lnTo>
                    <a:pt x="4052" y="5840"/>
                  </a:lnTo>
                  <a:lnTo>
                    <a:pt x="4188" y="5785"/>
                  </a:lnTo>
                  <a:lnTo>
                    <a:pt x="4322" y="5725"/>
                  </a:lnTo>
                  <a:lnTo>
                    <a:pt x="4452" y="5659"/>
                  </a:lnTo>
                  <a:lnTo>
                    <a:pt x="4577" y="5586"/>
                  </a:lnTo>
                  <a:lnTo>
                    <a:pt x="4700" y="5507"/>
                  </a:lnTo>
                  <a:lnTo>
                    <a:pt x="4819" y="5424"/>
                  </a:lnTo>
                  <a:lnTo>
                    <a:pt x="4932" y="5334"/>
                  </a:lnTo>
                  <a:lnTo>
                    <a:pt x="5042" y="5239"/>
                  </a:lnTo>
                  <a:lnTo>
                    <a:pt x="5146" y="5140"/>
                  </a:lnTo>
                  <a:lnTo>
                    <a:pt x="5247" y="5035"/>
                  </a:lnTo>
                  <a:lnTo>
                    <a:pt x="5341" y="4925"/>
                  </a:lnTo>
                  <a:lnTo>
                    <a:pt x="5431" y="4812"/>
                  </a:lnTo>
                  <a:lnTo>
                    <a:pt x="5515" y="4693"/>
                  </a:lnTo>
                  <a:lnTo>
                    <a:pt x="5594" y="4572"/>
                  </a:lnTo>
                  <a:lnTo>
                    <a:pt x="5666" y="4445"/>
                  </a:lnTo>
                  <a:lnTo>
                    <a:pt x="5733" y="4316"/>
                  </a:lnTo>
                  <a:lnTo>
                    <a:pt x="5794" y="4183"/>
                  </a:lnTo>
                  <a:lnTo>
                    <a:pt x="5848" y="4046"/>
                  </a:lnTo>
                  <a:lnTo>
                    <a:pt x="5895" y="3906"/>
                  </a:lnTo>
                  <a:lnTo>
                    <a:pt x="5935" y="3763"/>
                  </a:lnTo>
                  <a:lnTo>
                    <a:pt x="5969" y="3617"/>
                  </a:lnTo>
                  <a:lnTo>
                    <a:pt x="5996" y="3469"/>
                  </a:lnTo>
                  <a:lnTo>
                    <a:pt x="6015" y="3318"/>
                  </a:lnTo>
                  <a:lnTo>
                    <a:pt x="6027" y="3166"/>
                  </a:lnTo>
                  <a:lnTo>
                    <a:pt x="6031" y="3011"/>
                  </a:lnTo>
                  <a:lnTo>
                    <a:pt x="6027" y="2857"/>
                  </a:lnTo>
                  <a:lnTo>
                    <a:pt x="6015" y="2704"/>
                  </a:lnTo>
                  <a:lnTo>
                    <a:pt x="5996" y="2554"/>
                  </a:lnTo>
                  <a:lnTo>
                    <a:pt x="5969" y="2405"/>
                  </a:lnTo>
                  <a:lnTo>
                    <a:pt x="5935" y="2260"/>
                  </a:lnTo>
                  <a:lnTo>
                    <a:pt x="5895" y="2117"/>
                  </a:lnTo>
                  <a:lnTo>
                    <a:pt x="5848" y="1978"/>
                  </a:lnTo>
                  <a:lnTo>
                    <a:pt x="5794" y="1840"/>
                  </a:lnTo>
                  <a:lnTo>
                    <a:pt x="5733" y="1708"/>
                  </a:lnTo>
                  <a:lnTo>
                    <a:pt x="5666" y="1577"/>
                  </a:lnTo>
                  <a:lnTo>
                    <a:pt x="5594" y="1452"/>
                  </a:lnTo>
                  <a:lnTo>
                    <a:pt x="5515" y="1329"/>
                  </a:lnTo>
                  <a:lnTo>
                    <a:pt x="5431" y="1211"/>
                  </a:lnTo>
                  <a:lnTo>
                    <a:pt x="5341" y="1097"/>
                  </a:lnTo>
                  <a:lnTo>
                    <a:pt x="5247" y="988"/>
                  </a:lnTo>
                  <a:lnTo>
                    <a:pt x="5146" y="884"/>
                  </a:lnTo>
                  <a:lnTo>
                    <a:pt x="5042" y="783"/>
                  </a:lnTo>
                  <a:lnTo>
                    <a:pt x="4932" y="689"/>
                  </a:lnTo>
                  <a:lnTo>
                    <a:pt x="4819" y="600"/>
                  </a:lnTo>
                  <a:lnTo>
                    <a:pt x="4700" y="515"/>
                  </a:lnTo>
                  <a:lnTo>
                    <a:pt x="4577" y="437"/>
                  </a:lnTo>
                  <a:lnTo>
                    <a:pt x="4452" y="365"/>
                  </a:lnTo>
                  <a:lnTo>
                    <a:pt x="4322" y="297"/>
                  </a:lnTo>
                  <a:lnTo>
                    <a:pt x="4188" y="237"/>
                  </a:lnTo>
                  <a:lnTo>
                    <a:pt x="4052" y="183"/>
                  </a:lnTo>
                  <a:lnTo>
                    <a:pt x="3911" y="136"/>
                  </a:lnTo>
                  <a:lnTo>
                    <a:pt x="3768" y="96"/>
                  </a:lnTo>
                  <a:lnTo>
                    <a:pt x="3623" y="62"/>
                  </a:lnTo>
                  <a:lnTo>
                    <a:pt x="3474" y="36"/>
                  </a:lnTo>
                  <a:lnTo>
                    <a:pt x="3323" y="16"/>
                  </a:lnTo>
                  <a:lnTo>
                    <a:pt x="3170" y="4"/>
                  </a:lnTo>
                  <a:lnTo>
                    <a:pt x="3016" y="0"/>
                  </a:lnTo>
                  <a:lnTo>
                    <a:pt x="2861" y="4"/>
                  </a:lnTo>
                  <a:lnTo>
                    <a:pt x="2708" y="16"/>
                  </a:lnTo>
                  <a:lnTo>
                    <a:pt x="2557" y="36"/>
                  </a:lnTo>
                  <a:lnTo>
                    <a:pt x="2408" y="62"/>
                  </a:lnTo>
                  <a:lnTo>
                    <a:pt x="2263" y="96"/>
                  </a:lnTo>
                  <a:lnTo>
                    <a:pt x="2120" y="136"/>
                  </a:lnTo>
                  <a:lnTo>
                    <a:pt x="1979" y="183"/>
                  </a:lnTo>
                  <a:lnTo>
                    <a:pt x="1843" y="237"/>
                  </a:lnTo>
                  <a:lnTo>
                    <a:pt x="1709" y="297"/>
                  </a:lnTo>
                  <a:lnTo>
                    <a:pt x="1579" y="365"/>
                  </a:lnTo>
                  <a:lnTo>
                    <a:pt x="1453" y="437"/>
                  </a:lnTo>
                  <a:lnTo>
                    <a:pt x="1331" y="515"/>
                  </a:lnTo>
                  <a:lnTo>
                    <a:pt x="1212" y="600"/>
                  </a:lnTo>
                  <a:lnTo>
                    <a:pt x="1099" y="689"/>
                  </a:lnTo>
                  <a:lnTo>
                    <a:pt x="989" y="783"/>
                  </a:lnTo>
                  <a:lnTo>
                    <a:pt x="884" y="884"/>
                  </a:lnTo>
                  <a:lnTo>
                    <a:pt x="784" y="988"/>
                  </a:lnTo>
                  <a:lnTo>
                    <a:pt x="690" y="1097"/>
                  </a:lnTo>
                  <a:lnTo>
                    <a:pt x="600" y="1211"/>
                  </a:lnTo>
                  <a:lnTo>
                    <a:pt x="516" y="1329"/>
                  </a:lnTo>
                  <a:lnTo>
                    <a:pt x="437" y="1452"/>
                  </a:lnTo>
                  <a:lnTo>
                    <a:pt x="364" y="1577"/>
                  </a:lnTo>
                  <a:lnTo>
                    <a:pt x="298" y="1708"/>
                  </a:lnTo>
                  <a:lnTo>
                    <a:pt x="237" y="1840"/>
                  </a:lnTo>
                  <a:lnTo>
                    <a:pt x="183" y="1978"/>
                  </a:lnTo>
                  <a:lnTo>
                    <a:pt x="136" y="2117"/>
                  </a:lnTo>
                  <a:lnTo>
                    <a:pt x="95" y="2260"/>
                  </a:lnTo>
                  <a:lnTo>
                    <a:pt x="62" y="2405"/>
                  </a:lnTo>
                  <a:lnTo>
                    <a:pt x="35" y="2554"/>
                  </a:lnTo>
                  <a:lnTo>
                    <a:pt x="15" y="2704"/>
                  </a:lnTo>
                  <a:lnTo>
                    <a:pt x="4" y="2857"/>
                  </a:lnTo>
                  <a:lnTo>
                    <a:pt x="0" y="3011"/>
                  </a:lnTo>
                  <a:lnTo>
                    <a:pt x="4" y="3166"/>
                  </a:lnTo>
                  <a:lnTo>
                    <a:pt x="15" y="3318"/>
                  </a:lnTo>
                  <a:lnTo>
                    <a:pt x="35" y="3469"/>
                  </a:lnTo>
                  <a:lnTo>
                    <a:pt x="62" y="3617"/>
                  </a:lnTo>
                  <a:lnTo>
                    <a:pt x="95" y="3763"/>
                  </a:lnTo>
                  <a:lnTo>
                    <a:pt x="136" y="3906"/>
                  </a:lnTo>
                  <a:lnTo>
                    <a:pt x="183" y="4046"/>
                  </a:lnTo>
                  <a:lnTo>
                    <a:pt x="237" y="4183"/>
                  </a:lnTo>
                  <a:lnTo>
                    <a:pt x="298" y="4316"/>
                  </a:lnTo>
                  <a:lnTo>
                    <a:pt x="364" y="4445"/>
                  </a:lnTo>
                  <a:lnTo>
                    <a:pt x="437" y="4572"/>
                  </a:lnTo>
                  <a:lnTo>
                    <a:pt x="516" y="4693"/>
                  </a:lnTo>
                  <a:lnTo>
                    <a:pt x="600" y="4812"/>
                  </a:lnTo>
                  <a:lnTo>
                    <a:pt x="690" y="4925"/>
                  </a:lnTo>
                  <a:lnTo>
                    <a:pt x="784" y="5035"/>
                  </a:lnTo>
                  <a:lnTo>
                    <a:pt x="884" y="5140"/>
                  </a:lnTo>
                  <a:lnTo>
                    <a:pt x="989" y="5239"/>
                  </a:lnTo>
                  <a:lnTo>
                    <a:pt x="1099" y="5334"/>
                  </a:lnTo>
                  <a:lnTo>
                    <a:pt x="1212" y="5424"/>
                  </a:lnTo>
                  <a:lnTo>
                    <a:pt x="1331" y="5507"/>
                  </a:lnTo>
                  <a:lnTo>
                    <a:pt x="1453" y="5586"/>
                  </a:lnTo>
                  <a:lnTo>
                    <a:pt x="1579" y="5659"/>
                  </a:lnTo>
                  <a:lnTo>
                    <a:pt x="1709" y="5725"/>
                  </a:lnTo>
                  <a:lnTo>
                    <a:pt x="1843" y="5785"/>
                  </a:lnTo>
                  <a:lnTo>
                    <a:pt x="1979" y="5840"/>
                  </a:lnTo>
                  <a:lnTo>
                    <a:pt x="2120" y="5887"/>
                  </a:lnTo>
                  <a:lnTo>
                    <a:pt x="2263" y="5928"/>
                  </a:lnTo>
                  <a:lnTo>
                    <a:pt x="2408" y="5961"/>
                  </a:lnTo>
                  <a:lnTo>
                    <a:pt x="2557" y="5988"/>
                  </a:lnTo>
                  <a:lnTo>
                    <a:pt x="2708" y="6007"/>
                  </a:lnTo>
                  <a:lnTo>
                    <a:pt x="2861" y="6018"/>
                  </a:lnTo>
                  <a:lnTo>
                    <a:pt x="3016" y="60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81" name="íṣļiḋè">
              <a:extLst>
                <a:ext uri="{FF2B5EF4-FFF2-40B4-BE49-F238E27FC236}">
                  <a16:creationId xmlns:a16="http://schemas.microsoft.com/office/drawing/2014/main" id="{193C58D7-E04A-4668-A319-53645314DEFC}"/>
                </a:ext>
              </a:extLst>
            </p:cNvPr>
            <p:cNvSpPr/>
            <p:nvPr/>
          </p:nvSpPr>
          <p:spPr bwMode="auto">
            <a:xfrm>
              <a:off x="5599422" y="512185"/>
              <a:ext cx="262524" cy="349494"/>
            </a:xfrm>
            <a:custGeom>
              <a:avLst/>
              <a:gdLst>
                <a:gd name="T0" fmla="*/ 6018 w 12062"/>
                <a:gd name="T1" fmla="*/ 15039 h 16058"/>
                <a:gd name="T2" fmla="*/ 5780 w 12062"/>
                <a:gd name="T3" fmla="*/ 14775 h 16058"/>
                <a:gd name="T4" fmla="*/ 4611 w 12062"/>
                <a:gd name="T5" fmla="*/ 13399 h 16058"/>
                <a:gd name="T6" fmla="*/ 3378 w 12062"/>
                <a:gd name="T7" fmla="*/ 11797 h 16058"/>
                <a:gd name="T8" fmla="*/ 2251 w 12062"/>
                <a:gd name="T9" fmla="*/ 10038 h 16058"/>
                <a:gd name="T10" fmla="*/ 1406 w 12062"/>
                <a:gd name="T11" fmla="*/ 8193 h 16058"/>
                <a:gd name="T12" fmla="*/ 1014 w 12062"/>
                <a:gd name="T13" fmla="*/ 6330 h 16058"/>
                <a:gd name="T14" fmla="*/ 1164 w 12062"/>
                <a:gd name="T15" fmla="*/ 4770 h 16058"/>
                <a:gd name="T16" fmla="*/ 1734 w 12062"/>
                <a:gd name="T17" fmla="*/ 3422 h 16058"/>
                <a:gd name="T18" fmla="*/ 2653 w 12062"/>
                <a:gd name="T19" fmla="*/ 2309 h 16058"/>
                <a:gd name="T20" fmla="*/ 3854 w 12062"/>
                <a:gd name="T21" fmla="*/ 1499 h 16058"/>
                <a:gd name="T22" fmla="*/ 5267 w 12062"/>
                <a:gd name="T23" fmla="*/ 1062 h 16058"/>
                <a:gd name="T24" fmla="*/ 6795 w 12062"/>
                <a:gd name="T25" fmla="*/ 1062 h 16058"/>
                <a:gd name="T26" fmla="*/ 8208 w 12062"/>
                <a:gd name="T27" fmla="*/ 1499 h 16058"/>
                <a:gd name="T28" fmla="*/ 9409 w 12062"/>
                <a:gd name="T29" fmla="*/ 2309 h 16058"/>
                <a:gd name="T30" fmla="*/ 10328 w 12062"/>
                <a:gd name="T31" fmla="*/ 3422 h 16058"/>
                <a:gd name="T32" fmla="*/ 10898 w 12062"/>
                <a:gd name="T33" fmla="*/ 4770 h 16058"/>
                <a:gd name="T34" fmla="*/ 11048 w 12062"/>
                <a:gd name="T35" fmla="*/ 6330 h 16058"/>
                <a:gd name="T36" fmla="*/ 10656 w 12062"/>
                <a:gd name="T37" fmla="*/ 8193 h 16058"/>
                <a:gd name="T38" fmla="*/ 9810 w 12062"/>
                <a:gd name="T39" fmla="*/ 10039 h 16058"/>
                <a:gd name="T40" fmla="*/ 8681 w 12062"/>
                <a:gd name="T41" fmla="*/ 11801 h 16058"/>
                <a:gd name="T42" fmla="*/ 7443 w 12062"/>
                <a:gd name="T43" fmla="*/ 13407 h 16058"/>
                <a:gd name="T44" fmla="*/ 6267 w 12062"/>
                <a:gd name="T45" fmla="*/ 14791 h 16058"/>
                <a:gd name="T46" fmla="*/ 4817 w 12062"/>
                <a:gd name="T47" fmla="*/ 121 h 16058"/>
                <a:gd name="T48" fmla="*/ 3159 w 12062"/>
                <a:gd name="T49" fmla="*/ 722 h 16058"/>
                <a:gd name="T50" fmla="*/ 1768 w 12062"/>
                <a:gd name="T51" fmla="*/ 1753 h 16058"/>
                <a:gd name="T52" fmla="*/ 729 w 12062"/>
                <a:gd name="T53" fmla="*/ 3139 h 16058"/>
                <a:gd name="T54" fmla="*/ 123 w 12062"/>
                <a:gd name="T55" fmla="*/ 4801 h 16058"/>
                <a:gd name="T56" fmla="*/ 34 w 12062"/>
                <a:gd name="T57" fmla="*/ 6682 h 16058"/>
                <a:gd name="T58" fmla="*/ 506 w 12062"/>
                <a:gd name="T59" fmla="*/ 8654 h 16058"/>
                <a:gd name="T60" fmla="*/ 1411 w 12062"/>
                <a:gd name="T61" fmla="*/ 10583 h 16058"/>
                <a:gd name="T62" fmla="*/ 2598 w 12062"/>
                <a:gd name="T63" fmla="*/ 12423 h 16058"/>
                <a:gd name="T64" fmla="*/ 3917 w 12062"/>
                <a:gd name="T65" fmla="*/ 14129 h 16058"/>
                <a:gd name="T66" fmla="*/ 5214 w 12062"/>
                <a:gd name="T67" fmla="*/ 15655 h 16058"/>
                <a:gd name="T68" fmla="*/ 5355 w 12062"/>
                <a:gd name="T69" fmla="*/ 15786 h 16058"/>
                <a:gd name="T70" fmla="*/ 5509 w 12062"/>
                <a:gd name="T71" fmla="*/ 15897 h 16058"/>
                <a:gd name="T72" fmla="*/ 5705 w 12062"/>
                <a:gd name="T73" fmla="*/ 15997 h 16058"/>
                <a:gd name="T74" fmla="*/ 5931 w 12062"/>
                <a:gd name="T75" fmla="*/ 16054 h 16058"/>
                <a:gd name="T76" fmla="*/ 6170 w 12062"/>
                <a:gd name="T77" fmla="*/ 16048 h 16058"/>
                <a:gd name="T78" fmla="*/ 6392 w 12062"/>
                <a:gd name="T79" fmla="*/ 15982 h 16058"/>
                <a:gd name="T80" fmla="*/ 6581 w 12062"/>
                <a:gd name="T81" fmla="*/ 15878 h 16058"/>
                <a:gd name="T82" fmla="*/ 6747 w 12062"/>
                <a:gd name="T83" fmla="*/ 15752 h 16058"/>
                <a:gd name="T84" fmla="*/ 7056 w 12062"/>
                <a:gd name="T85" fmla="*/ 15415 h 16058"/>
                <a:gd name="T86" fmla="*/ 8368 w 12062"/>
                <a:gd name="T87" fmla="*/ 13856 h 16058"/>
                <a:gd name="T88" fmla="*/ 9675 w 12062"/>
                <a:gd name="T89" fmla="*/ 12125 h 16058"/>
                <a:gd name="T90" fmla="*/ 10826 w 12062"/>
                <a:gd name="T91" fmla="*/ 10267 h 16058"/>
                <a:gd name="T92" fmla="*/ 11669 w 12062"/>
                <a:gd name="T93" fmla="*/ 8328 h 16058"/>
                <a:gd name="T94" fmla="*/ 12053 w 12062"/>
                <a:gd name="T95" fmla="*/ 6352 h 16058"/>
                <a:gd name="T96" fmla="*/ 11872 w 12062"/>
                <a:gd name="T97" fmla="*/ 4508 h 16058"/>
                <a:gd name="T98" fmla="*/ 11188 w 12062"/>
                <a:gd name="T99" fmla="*/ 2887 h 16058"/>
                <a:gd name="T100" fmla="*/ 10084 w 12062"/>
                <a:gd name="T101" fmla="*/ 1555 h 16058"/>
                <a:gd name="T102" fmla="*/ 8644 w 12062"/>
                <a:gd name="T103" fmla="*/ 589 h 16058"/>
                <a:gd name="T104" fmla="*/ 6948 w 12062"/>
                <a:gd name="T105" fmla="*/ 68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062" h="16058">
                  <a:moveTo>
                    <a:pt x="6090" y="14996"/>
                  </a:moveTo>
                  <a:lnTo>
                    <a:pt x="6078" y="15005"/>
                  </a:lnTo>
                  <a:lnTo>
                    <a:pt x="6062" y="15018"/>
                  </a:lnTo>
                  <a:lnTo>
                    <a:pt x="6042" y="15032"/>
                  </a:lnTo>
                  <a:lnTo>
                    <a:pt x="6021" y="15045"/>
                  </a:lnTo>
                  <a:lnTo>
                    <a:pt x="6018" y="15039"/>
                  </a:lnTo>
                  <a:lnTo>
                    <a:pt x="6012" y="15032"/>
                  </a:lnTo>
                  <a:lnTo>
                    <a:pt x="6004" y="15024"/>
                  </a:lnTo>
                  <a:lnTo>
                    <a:pt x="5995" y="15015"/>
                  </a:lnTo>
                  <a:lnTo>
                    <a:pt x="5975" y="14996"/>
                  </a:lnTo>
                  <a:lnTo>
                    <a:pt x="5956" y="14978"/>
                  </a:lnTo>
                  <a:lnTo>
                    <a:pt x="5780" y="14775"/>
                  </a:lnTo>
                  <a:lnTo>
                    <a:pt x="5597" y="14565"/>
                  </a:lnTo>
                  <a:lnTo>
                    <a:pt x="5408" y="14346"/>
                  </a:lnTo>
                  <a:lnTo>
                    <a:pt x="5215" y="14120"/>
                  </a:lnTo>
                  <a:lnTo>
                    <a:pt x="5017" y="13886"/>
                  </a:lnTo>
                  <a:lnTo>
                    <a:pt x="4815" y="13646"/>
                  </a:lnTo>
                  <a:lnTo>
                    <a:pt x="4611" y="13399"/>
                  </a:lnTo>
                  <a:lnTo>
                    <a:pt x="4406" y="13145"/>
                  </a:lnTo>
                  <a:lnTo>
                    <a:pt x="4199" y="12887"/>
                  </a:lnTo>
                  <a:lnTo>
                    <a:pt x="3992" y="12622"/>
                  </a:lnTo>
                  <a:lnTo>
                    <a:pt x="3785" y="12352"/>
                  </a:lnTo>
                  <a:lnTo>
                    <a:pt x="3580" y="12077"/>
                  </a:lnTo>
                  <a:lnTo>
                    <a:pt x="3378" y="11797"/>
                  </a:lnTo>
                  <a:lnTo>
                    <a:pt x="3178" y="11513"/>
                  </a:lnTo>
                  <a:lnTo>
                    <a:pt x="2982" y="11225"/>
                  </a:lnTo>
                  <a:lnTo>
                    <a:pt x="2790" y="10932"/>
                  </a:lnTo>
                  <a:lnTo>
                    <a:pt x="2604" y="10637"/>
                  </a:lnTo>
                  <a:lnTo>
                    <a:pt x="2424" y="10339"/>
                  </a:lnTo>
                  <a:lnTo>
                    <a:pt x="2251" y="10038"/>
                  </a:lnTo>
                  <a:lnTo>
                    <a:pt x="2087" y="9734"/>
                  </a:lnTo>
                  <a:lnTo>
                    <a:pt x="1930" y="9429"/>
                  </a:lnTo>
                  <a:lnTo>
                    <a:pt x="1782" y="9122"/>
                  </a:lnTo>
                  <a:lnTo>
                    <a:pt x="1645" y="8813"/>
                  </a:lnTo>
                  <a:lnTo>
                    <a:pt x="1520" y="8504"/>
                  </a:lnTo>
                  <a:lnTo>
                    <a:pt x="1406" y="8193"/>
                  </a:lnTo>
                  <a:lnTo>
                    <a:pt x="1305" y="7881"/>
                  </a:lnTo>
                  <a:lnTo>
                    <a:pt x="1216" y="7570"/>
                  </a:lnTo>
                  <a:lnTo>
                    <a:pt x="1142" y="7259"/>
                  </a:lnTo>
                  <a:lnTo>
                    <a:pt x="1083" y="6948"/>
                  </a:lnTo>
                  <a:lnTo>
                    <a:pt x="1040" y="6639"/>
                  </a:lnTo>
                  <a:lnTo>
                    <a:pt x="1014" y="6330"/>
                  </a:lnTo>
                  <a:lnTo>
                    <a:pt x="1005" y="6023"/>
                  </a:lnTo>
                  <a:lnTo>
                    <a:pt x="1011" y="5765"/>
                  </a:lnTo>
                  <a:lnTo>
                    <a:pt x="1031" y="5510"/>
                  </a:lnTo>
                  <a:lnTo>
                    <a:pt x="1063" y="5259"/>
                  </a:lnTo>
                  <a:lnTo>
                    <a:pt x="1108" y="5012"/>
                  </a:lnTo>
                  <a:lnTo>
                    <a:pt x="1164" y="4770"/>
                  </a:lnTo>
                  <a:lnTo>
                    <a:pt x="1231" y="4532"/>
                  </a:lnTo>
                  <a:lnTo>
                    <a:pt x="1311" y="4299"/>
                  </a:lnTo>
                  <a:lnTo>
                    <a:pt x="1401" y="4071"/>
                  </a:lnTo>
                  <a:lnTo>
                    <a:pt x="1502" y="3849"/>
                  </a:lnTo>
                  <a:lnTo>
                    <a:pt x="1612" y="3632"/>
                  </a:lnTo>
                  <a:lnTo>
                    <a:pt x="1734" y="3422"/>
                  </a:lnTo>
                  <a:lnTo>
                    <a:pt x="1864" y="3219"/>
                  </a:lnTo>
                  <a:lnTo>
                    <a:pt x="2005" y="3022"/>
                  </a:lnTo>
                  <a:lnTo>
                    <a:pt x="2154" y="2832"/>
                  </a:lnTo>
                  <a:lnTo>
                    <a:pt x="2313" y="2650"/>
                  </a:lnTo>
                  <a:lnTo>
                    <a:pt x="2479" y="2475"/>
                  </a:lnTo>
                  <a:lnTo>
                    <a:pt x="2653" y="2309"/>
                  </a:lnTo>
                  <a:lnTo>
                    <a:pt x="2836" y="2151"/>
                  </a:lnTo>
                  <a:lnTo>
                    <a:pt x="3026" y="2002"/>
                  </a:lnTo>
                  <a:lnTo>
                    <a:pt x="3223" y="1862"/>
                  </a:lnTo>
                  <a:lnTo>
                    <a:pt x="3427" y="1731"/>
                  </a:lnTo>
                  <a:lnTo>
                    <a:pt x="3637" y="1610"/>
                  </a:lnTo>
                  <a:lnTo>
                    <a:pt x="3854" y="1499"/>
                  </a:lnTo>
                  <a:lnTo>
                    <a:pt x="4077" y="1399"/>
                  </a:lnTo>
                  <a:lnTo>
                    <a:pt x="4305" y="1309"/>
                  </a:lnTo>
                  <a:lnTo>
                    <a:pt x="4538" y="1229"/>
                  </a:lnTo>
                  <a:lnTo>
                    <a:pt x="4776" y="1162"/>
                  </a:lnTo>
                  <a:lnTo>
                    <a:pt x="5019" y="1106"/>
                  </a:lnTo>
                  <a:lnTo>
                    <a:pt x="5267" y="1062"/>
                  </a:lnTo>
                  <a:lnTo>
                    <a:pt x="5518" y="1030"/>
                  </a:lnTo>
                  <a:lnTo>
                    <a:pt x="5773" y="1010"/>
                  </a:lnTo>
                  <a:lnTo>
                    <a:pt x="6032" y="1004"/>
                  </a:lnTo>
                  <a:lnTo>
                    <a:pt x="6289" y="1010"/>
                  </a:lnTo>
                  <a:lnTo>
                    <a:pt x="6544" y="1030"/>
                  </a:lnTo>
                  <a:lnTo>
                    <a:pt x="6795" y="1062"/>
                  </a:lnTo>
                  <a:lnTo>
                    <a:pt x="7043" y="1106"/>
                  </a:lnTo>
                  <a:lnTo>
                    <a:pt x="7286" y="1162"/>
                  </a:lnTo>
                  <a:lnTo>
                    <a:pt x="7524" y="1229"/>
                  </a:lnTo>
                  <a:lnTo>
                    <a:pt x="7757" y="1309"/>
                  </a:lnTo>
                  <a:lnTo>
                    <a:pt x="7985" y="1399"/>
                  </a:lnTo>
                  <a:lnTo>
                    <a:pt x="8208" y="1499"/>
                  </a:lnTo>
                  <a:lnTo>
                    <a:pt x="8425" y="1610"/>
                  </a:lnTo>
                  <a:lnTo>
                    <a:pt x="8635" y="1731"/>
                  </a:lnTo>
                  <a:lnTo>
                    <a:pt x="8839" y="1862"/>
                  </a:lnTo>
                  <a:lnTo>
                    <a:pt x="9036" y="2002"/>
                  </a:lnTo>
                  <a:lnTo>
                    <a:pt x="9226" y="2151"/>
                  </a:lnTo>
                  <a:lnTo>
                    <a:pt x="9409" y="2309"/>
                  </a:lnTo>
                  <a:lnTo>
                    <a:pt x="9583" y="2475"/>
                  </a:lnTo>
                  <a:lnTo>
                    <a:pt x="9749" y="2650"/>
                  </a:lnTo>
                  <a:lnTo>
                    <a:pt x="9908" y="2832"/>
                  </a:lnTo>
                  <a:lnTo>
                    <a:pt x="10057" y="3022"/>
                  </a:lnTo>
                  <a:lnTo>
                    <a:pt x="10198" y="3219"/>
                  </a:lnTo>
                  <a:lnTo>
                    <a:pt x="10328" y="3422"/>
                  </a:lnTo>
                  <a:lnTo>
                    <a:pt x="10450" y="3632"/>
                  </a:lnTo>
                  <a:lnTo>
                    <a:pt x="10560" y="3849"/>
                  </a:lnTo>
                  <a:lnTo>
                    <a:pt x="10661" y="4071"/>
                  </a:lnTo>
                  <a:lnTo>
                    <a:pt x="10751" y="4299"/>
                  </a:lnTo>
                  <a:lnTo>
                    <a:pt x="10831" y="4532"/>
                  </a:lnTo>
                  <a:lnTo>
                    <a:pt x="10898" y="4770"/>
                  </a:lnTo>
                  <a:lnTo>
                    <a:pt x="10954" y="5012"/>
                  </a:lnTo>
                  <a:lnTo>
                    <a:pt x="10999" y="5259"/>
                  </a:lnTo>
                  <a:lnTo>
                    <a:pt x="11031" y="5510"/>
                  </a:lnTo>
                  <a:lnTo>
                    <a:pt x="11051" y="5765"/>
                  </a:lnTo>
                  <a:lnTo>
                    <a:pt x="11057" y="6023"/>
                  </a:lnTo>
                  <a:lnTo>
                    <a:pt x="11048" y="6330"/>
                  </a:lnTo>
                  <a:lnTo>
                    <a:pt x="11022" y="6639"/>
                  </a:lnTo>
                  <a:lnTo>
                    <a:pt x="10979" y="6948"/>
                  </a:lnTo>
                  <a:lnTo>
                    <a:pt x="10920" y="7259"/>
                  </a:lnTo>
                  <a:lnTo>
                    <a:pt x="10846" y="7570"/>
                  </a:lnTo>
                  <a:lnTo>
                    <a:pt x="10757" y="7881"/>
                  </a:lnTo>
                  <a:lnTo>
                    <a:pt x="10656" y="8193"/>
                  </a:lnTo>
                  <a:lnTo>
                    <a:pt x="10542" y="8504"/>
                  </a:lnTo>
                  <a:lnTo>
                    <a:pt x="10416" y="8814"/>
                  </a:lnTo>
                  <a:lnTo>
                    <a:pt x="10279" y="9122"/>
                  </a:lnTo>
                  <a:lnTo>
                    <a:pt x="10132" y="9430"/>
                  </a:lnTo>
                  <a:lnTo>
                    <a:pt x="9975" y="9735"/>
                  </a:lnTo>
                  <a:lnTo>
                    <a:pt x="9810" y="10039"/>
                  </a:lnTo>
                  <a:lnTo>
                    <a:pt x="9637" y="10340"/>
                  </a:lnTo>
                  <a:lnTo>
                    <a:pt x="9457" y="10639"/>
                  </a:lnTo>
                  <a:lnTo>
                    <a:pt x="9270" y="10934"/>
                  </a:lnTo>
                  <a:lnTo>
                    <a:pt x="9078" y="11227"/>
                  </a:lnTo>
                  <a:lnTo>
                    <a:pt x="8882" y="11516"/>
                  </a:lnTo>
                  <a:lnTo>
                    <a:pt x="8681" y="11801"/>
                  </a:lnTo>
                  <a:lnTo>
                    <a:pt x="8478" y="12081"/>
                  </a:lnTo>
                  <a:lnTo>
                    <a:pt x="8272" y="12357"/>
                  </a:lnTo>
                  <a:lnTo>
                    <a:pt x="8065" y="12628"/>
                  </a:lnTo>
                  <a:lnTo>
                    <a:pt x="7857" y="12893"/>
                  </a:lnTo>
                  <a:lnTo>
                    <a:pt x="7650" y="13154"/>
                  </a:lnTo>
                  <a:lnTo>
                    <a:pt x="7443" y="13407"/>
                  </a:lnTo>
                  <a:lnTo>
                    <a:pt x="7238" y="13655"/>
                  </a:lnTo>
                  <a:lnTo>
                    <a:pt x="7036" y="13897"/>
                  </a:lnTo>
                  <a:lnTo>
                    <a:pt x="6837" y="14132"/>
                  </a:lnTo>
                  <a:lnTo>
                    <a:pt x="6642" y="14359"/>
                  </a:lnTo>
                  <a:lnTo>
                    <a:pt x="6452" y="14579"/>
                  </a:lnTo>
                  <a:lnTo>
                    <a:pt x="6267" y="14791"/>
                  </a:lnTo>
                  <a:lnTo>
                    <a:pt x="6090" y="14996"/>
                  </a:lnTo>
                  <a:close/>
                  <a:moveTo>
                    <a:pt x="6032" y="0"/>
                  </a:moveTo>
                  <a:lnTo>
                    <a:pt x="5721" y="8"/>
                  </a:lnTo>
                  <a:lnTo>
                    <a:pt x="5415" y="31"/>
                  </a:lnTo>
                  <a:lnTo>
                    <a:pt x="5114" y="68"/>
                  </a:lnTo>
                  <a:lnTo>
                    <a:pt x="4817" y="121"/>
                  </a:lnTo>
                  <a:lnTo>
                    <a:pt x="4526" y="188"/>
                  </a:lnTo>
                  <a:lnTo>
                    <a:pt x="4239" y="268"/>
                  </a:lnTo>
                  <a:lnTo>
                    <a:pt x="3959" y="362"/>
                  </a:lnTo>
                  <a:lnTo>
                    <a:pt x="3686" y="470"/>
                  </a:lnTo>
                  <a:lnTo>
                    <a:pt x="3418" y="589"/>
                  </a:lnTo>
                  <a:lnTo>
                    <a:pt x="3159" y="722"/>
                  </a:lnTo>
                  <a:lnTo>
                    <a:pt x="2906" y="865"/>
                  </a:lnTo>
                  <a:lnTo>
                    <a:pt x="2661" y="1021"/>
                  </a:lnTo>
                  <a:lnTo>
                    <a:pt x="2424" y="1188"/>
                  </a:lnTo>
                  <a:lnTo>
                    <a:pt x="2197" y="1366"/>
                  </a:lnTo>
                  <a:lnTo>
                    <a:pt x="1978" y="1555"/>
                  </a:lnTo>
                  <a:lnTo>
                    <a:pt x="1768" y="1753"/>
                  </a:lnTo>
                  <a:lnTo>
                    <a:pt x="1569" y="1962"/>
                  </a:lnTo>
                  <a:lnTo>
                    <a:pt x="1379" y="2180"/>
                  </a:lnTo>
                  <a:lnTo>
                    <a:pt x="1200" y="2407"/>
                  </a:lnTo>
                  <a:lnTo>
                    <a:pt x="1031" y="2643"/>
                  </a:lnTo>
                  <a:lnTo>
                    <a:pt x="874" y="2887"/>
                  </a:lnTo>
                  <a:lnTo>
                    <a:pt x="729" y="3139"/>
                  </a:lnTo>
                  <a:lnTo>
                    <a:pt x="596" y="3399"/>
                  </a:lnTo>
                  <a:lnTo>
                    <a:pt x="474" y="3666"/>
                  </a:lnTo>
                  <a:lnTo>
                    <a:pt x="367" y="3940"/>
                  </a:lnTo>
                  <a:lnTo>
                    <a:pt x="271" y="4221"/>
                  </a:lnTo>
                  <a:lnTo>
                    <a:pt x="190" y="4508"/>
                  </a:lnTo>
                  <a:lnTo>
                    <a:pt x="123" y="4801"/>
                  </a:lnTo>
                  <a:lnTo>
                    <a:pt x="69" y="5099"/>
                  </a:lnTo>
                  <a:lnTo>
                    <a:pt x="31" y="5403"/>
                  </a:lnTo>
                  <a:lnTo>
                    <a:pt x="8" y="5711"/>
                  </a:lnTo>
                  <a:lnTo>
                    <a:pt x="0" y="6023"/>
                  </a:lnTo>
                  <a:lnTo>
                    <a:pt x="9" y="6352"/>
                  </a:lnTo>
                  <a:lnTo>
                    <a:pt x="34" y="6682"/>
                  </a:lnTo>
                  <a:lnTo>
                    <a:pt x="76" y="7012"/>
                  </a:lnTo>
                  <a:lnTo>
                    <a:pt x="134" y="7342"/>
                  </a:lnTo>
                  <a:lnTo>
                    <a:pt x="206" y="7671"/>
                  </a:lnTo>
                  <a:lnTo>
                    <a:pt x="292" y="8000"/>
                  </a:lnTo>
                  <a:lnTo>
                    <a:pt x="393" y="8328"/>
                  </a:lnTo>
                  <a:lnTo>
                    <a:pt x="506" y="8654"/>
                  </a:lnTo>
                  <a:lnTo>
                    <a:pt x="630" y="8980"/>
                  </a:lnTo>
                  <a:lnTo>
                    <a:pt x="767" y="9305"/>
                  </a:lnTo>
                  <a:lnTo>
                    <a:pt x="914" y="9628"/>
                  </a:lnTo>
                  <a:lnTo>
                    <a:pt x="1070" y="9948"/>
                  </a:lnTo>
                  <a:lnTo>
                    <a:pt x="1236" y="10267"/>
                  </a:lnTo>
                  <a:lnTo>
                    <a:pt x="1411" y="10583"/>
                  </a:lnTo>
                  <a:lnTo>
                    <a:pt x="1593" y="10897"/>
                  </a:lnTo>
                  <a:lnTo>
                    <a:pt x="1783" y="11208"/>
                  </a:lnTo>
                  <a:lnTo>
                    <a:pt x="1979" y="11518"/>
                  </a:lnTo>
                  <a:lnTo>
                    <a:pt x="2180" y="11823"/>
                  </a:lnTo>
                  <a:lnTo>
                    <a:pt x="2387" y="12125"/>
                  </a:lnTo>
                  <a:lnTo>
                    <a:pt x="2598" y="12423"/>
                  </a:lnTo>
                  <a:lnTo>
                    <a:pt x="2813" y="12718"/>
                  </a:lnTo>
                  <a:lnTo>
                    <a:pt x="3030" y="13009"/>
                  </a:lnTo>
                  <a:lnTo>
                    <a:pt x="3250" y="13296"/>
                  </a:lnTo>
                  <a:lnTo>
                    <a:pt x="3473" y="13578"/>
                  </a:lnTo>
                  <a:lnTo>
                    <a:pt x="3695" y="13856"/>
                  </a:lnTo>
                  <a:lnTo>
                    <a:pt x="3917" y="14129"/>
                  </a:lnTo>
                  <a:lnTo>
                    <a:pt x="4139" y="14397"/>
                  </a:lnTo>
                  <a:lnTo>
                    <a:pt x="4359" y="14659"/>
                  </a:lnTo>
                  <a:lnTo>
                    <a:pt x="4577" y="14917"/>
                  </a:lnTo>
                  <a:lnTo>
                    <a:pt x="4793" y="15169"/>
                  </a:lnTo>
                  <a:lnTo>
                    <a:pt x="5006" y="15415"/>
                  </a:lnTo>
                  <a:lnTo>
                    <a:pt x="5214" y="15655"/>
                  </a:lnTo>
                  <a:lnTo>
                    <a:pt x="5219" y="15661"/>
                  </a:lnTo>
                  <a:lnTo>
                    <a:pt x="5233" y="15675"/>
                  </a:lnTo>
                  <a:lnTo>
                    <a:pt x="5254" y="15695"/>
                  </a:lnTo>
                  <a:lnTo>
                    <a:pt x="5281" y="15722"/>
                  </a:lnTo>
                  <a:lnTo>
                    <a:pt x="5315" y="15752"/>
                  </a:lnTo>
                  <a:lnTo>
                    <a:pt x="5355" y="15786"/>
                  </a:lnTo>
                  <a:lnTo>
                    <a:pt x="5377" y="15804"/>
                  </a:lnTo>
                  <a:lnTo>
                    <a:pt x="5401" y="15822"/>
                  </a:lnTo>
                  <a:lnTo>
                    <a:pt x="5426" y="15841"/>
                  </a:lnTo>
                  <a:lnTo>
                    <a:pt x="5453" y="15860"/>
                  </a:lnTo>
                  <a:lnTo>
                    <a:pt x="5480" y="15878"/>
                  </a:lnTo>
                  <a:lnTo>
                    <a:pt x="5509" y="15897"/>
                  </a:lnTo>
                  <a:lnTo>
                    <a:pt x="5539" y="15915"/>
                  </a:lnTo>
                  <a:lnTo>
                    <a:pt x="5570" y="15933"/>
                  </a:lnTo>
                  <a:lnTo>
                    <a:pt x="5602" y="15950"/>
                  </a:lnTo>
                  <a:lnTo>
                    <a:pt x="5635" y="15967"/>
                  </a:lnTo>
                  <a:lnTo>
                    <a:pt x="5670" y="15982"/>
                  </a:lnTo>
                  <a:lnTo>
                    <a:pt x="5705" y="15997"/>
                  </a:lnTo>
                  <a:lnTo>
                    <a:pt x="5740" y="16010"/>
                  </a:lnTo>
                  <a:lnTo>
                    <a:pt x="5777" y="16022"/>
                  </a:lnTo>
                  <a:lnTo>
                    <a:pt x="5814" y="16032"/>
                  </a:lnTo>
                  <a:lnTo>
                    <a:pt x="5853" y="16041"/>
                  </a:lnTo>
                  <a:lnTo>
                    <a:pt x="5892" y="16048"/>
                  </a:lnTo>
                  <a:lnTo>
                    <a:pt x="5931" y="16054"/>
                  </a:lnTo>
                  <a:lnTo>
                    <a:pt x="5971" y="16057"/>
                  </a:lnTo>
                  <a:lnTo>
                    <a:pt x="6011" y="16058"/>
                  </a:lnTo>
                  <a:lnTo>
                    <a:pt x="6051" y="16058"/>
                  </a:lnTo>
                  <a:lnTo>
                    <a:pt x="6091" y="16057"/>
                  </a:lnTo>
                  <a:lnTo>
                    <a:pt x="6131" y="16054"/>
                  </a:lnTo>
                  <a:lnTo>
                    <a:pt x="6170" y="16048"/>
                  </a:lnTo>
                  <a:lnTo>
                    <a:pt x="6209" y="16041"/>
                  </a:lnTo>
                  <a:lnTo>
                    <a:pt x="6248" y="16032"/>
                  </a:lnTo>
                  <a:lnTo>
                    <a:pt x="6285" y="16022"/>
                  </a:lnTo>
                  <a:lnTo>
                    <a:pt x="6322" y="16010"/>
                  </a:lnTo>
                  <a:lnTo>
                    <a:pt x="6357" y="15997"/>
                  </a:lnTo>
                  <a:lnTo>
                    <a:pt x="6392" y="15982"/>
                  </a:lnTo>
                  <a:lnTo>
                    <a:pt x="6427" y="15967"/>
                  </a:lnTo>
                  <a:lnTo>
                    <a:pt x="6460" y="15950"/>
                  </a:lnTo>
                  <a:lnTo>
                    <a:pt x="6492" y="15933"/>
                  </a:lnTo>
                  <a:lnTo>
                    <a:pt x="6523" y="15915"/>
                  </a:lnTo>
                  <a:lnTo>
                    <a:pt x="6553" y="15897"/>
                  </a:lnTo>
                  <a:lnTo>
                    <a:pt x="6581" y="15878"/>
                  </a:lnTo>
                  <a:lnTo>
                    <a:pt x="6609" y="15860"/>
                  </a:lnTo>
                  <a:lnTo>
                    <a:pt x="6636" y="15841"/>
                  </a:lnTo>
                  <a:lnTo>
                    <a:pt x="6661" y="15822"/>
                  </a:lnTo>
                  <a:lnTo>
                    <a:pt x="6684" y="15804"/>
                  </a:lnTo>
                  <a:lnTo>
                    <a:pt x="6707" y="15786"/>
                  </a:lnTo>
                  <a:lnTo>
                    <a:pt x="6747" y="15752"/>
                  </a:lnTo>
                  <a:lnTo>
                    <a:pt x="6780" y="15722"/>
                  </a:lnTo>
                  <a:lnTo>
                    <a:pt x="6808" y="15695"/>
                  </a:lnTo>
                  <a:lnTo>
                    <a:pt x="6829" y="15675"/>
                  </a:lnTo>
                  <a:lnTo>
                    <a:pt x="6842" y="15661"/>
                  </a:lnTo>
                  <a:lnTo>
                    <a:pt x="6848" y="15655"/>
                  </a:lnTo>
                  <a:lnTo>
                    <a:pt x="7056" y="15415"/>
                  </a:lnTo>
                  <a:lnTo>
                    <a:pt x="7269" y="15169"/>
                  </a:lnTo>
                  <a:lnTo>
                    <a:pt x="7485" y="14917"/>
                  </a:lnTo>
                  <a:lnTo>
                    <a:pt x="7703" y="14659"/>
                  </a:lnTo>
                  <a:lnTo>
                    <a:pt x="7924" y="14397"/>
                  </a:lnTo>
                  <a:lnTo>
                    <a:pt x="8145" y="14129"/>
                  </a:lnTo>
                  <a:lnTo>
                    <a:pt x="8368" y="13856"/>
                  </a:lnTo>
                  <a:lnTo>
                    <a:pt x="8590" y="13578"/>
                  </a:lnTo>
                  <a:lnTo>
                    <a:pt x="8812" y="13296"/>
                  </a:lnTo>
                  <a:lnTo>
                    <a:pt x="9032" y="13009"/>
                  </a:lnTo>
                  <a:lnTo>
                    <a:pt x="9249" y="12718"/>
                  </a:lnTo>
                  <a:lnTo>
                    <a:pt x="9464" y="12423"/>
                  </a:lnTo>
                  <a:lnTo>
                    <a:pt x="9675" y="12125"/>
                  </a:lnTo>
                  <a:lnTo>
                    <a:pt x="9882" y="11823"/>
                  </a:lnTo>
                  <a:lnTo>
                    <a:pt x="10084" y="11518"/>
                  </a:lnTo>
                  <a:lnTo>
                    <a:pt x="10280" y="11208"/>
                  </a:lnTo>
                  <a:lnTo>
                    <a:pt x="10469" y="10897"/>
                  </a:lnTo>
                  <a:lnTo>
                    <a:pt x="10652" y="10583"/>
                  </a:lnTo>
                  <a:lnTo>
                    <a:pt x="10826" y="10267"/>
                  </a:lnTo>
                  <a:lnTo>
                    <a:pt x="10992" y="9948"/>
                  </a:lnTo>
                  <a:lnTo>
                    <a:pt x="11148" y="9628"/>
                  </a:lnTo>
                  <a:lnTo>
                    <a:pt x="11295" y="9305"/>
                  </a:lnTo>
                  <a:lnTo>
                    <a:pt x="11432" y="8980"/>
                  </a:lnTo>
                  <a:lnTo>
                    <a:pt x="11556" y="8654"/>
                  </a:lnTo>
                  <a:lnTo>
                    <a:pt x="11669" y="8328"/>
                  </a:lnTo>
                  <a:lnTo>
                    <a:pt x="11770" y="8000"/>
                  </a:lnTo>
                  <a:lnTo>
                    <a:pt x="11856" y="7671"/>
                  </a:lnTo>
                  <a:lnTo>
                    <a:pt x="11928" y="7342"/>
                  </a:lnTo>
                  <a:lnTo>
                    <a:pt x="11986" y="7012"/>
                  </a:lnTo>
                  <a:lnTo>
                    <a:pt x="12028" y="6682"/>
                  </a:lnTo>
                  <a:lnTo>
                    <a:pt x="12053" y="6352"/>
                  </a:lnTo>
                  <a:lnTo>
                    <a:pt x="12062" y="6023"/>
                  </a:lnTo>
                  <a:lnTo>
                    <a:pt x="12054" y="5711"/>
                  </a:lnTo>
                  <a:lnTo>
                    <a:pt x="12031" y="5403"/>
                  </a:lnTo>
                  <a:lnTo>
                    <a:pt x="11993" y="5099"/>
                  </a:lnTo>
                  <a:lnTo>
                    <a:pt x="11939" y="4801"/>
                  </a:lnTo>
                  <a:lnTo>
                    <a:pt x="11872" y="4508"/>
                  </a:lnTo>
                  <a:lnTo>
                    <a:pt x="11791" y="4221"/>
                  </a:lnTo>
                  <a:lnTo>
                    <a:pt x="11695" y="3940"/>
                  </a:lnTo>
                  <a:lnTo>
                    <a:pt x="11588" y="3666"/>
                  </a:lnTo>
                  <a:lnTo>
                    <a:pt x="11466" y="3399"/>
                  </a:lnTo>
                  <a:lnTo>
                    <a:pt x="11333" y="3139"/>
                  </a:lnTo>
                  <a:lnTo>
                    <a:pt x="11188" y="2887"/>
                  </a:lnTo>
                  <a:lnTo>
                    <a:pt x="11031" y="2643"/>
                  </a:lnTo>
                  <a:lnTo>
                    <a:pt x="10862" y="2407"/>
                  </a:lnTo>
                  <a:lnTo>
                    <a:pt x="10683" y="2180"/>
                  </a:lnTo>
                  <a:lnTo>
                    <a:pt x="10493" y="1962"/>
                  </a:lnTo>
                  <a:lnTo>
                    <a:pt x="10294" y="1753"/>
                  </a:lnTo>
                  <a:lnTo>
                    <a:pt x="10084" y="1555"/>
                  </a:lnTo>
                  <a:lnTo>
                    <a:pt x="9865" y="1366"/>
                  </a:lnTo>
                  <a:lnTo>
                    <a:pt x="9638" y="1188"/>
                  </a:lnTo>
                  <a:lnTo>
                    <a:pt x="9401" y="1021"/>
                  </a:lnTo>
                  <a:lnTo>
                    <a:pt x="9156" y="865"/>
                  </a:lnTo>
                  <a:lnTo>
                    <a:pt x="8903" y="722"/>
                  </a:lnTo>
                  <a:lnTo>
                    <a:pt x="8644" y="589"/>
                  </a:lnTo>
                  <a:lnTo>
                    <a:pt x="8376" y="470"/>
                  </a:lnTo>
                  <a:lnTo>
                    <a:pt x="8103" y="362"/>
                  </a:lnTo>
                  <a:lnTo>
                    <a:pt x="7823" y="268"/>
                  </a:lnTo>
                  <a:lnTo>
                    <a:pt x="7536" y="188"/>
                  </a:lnTo>
                  <a:lnTo>
                    <a:pt x="7245" y="121"/>
                  </a:lnTo>
                  <a:lnTo>
                    <a:pt x="6948" y="68"/>
                  </a:lnTo>
                  <a:lnTo>
                    <a:pt x="6647" y="31"/>
                  </a:lnTo>
                  <a:lnTo>
                    <a:pt x="6341" y="8"/>
                  </a:lnTo>
                  <a:lnTo>
                    <a:pt x="60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82" name="íṧļiďe">
              <a:extLst>
                <a:ext uri="{FF2B5EF4-FFF2-40B4-BE49-F238E27FC236}">
                  <a16:creationId xmlns:a16="http://schemas.microsoft.com/office/drawing/2014/main" id="{DACAE904-AFF3-41FA-AA12-785AA84DDD50}"/>
                </a:ext>
              </a:extLst>
            </p:cNvPr>
            <p:cNvSpPr/>
            <p:nvPr/>
          </p:nvSpPr>
          <p:spPr bwMode="auto">
            <a:xfrm>
              <a:off x="3877745" y="1882567"/>
              <a:ext cx="593599" cy="595008"/>
            </a:xfrm>
            <a:custGeom>
              <a:avLst/>
              <a:gdLst>
                <a:gd name="T0" fmla="*/ 11438 w 16419"/>
                <a:gd name="T1" fmla="*/ 11992 h 16036"/>
                <a:gd name="T2" fmla="*/ 12051 w 16419"/>
                <a:gd name="T3" fmla="*/ 9611 h 16036"/>
                <a:gd name="T4" fmla="*/ 15080 w 16419"/>
                <a:gd name="T5" fmla="*/ 9931 h 16036"/>
                <a:gd name="T6" fmla="*/ 13248 w 16419"/>
                <a:gd name="T7" fmla="*/ 12967 h 16036"/>
                <a:gd name="T8" fmla="*/ 4590 w 16419"/>
                <a:gd name="T9" fmla="*/ 10655 h 16036"/>
                <a:gd name="T10" fmla="*/ 4429 w 16419"/>
                <a:gd name="T11" fmla="*/ 12231 h 16036"/>
                <a:gd name="T12" fmla="*/ 2147 w 16419"/>
                <a:gd name="T13" fmla="*/ 11712 h 16036"/>
                <a:gd name="T14" fmla="*/ 1073 w 16419"/>
                <a:gd name="T15" fmla="*/ 8277 h 16036"/>
                <a:gd name="T16" fmla="*/ 4139 w 16419"/>
                <a:gd name="T17" fmla="*/ 4183 h 16036"/>
                <a:gd name="T18" fmla="*/ 4533 w 16419"/>
                <a:gd name="T19" fmla="*/ 5582 h 16036"/>
                <a:gd name="T20" fmla="*/ 1073 w 16419"/>
                <a:gd name="T21" fmla="*/ 7759 h 16036"/>
                <a:gd name="T22" fmla="*/ 1997 w 16419"/>
                <a:gd name="T23" fmla="*/ 4578 h 16036"/>
                <a:gd name="T24" fmla="*/ 9313 w 16419"/>
                <a:gd name="T25" fmla="*/ 5095 h 16036"/>
                <a:gd name="T26" fmla="*/ 11066 w 16419"/>
                <a:gd name="T27" fmla="*/ 4695 h 16036"/>
                <a:gd name="T28" fmla="*/ 11565 w 16419"/>
                <a:gd name="T29" fmla="*/ 6759 h 16036"/>
                <a:gd name="T30" fmla="*/ 10152 w 16419"/>
                <a:gd name="T31" fmla="*/ 11598 h 16036"/>
                <a:gd name="T32" fmla="*/ 8474 w 16419"/>
                <a:gd name="T33" fmla="*/ 11394 h 16036"/>
                <a:gd name="T34" fmla="*/ 11313 w 16419"/>
                <a:gd name="T35" fmla="*/ 10543 h 16036"/>
                <a:gd name="T36" fmla="*/ 12142 w 16419"/>
                <a:gd name="T37" fmla="*/ 12889 h 16036"/>
                <a:gd name="T38" fmla="*/ 11354 w 16419"/>
                <a:gd name="T39" fmla="*/ 14282 h 16036"/>
                <a:gd name="T40" fmla="*/ 9710 w 16419"/>
                <a:gd name="T41" fmla="*/ 14564 h 16036"/>
                <a:gd name="T42" fmla="*/ 10935 w 16419"/>
                <a:gd name="T43" fmla="*/ 12871 h 16036"/>
                <a:gd name="T44" fmla="*/ 9524 w 16419"/>
                <a:gd name="T45" fmla="*/ 12005 h 16036"/>
                <a:gd name="T46" fmla="*/ 10393 w 16419"/>
                <a:gd name="T47" fmla="*/ 12757 h 16036"/>
                <a:gd name="T48" fmla="*/ 8904 w 16419"/>
                <a:gd name="T49" fmla="*/ 14636 h 16036"/>
                <a:gd name="T50" fmla="*/ 5284 w 16419"/>
                <a:gd name="T51" fmla="*/ 14382 h 16036"/>
                <a:gd name="T52" fmla="*/ 4071 w 16419"/>
                <a:gd name="T53" fmla="*/ 13005 h 16036"/>
                <a:gd name="T54" fmla="*/ 5783 w 16419"/>
                <a:gd name="T55" fmla="*/ 13367 h 16036"/>
                <a:gd name="T56" fmla="*/ 7945 w 16419"/>
                <a:gd name="T57" fmla="*/ 8277 h 16036"/>
                <a:gd name="T58" fmla="*/ 6342 w 16419"/>
                <a:gd name="T59" fmla="*/ 11582 h 16036"/>
                <a:gd name="T60" fmla="*/ 5136 w 16419"/>
                <a:gd name="T61" fmla="*/ 10650 h 16036"/>
                <a:gd name="T62" fmla="*/ 7945 w 16419"/>
                <a:gd name="T63" fmla="*/ 8277 h 16036"/>
                <a:gd name="T64" fmla="*/ 7024 w 16419"/>
                <a:gd name="T65" fmla="*/ 5084 h 16036"/>
                <a:gd name="T66" fmla="*/ 4843 w 16419"/>
                <a:gd name="T67" fmla="*/ 6857 h 16036"/>
                <a:gd name="T68" fmla="*/ 5321 w 16419"/>
                <a:gd name="T69" fmla="*/ 4784 h 16036"/>
                <a:gd name="T70" fmla="*/ 3667 w 16419"/>
                <a:gd name="T71" fmla="*/ 3305 h 16036"/>
                <a:gd name="T72" fmla="*/ 5215 w 16419"/>
                <a:gd name="T73" fmla="*/ 1684 h 16036"/>
                <a:gd name="T74" fmla="*/ 6448 w 16419"/>
                <a:gd name="T75" fmla="*/ 1771 h 16036"/>
                <a:gd name="T76" fmla="*/ 5148 w 16419"/>
                <a:gd name="T77" fmla="*/ 3833 h 16036"/>
                <a:gd name="T78" fmla="*/ 6569 w 16419"/>
                <a:gd name="T79" fmla="*/ 4486 h 16036"/>
                <a:gd name="T80" fmla="*/ 6014 w 16419"/>
                <a:gd name="T81" fmla="*/ 3301 h 16036"/>
                <a:gd name="T82" fmla="*/ 7732 w 16419"/>
                <a:gd name="T83" fmla="*/ 1205 h 16036"/>
                <a:gd name="T84" fmla="*/ 11565 w 16419"/>
                <a:gd name="T85" fmla="*/ 1859 h 16036"/>
                <a:gd name="T86" fmla="*/ 12421 w 16419"/>
                <a:gd name="T87" fmla="*/ 3513 h 16036"/>
                <a:gd name="T88" fmla="*/ 11123 w 16419"/>
                <a:gd name="T89" fmla="*/ 3527 h 16036"/>
                <a:gd name="T90" fmla="*/ 9758 w 16419"/>
                <a:gd name="T91" fmla="*/ 1525 h 16036"/>
                <a:gd name="T92" fmla="*/ 9852 w 16419"/>
                <a:gd name="T93" fmla="*/ 2463 h 16036"/>
                <a:gd name="T94" fmla="*/ 10437 w 16419"/>
                <a:gd name="T95" fmla="*/ 4348 h 16036"/>
                <a:gd name="T96" fmla="*/ 8786 w 16419"/>
                <a:gd name="T97" fmla="*/ 4626 h 16036"/>
                <a:gd name="T98" fmla="*/ 6848 w 16419"/>
                <a:gd name="T99" fmla="*/ 13930 h 16036"/>
                <a:gd name="T100" fmla="*/ 6020 w 16419"/>
                <a:gd name="T101" fmla="*/ 12187 h 16036"/>
                <a:gd name="T102" fmla="*/ 7521 w 16419"/>
                <a:gd name="T103" fmla="*/ 11934 h 16036"/>
                <a:gd name="T104" fmla="*/ 12063 w 16419"/>
                <a:gd name="T105" fmla="*/ 6494 h 16036"/>
                <a:gd name="T106" fmla="*/ 11695 w 16419"/>
                <a:gd name="T107" fmla="*/ 4461 h 16036"/>
                <a:gd name="T108" fmla="*/ 13078 w 16419"/>
                <a:gd name="T109" fmla="*/ 3710 h 16036"/>
                <a:gd name="T110" fmla="*/ 14700 w 16419"/>
                <a:gd name="T111" fmla="*/ 5106 h 16036"/>
                <a:gd name="T112" fmla="*/ 6960 w 16419"/>
                <a:gd name="T113" fmla="*/ 92 h 16036"/>
                <a:gd name="T114" fmla="*/ 498 w 16419"/>
                <a:gd name="T115" fmla="*/ 5261 h 16036"/>
                <a:gd name="T116" fmla="*/ 2132 w 16419"/>
                <a:gd name="T117" fmla="*/ 13409 h 16036"/>
                <a:gd name="T118" fmla="*/ 10261 w 16419"/>
                <a:gd name="T119" fmla="*/ 15783 h 16036"/>
                <a:gd name="T120" fmla="*/ 16160 w 16419"/>
                <a:gd name="T121" fmla="*/ 10021 h 16036"/>
                <a:gd name="T122" fmla="*/ 13729 w 16419"/>
                <a:gd name="T123" fmla="*/ 2083 h 160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419" h="16036">
                  <a:moveTo>
                    <a:pt x="13248" y="12967"/>
                  </a:moveTo>
                  <a:lnTo>
                    <a:pt x="13139" y="12892"/>
                  </a:lnTo>
                  <a:lnTo>
                    <a:pt x="13030" y="12819"/>
                  </a:lnTo>
                  <a:lnTo>
                    <a:pt x="12919" y="12748"/>
                  </a:lnTo>
                  <a:lnTo>
                    <a:pt x="12807" y="12676"/>
                  </a:lnTo>
                  <a:lnTo>
                    <a:pt x="12693" y="12608"/>
                  </a:lnTo>
                  <a:lnTo>
                    <a:pt x="12579" y="12541"/>
                  </a:lnTo>
                  <a:lnTo>
                    <a:pt x="12463" y="12476"/>
                  </a:lnTo>
                  <a:lnTo>
                    <a:pt x="12347" y="12413"/>
                  </a:lnTo>
                  <a:lnTo>
                    <a:pt x="12229" y="12351"/>
                  </a:lnTo>
                  <a:lnTo>
                    <a:pt x="12110" y="12291"/>
                  </a:lnTo>
                  <a:lnTo>
                    <a:pt x="12051" y="12261"/>
                  </a:lnTo>
                  <a:lnTo>
                    <a:pt x="11990" y="12231"/>
                  </a:lnTo>
                  <a:lnTo>
                    <a:pt x="11930" y="12203"/>
                  </a:lnTo>
                  <a:lnTo>
                    <a:pt x="11869" y="12175"/>
                  </a:lnTo>
                  <a:lnTo>
                    <a:pt x="11808" y="12147"/>
                  </a:lnTo>
                  <a:lnTo>
                    <a:pt x="11747" y="12120"/>
                  </a:lnTo>
                  <a:lnTo>
                    <a:pt x="11686" y="12094"/>
                  </a:lnTo>
                  <a:lnTo>
                    <a:pt x="11625" y="12068"/>
                  </a:lnTo>
                  <a:lnTo>
                    <a:pt x="11562" y="12042"/>
                  </a:lnTo>
                  <a:lnTo>
                    <a:pt x="11499" y="12017"/>
                  </a:lnTo>
                  <a:lnTo>
                    <a:pt x="11438" y="11992"/>
                  </a:lnTo>
                  <a:lnTo>
                    <a:pt x="11374" y="11968"/>
                  </a:lnTo>
                  <a:lnTo>
                    <a:pt x="11419" y="11863"/>
                  </a:lnTo>
                  <a:lnTo>
                    <a:pt x="11463" y="11756"/>
                  </a:lnTo>
                  <a:lnTo>
                    <a:pt x="11505" y="11649"/>
                  </a:lnTo>
                  <a:lnTo>
                    <a:pt x="11546" y="11541"/>
                  </a:lnTo>
                  <a:lnTo>
                    <a:pt x="11585" y="11433"/>
                  </a:lnTo>
                  <a:lnTo>
                    <a:pt x="11624" y="11323"/>
                  </a:lnTo>
                  <a:lnTo>
                    <a:pt x="11661" y="11214"/>
                  </a:lnTo>
                  <a:lnTo>
                    <a:pt x="11696" y="11104"/>
                  </a:lnTo>
                  <a:lnTo>
                    <a:pt x="11731" y="10993"/>
                  </a:lnTo>
                  <a:lnTo>
                    <a:pt x="11765" y="10880"/>
                  </a:lnTo>
                  <a:lnTo>
                    <a:pt x="11798" y="10768"/>
                  </a:lnTo>
                  <a:lnTo>
                    <a:pt x="11829" y="10655"/>
                  </a:lnTo>
                  <a:lnTo>
                    <a:pt x="11859" y="10542"/>
                  </a:lnTo>
                  <a:lnTo>
                    <a:pt x="11887" y="10427"/>
                  </a:lnTo>
                  <a:lnTo>
                    <a:pt x="11914" y="10312"/>
                  </a:lnTo>
                  <a:lnTo>
                    <a:pt x="11941" y="10197"/>
                  </a:lnTo>
                  <a:lnTo>
                    <a:pt x="11965" y="10081"/>
                  </a:lnTo>
                  <a:lnTo>
                    <a:pt x="11988" y="9964"/>
                  </a:lnTo>
                  <a:lnTo>
                    <a:pt x="12010" y="9847"/>
                  </a:lnTo>
                  <a:lnTo>
                    <a:pt x="12031" y="9729"/>
                  </a:lnTo>
                  <a:lnTo>
                    <a:pt x="12051" y="9611"/>
                  </a:lnTo>
                  <a:lnTo>
                    <a:pt x="12068" y="9492"/>
                  </a:lnTo>
                  <a:lnTo>
                    <a:pt x="12084" y="9373"/>
                  </a:lnTo>
                  <a:lnTo>
                    <a:pt x="12100" y="9253"/>
                  </a:lnTo>
                  <a:lnTo>
                    <a:pt x="12113" y="9133"/>
                  </a:lnTo>
                  <a:lnTo>
                    <a:pt x="12126" y="9011"/>
                  </a:lnTo>
                  <a:lnTo>
                    <a:pt x="12137" y="8890"/>
                  </a:lnTo>
                  <a:lnTo>
                    <a:pt x="12147" y="8769"/>
                  </a:lnTo>
                  <a:lnTo>
                    <a:pt x="12155" y="8646"/>
                  </a:lnTo>
                  <a:lnTo>
                    <a:pt x="12161" y="8523"/>
                  </a:lnTo>
                  <a:lnTo>
                    <a:pt x="12166" y="8400"/>
                  </a:lnTo>
                  <a:lnTo>
                    <a:pt x="12171" y="8277"/>
                  </a:lnTo>
                  <a:lnTo>
                    <a:pt x="15347" y="8277"/>
                  </a:lnTo>
                  <a:lnTo>
                    <a:pt x="15337" y="8448"/>
                  </a:lnTo>
                  <a:lnTo>
                    <a:pt x="15325" y="8617"/>
                  </a:lnTo>
                  <a:lnTo>
                    <a:pt x="15309" y="8786"/>
                  </a:lnTo>
                  <a:lnTo>
                    <a:pt x="15287" y="8954"/>
                  </a:lnTo>
                  <a:lnTo>
                    <a:pt x="15262" y="9119"/>
                  </a:lnTo>
                  <a:lnTo>
                    <a:pt x="15234" y="9285"/>
                  </a:lnTo>
                  <a:lnTo>
                    <a:pt x="15201" y="9449"/>
                  </a:lnTo>
                  <a:lnTo>
                    <a:pt x="15164" y="9612"/>
                  </a:lnTo>
                  <a:lnTo>
                    <a:pt x="15124" y="9772"/>
                  </a:lnTo>
                  <a:lnTo>
                    <a:pt x="15080" y="9931"/>
                  </a:lnTo>
                  <a:lnTo>
                    <a:pt x="15032" y="10090"/>
                  </a:lnTo>
                  <a:lnTo>
                    <a:pt x="14980" y="10246"/>
                  </a:lnTo>
                  <a:lnTo>
                    <a:pt x="14925" y="10400"/>
                  </a:lnTo>
                  <a:lnTo>
                    <a:pt x="14866" y="10554"/>
                  </a:lnTo>
                  <a:lnTo>
                    <a:pt x="14804" y="10705"/>
                  </a:lnTo>
                  <a:lnTo>
                    <a:pt x="14738" y="10854"/>
                  </a:lnTo>
                  <a:lnTo>
                    <a:pt x="14668" y="11002"/>
                  </a:lnTo>
                  <a:lnTo>
                    <a:pt x="14596" y="11148"/>
                  </a:lnTo>
                  <a:lnTo>
                    <a:pt x="14521" y="11292"/>
                  </a:lnTo>
                  <a:lnTo>
                    <a:pt x="14441" y="11434"/>
                  </a:lnTo>
                  <a:lnTo>
                    <a:pt x="14358" y="11574"/>
                  </a:lnTo>
                  <a:lnTo>
                    <a:pt x="14272" y="11712"/>
                  </a:lnTo>
                  <a:lnTo>
                    <a:pt x="14183" y="11848"/>
                  </a:lnTo>
                  <a:lnTo>
                    <a:pt x="14092" y="11981"/>
                  </a:lnTo>
                  <a:lnTo>
                    <a:pt x="13996" y="12113"/>
                  </a:lnTo>
                  <a:lnTo>
                    <a:pt x="13898" y="12241"/>
                  </a:lnTo>
                  <a:lnTo>
                    <a:pt x="13797" y="12369"/>
                  </a:lnTo>
                  <a:lnTo>
                    <a:pt x="13693" y="12493"/>
                  </a:lnTo>
                  <a:lnTo>
                    <a:pt x="13586" y="12615"/>
                  </a:lnTo>
                  <a:lnTo>
                    <a:pt x="13476" y="12735"/>
                  </a:lnTo>
                  <a:lnTo>
                    <a:pt x="13364" y="12852"/>
                  </a:lnTo>
                  <a:lnTo>
                    <a:pt x="13248" y="12967"/>
                  </a:lnTo>
                  <a:close/>
                  <a:moveTo>
                    <a:pt x="1073" y="8277"/>
                  </a:moveTo>
                  <a:lnTo>
                    <a:pt x="4248" y="8277"/>
                  </a:lnTo>
                  <a:lnTo>
                    <a:pt x="4253" y="8400"/>
                  </a:lnTo>
                  <a:lnTo>
                    <a:pt x="4258" y="8523"/>
                  </a:lnTo>
                  <a:lnTo>
                    <a:pt x="4265" y="8646"/>
                  </a:lnTo>
                  <a:lnTo>
                    <a:pt x="4273" y="8769"/>
                  </a:lnTo>
                  <a:lnTo>
                    <a:pt x="4282" y="8890"/>
                  </a:lnTo>
                  <a:lnTo>
                    <a:pt x="4294" y="9011"/>
                  </a:lnTo>
                  <a:lnTo>
                    <a:pt x="4306" y="9133"/>
                  </a:lnTo>
                  <a:lnTo>
                    <a:pt x="4319" y="9253"/>
                  </a:lnTo>
                  <a:lnTo>
                    <a:pt x="4335" y="9373"/>
                  </a:lnTo>
                  <a:lnTo>
                    <a:pt x="4351" y="9492"/>
                  </a:lnTo>
                  <a:lnTo>
                    <a:pt x="4370" y="9611"/>
                  </a:lnTo>
                  <a:lnTo>
                    <a:pt x="4388" y="9729"/>
                  </a:lnTo>
                  <a:lnTo>
                    <a:pt x="4410" y="9847"/>
                  </a:lnTo>
                  <a:lnTo>
                    <a:pt x="4431" y="9964"/>
                  </a:lnTo>
                  <a:lnTo>
                    <a:pt x="4455" y="10081"/>
                  </a:lnTo>
                  <a:lnTo>
                    <a:pt x="4479" y="10197"/>
                  </a:lnTo>
                  <a:lnTo>
                    <a:pt x="4505" y="10312"/>
                  </a:lnTo>
                  <a:lnTo>
                    <a:pt x="4533" y="10427"/>
                  </a:lnTo>
                  <a:lnTo>
                    <a:pt x="4560" y="10542"/>
                  </a:lnTo>
                  <a:lnTo>
                    <a:pt x="4590" y="10655"/>
                  </a:lnTo>
                  <a:lnTo>
                    <a:pt x="4622" y="10768"/>
                  </a:lnTo>
                  <a:lnTo>
                    <a:pt x="4654" y="10880"/>
                  </a:lnTo>
                  <a:lnTo>
                    <a:pt x="4688" y="10993"/>
                  </a:lnTo>
                  <a:lnTo>
                    <a:pt x="4723" y="11104"/>
                  </a:lnTo>
                  <a:lnTo>
                    <a:pt x="4758" y="11214"/>
                  </a:lnTo>
                  <a:lnTo>
                    <a:pt x="4795" y="11323"/>
                  </a:lnTo>
                  <a:lnTo>
                    <a:pt x="4834" y="11433"/>
                  </a:lnTo>
                  <a:lnTo>
                    <a:pt x="4874" y="11541"/>
                  </a:lnTo>
                  <a:lnTo>
                    <a:pt x="4915" y="11649"/>
                  </a:lnTo>
                  <a:lnTo>
                    <a:pt x="4958" y="11756"/>
                  </a:lnTo>
                  <a:lnTo>
                    <a:pt x="5001" y="11863"/>
                  </a:lnTo>
                  <a:lnTo>
                    <a:pt x="5045" y="11968"/>
                  </a:lnTo>
                  <a:lnTo>
                    <a:pt x="4982" y="11992"/>
                  </a:lnTo>
                  <a:lnTo>
                    <a:pt x="4920" y="12017"/>
                  </a:lnTo>
                  <a:lnTo>
                    <a:pt x="4857" y="12042"/>
                  </a:lnTo>
                  <a:lnTo>
                    <a:pt x="4795" y="12068"/>
                  </a:lnTo>
                  <a:lnTo>
                    <a:pt x="4734" y="12094"/>
                  </a:lnTo>
                  <a:lnTo>
                    <a:pt x="4672" y="12120"/>
                  </a:lnTo>
                  <a:lnTo>
                    <a:pt x="4611" y="12147"/>
                  </a:lnTo>
                  <a:lnTo>
                    <a:pt x="4550" y="12175"/>
                  </a:lnTo>
                  <a:lnTo>
                    <a:pt x="4490" y="12203"/>
                  </a:lnTo>
                  <a:lnTo>
                    <a:pt x="4429" y="12231"/>
                  </a:lnTo>
                  <a:lnTo>
                    <a:pt x="4370" y="12261"/>
                  </a:lnTo>
                  <a:lnTo>
                    <a:pt x="4309" y="12291"/>
                  </a:lnTo>
                  <a:lnTo>
                    <a:pt x="4191" y="12351"/>
                  </a:lnTo>
                  <a:lnTo>
                    <a:pt x="4073" y="12413"/>
                  </a:lnTo>
                  <a:lnTo>
                    <a:pt x="3956" y="12476"/>
                  </a:lnTo>
                  <a:lnTo>
                    <a:pt x="3841" y="12541"/>
                  </a:lnTo>
                  <a:lnTo>
                    <a:pt x="3726" y="12608"/>
                  </a:lnTo>
                  <a:lnTo>
                    <a:pt x="3613" y="12676"/>
                  </a:lnTo>
                  <a:lnTo>
                    <a:pt x="3501" y="12748"/>
                  </a:lnTo>
                  <a:lnTo>
                    <a:pt x="3389" y="12819"/>
                  </a:lnTo>
                  <a:lnTo>
                    <a:pt x="3280" y="12892"/>
                  </a:lnTo>
                  <a:lnTo>
                    <a:pt x="3171" y="12967"/>
                  </a:lnTo>
                  <a:lnTo>
                    <a:pt x="3056" y="12852"/>
                  </a:lnTo>
                  <a:lnTo>
                    <a:pt x="2943" y="12735"/>
                  </a:lnTo>
                  <a:lnTo>
                    <a:pt x="2833" y="12615"/>
                  </a:lnTo>
                  <a:lnTo>
                    <a:pt x="2727" y="12493"/>
                  </a:lnTo>
                  <a:lnTo>
                    <a:pt x="2623" y="12369"/>
                  </a:lnTo>
                  <a:lnTo>
                    <a:pt x="2521" y="12241"/>
                  </a:lnTo>
                  <a:lnTo>
                    <a:pt x="2423" y="12113"/>
                  </a:lnTo>
                  <a:lnTo>
                    <a:pt x="2328" y="11981"/>
                  </a:lnTo>
                  <a:lnTo>
                    <a:pt x="2236" y="11848"/>
                  </a:lnTo>
                  <a:lnTo>
                    <a:pt x="2147" y="11712"/>
                  </a:lnTo>
                  <a:lnTo>
                    <a:pt x="2062" y="11574"/>
                  </a:lnTo>
                  <a:lnTo>
                    <a:pt x="1978" y="11434"/>
                  </a:lnTo>
                  <a:lnTo>
                    <a:pt x="1899" y="11292"/>
                  </a:lnTo>
                  <a:lnTo>
                    <a:pt x="1824" y="11148"/>
                  </a:lnTo>
                  <a:lnTo>
                    <a:pt x="1751" y="11002"/>
                  </a:lnTo>
                  <a:lnTo>
                    <a:pt x="1682" y="10854"/>
                  </a:lnTo>
                  <a:lnTo>
                    <a:pt x="1615" y="10705"/>
                  </a:lnTo>
                  <a:lnTo>
                    <a:pt x="1554" y="10554"/>
                  </a:lnTo>
                  <a:lnTo>
                    <a:pt x="1494" y="10400"/>
                  </a:lnTo>
                  <a:lnTo>
                    <a:pt x="1440" y="10246"/>
                  </a:lnTo>
                  <a:lnTo>
                    <a:pt x="1387" y="10090"/>
                  </a:lnTo>
                  <a:lnTo>
                    <a:pt x="1340" y="9931"/>
                  </a:lnTo>
                  <a:lnTo>
                    <a:pt x="1296" y="9772"/>
                  </a:lnTo>
                  <a:lnTo>
                    <a:pt x="1255" y="9612"/>
                  </a:lnTo>
                  <a:lnTo>
                    <a:pt x="1219" y="9449"/>
                  </a:lnTo>
                  <a:lnTo>
                    <a:pt x="1186" y="9285"/>
                  </a:lnTo>
                  <a:lnTo>
                    <a:pt x="1158" y="9119"/>
                  </a:lnTo>
                  <a:lnTo>
                    <a:pt x="1132" y="8954"/>
                  </a:lnTo>
                  <a:lnTo>
                    <a:pt x="1111" y="8786"/>
                  </a:lnTo>
                  <a:lnTo>
                    <a:pt x="1095" y="8617"/>
                  </a:lnTo>
                  <a:lnTo>
                    <a:pt x="1082" y="8448"/>
                  </a:lnTo>
                  <a:lnTo>
                    <a:pt x="1073" y="8277"/>
                  </a:lnTo>
                  <a:close/>
                  <a:moveTo>
                    <a:pt x="2878" y="3381"/>
                  </a:moveTo>
                  <a:lnTo>
                    <a:pt x="2935" y="3423"/>
                  </a:lnTo>
                  <a:lnTo>
                    <a:pt x="2992" y="3466"/>
                  </a:lnTo>
                  <a:lnTo>
                    <a:pt x="3050" y="3507"/>
                  </a:lnTo>
                  <a:lnTo>
                    <a:pt x="3107" y="3549"/>
                  </a:lnTo>
                  <a:lnTo>
                    <a:pt x="3165" y="3590"/>
                  </a:lnTo>
                  <a:lnTo>
                    <a:pt x="3223" y="3630"/>
                  </a:lnTo>
                  <a:lnTo>
                    <a:pt x="3282" y="3670"/>
                  </a:lnTo>
                  <a:lnTo>
                    <a:pt x="3341" y="3710"/>
                  </a:lnTo>
                  <a:lnTo>
                    <a:pt x="3401" y="3749"/>
                  </a:lnTo>
                  <a:lnTo>
                    <a:pt x="3460" y="3789"/>
                  </a:lnTo>
                  <a:lnTo>
                    <a:pt x="3521" y="3827"/>
                  </a:lnTo>
                  <a:lnTo>
                    <a:pt x="3581" y="3865"/>
                  </a:lnTo>
                  <a:lnTo>
                    <a:pt x="3642" y="3902"/>
                  </a:lnTo>
                  <a:lnTo>
                    <a:pt x="3702" y="3939"/>
                  </a:lnTo>
                  <a:lnTo>
                    <a:pt x="3764" y="3975"/>
                  </a:lnTo>
                  <a:lnTo>
                    <a:pt x="3826" y="4011"/>
                  </a:lnTo>
                  <a:lnTo>
                    <a:pt x="3887" y="4046"/>
                  </a:lnTo>
                  <a:lnTo>
                    <a:pt x="3950" y="4081"/>
                  </a:lnTo>
                  <a:lnTo>
                    <a:pt x="4012" y="4116"/>
                  </a:lnTo>
                  <a:lnTo>
                    <a:pt x="4076" y="4150"/>
                  </a:lnTo>
                  <a:lnTo>
                    <a:pt x="4139" y="4183"/>
                  </a:lnTo>
                  <a:lnTo>
                    <a:pt x="4202" y="4216"/>
                  </a:lnTo>
                  <a:lnTo>
                    <a:pt x="4267" y="4249"/>
                  </a:lnTo>
                  <a:lnTo>
                    <a:pt x="4331" y="4281"/>
                  </a:lnTo>
                  <a:lnTo>
                    <a:pt x="4395" y="4312"/>
                  </a:lnTo>
                  <a:lnTo>
                    <a:pt x="4461" y="4343"/>
                  </a:lnTo>
                  <a:lnTo>
                    <a:pt x="4525" y="4374"/>
                  </a:lnTo>
                  <a:lnTo>
                    <a:pt x="4591" y="4403"/>
                  </a:lnTo>
                  <a:lnTo>
                    <a:pt x="4657" y="4432"/>
                  </a:lnTo>
                  <a:lnTo>
                    <a:pt x="4724" y="4461"/>
                  </a:lnTo>
                  <a:lnTo>
                    <a:pt x="4789" y="4489"/>
                  </a:lnTo>
                  <a:lnTo>
                    <a:pt x="4856" y="4517"/>
                  </a:lnTo>
                  <a:lnTo>
                    <a:pt x="4822" y="4611"/>
                  </a:lnTo>
                  <a:lnTo>
                    <a:pt x="4789" y="4706"/>
                  </a:lnTo>
                  <a:lnTo>
                    <a:pt x="4756" y="4801"/>
                  </a:lnTo>
                  <a:lnTo>
                    <a:pt x="4726" y="4897"/>
                  </a:lnTo>
                  <a:lnTo>
                    <a:pt x="4695" y="4993"/>
                  </a:lnTo>
                  <a:lnTo>
                    <a:pt x="4665" y="5090"/>
                  </a:lnTo>
                  <a:lnTo>
                    <a:pt x="4637" y="5188"/>
                  </a:lnTo>
                  <a:lnTo>
                    <a:pt x="4610" y="5285"/>
                  </a:lnTo>
                  <a:lnTo>
                    <a:pt x="4583" y="5383"/>
                  </a:lnTo>
                  <a:lnTo>
                    <a:pt x="4557" y="5482"/>
                  </a:lnTo>
                  <a:lnTo>
                    <a:pt x="4533" y="5582"/>
                  </a:lnTo>
                  <a:lnTo>
                    <a:pt x="4509" y="5681"/>
                  </a:lnTo>
                  <a:lnTo>
                    <a:pt x="4486" y="5781"/>
                  </a:lnTo>
                  <a:lnTo>
                    <a:pt x="4465" y="5881"/>
                  </a:lnTo>
                  <a:lnTo>
                    <a:pt x="4444" y="5982"/>
                  </a:lnTo>
                  <a:lnTo>
                    <a:pt x="4425" y="6084"/>
                  </a:lnTo>
                  <a:lnTo>
                    <a:pt x="4406" y="6186"/>
                  </a:lnTo>
                  <a:lnTo>
                    <a:pt x="4388" y="6288"/>
                  </a:lnTo>
                  <a:lnTo>
                    <a:pt x="4372" y="6391"/>
                  </a:lnTo>
                  <a:lnTo>
                    <a:pt x="4356" y="6494"/>
                  </a:lnTo>
                  <a:lnTo>
                    <a:pt x="4342" y="6598"/>
                  </a:lnTo>
                  <a:lnTo>
                    <a:pt x="4328" y="6701"/>
                  </a:lnTo>
                  <a:lnTo>
                    <a:pt x="4315" y="6805"/>
                  </a:lnTo>
                  <a:lnTo>
                    <a:pt x="4304" y="6911"/>
                  </a:lnTo>
                  <a:lnTo>
                    <a:pt x="4294" y="7015"/>
                  </a:lnTo>
                  <a:lnTo>
                    <a:pt x="4284" y="7120"/>
                  </a:lnTo>
                  <a:lnTo>
                    <a:pt x="4275" y="7226"/>
                  </a:lnTo>
                  <a:lnTo>
                    <a:pt x="4268" y="7332"/>
                  </a:lnTo>
                  <a:lnTo>
                    <a:pt x="4262" y="7439"/>
                  </a:lnTo>
                  <a:lnTo>
                    <a:pt x="4257" y="7545"/>
                  </a:lnTo>
                  <a:lnTo>
                    <a:pt x="4253" y="7652"/>
                  </a:lnTo>
                  <a:lnTo>
                    <a:pt x="4248" y="7759"/>
                  </a:lnTo>
                  <a:lnTo>
                    <a:pt x="1073" y="7759"/>
                  </a:lnTo>
                  <a:lnTo>
                    <a:pt x="1081" y="7602"/>
                  </a:lnTo>
                  <a:lnTo>
                    <a:pt x="1092" y="7446"/>
                  </a:lnTo>
                  <a:lnTo>
                    <a:pt x="1107" y="7291"/>
                  </a:lnTo>
                  <a:lnTo>
                    <a:pt x="1125" y="7137"/>
                  </a:lnTo>
                  <a:lnTo>
                    <a:pt x="1146" y="6984"/>
                  </a:lnTo>
                  <a:lnTo>
                    <a:pt x="1171" y="6832"/>
                  </a:lnTo>
                  <a:lnTo>
                    <a:pt x="1200" y="6681"/>
                  </a:lnTo>
                  <a:lnTo>
                    <a:pt x="1231" y="6532"/>
                  </a:lnTo>
                  <a:lnTo>
                    <a:pt x="1265" y="6383"/>
                  </a:lnTo>
                  <a:lnTo>
                    <a:pt x="1304" y="6236"/>
                  </a:lnTo>
                  <a:lnTo>
                    <a:pt x="1345" y="6090"/>
                  </a:lnTo>
                  <a:lnTo>
                    <a:pt x="1389" y="5945"/>
                  </a:lnTo>
                  <a:lnTo>
                    <a:pt x="1437" y="5802"/>
                  </a:lnTo>
                  <a:lnTo>
                    <a:pt x="1487" y="5660"/>
                  </a:lnTo>
                  <a:lnTo>
                    <a:pt x="1540" y="5519"/>
                  </a:lnTo>
                  <a:lnTo>
                    <a:pt x="1597" y="5380"/>
                  </a:lnTo>
                  <a:lnTo>
                    <a:pt x="1656" y="5243"/>
                  </a:lnTo>
                  <a:lnTo>
                    <a:pt x="1719" y="5106"/>
                  </a:lnTo>
                  <a:lnTo>
                    <a:pt x="1785" y="4972"/>
                  </a:lnTo>
                  <a:lnTo>
                    <a:pt x="1852" y="4839"/>
                  </a:lnTo>
                  <a:lnTo>
                    <a:pt x="1923" y="4708"/>
                  </a:lnTo>
                  <a:lnTo>
                    <a:pt x="1997" y="4578"/>
                  </a:lnTo>
                  <a:lnTo>
                    <a:pt x="2074" y="4450"/>
                  </a:lnTo>
                  <a:lnTo>
                    <a:pt x="2153" y="4324"/>
                  </a:lnTo>
                  <a:lnTo>
                    <a:pt x="2234" y="4199"/>
                  </a:lnTo>
                  <a:lnTo>
                    <a:pt x="2319" y="4076"/>
                  </a:lnTo>
                  <a:lnTo>
                    <a:pt x="2405" y="3956"/>
                  </a:lnTo>
                  <a:lnTo>
                    <a:pt x="2496" y="3837"/>
                  </a:lnTo>
                  <a:lnTo>
                    <a:pt x="2587" y="3719"/>
                  </a:lnTo>
                  <a:lnTo>
                    <a:pt x="2681" y="3605"/>
                  </a:lnTo>
                  <a:lnTo>
                    <a:pt x="2779" y="3492"/>
                  </a:lnTo>
                  <a:lnTo>
                    <a:pt x="2878" y="3381"/>
                  </a:lnTo>
                  <a:close/>
                  <a:moveTo>
                    <a:pt x="8474" y="7759"/>
                  </a:moveTo>
                  <a:lnTo>
                    <a:pt x="8474" y="5160"/>
                  </a:lnTo>
                  <a:lnTo>
                    <a:pt x="8559" y="5157"/>
                  </a:lnTo>
                  <a:lnTo>
                    <a:pt x="8644" y="5153"/>
                  </a:lnTo>
                  <a:lnTo>
                    <a:pt x="8728" y="5149"/>
                  </a:lnTo>
                  <a:lnTo>
                    <a:pt x="8812" y="5143"/>
                  </a:lnTo>
                  <a:lnTo>
                    <a:pt x="8896" y="5137"/>
                  </a:lnTo>
                  <a:lnTo>
                    <a:pt x="8980" y="5131"/>
                  </a:lnTo>
                  <a:lnTo>
                    <a:pt x="9063" y="5122"/>
                  </a:lnTo>
                  <a:lnTo>
                    <a:pt x="9146" y="5114"/>
                  </a:lnTo>
                  <a:lnTo>
                    <a:pt x="9230" y="5105"/>
                  </a:lnTo>
                  <a:lnTo>
                    <a:pt x="9313" y="5095"/>
                  </a:lnTo>
                  <a:lnTo>
                    <a:pt x="9395" y="5084"/>
                  </a:lnTo>
                  <a:lnTo>
                    <a:pt x="9477" y="5073"/>
                  </a:lnTo>
                  <a:lnTo>
                    <a:pt x="9559" y="5061"/>
                  </a:lnTo>
                  <a:lnTo>
                    <a:pt x="9641" y="5048"/>
                  </a:lnTo>
                  <a:lnTo>
                    <a:pt x="9723" y="5035"/>
                  </a:lnTo>
                  <a:lnTo>
                    <a:pt x="9804" y="5020"/>
                  </a:lnTo>
                  <a:lnTo>
                    <a:pt x="9885" y="5005"/>
                  </a:lnTo>
                  <a:lnTo>
                    <a:pt x="9965" y="4990"/>
                  </a:lnTo>
                  <a:lnTo>
                    <a:pt x="10046" y="4973"/>
                  </a:lnTo>
                  <a:lnTo>
                    <a:pt x="10126" y="4956"/>
                  </a:lnTo>
                  <a:lnTo>
                    <a:pt x="10206" y="4938"/>
                  </a:lnTo>
                  <a:lnTo>
                    <a:pt x="10287" y="4920"/>
                  </a:lnTo>
                  <a:lnTo>
                    <a:pt x="10366" y="4900"/>
                  </a:lnTo>
                  <a:lnTo>
                    <a:pt x="10445" y="4880"/>
                  </a:lnTo>
                  <a:lnTo>
                    <a:pt x="10524" y="4860"/>
                  </a:lnTo>
                  <a:lnTo>
                    <a:pt x="10602" y="4838"/>
                  </a:lnTo>
                  <a:lnTo>
                    <a:pt x="10681" y="4816"/>
                  </a:lnTo>
                  <a:lnTo>
                    <a:pt x="10759" y="4793"/>
                  </a:lnTo>
                  <a:lnTo>
                    <a:pt x="10836" y="4770"/>
                  </a:lnTo>
                  <a:lnTo>
                    <a:pt x="10914" y="4746"/>
                  </a:lnTo>
                  <a:lnTo>
                    <a:pt x="10990" y="4721"/>
                  </a:lnTo>
                  <a:lnTo>
                    <a:pt x="11066" y="4695"/>
                  </a:lnTo>
                  <a:lnTo>
                    <a:pt x="11099" y="4784"/>
                  </a:lnTo>
                  <a:lnTo>
                    <a:pt x="11130" y="4873"/>
                  </a:lnTo>
                  <a:lnTo>
                    <a:pt x="11161" y="4963"/>
                  </a:lnTo>
                  <a:lnTo>
                    <a:pt x="11191" y="5053"/>
                  </a:lnTo>
                  <a:lnTo>
                    <a:pt x="11219" y="5145"/>
                  </a:lnTo>
                  <a:lnTo>
                    <a:pt x="11247" y="5236"/>
                  </a:lnTo>
                  <a:lnTo>
                    <a:pt x="11274" y="5328"/>
                  </a:lnTo>
                  <a:lnTo>
                    <a:pt x="11299" y="5420"/>
                  </a:lnTo>
                  <a:lnTo>
                    <a:pt x="11325" y="5513"/>
                  </a:lnTo>
                  <a:lnTo>
                    <a:pt x="11349" y="5607"/>
                  </a:lnTo>
                  <a:lnTo>
                    <a:pt x="11372" y="5701"/>
                  </a:lnTo>
                  <a:lnTo>
                    <a:pt x="11395" y="5795"/>
                  </a:lnTo>
                  <a:lnTo>
                    <a:pt x="11415" y="5889"/>
                  </a:lnTo>
                  <a:lnTo>
                    <a:pt x="11436" y="5984"/>
                  </a:lnTo>
                  <a:lnTo>
                    <a:pt x="11455" y="6080"/>
                  </a:lnTo>
                  <a:lnTo>
                    <a:pt x="11474" y="6176"/>
                  </a:lnTo>
                  <a:lnTo>
                    <a:pt x="11491" y="6272"/>
                  </a:lnTo>
                  <a:lnTo>
                    <a:pt x="11509" y="6368"/>
                  </a:lnTo>
                  <a:lnTo>
                    <a:pt x="11524" y="6466"/>
                  </a:lnTo>
                  <a:lnTo>
                    <a:pt x="11538" y="6563"/>
                  </a:lnTo>
                  <a:lnTo>
                    <a:pt x="11553" y="6661"/>
                  </a:lnTo>
                  <a:lnTo>
                    <a:pt x="11565" y="6759"/>
                  </a:lnTo>
                  <a:lnTo>
                    <a:pt x="11577" y="6857"/>
                  </a:lnTo>
                  <a:lnTo>
                    <a:pt x="11589" y="6957"/>
                  </a:lnTo>
                  <a:lnTo>
                    <a:pt x="11598" y="7056"/>
                  </a:lnTo>
                  <a:lnTo>
                    <a:pt x="11607" y="7155"/>
                  </a:lnTo>
                  <a:lnTo>
                    <a:pt x="11615" y="7255"/>
                  </a:lnTo>
                  <a:lnTo>
                    <a:pt x="11623" y="7356"/>
                  </a:lnTo>
                  <a:lnTo>
                    <a:pt x="11629" y="7456"/>
                  </a:lnTo>
                  <a:lnTo>
                    <a:pt x="11634" y="7557"/>
                  </a:lnTo>
                  <a:lnTo>
                    <a:pt x="11638" y="7658"/>
                  </a:lnTo>
                  <a:lnTo>
                    <a:pt x="11641" y="7759"/>
                  </a:lnTo>
                  <a:lnTo>
                    <a:pt x="8474" y="7759"/>
                  </a:lnTo>
                  <a:close/>
                  <a:moveTo>
                    <a:pt x="10879" y="11791"/>
                  </a:moveTo>
                  <a:lnTo>
                    <a:pt x="10807" y="11768"/>
                  </a:lnTo>
                  <a:lnTo>
                    <a:pt x="10735" y="11747"/>
                  </a:lnTo>
                  <a:lnTo>
                    <a:pt x="10663" y="11726"/>
                  </a:lnTo>
                  <a:lnTo>
                    <a:pt x="10590" y="11706"/>
                  </a:lnTo>
                  <a:lnTo>
                    <a:pt x="10518" y="11686"/>
                  </a:lnTo>
                  <a:lnTo>
                    <a:pt x="10446" y="11667"/>
                  </a:lnTo>
                  <a:lnTo>
                    <a:pt x="10373" y="11649"/>
                  </a:lnTo>
                  <a:lnTo>
                    <a:pt x="10299" y="11631"/>
                  </a:lnTo>
                  <a:lnTo>
                    <a:pt x="10226" y="11614"/>
                  </a:lnTo>
                  <a:lnTo>
                    <a:pt x="10152" y="11598"/>
                  </a:lnTo>
                  <a:lnTo>
                    <a:pt x="10078" y="11582"/>
                  </a:lnTo>
                  <a:lnTo>
                    <a:pt x="10003" y="11566"/>
                  </a:lnTo>
                  <a:lnTo>
                    <a:pt x="9929" y="11552"/>
                  </a:lnTo>
                  <a:lnTo>
                    <a:pt x="9854" y="11538"/>
                  </a:lnTo>
                  <a:lnTo>
                    <a:pt x="9780" y="11525"/>
                  </a:lnTo>
                  <a:lnTo>
                    <a:pt x="9704" y="11512"/>
                  </a:lnTo>
                  <a:lnTo>
                    <a:pt x="9629" y="11500"/>
                  </a:lnTo>
                  <a:lnTo>
                    <a:pt x="9553" y="11488"/>
                  </a:lnTo>
                  <a:lnTo>
                    <a:pt x="9477" y="11477"/>
                  </a:lnTo>
                  <a:lnTo>
                    <a:pt x="9401" y="11467"/>
                  </a:lnTo>
                  <a:lnTo>
                    <a:pt x="9325" y="11458"/>
                  </a:lnTo>
                  <a:lnTo>
                    <a:pt x="9249" y="11449"/>
                  </a:lnTo>
                  <a:lnTo>
                    <a:pt x="9172" y="11440"/>
                  </a:lnTo>
                  <a:lnTo>
                    <a:pt x="9095" y="11433"/>
                  </a:lnTo>
                  <a:lnTo>
                    <a:pt x="9018" y="11425"/>
                  </a:lnTo>
                  <a:lnTo>
                    <a:pt x="8941" y="11419"/>
                  </a:lnTo>
                  <a:lnTo>
                    <a:pt x="8864" y="11413"/>
                  </a:lnTo>
                  <a:lnTo>
                    <a:pt x="8786" y="11408"/>
                  </a:lnTo>
                  <a:lnTo>
                    <a:pt x="8708" y="11404"/>
                  </a:lnTo>
                  <a:lnTo>
                    <a:pt x="8630" y="11400"/>
                  </a:lnTo>
                  <a:lnTo>
                    <a:pt x="8552" y="11396"/>
                  </a:lnTo>
                  <a:lnTo>
                    <a:pt x="8474" y="11394"/>
                  </a:lnTo>
                  <a:lnTo>
                    <a:pt x="8474" y="8277"/>
                  </a:lnTo>
                  <a:lnTo>
                    <a:pt x="11641" y="8277"/>
                  </a:lnTo>
                  <a:lnTo>
                    <a:pt x="11637" y="8394"/>
                  </a:lnTo>
                  <a:lnTo>
                    <a:pt x="11632" y="8512"/>
                  </a:lnTo>
                  <a:lnTo>
                    <a:pt x="11626" y="8628"/>
                  </a:lnTo>
                  <a:lnTo>
                    <a:pt x="11617" y="8746"/>
                  </a:lnTo>
                  <a:lnTo>
                    <a:pt x="11608" y="8862"/>
                  </a:lnTo>
                  <a:lnTo>
                    <a:pt x="11598" y="8977"/>
                  </a:lnTo>
                  <a:lnTo>
                    <a:pt x="11586" y="9092"/>
                  </a:lnTo>
                  <a:lnTo>
                    <a:pt x="11572" y="9207"/>
                  </a:lnTo>
                  <a:lnTo>
                    <a:pt x="11558" y="9321"/>
                  </a:lnTo>
                  <a:lnTo>
                    <a:pt x="11542" y="9435"/>
                  </a:lnTo>
                  <a:lnTo>
                    <a:pt x="11525" y="9548"/>
                  </a:lnTo>
                  <a:lnTo>
                    <a:pt x="11506" y="9661"/>
                  </a:lnTo>
                  <a:lnTo>
                    <a:pt x="11486" y="9773"/>
                  </a:lnTo>
                  <a:lnTo>
                    <a:pt x="11466" y="9884"/>
                  </a:lnTo>
                  <a:lnTo>
                    <a:pt x="11443" y="9995"/>
                  </a:lnTo>
                  <a:lnTo>
                    <a:pt x="11419" y="10106"/>
                  </a:lnTo>
                  <a:lnTo>
                    <a:pt x="11395" y="10216"/>
                  </a:lnTo>
                  <a:lnTo>
                    <a:pt x="11368" y="10325"/>
                  </a:lnTo>
                  <a:lnTo>
                    <a:pt x="11341" y="10434"/>
                  </a:lnTo>
                  <a:lnTo>
                    <a:pt x="11313" y="10543"/>
                  </a:lnTo>
                  <a:lnTo>
                    <a:pt x="11283" y="10650"/>
                  </a:lnTo>
                  <a:lnTo>
                    <a:pt x="11252" y="10757"/>
                  </a:lnTo>
                  <a:lnTo>
                    <a:pt x="11220" y="10863"/>
                  </a:lnTo>
                  <a:lnTo>
                    <a:pt x="11186" y="10969"/>
                  </a:lnTo>
                  <a:lnTo>
                    <a:pt x="11152" y="11074"/>
                  </a:lnTo>
                  <a:lnTo>
                    <a:pt x="11117" y="11178"/>
                  </a:lnTo>
                  <a:lnTo>
                    <a:pt x="11080" y="11282"/>
                  </a:lnTo>
                  <a:lnTo>
                    <a:pt x="11042" y="11386"/>
                  </a:lnTo>
                  <a:lnTo>
                    <a:pt x="11003" y="11488"/>
                  </a:lnTo>
                  <a:lnTo>
                    <a:pt x="10962" y="11590"/>
                  </a:lnTo>
                  <a:lnTo>
                    <a:pt x="10921" y="11690"/>
                  </a:lnTo>
                  <a:lnTo>
                    <a:pt x="10879" y="11791"/>
                  </a:lnTo>
                  <a:close/>
                  <a:moveTo>
                    <a:pt x="11162" y="12440"/>
                  </a:moveTo>
                  <a:lnTo>
                    <a:pt x="11275" y="12484"/>
                  </a:lnTo>
                  <a:lnTo>
                    <a:pt x="11387" y="12529"/>
                  </a:lnTo>
                  <a:lnTo>
                    <a:pt x="11497" y="12575"/>
                  </a:lnTo>
                  <a:lnTo>
                    <a:pt x="11606" y="12624"/>
                  </a:lnTo>
                  <a:lnTo>
                    <a:pt x="11715" y="12674"/>
                  </a:lnTo>
                  <a:lnTo>
                    <a:pt x="11824" y="12726"/>
                  </a:lnTo>
                  <a:lnTo>
                    <a:pt x="11930" y="12779"/>
                  </a:lnTo>
                  <a:lnTo>
                    <a:pt x="12036" y="12833"/>
                  </a:lnTo>
                  <a:lnTo>
                    <a:pt x="12142" y="12889"/>
                  </a:lnTo>
                  <a:lnTo>
                    <a:pt x="12245" y="12946"/>
                  </a:lnTo>
                  <a:lnTo>
                    <a:pt x="12349" y="13005"/>
                  </a:lnTo>
                  <a:lnTo>
                    <a:pt x="12451" y="13065"/>
                  </a:lnTo>
                  <a:lnTo>
                    <a:pt x="12552" y="13127"/>
                  </a:lnTo>
                  <a:lnTo>
                    <a:pt x="12653" y="13191"/>
                  </a:lnTo>
                  <a:lnTo>
                    <a:pt x="12751" y="13255"/>
                  </a:lnTo>
                  <a:lnTo>
                    <a:pt x="12850" y="13320"/>
                  </a:lnTo>
                  <a:lnTo>
                    <a:pt x="12759" y="13395"/>
                  </a:lnTo>
                  <a:lnTo>
                    <a:pt x="12666" y="13469"/>
                  </a:lnTo>
                  <a:lnTo>
                    <a:pt x="12573" y="13540"/>
                  </a:lnTo>
                  <a:lnTo>
                    <a:pt x="12477" y="13612"/>
                  </a:lnTo>
                  <a:lnTo>
                    <a:pt x="12381" y="13681"/>
                  </a:lnTo>
                  <a:lnTo>
                    <a:pt x="12283" y="13748"/>
                  </a:lnTo>
                  <a:lnTo>
                    <a:pt x="12185" y="13814"/>
                  </a:lnTo>
                  <a:lnTo>
                    <a:pt x="12084" y="13878"/>
                  </a:lnTo>
                  <a:lnTo>
                    <a:pt x="11984" y="13940"/>
                  </a:lnTo>
                  <a:lnTo>
                    <a:pt x="11881" y="14001"/>
                  </a:lnTo>
                  <a:lnTo>
                    <a:pt x="11779" y="14062"/>
                  </a:lnTo>
                  <a:lnTo>
                    <a:pt x="11674" y="14119"/>
                  </a:lnTo>
                  <a:lnTo>
                    <a:pt x="11568" y="14175"/>
                  </a:lnTo>
                  <a:lnTo>
                    <a:pt x="11461" y="14229"/>
                  </a:lnTo>
                  <a:lnTo>
                    <a:pt x="11354" y="14282"/>
                  </a:lnTo>
                  <a:lnTo>
                    <a:pt x="11245" y="14333"/>
                  </a:lnTo>
                  <a:lnTo>
                    <a:pt x="11136" y="14382"/>
                  </a:lnTo>
                  <a:lnTo>
                    <a:pt x="11025" y="14429"/>
                  </a:lnTo>
                  <a:lnTo>
                    <a:pt x="10914" y="14475"/>
                  </a:lnTo>
                  <a:lnTo>
                    <a:pt x="10802" y="14519"/>
                  </a:lnTo>
                  <a:lnTo>
                    <a:pt x="10688" y="14561"/>
                  </a:lnTo>
                  <a:lnTo>
                    <a:pt x="10573" y="14601"/>
                  </a:lnTo>
                  <a:lnTo>
                    <a:pt x="10458" y="14639"/>
                  </a:lnTo>
                  <a:lnTo>
                    <a:pt x="10342" y="14676"/>
                  </a:lnTo>
                  <a:lnTo>
                    <a:pt x="10225" y="14710"/>
                  </a:lnTo>
                  <a:lnTo>
                    <a:pt x="10107" y="14743"/>
                  </a:lnTo>
                  <a:lnTo>
                    <a:pt x="9989" y="14774"/>
                  </a:lnTo>
                  <a:lnTo>
                    <a:pt x="9869" y="14802"/>
                  </a:lnTo>
                  <a:lnTo>
                    <a:pt x="9749" y="14829"/>
                  </a:lnTo>
                  <a:lnTo>
                    <a:pt x="9628" y="14854"/>
                  </a:lnTo>
                  <a:lnTo>
                    <a:pt x="9507" y="14877"/>
                  </a:lnTo>
                  <a:lnTo>
                    <a:pt x="9383" y="14898"/>
                  </a:lnTo>
                  <a:lnTo>
                    <a:pt x="9450" y="14833"/>
                  </a:lnTo>
                  <a:lnTo>
                    <a:pt x="9516" y="14767"/>
                  </a:lnTo>
                  <a:lnTo>
                    <a:pt x="9582" y="14700"/>
                  </a:lnTo>
                  <a:lnTo>
                    <a:pt x="9645" y="14633"/>
                  </a:lnTo>
                  <a:lnTo>
                    <a:pt x="9710" y="14564"/>
                  </a:lnTo>
                  <a:lnTo>
                    <a:pt x="9772" y="14495"/>
                  </a:lnTo>
                  <a:lnTo>
                    <a:pt x="9835" y="14424"/>
                  </a:lnTo>
                  <a:lnTo>
                    <a:pt x="9897" y="14354"/>
                  </a:lnTo>
                  <a:lnTo>
                    <a:pt x="9958" y="14282"/>
                  </a:lnTo>
                  <a:lnTo>
                    <a:pt x="10019" y="14210"/>
                  </a:lnTo>
                  <a:lnTo>
                    <a:pt x="10078" y="14137"/>
                  </a:lnTo>
                  <a:lnTo>
                    <a:pt x="10138" y="14064"/>
                  </a:lnTo>
                  <a:lnTo>
                    <a:pt x="10195" y="13988"/>
                  </a:lnTo>
                  <a:lnTo>
                    <a:pt x="10254" y="13913"/>
                  </a:lnTo>
                  <a:lnTo>
                    <a:pt x="10310" y="13837"/>
                  </a:lnTo>
                  <a:lnTo>
                    <a:pt x="10367" y="13761"/>
                  </a:lnTo>
                  <a:lnTo>
                    <a:pt x="10422" y="13684"/>
                  </a:lnTo>
                  <a:lnTo>
                    <a:pt x="10476" y="13606"/>
                  </a:lnTo>
                  <a:lnTo>
                    <a:pt x="10531" y="13526"/>
                  </a:lnTo>
                  <a:lnTo>
                    <a:pt x="10584" y="13447"/>
                  </a:lnTo>
                  <a:lnTo>
                    <a:pt x="10636" y="13367"/>
                  </a:lnTo>
                  <a:lnTo>
                    <a:pt x="10688" y="13286"/>
                  </a:lnTo>
                  <a:lnTo>
                    <a:pt x="10739" y="13204"/>
                  </a:lnTo>
                  <a:lnTo>
                    <a:pt x="10789" y="13121"/>
                  </a:lnTo>
                  <a:lnTo>
                    <a:pt x="10839" y="13039"/>
                  </a:lnTo>
                  <a:lnTo>
                    <a:pt x="10888" y="12955"/>
                  </a:lnTo>
                  <a:lnTo>
                    <a:pt x="10935" y="12871"/>
                  </a:lnTo>
                  <a:lnTo>
                    <a:pt x="10982" y="12786"/>
                  </a:lnTo>
                  <a:lnTo>
                    <a:pt x="11028" y="12701"/>
                  </a:lnTo>
                  <a:lnTo>
                    <a:pt x="11074" y="12614"/>
                  </a:lnTo>
                  <a:lnTo>
                    <a:pt x="11119" y="12528"/>
                  </a:lnTo>
                  <a:lnTo>
                    <a:pt x="11162" y="12440"/>
                  </a:lnTo>
                  <a:close/>
                  <a:moveTo>
                    <a:pt x="8474" y="14988"/>
                  </a:moveTo>
                  <a:lnTo>
                    <a:pt x="8474" y="11911"/>
                  </a:lnTo>
                  <a:lnTo>
                    <a:pt x="8545" y="11913"/>
                  </a:lnTo>
                  <a:lnTo>
                    <a:pt x="8616" y="11916"/>
                  </a:lnTo>
                  <a:lnTo>
                    <a:pt x="8687" y="11920"/>
                  </a:lnTo>
                  <a:lnTo>
                    <a:pt x="8757" y="11924"/>
                  </a:lnTo>
                  <a:lnTo>
                    <a:pt x="8828" y="11929"/>
                  </a:lnTo>
                  <a:lnTo>
                    <a:pt x="8899" y="11934"/>
                  </a:lnTo>
                  <a:lnTo>
                    <a:pt x="8969" y="11940"/>
                  </a:lnTo>
                  <a:lnTo>
                    <a:pt x="9039" y="11946"/>
                  </a:lnTo>
                  <a:lnTo>
                    <a:pt x="9108" y="11953"/>
                  </a:lnTo>
                  <a:lnTo>
                    <a:pt x="9178" y="11960"/>
                  </a:lnTo>
                  <a:lnTo>
                    <a:pt x="9248" y="11968"/>
                  </a:lnTo>
                  <a:lnTo>
                    <a:pt x="9317" y="11976"/>
                  </a:lnTo>
                  <a:lnTo>
                    <a:pt x="9387" y="11986"/>
                  </a:lnTo>
                  <a:lnTo>
                    <a:pt x="9455" y="11995"/>
                  </a:lnTo>
                  <a:lnTo>
                    <a:pt x="9524" y="12005"/>
                  </a:lnTo>
                  <a:lnTo>
                    <a:pt x="9593" y="12016"/>
                  </a:lnTo>
                  <a:lnTo>
                    <a:pt x="9661" y="12027"/>
                  </a:lnTo>
                  <a:lnTo>
                    <a:pt x="9729" y="12039"/>
                  </a:lnTo>
                  <a:lnTo>
                    <a:pt x="9797" y="12051"/>
                  </a:lnTo>
                  <a:lnTo>
                    <a:pt x="9865" y="12064"/>
                  </a:lnTo>
                  <a:lnTo>
                    <a:pt x="9932" y="12077"/>
                  </a:lnTo>
                  <a:lnTo>
                    <a:pt x="10000" y="12091"/>
                  </a:lnTo>
                  <a:lnTo>
                    <a:pt x="10067" y="12106"/>
                  </a:lnTo>
                  <a:lnTo>
                    <a:pt x="10134" y="12121"/>
                  </a:lnTo>
                  <a:lnTo>
                    <a:pt x="10200" y="12136"/>
                  </a:lnTo>
                  <a:lnTo>
                    <a:pt x="10267" y="12153"/>
                  </a:lnTo>
                  <a:lnTo>
                    <a:pt x="10334" y="12169"/>
                  </a:lnTo>
                  <a:lnTo>
                    <a:pt x="10399" y="12187"/>
                  </a:lnTo>
                  <a:lnTo>
                    <a:pt x="10465" y="12204"/>
                  </a:lnTo>
                  <a:lnTo>
                    <a:pt x="10531" y="12223"/>
                  </a:lnTo>
                  <a:lnTo>
                    <a:pt x="10596" y="12242"/>
                  </a:lnTo>
                  <a:lnTo>
                    <a:pt x="10661" y="12262"/>
                  </a:lnTo>
                  <a:lnTo>
                    <a:pt x="10610" y="12363"/>
                  </a:lnTo>
                  <a:lnTo>
                    <a:pt x="10557" y="12462"/>
                  </a:lnTo>
                  <a:lnTo>
                    <a:pt x="10504" y="12561"/>
                  </a:lnTo>
                  <a:lnTo>
                    <a:pt x="10450" y="12659"/>
                  </a:lnTo>
                  <a:lnTo>
                    <a:pt x="10393" y="12757"/>
                  </a:lnTo>
                  <a:lnTo>
                    <a:pt x="10337" y="12853"/>
                  </a:lnTo>
                  <a:lnTo>
                    <a:pt x="10279" y="12948"/>
                  </a:lnTo>
                  <a:lnTo>
                    <a:pt x="10220" y="13042"/>
                  </a:lnTo>
                  <a:lnTo>
                    <a:pt x="10159" y="13135"/>
                  </a:lnTo>
                  <a:lnTo>
                    <a:pt x="10099" y="13228"/>
                  </a:lnTo>
                  <a:lnTo>
                    <a:pt x="10036" y="13319"/>
                  </a:lnTo>
                  <a:lnTo>
                    <a:pt x="9972" y="13410"/>
                  </a:lnTo>
                  <a:lnTo>
                    <a:pt x="9909" y="13499"/>
                  </a:lnTo>
                  <a:lnTo>
                    <a:pt x="9843" y="13588"/>
                  </a:lnTo>
                  <a:lnTo>
                    <a:pt x="9776" y="13675"/>
                  </a:lnTo>
                  <a:lnTo>
                    <a:pt x="9710" y="13761"/>
                  </a:lnTo>
                  <a:lnTo>
                    <a:pt x="9641" y="13846"/>
                  </a:lnTo>
                  <a:lnTo>
                    <a:pt x="9571" y="13930"/>
                  </a:lnTo>
                  <a:lnTo>
                    <a:pt x="9501" y="14012"/>
                  </a:lnTo>
                  <a:lnTo>
                    <a:pt x="9430" y="14095"/>
                  </a:lnTo>
                  <a:lnTo>
                    <a:pt x="9358" y="14175"/>
                  </a:lnTo>
                  <a:lnTo>
                    <a:pt x="9284" y="14255"/>
                  </a:lnTo>
                  <a:lnTo>
                    <a:pt x="9210" y="14333"/>
                  </a:lnTo>
                  <a:lnTo>
                    <a:pt x="9135" y="14410"/>
                  </a:lnTo>
                  <a:lnTo>
                    <a:pt x="9059" y="14487"/>
                  </a:lnTo>
                  <a:lnTo>
                    <a:pt x="8982" y="14562"/>
                  </a:lnTo>
                  <a:lnTo>
                    <a:pt x="8904" y="14636"/>
                  </a:lnTo>
                  <a:lnTo>
                    <a:pt x="8825" y="14708"/>
                  </a:lnTo>
                  <a:lnTo>
                    <a:pt x="8746" y="14779"/>
                  </a:lnTo>
                  <a:lnTo>
                    <a:pt x="8666" y="14850"/>
                  </a:lnTo>
                  <a:lnTo>
                    <a:pt x="8584" y="14918"/>
                  </a:lnTo>
                  <a:lnTo>
                    <a:pt x="8502" y="14987"/>
                  </a:lnTo>
                  <a:lnTo>
                    <a:pt x="8474" y="14988"/>
                  </a:lnTo>
                  <a:close/>
                  <a:moveTo>
                    <a:pt x="7036" y="14898"/>
                  </a:moveTo>
                  <a:lnTo>
                    <a:pt x="6913" y="14877"/>
                  </a:lnTo>
                  <a:lnTo>
                    <a:pt x="6791" y="14854"/>
                  </a:lnTo>
                  <a:lnTo>
                    <a:pt x="6670" y="14829"/>
                  </a:lnTo>
                  <a:lnTo>
                    <a:pt x="6550" y="14802"/>
                  </a:lnTo>
                  <a:lnTo>
                    <a:pt x="6431" y="14774"/>
                  </a:lnTo>
                  <a:lnTo>
                    <a:pt x="6312" y="14743"/>
                  </a:lnTo>
                  <a:lnTo>
                    <a:pt x="6194" y="14710"/>
                  </a:lnTo>
                  <a:lnTo>
                    <a:pt x="6077" y="14676"/>
                  </a:lnTo>
                  <a:lnTo>
                    <a:pt x="5961" y="14639"/>
                  </a:lnTo>
                  <a:lnTo>
                    <a:pt x="5846" y="14601"/>
                  </a:lnTo>
                  <a:lnTo>
                    <a:pt x="5731" y="14561"/>
                  </a:lnTo>
                  <a:lnTo>
                    <a:pt x="5618" y="14519"/>
                  </a:lnTo>
                  <a:lnTo>
                    <a:pt x="5505" y="14475"/>
                  </a:lnTo>
                  <a:lnTo>
                    <a:pt x="5395" y="14429"/>
                  </a:lnTo>
                  <a:lnTo>
                    <a:pt x="5284" y="14382"/>
                  </a:lnTo>
                  <a:lnTo>
                    <a:pt x="5174" y="14333"/>
                  </a:lnTo>
                  <a:lnTo>
                    <a:pt x="5065" y="14282"/>
                  </a:lnTo>
                  <a:lnTo>
                    <a:pt x="4958" y="14229"/>
                  </a:lnTo>
                  <a:lnTo>
                    <a:pt x="4851" y="14175"/>
                  </a:lnTo>
                  <a:lnTo>
                    <a:pt x="4746" y="14119"/>
                  </a:lnTo>
                  <a:lnTo>
                    <a:pt x="4641" y="14062"/>
                  </a:lnTo>
                  <a:lnTo>
                    <a:pt x="4538" y="14001"/>
                  </a:lnTo>
                  <a:lnTo>
                    <a:pt x="4436" y="13940"/>
                  </a:lnTo>
                  <a:lnTo>
                    <a:pt x="4335" y="13878"/>
                  </a:lnTo>
                  <a:lnTo>
                    <a:pt x="4235" y="13814"/>
                  </a:lnTo>
                  <a:lnTo>
                    <a:pt x="4137" y="13748"/>
                  </a:lnTo>
                  <a:lnTo>
                    <a:pt x="4038" y="13681"/>
                  </a:lnTo>
                  <a:lnTo>
                    <a:pt x="3943" y="13612"/>
                  </a:lnTo>
                  <a:lnTo>
                    <a:pt x="3847" y="13540"/>
                  </a:lnTo>
                  <a:lnTo>
                    <a:pt x="3753" y="13469"/>
                  </a:lnTo>
                  <a:lnTo>
                    <a:pt x="3660" y="13395"/>
                  </a:lnTo>
                  <a:lnTo>
                    <a:pt x="3569" y="13320"/>
                  </a:lnTo>
                  <a:lnTo>
                    <a:pt x="3668" y="13255"/>
                  </a:lnTo>
                  <a:lnTo>
                    <a:pt x="3767" y="13191"/>
                  </a:lnTo>
                  <a:lnTo>
                    <a:pt x="3867" y="13127"/>
                  </a:lnTo>
                  <a:lnTo>
                    <a:pt x="3968" y="13065"/>
                  </a:lnTo>
                  <a:lnTo>
                    <a:pt x="4071" y="13005"/>
                  </a:lnTo>
                  <a:lnTo>
                    <a:pt x="4174" y="12946"/>
                  </a:lnTo>
                  <a:lnTo>
                    <a:pt x="4278" y="12889"/>
                  </a:lnTo>
                  <a:lnTo>
                    <a:pt x="4383" y="12833"/>
                  </a:lnTo>
                  <a:lnTo>
                    <a:pt x="4489" y="12779"/>
                  </a:lnTo>
                  <a:lnTo>
                    <a:pt x="4596" y="12726"/>
                  </a:lnTo>
                  <a:lnTo>
                    <a:pt x="4704" y="12674"/>
                  </a:lnTo>
                  <a:lnTo>
                    <a:pt x="4813" y="12624"/>
                  </a:lnTo>
                  <a:lnTo>
                    <a:pt x="4923" y="12575"/>
                  </a:lnTo>
                  <a:lnTo>
                    <a:pt x="5033" y="12529"/>
                  </a:lnTo>
                  <a:lnTo>
                    <a:pt x="5144" y="12484"/>
                  </a:lnTo>
                  <a:lnTo>
                    <a:pt x="5257" y="12440"/>
                  </a:lnTo>
                  <a:lnTo>
                    <a:pt x="5301" y="12528"/>
                  </a:lnTo>
                  <a:lnTo>
                    <a:pt x="5345" y="12614"/>
                  </a:lnTo>
                  <a:lnTo>
                    <a:pt x="5391" y="12701"/>
                  </a:lnTo>
                  <a:lnTo>
                    <a:pt x="5437" y="12786"/>
                  </a:lnTo>
                  <a:lnTo>
                    <a:pt x="5484" y="12871"/>
                  </a:lnTo>
                  <a:lnTo>
                    <a:pt x="5532" y="12955"/>
                  </a:lnTo>
                  <a:lnTo>
                    <a:pt x="5580" y="13039"/>
                  </a:lnTo>
                  <a:lnTo>
                    <a:pt x="5630" y="13121"/>
                  </a:lnTo>
                  <a:lnTo>
                    <a:pt x="5680" y="13204"/>
                  </a:lnTo>
                  <a:lnTo>
                    <a:pt x="5731" y="13286"/>
                  </a:lnTo>
                  <a:lnTo>
                    <a:pt x="5783" y="13367"/>
                  </a:lnTo>
                  <a:lnTo>
                    <a:pt x="5835" y="13447"/>
                  </a:lnTo>
                  <a:lnTo>
                    <a:pt x="5888" y="13526"/>
                  </a:lnTo>
                  <a:lnTo>
                    <a:pt x="5943" y="13606"/>
                  </a:lnTo>
                  <a:lnTo>
                    <a:pt x="5997" y="13684"/>
                  </a:lnTo>
                  <a:lnTo>
                    <a:pt x="6052" y="13761"/>
                  </a:lnTo>
                  <a:lnTo>
                    <a:pt x="6109" y="13837"/>
                  </a:lnTo>
                  <a:lnTo>
                    <a:pt x="6166" y="13913"/>
                  </a:lnTo>
                  <a:lnTo>
                    <a:pt x="6224" y="13988"/>
                  </a:lnTo>
                  <a:lnTo>
                    <a:pt x="6282" y="14064"/>
                  </a:lnTo>
                  <a:lnTo>
                    <a:pt x="6341" y="14137"/>
                  </a:lnTo>
                  <a:lnTo>
                    <a:pt x="6400" y="14210"/>
                  </a:lnTo>
                  <a:lnTo>
                    <a:pt x="6461" y="14282"/>
                  </a:lnTo>
                  <a:lnTo>
                    <a:pt x="6522" y="14354"/>
                  </a:lnTo>
                  <a:lnTo>
                    <a:pt x="6584" y="14424"/>
                  </a:lnTo>
                  <a:lnTo>
                    <a:pt x="6647" y="14495"/>
                  </a:lnTo>
                  <a:lnTo>
                    <a:pt x="6710" y="14564"/>
                  </a:lnTo>
                  <a:lnTo>
                    <a:pt x="6774" y="14633"/>
                  </a:lnTo>
                  <a:lnTo>
                    <a:pt x="6839" y="14700"/>
                  </a:lnTo>
                  <a:lnTo>
                    <a:pt x="6903" y="14767"/>
                  </a:lnTo>
                  <a:lnTo>
                    <a:pt x="6969" y="14833"/>
                  </a:lnTo>
                  <a:lnTo>
                    <a:pt x="7036" y="14898"/>
                  </a:lnTo>
                  <a:close/>
                  <a:moveTo>
                    <a:pt x="7945" y="8277"/>
                  </a:moveTo>
                  <a:lnTo>
                    <a:pt x="7945" y="11394"/>
                  </a:lnTo>
                  <a:lnTo>
                    <a:pt x="7867" y="11396"/>
                  </a:lnTo>
                  <a:lnTo>
                    <a:pt x="7789" y="11400"/>
                  </a:lnTo>
                  <a:lnTo>
                    <a:pt x="7711" y="11404"/>
                  </a:lnTo>
                  <a:lnTo>
                    <a:pt x="7633" y="11408"/>
                  </a:lnTo>
                  <a:lnTo>
                    <a:pt x="7555" y="11413"/>
                  </a:lnTo>
                  <a:lnTo>
                    <a:pt x="7478" y="11419"/>
                  </a:lnTo>
                  <a:lnTo>
                    <a:pt x="7401" y="11425"/>
                  </a:lnTo>
                  <a:lnTo>
                    <a:pt x="7324" y="11433"/>
                  </a:lnTo>
                  <a:lnTo>
                    <a:pt x="7247" y="11440"/>
                  </a:lnTo>
                  <a:lnTo>
                    <a:pt x="7170" y="11449"/>
                  </a:lnTo>
                  <a:lnTo>
                    <a:pt x="7094" y="11458"/>
                  </a:lnTo>
                  <a:lnTo>
                    <a:pt x="7018" y="11467"/>
                  </a:lnTo>
                  <a:lnTo>
                    <a:pt x="6942" y="11477"/>
                  </a:lnTo>
                  <a:lnTo>
                    <a:pt x="6866" y="11488"/>
                  </a:lnTo>
                  <a:lnTo>
                    <a:pt x="6790" y="11500"/>
                  </a:lnTo>
                  <a:lnTo>
                    <a:pt x="6715" y="11512"/>
                  </a:lnTo>
                  <a:lnTo>
                    <a:pt x="6640" y="11525"/>
                  </a:lnTo>
                  <a:lnTo>
                    <a:pt x="6565" y="11538"/>
                  </a:lnTo>
                  <a:lnTo>
                    <a:pt x="6491" y="11552"/>
                  </a:lnTo>
                  <a:lnTo>
                    <a:pt x="6416" y="11566"/>
                  </a:lnTo>
                  <a:lnTo>
                    <a:pt x="6342" y="11582"/>
                  </a:lnTo>
                  <a:lnTo>
                    <a:pt x="6268" y="11598"/>
                  </a:lnTo>
                  <a:lnTo>
                    <a:pt x="6194" y="11614"/>
                  </a:lnTo>
                  <a:lnTo>
                    <a:pt x="6120" y="11631"/>
                  </a:lnTo>
                  <a:lnTo>
                    <a:pt x="6047" y="11649"/>
                  </a:lnTo>
                  <a:lnTo>
                    <a:pt x="5973" y="11667"/>
                  </a:lnTo>
                  <a:lnTo>
                    <a:pt x="5901" y="11686"/>
                  </a:lnTo>
                  <a:lnTo>
                    <a:pt x="5829" y="11706"/>
                  </a:lnTo>
                  <a:lnTo>
                    <a:pt x="5756" y="11726"/>
                  </a:lnTo>
                  <a:lnTo>
                    <a:pt x="5684" y="11747"/>
                  </a:lnTo>
                  <a:lnTo>
                    <a:pt x="5612" y="11768"/>
                  </a:lnTo>
                  <a:lnTo>
                    <a:pt x="5540" y="11791"/>
                  </a:lnTo>
                  <a:lnTo>
                    <a:pt x="5498" y="11690"/>
                  </a:lnTo>
                  <a:lnTo>
                    <a:pt x="5457" y="11590"/>
                  </a:lnTo>
                  <a:lnTo>
                    <a:pt x="5417" y="11488"/>
                  </a:lnTo>
                  <a:lnTo>
                    <a:pt x="5377" y="11386"/>
                  </a:lnTo>
                  <a:lnTo>
                    <a:pt x="5339" y="11282"/>
                  </a:lnTo>
                  <a:lnTo>
                    <a:pt x="5303" y="11178"/>
                  </a:lnTo>
                  <a:lnTo>
                    <a:pt x="5267" y="11074"/>
                  </a:lnTo>
                  <a:lnTo>
                    <a:pt x="5233" y="10969"/>
                  </a:lnTo>
                  <a:lnTo>
                    <a:pt x="5200" y="10863"/>
                  </a:lnTo>
                  <a:lnTo>
                    <a:pt x="5167" y="10757"/>
                  </a:lnTo>
                  <a:lnTo>
                    <a:pt x="5136" y="10650"/>
                  </a:lnTo>
                  <a:lnTo>
                    <a:pt x="5106" y="10543"/>
                  </a:lnTo>
                  <a:lnTo>
                    <a:pt x="5079" y="10434"/>
                  </a:lnTo>
                  <a:lnTo>
                    <a:pt x="5051" y="10325"/>
                  </a:lnTo>
                  <a:lnTo>
                    <a:pt x="5025" y="10216"/>
                  </a:lnTo>
                  <a:lnTo>
                    <a:pt x="5000" y="10106"/>
                  </a:lnTo>
                  <a:lnTo>
                    <a:pt x="4976" y="9995"/>
                  </a:lnTo>
                  <a:lnTo>
                    <a:pt x="4954" y="9884"/>
                  </a:lnTo>
                  <a:lnTo>
                    <a:pt x="4933" y="9773"/>
                  </a:lnTo>
                  <a:lnTo>
                    <a:pt x="4913" y="9661"/>
                  </a:lnTo>
                  <a:lnTo>
                    <a:pt x="4895" y="9548"/>
                  </a:lnTo>
                  <a:lnTo>
                    <a:pt x="4877" y="9435"/>
                  </a:lnTo>
                  <a:lnTo>
                    <a:pt x="4861" y="9321"/>
                  </a:lnTo>
                  <a:lnTo>
                    <a:pt x="4847" y="9207"/>
                  </a:lnTo>
                  <a:lnTo>
                    <a:pt x="4833" y="9092"/>
                  </a:lnTo>
                  <a:lnTo>
                    <a:pt x="4822" y="8977"/>
                  </a:lnTo>
                  <a:lnTo>
                    <a:pt x="4811" y="8862"/>
                  </a:lnTo>
                  <a:lnTo>
                    <a:pt x="4802" y="8746"/>
                  </a:lnTo>
                  <a:lnTo>
                    <a:pt x="4794" y="8628"/>
                  </a:lnTo>
                  <a:lnTo>
                    <a:pt x="4787" y="8512"/>
                  </a:lnTo>
                  <a:lnTo>
                    <a:pt x="4782" y="8394"/>
                  </a:lnTo>
                  <a:lnTo>
                    <a:pt x="4779" y="8277"/>
                  </a:lnTo>
                  <a:lnTo>
                    <a:pt x="7945" y="8277"/>
                  </a:lnTo>
                  <a:close/>
                  <a:moveTo>
                    <a:pt x="5353" y="4695"/>
                  </a:moveTo>
                  <a:lnTo>
                    <a:pt x="5430" y="4721"/>
                  </a:lnTo>
                  <a:lnTo>
                    <a:pt x="5507" y="4746"/>
                  </a:lnTo>
                  <a:lnTo>
                    <a:pt x="5583" y="4770"/>
                  </a:lnTo>
                  <a:lnTo>
                    <a:pt x="5661" y="4793"/>
                  </a:lnTo>
                  <a:lnTo>
                    <a:pt x="5739" y="4816"/>
                  </a:lnTo>
                  <a:lnTo>
                    <a:pt x="5817" y="4838"/>
                  </a:lnTo>
                  <a:lnTo>
                    <a:pt x="5896" y="4860"/>
                  </a:lnTo>
                  <a:lnTo>
                    <a:pt x="5974" y="4880"/>
                  </a:lnTo>
                  <a:lnTo>
                    <a:pt x="6053" y="4900"/>
                  </a:lnTo>
                  <a:lnTo>
                    <a:pt x="6134" y="4920"/>
                  </a:lnTo>
                  <a:lnTo>
                    <a:pt x="6213" y="4938"/>
                  </a:lnTo>
                  <a:lnTo>
                    <a:pt x="6293" y="4956"/>
                  </a:lnTo>
                  <a:lnTo>
                    <a:pt x="6373" y="4973"/>
                  </a:lnTo>
                  <a:lnTo>
                    <a:pt x="6454" y="4990"/>
                  </a:lnTo>
                  <a:lnTo>
                    <a:pt x="6535" y="5005"/>
                  </a:lnTo>
                  <a:lnTo>
                    <a:pt x="6615" y="5020"/>
                  </a:lnTo>
                  <a:lnTo>
                    <a:pt x="6697" y="5035"/>
                  </a:lnTo>
                  <a:lnTo>
                    <a:pt x="6778" y="5048"/>
                  </a:lnTo>
                  <a:lnTo>
                    <a:pt x="6860" y="5061"/>
                  </a:lnTo>
                  <a:lnTo>
                    <a:pt x="6942" y="5073"/>
                  </a:lnTo>
                  <a:lnTo>
                    <a:pt x="7024" y="5084"/>
                  </a:lnTo>
                  <a:lnTo>
                    <a:pt x="7106" y="5095"/>
                  </a:lnTo>
                  <a:lnTo>
                    <a:pt x="7189" y="5105"/>
                  </a:lnTo>
                  <a:lnTo>
                    <a:pt x="7273" y="5114"/>
                  </a:lnTo>
                  <a:lnTo>
                    <a:pt x="7356" y="5122"/>
                  </a:lnTo>
                  <a:lnTo>
                    <a:pt x="7439" y="5131"/>
                  </a:lnTo>
                  <a:lnTo>
                    <a:pt x="7523" y="5137"/>
                  </a:lnTo>
                  <a:lnTo>
                    <a:pt x="7607" y="5143"/>
                  </a:lnTo>
                  <a:lnTo>
                    <a:pt x="7691" y="5149"/>
                  </a:lnTo>
                  <a:lnTo>
                    <a:pt x="7775" y="5153"/>
                  </a:lnTo>
                  <a:lnTo>
                    <a:pt x="7860" y="5157"/>
                  </a:lnTo>
                  <a:lnTo>
                    <a:pt x="7945" y="5160"/>
                  </a:lnTo>
                  <a:lnTo>
                    <a:pt x="7945" y="7759"/>
                  </a:lnTo>
                  <a:lnTo>
                    <a:pt x="4779" y="7759"/>
                  </a:lnTo>
                  <a:lnTo>
                    <a:pt x="4782" y="7658"/>
                  </a:lnTo>
                  <a:lnTo>
                    <a:pt x="4786" y="7557"/>
                  </a:lnTo>
                  <a:lnTo>
                    <a:pt x="4791" y="7456"/>
                  </a:lnTo>
                  <a:lnTo>
                    <a:pt x="4797" y="7356"/>
                  </a:lnTo>
                  <a:lnTo>
                    <a:pt x="4805" y="7255"/>
                  </a:lnTo>
                  <a:lnTo>
                    <a:pt x="4812" y="7155"/>
                  </a:lnTo>
                  <a:lnTo>
                    <a:pt x="4821" y="7056"/>
                  </a:lnTo>
                  <a:lnTo>
                    <a:pt x="4831" y="6957"/>
                  </a:lnTo>
                  <a:lnTo>
                    <a:pt x="4843" y="6857"/>
                  </a:lnTo>
                  <a:lnTo>
                    <a:pt x="4854" y="6759"/>
                  </a:lnTo>
                  <a:lnTo>
                    <a:pt x="4867" y="6661"/>
                  </a:lnTo>
                  <a:lnTo>
                    <a:pt x="4881" y="6563"/>
                  </a:lnTo>
                  <a:lnTo>
                    <a:pt x="4896" y="6466"/>
                  </a:lnTo>
                  <a:lnTo>
                    <a:pt x="4911" y="6368"/>
                  </a:lnTo>
                  <a:lnTo>
                    <a:pt x="4928" y="6272"/>
                  </a:lnTo>
                  <a:lnTo>
                    <a:pt x="4945" y="6176"/>
                  </a:lnTo>
                  <a:lnTo>
                    <a:pt x="4964" y="6080"/>
                  </a:lnTo>
                  <a:lnTo>
                    <a:pt x="4983" y="5984"/>
                  </a:lnTo>
                  <a:lnTo>
                    <a:pt x="5004" y="5889"/>
                  </a:lnTo>
                  <a:lnTo>
                    <a:pt x="5025" y="5795"/>
                  </a:lnTo>
                  <a:lnTo>
                    <a:pt x="5048" y="5701"/>
                  </a:lnTo>
                  <a:lnTo>
                    <a:pt x="5070" y="5607"/>
                  </a:lnTo>
                  <a:lnTo>
                    <a:pt x="5095" y="5513"/>
                  </a:lnTo>
                  <a:lnTo>
                    <a:pt x="5120" y="5420"/>
                  </a:lnTo>
                  <a:lnTo>
                    <a:pt x="5145" y="5328"/>
                  </a:lnTo>
                  <a:lnTo>
                    <a:pt x="5172" y="5236"/>
                  </a:lnTo>
                  <a:lnTo>
                    <a:pt x="5201" y="5145"/>
                  </a:lnTo>
                  <a:lnTo>
                    <a:pt x="5228" y="5053"/>
                  </a:lnTo>
                  <a:lnTo>
                    <a:pt x="5258" y="4963"/>
                  </a:lnTo>
                  <a:lnTo>
                    <a:pt x="5289" y="4873"/>
                  </a:lnTo>
                  <a:lnTo>
                    <a:pt x="5321" y="4784"/>
                  </a:lnTo>
                  <a:lnTo>
                    <a:pt x="5353" y="4695"/>
                  </a:lnTo>
                  <a:close/>
                  <a:moveTo>
                    <a:pt x="5056" y="4040"/>
                  </a:moveTo>
                  <a:lnTo>
                    <a:pt x="4994" y="4015"/>
                  </a:lnTo>
                  <a:lnTo>
                    <a:pt x="4934" y="3989"/>
                  </a:lnTo>
                  <a:lnTo>
                    <a:pt x="4873" y="3963"/>
                  </a:lnTo>
                  <a:lnTo>
                    <a:pt x="4813" y="3936"/>
                  </a:lnTo>
                  <a:lnTo>
                    <a:pt x="4753" y="3909"/>
                  </a:lnTo>
                  <a:lnTo>
                    <a:pt x="4693" y="3882"/>
                  </a:lnTo>
                  <a:lnTo>
                    <a:pt x="4633" y="3854"/>
                  </a:lnTo>
                  <a:lnTo>
                    <a:pt x="4575" y="3825"/>
                  </a:lnTo>
                  <a:lnTo>
                    <a:pt x="4515" y="3796"/>
                  </a:lnTo>
                  <a:lnTo>
                    <a:pt x="4457" y="3766"/>
                  </a:lnTo>
                  <a:lnTo>
                    <a:pt x="4398" y="3736"/>
                  </a:lnTo>
                  <a:lnTo>
                    <a:pt x="4341" y="3705"/>
                  </a:lnTo>
                  <a:lnTo>
                    <a:pt x="4282" y="3674"/>
                  </a:lnTo>
                  <a:lnTo>
                    <a:pt x="4225" y="3643"/>
                  </a:lnTo>
                  <a:lnTo>
                    <a:pt x="4168" y="3611"/>
                  </a:lnTo>
                  <a:lnTo>
                    <a:pt x="4111" y="3579"/>
                  </a:lnTo>
                  <a:lnTo>
                    <a:pt x="3998" y="3513"/>
                  </a:lnTo>
                  <a:lnTo>
                    <a:pt x="3886" y="3446"/>
                  </a:lnTo>
                  <a:lnTo>
                    <a:pt x="3776" y="3377"/>
                  </a:lnTo>
                  <a:lnTo>
                    <a:pt x="3667" y="3305"/>
                  </a:lnTo>
                  <a:lnTo>
                    <a:pt x="3559" y="3233"/>
                  </a:lnTo>
                  <a:lnTo>
                    <a:pt x="3451" y="3159"/>
                  </a:lnTo>
                  <a:lnTo>
                    <a:pt x="3345" y="3084"/>
                  </a:lnTo>
                  <a:lnTo>
                    <a:pt x="3241" y="3007"/>
                  </a:lnTo>
                  <a:lnTo>
                    <a:pt x="3337" y="2917"/>
                  </a:lnTo>
                  <a:lnTo>
                    <a:pt x="3436" y="2829"/>
                  </a:lnTo>
                  <a:lnTo>
                    <a:pt x="3535" y="2743"/>
                  </a:lnTo>
                  <a:lnTo>
                    <a:pt x="3637" y="2659"/>
                  </a:lnTo>
                  <a:lnTo>
                    <a:pt x="3740" y="2576"/>
                  </a:lnTo>
                  <a:lnTo>
                    <a:pt x="3845" y="2496"/>
                  </a:lnTo>
                  <a:lnTo>
                    <a:pt x="3951" y="2417"/>
                  </a:lnTo>
                  <a:lnTo>
                    <a:pt x="4059" y="2340"/>
                  </a:lnTo>
                  <a:lnTo>
                    <a:pt x="4168" y="2266"/>
                  </a:lnTo>
                  <a:lnTo>
                    <a:pt x="4279" y="2193"/>
                  </a:lnTo>
                  <a:lnTo>
                    <a:pt x="4391" y="2122"/>
                  </a:lnTo>
                  <a:lnTo>
                    <a:pt x="4505" y="2054"/>
                  </a:lnTo>
                  <a:lnTo>
                    <a:pt x="4620" y="1986"/>
                  </a:lnTo>
                  <a:lnTo>
                    <a:pt x="4736" y="1921"/>
                  </a:lnTo>
                  <a:lnTo>
                    <a:pt x="4854" y="1859"/>
                  </a:lnTo>
                  <a:lnTo>
                    <a:pt x="4973" y="1799"/>
                  </a:lnTo>
                  <a:lnTo>
                    <a:pt x="5093" y="1740"/>
                  </a:lnTo>
                  <a:lnTo>
                    <a:pt x="5215" y="1684"/>
                  </a:lnTo>
                  <a:lnTo>
                    <a:pt x="5338" y="1630"/>
                  </a:lnTo>
                  <a:lnTo>
                    <a:pt x="5461" y="1579"/>
                  </a:lnTo>
                  <a:lnTo>
                    <a:pt x="5587" y="1528"/>
                  </a:lnTo>
                  <a:lnTo>
                    <a:pt x="5714" y="1481"/>
                  </a:lnTo>
                  <a:lnTo>
                    <a:pt x="5841" y="1436"/>
                  </a:lnTo>
                  <a:lnTo>
                    <a:pt x="5969" y="1393"/>
                  </a:lnTo>
                  <a:lnTo>
                    <a:pt x="6100" y="1353"/>
                  </a:lnTo>
                  <a:lnTo>
                    <a:pt x="6230" y="1315"/>
                  </a:lnTo>
                  <a:lnTo>
                    <a:pt x="6362" y="1279"/>
                  </a:lnTo>
                  <a:lnTo>
                    <a:pt x="6495" y="1246"/>
                  </a:lnTo>
                  <a:lnTo>
                    <a:pt x="6628" y="1215"/>
                  </a:lnTo>
                  <a:lnTo>
                    <a:pt x="6764" y="1187"/>
                  </a:lnTo>
                  <a:lnTo>
                    <a:pt x="6899" y="1161"/>
                  </a:lnTo>
                  <a:lnTo>
                    <a:pt x="7036" y="1137"/>
                  </a:lnTo>
                  <a:lnTo>
                    <a:pt x="6960" y="1213"/>
                  </a:lnTo>
                  <a:lnTo>
                    <a:pt x="6884" y="1289"/>
                  </a:lnTo>
                  <a:lnTo>
                    <a:pt x="6809" y="1367"/>
                  </a:lnTo>
                  <a:lnTo>
                    <a:pt x="6735" y="1446"/>
                  </a:lnTo>
                  <a:lnTo>
                    <a:pt x="6662" y="1525"/>
                  </a:lnTo>
                  <a:lnTo>
                    <a:pt x="6589" y="1607"/>
                  </a:lnTo>
                  <a:lnTo>
                    <a:pt x="6518" y="1689"/>
                  </a:lnTo>
                  <a:lnTo>
                    <a:pt x="6448" y="1771"/>
                  </a:lnTo>
                  <a:lnTo>
                    <a:pt x="6379" y="1855"/>
                  </a:lnTo>
                  <a:lnTo>
                    <a:pt x="6310" y="1940"/>
                  </a:lnTo>
                  <a:lnTo>
                    <a:pt x="6242" y="2027"/>
                  </a:lnTo>
                  <a:lnTo>
                    <a:pt x="6176" y="2113"/>
                  </a:lnTo>
                  <a:lnTo>
                    <a:pt x="6110" y="2201"/>
                  </a:lnTo>
                  <a:lnTo>
                    <a:pt x="6045" y="2290"/>
                  </a:lnTo>
                  <a:lnTo>
                    <a:pt x="5982" y="2379"/>
                  </a:lnTo>
                  <a:lnTo>
                    <a:pt x="5919" y="2471"/>
                  </a:lnTo>
                  <a:lnTo>
                    <a:pt x="5857" y="2562"/>
                  </a:lnTo>
                  <a:lnTo>
                    <a:pt x="5797" y="2654"/>
                  </a:lnTo>
                  <a:lnTo>
                    <a:pt x="5736" y="2748"/>
                  </a:lnTo>
                  <a:lnTo>
                    <a:pt x="5678" y="2842"/>
                  </a:lnTo>
                  <a:lnTo>
                    <a:pt x="5620" y="2938"/>
                  </a:lnTo>
                  <a:lnTo>
                    <a:pt x="5564" y="3034"/>
                  </a:lnTo>
                  <a:lnTo>
                    <a:pt x="5508" y="3130"/>
                  </a:lnTo>
                  <a:lnTo>
                    <a:pt x="5453" y="3228"/>
                  </a:lnTo>
                  <a:lnTo>
                    <a:pt x="5400" y="3326"/>
                  </a:lnTo>
                  <a:lnTo>
                    <a:pt x="5347" y="3427"/>
                  </a:lnTo>
                  <a:lnTo>
                    <a:pt x="5296" y="3527"/>
                  </a:lnTo>
                  <a:lnTo>
                    <a:pt x="5246" y="3628"/>
                  </a:lnTo>
                  <a:lnTo>
                    <a:pt x="5197" y="3729"/>
                  </a:lnTo>
                  <a:lnTo>
                    <a:pt x="5148" y="3833"/>
                  </a:lnTo>
                  <a:lnTo>
                    <a:pt x="5102" y="3936"/>
                  </a:lnTo>
                  <a:lnTo>
                    <a:pt x="5056" y="4040"/>
                  </a:lnTo>
                  <a:close/>
                  <a:moveTo>
                    <a:pt x="7945" y="1047"/>
                  </a:moveTo>
                  <a:lnTo>
                    <a:pt x="7945" y="4642"/>
                  </a:lnTo>
                  <a:lnTo>
                    <a:pt x="7867" y="4639"/>
                  </a:lnTo>
                  <a:lnTo>
                    <a:pt x="7789" y="4635"/>
                  </a:lnTo>
                  <a:lnTo>
                    <a:pt x="7711" y="4631"/>
                  </a:lnTo>
                  <a:lnTo>
                    <a:pt x="7633" y="4626"/>
                  </a:lnTo>
                  <a:lnTo>
                    <a:pt x="7556" y="4621"/>
                  </a:lnTo>
                  <a:lnTo>
                    <a:pt x="7478" y="4614"/>
                  </a:lnTo>
                  <a:lnTo>
                    <a:pt x="7401" y="4607"/>
                  </a:lnTo>
                  <a:lnTo>
                    <a:pt x="7325" y="4600"/>
                  </a:lnTo>
                  <a:lnTo>
                    <a:pt x="7248" y="4591"/>
                  </a:lnTo>
                  <a:lnTo>
                    <a:pt x="7172" y="4582"/>
                  </a:lnTo>
                  <a:lnTo>
                    <a:pt x="7095" y="4573"/>
                  </a:lnTo>
                  <a:lnTo>
                    <a:pt x="7020" y="4562"/>
                  </a:lnTo>
                  <a:lnTo>
                    <a:pt x="6944" y="4551"/>
                  </a:lnTo>
                  <a:lnTo>
                    <a:pt x="6868" y="4540"/>
                  </a:lnTo>
                  <a:lnTo>
                    <a:pt x="6793" y="4527"/>
                  </a:lnTo>
                  <a:lnTo>
                    <a:pt x="6718" y="4514"/>
                  </a:lnTo>
                  <a:lnTo>
                    <a:pt x="6644" y="4501"/>
                  </a:lnTo>
                  <a:lnTo>
                    <a:pt x="6569" y="4486"/>
                  </a:lnTo>
                  <a:lnTo>
                    <a:pt x="6495" y="4471"/>
                  </a:lnTo>
                  <a:lnTo>
                    <a:pt x="6421" y="4456"/>
                  </a:lnTo>
                  <a:lnTo>
                    <a:pt x="6347" y="4439"/>
                  </a:lnTo>
                  <a:lnTo>
                    <a:pt x="6273" y="4423"/>
                  </a:lnTo>
                  <a:lnTo>
                    <a:pt x="6200" y="4405"/>
                  </a:lnTo>
                  <a:lnTo>
                    <a:pt x="6127" y="4387"/>
                  </a:lnTo>
                  <a:lnTo>
                    <a:pt x="6055" y="4368"/>
                  </a:lnTo>
                  <a:lnTo>
                    <a:pt x="5982" y="4348"/>
                  </a:lnTo>
                  <a:lnTo>
                    <a:pt x="5910" y="4328"/>
                  </a:lnTo>
                  <a:lnTo>
                    <a:pt x="5838" y="4308"/>
                  </a:lnTo>
                  <a:lnTo>
                    <a:pt x="5766" y="4286"/>
                  </a:lnTo>
                  <a:lnTo>
                    <a:pt x="5694" y="4264"/>
                  </a:lnTo>
                  <a:lnTo>
                    <a:pt x="5624" y="4242"/>
                  </a:lnTo>
                  <a:lnTo>
                    <a:pt x="5553" y="4217"/>
                  </a:lnTo>
                  <a:lnTo>
                    <a:pt x="5605" y="4099"/>
                  </a:lnTo>
                  <a:lnTo>
                    <a:pt x="5658" y="3982"/>
                  </a:lnTo>
                  <a:lnTo>
                    <a:pt x="5714" y="3866"/>
                  </a:lnTo>
                  <a:lnTo>
                    <a:pt x="5771" y="3750"/>
                  </a:lnTo>
                  <a:lnTo>
                    <a:pt x="5830" y="3637"/>
                  </a:lnTo>
                  <a:lnTo>
                    <a:pt x="5889" y="3524"/>
                  </a:lnTo>
                  <a:lnTo>
                    <a:pt x="5951" y="3412"/>
                  </a:lnTo>
                  <a:lnTo>
                    <a:pt x="6014" y="3301"/>
                  </a:lnTo>
                  <a:lnTo>
                    <a:pt x="6078" y="3192"/>
                  </a:lnTo>
                  <a:lnTo>
                    <a:pt x="6144" y="3084"/>
                  </a:lnTo>
                  <a:lnTo>
                    <a:pt x="6212" y="2978"/>
                  </a:lnTo>
                  <a:lnTo>
                    <a:pt x="6279" y="2871"/>
                  </a:lnTo>
                  <a:lnTo>
                    <a:pt x="6349" y="2767"/>
                  </a:lnTo>
                  <a:lnTo>
                    <a:pt x="6421" y="2664"/>
                  </a:lnTo>
                  <a:lnTo>
                    <a:pt x="6494" y="2563"/>
                  </a:lnTo>
                  <a:lnTo>
                    <a:pt x="6568" y="2463"/>
                  </a:lnTo>
                  <a:lnTo>
                    <a:pt x="6643" y="2363"/>
                  </a:lnTo>
                  <a:lnTo>
                    <a:pt x="6718" y="2265"/>
                  </a:lnTo>
                  <a:lnTo>
                    <a:pt x="6796" y="2169"/>
                  </a:lnTo>
                  <a:lnTo>
                    <a:pt x="6875" y="2074"/>
                  </a:lnTo>
                  <a:lnTo>
                    <a:pt x="6955" y="1980"/>
                  </a:lnTo>
                  <a:lnTo>
                    <a:pt x="7038" y="1888"/>
                  </a:lnTo>
                  <a:lnTo>
                    <a:pt x="7121" y="1798"/>
                  </a:lnTo>
                  <a:lnTo>
                    <a:pt x="7204" y="1709"/>
                  </a:lnTo>
                  <a:lnTo>
                    <a:pt x="7289" y="1621"/>
                  </a:lnTo>
                  <a:lnTo>
                    <a:pt x="7375" y="1534"/>
                  </a:lnTo>
                  <a:lnTo>
                    <a:pt x="7463" y="1449"/>
                  </a:lnTo>
                  <a:lnTo>
                    <a:pt x="7552" y="1366"/>
                  </a:lnTo>
                  <a:lnTo>
                    <a:pt x="7642" y="1285"/>
                  </a:lnTo>
                  <a:lnTo>
                    <a:pt x="7732" y="1205"/>
                  </a:lnTo>
                  <a:lnTo>
                    <a:pt x="7825" y="1126"/>
                  </a:lnTo>
                  <a:lnTo>
                    <a:pt x="7918" y="1049"/>
                  </a:lnTo>
                  <a:lnTo>
                    <a:pt x="7931" y="1048"/>
                  </a:lnTo>
                  <a:lnTo>
                    <a:pt x="7945" y="1047"/>
                  </a:lnTo>
                  <a:close/>
                  <a:moveTo>
                    <a:pt x="9383" y="1137"/>
                  </a:moveTo>
                  <a:lnTo>
                    <a:pt x="9520" y="1161"/>
                  </a:lnTo>
                  <a:lnTo>
                    <a:pt x="9656" y="1187"/>
                  </a:lnTo>
                  <a:lnTo>
                    <a:pt x="9791" y="1215"/>
                  </a:lnTo>
                  <a:lnTo>
                    <a:pt x="9924" y="1246"/>
                  </a:lnTo>
                  <a:lnTo>
                    <a:pt x="10058" y="1279"/>
                  </a:lnTo>
                  <a:lnTo>
                    <a:pt x="10189" y="1315"/>
                  </a:lnTo>
                  <a:lnTo>
                    <a:pt x="10320" y="1353"/>
                  </a:lnTo>
                  <a:lnTo>
                    <a:pt x="10450" y="1393"/>
                  </a:lnTo>
                  <a:lnTo>
                    <a:pt x="10578" y="1436"/>
                  </a:lnTo>
                  <a:lnTo>
                    <a:pt x="10706" y="1481"/>
                  </a:lnTo>
                  <a:lnTo>
                    <a:pt x="10832" y="1528"/>
                  </a:lnTo>
                  <a:lnTo>
                    <a:pt x="10958" y="1579"/>
                  </a:lnTo>
                  <a:lnTo>
                    <a:pt x="11082" y="1630"/>
                  </a:lnTo>
                  <a:lnTo>
                    <a:pt x="11205" y="1684"/>
                  </a:lnTo>
                  <a:lnTo>
                    <a:pt x="11326" y="1740"/>
                  </a:lnTo>
                  <a:lnTo>
                    <a:pt x="11446" y="1799"/>
                  </a:lnTo>
                  <a:lnTo>
                    <a:pt x="11565" y="1859"/>
                  </a:lnTo>
                  <a:lnTo>
                    <a:pt x="11683" y="1921"/>
                  </a:lnTo>
                  <a:lnTo>
                    <a:pt x="11799" y="1986"/>
                  </a:lnTo>
                  <a:lnTo>
                    <a:pt x="11914" y="2054"/>
                  </a:lnTo>
                  <a:lnTo>
                    <a:pt x="12028" y="2122"/>
                  </a:lnTo>
                  <a:lnTo>
                    <a:pt x="12140" y="2193"/>
                  </a:lnTo>
                  <a:lnTo>
                    <a:pt x="12251" y="2266"/>
                  </a:lnTo>
                  <a:lnTo>
                    <a:pt x="12360" y="2340"/>
                  </a:lnTo>
                  <a:lnTo>
                    <a:pt x="12468" y="2417"/>
                  </a:lnTo>
                  <a:lnTo>
                    <a:pt x="12574" y="2496"/>
                  </a:lnTo>
                  <a:lnTo>
                    <a:pt x="12679" y="2576"/>
                  </a:lnTo>
                  <a:lnTo>
                    <a:pt x="12782" y="2659"/>
                  </a:lnTo>
                  <a:lnTo>
                    <a:pt x="12884" y="2743"/>
                  </a:lnTo>
                  <a:lnTo>
                    <a:pt x="12983" y="2829"/>
                  </a:lnTo>
                  <a:lnTo>
                    <a:pt x="13082" y="2917"/>
                  </a:lnTo>
                  <a:lnTo>
                    <a:pt x="13178" y="3007"/>
                  </a:lnTo>
                  <a:lnTo>
                    <a:pt x="13074" y="3084"/>
                  </a:lnTo>
                  <a:lnTo>
                    <a:pt x="12968" y="3159"/>
                  </a:lnTo>
                  <a:lnTo>
                    <a:pt x="12861" y="3233"/>
                  </a:lnTo>
                  <a:lnTo>
                    <a:pt x="12752" y="3305"/>
                  </a:lnTo>
                  <a:lnTo>
                    <a:pt x="12644" y="3377"/>
                  </a:lnTo>
                  <a:lnTo>
                    <a:pt x="12533" y="3446"/>
                  </a:lnTo>
                  <a:lnTo>
                    <a:pt x="12421" y="3513"/>
                  </a:lnTo>
                  <a:lnTo>
                    <a:pt x="12308" y="3579"/>
                  </a:lnTo>
                  <a:lnTo>
                    <a:pt x="12252" y="3611"/>
                  </a:lnTo>
                  <a:lnTo>
                    <a:pt x="12194" y="3643"/>
                  </a:lnTo>
                  <a:lnTo>
                    <a:pt x="12137" y="3674"/>
                  </a:lnTo>
                  <a:lnTo>
                    <a:pt x="12078" y="3705"/>
                  </a:lnTo>
                  <a:lnTo>
                    <a:pt x="12021" y="3736"/>
                  </a:lnTo>
                  <a:lnTo>
                    <a:pt x="11962" y="3766"/>
                  </a:lnTo>
                  <a:lnTo>
                    <a:pt x="11904" y="3796"/>
                  </a:lnTo>
                  <a:lnTo>
                    <a:pt x="11844" y="3825"/>
                  </a:lnTo>
                  <a:lnTo>
                    <a:pt x="11786" y="3854"/>
                  </a:lnTo>
                  <a:lnTo>
                    <a:pt x="11726" y="3882"/>
                  </a:lnTo>
                  <a:lnTo>
                    <a:pt x="11667" y="3909"/>
                  </a:lnTo>
                  <a:lnTo>
                    <a:pt x="11606" y="3936"/>
                  </a:lnTo>
                  <a:lnTo>
                    <a:pt x="11546" y="3963"/>
                  </a:lnTo>
                  <a:lnTo>
                    <a:pt x="11485" y="3989"/>
                  </a:lnTo>
                  <a:lnTo>
                    <a:pt x="11425" y="4015"/>
                  </a:lnTo>
                  <a:lnTo>
                    <a:pt x="11363" y="4040"/>
                  </a:lnTo>
                  <a:lnTo>
                    <a:pt x="11317" y="3936"/>
                  </a:lnTo>
                  <a:lnTo>
                    <a:pt x="11271" y="3833"/>
                  </a:lnTo>
                  <a:lnTo>
                    <a:pt x="11222" y="3729"/>
                  </a:lnTo>
                  <a:lnTo>
                    <a:pt x="11173" y="3628"/>
                  </a:lnTo>
                  <a:lnTo>
                    <a:pt x="11123" y="3527"/>
                  </a:lnTo>
                  <a:lnTo>
                    <a:pt x="11072" y="3427"/>
                  </a:lnTo>
                  <a:lnTo>
                    <a:pt x="11019" y="3326"/>
                  </a:lnTo>
                  <a:lnTo>
                    <a:pt x="10966" y="3228"/>
                  </a:lnTo>
                  <a:lnTo>
                    <a:pt x="10911" y="3130"/>
                  </a:lnTo>
                  <a:lnTo>
                    <a:pt x="10855" y="3034"/>
                  </a:lnTo>
                  <a:lnTo>
                    <a:pt x="10799" y="2938"/>
                  </a:lnTo>
                  <a:lnTo>
                    <a:pt x="10741" y="2842"/>
                  </a:lnTo>
                  <a:lnTo>
                    <a:pt x="10683" y="2748"/>
                  </a:lnTo>
                  <a:lnTo>
                    <a:pt x="10623" y="2654"/>
                  </a:lnTo>
                  <a:lnTo>
                    <a:pt x="10562" y="2562"/>
                  </a:lnTo>
                  <a:lnTo>
                    <a:pt x="10500" y="2471"/>
                  </a:lnTo>
                  <a:lnTo>
                    <a:pt x="10437" y="2379"/>
                  </a:lnTo>
                  <a:lnTo>
                    <a:pt x="10374" y="2290"/>
                  </a:lnTo>
                  <a:lnTo>
                    <a:pt x="10309" y="2201"/>
                  </a:lnTo>
                  <a:lnTo>
                    <a:pt x="10243" y="2113"/>
                  </a:lnTo>
                  <a:lnTo>
                    <a:pt x="10177" y="2027"/>
                  </a:lnTo>
                  <a:lnTo>
                    <a:pt x="10109" y="1940"/>
                  </a:lnTo>
                  <a:lnTo>
                    <a:pt x="10041" y="1855"/>
                  </a:lnTo>
                  <a:lnTo>
                    <a:pt x="9971" y="1771"/>
                  </a:lnTo>
                  <a:lnTo>
                    <a:pt x="9901" y="1689"/>
                  </a:lnTo>
                  <a:lnTo>
                    <a:pt x="9830" y="1607"/>
                  </a:lnTo>
                  <a:lnTo>
                    <a:pt x="9758" y="1525"/>
                  </a:lnTo>
                  <a:lnTo>
                    <a:pt x="9685" y="1446"/>
                  </a:lnTo>
                  <a:lnTo>
                    <a:pt x="9610" y="1367"/>
                  </a:lnTo>
                  <a:lnTo>
                    <a:pt x="9536" y="1289"/>
                  </a:lnTo>
                  <a:lnTo>
                    <a:pt x="9460" y="1213"/>
                  </a:lnTo>
                  <a:lnTo>
                    <a:pt x="9383" y="1137"/>
                  </a:lnTo>
                  <a:close/>
                  <a:moveTo>
                    <a:pt x="8502" y="1049"/>
                  </a:moveTo>
                  <a:lnTo>
                    <a:pt x="8595" y="1126"/>
                  </a:lnTo>
                  <a:lnTo>
                    <a:pt x="8687" y="1205"/>
                  </a:lnTo>
                  <a:lnTo>
                    <a:pt x="8778" y="1285"/>
                  </a:lnTo>
                  <a:lnTo>
                    <a:pt x="8867" y="1366"/>
                  </a:lnTo>
                  <a:lnTo>
                    <a:pt x="8957" y="1449"/>
                  </a:lnTo>
                  <a:lnTo>
                    <a:pt x="9044" y="1534"/>
                  </a:lnTo>
                  <a:lnTo>
                    <a:pt x="9130" y="1621"/>
                  </a:lnTo>
                  <a:lnTo>
                    <a:pt x="9215" y="1709"/>
                  </a:lnTo>
                  <a:lnTo>
                    <a:pt x="9299" y="1798"/>
                  </a:lnTo>
                  <a:lnTo>
                    <a:pt x="9382" y="1888"/>
                  </a:lnTo>
                  <a:lnTo>
                    <a:pt x="9464" y="1980"/>
                  </a:lnTo>
                  <a:lnTo>
                    <a:pt x="9544" y="2074"/>
                  </a:lnTo>
                  <a:lnTo>
                    <a:pt x="9623" y="2169"/>
                  </a:lnTo>
                  <a:lnTo>
                    <a:pt x="9701" y="2265"/>
                  </a:lnTo>
                  <a:lnTo>
                    <a:pt x="9778" y="2363"/>
                  </a:lnTo>
                  <a:lnTo>
                    <a:pt x="9852" y="2463"/>
                  </a:lnTo>
                  <a:lnTo>
                    <a:pt x="9926" y="2563"/>
                  </a:lnTo>
                  <a:lnTo>
                    <a:pt x="9999" y="2664"/>
                  </a:lnTo>
                  <a:lnTo>
                    <a:pt x="10070" y="2767"/>
                  </a:lnTo>
                  <a:lnTo>
                    <a:pt x="10140" y="2871"/>
                  </a:lnTo>
                  <a:lnTo>
                    <a:pt x="10209" y="2978"/>
                  </a:lnTo>
                  <a:lnTo>
                    <a:pt x="10275" y="3084"/>
                  </a:lnTo>
                  <a:lnTo>
                    <a:pt x="10341" y="3192"/>
                  </a:lnTo>
                  <a:lnTo>
                    <a:pt x="10406" y="3301"/>
                  </a:lnTo>
                  <a:lnTo>
                    <a:pt x="10468" y="3412"/>
                  </a:lnTo>
                  <a:lnTo>
                    <a:pt x="10530" y="3524"/>
                  </a:lnTo>
                  <a:lnTo>
                    <a:pt x="10589" y="3637"/>
                  </a:lnTo>
                  <a:lnTo>
                    <a:pt x="10648" y="3750"/>
                  </a:lnTo>
                  <a:lnTo>
                    <a:pt x="10705" y="3866"/>
                  </a:lnTo>
                  <a:lnTo>
                    <a:pt x="10761" y="3982"/>
                  </a:lnTo>
                  <a:lnTo>
                    <a:pt x="10815" y="4099"/>
                  </a:lnTo>
                  <a:lnTo>
                    <a:pt x="10867" y="4217"/>
                  </a:lnTo>
                  <a:lnTo>
                    <a:pt x="10797" y="4242"/>
                  </a:lnTo>
                  <a:lnTo>
                    <a:pt x="10725" y="4264"/>
                  </a:lnTo>
                  <a:lnTo>
                    <a:pt x="10654" y="4286"/>
                  </a:lnTo>
                  <a:lnTo>
                    <a:pt x="10582" y="4308"/>
                  </a:lnTo>
                  <a:lnTo>
                    <a:pt x="10510" y="4328"/>
                  </a:lnTo>
                  <a:lnTo>
                    <a:pt x="10437" y="4348"/>
                  </a:lnTo>
                  <a:lnTo>
                    <a:pt x="10366" y="4368"/>
                  </a:lnTo>
                  <a:lnTo>
                    <a:pt x="10293" y="4387"/>
                  </a:lnTo>
                  <a:lnTo>
                    <a:pt x="10219" y="4405"/>
                  </a:lnTo>
                  <a:lnTo>
                    <a:pt x="10146" y="4423"/>
                  </a:lnTo>
                  <a:lnTo>
                    <a:pt x="10072" y="4439"/>
                  </a:lnTo>
                  <a:lnTo>
                    <a:pt x="9998" y="4456"/>
                  </a:lnTo>
                  <a:lnTo>
                    <a:pt x="9924" y="4471"/>
                  </a:lnTo>
                  <a:lnTo>
                    <a:pt x="9850" y="4486"/>
                  </a:lnTo>
                  <a:lnTo>
                    <a:pt x="9775" y="4501"/>
                  </a:lnTo>
                  <a:lnTo>
                    <a:pt x="9701" y="4514"/>
                  </a:lnTo>
                  <a:lnTo>
                    <a:pt x="9626" y="4527"/>
                  </a:lnTo>
                  <a:lnTo>
                    <a:pt x="9551" y="4540"/>
                  </a:lnTo>
                  <a:lnTo>
                    <a:pt x="9475" y="4551"/>
                  </a:lnTo>
                  <a:lnTo>
                    <a:pt x="9400" y="4562"/>
                  </a:lnTo>
                  <a:lnTo>
                    <a:pt x="9324" y="4573"/>
                  </a:lnTo>
                  <a:lnTo>
                    <a:pt x="9247" y="4582"/>
                  </a:lnTo>
                  <a:lnTo>
                    <a:pt x="9171" y="4591"/>
                  </a:lnTo>
                  <a:lnTo>
                    <a:pt x="9094" y="4600"/>
                  </a:lnTo>
                  <a:lnTo>
                    <a:pt x="9018" y="4607"/>
                  </a:lnTo>
                  <a:lnTo>
                    <a:pt x="8940" y="4614"/>
                  </a:lnTo>
                  <a:lnTo>
                    <a:pt x="8863" y="4621"/>
                  </a:lnTo>
                  <a:lnTo>
                    <a:pt x="8786" y="4626"/>
                  </a:lnTo>
                  <a:lnTo>
                    <a:pt x="8708" y="4631"/>
                  </a:lnTo>
                  <a:lnTo>
                    <a:pt x="8630" y="4635"/>
                  </a:lnTo>
                  <a:lnTo>
                    <a:pt x="8552" y="4639"/>
                  </a:lnTo>
                  <a:lnTo>
                    <a:pt x="8474" y="4642"/>
                  </a:lnTo>
                  <a:lnTo>
                    <a:pt x="8474" y="1047"/>
                  </a:lnTo>
                  <a:lnTo>
                    <a:pt x="8489" y="1048"/>
                  </a:lnTo>
                  <a:lnTo>
                    <a:pt x="8502" y="1049"/>
                  </a:lnTo>
                  <a:close/>
                  <a:moveTo>
                    <a:pt x="7917" y="14987"/>
                  </a:moveTo>
                  <a:lnTo>
                    <a:pt x="7835" y="14918"/>
                  </a:lnTo>
                  <a:lnTo>
                    <a:pt x="7754" y="14850"/>
                  </a:lnTo>
                  <a:lnTo>
                    <a:pt x="7673" y="14779"/>
                  </a:lnTo>
                  <a:lnTo>
                    <a:pt x="7594" y="14708"/>
                  </a:lnTo>
                  <a:lnTo>
                    <a:pt x="7515" y="14636"/>
                  </a:lnTo>
                  <a:lnTo>
                    <a:pt x="7437" y="14562"/>
                  </a:lnTo>
                  <a:lnTo>
                    <a:pt x="7360" y="14487"/>
                  </a:lnTo>
                  <a:lnTo>
                    <a:pt x="7284" y="14410"/>
                  </a:lnTo>
                  <a:lnTo>
                    <a:pt x="7209" y="14333"/>
                  </a:lnTo>
                  <a:lnTo>
                    <a:pt x="7135" y="14255"/>
                  </a:lnTo>
                  <a:lnTo>
                    <a:pt x="7061" y="14175"/>
                  </a:lnTo>
                  <a:lnTo>
                    <a:pt x="6989" y="14095"/>
                  </a:lnTo>
                  <a:lnTo>
                    <a:pt x="6919" y="14012"/>
                  </a:lnTo>
                  <a:lnTo>
                    <a:pt x="6848" y="13930"/>
                  </a:lnTo>
                  <a:lnTo>
                    <a:pt x="6778" y="13846"/>
                  </a:lnTo>
                  <a:lnTo>
                    <a:pt x="6710" y="13761"/>
                  </a:lnTo>
                  <a:lnTo>
                    <a:pt x="6643" y="13675"/>
                  </a:lnTo>
                  <a:lnTo>
                    <a:pt x="6576" y="13588"/>
                  </a:lnTo>
                  <a:lnTo>
                    <a:pt x="6511" y="13499"/>
                  </a:lnTo>
                  <a:lnTo>
                    <a:pt x="6447" y="13410"/>
                  </a:lnTo>
                  <a:lnTo>
                    <a:pt x="6383" y="13319"/>
                  </a:lnTo>
                  <a:lnTo>
                    <a:pt x="6321" y="13228"/>
                  </a:lnTo>
                  <a:lnTo>
                    <a:pt x="6260" y="13135"/>
                  </a:lnTo>
                  <a:lnTo>
                    <a:pt x="6199" y="13042"/>
                  </a:lnTo>
                  <a:lnTo>
                    <a:pt x="6141" y="12948"/>
                  </a:lnTo>
                  <a:lnTo>
                    <a:pt x="6082" y="12853"/>
                  </a:lnTo>
                  <a:lnTo>
                    <a:pt x="6026" y="12757"/>
                  </a:lnTo>
                  <a:lnTo>
                    <a:pt x="5969" y="12659"/>
                  </a:lnTo>
                  <a:lnTo>
                    <a:pt x="5915" y="12561"/>
                  </a:lnTo>
                  <a:lnTo>
                    <a:pt x="5862" y="12462"/>
                  </a:lnTo>
                  <a:lnTo>
                    <a:pt x="5809" y="12363"/>
                  </a:lnTo>
                  <a:lnTo>
                    <a:pt x="5758" y="12262"/>
                  </a:lnTo>
                  <a:lnTo>
                    <a:pt x="5823" y="12242"/>
                  </a:lnTo>
                  <a:lnTo>
                    <a:pt x="5888" y="12223"/>
                  </a:lnTo>
                  <a:lnTo>
                    <a:pt x="5954" y="12204"/>
                  </a:lnTo>
                  <a:lnTo>
                    <a:pt x="6020" y="12187"/>
                  </a:lnTo>
                  <a:lnTo>
                    <a:pt x="6086" y="12169"/>
                  </a:lnTo>
                  <a:lnTo>
                    <a:pt x="6152" y="12153"/>
                  </a:lnTo>
                  <a:lnTo>
                    <a:pt x="6219" y="12136"/>
                  </a:lnTo>
                  <a:lnTo>
                    <a:pt x="6285" y="12121"/>
                  </a:lnTo>
                  <a:lnTo>
                    <a:pt x="6352" y="12106"/>
                  </a:lnTo>
                  <a:lnTo>
                    <a:pt x="6420" y="12091"/>
                  </a:lnTo>
                  <a:lnTo>
                    <a:pt x="6487" y="12077"/>
                  </a:lnTo>
                  <a:lnTo>
                    <a:pt x="6554" y="12064"/>
                  </a:lnTo>
                  <a:lnTo>
                    <a:pt x="6622" y="12051"/>
                  </a:lnTo>
                  <a:lnTo>
                    <a:pt x="6691" y="12039"/>
                  </a:lnTo>
                  <a:lnTo>
                    <a:pt x="6758" y="12027"/>
                  </a:lnTo>
                  <a:lnTo>
                    <a:pt x="6827" y="12016"/>
                  </a:lnTo>
                  <a:lnTo>
                    <a:pt x="6895" y="12005"/>
                  </a:lnTo>
                  <a:lnTo>
                    <a:pt x="6964" y="11995"/>
                  </a:lnTo>
                  <a:lnTo>
                    <a:pt x="7033" y="11986"/>
                  </a:lnTo>
                  <a:lnTo>
                    <a:pt x="7102" y="11976"/>
                  </a:lnTo>
                  <a:lnTo>
                    <a:pt x="7171" y="11968"/>
                  </a:lnTo>
                  <a:lnTo>
                    <a:pt x="7241" y="11960"/>
                  </a:lnTo>
                  <a:lnTo>
                    <a:pt x="7311" y="11953"/>
                  </a:lnTo>
                  <a:lnTo>
                    <a:pt x="7380" y="11946"/>
                  </a:lnTo>
                  <a:lnTo>
                    <a:pt x="7450" y="11940"/>
                  </a:lnTo>
                  <a:lnTo>
                    <a:pt x="7521" y="11934"/>
                  </a:lnTo>
                  <a:lnTo>
                    <a:pt x="7591" y="11929"/>
                  </a:lnTo>
                  <a:lnTo>
                    <a:pt x="7662" y="11924"/>
                  </a:lnTo>
                  <a:lnTo>
                    <a:pt x="7732" y="11920"/>
                  </a:lnTo>
                  <a:lnTo>
                    <a:pt x="7803" y="11916"/>
                  </a:lnTo>
                  <a:lnTo>
                    <a:pt x="7874" y="11913"/>
                  </a:lnTo>
                  <a:lnTo>
                    <a:pt x="7945" y="11911"/>
                  </a:lnTo>
                  <a:lnTo>
                    <a:pt x="7945" y="14988"/>
                  </a:lnTo>
                  <a:lnTo>
                    <a:pt x="7917" y="14987"/>
                  </a:lnTo>
                  <a:close/>
                  <a:moveTo>
                    <a:pt x="15347" y="7759"/>
                  </a:moveTo>
                  <a:lnTo>
                    <a:pt x="12171" y="7759"/>
                  </a:lnTo>
                  <a:lnTo>
                    <a:pt x="12168" y="7652"/>
                  </a:lnTo>
                  <a:lnTo>
                    <a:pt x="12163" y="7545"/>
                  </a:lnTo>
                  <a:lnTo>
                    <a:pt x="12157" y="7439"/>
                  </a:lnTo>
                  <a:lnTo>
                    <a:pt x="12151" y="7332"/>
                  </a:lnTo>
                  <a:lnTo>
                    <a:pt x="12144" y="7226"/>
                  </a:lnTo>
                  <a:lnTo>
                    <a:pt x="12136" y="7120"/>
                  </a:lnTo>
                  <a:lnTo>
                    <a:pt x="12126" y="7015"/>
                  </a:lnTo>
                  <a:lnTo>
                    <a:pt x="12115" y="6911"/>
                  </a:lnTo>
                  <a:lnTo>
                    <a:pt x="12104" y="6805"/>
                  </a:lnTo>
                  <a:lnTo>
                    <a:pt x="12092" y="6701"/>
                  </a:lnTo>
                  <a:lnTo>
                    <a:pt x="12078" y="6598"/>
                  </a:lnTo>
                  <a:lnTo>
                    <a:pt x="12063" y="6494"/>
                  </a:lnTo>
                  <a:lnTo>
                    <a:pt x="12047" y="6391"/>
                  </a:lnTo>
                  <a:lnTo>
                    <a:pt x="12031" y="6288"/>
                  </a:lnTo>
                  <a:lnTo>
                    <a:pt x="12014" y="6186"/>
                  </a:lnTo>
                  <a:lnTo>
                    <a:pt x="11995" y="6084"/>
                  </a:lnTo>
                  <a:lnTo>
                    <a:pt x="11976" y="5982"/>
                  </a:lnTo>
                  <a:lnTo>
                    <a:pt x="11954" y="5881"/>
                  </a:lnTo>
                  <a:lnTo>
                    <a:pt x="11933" y="5781"/>
                  </a:lnTo>
                  <a:lnTo>
                    <a:pt x="11910" y="5681"/>
                  </a:lnTo>
                  <a:lnTo>
                    <a:pt x="11886" y="5582"/>
                  </a:lnTo>
                  <a:lnTo>
                    <a:pt x="11862" y="5482"/>
                  </a:lnTo>
                  <a:lnTo>
                    <a:pt x="11836" y="5383"/>
                  </a:lnTo>
                  <a:lnTo>
                    <a:pt x="11810" y="5285"/>
                  </a:lnTo>
                  <a:lnTo>
                    <a:pt x="11783" y="5188"/>
                  </a:lnTo>
                  <a:lnTo>
                    <a:pt x="11754" y="5090"/>
                  </a:lnTo>
                  <a:lnTo>
                    <a:pt x="11724" y="4993"/>
                  </a:lnTo>
                  <a:lnTo>
                    <a:pt x="11694" y="4897"/>
                  </a:lnTo>
                  <a:lnTo>
                    <a:pt x="11663" y="4801"/>
                  </a:lnTo>
                  <a:lnTo>
                    <a:pt x="11630" y="4706"/>
                  </a:lnTo>
                  <a:lnTo>
                    <a:pt x="11597" y="4611"/>
                  </a:lnTo>
                  <a:lnTo>
                    <a:pt x="11563" y="4517"/>
                  </a:lnTo>
                  <a:lnTo>
                    <a:pt x="11630" y="4489"/>
                  </a:lnTo>
                  <a:lnTo>
                    <a:pt x="11695" y="4461"/>
                  </a:lnTo>
                  <a:lnTo>
                    <a:pt x="11762" y="4432"/>
                  </a:lnTo>
                  <a:lnTo>
                    <a:pt x="11828" y="4403"/>
                  </a:lnTo>
                  <a:lnTo>
                    <a:pt x="11894" y="4374"/>
                  </a:lnTo>
                  <a:lnTo>
                    <a:pt x="11959" y="4343"/>
                  </a:lnTo>
                  <a:lnTo>
                    <a:pt x="12024" y="4312"/>
                  </a:lnTo>
                  <a:lnTo>
                    <a:pt x="12088" y="4281"/>
                  </a:lnTo>
                  <a:lnTo>
                    <a:pt x="12153" y="4249"/>
                  </a:lnTo>
                  <a:lnTo>
                    <a:pt x="12217" y="4216"/>
                  </a:lnTo>
                  <a:lnTo>
                    <a:pt x="12280" y="4183"/>
                  </a:lnTo>
                  <a:lnTo>
                    <a:pt x="12344" y="4150"/>
                  </a:lnTo>
                  <a:lnTo>
                    <a:pt x="12407" y="4116"/>
                  </a:lnTo>
                  <a:lnTo>
                    <a:pt x="12469" y="4081"/>
                  </a:lnTo>
                  <a:lnTo>
                    <a:pt x="12532" y="4046"/>
                  </a:lnTo>
                  <a:lnTo>
                    <a:pt x="12593" y="4011"/>
                  </a:lnTo>
                  <a:lnTo>
                    <a:pt x="12655" y="3975"/>
                  </a:lnTo>
                  <a:lnTo>
                    <a:pt x="12717" y="3939"/>
                  </a:lnTo>
                  <a:lnTo>
                    <a:pt x="12778" y="3902"/>
                  </a:lnTo>
                  <a:lnTo>
                    <a:pt x="12839" y="3865"/>
                  </a:lnTo>
                  <a:lnTo>
                    <a:pt x="12899" y="3827"/>
                  </a:lnTo>
                  <a:lnTo>
                    <a:pt x="12959" y="3789"/>
                  </a:lnTo>
                  <a:lnTo>
                    <a:pt x="13019" y="3749"/>
                  </a:lnTo>
                  <a:lnTo>
                    <a:pt x="13078" y="3710"/>
                  </a:lnTo>
                  <a:lnTo>
                    <a:pt x="13137" y="3670"/>
                  </a:lnTo>
                  <a:lnTo>
                    <a:pt x="13196" y="3630"/>
                  </a:lnTo>
                  <a:lnTo>
                    <a:pt x="13254" y="3590"/>
                  </a:lnTo>
                  <a:lnTo>
                    <a:pt x="13313" y="3549"/>
                  </a:lnTo>
                  <a:lnTo>
                    <a:pt x="13370" y="3507"/>
                  </a:lnTo>
                  <a:lnTo>
                    <a:pt x="13428" y="3466"/>
                  </a:lnTo>
                  <a:lnTo>
                    <a:pt x="13485" y="3423"/>
                  </a:lnTo>
                  <a:lnTo>
                    <a:pt x="13542" y="3381"/>
                  </a:lnTo>
                  <a:lnTo>
                    <a:pt x="13641" y="3492"/>
                  </a:lnTo>
                  <a:lnTo>
                    <a:pt x="13738" y="3605"/>
                  </a:lnTo>
                  <a:lnTo>
                    <a:pt x="13832" y="3719"/>
                  </a:lnTo>
                  <a:lnTo>
                    <a:pt x="13924" y="3837"/>
                  </a:lnTo>
                  <a:lnTo>
                    <a:pt x="14014" y="3956"/>
                  </a:lnTo>
                  <a:lnTo>
                    <a:pt x="14101" y="4076"/>
                  </a:lnTo>
                  <a:lnTo>
                    <a:pt x="14185" y="4199"/>
                  </a:lnTo>
                  <a:lnTo>
                    <a:pt x="14266" y="4324"/>
                  </a:lnTo>
                  <a:lnTo>
                    <a:pt x="14346" y="4450"/>
                  </a:lnTo>
                  <a:lnTo>
                    <a:pt x="14422" y="4578"/>
                  </a:lnTo>
                  <a:lnTo>
                    <a:pt x="14496" y="4708"/>
                  </a:lnTo>
                  <a:lnTo>
                    <a:pt x="14567" y="4839"/>
                  </a:lnTo>
                  <a:lnTo>
                    <a:pt x="14634" y="4972"/>
                  </a:lnTo>
                  <a:lnTo>
                    <a:pt x="14700" y="5106"/>
                  </a:lnTo>
                  <a:lnTo>
                    <a:pt x="14763" y="5243"/>
                  </a:lnTo>
                  <a:lnTo>
                    <a:pt x="14822" y="5380"/>
                  </a:lnTo>
                  <a:lnTo>
                    <a:pt x="14879" y="5519"/>
                  </a:lnTo>
                  <a:lnTo>
                    <a:pt x="14932" y="5660"/>
                  </a:lnTo>
                  <a:lnTo>
                    <a:pt x="14982" y="5802"/>
                  </a:lnTo>
                  <a:lnTo>
                    <a:pt x="15031" y="5945"/>
                  </a:lnTo>
                  <a:lnTo>
                    <a:pt x="15075" y="6090"/>
                  </a:lnTo>
                  <a:lnTo>
                    <a:pt x="15116" y="6236"/>
                  </a:lnTo>
                  <a:lnTo>
                    <a:pt x="15154" y="6383"/>
                  </a:lnTo>
                  <a:lnTo>
                    <a:pt x="15189" y="6532"/>
                  </a:lnTo>
                  <a:lnTo>
                    <a:pt x="15220" y="6681"/>
                  </a:lnTo>
                  <a:lnTo>
                    <a:pt x="15248" y="6832"/>
                  </a:lnTo>
                  <a:lnTo>
                    <a:pt x="15273" y="6984"/>
                  </a:lnTo>
                  <a:lnTo>
                    <a:pt x="15294" y="7137"/>
                  </a:lnTo>
                  <a:lnTo>
                    <a:pt x="15313" y="7291"/>
                  </a:lnTo>
                  <a:lnTo>
                    <a:pt x="15327" y="7446"/>
                  </a:lnTo>
                  <a:lnTo>
                    <a:pt x="15338" y="7602"/>
                  </a:lnTo>
                  <a:lnTo>
                    <a:pt x="15347" y="7759"/>
                  </a:lnTo>
                  <a:close/>
                  <a:moveTo>
                    <a:pt x="8210" y="0"/>
                  </a:moveTo>
                  <a:lnTo>
                    <a:pt x="7787" y="10"/>
                  </a:lnTo>
                  <a:lnTo>
                    <a:pt x="7370" y="41"/>
                  </a:lnTo>
                  <a:lnTo>
                    <a:pt x="6960" y="92"/>
                  </a:lnTo>
                  <a:lnTo>
                    <a:pt x="6555" y="162"/>
                  </a:lnTo>
                  <a:lnTo>
                    <a:pt x="6158" y="253"/>
                  </a:lnTo>
                  <a:lnTo>
                    <a:pt x="5768" y="361"/>
                  </a:lnTo>
                  <a:lnTo>
                    <a:pt x="5386" y="486"/>
                  </a:lnTo>
                  <a:lnTo>
                    <a:pt x="5014" y="630"/>
                  </a:lnTo>
                  <a:lnTo>
                    <a:pt x="4651" y="791"/>
                  </a:lnTo>
                  <a:lnTo>
                    <a:pt x="4297" y="967"/>
                  </a:lnTo>
                  <a:lnTo>
                    <a:pt x="3953" y="1161"/>
                  </a:lnTo>
                  <a:lnTo>
                    <a:pt x="3619" y="1369"/>
                  </a:lnTo>
                  <a:lnTo>
                    <a:pt x="3298" y="1593"/>
                  </a:lnTo>
                  <a:lnTo>
                    <a:pt x="2987" y="1831"/>
                  </a:lnTo>
                  <a:lnTo>
                    <a:pt x="2690" y="2083"/>
                  </a:lnTo>
                  <a:lnTo>
                    <a:pt x="2404" y="2348"/>
                  </a:lnTo>
                  <a:lnTo>
                    <a:pt x="2132" y="2627"/>
                  </a:lnTo>
                  <a:lnTo>
                    <a:pt x="1875" y="2918"/>
                  </a:lnTo>
                  <a:lnTo>
                    <a:pt x="1631" y="3220"/>
                  </a:lnTo>
                  <a:lnTo>
                    <a:pt x="1402" y="3535"/>
                  </a:lnTo>
                  <a:lnTo>
                    <a:pt x="1188" y="3861"/>
                  </a:lnTo>
                  <a:lnTo>
                    <a:pt x="991" y="4195"/>
                  </a:lnTo>
                  <a:lnTo>
                    <a:pt x="810" y="4541"/>
                  </a:lnTo>
                  <a:lnTo>
                    <a:pt x="645" y="4897"/>
                  </a:lnTo>
                  <a:lnTo>
                    <a:pt x="498" y="5261"/>
                  </a:lnTo>
                  <a:lnTo>
                    <a:pt x="369" y="5634"/>
                  </a:lnTo>
                  <a:lnTo>
                    <a:pt x="259" y="6014"/>
                  </a:lnTo>
                  <a:lnTo>
                    <a:pt x="167" y="6402"/>
                  </a:lnTo>
                  <a:lnTo>
                    <a:pt x="94" y="6797"/>
                  </a:lnTo>
                  <a:lnTo>
                    <a:pt x="42" y="7198"/>
                  </a:lnTo>
                  <a:lnTo>
                    <a:pt x="10" y="7605"/>
                  </a:lnTo>
                  <a:lnTo>
                    <a:pt x="0" y="8018"/>
                  </a:lnTo>
                  <a:lnTo>
                    <a:pt x="10" y="8431"/>
                  </a:lnTo>
                  <a:lnTo>
                    <a:pt x="42" y="8838"/>
                  </a:lnTo>
                  <a:lnTo>
                    <a:pt x="94" y="9239"/>
                  </a:lnTo>
                  <a:lnTo>
                    <a:pt x="167" y="9634"/>
                  </a:lnTo>
                  <a:lnTo>
                    <a:pt x="259" y="10021"/>
                  </a:lnTo>
                  <a:lnTo>
                    <a:pt x="369" y="10402"/>
                  </a:lnTo>
                  <a:lnTo>
                    <a:pt x="498" y="10774"/>
                  </a:lnTo>
                  <a:lnTo>
                    <a:pt x="645" y="11139"/>
                  </a:lnTo>
                  <a:lnTo>
                    <a:pt x="810" y="11494"/>
                  </a:lnTo>
                  <a:lnTo>
                    <a:pt x="991" y="11840"/>
                  </a:lnTo>
                  <a:lnTo>
                    <a:pt x="1188" y="12175"/>
                  </a:lnTo>
                  <a:lnTo>
                    <a:pt x="1402" y="12501"/>
                  </a:lnTo>
                  <a:lnTo>
                    <a:pt x="1631" y="12815"/>
                  </a:lnTo>
                  <a:lnTo>
                    <a:pt x="1875" y="13118"/>
                  </a:lnTo>
                  <a:lnTo>
                    <a:pt x="2132" y="13409"/>
                  </a:lnTo>
                  <a:lnTo>
                    <a:pt x="2404" y="13688"/>
                  </a:lnTo>
                  <a:lnTo>
                    <a:pt x="2690" y="13953"/>
                  </a:lnTo>
                  <a:lnTo>
                    <a:pt x="2987" y="14205"/>
                  </a:lnTo>
                  <a:lnTo>
                    <a:pt x="3298" y="14443"/>
                  </a:lnTo>
                  <a:lnTo>
                    <a:pt x="3619" y="14667"/>
                  </a:lnTo>
                  <a:lnTo>
                    <a:pt x="3953" y="14875"/>
                  </a:lnTo>
                  <a:lnTo>
                    <a:pt x="4297" y="15068"/>
                  </a:lnTo>
                  <a:lnTo>
                    <a:pt x="4651" y="15245"/>
                  </a:lnTo>
                  <a:lnTo>
                    <a:pt x="5014" y="15406"/>
                  </a:lnTo>
                  <a:lnTo>
                    <a:pt x="5386" y="15550"/>
                  </a:lnTo>
                  <a:lnTo>
                    <a:pt x="5768" y="15675"/>
                  </a:lnTo>
                  <a:lnTo>
                    <a:pt x="6158" y="15783"/>
                  </a:lnTo>
                  <a:lnTo>
                    <a:pt x="6555" y="15873"/>
                  </a:lnTo>
                  <a:lnTo>
                    <a:pt x="6960" y="15944"/>
                  </a:lnTo>
                  <a:lnTo>
                    <a:pt x="7370" y="15995"/>
                  </a:lnTo>
                  <a:lnTo>
                    <a:pt x="7787" y="16026"/>
                  </a:lnTo>
                  <a:lnTo>
                    <a:pt x="8210" y="16036"/>
                  </a:lnTo>
                  <a:lnTo>
                    <a:pt x="8632" y="16026"/>
                  </a:lnTo>
                  <a:lnTo>
                    <a:pt x="9049" y="15995"/>
                  </a:lnTo>
                  <a:lnTo>
                    <a:pt x="9459" y="15944"/>
                  </a:lnTo>
                  <a:lnTo>
                    <a:pt x="9864" y="15873"/>
                  </a:lnTo>
                  <a:lnTo>
                    <a:pt x="10261" y="15783"/>
                  </a:lnTo>
                  <a:lnTo>
                    <a:pt x="10651" y="15675"/>
                  </a:lnTo>
                  <a:lnTo>
                    <a:pt x="11033" y="15550"/>
                  </a:lnTo>
                  <a:lnTo>
                    <a:pt x="11405" y="15406"/>
                  </a:lnTo>
                  <a:lnTo>
                    <a:pt x="11768" y="15245"/>
                  </a:lnTo>
                  <a:lnTo>
                    <a:pt x="12122" y="15068"/>
                  </a:lnTo>
                  <a:lnTo>
                    <a:pt x="12466" y="14875"/>
                  </a:lnTo>
                  <a:lnTo>
                    <a:pt x="12800" y="14667"/>
                  </a:lnTo>
                  <a:lnTo>
                    <a:pt x="13122" y="14443"/>
                  </a:lnTo>
                  <a:lnTo>
                    <a:pt x="13432" y="14205"/>
                  </a:lnTo>
                  <a:lnTo>
                    <a:pt x="13729" y="13953"/>
                  </a:lnTo>
                  <a:lnTo>
                    <a:pt x="14015" y="13688"/>
                  </a:lnTo>
                  <a:lnTo>
                    <a:pt x="14287" y="13409"/>
                  </a:lnTo>
                  <a:lnTo>
                    <a:pt x="14544" y="13118"/>
                  </a:lnTo>
                  <a:lnTo>
                    <a:pt x="14788" y="12815"/>
                  </a:lnTo>
                  <a:lnTo>
                    <a:pt x="15017" y="12501"/>
                  </a:lnTo>
                  <a:lnTo>
                    <a:pt x="15231" y="12175"/>
                  </a:lnTo>
                  <a:lnTo>
                    <a:pt x="15428" y="11840"/>
                  </a:lnTo>
                  <a:lnTo>
                    <a:pt x="15609" y="11494"/>
                  </a:lnTo>
                  <a:lnTo>
                    <a:pt x="15774" y="11139"/>
                  </a:lnTo>
                  <a:lnTo>
                    <a:pt x="15921" y="10774"/>
                  </a:lnTo>
                  <a:lnTo>
                    <a:pt x="16050" y="10402"/>
                  </a:lnTo>
                  <a:lnTo>
                    <a:pt x="16160" y="10021"/>
                  </a:lnTo>
                  <a:lnTo>
                    <a:pt x="16253" y="9634"/>
                  </a:lnTo>
                  <a:lnTo>
                    <a:pt x="16325" y="9239"/>
                  </a:lnTo>
                  <a:lnTo>
                    <a:pt x="16377" y="8838"/>
                  </a:lnTo>
                  <a:lnTo>
                    <a:pt x="16409" y="8431"/>
                  </a:lnTo>
                  <a:lnTo>
                    <a:pt x="16419" y="8018"/>
                  </a:lnTo>
                  <a:lnTo>
                    <a:pt x="16409" y="7605"/>
                  </a:lnTo>
                  <a:lnTo>
                    <a:pt x="16377" y="7198"/>
                  </a:lnTo>
                  <a:lnTo>
                    <a:pt x="16325" y="6797"/>
                  </a:lnTo>
                  <a:lnTo>
                    <a:pt x="16253" y="6402"/>
                  </a:lnTo>
                  <a:lnTo>
                    <a:pt x="16160" y="6014"/>
                  </a:lnTo>
                  <a:lnTo>
                    <a:pt x="16050" y="5634"/>
                  </a:lnTo>
                  <a:lnTo>
                    <a:pt x="15921" y="5261"/>
                  </a:lnTo>
                  <a:lnTo>
                    <a:pt x="15774" y="4897"/>
                  </a:lnTo>
                  <a:lnTo>
                    <a:pt x="15609" y="4541"/>
                  </a:lnTo>
                  <a:lnTo>
                    <a:pt x="15428" y="4195"/>
                  </a:lnTo>
                  <a:lnTo>
                    <a:pt x="15231" y="3861"/>
                  </a:lnTo>
                  <a:lnTo>
                    <a:pt x="15017" y="3535"/>
                  </a:lnTo>
                  <a:lnTo>
                    <a:pt x="14788" y="3220"/>
                  </a:lnTo>
                  <a:lnTo>
                    <a:pt x="14544" y="2918"/>
                  </a:lnTo>
                  <a:lnTo>
                    <a:pt x="14287" y="2627"/>
                  </a:lnTo>
                  <a:lnTo>
                    <a:pt x="14015" y="2348"/>
                  </a:lnTo>
                  <a:lnTo>
                    <a:pt x="13729" y="2083"/>
                  </a:lnTo>
                  <a:lnTo>
                    <a:pt x="13432" y="1831"/>
                  </a:lnTo>
                  <a:lnTo>
                    <a:pt x="13122" y="1593"/>
                  </a:lnTo>
                  <a:lnTo>
                    <a:pt x="12800" y="1369"/>
                  </a:lnTo>
                  <a:lnTo>
                    <a:pt x="12466" y="1161"/>
                  </a:lnTo>
                  <a:lnTo>
                    <a:pt x="12122" y="967"/>
                  </a:lnTo>
                  <a:lnTo>
                    <a:pt x="11768" y="791"/>
                  </a:lnTo>
                  <a:lnTo>
                    <a:pt x="11405" y="630"/>
                  </a:lnTo>
                  <a:lnTo>
                    <a:pt x="11033" y="486"/>
                  </a:lnTo>
                  <a:lnTo>
                    <a:pt x="10651" y="361"/>
                  </a:lnTo>
                  <a:lnTo>
                    <a:pt x="10261" y="253"/>
                  </a:lnTo>
                  <a:lnTo>
                    <a:pt x="9864" y="162"/>
                  </a:lnTo>
                  <a:lnTo>
                    <a:pt x="9459" y="92"/>
                  </a:lnTo>
                  <a:lnTo>
                    <a:pt x="9049" y="41"/>
                  </a:lnTo>
                  <a:lnTo>
                    <a:pt x="8632" y="10"/>
                  </a:lnTo>
                  <a:lnTo>
                    <a:pt x="821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83" name="íṡḷîḍè">
              <a:extLst>
                <a:ext uri="{FF2B5EF4-FFF2-40B4-BE49-F238E27FC236}">
                  <a16:creationId xmlns:a16="http://schemas.microsoft.com/office/drawing/2014/main" id="{37DCBB88-C2C0-4B8B-BC8D-BC22BA3E5792}"/>
                </a:ext>
              </a:extLst>
            </p:cNvPr>
            <p:cNvSpPr/>
            <p:nvPr/>
          </p:nvSpPr>
          <p:spPr bwMode="auto">
            <a:xfrm>
              <a:off x="5272463" y="1428986"/>
              <a:ext cx="373600" cy="398323"/>
            </a:xfrm>
            <a:custGeom>
              <a:avLst/>
              <a:gdLst>
                <a:gd name="T0" fmla="*/ 14069 w 15096"/>
                <a:gd name="T1" fmla="*/ 14285 h 16095"/>
                <a:gd name="T2" fmla="*/ 13990 w 15096"/>
                <a:gd name="T3" fmla="*/ 14519 h 16095"/>
                <a:gd name="T4" fmla="*/ 13859 w 15096"/>
                <a:gd name="T5" fmla="*/ 14723 h 16095"/>
                <a:gd name="T6" fmla="*/ 13685 w 15096"/>
                <a:gd name="T7" fmla="*/ 14889 h 16095"/>
                <a:gd name="T8" fmla="*/ 13475 w 15096"/>
                <a:gd name="T9" fmla="*/ 15010 h 16095"/>
                <a:gd name="T10" fmla="*/ 13236 w 15096"/>
                <a:gd name="T11" fmla="*/ 15077 h 16095"/>
                <a:gd name="T12" fmla="*/ 1961 w 15096"/>
                <a:gd name="T13" fmla="*/ 15088 h 16095"/>
                <a:gd name="T14" fmla="*/ 1714 w 15096"/>
                <a:gd name="T15" fmla="*/ 15044 h 16095"/>
                <a:gd name="T16" fmla="*/ 1491 w 15096"/>
                <a:gd name="T17" fmla="*/ 14943 h 16095"/>
                <a:gd name="T18" fmla="*/ 1301 w 15096"/>
                <a:gd name="T19" fmla="*/ 14794 h 16095"/>
                <a:gd name="T20" fmla="*/ 1152 w 15096"/>
                <a:gd name="T21" fmla="*/ 14604 h 16095"/>
                <a:gd name="T22" fmla="*/ 1052 w 15096"/>
                <a:gd name="T23" fmla="*/ 14382 h 16095"/>
                <a:gd name="T24" fmla="*/ 1007 w 15096"/>
                <a:gd name="T25" fmla="*/ 14134 h 16095"/>
                <a:gd name="T26" fmla="*/ 1018 w 15096"/>
                <a:gd name="T27" fmla="*/ 1859 h 16095"/>
                <a:gd name="T28" fmla="*/ 1086 w 15096"/>
                <a:gd name="T29" fmla="*/ 1621 h 16095"/>
                <a:gd name="T30" fmla="*/ 1207 w 15096"/>
                <a:gd name="T31" fmla="*/ 1410 h 16095"/>
                <a:gd name="T32" fmla="*/ 1373 w 15096"/>
                <a:gd name="T33" fmla="*/ 1236 h 16095"/>
                <a:gd name="T34" fmla="*/ 1577 w 15096"/>
                <a:gd name="T35" fmla="*/ 1106 h 16095"/>
                <a:gd name="T36" fmla="*/ 1811 w 15096"/>
                <a:gd name="T37" fmla="*/ 1026 h 16095"/>
                <a:gd name="T38" fmla="*/ 13083 w 15096"/>
                <a:gd name="T39" fmla="*/ 1006 h 16095"/>
                <a:gd name="T40" fmla="*/ 13335 w 15096"/>
                <a:gd name="T41" fmla="*/ 1038 h 16095"/>
                <a:gd name="T42" fmla="*/ 13562 w 15096"/>
                <a:gd name="T43" fmla="*/ 1128 h 16095"/>
                <a:gd name="T44" fmla="*/ 13760 w 15096"/>
                <a:gd name="T45" fmla="*/ 1267 h 16095"/>
                <a:gd name="T46" fmla="*/ 13918 w 15096"/>
                <a:gd name="T47" fmla="*/ 1450 h 16095"/>
                <a:gd name="T48" fmla="*/ 14028 w 15096"/>
                <a:gd name="T49" fmla="*/ 1667 h 16095"/>
                <a:gd name="T50" fmla="*/ 14085 w 15096"/>
                <a:gd name="T51" fmla="*/ 1909 h 16095"/>
                <a:gd name="T52" fmla="*/ 2013 w 15096"/>
                <a:gd name="T53" fmla="*/ 0 h 16095"/>
                <a:gd name="T54" fmla="*/ 1510 w 15096"/>
                <a:gd name="T55" fmla="*/ 63 h 16095"/>
                <a:gd name="T56" fmla="*/ 1054 w 15096"/>
                <a:gd name="T57" fmla="*/ 242 h 16095"/>
                <a:gd name="T58" fmla="*/ 659 w 15096"/>
                <a:gd name="T59" fmla="*/ 523 h 16095"/>
                <a:gd name="T60" fmla="*/ 344 w 15096"/>
                <a:gd name="T61" fmla="*/ 887 h 16095"/>
                <a:gd name="T62" fmla="*/ 122 w 15096"/>
                <a:gd name="T63" fmla="*/ 1320 h 16095"/>
                <a:gd name="T64" fmla="*/ 10 w 15096"/>
                <a:gd name="T65" fmla="*/ 1807 h 16095"/>
                <a:gd name="T66" fmla="*/ 10 w 15096"/>
                <a:gd name="T67" fmla="*/ 14289 h 16095"/>
                <a:gd name="T68" fmla="*/ 122 w 15096"/>
                <a:gd name="T69" fmla="*/ 14775 h 16095"/>
                <a:gd name="T70" fmla="*/ 344 w 15096"/>
                <a:gd name="T71" fmla="*/ 15208 h 16095"/>
                <a:gd name="T72" fmla="*/ 659 w 15096"/>
                <a:gd name="T73" fmla="*/ 15572 h 16095"/>
                <a:gd name="T74" fmla="*/ 1054 w 15096"/>
                <a:gd name="T75" fmla="*/ 15853 h 16095"/>
                <a:gd name="T76" fmla="*/ 1510 w 15096"/>
                <a:gd name="T77" fmla="*/ 16032 h 16095"/>
                <a:gd name="T78" fmla="*/ 2013 w 15096"/>
                <a:gd name="T79" fmla="*/ 16095 h 16095"/>
                <a:gd name="T80" fmla="*/ 13489 w 15096"/>
                <a:gd name="T81" fmla="*/ 16054 h 16095"/>
                <a:gd name="T82" fmla="*/ 13956 w 15096"/>
                <a:gd name="T83" fmla="*/ 15897 h 16095"/>
                <a:gd name="T84" fmla="*/ 14363 w 15096"/>
                <a:gd name="T85" fmla="*/ 15635 h 16095"/>
                <a:gd name="T86" fmla="*/ 14696 w 15096"/>
                <a:gd name="T87" fmla="*/ 15287 h 16095"/>
                <a:gd name="T88" fmla="*/ 14938 w 15096"/>
                <a:gd name="T89" fmla="*/ 14867 h 16095"/>
                <a:gd name="T90" fmla="*/ 15073 w 15096"/>
                <a:gd name="T91" fmla="*/ 14390 h 16095"/>
                <a:gd name="T92" fmla="*/ 15093 w 15096"/>
                <a:gd name="T93" fmla="*/ 1908 h 16095"/>
                <a:gd name="T94" fmla="*/ 15005 w 15096"/>
                <a:gd name="T95" fmla="*/ 1413 h 16095"/>
                <a:gd name="T96" fmla="*/ 14804 w 15096"/>
                <a:gd name="T97" fmla="*/ 969 h 16095"/>
                <a:gd name="T98" fmla="*/ 14506 w 15096"/>
                <a:gd name="T99" fmla="*/ 589 h 16095"/>
                <a:gd name="T100" fmla="*/ 14127 w 15096"/>
                <a:gd name="T101" fmla="*/ 292 h 16095"/>
                <a:gd name="T102" fmla="*/ 13682 w 15096"/>
                <a:gd name="T103" fmla="*/ 91 h 16095"/>
                <a:gd name="T104" fmla="*/ 13187 w 15096"/>
                <a:gd name="T105" fmla="*/ 3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096" h="16095">
                  <a:moveTo>
                    <a:pt x="14090" y="14083"/>
                  </a:moveTo>
                  <a:lnTo>
                    <a:pt x="14089" y="14134"/>
                  </a:lnTo>
                  <a:lnTo>
                    <a:pt x="14085" y="14186"/>
                  </a:lnTo>
                  <a:lnTo>
                    <a:pt x="14079" y="14236"/>
                  </a:lnTo>
                  <a:lnTo>
                    <a:pt x="14069" y="14285"/>
                  </a:lnTo>
                  <a:lnTo>
                    <a:pt x="14058" y="14334"/>
                  </a:lnTo>
                  <a:lnTo>
                    <a:pt x="14044" y="14382"/>
                  </a:lnTo>
                  <a:lnTo>
                    <a:pt x="14028" y="14428"/>
                  </a:lnTo>
                  <a:lnTo>
                    <a:pt x="14010" y="14474"/>
                  </a:lnTo>
                  <a:lnTo>
                    <a:pt x="13990" y="14519"/>
                  </a:lnTo>
                  <a:lnTo>
                    <a:pt x="13968" y="14562"/>
                  </a:lnTo>
                  <a:lnTo>
                    <a:pt x="13944" y="14604"/>
                  </a:lnTo>
                  <a:lnTo>
                    <a:pt x="13918" y="14645"/>
                  </a:lnTo>
                  <a:lnTo>
                    <a:pt x="13889" y="14685"/>
                  </a:lnTo>
                  <a:lnTo>
                    <a:pt x="13859" y="14723"/>
                  </a:lnTo>
                  <a:lnTo>
                    <a:pt x="13828" y="14759"/>
                  </a:lnTo>
                  <a:lnTo>
                    <a:pt x="13795" y="14794"/>
                  </a:lnTo>
                  <a:lnTo>
                    <a:pt x="13760" y="14828"/>
                  </a:lnTo>
                  <a:lnTo>
                    <a:pt x="13723" y="14859"/>
                  </a:lnTo>
                  <a:lnTo>
                    <a:pt x="13685" y="14889"/>
                  </a:lnTo>
                  <a:lnTo>
                    <a:pt x="13646" y="14917"/>
                  </a:lnTo>
                  <a:lnTo>
                    <a:pt x="13605" y="14943"/>
                  </a:lnTo>
                  <a:lnTo>
                    <a:pt x="13562" y="14967"/>
                  </a:lnTo>
                  <a:lnTo>
                    <a:pt x="13519" y="14989"/>
                  </a:lnTo>
                  <a:lnTo>
                    <a:pt x="13475" y="15010"/>
                  </a:lnTo>
                  <a:lnTo>
                    <a:pt x="13428" y="15028"/>
                  </a:lnTo>
                  <a:lnTo>
                    <a:pt x="13382" y="15044"/>
                  </a:lnTo>
                  <a:lnTo>
                    <a:pt x="13335" y="15057"/>
                  </a:lnTo>
                  <a:lnTo>
                    <a:pt x="13285" y="15069"/>
                  </a:lnTo>
                  <a:lnTo>
                    <a:pt x="13236" y="15077"/>
                  </a:lnTo>
                  <a:lnTo>
                    <a:pt x="13186" y="15084"/>
                  </a:lnTo>
                  <a:lnTo>
                    <a:pt x="13135" y="15088"/>
                  </a:lnTo>
                  <a:lnTo>
                    <a:pt x="13083" y="15089"/>
                  </a:lnTo>
                  <a:lnTo>
                    <a:pt x="2013" y="15089"/>
                  </a:lnTo>
                  <a:lnTo>
                    <a:pt x="1961" y="15088"/>
                  </a:lnTo>
                  <a:lnTo>
                    <a:pt x="1910" y="15084"/>
                  </a:lnTo>
                  <a:lnTo>
                    <a:pt x="1860" y="15077"/>
                  </a:lnTo>
                  <a:lnTo>
                    <a:pt x="1811" y="15069"/>
                  </a:lnTo>
                  <a:lnTo>
                    <a:pt x="1761" y="15057"/>
                  </a:lnTo>
                  <a:lnTo>
                    <a:pt x="1714" y="15044"/>
                  </a:lnTo>
                  <a:lnTo>
                    <a:pt x="1667" y="15028"/>
                  </a:lnTo>
                  <a:lnTo>
                    <a:pt x="1621" y="15010"/>
                  </a:lnTo>
                  <a:lnTo>
                    <a:pt x="1577" y="14989"/>
                  </a:lnTo>
                  <a:lnTo>
                    <a:pt x="1534" y="14967"/>
                  </a:lnTo>
                  <a:lnTo>
                    <a:pt x="1491" y="14943"/>
                  </a:lnTo>
                  <a:lnTo>
                    <a:pt x="1450" y="14917"/>
                  </a:lnTo>
                  <a:lnTo>
                    <a:pt x="1411" y="14889"/>
                  </a:lnTo>
                  <a:lnTo>
                    <a:pt x="1373" y="14859"/>
                  </a:lnTo>
                  <a:lnTo>
                    <a:pt x="1336" y="14828"/>
                  </a:lnTo>
                  <a:lnTo>
                    <a:pt x="1301" y="14794"/>
                  </a:lnTo>
                  <a:lnTo>
                    <a:pt x="1268" y="14759"/>
                  </a:lnTo>
                  <a:lnTo>
                    <a:pt x="1237" y="14723"/>
                  </a:lnTo>
                  <a:lnTo>
                    <a:pt x="1207" y="14685"/>
                  </a:lnTo>
                  <a:lnTo>
                    <a:pt x="1178" y="14645"/>
                  </a:lnTo>
                  <a:lnTo>
                    <a:pt x="1152" y="14604"/>
                  </a:lnTo>
                  <a:lnTo>
                    <a:pt x="1128" y="14562"/>
                  </a:lnTo>
                  <a:lnTo>
                    <a:pt x="1106" y="14519"/>
                  </a:lnTo>
                  <a:lnTo>
                    <a:pt x="1086" y="14474"/>
                  </a:lnTo>
                  <a:lnTo>
                    <a:pt x="1068" y="14428"/>
                  </a:lnTo>
                  <a:lnTo>
                    <a:pt x="1052" y="14382"/>
                  </a:lnTo>
                  <a:lnTo>
                    <a:pt x="1039" y="14334"/>
                  </a:lnTo>
                  <a:lnTo>
                    <a:pt x="1027" y="14285"/>
                  </a:lnTo>
                  <a:lnTo>
                    <a:pt x="1018" y="14236"/>
                  </a:lnTo>
                  <a:lnTo>
                    <a:pt x="1011" y="14186"/>
                  </a:lnTo>
                  <a:lnTo>
                    <a:pt x="1007" y="14134"/>
                  </a:lnTo>
                  <a:lnTo>
                    <a:pt x="1006" y="14083"/>
                  </a:lnTo>
                  <a:lnTo>
                    <a:pt x="1006" y="2012"/>
                  </a:lnTo>
                  <a:lnTo>
                    <a:pt x="1007" y="1961"/>
                  </a:lnTo>
                  <a:lnTo>
                    <a:pt x="1011" y="1909"/>
                  </a:lnTo>
                  <a:lnTo>
                    <a:pt x="1018" y="1859"/>
                  </a:lnTo>
                  <a:lnTo>
                    <a:pt x="1027" y="1810"/>
                  </a:lnTo>
                  <a:lnTo>
                    <a:pt x="1039" y="1760"/>
                  </a:lnTo>
                  <a:lnTo>
                    <a:pt x="1052" y="1713"/>
                  </a:lnTo>
                  <a:lnTo>
                    <a:pt x="1068" y="1667"/>
                  </a:lnTo>
                  <a:lnTo>
                    <a:pt x="1086" y="1621"/>
                  </a:lnTo>
                  <a:lnTo>
                    <a:pt x="1106" y="1576"/>
                  </a:lnTo>
                  <a:lnTo>
                    <a:pt x="1128" y="1533"/>
                  </a:lnTo>
                  <a:lnTo>
                    <a:pt x="1152" y="1491"/>
                  </a:lnTo>
                  <a:lnTo>
                    <a:pt x="1178" y="1450"/>
                  </a:lnTo>
                  <a:lnTo>
                    <a:pt x="1207" y="1410"/>
                  </a:lnTo>
                  <a:lnTo>
                    <a:pt x="1237" y="1372"/>
                  </a:lnTo>
                  <a:lnTo>
                    <a:pt x="1268" y="1336"/>
                  </a:lnTo>
                  <a:lnTo>
                    <a:pt x="1301" y="1301"/>
                  </a:lnTo>
                  <a:lnTo>
                    <a:pt x="1336" y="1267"/>
                  </a:lnTo>
                  <a:lnTo>
                    <a:pt x="1373" y="1236"/>
                  </a:lnTo>
                  <a:lnTo>
                    <a:pt x="1411" y="1206"/>
                  </a:lnTo>
                  <a:lnTo>
                    <a:pt x="1450" y="1178"/>
                  </a:lnTo>
                  <a:lnTo>
                    <a:pt x="1491" y="1152"/>
                  </a:lnTo>
                  <a:lnTo>
                    <a:pt x="1534" y="1128"/>
                  </a:lnTo>
                  <a:lnTo>
                    <a:pt x="1577" y="1106"/>
                  </a:lnTo>
                  <a:lnTo>
                    <a:pt x="1621" y="1085"/>
                  </a:lnTo>
                  <a:lnTo>
                    <a:pt x="1667" y="1067"/>
                  </a:lnTo>
                  <a:lnTo>
                    <a:pt x="1714" y="1051"/>
                  </a:lnTo>
                  <a:lnTo>
                    <a:pt x="1761" y="1038"/>
                  </a:lnTo>
                  <a:lnTo>
                    <a:pt x="1811" y="1026"/>
                  </a:lnTo>
                  <a:lnTo>
                    <a:pt x="1860" y="1018"/>
                  </a:lnTo>
                  <a:lnTo>
                    <a:pt x="1910" y="1011"/>
                  </a:lnTo>
                  <a:lnTo>
                    <a:pt x="1961" y="1007"/>
                  </a:lnTo>
                  <a:lnTo>
                    <a:pt x="2013" y="1006"/>
                  </a:lnTo>
                  <a:lnTo>
                    <a:pt x="13083" y="1006"/>
                  </a:lnTo>
                  <a:lnTo>
                    <a:pt x="13135" y="1007"/>
                  </a:lnTo>
                  <a:lnTo>
                    <a:pt x="13186" y="1011"/>
                  </a:lnTo>
                  <a:lnTo>
                    <a:pt x="13236" y="1018"/>
                  </a:lnTo>
                  <a:lnTo>
                    <a:pt x="13285" y="1026"/>
                  </a:lnTo>
                  <a:lnTo>
                    <a:pt x="13335" y="1038"/>
                  </a:lnTo>
                  <a:lnTo>
                    <a:pt x="13382" y="1051"/>
                  </a:lnTo>
                  <a:lnTo>
                    <a:pt x="13428" y="1067"/>
                  </a:lnTo>
                  <a:lnTo>
                    <a:pt x="13475" y="1085"/>
                  </a:lnTo>
                  <a:lnTo>
                    <a:pt x="13519" y="1106"/>
                  </a:lnTo>
                  <a:lnTo>
                    <a:pt x="13562" y="1128"/>
                  </a:lnTo>
                  <a:lnTo>
                    <a:pt x="13605" y="1152"/>
                  </a:lnTo>
                  <a:lnTo>
                    <a:pt x="13646" y="1178"/>
                  </a:lnTo>
                  <a:lnTo>
                    <a:pt x="13685" y="1206"/>
                  </a:lnTo>
                  <a:lnTo>
                    <a:pt x="13723" y="1236"/>
                  </a:lnTo>
                  <a:lnTo>
                    <a:pt x="13760" y="1267"/>
                  </a:lnTo>
                  <a:lnTo>
                    <a:pt x="13795" y="1301"/>
                  </a:lnTo>
                  <a:lnTo>
                    <a:pt x="13828" y="1336"/>
                  </a:lnTo>
                  <a:lnTo>
                    <a:pt x="13859" y="1372"/>
                  </a:lnTo>
                  <a:lnTo>
                    <a:pt x="13889" y="1410"/>
                  </a:lnTo>
                  <a:lnTo>
                    <a:pt x="13918" y="1450"/>
                  </a:lnTo>
                  <a:lnTo>
                    <a:pt x="13944" y="1491"/>
                  </a:lnTo>
                  <a:lnTo>
                    <a:pt x="13968" y="1533"/>
                  </a:lnTo>
                  <a:lnTo>
                    <a:pt x="13990" y="1576"/>
                  </a:lnTo>
                  <a:lnTo>
                    <a:pt x="14010" y="1621"/>
                  </a:lnTo>
                  <a:lnTo>
                    <a:pt x="14028" y="1667"/>
                  </a:lnTo>
                  <a:lnTo>
                    <a:pt x="14044" y="1713"/>
                  </a:lnTo>
                  <a:lnTo>
                    <a:pt x="14058" y="1760"/>
                  </a:lnTo>
                  <a:lnTo>
                    <a:pt x="14069" y="1810"/>
                  </a:lnTo>
                  <a:lnTo>
                    <a:pt x="14079" y="1859"/>
                  </a:lnTo>
                  <a:lnTo>
                    <a:pt x="14085" y="1909"/>
                  </a:lnTo>
                  <a:lnTo>
                    <a:pt x="14089" y="1961"/>
                  </a:lnTo>
                  <a:lnTo>
                    <a:pt x="14090" y="2012"/>
                  </a:lnTo>
                  <a:lnTo>
                    <a:pt x="14090" y="14083"/>
                  </a:lnTo>
                  <a:close/>
                  <a:moveTo>
                    <a:pt x="13083" y="0"/>
                  </a:moveTo>
                  <a:lnTo>
                    <a:pt x="2013" y="0"/>
                  </a:lnTo>
                  <a:lnTo>
                    <a:pt x="1909" y="3"/>
                  </a:lnTo>
                  <a:lnTo>
                    <a:pt x="1806" y="10"/>
                  </a:lnTo>
                  <a:lnTo>
                    <a:pt x="1706" y="23"/>
                  </a:lnTo>
                  <a:lnTo>
                    <a:pt x="1607" y="41"/>
                  </a:lnTo>
                  <a:lnTo>
                    <a:pt x="1510" y="63"/>
                  </a:lnTo>
                  <a:lnTo>
                    <a:pt x="1414" y="91"/>
                  </a:lnTo>
                  <a:lnTo>
                    <a:pt x="1320" y="122"/>
                  </a:lnTo>
                  <a:lnTo>
                    <a:pt x="1229" y="158"/>
                  </a:lnTo>
                  <a:lnTo>
                    <a:pt x="1140" y="198"/>
                  </a:lnTo>
                  <a:lnTo>
                    <a:pt x="1054" y="242"/>
                  </a:lnTo>
                  <a:lnTo>
                    <a:pt x="969" y="292"/>
                  </a:lnTo>
                  <a:lnTo>
                    <a:pt x="888" y="344"/>
                  </a:lnTo>
                  <a:lnTo>
                    <a:pt x="808" y="399"/>
                  </a:lnTo>
                  <a:lnTo>
                    <a:pt x="733" y="460"/>
                  </a:lnTo>
                  <a:lnTo>
                    <a:pt x="659" y="523"/>
                  </a:lnTo>
                  <a:lnTo>
                    <a:pt x="590" y="589"/>
                  </a:lnTo>
                  <a:lnTo>
                    <a:pt x="523" y="659"/>
                  </a:lnTo>
                  <a:lnTo>
                    <a:pt x="460" y="732"/>
                  </a:lnTo>
                  <a:lnTo>
                    <a:pt x="400" y="808"/>
                  </a:lnTo>
                  <a:lnTo>
                    <a:pt x="344" y="887"/>
                  </a:lnTo>
                  <a:lnTo>
                    <a:pt x="292" y="969"/>
                  </a:lnTo>
                  <a:lnTo>
                    <a:pt x="243" y="1053"/>
                  </a:lnTo>
                  <a:lnTo>
                    <a:pt x="198" y="1140"/>
                  </a:lnTo>
                  <a:lnTo>
                    <a:pt x="158" y="1229"/>
                  </a:lnTo>
                  <a:lnTo>
                    <a:pt x="122" y="1320"/>
                  </a:lnTo>
                  <a:lnTo>
                    <a:pt x="91" y="1413"/>
                  </a:lnTo>
                  <a:lnTo>
                    <a:pt x="63" y="1509"/>
                  </a:lnTo>
                  <a:lnTo>
                    <a:pt x="41" y="1606"/>
                  </a:lnTo>
                  <a:lnTo>
                    <a:pt x="23" y="1705"/>
                  </a:lnTo>
                  <a:lnTo>
                    <a:pt x="10" y="1807"/>
                  </a:lnTo>
                  <a:lnTo>
                    <a:pt x="3" y="1908"/>
                  </a:lnTo>
                  <a:lnTo>
                    <a:pt x="0" y="2012"/>
                  </a:lnTo>
                  <a:lnTo>
                    <a:pt x="0" y="14083"/>
                  </a:lnTo>
                  <a:lnTo>
                    <a:pt x="3" y="14187"/>
                  </a:lnTo>
                  <a:lnTo>
                    <a:pt x="10" y="14289"/>
                  </a:lnTo>
                  <a:lnTo>
                    <a:pt x="23" y="14390"/>
                  </a:lnTo>
                  <a:lnTo>
                    <a:pt x="41" y="14489"/>
                  </a:lnTo>
                  <a:lnTo>
                    <a:pt x="63" y="14586"/>
                  </a:lnTo>
                  <a:lnTo>
                    <a:pt x="91" y="14682"/>
                  </a:lnTo>
                  <a:lnTo>
                    <a:pt x="122" y="14775"/>
                  </a:lnTo>
                  <a:lnTo>
                    <a:pt x="158" y="14867"/>
                  </a:lnTo>
                  <a:lnTo>
                    <a:pt x="198" y="14955"/>
                  </a:lnTo>
                  <a:lnTo>
                    <a:pt x="243" y="15042"/>
                  </a:lnTo>
                  <a:lnTo>
                    <a:pt x="292" y="15126"/>
                  </a:lnTo>
                  <a:lnTo>
                    <a:pt x="344" y="15208"/>
                  </a:lnTo>
                  <a:lnTo>
                    <a:pt x="400" y="15287"/>
                  </a:lnTo>
                  <a:lnTo>
                    <a:pt x="460" y="15363"/>
                  </a:lnTo>
                  <a:lnTo>
                    <a:pt x="523" y="15436"/>
                  </a:lnTo>
                  <a:lnTo>
                    <a:pt x="590" y="15506"/>
                  </a:lnTo>
                  <a:lnTo>
                    <a:pt x="659" y="15572"/>
                  </a:lnTo>
                  <a:lnTo>
                    <a:pt x="733" y="15635"/>
                  </a:lnTo>
                  <a:lnTo>
                    <a:pt x="808" y="15696"/>
                  </a:lnTo>
                  <a:lnTo>
                    <a:pt x="888" y="15751"/>
                  </a:lnTo>
                  <a:lnTo>
                    <a:pt x="969" y="15803"/>
                  </a:lnTo>
                  <a:lnTo>
                    <a:pt x="1054" y="15853"/>
                  </a:lnTo>
                  <a:lnTo>
                    <a:pt x="1140" y="15897"/>
                  </a:lnTo>
                  <a:lnTo>
                    <a:pt x="1229" y="15937"/>
                  </a:lnTo>
                  <a:lnTo>
                    <a:pt x="1320" y="15973"/>
                  </a:lnTo>
                  <a:lnTo>
                    <a:pt x="1414" y="16004"/>
                  </a:lnTo>
                  <a:lnTo>
                    <a:pt x="1510" y="16032"/>
                  </a:lnTo>
                  <a:lnTo>
                    <a:pt x="1607" y="16054"/>
                  </a:lnTo>
                  <a:lnTo>
                    <a:pt x="1706" y="16072"/>
                  </a:lnTo>
                  <a:lnTo>
                    <a:pt x="1806" y="16085"/>
                  </a:lnTo>
                  <a:lnTo>
                    <a:pt x="1909" y="16092"/>
                  </a:lnTo>
                  <a:lnTo>
                    <a:pt x="2013" y="16095"/>
                  </a:lnTo>
                  <a:lnTo>
                    <a:pt x="13083" y="16095"/>
                  </a:lnTo>
                  <a:lnTo>
                    <a:pt x="13187" y="16092"/>
                  </a:lnTo>
                  <a:lnTo>
                    <a:pt x="13289" y="16085"/>
                  </a:lnTo>
                  <a:lnTo>
                    <a:pt x="13390" y="16072"/>
                  </a:lnTo>
                  <a:lnTo>
                    <a:pt x="13489" y="16054"/>
                  </a:lnTo>
                  <a:lnTo>
                    <a:pt x="13586" y="16032"/>
                  </a:lnTo>
                  <a:lnTo>
                    <a:pt x="13682" y="16004"/>
                  </a:lnTo>
                  <a:lnTo>
                    <a:pt x="13776" y="15973"/>
                  </a:lnTo>
                  <a:lnTo>
                    <a:pt x="13866" y="15937"/>
                  </a:lnTo>
                  <a:lnTo>
                    <a:pt x="13956" y="15897"/>
                  </a:lnTo>
                  <a:lnTo>
                    <a:pt x="14042" y="15853"/>
                  </a:lnTo>
                  <a:lnTo>
                    <a:pt x="14127" y="15803"/>
                  </a:lnTo>
                  <a:lnTo>
                    <a:pt x="14208" y="15751"/>
                  </a:lnTo>
                  <a:lnTo>
                    <a:pt x="14288" y="15696"/>
                  </a:lnTo>
                  <a:lnTo>
                    <a:pt x="14363" y="15635"/>
                  </a:lnTo>
                  <a:lnTo>
                    <a:pt x="14437" y="15572"/>
                  </a:lnTo>
                  <a:lnTo>
                    <a:pt x="14506" y="15506"/>
                  </a:lnTo>
                  <a:lnTo>
                    <a:pt x="14573" y="15436"/>
                  </a:lnTo>
                  <a:lnTo>
                    <a:pt x="14636" y="15363"/>
                  </a:lnTo>
                  <a:lnTo>
                    <a:pt x="14696" y="15287"/>
                  </a:lnTo>
                  <a:lnTo>
                    <a:pt x="14752" y="15208"/>
                  </a:lnTo>
                  <a:lnTo>
                    <a:pt x="14804" y="15126"/>
                  </a:lnTo>
                  <a:lnTo>
                    <a:pt x="14853" y="15042"/>
                  </a:lnTo>
                  <a:lnTo>
                    <a:pt x="14898" y="14955"/>
                  </a:lnTo>
                  <a:lnTo>
                    <a:pt x="14938" y="14867"/>
                  </a:lnTo>
                  <a:lnTo>
                    <a:pt x="14974" y="14775"/>
                  </a:lnTo>
                  <a:lnTo>
                    <a:pt x="15005" y="14682"/>
                  </a:lnTo>
                  <a:lnTo>
                    <a:pt x="15033" y="14586"/>
                  </a:lnTo>
                  <a:lnTo>
                    <a:pt x="15055" y="14489"/>
                  </a:lnTo>
                  <a:lnTo>
                    <a:pt x="15073" y="14390"/>
                  </a:lnTo>
                  <a:lnTo>
                    <a:pt x="15086" y="14289"/>
                  </a:lnTo>
                  <a:lnTo>
                    <a:pt x="15093" y="14187"/>
                  </a:lnTo>
                  <a:lnTo>
                    <a:pt x="15096" y="14083"/>
                  </a:lnTo>
                  <a:lnTo>
                    <a:pt x="15096" y="2012"/>
                  </a:lnTo>
                  <a:lnTo>
                    <a:pt x="15093" y="1908"/>
                  </a:lnTo>
                  <a:lnTo>
                    <a:pt x="15086" y="1807"/>
                  </a:lnTo>
                  <a:lnTo>
                    <a:pt x="15073" y="1705"/>
                  </a:lnTo>
                  <a:lnTo>
                    <a:pt x="15055" y="1606"/>
                  </a:lnTo>
                  <a:lnTo>
                    <a:pt x="15033" y="1509"/>
                  </a:lnTo>
                  <a:lnTo>
                    <a:pt x="15005" y="1413"/>
                  </a:lnTo>
                  <a:lnTo>
                    <a:pt x="14974" y="1320"/>
                  </a:lnTo>
                  <a:lnTo>
                    <a:pt x="14938" y="1229"/>
                  </a:lnTo>
                  <a:lnTo>
                    <a:pt x="14898" y="1140"/>
                  </a:lnTo>
                  <a:lnTo>
                    <a:pt x="14853" y="1053"/>
                  </a:lnTo>
                  <a:lnTo>
                    <a:pt x="14804" y="969"/>
                  </a:lnTo>
                  <a:lnTo>
                    <a:pt x="14752" y="887"/>
                  </a:lnTo>
                  <a:lnTo>
                    <a:pt x="14696" y="808"/>
                  </a:lnTo>
                  <a:lnTo>
                    <a:pt x="14636" y="732"/>
                  </a:lnTo>
                  <a:lnTo>
                    <a:pt x="14573" y="659"/>
                  </a:lnTo>
                  <a:lnTo>
                    <a:pt x="14506" y="589"/>
                  </a:lnTo>
                  <a:lnTo>
                    <a:pt x="14437" y="523"/>
                  </a:lnTo>
                  <a:lnTo>
                    <a:pt x="14363" y="460"/>
                  </a:lnTo>
                  <a:lnTo>
                    <a:pt x="14288" y="399"/>
                  </a:lnTo>
                  <a:lnTo>
                    <a:pt x="14208" y="344"/>
                  </a:lnTo>
                  <a:lnTo>
                    <a:pt x="14127" y="292"/>
                  </a:lnTo>
                  <a:lnTo>
                    <a:pt x="14042" y="242"/>
                  </a:lnTo>
                  <a:lnTo>
                    <a:pt x="13956" y="198"/>
                  </a:lnTo>
                  <a:lnTo>
                    <a:pt x="13866" y="158"/>
                  </a:lnTo>
                  <a:lnTo>
                    <a:pt x="13776" y="122"/>
                  </a:lnTo>
                  <a:lnTo>
                    <a:pt x="13682" y="91"/>
                  </a:lnTo>
                  <a:lnTo>
                    <a:pt x="13586" y="63"/>
                  </a:lnTo>
                  <a:lnTo>
                    <a:pt x="13489" y="41"/>
                  </a:lnTo>
                  <a:lnTo>
                    <a:pt x="13390" y="23"/>
                  </a:lnTo>
                  <a:lnTo>
                    <a:pt x="13289" y="10"/>
                  </a:lnTo>
                  <a:lnTo>
                    <a:pt x="13187" y="3"/>
                  </a:lnTo>
                  <a:lnTo>
                    <a:pt x="1308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84" name="íṩlïḑe">
              <a:extLst>
                <a:ext uri="{FF2B5EF4-FFF2-40B4-BE49-F238E27FC236}">
                  <a16:creationId xmlns:a16="http://schemas.microsoft.com/office/drawing/2014/main" id="{B7095DE3-BB55-442B-B42D-BEA9966191EA}"/>
                </a:ext>
              </a:extLst>
            </p:cNvPr>
            <p:cNvSpPr/>
            <p:nvPr/>
          </p:nvSpPr>
          <p:spPr bwMode="auto">
            <a:xfrm>
              <a:off x="5321910" y="1478433"/>
              <a:ext cx="274706" cy="249066"/>
            </a:xfrm>
            <a:custGeom>
              <a:avLst/>
              <a:gdLst>
                <a:gd name="T0" fmla="*/ 10567 w 11070"/>
                <a:gd name="T1" fmla="*/ 8239 h 10059"/>
                <a:gd name="T2" fmla="*/ 2516 w 11070"/>
                <a:gd name="T3" fmla="*/ 3018 h 10059"/>
                <a:gd name="T4" fmla="*/ 503 w 11070"/>
                <a:gd name="T5" fmla="*/ 9556 h 10059"/>
                <a:gd name="T6" fmla="*/ 8932 w 11070"/>
                <a:gd name="T7" fmla="*/ 5703 h 10059"/>
                <a:gd name="T8" fmla="*/ 8852 w 11070"/>
                <a:gd name="T9" fmla="*/ 5630 h 10059"/>
                <a:gd name="T10" fmla="*/ 8762 w 11070"/>
                <a:gd name="T11" fmla="*/ 5577 h 10059"/>
                <a:gd name="T12" fmla="*/ 8661 w 11070"/>
                <a:gd name="T13" fmla="*/ 5544 h 10059"/>
                <a:gd name="T14" fmla="*/ 8554 w 11070"/>
                <a:gd name="T15" fmla="*/ 5533 h 10059"/>
                <a:gd name="T16" fmla="*/ 8448 w 11070"/>
                <a:gd name="T17" fmla="*/ 5544 h 10059"/>
                <a:gd name="T18" fmla="*/ 8347 w 11070"/>
                <a:gd name="T19" fmla="*/ 5577 h 10059"/>
                <a:gd name="T20" fmla="*/ 8256 w 11070"/>
                <a:gd name="T21" fmla="*/ 5630 h 10059"/>
                <a:gd name="T22" fmla="*/ 8177 w 11070"/>
                <a:gd name="T23" fmla="*/ 5703 h 10059"/>
                <a:gd name="T24" fmla="*/ 2856 w 11070"/>
                <a:gd name="T25" fmla="*/ 2646 h 10059"/>
                <a:gd name="T26" fmla="*/ 2769 w 11070"/>
                <a:gd name="T27" fmla="*/ 2583 h 10059"/>
                <a:gd name="T28" fmla="*/ 2674 w 11070"/>
                <a:gd name="T29" fmla="*/ 2540 h 10059"/>
                <a:gd name="T30" fmla="*/ 2570 w 11070"/>
                <a:gd name="T31" fmla="*/ 2518 h 10059"/>
                <a:gd name="T32" fmla="*/ 2462 w 11070"/>
                <a:gd name="T33" fmla="*/ 2518 h 10059"/>
                <a:gd name="T34" fmla="*/ 2358 w 11070"/>
                <a:gd name="T35" fmla="*/ 2540 h 10059"/>
                <a:gd name="T36" fmla="*/ 2262 w 11070"/>
                <a:gd name="T37" fmla="*/ 2583 h 10059"/>
                <a:gd name="T38" fmla="*/ 2177 w 11070"/>
                <a:gd name="T39" fmla="*/ 2646 h 10059"/>
                <a:gd name="T40" fmla="*/ 503 w 11070"/>
                <a:gd name="T41" fmla="*/ 503 h 10059"/>
                <a:gd name="T42" fmla="*/ 477 w 11070"/>
                <a:gd name="T43" fmla="*/ 1 h 10059"/>
                <a:gd name="T44" fmla="*/ 377 w 11070"/>
                <a:gd name="T45" fmla="*/ 16 h 10059"/>
                <a:gd name="T46" fmla="*/ 285 w 11070"/>
                <a:gd name="T47" fmla="*/ 49 h 10059"/>
                <a:gd name="T48" fmla="*/ 202 w 11070"/>
                <a:gd name="T49" fmla="*/ 99 h 10059"/>
                <a:gd name="T50" fmla="*/ 131 w 11070"/>
                <a:gd name="T51" fmla="*/ 165 h 10059"/>
                <a:gd name="T52" fmla="*/ 72 w 11070"/>
                <a:gd name="T53" fmla="*/ 242 h 10059"/>
                <a:gd name="T54" fmla="*/ 30 w 11070"/>
                <a:gd name="T55" fmla="*/ 330 h 10059"/>
                <a:gd name="T56" fmla="*/ 6 w 11070"/>
                <a:gd name="T57" fmla="*/ 426 h 10059"/>
                <a:gd name="T58" fmla="*/ 0 w 11070"/>
                <a:gd name="T59" fmla="*/ 9556 h 10059"/>
                <a:gd name="T60" fmla="*/ 10 w 11070"/>
                <a:gd name="T61" fmla="*/ 9658 h 10059"/>
                <a:gd name="T62" fmla="*/ 39 w 11070"/>
                <a:gd name="T63" fmla="*/ 9752 h 10059"/>
                <a:gd name="T64" fmla="*/ 85 w 11070"/>
                <a:gd name="T65" fmla="*/ 9838 h 10059"/>
                <a:gd name="T66" fmla="*/ 147 w 11070"/>
                <a:gd name="T67" fmla="*/ 9912 h 10059"/>
                <a:gd name="T68" fmla="*/ 221 w 11070"/>
                <a:gd name="T69" fmla="*/ 9974 h 10059"/>
                <a:gd name="T70" fmla="*/ 307 w 11070"/>
                <a:gd name="T71" fmla="*/ 10020 h 10059"/>
                <a:gd name="T72" fmla="*/ 401 w 11070"/>
                <a:gd name="T73" fmla="*/ 10049 h 10059"/>
                <a:gd name="T74" fmla="*/ 503 w 11070"/>
                <a:gd name="T75" fmla="*/ 10059 h 10059"/>
                <a:gd name="T76" fmla="*/ 10643 w 11070"/>
                <a:gd name="T77" fmla="*/ 10053 h 10059"/>
                <a:gd name="T78" fmla="*/ 10740 w 11070"/>
                <a:gd name="T79" fmla="*/ 10029 h 10059"/>
                <a:gd name="T80" fmla="*/ 10829 w 11070"/>
                <a:gd name="T81" fmla="*/ 9987 h 10059"/>
                <a:gd name="T82" fmla="*/ 10905 w 11070"/>
                <a:gd name="T83" fmla="*/ 9928 h 10059"/>
                <a:gd name="T84" fmla="*/ 10971 w 11070"/>
                <a:gd name="T85" fmla="*/ 9857 h 10059"/>
                <a:gd name="T86" fmla="*/ 11021 w 11070"/>
                <a:gd name="T87" fmla="*/ 9775 h 10059"/>
                <a:gd name="T88" fmla="*/ 11054 w 11070"/>
                <a:gd name="T89" fmla="*/ 9682 h 10059"/>
                <a:gd name="T90" fmla="*/ 11069 w 11070"/>
                <a:gd name="T91" fmla="*/ 9582 h 10059"/>
                <a:gd name="T92" fmla="*/ 11068 w 11070"/>
                <a:gd name="T93" fmla="*/ 452 h 10059"/>
                <a:gd name="T94" fmla="*/ 11048 w 11070"/>
                <a:gd name="T95" fmla="*/ 353 h 10059"/>
                <a:gd name="T96" fmla="*/ 11010 w 11070"/>
                <a:gd name="T97" fmla="*/ 263 h 10059"/>
                <a:gd name="T98" fmla="*/ 10955 w 11070"/>
                <a:gd name="T99" fmla="*/ 183 h 10059"/>
                <a:gd name="T100" fmla="*/ 10887 w 11070"/>
                <a:gd name="T101" fmla="*/ 115 h 10059"/>
                <a:gd name="T102" fmla="*/ 10808 w 11070"/>
                <a:gd name="T103" fmla="*/ 60 h 10059"/>
                <a:gd name="T104" fmla="*/ 10717 w 11070"/>
                <a:gd name="T105" fmla="*/ 22 h 10059"/>
                <a:gd name="T106" fmla="*/ 10618 w 11070"/>
                <a:gd name="T107" fmla="*/ 3 h 10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070" h="10059">
                  <a:moveTo>
                    <a:pt x="8928" y="9556"/>
                  </a:moveTo>
                  <a:lnTo>
                    <a:pt x="7203" y="7568"/>
                  </a:lnTo>
                  <a:lnTo>
                    <a:pt x="8554" y="6036"/>
                  </a:lnTo>
                  <a:lnTo>
                    <a:pt x="10567" y="8239"/>
                  </a:lnTo>
                  <a:lnTo>
                    <a:pt x="10567" y="9556"/>
                  </a:lnTo>
                  <a:lnTo>
                    <a:pt x="8928" y="9556"/>
                  </a:lnTo>
                  <a:close/>
                  <a:moveTo>
                    <a:pt x="503" y="5330"/>
                  </a:moveTo>
                  <a:lnTo>
                    <a:pt x="2516" y="3018"/>
                  </a:lnTo>
                  <a:lnTo>
                    <a:pt x="6575" y="7616"/>
                  </a:lnTo>
                  <a:lnTo>
                    <a:pt x="6866" y="7948"/>
                  </a:lnTo>
                  <a:lnTo>
                    <a:pt x="8256" y="9556"/>
                  </a:lnTo>
                  <a:lnTo>
                    <a:pt x="503" y="9556"/>
                  </a:lnTo>
                  <a:lnTo>
                    <a:pt x="503" y="5330"/>
                  </a:lnTo>
                  <a:close/>
                  <a:moveTo>
                    <a:pt x="10567" y="503"/>
                  </a:moveTo>
                  <a:lnTo>
                    <a:pt x="10567" y="7479"/>
                  </a:lnTo>
                  <a:lnTo>
                    <a:pt x="8932" y="5703"/>
                  </a:lnTo>
                  <a:lnTo>
                    <a:pt x="8913" y="5682"/>
                  </a:lnTo>
                  <a:lnTo>
                    <a:pt x="8894" y="5664"/>
                  </a:lnTo>
                  <a:lnTo>
                    <a:pt x="8873" y="5647"/>
                  </a:lnTo>
                  <a:lnTo>
                    <a:pt x="8852" y="5630"/>
                  </a:lnTo>
                  <a:lnTo>
                    <a:pt x="8831" y="5615"/>
                  </a:lnTo>
                  <a:lnTo>
                    <a:pt x="8808" y="5601"/>
                  </a:lnTo>
                  <a:lnTo>
                    <a:pt x="8785" y="5589"/>
                  </a:lnTo>
                  <a:lnTo>
                    <a:pt x="8762" y="5577"/>
                  </a:lnTo>
                  <a:lnTo>
                    <a:pt x="8736" y="5567"/>
                  </a:lnTo>
                  <a:lnTo>
                    <a:pt x="8712" y="5558"/>
                  </a:lnTo>
                  <a:lnTo>
                    <a:pt x="8686" y="5551"/>
                  </a:lnTo>
                  <a:lnTo>
                    <a:pt x="8661" y="5544"/>
                  </a:lnTo>
                  <a:lnTo>
                    <a:pt x="8635" y="5539"/>
                  </a:lnTo>
                  <a:lnTo>
                    <a:pt x="8608" y="5536"/>
                  </a:lnTo>
                  <a:lnTo>
                    <a:pt x="8581" y="5534"/>
                  </a:lnTo>
                  <a:lnTo>
                    <a:pt x="8554" y="5533"/>
                  </a:lnTo>
                  <a:lnTo>
                    <a:pt x="8527" y="5534"/>
                  </a:lnTo>
                  <a:lnTo>
                    <a:pt x="8501" y="5536"/>
                  </a:lnTo>
                  <a:lnTo>
                    <a:pt x="8474" y="5539"/>
                  </a:lnTo>
                  <a:lnTo>
                    <a:pt x="8448" y="5544"/>
                  </a:lnTo>
                  <a:lnTo>
                    <a:pt x="8422" y="5551"/>
                  </a:lnTo>
                  <a:lnTo>
                    <a:pt x="8396" y="5558"/>
                  </a:lnTo>
                  <a:lnTo>
                    <a:pt x="8372" y="5567"/>
                  </a:lnTo>
                  <a:lnTo>
                    <a:pt x="8347" y="5577"/>
                  </a:lnTo>
                  <a:lnTo>
                    <a:pt x="8324" y="5589"/>
                  </a:lnTo>
                  <a:lnTo>
                    <a:pt x="8301" y="5601"/>
                  </a:lnTo>
                  <a:lnTo>
                    <a:pt x="8277" y="5615"/>
                  </a:lnTo>
                  <a:lnTo>
                    <a:pt x="8256" y="5630"/>
                  </a:lnTo>
                  <a:lnTo>
                    <a:pt x="8235" y="5647"/>
                  </a:lnTo>
                  <a:lnTo>
                    <a:pt x="8215" y="5664"/>
                  </a:lnTo>
                  <a:lnTo>
                    <a:pt x="8195" y="5682"/>
                  </a:lnTo>
                  <a:lnTo>
                    <a:pt x="8177" y="5703"/>
                  </a:lnTo>
                  <a:lnTo>
                    <a:pt x="6867" y="7187"/>
                  </a:lnTo>
                  <a:lnTo>
                    <a:pt x="2893" y="2685"/>
                  </a:lnTo>
                  <a:lnTo>
                    <a:pt x="2875" y="2665"/>
                  </a:lnTo>
                  <a:lnTo>
                    <a:pt x="2856" y="2646"/>
                  </a:lnTo>
                  <a:lnTo>
                    <a:pt x="2835" y="2629"/>
                  </a:lnTo>
                  <a:lnTo>
                    <a:pt x="2814" y="2612"/>
                  </a:lnTo>
                  <a:lnTo>
                    <a:pt x="2793" y="2597"/>
                  </a:lnTo>
                  <a:lnTo>
                    <a:pt x="2769" y="2583"/>
                  </a:lnTo>
                  <a:lnTo>
                    <a:pt x="2746" y="2571"/>
                  </a:lnTo>
                  <a:lnTo>
                    <a:pt x="2723" y="2559"/>
                  </a:lnTo>
                  <a:lnTo>
                    <a:pt x="2698" y="2549"/>
                  </a:lnTo>
                  <a:lnTo>
                    <a:pt x="2674" y="2540"/>
                  </a:lnTo>
                  <a:lnTo>
                    <a:pt x="2648" y="2533"/>
                  </a:lnTo>
                  <a:lnTo>
                    <a:pt x="2622" y="2526"/>
                  </a:lnTo>
                  <a:lnTo>
                    <a:pt x="2596" y="2521"/>
                  </a:lnTo>
                  <a:lnTo>
                    <a:pt x="2570" y="2518"/>
                  </a:lnTo>
                  <a:lnTo>
                    <a:pt x="2543" y="2516"/>
                  </a:lnTo>
                  <a:lnTo>
                    <a:pt x="2516" y="2515"/>
                  </a:lnTo>
                  <a:lnTo>
                    <a:pt x="2489" y="2516"/>
                  </a:lnTo>
                  <a:lnTo>
                    <a:pt x="2462" y="2518"/>
                  </a:lnTo>
                  <a:lnTo>
                    <a:pt x="2435" y="2521"/>
                  </a:lnTo>
                  <a:lnTo>
                    <a:pt x="2409" y="2526"/>
                  </a:lnTo>
                  <a:lnTo>
                    <a:pt x="2384" y="2533"/>
                  </a:lnTo>
                  <a:lnTo>
                    <a:pt x="2358" y="2540"/>
                  </a:lnTo>
                  <a:lnTo>
                    <a:pt x="2334" y="2549"/>
                  </a:lnTo>
                  <a:lnTo>
                    <a:pt x="2308" y="2559"/>
                  </a:lnTo>
                  <a:lnTo>
                    <a:pt x="2285" y="2571"/>
                  </a:lnTo>
                  <a:lnTo>
                    <a:pt x="2262" y="2583"/>
                  </a:lnTo>
                  <a:lnTo>
                    <a:pt x="2239" y="2597"/>
                  </a:lnTo>
                  <a:lnTo>
                    <a:pt x="2218" y="2612"/>
                  </a:lnTo>
                  <a:lnTo>
                    <a:pt x="2197" y="2629"/>
                  </a:lnTo>
                  <a:lnTo>
                    <a:pt x="2177" y="2646"/>
                  </a:lnTo>
                  <a:lnTo>
                    <a:pt x="2157" y="2665"/>
                  </a:lnTo>
                  <a:lnTo>
                    <a:pt x="2138" y="2685"/>
                  </a:lnTo>
                  <a:lnTo>
                    <a:pt x="503" y="4570"/>
                  </a:lnTo>
                  <a:lnTo>
                    <a:pt x="503" y="503"/>
                  </a:lnTo>
                  <a:lnTo>
                    <a:pt x="10567" y="503"/>
                  </a:lnTo>
                  <a:close/>
                  <a:moveTo>
                    <a:pt x="10567" y="0"/>
                  </a:moveTo>
                  <a:lnTo>
                    <a:pt x="503" y="0"/>
                  </a:lnTo>
                  <a:lnTo>
                    <a:pt x="477" y="1"/>
                  </a:lnTo>
                  <a:lnTo>
                    <a:pt x="452" y="3"/>
                  </a:lnTo>
                  <a:lnTo>
                    <a:pt x="427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5" y="49"/>
                  </a:lnTo>
                  <a:lnTo>
                    <a:pt x="263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99" y="202"/>
                  </a:lnTo>
                  <a:lnTo>
                    <a:pt x="85" y="221"/>
                  </a:lnTo>
                  <a:lnTo>
                    <a:pt x="72" y="242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3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0" y="9556"/>
                  </a:lnTo>
                  <a:lnTo>
                    <a:pt x="1" y="9582"/>
                  </a:lnTo>
                  <a:lnTo>
                    <a:pt x="3" y="9608"/>
                  </a:lnTo>
                  <a:lnTo>
                    <a:pt x="6" y="9633"/>
                  </a:lnTo>
                  <a:lnTo>
                    <a:pt x="10" y="9658"/>
                  </a:lnTo>
                  <a:lnTo>
                    <a:pt x="16" y="9682"/>
                  </a:lnTo>
                  <a:lnTo>
                    <a:pt x="23" y="9706"/>
                  </a:lnTo>
                  <a:lnTo>
                    <a:pt x="30" y="9729"/>
                  </a:lnTo>
                  <a:lnTo>
                    <a:pt x="39" y="9752"/>
                  </a:lnTo>
                  <a:lnTo>
                    <a:pt x="49" y="9775"/>
                  </a:lnTo>
                  <a:lnTo>
                    <a:pt x="60" y="9797"/>
                  </a:lnTo>
                  <a:lnTo>
                    <a:pt x="72" y="9817"/>
                  </a:lnTo>
                  <a:lnTo>
                    <a:pt x="85" y="9838"/>
                  </a:lnTo>
                  <a:lnTo>
                    <a:pt x="99" y="9857"/>
                  </a:lnTo>
                  <a:lnTo>
                    <a:pt x="115" y="9876"/>
                  </a:lnTo>
                  <a:lnTo>
                    <a:pt x="131" y="9894"/>
                  </a:lnTo>
                  <a:lnTo>
                    <a:pt x="147" y="9912"/>
                  </a:lnTo>
                  <a:lnTo>
                    <a:pt x="165" y="9928"/>
                  </a:lnTo>
                  <a:lnTo>
                    <a:pt x="183" y="9945"/>
                  </a:lnTo>
                  <a:lnTo>
                    <a:pt x="202" y="9960"/>
                  </a:lnTo>
                  <a:lnTo>
                    <a:pt x="221" y="9974"/>
                  </a:lnTo>
                  <a:lnTo>
                    <a:pt x="242" y="9987"/>
                  </a:lnTo>
                  <a:lnTo>
                    <a:pt x="263" y="9999"/>
                  </a:lnTo>
                  <a:lnTo>
                    <a:pt x="285" y="10010"/>
                  </a:lnTo>
                  <a:lnTo>
                    <a:pt x="307" y="10020"/>
                  </a:lnTo>
                  <a:lnTo>
                    <a:pt x="330" y="10029"/>
                  </a:lnTo>
                  <a:lnTo>
                    <a:pt x="353" y="10037"/>
                  </a:lnTo>
                  <a:lnTo>
                    <a:pt x="377" y="10043"/>
                  </a:lnTo>
                  <a:lnTo>
                    <a:pt x="401" y="10049"/>
                  </a:lnTo>
                  <a:lnTo>
                    <a:pt x="427" y="10053"/>
                  </a:lnTo>
                  <a:lnTo>
                    <a:pt x="452" y="10056"/>
                  </a:lnTo>
                  <a:lnTo>
                    <a:pt x="477" y="10058"/>
                  </a:lnTo>
                  <a:lnTo>
                    <a:pt x="503" y="10059"/>
                  </a:lnTo>
                  <a:lnTo>
                    <a:pt x="10567" y="10059"/>
                  </a:lnTo>
                  <a:lnTo>
                    <a:pt x="10593" y="10058"/>
                  </a:lnTo>
                  <a:lnTo>
                    <a:pt x="10618" y="10056"/>
                  </a:lnTo>
                  <a:lnTo>
                    <a:pt x="10643" y="10053"/>
                  </a:lnTo>
                  <a:lnTo>
                    <a:pt x="10669" y="10049"/>
                  </a:lnTo>
                  <a:lnTo>
                    <a:pt x="10693" y="10043"/>
                  </a:lnTo>
                  <a:lnTo>
                    <a:pt x="10717" y="10037"/>
                  </a:lnTo>
                  <a:lnTo>
                    <a:pt x="10740" y="10029"/>
                  </a:lnTo>
                  <a:lnTo>
                    <a:pt x="10763" y="10020"/>
                  </a:lnTo>
                  <a:lnTo>
                    <a:pt x="10785" y="10010"/>
                  </a:lnTo>
                  <a:lnTo>
                    <a:pt x="10808" y="9999"/>
                  </a:lnTo>
                  <a:lnTo>
                    <a:pt x="10829" y="9987"/>
                  </a:lnTo>
                  <a:lnTo>
                    <a:pt x="10849" y="9974"/>
                  </a:lnTo>
                  <a:lnTo>
                    <a:pt x="10868" y="9960"/>
                  </a:lnTo>
                  <a:lnTo>
                    <a:pt x="10887" y="9945"/>
                  </a:lnTo>
                  <a:lnTo>
                    <a:pt x="10905" y="9928"/>
                  </a:lnTo>
                  <a:lnTo>
                    <a:pt x="10923" y="9912"/>
                  </a:lnTo>
                  <a:lnTo>
                    <a:pt x="10939" y="9894"/>
                  </a:lnTo>
                  <a:lnTo>
                    <a:pt x="10955" y="9876"/>
                  </a:lnTo>
                  <a:lnTo>
                    <a:pt x="10971" y="9857"/>
                  </a:lnTo>
                  <a:lnTo>
                    <a:pt x="10985" y="9838"/>
                  </a:lnTo>
                  <a:lnTo>
                    <a:pt x="10998" y="9817"/>
                  </a:lnTo>
                  <a:lnTo>
                    <a:pt x="11010" y="9797"/>
                  </a:lnTo>
                  <a:lnTo>
                    <a:pt x="11021" y="9775"/>
                  </a:lnTo>
                  <a:lnTo>
                    <a:pt x="11031" y="9752"/>
                  </a:lnTo>
                  <a:lnTo>
                    <a:pt x="11040" y="9729"/>
                  </a:lnTo>
                  <a:lnTo>
                    <a:pt x="11048" y="9706"/>
                  </a:lnTo>
                  <a:lnTo>
                    <a:pt x="11054" y="9682"/>
                  </a:lnTo>
                  <a:lnTo>
                    <a:pt x="11060" y="9658"/>
                  </a:lnTo>
                  <a:lnTo>
                    <a:pt x="11064" y="9633"/>
                  </a:lnTo>
                  <a:lnTo>
                    <a:pt x="11068" y="9608"/>
                  </a:lnTo>
                  <a:lnTo>
                    <a:pt x="11069" y="9582"/>
                  </a:lnTo>
                  <a:lnTo>
                    <a:pt x="11070" y="9556"/>
                  </a:lnTo>
                  <a:lnTo>
                    <a:pt x="11070" y="503"/>
                  </a:lnTo>
                  <a:lnTo>
                    <a:pt x="11069" y="477"/>
                  </a:lnTo>
                  <a:lnTo>
                    <a:pt x="11068" y="452"/>
                  </a:lnTo>
                  <a:lnTo>
                    <a:pt x="11064" y="426"/>
                  </a:lnTo>
                  <a:lnTo>
                    <a:pt x="11060" y="401"/>
                  </a:lnTo>
                  <a:lnTo>
                    <a:pt x="11054" y="377"/>
                  </a:lnTo>
                  <a:lnTo>
                    <a:pt x="11048" y="353"/>
                  </a:lnTo>
                  <a:lnTo>
                    <a:pt x="11040" y="330"/>
                  </a:lnTo>
                  <a:lnTo>
                    <a:pt x="11031" y="307"/>
                  </a:lnTo>
                  <a:lnTo>
                    <a:pt x="11021" y="285"/>
                  </a:lnTo>
                  <a:lnTo>
                    <a:pt x="11010" y="263"/>
                  </a:lnTo>
                  <a:lnTo>
                    <a:pt x="10998" y="242"/>
                  </a:lnTo>
                  <a:lnTo>
                    <a:pt x="10985" y="221"/>
                  </a:lnTo>
                  <a:lnTo>
                    <a:pt x="10971" y="202"/>
                  </a:lnTo>
                  <a:lnTo>
                    <a:pt x="10955" y="183"/>
                  </a:lnTo>
                  <a:lnTo>
                    <a:pt x="10939" y="165"/>
                  </a:lnTo>
                  <a:lnTo>
                    <a:pt x="10923" y="147"/>
                  </a:lnTo>
                  <a:lnTo>
                    <a:pt x="10905" y="131"/>
                  </a:lnTo>
                  <a:lnTo>
                    <a:pt x="10887" y="115"/>
                  </a:lnTo>
                  <a:lnTo>
                    <a:pt x="10868" y="99"/>
                  </a:lnTo>
                  <a:lnTo>
                    <a:pt x="10849" y="85"/>
                  </a:lnTo>
                  <a:lnTo>
                    <a:pt x="10829" y="72"/>
                  </a:lnTo>
                  <a:lnTo>
                    <a:pt x="10808" y="60"/>
                  </a:lnTo>
                  <a:lnTo>
                    <a:pt x="10785" y="49"/>
                  </a:lnTo>
                  <a:lnTo>
                    <a:pt x="10763" y="39"/>
                  </a:lnTo>
                  <a:lnTo>
                    <a:pt x="10740" y="30"/>
                  </a:lnTo>
                  <a:lnTo>
                    <a:pt x="10717" y="22"/>
                  </a:lnTo>
                  <a:lnTo>
                    <a:pt x="10693" y="16"/>
                  </a:lnTo>
                  <a:lnTo>
                    <a:pt x="10669" y="10"/>
                  </a:lnTo>
                  <a:lnTo>
                    <a:pt x="10643" y="6"/>
                  </a:lnTo>
                  <a:lnTo>
                    <a:pt x="10618" y="3"/>
                  </a:lnTo>
                  <a:lnTo>
                    <a:pt x="10593" y="1"/>
                  </a:lnTo>
                  <a:lnTo>
                    <a:pt x="105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85" name="íślïḋe">
              <a:extLst>
                <a:ext uri="{FF2B5EF4-FFF2-40B4-BE49-F238E27FC236}">
                  <a16:creationId xmlns:a16="http://schemas.microsoft.com/office/drawing/2014/main" id="{8E12994E-7D74-498D-8DB3-3B358BE64FF2}"/>
                </a:ext>
              </a:extLst>
            </p:cNvPr>
            <p:cNvSpPr/>
            <p:nvPr/>
          </p:nvSpPr>
          <p:spPr bwMode="auto">
            <a:xfrm>
              <a:off x="5472083" y="1515976"/>
              <a:ext cx="74171" cy="75086"/>
            </a:xfrm>
            <a:custGeom>
              <a:avLst/>
              <a:gdLst>
                <a:gd name="T0" fmla="*/ 1712 w 3019"/>
                <a:gd name="T1" fmla="*/ 523 h 3018"/>
                <a:gd name="T2" fmla="*/ 1946 w 3019"/>
                <a:gd name="T3" fmla="*/ 602 h 3018"/>
                <a:gd name="T4" fmla="*/ 2150 w 3019"/>
                <a:gd name="T5" fmla="*/ 732 h 3018"/>
                <a:gd name="T6" fmla="*/ 2316 w 3019"/>
                <a:gd name="T7" fmla="*/ 907 h 3018"/>
                <a:gd name="T8" fmla="*/ 2437 w 3019"/>
                <a:gd name="T9" fmla="*/ 1117 h 3018"/>
                <a:gd name="T10" fmla="*/ 2504 w 3019"/>
                <a:gd name="T11" fmla="*/ 1356 h 3018"/>
                <a:gd name="T12" fmla="*/ 2511 w 3019"/>
                <a:gd name="T13" fmla="*/ 1611 h 3018"/>
                <a:gd name="T14" fmla="*/ 2455 w 3019"/>
                <a:gd name="T15" fmla="*/ 1854 h 3018"/>
                <a:gd name="T16" fmla="*/ 2344 w 3019"/>
                <a:gd name="T17" fmla="*/ 2071 h 3018"/>
                <a:gd name="T18" fmla="*/ 2186 w 3019"/>
                <a:gd name="T19" fmla="*/ 2253 h 3018"/>
                <a:gd name="T20" fmla="*/ 1989 w 3019"/>
                <a:gd name="T21" fmla="*/ 2393 h 3018"/>
                <a:gd name="T22" fmla="*/ 1761 w 3019"/>
                <a:gd name="T23" fmla="*/ 2482 h 3018"/>
                <a:gd name="T24" fmla="*/ 1510 w 3019"/>
                <a:gd name="T25" fmla="*/ 2515 h 3018"/>
                <a:gd name="T26" fmla="*/ 1258 w 3019"/>
                <a:gd name="T27" fmla="*/ 2482 h 3018"/>
                <a:gd name="T28" fmla="*/ 1031 w 3019"/>
                <a:gd name="T29" fmla="*/ 2393 h 3018"/>
                <a:gd name="T30" fmla="*/ 833 w 3019"/>
                <a:gd name="T31" fmla="*/ 2253 h 3018"/>
                <a:gd name="T32" fmla="*/ 675 w 3019"/>
                <a:gd name="T33" fmla="*/ 2071 h 3018"/>
                <a:gd name="T34" fmla="*/ 565 w 3019"/>
                <a:gd name="T35" fmla="*/ 1854 h 3018"/>
                <a:gd name="T36" fmla="*/ 508 w 3019"/>
                <a:gd name="T37" fmla="*/ 1611 h 3018"/>
                <a:gd name="T38" fmla="*/ 514 w 3019"/>
                <a:gd name="T39" fmla="*/ 1356 h 3018"/>
                <a:gd name="T40" fmla="*/ 583 w 3019"/>
                <a:gd name="T41" fmla="*/ 1117 h 3018"/>
                <a:gd name="T42" fmla="*/ 704 w 3019"/>
                <a:gd name="T43" fmla="*/ 907 h 3018"/>
                <a:gd name="T44" fmla="*/ 870 w 3019"/>
                <a:gd name="T45" fmla="*/ 732 h 3018"/>
                <a:gd name="T46" fmla="*/ 1074 w 3019"/>
                <a:gd name="T47" fmla="*/ 602 h 3018"/>
                <a:gd name="T48" fmla="*/ 1308 w 3019"/>
                <a:gd name="T49" fmla="*/ 523 h 3018"/>
                <a:gd name="T50" fmla="*/ 1510 w 3019"/>
                <a:gd name="T51" fmla="*/ 3018 h 3018"/>
                <a:gd name="T52" fmla="*/ 1887 w 3019"/>
                <a:gd name="T53" fmla="*/ 2969 h 3018"/>
                <a:gd name="T54" fmla="*/ 2229 w 3019"/>
                <a:gd name="T55" fmla="*/ 2836 h 3018"/>
                <a:gd name="T56" fmla="*/ 2525 w 3019"/>
                <a:gd name="T57" fmla="*/ 2625 h 3018"/>
                <a:gd name="T58" fmla="*/ 2762 w 3019"/>
                <a:gd name="T59" fmla="*/ 2352 h 3018"/>
                <a:gd name="T60" fmla="*/ 2928 w 3019"/>
                <a:gd name="T61" fmla="*/ 2028 h 3018"/>
                <a:gd name="T62" fmla="*/ 3011 w 3019"/>
                <a:gd name="T63" fmla="*/ 1663 h 3018"/>
                <a:gd name="T64" fmla="*/ 3002 w 3019"/>
                <a:gd name="T65" fmla="*/ 1278 h 3018"/>
                <a:gd name="T66" fmla="*/ 2901 w 3019"/>
                <a:gd name="T67" fmla="*/ 921 h 3018"/>
                <a:gd name="T68" fmla="*/ 2719 w 3019"/>
                <a:gd name="T69" fmla="*/ 605 h 3018"/>
                <a:gd name="T70" fmla="*/ 2470 w 3019"/>
                <a:gd name="T71" fmla="*/ 344 h 3018"/>
                <a:gd name="T72" fmla="*/ 2164 w 3019"/>
                <a:gd name="T73" fmla="*/ 149 h 3018"/>
                <a:gd name="T74" fmla="*/ 1814 w 3019"/>
                <a:gd name="T75" fmla="*/ 30 h 3018"/>
                <a:gd name="T76" fmla="*/ 1432 w 3019"/>
                <a:gd name="T77" fmla="*/ 2 h 3018"/>
                <a:gd name="T78" fmla="*/ 1061 w 3019"/>
                <a:gd name="T79" fmla="*/ 67 h 3018"/>
                <a:gd name="T80" fmla="*/ 727 w 3019"/>
                <a:gd name="T81" fmla="*/ 218 h 3018"/>
                <a:gd name="T82" fmla="*/ 442 w 3019"/>
                <a:gd name="T83" fmla="*/ 441 h 3018"/>
                <a:gd name="T84" fmla="*/ 219 w 3019"/>
                <a:gd name="T85" fmla="*/ 726 h 3018"/>
                <a:gd name="T86" fmla="*/ 68 w 3019"/>
                <a:gd name="T87" fmla="*/ 1060 h 3018"/>
                <a:gd name="T88" fmla="*/ 2 w 3019"/>
                <a:gd name="T89" fmla="*/ 1431 h 3018"/>
                <a:gd name="T90" fmla="*/ 30 w 3019"/>
                <a:gd name="T91" fmla="*/ 1812 h 3018"/>
                <a:gd name="T92" fmla="*/ 149 w 3019"/>
                <a:gd name="T93" fmla="*/ 2163 h 3018"/>
                <a:gd name="T94" fmla="*/ 344 w 3019"/>
                <a:gd name="T95" fmla="*/ 2468 h 3018"/>
                <a:gd name="T96" fmla="*/ 606 w 3019"/>
                <a:gd name="T97" fmla="*/ 2718 h 3018"/>
                <a:gd name="T98" fmla="*/ 922 w 3019"/>
                <a:gd name="T99" fmla="*/ 2899 h 3018"/>
                <a:gd name="T100" fmla="*/ 1280 w 3019"/>
                <a:gd name="T101" fmla="*/ 2999 h 30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019" h="3018">
                  <a:moveTo>
                    <a:pt x="1510" y="503"/>
                  </a:moveTo>
                  <a:lnTo>
                    <a:pt x="1561" y="504"/>
                  </a:lnTo>
                  <a:lnTo>
                    <a:pt x="1612" y="508"/>
                  </a:lnTo>
                  <a:lnTo>
                    <a:pt x="1663" y="514"/>
                  </a:lnTo>
                  <a:lnTo>
                    <a:pt x="1712" y="523"/>
                  </a:lnTo>
                  <a:lnTo>
                    <a:pt x="1761" y="534"/>
                  </a:lnTo>
                  <a:lnTo>
                    <a:pt x="1809" y="548"/>
                  </a:lnTo>
                  <a:lnTo>
                    <a:pt x="1856" y="564"/>
                  </a:lnTo>
                  <a:lnTo>
                    <a:pt x="1901" y="581"/>
                  </a:lnTo>
                  <a:lnTo>
                    <a:pt x="1946" y="602"/>
                  </a:lnTo>
                  <a:lnTo>
                    <a:pt x="1989" y="624"/>
                  </a:lnTo>
                  <a:lnTo>
                    <a:pt x="2031" y="649"/>
                  </a:lnTo>
                  <a:lnTo>
                    <a:pt x="2072" y="675"/>
                  </a:lnTo>
                  <a:lnTo>
                    <a:pt x="2112" y="703"/>
                  </a:lnTo>
                  <a:lnTo>
                    <a:pt x="2150" y="732"/>
                  </a:lnTo>
                  <a:lnTo>
                    <a:pt x="2186" y="764"/>
                  </a:lnTo>
                  <a:lnTo>
                    <a:pt x="2221" y="797"/>
                  </a:lnTo>
                  <a:lnTo>
                    <a:pt x="2255" y="833"/>
                  </a:lnTo>
                  <a:lnTo>
                    <a:pt x="2286" y="869"/>
                  </a:lnTo>
                  <a:lnTo>
                    <a:pt x="2316" y="907"/>
                  </a:lnTo>
                  <a:lnTo>
                    <a:pt x="2344" y="946"/>
                  </a:lnTo>
                  <a:lnTo>
                    <a:pt x="2370" y="988"/>
                  </a:lnTo>
                  <a:lnTo>
                    <a:pt x="2394" y="1029"/>
                  </a:lnTo>
                  <a:lnTo>
                    <a:pt x="2417" y="1073"/>
                  </a:lnTo>
                  <a:lnTo>
                    <a:pt x="2437" y="1117"/>
                  </a:lnTo>
                  <a:lnTo>
                    <a:pt x="2455" y="1163"/>
                  </a:lnTo>
                  <a:lnTo>
                    <a:pt x="2471" y="1210"/>
                  </a:lnTo>
                  <a:lnTo>
                    <a:pt x="2484" y="1257"/>
                  </a:lnTo>
                  <a:lnTo>
                    <a:pt x="2496" y="1305"/>
                  </a:lnTo>
                  <a:lnTo>
                    <a:pt x="2504" y="1356"/>
                  </a:lnTo>
                  <a:lnTo>
                    <a:pt x="2511" y="1406"/>
                  </a:lnTo>
                  <a:lnTo>
                    <a:pt x="2515" y="1456"/>
                  </a:lnTo>
                  <a:lnTo>
                    <a:pt x="2516" y="1509"/>
                  </a:lnTo>
                  <a:lnTo>
                    <a:pt x="2515" y="1560"/>
                  </a:lnTo>
                  <a:lnTo>
                    <a:pt x="2511" y="1611"/>
                  </a:lnTo>
                  <a:lnTo>
                    <a:pt x="2504" y="1662"/>
                  </a:lnTo>
                  <a:lnTo>
                    <a:pt x="2496" y="1711"/>
                  </a:lnTo>
                  <a:lnTo>
                    <a:pt x="2484" y="1759"/>
                  </a:lnTo>
                  <a:lnTo>
                    <a:pt x="2471" y="1807"/>
                  </a:lnTo>
                  <a:lnTo>
                    <a:pt x="2455" y="1854"/>
                  </a:lnTo>
                  <a:lnTo>
                    <a:pt x="2437" y="1900"/>
                  </a:lnTo>
                  <a:lnTo>
                    <a:pt x="2417" y="1944"/>
                  </a:lnTo>
                  <a:lnTo>
                    <a:pt x="2394" y="1988"/>
                  </a:lnTo>
                  <a:lnTo>
                    <a:pt x="2370" y="2030"/>
                  </a:lnTo>
                  <a:lnTo>
                    <a:pt x="2344" y="2071"/>
                  </a:lnTo>
                  <a:lnTo>
                    <a:pt x="2316" y="2110"/>
                  </a:lnTo>
                  <a:lnTo>
                    <a:pt x="2286" y="2148"/>
                  </a:lnTo>
                  <a:lnTo>
                    <a:pt x="2255" y="2185"/>
                  </a:lnTo>
                  <a:lnTo>
                    <a:pt x="2221" y="2220"/>
                  </a:lnTo>
                  <a:lnTo>
                    <a:pt x="2186" y="2253"/>
                  </a:lnTo>
                  <a:lnTo>
                    <a:pt x="2150" y="2284"/>
                  </a:lnTo>
                  <a:lnTo>
                    <a:pt x="2112" y="2314"/>
                  </a:lnTo>
                  <a:lnTo>
                    <a:pt x="2072" y="2343"/>
                  </a:lnTo>
                  <a:lnTo>
                    <a:pt x="2031" y="2369"/>
                  </a:lnTo>
                  <a:lnTo>
                    <a:pt x="1989" y="2393"/>
                  </a:lnTo>
                  <a:lnTo>
                    <a:pt x="1946" y="2415"/>
                  </a:lnTo>
                  <a:lnTo>
                    <a:pt x="1901" y="2435"/>
                  </a:lnTo>
                  <a:lnTo>
                    <a:pt x="1856" y="2453"/>
                  </a:lnTo>
                  <a:lnTo>
                    <a:pt x="1809" y="2469"/>
                  </a:lnTo>
                  <a:lnTo>
                    <a:pt x="1761" y="2482"/>
                  </a:lnTo>
                  <a:lnTo>
                    <a:pt x="1712" y="2494"/>
                  </a:lnTo>
                  <a:lnTo>
                    <a:pt x="1663" y="2503"/>
                  </a:lnTo>
                  <a:lnTo>
                    <a:pt x="1612" y="2510"/>
                  </a:lnTo>
                  <a:lnTo>
                    <a:pt x="1561" y="2514"/>
                  </a:lnTo>
                  <a:lnTo>
                    <a:pt x="1510" y="2515"/>
                  </a:lnTo>
                  <a:lnTo>
                    <a:pt x="1458" y="2514"/>
                  </a:lnTo>
                  <a:lnTo>
                    <a:pt x="1407" y="2510"/>
                  </a:lnTo>
                  <a:lnTo>
                    <a:pt x="1357" y="2503"/>
                  </a:lnTo>
                  <a:lnTo>
                    <a:pt x="1308" y="2494"/>
                  </a:lnTo>
                  <a:lnTo>
                    <a:pt x="1258" y="2482"/>
                  </a:lnTo>
                  <a:lnTo>
                    <a:pt x="1211" y="2469"/>
                  </a:lnTo>
                  <a:lnTo>
                    <a:pt x="1165" y="2453"/>
                  </a:lnTo>
                  <a:lnTo>
                    <a:pt x="1118" y="2435"/>
                  </a:lnTo>
                  <a:lnTo>
                    <a:pt x="1074" y="2415"/>
                  </a:lnTo>
                  <a:lnTo>
                    <a:pt x="1031" y="2393"/>
                  </a:lnTo>
                  <a:lnTo>
                    <a:pt x="988" y="2369"/>
                  </a:lnTo>
                  <a:lnTo>
                    <a:pt x="947" y="2343"/>
                  </a:lnTo>
                  <a:lnTo>
                    <a:pt x="908" y="2314"/>
                  </a:lnTo>
                  <a:lnTo>
                    <a:pt x="870" y="2284"/>
                  </a:lnTo>
                  <a:lnTo>
                    <a:pt x="833" y="2253"/>
                  </a:lnTo>
                  <a:lnTo>
                    <a:pt x="798" y="2220"/>
                  </a:lnTo>
                  <a:lnTo>
                    <a:pt x="765" y="2185"/>
                  </a:lnTo>
                  <a:lnTo>
                    <a:pt x="734" y="2148"/>
                  </a:lnTo>
                  <a:lnTo>
                    <a:pt x="704" y="2110"/>
                  </a:lnTo>
                  <a:lnTo>
                    <a:pt x="675" y="2071"/>
                  </a:lnTo>
                  <a:lnTo>
                    <a:pt x="649" y="2030"/>
                  </a:lnTo>
                  <a:lnTo>
                    <a:pt x="625" y="1988"/>
                  </a:lnTo>
                  <a:lnTo>
                    <a:pt x="603" y="1944"/>
                  </a:lnTo>
                  <a:lnTo>
                    <a:pt x="583" y="1900"/>
                  </a:lnTo>
                  <a:lnTo>
                    <a:pt x="565" y="1854"/>
                  </a:lnTo>
                  <a:lnTo>
                    <a:pt x="549" y="1807"/>
                  </a:lnTo>
                  <a:lnTo>
                    <a:pt x="536" y="1759"/>
                  </a:lnTo>
                  <a:lnTo>
                    <a:pt x="524" y="1711"/>
                  </a:lnTo>
                  <a:lnTo>
                    <a:pt x="514" y="1662"/>
                  </a:lnTo>
                  <a:lnTo>
                    <a:pt x="508" y="1611"/>
                  </a:lnTo>
                  <a:lnTo>
                    <a:pt x="504" y="1560"/>
                  </a:lnTo>
                  <a:lnTo>
                    <a:pt x="503" y="1509"/>
                  </a:lnTo>
                  <a:lnTo>
                    <a:pt x="504" y="1456"/>
                  </a:lnTo>
                  <a:lnTo>
                    <a:pt x="508" y="1406"/>
                  </a:lnTo>
                  <a:lnTo>
                    <a:pt x="514" y="1356"/>
                  </a:lnTo>
                  <a:lnTo>
                    <a:pt x="524" y="1305"/>
                  </a:lnTo>
                  <a:lnTo>
                    <a:pt x="536" y="1257"/>
                  </a:lnTo>
                  <a:lnTo>
                    <a:pt x="549" y="1210"/>
                  </a:lnTo>
                  <a:lnTo>
                    <a:pt x="565" y="1163"/>
                  </a:lnTo>
                  <a:lnTo>
                    <a:pt x="583" y="1117"/>
                  </a:lnTo>
                  <a:lnTo>
                    <a:pt x="603" y="1073"/>
                  </a:lnTo>
                  <a:lnTo>
                    <a:pt x="625" y="1029"/>
                  </a:lnTo>
                  <a:lnTo>
                    <a:pt x="649" y="988"/>
                  </a:lnTo>
                  <a:lnTo>
                    <a:pt x="675" y="946"/>
                  </a:lnTo>
                  <a:lnTo>
                    <a:pt x="704" y="907"/>
                  </a:lnTo>
                  <a:lnTo>
                    <a:pt x="734" y="869"/>
                  </a:lnTo>
                  <a:lnTo>
                    <a:pt x="765" y="833"/>
                  </a:lnTo>
                  <a:lnTo>
                    <a:pt x="798" y="797"/>
                  </a:lnTo>
                  <a:lnTo>
                    <a:pt x="833" y="764"/>
                  </a:lnTo>
                  <a:lnTo>
                    <a:pt x="870" y="732"/>
                  </a:lnTo>
                  <a:lnTo>
                    <a:pt x="908" y="703"/>
                  </a:lnTo>
                  <a:lnTo>
                    <a:pt x="947" y="675"/>
                  </a:lnTo>
                  <a:lnTo>
                    <a:pt x="988" y="649"/>
                  </a:lnTo>
                  <a:lnTo>
                    <a:pt x="1031" y="624"/>
                  </a:lnTo>
                  <a:lnTo>
                    <a:pt x="1074" y="602"/>
                  </a:lnTo>
                  <a:lnTo>
                    <a:pt x="1118" y="581"/>
                  </a:lnTo>
                  <a:lnTo>
                    <a:pt x="1165" y="564"/>
                  </a:lnTo>
                  <a:lnTo>
                    <a:pt x="1211" y="548"/>
                  </a:lnTo>
                  <a:lnTo>
                    <a:pt x="1258" y="534"/>
                  </a:lnTo>
                  <a:lnTo>
                    <a:pt x="1308" y="523"/>
                  </a:lnTo>
                  <a:lnTo>
                    <a:pt x="1357" y="514"/>
                  </a:lnTo>
                  <a:lnTo>
                    <a:pt x="1407" y="508"/>
                  </a:lnTo>
                  <a:lnTo>
                    <a:pt x="1458" y="504"/>
                  </a:lnTo>
                  <a:lnTo>
                    <a:pt x="1510" y="503"/>
                  </a:lnTo>
                  <a:close/>
                  <a:moveTo>
                    <a:pt x="1510" y="3018"/>
                  </a:moveTo>
                  <a:lnTo>
                    <a:pt x="1587" y="3016"/>
                  </a:lnTo>
                  <a:lnTo>
                    <a:pt x="1664" y="3010"/>
                  </a:lnTo>
                  <a:lnTo>
                    <a:pt x="1739" y="2999"/>
                  </a:lnTo>
                  <a:lnTo>
                    <a:pt x="1814" y="2986"/>
                  </a:lnTo>
                  <a:lnTo>
                    <a:pt x="1887" y="2969"/>
                  </a:lnTo>
                  <a:lnTo>
                    <a:pt x="1959" y="2949"/>
                  </a:lnTo>
                  <a:lnTo>
                    <a:pt x="2029" y="2926"/>
                  </a:lnTo>
                  <a:lnTo>
                    <a:pt x="2098" y="2899"/>
                  </a:lnTo>
                  <a:lnTo>
                    <a:pt x="2164" y="2869"/>
                  </a:lnTo>
                  <a:lnTo>
                    <a:pt x="2229" y="2836"/>
                  </a:lnTo>
                  <a:lnTo>
                    <a:pt x="2293" y="2799"/>
                  </a:lnTo>
                  <a:lnTo>
                    <a:pt x="2354" y="2760"/>
                  </a:lnTo>
                  <a:lnTo>
                    <a:pt x="2413" y="2718"/>
                  </a:lnTo>
                  <a:lnTo>
                    <a:pt x="2470" y="2673"/>
                  </a:lnTo>
                  <a:lnTo>
                    <a:pt x="2525" y="2625"/>
                  </a:lnTo>
                  <a:lnTo>
                    <a:pt x="2578" y="2575"/>
                  </a:lnTo>
                  <a:lnTo>
                    <a:pt x="2627" y="2523"/>
                  </a:lnTo>
                  <a:lnTo>
                    <a:pt x="2675" y="2468"/>
                  </a:lnTo>
                  <a:lnTo>
                    <a:pt x="2719" y="2411"/>
                  </a:lnTo>
                  <a:lnTo>
                    <a:pt x="2762" y="2352"/>
                  </a:lnTo>
                  <a:lnTo>
                    <a:pt x="2801" y="2291"/>
                  </a:lnTo>
                  <a:lnTo>
                    <a:pt x="2837" y="2228"/>
                  </a:lnTo>
                  <a:lnTo>
                    <a:pt x="2870" y="2163"/>
                  </a:lnTo>
                  <a:lnTo>
                    <a:pt x="2901" y="2096"/>
                  </a:lnTo>
                  <a:lnTo>
                    <a:pt x="2928" y="2028"/>
                  </a:lnTo>
                  <a:lnTo>
                    <a:pt x="2952" y="1957"/>
                  </a:lnTo>
                  <a:lnTo>
                    <a:pt x="2972" y="1886"/>
                  </a:lnTo>
                  <a:lnTo>
                    <a:pt x="2989" y="1812"/>
                  </a:lnTo>
                  <a:lnTo>
                    <a:pt x="3002" y="1738"/>
                  </a:lnTo>
                  <a:lnTo>
                    <a:pt x="3011" y="1663"/>
                  </a:lnTo>
                  <a:lnTo>
                    <a:pt x="3017" y="1586"/>
                  </a:lnTo>
                  <a:lnTo>
                    <a:pt x="3019" y="1509"/>
                  </a:lnTo>
                  <a:lnTo>
                    <a:pt x="3017" y="1431"/>
                  </a:lnTo>
                  <a:lnTo>
                    <a:pt x="3011" y="1354"/>
                  </a:lnTo>
                  <a:lnTo>
                    <a:pt x="3002" y="1278"/>
                  </a:lnTo>
                  <a:lnTo>
                    <a:pt x="2989" y="1204"/>
                  </a:lnTo>
                  <a:lnTo>
                    <a:pt x="2972" y="1131"/>
                  </a:lnTo>
                  <a:lnTo>
                    <a:pt x="2952" y="1060"/>
                  </a:lnTo>
                  <a:lnTo>
                    <a:pt x="2928" y="990"/>
                  </a:lnTo>
                  <a:lnTo>
                    <a:pt x="2901" y="921"/>
                  </a:lnTo>
                  <a:lnTo>
                    <a:pt x="2870" y="854"/>
                  </a:lnTo>
                  <a:lnTo>
                    <a:pt x="2837" y="789"/>
                  </a:lnTo>
                  <a:lnTo>
                    <a:pt x="2801" y="726"/>
                  </a:lnTo>
                  <a:lnTo>
                    <a:pt x="2762" y="665"/>
                  </a:lnTo>
                  <a:lnTo>
                    <a:pt x="2719" y="605"/>
                  </a:lnTo>
                  <a:lnTo>
                    <a:pt x="2675" y="549"/>
                  </a:lnTo>
                  <a:lnTo>
                    <a:pt x="2627" y="494"/>
                  </a:lnTo>
                  <a:lnTo>
                    <a:pt x="2578" y="441"/>
                  </a:lnTo>
                  <a:lnTo>
                    <a:pt x="2525" y="391"/>
                  </a:lnTo>
                  <a:lnTo>
                    <a:pt x="2470" y="344"/>
                  </a:lnTo>
                  <a:lnTo>
                    <a:pt x="2413" y="300"/>
                  </a:lnTo>
                  <a:lnTo>
                    <a:pt x="2354" y="257"/>
                  </a:lnTo>
                  <a:lnTo>
                    <a:pt x="2293" y="218"/>
                  </a:lnTo>
                  <a:lnTo>
                    <a:pt x="2229" y="182"/>
                  </a:lnTo>
                  <a:lnTo>
                    <a:pt x="2164" y="149"/>
                  </a:lnTo>
                  <a:lnTo>
                    <a:pt x="2098" y="118"/>
                  </a:lnTo>
                  <a:lnTo>
                    <a:pt x="2029" y="91"/>
                  </a:lnTo>
                  <a:lnTo>
                    <a:pt x="1959" y="67"/>
                  </a:lnTo>
                  <a:lnTo>
                    <a:pt x="1887" y="47"/>
                  </a:lnTo>
                  <a:lnTo>
                    <a:pt x="1814" y="30"/>
                  </a:lnTo>
                  <a:lnTo>
                    <a:pt x="1739" y="17"/>
                  </a:lnTo>
                  <a:lnTo>
                    <a:pt x="1664" y="8"/>
                  </a:lnTo>
                  <a:lnTo>
                    <a:pt x="1587" y="2"/>
                  </a:lnTo>
                  <a:lnTo>
                    <a:pt x="1510" y="0"/>
                  </a:lnTo>
                  <a:lnTo>
                    <a:pt x="1432" y="2"/>
                  </a:lnTo>
                  <a:lnTo>
                    <a:pt x="1356" y="8"/>
                  </a:lnTo>
                  <a:lnTo>
                    <a:pt x="1280" y="17"/>
                  </a:lnTo>
                  <a:lnTo>
                    <a:pt x="1206" y="30"/>
                  </a:lnTo>
                  <a:lnTo>
                    <a:pt x="1132" y="47"/>
                  </a:lnTo>
                  <a:lnTo>
                    <a:pt x="1061" y="67"/>
                  </a:lnTo>
                  <a:lnTo>
                    <a:pt x="990" y="91"/>
                  </a:lnTo>
                  <a:lnTo>
                    <a:pt x="922" y="118"/>
                  </a:lnTo>
                  <a:lnTo>
                    <a:pt x="856" y="149"/>
                  </a:lnTo>
                  <a:lnTo>
                    <a:pt x="790" y="182"/>
                  </a:lnTo>
                  <a:lnTo>
                    <a:pt x="727" y="218"/>
                  </a:lnTo>
                  <a:lnTo>
                    <a:pt x="665" y="257"/>
                  </a:lnTo>
                  <a:lnTo>
                    <a:pt x="606" y="300"/>
                  </a:lnTo>
                  <a:lnTo>
                    <a:pt x="550" y="344"/>
                  </a:lnTo>
                  <a:lnTo>
                    <a:pt x="494" y="391"/>
                  </a:lnTo>
                  <a:lnTo>
                    <a:pt x="442" y="441"/>
                  </a:lnTo>
                  <a:lnTo>
                    <a:pt x="393" y="494"/>
                  </a:lnTo>
                  <a:lnTo>
                    <a:pt x="344" y="549"/>
                  </a:lnTo>
                  <a:lnTo>
                    <a:pt x="300" y="605"/>
                  </a:lnTo>
                  <a:lnTo>
                    <a:pt x="258" y="665"/>
                  </a:lnTo>
                  <a:lnTo>
                    <a:pt x="219" y="726"/>
                  </a:lnTo>
                  <a:lnTo>
                    <a:pt x="182" y="789"/>
                  </a:lnTo>
                  <a:lnTo>
                    <a:pt x="149" y="854"/>
                  </a:lnTo>
                  <a:lnTo>
                    <a:pt x="119" y="921"/>
                  </a:lnTo>
                  <a:lnTo>
                    <a:pt x="92" y="990"/>
                  </a:lnTo>
                  <a:lnTo>
                    <a:pt x="68" y="1060"/>
                  </a:lnTo>
                  <a:lnTo>
                    <a:pt x="48" y="1131"/>
                  </a:lnTo>
                  <a:lnTo>
                    <a:pt x="30" y="1204"/>
                  </a:lnTo>
                  <a:lnTo>
                    <a:pt x="17" y="1278"/>
                  </a:lnTo>
                  <a:lnTo>
                    <a:pt x="8" y="1354"/>
                  </a:lnTo>
                  <a:lnTo>
                    <a:pt x="2" y="1431"/>
                  </a:lnTo>
                  <a:lnTo>
                    <a:pt x="0" y="1509"/>
                  </a:lnTo>
                  <a:lnTo>
                    <a:pt x="2" y="1586"/>
                  </a:lnTo>
                  <a:lnTo>
                    <a:pt x="8" y="1663"/>
                  </a:lnTo>
                  <a:lnTo>
                    <a:pt x="17" y="1738"/>
                  </a:lnTo>
                  <a:lnTo>
                    <a:pt x="30" y="1812"/>
                  </a:lnTo>
                  <a:lnTo>
                    <a:pt x="48" y="1886"/>
                  </a:lnTo>
                  <a:lnTo>
                    <a:pt x="68" y="1957"/>
                  </a:lnTo>
                  <a:lnTo>
                    <a:pt x="92" y="2028"/>
                  </a:lnTo>
                  <a:lnTo>
                    <a:pt x="119" y="2096"/>
                  </a:lnTo>
                  <a:lnTo>
                    <a:pt x="149" y="2163"/>
                  </a:lnTo>
                  <a:lnTo>
                    <a:pt x="182" y="2228"/>
                  </a:lnTo>
                  <a:lnTo>
                    <a:pt x="219" y="2291"/>
                  </a:lnTo>
                  <a:lnTo>
                    <a:pt x="258" y="2352"/>
                  </a:lnTo>
                  <a:lnTo>
                    <a:pt x="300" y="2411"/>
                  </a:lnTo>
                  <a:lnTo>
                    <a:pt x="344" y="2468"/>
                  </a:lnTo>
                  <a:lnTo>
                    <a:pt x="393" y="2523"/>
                  </a:lnTo>
                  <a:lnTo>
                    <a:pt x="442" y="2575"/>
                  </a:lnTo>
                  <a:lnTo>
                    <a:pt x="494" y="2625"/>
                  </a:lnTo>
                  <a:lnTo>
                    <a:pt x="550" y="2673"/>
                  </a:lnTo>
                  <a:lnTo>
                    <a:pt x="606" y="2718"/>
                  </a:lnTo>
                  <a:lnTo>
                    <a:pt x="665" y="2760"/>
                  </a:lnTo>
                  <a:lnTo>
                    <a:pt x="727" y="2799"/>
                  </a:lnTo>
                  <a:lnTo>
                    <a:pt x="790" y="2836"/>
                  </a:lnTo>
                  <a:lnTo>
                    <a:pt x="856" y="2869"/>
                  </a:lnTo>
                  <a:lnTo>
                    <a:pt x="922" y="2899"/>
                  </a:lnTo>
                  <a:lnTo>
                    <a:pt x="990" y="2926"/>
                  </a:lnTo>
                  <a:lnTo>
                    <a:pt x="1061" y="2949"/>
                  </a:lnTo>
                  <a:lnTo>
                    <a:pt x="1132" y="2969"/>
                  </a:lnTo>
                  <a:lnTo>
                    <a:pt x="1206" y="2986"/>
                  </a:lnTo>
                  <a:lnTo>
                    <a:pt x="1280" y="2999"/>
                  </a:lnTo>
                  <a:lnTo>
                    <a:pt x="1356" y="3010"/>
                  </a:lnTo>
                  <a:lnTo>
                    <a:pt x="1432" y="3016"/>
                  </a:lnTo>
                  <a:lnTo>
                    <a:pt x="1510" y="30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86" name="íṣľiḓé">
              <a:extLst>
                <a:ext uri="{FF2B5EF4-FFF2-40B4-BE49-F238E27FC236}">
                  <a16:creationId xmlns:a16="http://schemas.microsoft.com/office/drawing/2014/main" id="{947582E0-142C-4C11-B062-44C5CA1052CA}"/>
                </a:ext>
              </a:extLst>
            </p:cNvPr>
            <p:cNvSpPr/>
            <p:nvPr/>
          </p:nvSpPr>
          <p:spPr bwMode="auto">
            <a:xfrm>
              <a:off x="5087248" y="1899537"/>
              <a:ext cx="558350" cy="556940"/>
            </a:xfrm>
            <a:custGeom>
              <a:avLst/>
              <a:gdLst>
                <a:gd name="T0" fmla="*/ 12770 w 14656"/>
                <a:gd name="T1" fmla="*/ 6106 h 14620"/>
                <a:gd name="T2" fmla="*/ 12640 w 14656"/>
                <a:gd name="T3" fmla="*/ 6115 h 14620"/>
                <a:gd name="T4" fmla="*/ 12519 w 14656"/>
                <a:gd name="T5" fmla="*/ 6055 h 14620"/>
                <a:gd name="T6" fmla="*/ 9966 w 14656"/>
                <a:gd name="T7" fmla="*/ 5994 h 14620"/>
                <a:gd name="T8" fmla="*/ 8414 w 14656"/>
                <a:gd name="T9" fmla="*/ 5281 h 14620"/>
                <a:gd name="T10" fmla="*/ 6782 w 14656"/>
                <a:gd name="T11" fmla="*/ 4968 h 14620"/>
                <a:gd name="T12" fmla="*/ 5698 w 14656"/>
                <a:gd name="T13" fmla="*/ 4822 h 14620"/>
                <a:gd name="T14" fmla="*/ 8599 w 14656"/>
                <a:gd name="T15" fmla="*/ 2123 h 14620"/>
                <a:gd name="T16" fmla="*/ 8551 w 14656"/>
                <a:gd name="T17" fmla="*/ 1998 h 14620"/>
                <a:gd name="T18" fmla="*/ 8574 w 14656"/>
                <a:gd name="T19" fmla="*/ 1868 h 14620"/>
                <a:gd name="T20" fmla="*/ 9364 w 14656"/>
                <a:gd name="T21" fmla="*/ 1057 h 14620"/>
                <a:gd name="T22" fmla="*/ 9489 w 14656"/>
                <a:gd name="T23" fmla="*/ 1010 h 14620"/>
                <a:gd name="T24" fmla="*/ 9619 w 14656"/>
                <a:gd name="T25" fmla="*/ 1032 h 14620"/>
                <a:gd name="T26" fmla="*/ 13601 w 14656"/>
                <a:gd name="T27" fmla="*/ 5006 h 14620"/>
                <a:gd name="T28" fmla="*/ 13650 w 14656"/>
                <a:gd name="T29" fmla="*/ 5131 h 14620"/>
                <a:gd name="T30" fmla="*/ 13627 w 14656"/>
                <a:gd name="T31" fmla="*/ 5261 h 14620"/>
                <a:gd name="T32" fmla="*/ 8336 w 14656"/>
                <a:gd name="T33" fmla="*/ 13377 h 14620"/>
                <a:gd name="T34" fmla="*/ 8074 w 14656"/>
                <a:gd name="T35" fmla="*/ 13585 h 14620"/>
                <a:gd name="T36" fmla="*/ 7781 w 14656"/>
                <a:gd name="T37" fmla="*/ 13595 h 14620"/>
                <a:gd name="T38" fmla="*/ 7556 w 14656"/>
                <a:gd name="T39" fmla="*/ 13465 h 14620"/>
                <a:gd name="T40" fmla="*/ 1014 w 14656"/>
                <a:gd name="T41" fmla="*/ 6852 h 14620"/>
                <a:gd name="T42" fmla="*/ 1065 w 14656"/>
                <a:gd name="T43" fmla="*/ 6524 h 14620"/>
                <a:gd name="T44" fmla="*/ 1308 w 14656"/>
                <a:gd name="T45" fmla="*/ 6300 h 14620"/>
                <a:gd name="T46" fmla="*/ 6805 w 14656"/>
                <a:gd name="T47" fmla="*/ 5480 h 14620"/>
                <a:gd name="T48" fmla="*/ 8979 w 14656"/>
                <a:gd name="T49" fmla="*/ 6023 h 14620"/>
                <a:gd name="T50" fmla="*/ 10402 w 14656"/>
                <a:gd name="T51" fmla="*/ 369 h 14620"/>
                <a:gd name="T52" fmla="*/ 10132 w 14656"/>
                <a:gd name="T53" fmla="*/ 163 h 14620"/>
                <a:gd name="T54" fmla="*/ 9820 w 14656"/>
                <a:gd name="T55" fmla="*/ 38 h 14620"/>
                <a:gd name="T56" fmla="*/ 9482 w 14656"/>
                <a:gd name="T57" fmla="*/ 0 h 14620"/>
                <a:gd name="T58" fmla="*/ 9147 w 14656"/>
                <a:gd name="T59" fmla="*/ 55 h 14620"/>
                <a:gd name="T60" fmla="*/ 8841 w 14656"/>
                <a:gd name="T61" fmla="*/ 195 h 14620"/>
                <a:gd name="T62" fmla="*/ 7892 w 14656"/>
                <a:gd name="T63" fmla="*/ 1104 h 14620"/>
                <a:gd name="T64" fmla="*/ 7692 w 14656"/>
                <a:gd name="T65" fmla="*/ 1380 h 14620"/>
                <a:gd name="T66" fmla="*/ 7576 w 14656"/>
                <a:gd name="T67" fmla="*/ 1695 h 14620"/>
                <a:gd name="T68" fmla="*/ 7548 w 14656"/>
                <a:gd name="T69" fmla="*/ 2062 h 14620"/>
                <a:gd name="T70" fmla="*/ 7669 w 14656"/>
                <a:gd name="T71" fmla="*/ 2522 h 14620"/>
                <a:gd name="T72" fmla="*/ 623 w 14656"/>
                <a:gd name="T73" fmla="*/ 5539 h 14620"/>
                <a:gd name="T74" fmla="*/ 274 w 14656"/>
                <a:gd name="T75" fmla="*/ 5894 h 14620"/>
                <a:gd name="T76" fmla="*/ 58 w 14656"/>
                <a:gd name="T77" fmla="*/ 6345 h 14620"/>
                <a:gd name="T78" fmla="*/ 3 w 14656"/>
                <a:gd name="T79" fmla="*/ 6850 h 14620"/>
                <a:gd name="T80" fmla="*/ 114 w 14656"/>
                <a:gd name="T81" fmla="*/ 7337 h 14620"/>
                <a:gd name="T82" fmla="*/ 382 w 14656"/>
                <a:gd name="T83" fmla="*/ 7767 h 14620"/>
                <a:gd name="T84" fmla="*/ 7067 w 14656"/>
                <a:gd name="T85" fmla="*/ 14362 h 14620"/>
                <a:gd name="T86" fmla="*/ 7416 w 14656"/>
                <a:gd name="T87" fmla="*/ 14537 h 14620"/>
                <a:gd name="T88" fmla="*/ 7800 w 14656"/>
                <a:gd name="T89" fmla="*/ 14616 h 14620"/>
                <a:gd name="T90" fmla="*/ 8103 w 14656"/>
                <a:gd name="T91" fmla="*/ 14608 h 14620"/>
                <a:gd name="T92" fmla="*/ 8574 w 14656"/>
                <a:gd name="T93" fmla="*/ 14467 h 14620"/>
                <a:gd name="T94" fmla="*/ 8985 w 14656"/>
                <a:gd name="T95" fmla="*/ 14171 h 14620"/>
                <a:gd name="T96" fmla="*/ 9276 w 14656"/>
                <a:gd name="T97" fmla="*/ 13754 h 14620"/>
                <a:gd name="T98" fmla="*/ 12327 w 14656"/>
                <a:gd name="T99" fmla="*/ 7076 h 14620"/>
                <a:gd name="T100" fmla="*/ 12781 w 14656"/>
                <a:gd name="T101" fmla="*/ 7126 h 14620"/>
                <a:gd name="T102" fmla="*/ 13112 w 14656"/>
                <a:gd name="T103" fmla="*/ 7056 h 14620"/>
                <a:gd name="T104" fmla="*/ 13410 w 14656"/>
                <a:gd name="T105" fmla="*/ 6900 h 14620"/>
                <a:gd name="T106" fmla="*/ 14350 w 14656"/>
                <a:gd name="T107" fmla="*/ 5980 h 14620"/>
                <a:gd name="T108" fmla="*/ 14535 w 14656"/>
                <a:gd name="T109" fmla="*/ 5696 h 14620"/>
                <a:gd name="T110" fmla="*/ 14637 w 14656"/>
                <a:gd name="T111" fmla="*/ 5373 h 14620"/>
                <a:gd name="T112" fmla="*/ 14649 w 14656"/>
                <a:gd name="T113" fmla="*/ 5030 h 14620"/>
                <a:gd name="T114" fmla="*/ 14572 w 14656"/>
                <a:gd name="T115" fmla="*/ 4701 h 14620"/>
                <a:gd name="T116" fmla="*/ 14410 w 14656"/>
                <a:gd name="T117" fmla="*/ 4405 h 14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656" h="14620">
                  <a:moveTo>
                    <a:pt x="13576" y="5334"/>
                  </a:moveTo>
                  <a:lnTo>
                    <a:pt x="12866" y="6046"/>
                  </a:lnTo>
                  <a:lnTo>
                    <a:pt x="12856" y="6055"/>
                  </a:lnTo>
                  <a:lnTo>
                    <a:pt x="12847" y="6064"/>
                  </a:lnTo>
                  <a:lnTo>
                    <a:pt x="12837" y="6071"/>
                  </a:lnTo>
                  <a:lnTo>
                    <a:pt x="12826" y="6079"/>
                  </a:lnTo>
                  <a:lnTo>
                    <a:pt x="12816" y="6085"/>
                  </a:lnTo>
                  <a:lnTo>
                    <a:pt x="12805" y="6091"/>
                  </a:lnTo>
                  <a:lnTo>
                    <a:pt x="12794" y="6097"/>
                  </a:lnTo>
                  <a:lnTo>
                    <a:pt x="12782" y="6102"/>
                  </a:lnTo>
                  <a:lnTo>
                    <a:pt x="12770" y="6106"/>
                  </a:lnTo>
                  <a:lnTo>
                    <a:pt x="12759" y="6110"/>
                  </a:lnTo>
                  <a:lnTo>
                    <a:pt x="12747" y="6113"/>
                  </a:lnTo>
                  <a:lnTo>
                    <a:pt x="12735" y="6115"/>
                  </a:lnTo>
                  <a:lnTo>
                    <a:pt x="12723" y="6117"/>
                  </a:lnTo>
                  <a:lnTo>
                    <a:pt x="12712" y="6119"/>
                  </a:lnTo>
                  <a:lnTo>
                    <a:pt x="12700" y="6120"/>
                  </a:lnTo>
                  <a:lnTo>
                    <a:pt x="12688" y="6120"/>
                  </a:lnTo>
                  <a:lnTo>
                    <a:pt x="12676" y="6120"/>
                  </a:lnTo>
                  <a:lnTo>
                    <a:pt x="12664" y="6119"/>
                  </a:lnTo>
                  <a:lnTo>
                    <a:pt x="12652" y="6117"/>
                  </a:lnTo>
                  <a:lnTo>
                    <a:pt x="12640" y="6115"/>
                  </a:lnTo>
                  <a:lnTo>
                    <a:pt x="12628" y="6113"/>
                  </a:lnTo>
                  <a:lnTo>
                    <a:pt x="12615" y="6110"/>
                  </a:lnTo>
                  <a:lnTo>
                    <a:pt x="12604" y="6106"/>
                  </a:lnTo>
                  <a:lnTo>
                    <a:pt x="12593" y="6102"/>
                  </a:lnTo>
                  <a:lnTo>
                    <a:pt x="12581" y="6097"/>
                  </a:lnTo>
                  <a:lnTo>
                    <a:pt x="12571" y="6091"/>
                  </a:lnTo>
                  <a:lnTo>
                    <a:pt x="12560" y="6085"/>
                  </a:lnTo>
                  <a:lnTo>
                    <a:pt x="12549" y="6079"/>
                  </a:lnTo>
                  <a:lnTo>
                    <a:pt x="12539" y="6071"/>
                  </a:lnTo>
                  <a:lnTo>
                    <a:pt x="12529" y="6064"/>
                  </a:lnTo>
                  <a:lnTo>
                    <a:pt x="12519" y="6055"/>
                  </a:lnTo>
                  <a:lnTo>
                    <a:pt x="12510" y="6046"/>
                  </a:lnTo>
                  <a:lnTo>
                    <a:pt x="11621" y="5156"/>
                  </a:lnTo>
                  <a:lnTo>
                    <a:pt x="10900" y="6965"/>
                  </a:lnTo>
                  <a:lnTo>
                    <a:pt x="10961" y="6813"/>
                  </a:lnTo>
                  <a:lnTo>
                    <a:pt x="10819" y="6674"/>
                  </a:lnTo>
                  <a:lnTo>
                    <a:pt x="10677" y="6544"/>
                  </a:lnTo>
                  <a:lnTo>
                    <a:pt x="10534" y="6420"/>
                  </a:lnTo>
                  <a:lnTo>
                    <a:pt x="10392" y="6304"/>
                  </a:lnTo>
                  <a:lnTo>
                    <a:pt x="10251" y="6194"/>
                  </a:lnTo>
                  <a:lnTo>
                    <a:pt x="10108" y="6091"/>
                  </a:lnTo>
                  <a:lnTo>
                    <a:pt x="9966" y="5994"/>
                  </a:lnTo>
                  <a:lnTo>
                    <a:pt x="9823" y="5905"/>
                  </a:lnTo>
                  <a:lnTo>
                    <a:pt x="9681" y="5820"/>
                  </a:lnTo>
                  <a:lnTo>
                    <a:pt x="9539" y="5740"/>
                  </a:lnTo>
                  <a:lnTo>
                    <a:pt x="9397" y="5667"/>
                  </a:lnTo>
                  <a:lnTo>
                    <a:pt x="9257" y="5598"/>
                  </a:lnTo>
                  <a:lnTo>
                    <a:pt x="9115" y="5535"/>
                  </a:lnTo>
                  <a:lnTo>
                    <a:pt x="8974" y="5475"/>
                  </a:lnTo>
                  <a:lnTo>
                    <a:pt x="8833" y="5421"/>
                  </a:lnTo>
                  <a:lnTo>
                    <a:pt x="8693" y="5370"/>
                  </a:lnTo>
                  <a:lnTo>
                    <a:pt x="8553" y="5324"/>
                  </a:lnTo>
                  <a:lnTo>
                    <a:pt x="8414" y="5281"/>
                  </a:lnTo>
                  <a:lnTo>
                    <a:pt x="8275" y="5241"/>
                  </a:lnTo>
                  <a:lnTo>
                    <a:pt x="8136" y="5205"/>
                  </a:lnTo>
                  <a:lnTo>
                    <a:pt x="7997" y="5172"/>
                  </a:lnTo>
                  <a:lnTo>
                    <a:pt x="7860" y="5141"/>
                  </a:lnTo>
                  <a:lnTo>
                    <a:pt x="7723" y="5113"/>
                  </a:lnTo>
                  <a:lnTo>
                    <a:pt x="7587" y="5088"/>
                  </a:lnTo>
                  <a:lnTo>
                    <a:pt x="7451" y="5065"/>
                  </a:lnTo>
                  <a:lnTo>
                    <a:pt x="7315" y="5043"/>
                  </a:lnTo>
                  <a:lnTo>
                    <a:pt x="7180" y="5022"/>
                  </a:lnTo>
                  <a:lnTo>
                    <a:pt x="7047" y="5003"/>
                  </a:lnTo>
                  <a:lnTo>
                    <a:pt x="6782" y="4968"/>
                  </a:lnTo>
                  <a:lnTo>
                    <a:pt x="6519" y="4936"/>
                  </a:lnTo>
                  <a:lnTo>
                    <a:pt x="6436" y="4926"/>
                  </a:lnTo>
                  <a:lnTo>
                    <a:pt x="6354" y="4915"/>
                  </a:lnTo>
                  <a:lnTo>
                    <a:pt x="6270" y="4905"/>
                  </a:lnTo>
                  <a:lnTo>
                    <a:pt x="6188" y="4893"/>
                  </a:lnTo>
                  <a:lnTo>
                    <a:pt x="6105" y="4882"/>
                  </a:lnTo>
                  <a:lnTo>
                    <a:pt x="6024" y="4871"/>
                  </a:lnTo>
                  <a:lnTo>
                    <a:pt x="5942" y="4859"/>
                  </a:lnTo>
                  <a:lnTo>
                    <a:pt x="5861" y="4847"/>
                  </a:lnTo>
                  <a:lnTo>
                    <a:pt x="5779" y="4835"/>
                  </a:lnTo>
                  <a:lnTo>
                    <a:pt x="5698" y="4822"/>
                  </a:lnTo>
                  <a:lnTo>
                    <a:pt x="5617" y="4809"/>
                  </a:lnTo>
                  <a:lnTo>
                    <a:pt x="5537" y="4795"/>
                  </a:lnTo>
                  <a:lnTo>
                    <a:pt x="5456" y="4779"/>
                  </a:lnTo>
                  <a:lnTo>
                    <a:pt x="5376" y="4764"/>
                  </a:lnTo>
                  <a:lnTo>
                    <a:pt x="5296" y="4748"/>
                  </a:lnTo>
                  <a:lnTo>
                    <a:pt x="5216" y="4731"/>
                  </a:lnTo>
                  <a:lnTo>
                    <a:pt x="9487" y="3017"/>
                  </a:lnTo>
                  <a:lnTo>
                    <a:pt x="8624" y="2152"/>
                  </a:lnTo>
                  <a:lnTo>
                    <a:pt x="8615" y="2143"/>
                  </a:lnTo>
                  <a:lnTo>
                    <a:pt x="8607" y="2133"/>
                  </a:lnTo>
                  <a:lnTo>
                    <a:pt x="8599" y="2123"/>
                  </a:lnTo>
                  <a:lnTo>
                    <a:pt x="8592" y="2113"/>
                  </a:lnTo>
                  <a:lnTo>
                    <a:pt x="8586" y="2102"/>
                  </a:lnTo>
                  <a:lnTo>
                    <a:pt x="8580" y="2091"/>
                  </a:lnTo>
                  <a:lnTo>
                    <a:pt x="8574" y="2080"/>
                  </a:lnTo>
                  <a:lnTo>
                    <a:pt x="8569" y="2068"/>
                  </a:lnTo>
                  <a:lnTo>
                    <a:pt x="8565" y="2057"/>
                  </a:lnTo>
                  <a:lnTo>
                    <a:pt x="8561" y="2046"/>
                  </a:lnTo>
                  <a:lnTo>
                    <a:pt x="8558" y="2034"/>
                  </a:lnTo>
                  <a:lnTo>
                    <a:pt x="8555" y="2022"/>
                  </a:lnTo>
                  <a:lnTo>
                    <a:pt x="8553" y="2010"/>
                  </a:lnTo>
                  <a:lnTo>
                    <a:pt x="8551" y="1998"/>
                  </a:lnTo>
                  <a:lnTo>
                    <a:pt x="8550" y="1986"/>
                  </a:lnTo>
                  <a:lnTo>
                    <a:pt x="8550" y="1974"/>
                  </a:lnTo>
                  <a:lnTo>
                    <a:pt x="8550" y="1961"/>
                  </a:lnTo>
                  <a:lnTo>
                    <a:pt x="8551" y="1949"/>
                  </a:lnTo>
                  <a:lnTo>
                    <a:pt x="8553" y="1938"/>
                  </a:lnTo>
                  <a:lnTo>
                    <a:pt x="8555" y="1926"/>
                  </a:lnTo>
                  <a:lnTo>
                    <a:pt x="8558" y="1914"/>
                  </a:lnTo>
                  <a:lnTo>
                    <a:pt x="8562" y="1902"/>
                  </a:lnTo>
                  <a:lnTo>
                    <a:pt x="8565" y="1891"/>
                  </a:lnTo>
                  <a:lnTo>
                    <a:pt x="8570" y="1879"/>
                  </a:lnTo>
                  <a:lnTo>
                    <a:pt x="8574" y="1868"/>
                  </a:lnTo>
                  <a:lnTo>
                    <a:pt x="8580" y="1857"/>
                  </a:lnTo>
                  <a:lnTo>
                    <a:pt x="8586" y="1845"/>
                  </a:lnTo>
                  <a:lnTo>
                    <a:pt x="8593" y="1835"/>
                  </a:lnTo>
                  <a:lnTo>
                    <a:pt x="8600" y="1825"/>
                  </a:lnTo>
                  <a:lnTo>
                    <a:pt x="8608" y="1815"/>
                  </a:lnTo>
                  <a:lnTo>
                    <a:pt x="8616" y="1805"/>
                  </a:lnTo>
                  <a:lnTo>
                    <a:pt x="8625" y="1796"/>
                  </a:lnTo>
                  <a:lnTo>
                    <a:pt x="9335" y="1082"/>
                  </a:lnTo>
                  <a:lnTo>
                    <a:pt x="9344" y="1073"/>
                  </a:lnTo>
                  <a:lnTo>
                    <a:pt x="9354" y="1065"/>
                  </a:lnTo>
                  <a:lnTo>
                    <a:pt x="9364" y="1057"/>
                  </a:lnTo>
                  <a:lnTo>
                    <a:pt x="9374" y="1050"/>
                  </a:lnTo>
                  <a:lnTo>
                    <a:pt x="9385" y="1043"/>
                  </a:lnTo>
                  <a:lnTo>
                    <a:pt x="9396" y="1037"/>
                  </a:lnTo>
                  <a:lnTo>
                    <a:pt x="9408" y="1032"/>
                  </a:lnTo>
                  <a:lnTo>
                    <a:pt x="9419" y="1027"/>
                  </a:lnTo>
                  <a:lnTo>
                    <a:pt x="9430" y="1023"/>
                  </a:lnTo>
                  <a:lnTo>
                    <a:pt x="9442" y="1019"/>
                  </a:lnTo>
                  <a:lnTo>
                    <a:pt x="9454" y="1016"/>
                  </a:lnTo>
                  <a:lnTo>
                    <a:pt x="9465" y="1013"/>
                  </a:lnTo>
                  <a:lnTo>
                    <a:pt x="9477" y="1011"/>
                  </a:lnTo>
                  <a:lnTo>
                    <a:pt x="9489" y="1010"/>
                  </a:lnTo>
                  <a:lnTo>
                    <a:pt x="9501" y="1009"/>
                  </a:lnTo>
                  <a:lnTo>
                    <a:pt x="9513" y="1009"/>
                  </a:lnTo>
                  <a:lnTo>
                    <a:pt x="9525" y="1009"/>
                  </a:lnTo>
                  <a:lnTo>
                    <a:pt x="9537" y="1010"/>
                  </a:lnTo>
                  <a:lnTo>
                    <a:pt x="9549" y="1011"/>
                  </a:lnTo>
                  <a:lnTo>
                    <a:pt x="9561" y="1013"/>
                  </a:lnTo>
                  <a:lnTo>
                    <a:pt x="9574" y="1016"/>
                  </a:lnTo>
                  <a:lnTo>
                    <a:pt x="9585" y="1019"/>
                  </a:lnTo>
                  <a:lnTo>
                    <a:pt x="9597" y="1023"/>
                  </a:lnTo>
                  <a:lnTo>
                    <a:pt x="9608" y="1027"/>
                  </a:lnTo>
                  <a:lnTo>
                    <a:pt x="9619" y="1032"/>
                  </a:lnTo>
                  <a:lnTo>
                    <a:pt x="9630" y="1037"/>
                  </a:lnTo>
                  <a:lnTo>
                    <a:pt x="9641" y="1043"/>
                  </a:lnTo>
                  <a:lnTo>
                    <a:pt x="9651" y="1050"/>
                  </a:lnTo>
                  <a:lnTo>
                    <a:pt x="9662" y="1057"/>
                  </a:lnTo>
                  <a:lnTo>
                    <a:pt x="9672" y="1065"/>
                  </a:lnTo>
                  <a:lnTo>
                    <a:pt x="9681" y="1073"/>
                  </a:lnTo>
                  <a:lnTo>
                    <a:pt x="9691" y="1082"/>
                  </a:lnTo>
                  <a:lnTo>
                    <a:pt x="13576" y="4978"/>
                  </a:lnTo>
                  <a:lnTo>
                    <a:pt x="13585" y="4987"/>
                  </a:lnTo>
                  <a:lnTo>
                    <a:pt x="13593" y="4996"/>
                  </a:lnTo>
                  <a:lnTo>
                    <a:pt x="13601" y="5006"/>
                  </a:lnTo>
                  <a:lnTo>
                    <a:pt x="13608" y="5017"/>
                  </a:lnTo>
                  <a:lnTo>
                    <a:pt x="13615" y="5028"/>
                  </a:lnTo>
                  <a:lnTo>
                    <a:pt x="13621" y="5039"/>
                  </a:lnTo>
                  <a:lnTo>
                    <a:pt x="13627" y="5050"/>
                  </a:lnTo>
                  <a:lnTo>
                    <a:pt x="13631" y="5061"/>
                  </a:lnTo>
                  <a:lnTo>
                    <a:pt x="13636" y="5073"/>
                  </a:lnTo>
                  <a:lnTo>
                    <a:pt x="13641" y="5084"/>
                  </a:lnTo>
                  <a:lnTo>
                    <a:pt x="13644" y="5096"/>
                  </a:lnTo>
                  <a:lnTo>
                    <a:pt x="13646" y="5107"/>
                  </a:lnTo>
                  <a:lnTo>
                    <a:pt x="13648" y="5119"/>
                  </a:lnTo>
                  <a:lnTo>
                    <a:pt x="13650" y="5131"/>
                  </a:lnTo>
                  <a:lnTo>
                    <a:pt x="13651" y="5143"/>
                  </a:lnTo>
                  <a:lnTo>
                    <a:pt x="13651" y="5156"/>
                  </a:lnTo>
                  <a:lnTo>
                    <a:pt x="13651" y="5168"/>
                  </a:lnTo>
                  <a:lnTo>
                    <a:pt x="13650" y="5180"/>
                  </a:lnTo>
                  <a:lnTo>
                    <a:pt x="13648" y="5192"/>
                  </a:lnTo>
                  <a:lnTo>
                    <a:pt x="13646" y="5204"/>
                  </a:lnTo>
                  <a:lnTo>
                    <a:pt x="13644" y="5216"/>
                  </a:lnTo>
                  <a:lnTo>
                    <a:pt x="13641" y="5227"/>
                  </a:lnTo>
                  <a:lnTo>
                    <a:pt x="13636" y="5239"/>
                  </a:lnTo>
                  <a:lnTo>
                    <a:pt x="13631" y="5250"/>
                  </a:lnTo>
                  <a:lnTo>
                    <a:pt x="13627" y="5261"/>
                  </a:lnTo>
                  <a:lnTo>
                    <a:pt x="13621" y="5273"/>
                  </a:lnTo>
                  <a:lnTo>
                    <a:pt x="13615" y="5284"/>
                  </a:lnTo>
                  <a:lnTo>
                    <a:pt x="13608" y="5295"/>
                  </a:lnTo>
                  <a:lnTo>
                    <a:pt x="13601" y="5305"/>
                  </a:lnTo>
                  <a:lnTo>
                    <a:pt x="13593" y="5315"/>
                  </a:lnTo>
                  <a:lnTo>
                    <a:pt x="13585" y="5325"/>
                  </a:lnTo>
                  <a:lnTo>
                    <a:pt x="13576" y="5334"/>
                  </a:lnTo>
                  <a:close/>
                  <a:moveTo>
                    <a:pt x="8378" y="13292"/>
                  </a:moveTo>
                  <a:lnTo>
                    <a:pt x="8366" y="13321"/>
                  </a:lnTo>
                  <a:lnTo>
                    <a:pt x="8352" y="13350"/>
                  </a:lnTo>
                  <a:lnTo>
                    <a:pt x="8336" y="13377"/>
                  </a:lnTo>
                  <a:lnTo>
                    <a:pt x="8318" y="13403"/>
                  </a:lnTo>
                  <a:lnTo>
                    <a:pt x="8300" y="13427"/>
                  </a:lnTo>
                  <a:lnTo>
                    <a:pt x="8280" y="13450"/>
                  </a:lnTo>
                  <a:lnTo>
                    <a:pt x="8258" y="13473"/>
                  </a:lnTo>
                  <a:lnTo>
                    <a:pt x="8235" y="13494"/>
                  </a:lnTo>
                  <a:lnTo>
                    <a:pt x="8210" y="13513"/>
                  </a:lnTo>
                  <a:lnTo>
                    <a:pt x="8185" y="13530"/>
                  </a:lnTo>
                  <a:lnTo>
                    <a:pt x="8159" y="13546"/>
                  </a:lnTo>
                  <a:lnTo>
                    <a:pt x="8132" y="13560"/>
                  </a:lnTo>
                  <a:lnTo>
                    <a:pt x="8104" y="13573"/>
                  </a:lnTo>
                  <a:lnTo>
                    <a:pt x="8074" y="13585"/>
                  </a:lnTo>
                  <a:lnTo>
                    <a:pt x="8044" y="13594"/>
                  </a:lnTo>
                  <a:lnTo>
                    <a:pt x="8013" y="13601"/>
                  </a:lnTo>
                  <a:lnTo>
                    <a:pt x="7985" y="13607"/>
                  </a:lnTo>
                  <a:lnTo>
                    <a:pt x="7956" y="13610"/>
                  </a:lnTo>
                  <a:lnTo>
                    <a:pt x="7927" y="13612"/>
                  </a:lnTo>
                  <a:lnTo>
                    <a:pt x="7899" y="13612"/>
                  </a:lnTo>
                  <a:lnTo>
                    <a:pt x="7874" y="13611"/>
                  </a:lnTo>
                  <a:lnTo>
                    <a:pt x="7850" y="13609"/>
                  </a:lnTo>
                  <a:lnTo>
                    <a:pt x="7827" y="13605"/>
                  </a:lnTo>
                  <a:lnTo>
                    <a:pt x="7804" y="13601"/>
                  </a:lnTo>
                  <a:lnTo>
                    <a:pt x="7781" y="13595"/>
                  </a:lnTo>
                  <a:lnTo>
                    <a:pt x="7758" y="13589"/>
                  </a:lnTo>
                  <a:lnTo>
                    <a:pt x="7736" y="13580"/>
                  </a:lnTo>
                  <a:lnTo>
                    <a:pt x="7714" y="13571"/>
                  </a:lnTo>
                  <a:lnTo>
                    <a:pt x="7691" y="13562"/>
                  </a:lnTo>
                  <a:lnTo>
                    <a:pt x="7670" y="13551"/>
                  </a:lnTo>
                  <a:lnTo>
                    <a:pt x="7650" y="13539"/>
                  </a:lnTo>
                  <a:lnTo>
                    <a:pt x="7630" y="13526"/>
                  </a:lnTo>
                  <a:lnTo>
                    <a:pt x="7610" y="13512"/>
                  </a:lnTo>
                  <a:lnTo>
                    <a:pt x="7591" y="13497"/>
                  </a:lnTo>
                  <a:lnTo>
                    <a:pt x="7573" y="13482"/>
                  </a:lnTo>
                  <a:lnTo>
                    <a:pt x="7556" y="13465"/>
                  </a:lnTo>
                  <a:lnTo>
                    <a:pt x="1154" y="7119"/>
                  </a:lnTo>
                  <a:lnTo>
                    <a:pt x="1133" y="7096"/>
                  </a:lnTo>
                  <a:lnTo>
                    <a:pt x="1113" y="7072"/>
                  </a:lnTo>
                  <a:lnTo>
                    <a:pt x="1094" y="7048"/>
                  </a:lnTo>
                  <a:lnTo>
                    <a:pt x="1078" y="7022"/>
                  </a:lnTo>
                  <a:lnTo>
                    <a:pt x="1063" y="6996"/>
                  </a:lnTo>
                  <a:lnTo>
                    <a:pt x="1050" y="6967"/>
                  </a:lnTo>
                  <a:lnTo>
                    <a:pt x="1038" y="6940"/>
                  </a:lnTo>
                  <a:lnTo>
                    <a:pt x="1029" y="6911"/>
                  </a:lnTo>
                  <a:lnTo>
                    <a:pt x="1021" y="6882"/>
                  </a:lnTo>
                  <a:lnTo>
                    <a:pt x="1014" y="6852"/>
                  </a:lnTo>
                  <a:lnTo>
                    <a:pt x="1010" y="6822"/>
                  </a:lnTo>
                  <a:lnTo>
                    <a:pt x="1007" y="6792"/>
                  </a:lnTo>
                  <a:lnTo>
                    <a:pt x="1006" y="6761"/>
                  </a:lnTo>
                  <a:lnTo>
                    <a:pt x="1007" y="6730"/>
                  </a:lnTo>
                  <a:lnTo>
                    <a:pt x="1010" y="6699"/>
                  </a:lnTo>
                  <a:lnTo>
                    <a:pt x="1015" y="6668"/>
                  </a:lnTo>
                  <a:lnTo>
                    <a:pt x="1022" y="6638"/>
                  </a:lnTo>
                  <a:lnTo>
                    <a:pt x="1030" y="6608"/>
                  </a:lnTo>
                  <a:lnTo>
                    <a:pt x="1040" y="6579"/>
                  </a:lnTo>
                  <a:lnTo>
                    <a:pt x="1052" y="6551"/>
                  </a:lnTo>
                  <a:lnTo>
                    <a:pt x="1065" y="6524"/>
                  </a:lnTo>
                  <a:lnTo>
                    <a:pt x="1080" y="6498"/>
                  </a:lnTo>
                  <a:lnTo>
                    <a:pt x="1097" y="6472"/>
                  </a:lnTo>
                  <a:lnTo>
                    <a:pt x="1116" y="6448"/>
                  </a:lnTo>
                  <a:lnTo>
                    <a:pt x="1136" y="6425"/>
                  </a:lnTo>
                  <a:lnTo>
                    <a:pt x="1156" y="6403"/>
                  </a:lnTo>
                  <a:lnTo>
                    <a:pt x="1179" y="6383"/>
                  </a:lnTo>
                  <a:lnTo>
                    <a:pt x="1202" y="6363"/>
                  </a:lnTo>
                  <a:lnTo>
                    <a:pt x="1227" y="6345"/>
                  </a:lnTo>
                  <a:lnTo>
                    <a:pt x="1252" y="6329"/>
                  </a:lnTo>
                  <a:lnTo>
                    <a:pt x="1280" y="6314"/>
                  </a:lnTo>
                  <a:lnTo>
                    <a:pt x="1308" y="6300"/>
                  </a:lnTo>
                  <a:lnTo>
                    <a:pt x="4434" y="5046"/>
                  </a:lnTo>
                  <a:lnTo>
                    <a:pt x="4632" y="5107"/>
                  </a:lnTo>
                  <a:lnTo>
                    <a:pt x="4830" y="5162"/>
                  </a:lnTo>
                  <a:lnTo>
                    <a:pt x="5027" y="5210"/>
                  </a:lnTo>
                  <a:lnTo>
                    <a:pt x="5225" y="5252"/>
                  </a:lnTo>
                  <a:lnTo>
                    <a:pt x="5422" y="5290"/>
                  </a:lnTo>
                  <a:lnTo>
                    <a:pt x="5620" y="5323"/>
                  </a:lnTo>
                  <a:lnTo>
                    <a:pt x="5817" y="5353"/>
                  </a:lnTo>
                  <a:lnTo>
                    <a:pt x="6016" y="5380"/>
                  </a:lnTo>
                  <a:lnTo>
                    <a:pt x="6410" y="5431"/>
                  </a:lnTo>
                  <a:lnTo>
                    <a:pt x="6805" y="5480"/>
                  </a:lnTo>
                  <a:lnTo>
                    <a:pt x="7003" y="5507"/>
                  </a:lnTo>
                  <a:lnTo>
                    <a:pt x="7201" y="5536"/>
                  </a:lnTo>
                  <a:lnTo>
                    <a:pt x="7398" y="5568"/>
                  </a:lnTo>
                  <a:lnTo>
                    <a:pt x="7596" y="5603"/>
                  </a:lnTo>
                  <a:lnTo>
                    <a:pt x="7793" y="5643"/>
                  </a:lnTo>
                  <a:lnTo>
                    <a:pt x="7991" y="5688"/>
                  </a:lnTo>
                  <a:lnTo>
                    <a:pt x="8188" y="5739"/>
                  </a:lnTo>
                  <a:lnTo>
                    <a:pt x="8385" y="5798"/>
                  </a:lnTo>
                  <a:lnTo>
                    <a:pt x="8584" y="5864"/>
                  </a:lnTo>
                  <a:lnTo>
                    <a:pt x="8781" y="5939"/>
                  </a:lnTo>
                  <a:lnTo>
                    <a:pt x="8979" y="6023"/>
                  </a:lnTo>
                  <a:lnTo>
                    <a:pt x="9176" y="6116"/>
                  </a:lnTo>
                  <a:lnTo>
                    <a:pt x="9373" y="6221"/>
                  </a:lnTo>
                  <a:lnTo>
                    <a:pt x="9571" y="6337"/>
                  </a:lnTo>
                  <a:lnTo>
                    <a:pt x="9769" y="6466"/>
                  </a:lnTo>
                  <a:lnTo>
                    <a:pt x="9967" y="6608"/>
                  </a:lnTo>
                  <a:lnTo>
                    <a:pt x="10164" y="6765"/>
                  </a:lnTo>
                  <a:lnTo>
                    <a:pt x="10361" y="6935"/>
                  </a:lnTo>
                  <a:lnTo>
                    <a:pt x="10559" y="7122"/>
                  </a:lnTo>
                  <a:lnTo>
                    <a:pt x="10756" y="7324"/>
                  </a:lnTo>
                  <a:lnTo>
                    <a:pt x="8378" y="13292"/>
                  </a:lnTo>
                  <a:close/>
                  <a:moveTo>
                    <a:pt x="10402" y="369"/>
                  </a:moveTo>
                  <a:lnTo>
                    <a:pt x="10379" y="347"/>
                  </a:lnTo>
                  <a:lnTo>
                    <a:pt x="10356" y="326"/>
                  </a:lnTo>
                  <a:lnTo>
                    <a:pt x="10333" y="305"/>
                  </a:lnTo>
                  <a:lnTo>
                    <a:pt x="10310" y="286"/>
                  </a:lnTo>
                  <a:lnTo>
                    <a:pt x="10286" y="266"/>
                  </a:lnTo>
                  <a:lnTo>
                    <a:pt x="10261" y="247"/>
                  </a:lnTo>
                  <a:lnTo>
                    <a:pt x="10235" y="229"/>
                  </a:lnTo>
                  <a:lnTo>
                    <a:pt x="10210" y="211"/>
                  </a:lnTo>
                  <a:lnTo>
                    <a:pt x="10184" y="195"/>
                  </a:lnTo>
                  <a:lnTo>
                    <a:pt x="10158" y="179"/>
                  </a:lnTo>
                  <a:lnTo>
                    <a:pt x="10132" y="163"/>
                  </a:lnTo>
                  <a:lnTo>
                    <a:pt x="10105" y="148"/>
                  </a:lnTo>
                  <a:lnTo>
                    <a:pt x="10077" y="133"/>
                  </a:lnTo>
                  <a:lnTo>
                    <a:pt x="10050" y="120"/>
                  </a:lnTo>
                  <a:lnTo>
                    <a:pt x="10022" y="108"/>
                  </a:lnTo>
                  <a:lnTo>
                    <a:pt x="9994" y="96"/>
                  </a:lnTo>
                  <a:lnTo>
                    <a:pt x="9966" y="84"/>
                  </a:lnTo>
                  <a:lnTo>
                    <a:pt x="9938" y="74"/>
                  </a:lnTo>
                  <a:lnTo>
                    <a:pt x="9908" y="64"/>
                  </a:lnTo>
                  <a:lnTo>
                    <a:pt x="9879" y="55"/>
                  </a:lnTo>
                  <a:lnTo>
                    <a:pt x="9850" y="46"/>
                  </a:lnTo>
                  <a:lnTo>
                    <a:pt x="9820" y="38"/>
                  </a:lnTo>
                  <a:lnTo>
                    <a:pt x="9791" y="31"/>
                  </a:lnTo>
                  <a:lnTo>
                    <a:pt x="9761" y="25"/>
                  </a:lnTo>
                  <a:lnTo>
                    <a:pt x="9730" y="19"/>
                  </a:lnTo>
                  <a:lnTo>
                    <a:pt x="9699" y="14"/>
                  </a:lnTo>
                  <a:lnTo>
                    <a:pt x="9669" y="9"/>
                  </a:lnTo>
                  <a:lnTo>
                    <a:pt x="9638" y="6"/>
                  </a:lnTo>
                  <a:lnTo>
                    <a:pt x="9607" y="3"/>
                  </a:lnTo>
                  <a:lnTo>
                    <a:pt x="9577" y="2"/>
                  </a:lnTo>
                  <a:lnTo>
                    <a:pt x="9544" y="0"/>
                  </a:lnTo>
                  <a:lnTo>
                    <a:pt x="9513" y="0"/>
                  </a:lnTo>
                  <a:lnTo>
                    <a:pt x="9482" y="0"/>
                  </a:lnTo>
                  <a:lnTo>
                    <a:pt x="9451" y="2"/>
                  </a:lnTo>
                  <a:lnTo>
                    <a:pt x="9420" y="3"/>
                  </a:lnTo>
                  <a:lnTo>
                    <a:pt x="9388" y="6"/>
                  </a:lnTo>
                  <a:lnTo>
                    <a:pt x="9357" y="9"/>
                  </a:lnTo>
                  <a:lnTo>
                    <a:pt x="9327" y="14"/>
                  </a:lnTo>
                  <a:lnTo>
                    <a:pt x="9297" y="19"/>
                  </a:lnTo>
                  <a:lnTo>
                    <a:pt x="9266" y="25"/>
                  </a:lnTo>
                  <a:lnTo>
                    <a:pt x="9236" y="31"/>
                  </a:lnTo>
                  <a:lnTo>
                    <a:pt x="9206" y="38"/>
                  </a:lnTo>
                  <a:lnTo>
                    <a:pt x="9176" y="46"/>
                  </a:lnTo>
                  <a:lnTo>
                    <a:pt x="9147" y="55"/>
                  </a:lnTo>
                  <a:lnTo>
                    <a:pt x="9118" y="64"/>
                  </a:lnTo>
                  <a:lnTo>
                    <a:pt x="9089" y="74"/>
                  </a:lnTo>
                  <a:lnTo>
                    <a:pt x="9060" y="84"/>
                  </a:lnTo>
                  <a:lnTo>
                    <a:pt x="9031" y="96"/>
                  </a:lnTo>
                  <a:lnTo>
                    <a:pt x="9003" y="108"/>
                  </a:lnTo>
                  <a:lnTo>
                    <a:pt x="8976" y="120"/>
                  </a:lnTo>
                  <a:lnTo>
                    <a:pt x="8948" y="134"/>
                  </a:lnTo>
                  <a:lnTo>
                    <a:pt x="8921" y="149"/>
                  </a:lnTo>
                  <a:lnTo>
                    <a:pt x="8894" y="163"/>
                  </a:lnTo>
                  <a:lnTo>
                    <a:pt x="8867" y="179"/>
                  </a:lnTo>
                  <a:lnTo>
                    <a:pt x="8841" y="195"/>
                  </a:lnTo>
                  <a:lnTo>
                    <a:pt x="8816" y="211"/>
                  </a:lnTo>
                  <a:lnTo>
                    <a:pt x="8790" y="229"/>
                  </a:lnTo>
                  <a:lnTo>
                    <a:pt x="8766" y="247"/>
                  </a:lnTo>
                  <a:lnTo>
                    <a:pt x="8741" y="267"/>
                  </a:lnTo>
                  <a:lnTo>
                    <a:pt x="8716" y="286"/>
                  </a:lnTo>
                  <a:lnTo>
                    <a:pt x="8692" y="306"/>
                  </a:lnTo>
                  <a:lnTo>
                    <a:pt x="8669" y="326"/>
                  </a:lnTo>
                  <a:lnTo>
                    <a:pt x="8646" y="348"/>
                  </a:lnTo>
                  <a:lnTo>
                    <a:pt x="8624" y="369"/>
                  </a:lnTo>
                  <a:lnTo>
                    <a:pt x="7914" y="1081"/>
                  </a:lnTo>
                  <a:lnTo>
                    <a:pt x="7892" y="1104"/>
                  </a:lnTo>
                  <a:lnTo>
                    <a:pt x="7870" y="1128"/>
                  </a:lnTo>
                  <a:lnTo>
                    <a:pt x="7850" y="1151"/>
                  </a:lnTo>
                  <a:lnTo>
                    <a:pt x="7829" y="1174"/>
                  </a:lnTo>
                  <a:lnTo>
                    <a:pt x="7810" y="1199"/>
                  </a:lnTo>
                  <a:lnTo>
                    <a:pt x="7792" y="1223"/>
                  </a:lnTo>
                  <a:lnTo>
                    <a:pt x="7773" y="1249"/>
                  </a:lnTo>
                  <a:lnTo>
                    <a:pt x="7756" y="1274"/>
                  </a:lnTo>
                  <a:lnTo>
                    <a:pt x="7739" y="1300"/>
                  </a:lnTo>
                  <a:lnTo>
                    <a:pt x="7723" y="1326"/>
                  </a:lnTo>
                  <a:lnTo>
                    <a:pt x="7707" y="1352"/>
                  </a:lnTo>
                  <a:lnTo>
                    <a:pt x="7692" y="1380"/>
                  </a:lnTo>
                  <a:lnTo>
                    <a:pt x="7678" y="1407"/>
                  </a:lnTo>
                  <a:lnTo>
                    <a:pt x="7665" y="1434"/>
                  </a:lnTo>
                  <a:lnTo>
                    <a:pt x="7652" y="1462"/>
                  </a:lnTo>
                  <a:lnTo>
                    <a:pt x="7640" y="1491"/>
                  </a:lnTo>
                  <a:lnTo>
                    <a:pt x="7629" y="1519"/>
                  </a:lnTo>
                  <a:lnTo>
                    <a:pt x="7618" y="1547"/>
                  </a:lnTo>
                  <a:lnTo>
                    <a:pt x="7608" y="1576"/>
                  </a:lnTo>
                  <a:lnTo>
                    <a:pt x="7599" y="1606"/>
                  </a:lnTo>
                  <a:lnTo>
                    <a:pt x="7591" y="1636"/>
                  </a:lnTo>
                  <a:lnTo>
                    <a:pt x="7583" y="1665"/>
                  </a:lnTo>
                  <a:lnTo>
                    <a:pt x="7576" y="1695"/>
                  </a:lnTo>
                  <a:lnTo>
                    <a:pt x="7569" y="1725"/>
                  </a:lnTo>
                  <a:lnTo>
                    <a:pt x="7564" y="1756"/>
                  </a:lnTo>
                  <a:lnTo>
                    <a:pt x="7559" y="1786"/>
                  </a:lnTo>
                  <a:lnTo>
                    <a:pt x="7555" y="1817"/>
                  </a:lnTo>
                  <a:lnTo>
                    <a:pt x="7551" y="1848"/>
                  </a:lnTo>
                  <a:lnTo>
                    <a:pt x="7549" y="1879"/>
                  </a:lnTo>
                  <a:lnTo>
                    <a:pt x="7547" y="1911"/>
                  </a:lnTo>
                  <a:lnTo>
                    <a:pt x="7546" y="1942"/>
                  </a:lnTo>
                  <a:lnTo>
                    <a:pt x="7545" y="1974"/>
                  </a:lnTo>
                  <a:lnTo>
                    <a:pt x="7546" y="2018"/>
                  </a:lnTo>
                  <a:lnTo>
                    <a:pt x="7548" y="2062"/>
                  </a:lnTo>
                  <a:lnTo>
                    <a:pt x="7552" y="2106"/>
                  </a:lnTo>
                  <a:lnTo>
                    <a:pt x="7557" y="2150"/>
                  </a:lnTo>
                  <a:lnTo>
                    <a:pt x="7564" y="2192"/>
                  </a:lnTo>
                  <a:lnTo>
                    <a:pt x="7572" y="2236"/>
                  </a:lnTo>
                  <a:lnTo>
                    <a:pt x="7582" y="2278"/>
                  </a:lnTo>
                  <a:lnTo>
                    <a:pt x="7593" y="2319"/>
                  </a:lnTo>
                  <a:lnTo>
                    <a:pt x="7605" y="2361"/>
                  </a:lnTo>
                  <a:lnTo>
                    <a:pt x="7619" y="2402"/>
                  </a:lnTo>
                  <a:lnTo>
                    <a:pt x="7634" y="2442"/>
                  </a:lnTo>
                  <a:lnTo>
                    <a:pt x="7651" y="2483"/>
                  </a:lnTo>
                  <a:lnTo>
                    <a:pt x="7669" y="2522"/>
                  </a:lnTo>
                  <a:lnTo>
                    <a:pt x="7688" y="2560"/>
                  </a:lnTo>
                  <a:lnTo>
                    <a:pt x="7710" y="2599"/>
                  </a:lnTo>
                  <a:lnTo>
                    <a:pt x="7732" y="2635"/>
                  </a:lnTo>
                  <a:lnTo>
                    <a:pt x="902" y="5377"/>
                  </a:lnTo>
                  <a:lnTo>
                    <a:pt x="860" y="5397"/>
                  </a:lnTo>
                  <a:lnTo>
                    <a:pt x="819" y="5418"/>
                  </a:lnTo>
                  <a:lnTo>
                    <a:pt x="778" y="5440"/>
                  </a:lnTo>
                  <a:lnTo>
                    <a:pt x="737" y="5462"/>
                  </a:lnTo>
                  <a:lnTo>
                    <a:pt x="699" y="5486"/>
                  </a:lnTo>
                  <a:lnTo>
                    <a:pt x="660" y="5511"/>
                  </a:lnTo>
                  <a:lnTo>
                    <a:pt x="623" y="5539"/>
                  </a:lnTo>
                  <a:lnTo>
                    <a:pt x="586" y="5566"/>
                  </a:lnTo>
                  <a:lnTo>
                    <a:pt x="550" y="5594"/>
                  </a:lnTo>
                  <a:lnTo>
                    <a:pt x="516" y="5623"/>
                  </a:lnTo>
                  <a:lnTo>
                    <a:pt x="482" y="5655"/>
                  </a:lnTo>
                  <a:lnTo>
                    <a:pt x="450" y="5686"/>
                  </a:lnTo>
                  <a:lnTo>
                    <a:pt x="417" y="5718"/>
                  </a:lnTo>
                  <a:lnTo>
                    <a:pt x="386" y="5751"/>
                  </a:lnTo>
                  <a:lnTo>
                    <a:pt x="357" y="5786"/>
                  </a:lnTo>
                  <a:lnTo>
                    <a:pt x="328" y="5821"/>
                  </a:lnTo>
                  <a:lnTo>
                    <a:pt x="301" y="5857"/>
                  </a:lnTo>
                  <a:lnTo>
                    <a:pt x="274" y="5894"/>
                  </a:lnTo>
                  <a:lnTo>
                    <a:pt x="248" y="5931"/>
                  </a:lnTo>
                  <a:lnTo>
                    <a:pt x="224" y="5969"/>
                  </a:lnTo>
                  <a:lnTo>
                    <a:pt x="200" y="6009"/>
                  </a:lnTo>
                  <a:lnTo>
                    <a:pt x="179" y="6049"/>
                  </a:lnTo>
                  <a:lnTo>
                    <a:pt x="158" y="6089"/>
                  </a:lnTo>
                  <a:lnTo>
                    <a:pt x="138" y="6131"/>
                  </a:lnTo>
                  <a:lnTo>
                    <a:pt x="120" y="6172"/>
                  </a:lnTo>
                  <a:lnTo>
                    <a:pt x="103" y="6214"/>
                  </a:lnTo>
                  <a:lnTo>
                    <a:pt x="87" y="6258"/>
                  </a:lnTo>
                  <a:lnTo>
                    <a:pt x="71" y="6301"/>
                  </a:lnTo>
                  <a:lnTo>
                    <a:pt x="58" y="6345"/>
                  </a:lnTo>
                  <a:lnTo>
                    <a:pt x="46" y="6390"/>
                  </a:lnTo>
                  <a:lnTo>
                    <a:pt x="36" y="6435"/>
                  </a:lnTo>
                  <a:lnTo>
                    <a:pt x="26" y="6481"/>
                  </a:lnTo>
                  <a:lnTo>
                    <a:pt x="18" y="6527"/>
                  </a:lnTo>
                  <a:lnTo>
                    <a:pt x="12" y="6573"/>
                  </a:lnTo>
                  <a:lnTo>
                    <a:pt x="7" y="6620"/>
                  </a:lnTo>
                  <a:lnTo>
                    <a:pt x="3" y="6666"/>
                  </a:lnTo>
                  <a:lnTo>
                    <a:pt x="1" y="6712"/>
                  </a:lnTo>
                  <a:lnTo>
                    <a:pt x="0" y="6759"/>
                  </a:lnTo>
                  <a:lnTo>
                    <a:pt x="1" y="6804"/>
                  </a:lnTo>
                  <a:lnTo>
                    <a:pt x="3" y="6850"/>
                  </a:lnTo>
                  <a:lnTo>
                    <a:pt x="6" y="6896"/>
                  </a:lnTo>
                  <a:lnTo>
                    <a:pt x="11" y="6941"/>
                  </a:lnTo>
                  <a:lnTo>
                    <a:pt x="17" y="6987"/>
                  </a:lnTo>
                  <a:lnTo>
                    <a:pt x="24" y="7032"/>
                  </a:lnTo>
                  <a:lnTo>
                    <a:pt x="33" y="7076"/>
                  </a:lnTo>
                  <a:lnTo>
                    <a:pt x="43" y="7121"/>
                  </a:lnTo>
                  <a:lnTo>
                    <a:pt x="55" y="7165"/>
                  </a:lnTo>
                  <a:lnTo>
                    <a:pt x="67" y="7209"/>
                  </a:lnTo>
                  <a:lnTo>
                    <a:pt x="81" y="7253"/>
                  </a:lnTo>
                  <a:lnTo>
                    <a:pt x="98" y="7295"/>
                  </a:lnTo>
                  <a:lnTo>
                    <a:pt x="114" y="7337"/>
                  </a:lnTo>
                  <a:lnTo>
                    <a:pt x="132" y="7380"/>
                  </a:lnTo>
                  <a:lnTo>
                    <a:pt x="152" y="7421"/>
                  </a:lnTo>
                  <a:lnTo>
                    <a:pt x="172" y="7462"/>
                  </a:lnTo>
                  <a:lnTo>
                    <a:pt x="194" y="7503"/>
                  </a:lnTo>
                  <a:lnTo>
                    <a:pt x="217" y="7542"/>
                  </a:lnTo>
                  <a:lnTo>
                    <a:pt x="241" y="7581"/>
                  </a:lnTo>
                  <a:lnTo>
                    <a:pt x="268" y="7620"/>
                  </a:lnTo>
                  <a:lnTo>
                    <a:pt x="294" y="7658"/>
                  </a:lnTo>
                  <a:lnTo>
                    <a:pt x="322" y="7695"/>
                  </a:lnTo>
                  <a:lnTo>
                    <a:pt x="351" y="7732"/>
                  </a:lnTo>
                  <a:lnTo>
                    <a:pt x="382" y="7767"/>
                  </a:lnTo>
                  <a:lnTo>
                    <a:pt x="413" y="7801"/>
                  </a:lnTo>
                  <a:lnTo>
                    <a:pt x="447" y="7835"/>
                  </a:lnTo>
                  <a:lnTo>
                    <a:pt x="6844" y="14177"/>
                  </a:lnTo>
                  <a:lnTo>
                    <a:pt x="6871" y="14203"/>
                  </a:lnTo>
                  <a:lnTo>
                    <a:pt x="6897" y="14228"/>
                  </a:lnTo>
                  <a:lnTo>
                    <a:pt x="6924" y="14252"/>
                  </a:lnTo>
                  <a:lnTo>
                    <a:pt x="6952" y="14275"/>
                  </a:lnTo>
                  <a:lnTo>
                    <a:pt x="6979" y="14298"/>
                  </a:lnTo>
                  <a:lnTo>
                    <a:pt x="7008" y="14320"/>
                  </a:lnTo>
                  <a:lnTo>
                    <a:pt x="7038" y="14341"/>
                  </a:lnTo>
                  <a:lnTo>
                    <a:pt x="7067" y="14362"/>
                  </a:lnTo>
                  <a:lnTo>
                    <a:pt x="7097" y="14381"/>
                  </a:lnTo>
                  <a:lnTo>
                    <a:pt x="7127" y="14400"/>
                  </a:lnTo>
                  <a:lnTo>
                    <a:pt x="7157" y="14418"/>
                  </a:lnTo>
                  <a:lnTo>
                    <a:pt x="7188" y="14436"/>
                  </a:lnTo>
                  <a:lnTo>
                    <a:pt x="7221" y="14453"/>
                  </a:lnTo>
                  <a:lnTo>
                    <a:pt x="7252" y="14469"/>
                  </a:lnTo>
                  <a:lnTo>
                    <a:pt x="7284" y="14484"/>
                  </a:lnTo>
                  <a:lnTo>
                    <a:pt x="7316" y="14499"/>
                  </a:lnTo>
                  <a:lnTo>
                    <a:pt x="7349" y="14512"/>
                  </a:lnTo>
                  <a:lnTo>
                    <a:pt x="7383" y="14525"/>
                  </a:lnTo>
                  <a:lnTo>
                    <a:pt x="7416" y="14537"/>
                  </a:lnTo>
                  <a:lnTo>
                    <a:pt x="7450" y="14548"/>
                  </a:lnTo>
                  <a:lnTo>
                    <a:pt x="7484" y="14558"/>
                  </a:lnTo>
                  <a:lnTo>
                    <a:pt x="7518" y="14569"/>
                  </a:lnTo>
                  <a:lnTo>
                    <a:pt x="7553" y="14578"/>
                  </a:lnTo>
                  <a:lnTo>
                    <a:pt x="7588" y="14586"/>
                  </a:lnTo>
                  <a:lnTo>
                    <a:pt x="7623" y="14593"/>
                  </a:lnTo>
                  <a:lnTo>
                    <a:pt x="7657" y="14599"/>
                  </a:lnTo>
                  <a:lnTo>
                    <a:pt x="7693" y="14605"/>
                  </a:lnTo>
                  <a:lnTo>
                    <a:pt x="7729" y="14609"/>
                  </a:lnTo>
                  <a:lnTo>
                    <a:pt x="7765" y="14613"/>
                  </a:lnTo>
                  <a:lnTo>
                    <a:pt x="7800" y="14616"/>
                  </a:lnTo>
                  <a:lnTo>
                    <a:pt x="7836" y="14618"/>
                  </a:lnTo>
                  <a:lnTo>
                    <a:pt x="7872" y="14619"/>
                  </a:lnTo>
                  <a:lnTo>
                    <a:pt x="7882" y="14620"/>
                  </a:lnTo>
                  <a:lnTo>
                    <a:pt x="7892" y="14620"/>
                  </a:lnTo>
                  <a:lnTo>
                    <a:pt x="7903" y="14620"/>
                  </a:lnTo>
                  <a:lnTo>
                    <a:pt x="7911" y="14620"/>
                  </a:lnTo>
                  <a:lnTo>
                    <a:pt x="7949" y="14619"/>
                  </a:lnTo>
                  <a:lnTo>
                    <a:pt x="7987" y="14618"/>
                  </a:lnTo>
                  <a:lnTo>
                    <a:pt x="8025" y="14616"/>
                  </a:lnTo>
                  <a:lnTo>
                    <a:pt x="8065" y="14612"/>
                  </a:lnTo>
                  <a:lnTo>
                    <a:pt x="8103" y="14608"/>
                  </a:lnTo>
                  <a:lnTo>
                    <a:pt x="8141" y="14602"/>
                  </a:lnTo>
                  <a:lnTo>
                    <a:pt x="8179" y="14596"/>
                  </a:lnTo>
                  <a:lnTo>
                    <a:pt x="8219" y="14589"/>
                  </a:lnTo>
                  <a:lnTo>
                    <a:pt x="8265" y="14578"/>
                  </a:lnTo>
                  <a:lnTo>
                    <a:pt x="8311" y="14566"/>
                  </a:lnTo>
                  <a:lnTo>
                    <a:pt x="8356" y="14552"/>
                  </a:lnTo>
                  <a:lnTo>
                    <a:pt x="8401" y="14538"/>
                  </a:lnTo>
                  <a:lnTo>
                    <a:pt x="8445" y="14522"/>
                  </a:lnTo>
                  <a:lnTo>
                    <a:pt x="8489" y="14505"/>
                  </a:lnTo>
                  <a:lnTo>
                    <a:pt x="8531" y="14487"/>
                  </a:lnTo>
                  <a:lnTo>
                    <a:pt x="8574" y="14467"/>
                  </a:lnTo>
                  <a:lnTo>
                    <a:pt x="8616" y="14446"/>
                  </a:lnTo>
                  <a:lnTo>
                    <a:pt x="8656" y="14423"/>
                  </a:lnTo>
                  <a:lnTo>
                    <a:pt x="8696" y="14400"/>
                  </a:lnTo>
                  <a:lnTo>
                    <a:pt x="8736" y="14375"/>
                  </a:lnTo>
                  <a:lnTo>
                    <a:pt x="8774" y="14350"/>
                  </a:lnTo>
                  <a:lnTo>
                    <a:pt x="8811" y="14323"/>
                  </a:lnTo>
                  <a:lnTo>
                    <a:pt x="8847" y="14294"/>
                  </a:lnTo>
                  <a:lnTo>
                    <a:pt x="8883" y="14265"/>
                  </a:lnTo>
                  <a:lnTo>
                    <a:pt x="8918" y="14235"/>
                  </a:lnTo>
                  <a:lnTo>
                    <a:pt x="8952" y="14204"/>
                  </a:lnTo>
                  <a:lnTo>
                    <a:pt x="8985" y="14171"/>
                  </a:lnTo>
                  <a:lnTo>
                    <a:pt x="9017" y="14138"/>
                  </a:lnTo>
                  <a:lnTo>
                    <a:pt x="9047" y="14104"/>
                  </a:lnTo>
                  <a:lnTo>
                    <a:pt x="9078" y="14068"/>
                  </a:lnTo>
                  <a:lnTo>
                    <a:pt x="9106" y="14032"/>
                  </a:lnTo>
                  <a:lnTo>
                    <a:pt x="9134" y="13995"/>
                  </a:lnTo>
                  <a:lnTo>
                    <a:pt x="9160" y="13957"/>
                  </a:lnTo>
                  <a:lnTo>
                    <a:pt x="9186" y="13918"/>
                  </a:lnTo>
                  <a:lnTo>
                    <a:pt x="9210" y="13878"/>
                  </a:lnTo>
                  <a:lnTo>
                    <a:pt x="9232" y="13838"/>
                  </a:lnTo>
                  <a:lnTo>
                    <a:pt x="9255" y="13796"/>
                  </a:lnTo>
                  <a:lnTo>
                    <a:pt x="9276" y="13754"/>
                  </a:lnTo>
                  <a:lnTo>
                    <a:pt x="9295" y="13711"/>
                  </a:lnTo>
                  <a:lnTo>
                    <a:pt x="9313" y="13666"/>
                  </a:lnTo>
                  <a:lnTo>
                    <a:pt x="12000" y="6923"/>
                  </a:lnTo>
                  <a:lnTo>
                    <a:pt x="12038" y="6948"/>
                  </a:lnTo>
                  <a:lnTo>
                    <a:pt x="12077" y="6970"/>
                  </a:lnTo>
                  <a:lnTo>
                    <a:pt x="12118" y="6993"/>
                  </a:lnTo>
                  <a:lnTo>
                    <a:pt x="12158" y="7012"/>
                  </a:lnTo>
                  <a:lnTo>
                    <a:pt x="12199" y="7031"/>
                  </a:lnTo>
                  <a:lnTo>
                    <a:pt x="12241" y="7047"/>
                  </a:lnTo>
                  <a:lnTo>
                    <a:pt x="12284" y="7063"/>
                  </a:lnTo>
                  <a:lnTo>
                    <a:pt x="12327" y="7076"/>
                  </a:lnTo>
                  <a:lnTo>
                    <a:pt x="12370" y="7088"/>
                  </a:lnTo>
                  <a:lnTo>
                    <a:pt x="12414" y="7099"/>
                  </a:lnTo>
                  <a:lnTo>
                    <a:pt x="12459" y="7109"/>
                  </a:lnTo>
                  <a:lnTo>
                    <a:pt x="12504" y="7116"/>
                  </a:lnTo>
                  <a:lnTo>
                    <a:pt x="12549" y="7122"/>
                  </a:lnTo>
                  <a:lnTo>
                    <a:pt x="12595" y="7126"/>
                  </a:lnTo>
                  <a:lnTo>
                    <a:pt x="12642" y="7129"/>
                  </a:lnTo>
                  <a:lnTo>
                    <a:pt x="12688" y="7130"/>
                  </a:lnTo>
                  <a:lnTo>
                    <a:pt x="12719" y="7129"/>
                  </a:lnTo>
                  <a:lnTo>
                    <a:pt x="12750" y="7128"/>
                  </a:lnTo>
                  <a:lnTo>
                    <a:pt x="12781" y="7126"/>
                  </a:lnTo>
                  <a:lnTo>
                    <a:pt x="12813" y="7123"/>
                  </a:lnTo>
                  <a:lnTo>
                    <a:pt x="12844" y="7120"/>
                  </a:lnTo>
                  <a:lnTo>
                    <a:pt x="12874" y="7116"/>
                  </a:lnTo>
                  <a:lnTo>
                    <a:pt x="12905" y="7111"/>
                  </a:lnTo>
                  <a:lnTo>
                    <a:pt x="12935" y="7105"/>
                  </a:lnTo>
                  <a:lnTo>
                    <a:pt x="12966" y="7098"/>
                  </a:lnTo>
                  <a:lnTo>
                    <a:pt x="12995" y="7091"/>
                  </a:lnTo>
                  <a:lnTo>
                    <a:pt x="13025" y="7083"/>
                  </a:lnTo>
                  <a:lnTo>
                    <a:pt x="13054" y="7075"/>
                  </a:lnTo>
                  <a:lnTo>
                    <a:pt x="13083" y="7066"/>
                  </a:lnTo>
                  <a:lnTo>
                    <a:pt x="13112" y="7056"/>
                  </a:lnTo>
                  <a:lnTo>
                    <a:pt x="13141" y="7045"/>
                  </a:lnTo>
                  <a:lnTo>
                    <a:pt x="13170" y="7034"/>
                  </a:lnTo>
                  <a:lnTo>
                    <a:pt x="13198" y="7022"/>
                  </a:lnTo>
                  <a:lnTo>
                    <a:pt x="13225" y="7009"/>
                  </a:lnTo>
                  <a:lnTo>
                    <a:pt x="13253" y="6996"/>
                  </a:lnTo>
                  <a:lnTo>
                    <a:pt x="13280" y="6981"/>
                  </a:lnTo>
                  <a:lnTo>
                    <a:pt x="13307" y="6966"/>
                  </a:lnTo>
                  <a:lnTo>
                    <a:pt x="13334" y="6950"/>
                  </a:lnTo>
                  <a:lnTo>
                    <a:pt x="13360" y="6934"/>
                  </a:lnTo>
                  <a:lnTo>
                    <a:pt x="13385" y="6918"/>
                  </a:lnTo>
                  <a:lnTo>
                    <a:pt x="13410" y="6900"/>
                  </a:lnTo>
                  <a:lnTo>
                    <a:pt x="13435" y="6882"/>
                  </a:lnTo>
                  <a:lnTo>
                    <a:pt x="13460" y="6863"/>
                  </a:lnTo>
                  <a:lnTo>
                    <a:pt x="13485" y="6843"/>
                  </a:lnTo>
                  <a:lnTo>
                    <a:pt x="13508" y="6823"/>
                  </a:lnTo>
                  <a:lnTo>
                    <a:pt x="13532" y="6803"/>
                  </a:lnTo>
                  <a:lnTo>
                    <a:pt x="13554" y="6781"/>
                  </a:lnTo>
                  <a:lnTo>
                    <a:pt x="13577" y="6759"/>
                  </a:lnTo>
                  <a:lnTo>
                    <a:pt x="14285" y="6050"/>
                  </a:lnTo>
                  <a:lnTo>
                    <a:pt x="14307" y="6028"/>
                  </a:lnTo>
                  <a:lnTo>
                    <a:pt x="14329" y="6005"/>
                  </a:lnTo>
                  <a:lnTo>
                    <a:pt x="14350" y="5980"/>
                  </a:lnTo>
                  <a:lnTo>
                    <a:pt x="14370" y="5957"/>
                  </a:lnTo>
                  <a:lnTo>
                    <a:pt x="14389" y="5932"/>
                  </a:lnTo>
                  <a:lnTo>
                    <a:pt x="14408" y="5908"/>
                  </a:lnTo>
                  <a:lnTo>
                    <a:pt x="14426" y="5883"/>
                  </a:lnTo>
                  <a:lnTo>
                    <a:pt x="14444" y="5857"/>
                  </a:lnTo>
                  <a:lnTo>
                    <a:pt x="14460" y="5831"/>
                  </a:lnTo>
                  <a:lnTo>
                    <a:pt x="14477" y="5805"/>
                  </a:lnTo>
                  <a:lnTo>
                    <a:pt x="14493" y="5778"/>
                  </a:lnTo>
                  <a:lnTo>
                    <a:pt x="14508" y="5751"/>
                  </a:lnTo>
                  <a:lnTo>
                    <a:pt x="14522" y="5724"/>
                  </a:lnTo>
                  <a:lnTo>
                    <a:pt x="14535" y="5696"/>
                  </a:lnTo>
                  <a:lnTo>
                    <a:pt x="14548" y="5668"/>
                  </a:lnTo>
                  <a:lnTo>
                    <a:pt x="14560" y="5640"/>
                  </a:lnTo>
                  <a:lnTo>
                    <a:pt x="14572" y="5611"/>
                  </a:lnTo>
                  <a:lnTo>
                    <a:pt x="14582" y="5583"/>
                  </a:lnTo>
                  <a:lnTo>
                    <a:pt x="14592" y="5554"/>
                  </a:lnTo>
                  <a:lnTo>
                    <a:pt x="14602" y="5525"/>
                  </a:lnTo>
                  <a:lnTo>
                    <a:pt x="14610" y="5494"/>
                  </a:lnTo>
                  <a:lnTo>
                    <a:pt x="14618" y="5465"/>
                  </a:lnTo>
                  <a:lnTo>
                    <a:pt x="14625" y="5435"/>
                  </a:lnTo>
                  <a:lnTo>
                    <a:pt x="14631" y="5405"/>
                  </a:lnTo>
                  <a:lnTo>
                    <a:pt x="14637" y="5373"/>
                  </a:lnTo>
                  <a:lnTo>
                    <a:pt x="14642" y="5343"/>
                  </a:lnTo>
                  <a:lnTo>
                    <a:pt x="14646" y="5312"/>
                  </a:lnTo>
                  <a:lnTo>
                    <a:pt x="14649" y="5282"/>
                  </a:lnTo>
                  <a:lnTo>
                    <a:pt x="14652" y="5250"/>
                  </a:lnTo>
                  <a:lnTo>
                    <a:pt x="14654" y="5219"/>
                  </a:lnTo>
                  <a:lnTo>
                    <a:pt x="14656" y="5187"/>
                  </a:lnTo>
                  <a:lnTo>
                    <a:pt x="14656" y="5156"/>
                  </a:lnTo>
                  <a:lnTo>
                    <a:pt x="14656" y="5124"/>
                  </a:lnTo>
                  <a:lnTo>
                    <a:pt x="14654" y="5092"/>
                  </a:lnTo>
                  <a:lnTo>
                    <a:pt x="14652" y="5061"/>
                  </a:lnTo>
                  <a:lnTo>
                    <a:pt x="14649" y="5030"/>
                  </a:lnTo>
                  <a:lnTo>
                    <a:pt x="14646" y="4999"/>
                  </a:lnTo>
                  <a:lnTo>
                    <a:pt x="14642" y="4968"/>
                  </a:lnTo>
                  <a:lnTo>
                    <a:pt x="14637" y="4938"/>
                  </a:lnTo>
                  <a:lnTo>
                    <a:pt x="14631" y="4908"/>
                  </a:lnTo>
                  <a:lnTo>
                    <a:pt x="14625" y="4877"/>
                  </a:lnTo>
                  <a:lnTo>
                    <a:pt x="14618" y="4847"/>
                  </a:lnTo>
                  <a:lnTo>
                    <a:pt x="14610" y="4817"/>
                  </a:lnTo>
                  <a:lnTo>
                    <a:pt x="14602" y="4788"/>
                  </a:lnTo>
                  <a:lnTo>
                    <a:pt x="14592" y="4758"/>
                  </a:lnTo>
                  <a:lnTo>
                    <a:pt x="14583" y="4729"/>
                  </a:lnTo>
                  <a:lnTo>
                    <a:pt x="14572" y="4701"/>
                  </a:lnTo>
                  <a:lnTo>
                    <a:pt x="14561" y="4672"/>
                  </a:lnTo>
                  <a:lnTo>
                    <a:pt x="14549" y="4643"/>
                  </a:lnTo>
                  <a:lnTo>
                    <a:pt x="14536" y="4616"/>
                  </a:lnTo>
                  <a:lnTo>
                    <a:pt x="14523" y="4589"/>
                  </a:lnTo>
                  <a:lnTo>
                    <a:pt x="14509" y="4562"/>
                  </a:lnTo>
                  <a:lnTo>
                    <a:pt x="14494" y="4534"/>
                  </a:lnTo>
                  <a:lnTo>
                    <a:pt x="14478" y="4508"/>
                  </a:lnTo>
                  <a:lnTo>
                    <a:pt x="14462" y="4482"/>
                  </a:lnTo>
                  <a:lnTo>
                    <a:pt x="14445" y="4456"/>
                  </a:lnTo>
                  <a:lnTo>
                    <a:pt x="14428" y="4431"/>
                  </a:lnTo>
                  <a:lnTo>
                    <a:pt x="14410" y="4405"/>
                  </a:lnTo>
                  <a:lnTo>
                    <a:pt x="14391" y="4381"/>
                  </a:lnTo>
                  <a:lnTo>
                    <a:pt x="14372" y="4357"/>
                  </a:lnTo>
                  <a:lnTo>
                    <a:pt x="14352" y="4333"/>
                  </a:lnTo>
                  <a:lnTo>
                    <a:pt x="14331" y="4310"/>
                  </a:lnTo>
                  <a:lnTo>
                    <a:pt x="14309" y="4287"/>
                  </a:lnTo>
                  <a:lnTo>
                    <a:pt x="14288" y="4265"/>
                  </a:lnTo>
                  <a:lnTo>
                    <a:pt x="10402" y="3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87" name="iṥlîḍe">
              <a:extLst>
                <a:ext uri="{FF2B5EF4-FFF2-40B4-BE49-F238E27FC236}">
                  <a16:creationId xmlns:a16="http://schemas.microsoft.com/office/drawing/2014/main" id="{980DE9B9-9D52-4BFF-84F6-CC2B3F0F87D2}"/>
                </a:ext>
              </a:extLst>
            </p:cNvPr>
            <p:cNvSpPr/>
            <p:nvPr/>
          </p:nvSpPr>
          <p:spPr bwMode="auto">
            <a:xfrm>
              <a:off x="5355143" y="2149102"/>
              <a:ext cx="95878" cy="95878"/>
            </a:xfrm>
            <a:custGeom>
              <a:avLst/>
              <a:gdLst>
                <a:gd name="T0" fmla="*/ 1409 w 2514"/>
                <a:gd name="T1" fmla="*/ 519 h 2521"/>
                <a:gd name="T2" fmla="*/ 1584 w 2514"/>
                <a:gd name="T3" fmla="*/ 579 h 2521"/>
                <a:gd name="T4" fmla="*/ 1737 w 2514"/>
                <a:gd name="T5" fmla="*/ 677 h 2521"/>
                <a:gd name="T6" fmla="*/ 1862 w 2514"/>
                <a:gd name="T7" fmla="*/ 808 h 2521"/>
                <a:gd name="T8" fmla="*/ 1952 w 2514"/>
                <a:gd name="T9" fmla="*/ 966 h 2521"/>
                <a:gd name="T10" fmla="*/ 2002 w 2514"/>
                <a:gd name="T11" fmla="*/ 1145 h 2521"/>
                <a:gd name="T12" fmla="*/ 2007 w 2514"/>
                <a:gd name="T13" fmla="*/ 1338 h 2521"/>
                <a:gd name="T14" fmla="*/ 1966 w 2514"/>
                <a:gd name="T15" fmla="*/ 1520 h 2521"/>
                <a:gd name="T16" fmla="*/ 1883 w 2514"/>
                <a:gd name="T17" fmla="*/ 1683 h 2521"/>
                <a:gd name="T18" fmla="*/ 1765 w 2514"/>
                <a:gd name="T19" fmla="*/ 1820 h 2521"/>
                <a:gd name="T20" fmla="*/ 1617 w 2514"/>
                <a:gd name="T21" fmla="*/ 1925 h 2521"/>
                <a:gd name="T22" fmla="*/ 1446 w 2514"/>
                <a:gd name="T23" fmla="*/ 1992 h 2521"/>
                <a:gd name="T24" fmla="*/ 1257 w 2514"/>
                <a:gd name="T25" fmla="*/ 2017 h 2521"/>
                <a:gd name="T26" fmla="*/ 1069 w 2514"/>
                <a:gd name="T27" fmla="*/ 1992 h 2521"/>
                <a:gd name="T28" fmla="*/ 897 w 2514"/>
                <a:gd name="T29" fmla="*/ 1925 h 2521"/>
                <a:gd name="T30" fmla="*/ 750 w 2514"/>
                <a:gd name="T31" fmla="*/ 1820 h 2521"/>
                <a:gd name="T32" fmla="*/ 631 w 2514"/>
                <a:gd name="T33" fmla="*/ 1683 h 2521"/>
                <a:gd name="T34" fmla="*/ 549 w 2514"/>
                <a:gd name="T35" fmla="*/ 1520 h 2521"/>
                <a:gd name="T36" fmla="*/ 507 w 2514"/>
                <a:gd name="T37" fmla="*/ 1338 h 2521"/>
                <a:gd name="T38" fmla="*/ 512 w 2514"/>
                <a:gd name="T39" fmla="*/ 1145 h 2521"/>
                <a:gd name="T40" fmla="*/ 562 w 2514"/>
                <a:gd name="T41" fmla="*/ 966 h 2521"/>
                <a:gd name="T42" fmla="*/ 652 w 2514"/>
                <a:gd name="T43" fmla="*/ 808 h 2521"/>
                <a:gd name="T44" fmla="*/ 777 w 2514"/>
                <a:gd name="T45" fmla="*/ 677 h 2521"/>
                <a:gd name="T46" fmla="*/ 930 w 2514"/>
                <a:gd name="T47" fmla="*/ 579 h 2521"/>
                <a:gd name="T48" fmla="*/ 1105 w 2514"/>
                <a:gd name="T49" fmla="*/ 519 h 2521"/>
                <a:gd name="T50" fmla="*/ 1257 w 2514"/>
                <a:gd name="T51" fmla="*/ 2521 h 2521"/>
                <a:gd name="T52" fmla="*/ 1571 w 2514"/>
                <a:gd name="T53" fmla="*/ 2481 h 2521"/>
                <a:gd name="T54" fmla="*/ 1856 w 2514"/>
                <a:gd name="T55" fmla="*/ 2368 h 2521"/>
                <a:gd name="T56" fmla="*/ 2102 w 2514"/>
                <a:gd name="T57" fmla="*/ 2193 h 2521"/>
                <a:gd name="T58" fmla="*/ 2299 w 2514"/>
                <a:gd name="T59" fmla="*/ 1964 h 2521"/>
                <a:gd name="T60" fmla="*/ 2438 w 2514"/>
                <a:gd name="T61" fmla="*/ 1693 h 2521"/>
                <a:gd name="T62" fmla="*/ 2508 w 2514"/>
                <a:gd name="T63" fmla="*/ 1389 h 2521"/>
                <a:gd name="T64" fmla="*/ 2500 w 2514"/>
                <a:gd name="T65" fmla="*/ 1069 h 2521"/>
                <a:gd name="T66" fmla="*/ 2416 w 2514"/>
                <a:gd name="T67" fmla="*/ 770 h 2521"/>
                <a:gd name="T68" fmla="*/ 2264 w 2514"/>
                <a:gd name="T69" fmla="*/ 506 h 2521"/>
                <a:gd name="T70" fmla="*/ 2057 w 2514"/>
                <a:gd name="T71" fmla="*/ 288 h 2521"/>
                <a:gd name="T72" fmla="*/ 1801 w 2514"/>
                <a:gd name="T73" fmla="*/ 124 h 2521"/>
                <a:gd name="T74" fmla="*/ 1510 w 2514"/>
                <a:gd name="T75" fmla="*/ 25 h 2521"/>
                <a:gd name="T76" fmla="*/ 1193 w 2514"/>
                <a:gd name="T77" fmla="*/ 2 h 2521"/>
                <a:gd name="T78" fmla="*/ 884 w 2514"/>
                <a:gd name="T79" fmla="*/ 56 h 2521"/>
                <a:gd name="T80" fmla="*/ 606 w 2514"/>
                <a:gd name="T81" fmla="*/ 182 h 2521"/>
                <a:gd name="T82" fmla="*/ 369 w 2514"/>
                <a:gd name="T83" fmla="*/ 369 h 2521"/>
                <a:gd name="T84" fmla="*/ 182 w 2514"/>
                <a:gd name="T85" fmla="*/ 607 h 2521"/>
                <a:gd name="T86" fmla="*/ 57 w 2514"/>
                <a:gd name="T87" fmla="*/ 886 h 2521"/>
                <a:gd name="T88" fmla="*/ 2 w 2514"/>
                <a:gd name="T89" fmla="*/ 1196 h 2521"/>
                <a:gd name="T90" fmla="*/ 26 w 2514"/>
                <a:gd name="T91" fmla="*/ 1514 h 2521"/>
                <a:gd name="T92" fmla="*/ 124 w 2514"/>
                <a:gd name="T93" fmla="*/ 1806 h 2521"/>
                <a:gd name="T94" fmla="*/ 287 w 2514"/>
                <a:gd name="T95" fmla="*/ 2062 h 2521"/>
                <a:gd name="T96" fmla="*/ 506 w 2514"/>
                <a:gd name="T97" fmla="*/ 2270 h 2521"/>
                <a:gd name="T98" fmla="*/ 768 w 2514"/>
                <a:gd name="T99" fmla="*/ 2422 h 2521"/>
                <a:gd name="T100" fmla="*/ 1066 w 2514"/>
                <a:gd name="T101" fmla="*/ 2507 h 2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14" h="2521">
                  <a:moveTo>
                    <a:pt x="1257" y="504"/>
                  </a:moveTo>
                  <a:lnTo>
                    <a:pt x="1296" y="505"/>
                  </a:lnTo>
                  <a:lnTo>
                    <a:pt x="1334" y="508"/>
                  </a:lnTo>
                  <a:lnTo>
                    <a:pt x="1372" y="513"/>
                  </a:lnTo>
                  <a:lnTo>
                    <a:pt x="1409" y="519"/>
                  </a:lnTo>
                  <a:lnTo>
                    <a:pt x="1446" y="528"/>
                  </a:lnTo>
                  <a:lnTo>
                    <a:pt x="1481" y="538"/>
                  </a:lnTo>
                  <a:lnTo>
                    <a:pt x="1517" y="551"/>
                  </a:lnTo>
                  <a:lnTo>
                    <a:pt x="1551" y="564"/>
                  </a:lnTo>
                  <a:lnTo>
                    <a:pt x="1584" y="579"/>
                  </a:lnTo>
                  <a:lnTo>
                    <a:pt x="1617" y="596"/>
                  </a:lnTo>
                  <a:lnTo>
                    <a:pt x="1648" y="614"/>
                  </a:lnTo>
                  <a:lnTo>
                    <a:pt x="1679" y="633"/>
                  </a:lnTo>
                  <a:lnTo>
                    <a:pt x="1709" y="654"/>
                  </a:lnTo>
                  <a:lnTo>
                    <a:pt x="1737" y="677"/>
                  </a:lnTo>
                  <a:lnTo>
                    <a:pt x="1765" y="701"/>
                  </a:lnTo>
                  <a:lnTo>
                    <a:pt x="1791" y="726"/>
                  </a:lnTo>
                  <a:lnTo>
                    <a:pt x="1815" y="752"/>
                  </a:lnTo>
                  <a:lnTo>
                    <a:pt x="1839" y="779"/>
                  </a:lnTo>
                  <a:lnTo>
                    <a:pt x="1862" y="808"/>
                  </a:lnTo>
                  <a:lnTo>
                    <a:pt x="1883" y="838"/>
                  </a:lnTo>
                  <a:lnTo>
                    <a:pt x="1903" y="868"/>
                  </a:lnTo>
                  <a:lnTo>
                    <a:pt x="1921" y="900"/>
                  </a:lnTo>
                  <a:lnTo>
                    <a:pt x="1937" y="933"/>
                  </a:lnTo>
                  <a:lnTo>
                    <a:pt x="1952" y="966"/>
                  </a:lnTo>
                  <a:lnTo>
                    <a:pt x="1966" y="1000"/>
                  </a:lnTo>
                  <a:lnTo>
                    <a:pt x="1977" y="1035"/>
                  </a:lnTo>
                  <a:lnTo>
                    <a:pt x="1988" y="1072"/>
                  </a:lnTo>
                  <a:lnTo>
                    <a:pt x="1996" y="1108"/>
                  </a:lnTo>
                  <a:lnTo>
                    <a:pt x="2002" y="1145"/>
                  </a:lnTo>
                  <a:lnTo>
                    <a:pt x="2007" y="1183"/>
                  </a:lnTo>
                  <a:lnTo>
                    <a:pt x="2010" y="1221"/>
                  </a:lnTo>
                  <a:lnTo>
                    <a:pt x="2011" y="1260"/>
                  </a:lnTo>
                  <a:lnTo>
                    <a:pt x="2010" y="1300"/>
                  </a:lnTo>
                  <a:lnTo>
                    <a:pt x="2007" y="1338"/>
                  </a:lnTo>
                  <a:lnTo>
                    <a:pt x="2002" y="1375"/>
                  </a:lnTo>
                  <a:lnTo>
                    <a:pt x="1996" y="1413"/>
                  </a:lnTo>
                  <a:lnTo>
                    <a:pt x="1988" y="1449"/>
                  </a:lnTo>
                  <a:lnTo>
                    <a:pt x="1977" y="1485"/>
                  </a:lnTo>
                  <a:lnTo>
                    <a:pt x="1966" y="1520"/>
                  </a:lnTo>
                  <a:lnTo>
                    <a:pt x="1952" y="1555"/>
                  </a:lnTo>
                  <a:lnTo>
                    <a:pt x="1937" y="1588"/>
                  </a:lnTo>
                  <a:lnTo>
                    <a:pt x="1921" y="1620"/>
                  </a:lnTo>
                  <a:lnTo>
                    <a:pt x="1903" y="1653"/>
                  </a:lnTo>
                  <a:lnTo>
                    <a:pt x="1883" y="1683"/>
                  </a:lnTo>
                  <a:lnTo>
                    <a:pt x="1862" y="1713"/>
                  </a:lnTo>
                  <a:lnTo>
                    <a:pt x="1839" y="1741"/>
                  </a:lnTo>
                  <a:lnTo>
                    <a:pt x="1815" y="1768"/>
                  </a:lnTo>
                  <a:lnTo>
                    <a:pt x="1791" y="1795"/>
                  </a:lnTo>
                  <a:lnTo>
                    <a:pt x="1765" y="1820"/>
                  </a:lnTo>
                  <a:lnTo>
                    <a:pt x="1737" y="1844"/>
                  </a:lnTo>
                  <a:lnTo>
                    <a:pt x="1709" y="1866"/>
                  </a:lnTo>
                  <a:lnTo>
                    <a:pt x="1679" y="1887"/>
                  </a:lnTo>
                  <a:lnTo>
                    <a:pt x="1648" y="1907"/>
                  </a:lnTo>
                  <a:lnTo>
                    <a:pt x="1617" y="1925"/>
                  </a:lnTo>
                  <a:lnTo>
                    <a:pt x="1584" y="1942"/>
                  </a:lnTo>
                  <a:lnTo>
                    <a:pt x="1551" y="1957"/>
                  </a:lnTo>
                  <a:lnTo>
                    <a:pt x="1517" y="1970"/>
                  </a:lnTo>
                  <a:lnTo>
                    <a:pt x="1481" y="1982"/>
                  </a:lnTo>
                  <a:lnTo>
                    <a:pt x="1446" y="1992"/>
                  </a:lnTo>
                  <a:lnTo>
                    <a:pt x="1409" y="2001"/>
                  </a:lnTo>
                  <a:lnTo>
                    <a:pt x="1372" y="2007"/>
                  </a:lnTo>
                  <a:lnTo>
                    <a:pt x="1334" y="2012"/>
                  </a:lnTo>
                  <a:lnTo>
                    <a:pt x="1296" y="2015"/>
                  </a:lnTo>
                  <a:lnTo>
                    <a:pt x="1257" y="2017"/>
                  </a:lnTo>
                  <a:lnTo>
                    <a:pt x="1219" y="2015"/>
                  </a:lnTo>
                  <a:lnTo>
                    <a:pt x="1180" y="2012"/>
                  </a:lnTo>
                  <a:lnTo>
                    <a:pt x="1142" y="2007"/>
                  </a:lnTo>
                  <a:lnTo>
                    <a:pt x="1105" y="2001"/>
                  </a:lnTo>
                  <a:lnTo>
                    <a:pt x="1069" y="1992"/>
                  </a:lnTo>
                  <a:lnTo>
                    <a:pt x="1033" y="1982"/>
                  </a:lnTo>
                  <a:lnTo>
                    <a:pt x="997" y="1970"/>
                  </a:lnTo>
                  <a:lnTo>
                    <a:pt x="963" y="1957"/>
                  </a:lnTo>
                  <a:lnTo>
                    <a:pt x="930" y="1942"/>
                  </a:lnTo>
                  <a:lnTo>
                    <a:pt x="897" y="1925"/>
                  </a:lnTo>
                  <a:lnTo>
                    <a:pt x="866" y="1907"/>
                  </a:lnTo>
                  <a:lnTo>
                    <a:pt x="835" y="1887"/>
                  </a:lnTo>
                  <a:lnTo>
                    <a:pt x="805" y="1866"/>
                  </a:lnTo>
                  <a:lnTo>
                    <a:pt x="777" y="1844"/>
                  </a:lnTo>
                  <a:lnTo>
                    <a:pt x="750" y="1820"/>
                  </a:lnTo>
                  <a:lnTo>
                    <a:pt x="724" y="1795"/>
                  </a:lnTo>
                  <a:lnTo>
                    <a:pt x="699" y="1768"/>
                  </a:lnTo>
                  <a:lnTo>
                    <a:pt x="675" y="1741"/>
                  </a:lnTo>
                  <a:lnTo>
                    <a:pt x="652" y="1713"/>
                  </a:lnTo>
                  <a:lnTo>
                    <a:pt x="631" y="1683"/>
                  </a:lnTo>
                  <a:lnTo>
                    <a:pt x="612" y="1653"/>
                  </a:lnTo>
                  <a:lnTo>
                    <a:pt x="594" y="1620"/>
                  </a:lnTo>
                  <a:lnTo>
                    <a:pt x="577" y="1588"/>
                  </a:lnTo>
                  <a:lnTo>
                    <a:pt x="562" y="1555"/>
                  </a:lnTo>
                  <a:lnTo>
                    <a:pt x="549" y="1520"/>
                  </a:lnTo>
                  <a:lnTo>
                    <a:pt x="537" y="1485"/>
                  </a:lnTo>
                  <a:lnTo>
                    <a:pt x="527" y="1449"/>
                  </a:lnTo>
                  <a:lnTo>
                    <a:pt x="518" y="1413"/>
                  </a:lnTo>
                  <a:lnTo>
                    <a:pt x="512" y="1375"/>
                  </a:lnTo>
                  <a:lnTo>
                    <a:pt x="507" y="1338"/>
                  </a:lnTo>
                  <a:lnTo>
                    <a:pt x="504" y="1300"/>
                  </a:lnTo>
                  <a:lnTo>
                    <a:pt x="503" y="1260"/>
                  </a:lnTo>
                  <a:lnTo>
                    <a:pt x="504" y="1221"/>
                  </a:lnTo>
                  <a:lnTo>
                    <a:pt x="507" y="1183"/>
                  </a:lnTo>
                  <a:lnTo>
                    <a:pt x="512" y="1145"/>
                  </a:lnTo>
                  <a:lnTo>
                    <a:pt x="518" y="1108"/>
                  </a:lnTo>
                  <a:lnTo>
                    <a:pt x="527" y="1072"/>
                  </a:lnTo>
                  <a:lnTo>
                    <a:pt x="537" y="1035"/>
                  </a:lnTo>
                  <a:lnTo>
                    <a:pt x="549" y="1000"/>
                  </a:lnTo>
                  <a:lnTo>
                    <a:pt x="562" y="966"/>
                  </a:lnTo>
                  <a:lnTo>
                    <a:pt x="577" y="933"/>
                  </a:lnTo>
                  <a:lnTo>
                    <a:pt x="594" y="900"/>
                  </a:lnTo>
                  <a:lnTo>
                    <a:pt x="612" y="868"/>
                  </a:lnTo>
                  <a:lnTo>
                    <a:pt x="631" y="838"/>
                  </a:lnTo>
                  <a:lnTo>
                    <a:pt x="652" y="808"/>
                  </a:lnTo>
                  <a:lnTo>
                    <a:pt x="675" y="779"/>
                  </a:lnTo>
                  <a:lnTo>
                    <a:pt x="699" y="752"/>
                  </a:lnTo>
                  <a:lnTo>
                    <a:pt x="724" y="726"/>
                  </a:lnTo>
                  <a:lnTo>
                    <a:pt x="750" y="701"/>
                  </a:lnTo>
                  <a:lnTo>
                    <a:pt x="777" y="677"/>
                  </a:lnTo>
                  <a:lnTo>
                    <a:pt x="805" y="654"/>
                  </a:lnTo>
                  <a:lnTo>
                    <a:pt x="835" y="633"/>
                  </a:lnTo>
                  <a:lnTo>
                    <a:pt x="866" y="614"/>
                  </a:lnTo>
                  <a:lnTo>
                    <a:pt x="897" y="596"/>
                  </a:lnTo>
                  <a:lnTo>
                    <a:pt x="930" y="579"/>
                  </a:lnTo>
                  <a:lnTo>
                    <a:pt x="963" y="564"/>
                  </a:lnTo>
                  <a:lnTo>
                    <a:pt x="997" y="551"/>
                  </a:lnTo>
                  <a:lnTo>
                    <a:pt x="1033" y="538"/>
                  </a:lnTo>
                  <a:lnTo>
                    <a:pt x="1069" y="528"/>
                  </a:lnTo>
                  <a:lnTo>
                    <a:pt x="1105" y="519"/>
                  </a:lnTo>
                  <a:lnTo>
                    <a:pt x="1142" y="513"/>
                  </a:lnTo>
                  <a:lnTo>
                    <a:pt x="1180" y="508"/>
                  </a:lnTo>
                  <a:lnTo>
                    <a:pt x="1219" y="505"/>
                  </a:lnTo>
                  <a:lnTo>
                    <a:pt x="1257" y="504"/>
                  </a:lnTo>
                  <a:close/>
                  <a:moveTo>
                    <a:pt x="1257" y="2521"/>
                  </a:moveTo>
                  <a:lnTo>
                    <a:pt x="1321" y="2519"/>
                  </a:lnTo>
                  <a:lnTo>
                    <a:pt x="1386" y="2515"/>
                  </a:lnTo>
                  <a:lnTo>
                    <a:pt x="1448" y="2507"/>
                  </a:lnTo>
                  <a:lnTo>
                    <a:pt x="1510" y="2495"/>
                  </a:lnTo>
                  <a:lnTo>
                    <a:pt x="1571" y="2481"/>
                  </a:lnTo>
                  <a:lnTo>
                    <a:pt x="1630" y="2464"/>
                  </a:lnTo>
                  <a:lnTo>
                    <a:pt x="1689" y="2444"/>
                  </a:lnTo>
                  <a:lnTo>
                    <a:pt x="1746" y="2422"/>
                  </a:lnTo>
                  <a:lnTo>
                    <a:pt x="1801" y="2396"/>
                  </a:lnTo>
                  <a:lnTo>
                    <a:pt x="1856" y="2368"/>
                  </a:lnTo>
                  <a:lnTo>
                    <a:pt x="1909" y="2338"/>
                  </a:lnTo>
                  <a:lnTo>
                    <a:pt x="1959" y="2305"/>
                  </a:lnTo>
                  <a:lnTo>
                    <a:pt x="2008" y="2270"/>
                  </a:lnTo>
                  <a:lnTo>
                    <a:pt x="2057" y="2232"/>
                  </a:lnTo>
                  <a:lnTo>
                    <a:pt x="2102" y="2193"/>
                  </a:lnTo>
                  <a:lnTo>
                    <a:pt x="2145" y="2151"/>
                  </a:lnTo>
                  <a:lnTo>
                    <a:pt x="2187" y="2107"/>
                  </a:lnTo>
                  <a:lnTo>
                    <a:pt x="2227" y="2062"/>
                  </a:lnTo>
                  <a:lnTo>
                    <a:pt x="2264" y="2013"/>
                  </a:lnTo>
                  <a:lnTo>
                    <a:pt x="2299" y="1964"/>
                  </a:lnTo>
                  <a:lnTo>
                    <a:pt x="2332" y="1914"/>
                  </a:lnTo>
                  <a:lnTo>
                    <a:pt x="2363" y="1860"/>
                  </a:lnTo>
                  <a:lnTo>
                    <a:pt x="2391" y="1806"/>
                  </a:lnTo>
                  <a:lnTo>
                    <a:pt x="2416" y="1750"/>
                  </a:lnTo>
                  <a:lnTo>
                    <a:pt x="2438" y="1693"/>
                  </a:lnTo>
                  <a:lnTo>
                    <a:pt x="2458" y="1634"/>
                  </a:lnTo>
                  <a:lnTo>
                    <a:pt x="2475" y="1575"/>
                  </a:lnTo>
                  <a:lnTo>
                    <a:pt x="2489" y="1514"/>
                  </a:lnTo>
                  <a:lnTo>
                    <a:pt x="2500" y="1452"/>
                  </a:lnTo>
                  <a:lnTo>
                    <a:pt x="2508" y="1389"/>
                  </a:lnTo>
                  <a:lnTo>
                    <a:pt x="2512" y="1325"/>
                  </a:lnTo>
                  <a:lnTo>
                    <a:pt x="2514" y="1260"/>
                  </a:lnTo>
                  <a:lnTo>
                    <a:pt x="2512" y="1196"/>
                  </a:lnTo>
                  <a:lnTo>
                    <a:pt x="2508" y="1131"/>
                  </a:lnTo>
                  <a:lnTo>
                    <a:pt x="2500" y="1069"/>
                  </a:lnTo>
                  <a:lnTo>
                    <a:pt x="2489" y="1006"/>
                  </a:lnTo>
                  <a:lnTo>
                    <a:pt x="2475" y="946"/>
                  </a:lnTo>
                  <a:lnTo>
                    <a:pt x="2458" y="886"/>
                  </a:lnTo>
                  <a:lnTo>
                    <a:pt x="2438" y="828"/>
                  </a:lnTo>
                  <a:lnTo>
                    <a:pt x="2416" y="770"/>
                  </a:lnTo>
                  <a:lnTo>
                    <a:pt x="2391" y="714"/>
                  </a:lnTo>
                  <a:lnTo>
                    <a:pt x="2363" y="659"/>
                  </a:lnTo>
                  <a:lnTo>
                    <a:pt x="2332" y="607"/>
                  </a:lnTo>
                  <a:lnTo>
                    <a:pt x="2299" y="556"/>
                  </a:lnTo>
                  <a:lnTo>
                    <a:pt x="2264" y="506"/>
                  </a:lnTo>
                  <a:lnTo>
                    <a:pt x="2227" y="459"/>
                  </a:lnTo>
                  <a:lnTo>
                    <a:pt x="2187" y="413"/>
                  </a:lnTo>
                  <a:lnTo>
                    <a:pt x="2145" y="369"/>
                  </a:lnTo>
                  <a:lnTo>
                    <a:pt x="2102" y="328"/>
                  </a:lnTo>
                  <a:lnTo>
                    <a:pt x="2057" y="288"/>
                  </a:lnTo>
                  <a:lnTo>
                    <a:pt x="2008" y="251"/>
                  </a:lnTo>
                  <a:lnTo>
                    <a:pt x="1959" y="216"/>
                  </a:lnTo>
                  <a:lnTo>
                    <a:pt x="1909" y="182"/>
                  </a:lnTo>
                  <a:lnTo>
                    <a:pt x="1856" y="152"/>
                  </a:lnTo>
                  <a:lnTo>
                    <a:pt x="1801" y="124"/>
                  </a:lnTo>
                  <a:lnTo>
                    <a:pt x="1746" y="99"/>
                  </a:lnTo>
                  <a:lnTo>
                    <a:pt x="1689" y="77"/>
                  </a:lnTo>
                  <a:lnTo>
                    <a:pt x="1630" y="56"/>
                  </a:lnTo>
                  <a:lnTo>
                    <a:pt x="1571" y="39"/>
                  </a:lnTo>
                  <a:lnTo>
                    <a:pt x="1510" y="25"/>
                  </a:lnTo>
                  <a:lnTo>
                    <a:pt x="1448" y="14"/>
                  </a:lnTo>
                  <a:lnTo>
                    <a:pt x="1386" y="6"/>
                  </a:lnTo>
                  <a:lnTo>
                    <a:pt x="1321" y="2"/>
                  </a:lnTo>
                  <a:lnTo>
                    <a:pt x="1257" y="0"/>
                  </a:lnTo>
                  <a:lnTo>
                    <a:pt x="1193" y="2"/>
                  </a:lnTo>
                  <a:lnTo>
                    <a:pt x="1129" y="6"/>
                  </a:lnTo>
                  <a:lnTo>
                    <a:pt x="1066" y="14"/>
                  </a:lnTo>
                  <a:lnTo>
                    <a:pt x="1004" y="25"/>
                  </a:lnTo>
                  <a:lnTo>
                    <a:pt x="943" y="39"/>
                  </a:lnTo>
                  <a:lnTo>
                    <a:pt x="884" y="56"/>
                  </a:lnTo>
                  <a:lnTo>
                    <a:pt x="825" y="77"/>
                  </a:lnTo>
                  <a:lnTo>
                    <a:pt x="768" y="99"/>
                  </a:lnTo>
                  <a:lnTo>
                    <a:pt x="713" y="124"/>
                  </a:lnTo>
                  <a:lnTo>
                    <a:pt x="658" y="152"/>
                  </a:lnTo>
                  <a:lnTo>
                    <a:pt x="606" y="182"/>
                  </a:lnTo>
                  <a:lnTo>
                    <a:pt x="555" y="216"/>
                  </a:lnTo>
                  <a:lnTo>
                    <a:pt x="506" y="251"/>
                  </a:lnTo>
                  <a:lnTo>
                    <a:pt x="458" y="288"/>
                  </a:lnTo>
                  <a:lnTo>
                    <a:pt x="412" y="328"/>
                  </a:lnTo>
                  <a:lnTo>
                    <a:pt x="369" y="369"/>
                  </a:lnTo>
                  <a:lnTo>
                    <a:pt x="326" y="413"/>
                  </a:lnTo>
                  <a:lnTo>
                    <a:pt x="287" y="459"/>
                  </a:lnTo>
                  <a:lnTo>
                    <a:pt x="250" y="506"/>
                  </a:lnTo>
                  <a:lnTo>
                    <a:pt x="215" y="556"/>
                  </a:lnTo>
                  <a:lnTo>
                    <a:pt x="182" y="607"/>
                  </a:lnTo>
                  <a:lnTo>
                    <a:pt x="151" y="659"/>
                  </a:lnTo>
                  <a:lnTo>
                    <a:pt x="124" y="714"/>
                  </a:lnTo>
                  <a:lnTo>
                    <a:pt x="99" y="770"/>
                  </a:lnTo>
                  <a:lnTo>
                    <a:pt x="76" y="828"/>
                  </a:lnTo>
                  <a:lnTo>
                    <a:pt x="57" y="886"/>
                  </a:lnTo>
                  <a:lnTo>
                    <a:pt x="40" y="946"/>
                  </a:lnTo>
                  <a:lnTo>
                    <a:pt x="26" y="1006"/>
                  </a:lnTo>
                  <a:lnTo>
                    <a:pt x="15" y="1069"/>
                  </a:lnTo>
                  <a:lnTo>
                    <a:pt x="7" y="1131"/>
                  </a:lnTo>
                  <a:lnTo>
                    <a:pt x="2" y="1196"/>
                  </a:lnTo>
                  <a:lnTo>
                    <a:pt x="0" y="1260"/>
                  </a:lnTo>
                  <a:lnTo>
                    <a:pt x="2" y="1325"/>
                  </a:lnTo>
                  <a:lnTo>
                    <a:pt x="7" y="1389"/>
                  </a:lnTo>
                  <a:lnTo>
                    <a:pt x="15" y="1452"/>
                  </a:lnTo>
                  <a:lnTo>
                    <a:pt x="26" y="1514"/>
                  </a:lnTo>
                  <a:lnTo>
                    <a:pt x="40" y="1575"/>
                  </a:lnTo>
                  <a:lnTo>
                    <a:pt x="57" y="1634"/>
                  </a:lnTo>
                  <a:lnTo>
                    <a:pt x="76" y="1693"/>
                  </a:lnTo>
                  <a:lnTo>
                    <a:pt x="99" y="1750"/>
                  </a:lnTo>
                  <a:lnTo>
                    <a:pt x="124" y="1806"/>
                  </a:lnTo>
                  <a:lnTo>
                    <a:pt x="151" y="1860"/>
                  </a:lnTo>
                  <a:lnTo>
                    <a:pt x="182" y="1914"/>
                  </a:lnTo>
                  <a:lnTo>
                    <a:pt x="215" y="1964"/>
                  </a:lnTo>
                  <a:lnTo>
                    <a:pt x="250" y="2013"/>
                  </a:lnTo>
                  <a:lnTo>
                    <a:pt x="287" y="2062"/>
                  </a:lnTo>
                  <a:lnTo>
                    <a:pt x="326" y="2107"/>
                  </a:lnTo>
                  <a:lnTo>
                    <a:pt x="369" y="2151"/>
                  </a:lnTo>
                  <a:lnTo>
                    <a:pt x="412" y="2193"/>
                  </a:lnTo>
                  <a:lnTo>
                    <a:pt x="458" y="2232"/>
                  </a:lnTo>
                  <a:lnTo>
                    <a:pt x="506" y="2270"/>
                  </a:lnTo>
                  <a:lnTo>
                    <a:pt x="555" y="2305"/>
                  </a:lnTo>
                  <a:lnTo>
                    <a:pt x="606" y="2338"/>
                  </a:lnTo>
                  <a:lnTo>
                    <a:pt x="658" y="2368"/>
                  </a:lnTo>
                  <a:lnTo>
                    <a:pt x="713" y="2396"/>
                  </a:lnTo>
                  <a:lnTo>
                    <a:pt x="768" y="2422"/>
                  </a:lnTo>
                  <a:lnTo>
                    <a:pt x="825" y="2444"/>
                  </a:lnTo>
                  <a:lnTo>
                    <a:pt x="884" y="2464"/>
                  </a:lnTo>
                  <a:lnTo>
                    <a:pt x="943" y="2481"/>
                  </a:lnTo>
                  <a:lnTo>
                    <a:pt x="1004" y="2495"/>
                  </a:lnTo>
                  <a:lnTo>
                    <a:pt x="1066" y="2507"/>
                  </a:lnTo>
                  <a:lnTo>
                    <a:pt x="1129" y="2515"/>
                  </a:lnTo>
                  <a:lnTo>
                    <a:pt x="1193" y="2519"/>
                  </a:lnTo>
                  <a:lnTo>
                    <a:pt x="1257" y="25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88" name="îšḻíḋé">
              <a:extLst>
                <a:ext uri="{FF2B5EF4-FFF2-40B4-BE49-F238E27FC236}">
                  <a16:creationId xmlns:a16="http://schemas.microsoft.com/office/drawing/2014/main" id="{4BADB044-8DD8-4681-BC38-D7B45B0CC3F1}"/>
                </a:ext>
              </a:extLst>
            </p:cNvPr>
            <p:cNvSpPr/>
            <p:nvPr/>
          </p:nvSpPr>
          <p:spPr bwMode="auto">
            <a:xfrm>
              <a:off x="5604709" y="1841728"/>
              <a:ext cx="95878" cy="95878"/>
            </a:xfrm>
            <a:custGeom>
              <a:avLst/>
              <a:gdLst>
                <a:gd name="T0" fmla="*/ 1106 w 2515"/>
                <a:gd name="T1" fmla="*/ 2001 h 2521"/>
                <a:gd name="T2" fmla="*/ 931 w 2515"/>
                <a:gd name="T3" fmla="*/ 1942 h 2521"/>
                <a:gd name="T4" fmla="*/ 778 w 2515"/>
                <a:gd name="T5" fmla="*/ 1844 h 2521"/>
                <a:gd name="T6" fmla="*/ 653 w 2515"/>
                <a:gd name="T7" fmla="*/ 1713 h 2521"/>
                <a:gd name="T8" fmla="*/ 562 w 2515"/>
                <a:gd name="T9" fmla="*/ 1555 h 2521"/>
                <a:gd name="T10" fmla="*/ 512 w 2515"/>
                <a:gd name="T11" fmla="*/ 1375 h 2521"/>
                <a:gd name="T12" fmla="*/ 507 w 2515"/>
                <a:gd name="T13" fmla="*/ 1183 h 2521"/>
                <a:gd name="T14" fmla="*/ 548 w 2515"/>
                <a:gd name="T15" fmla="*/ 1000 h 2521"/>
                <a:gd name="T16" fmla="*/ 632 w 2515"/>
                <a:gd name="T17" fmla="*/ 838 h 2521"/>
                <a:gd name="T18" fmla="*/ 751 w 2515"/>
                <a:gd name="T19" fmla="*/ 701 h 2521"/>
                <a:gd name="T20" fmla="*/ 897 w 2515"/>
                <a:gd name="T21" fmla="*/ 596 h 2521"/>
                <a:gd name="T22" fmla="*/ 1068 w 2515"/>
                <a:gd name="T23" fmla="*/ 528 h 2521"/>
                <a:gd name="T24" fmla="*/ 1258 w 2515"/>
                <a:gd name="T25" fmla="*/ 504 h 2521"/>
                <a:gd name="T26" fmla="*/ 1447 w 2515"/>
                <a:gd name="T27" fmla="*/ 528 h 2521"/>
                <a:gd name="T28" fmla="*/ 1618 w 2515"/>
                <a:gd name="T29" fmla="*/ 596 h 2521"/>
                <a:gd name="T30" fmla="*/ 1765 w 2515"/>
                <a:gd name="T31" fmla="*/ 701 h 2521"/>
                <a:gd name="T32" fmla="*/ 1883 w 2515"/>
                <a:gd name="T33" fmla="*/ 838 h 2521"/>
                <a:gd name="T34" fmla="*/ 1967 w 2515"/>
                <a:gd name="T35" fmla="*/ 1000 h 2521"/>
                <a:gd name="T36" fmla="*/ 2008 w 2515"/>
                <a:gd name="T37" fmla="*/ 1183 h 2521"/>
                <a:gd name="T38" fmla="*/ 2003 w 2515"/>
                <a:gd name="T39" fmla="*/ 1375 h 2521"/>
                <a:gd name="T40" fmla="*/ 1953 w 2515"/>
                <a:gd name="T41" fmla="*/ 1555 h 2521"/>
                <a:gd name="T42" fmla="*/ 1862 w 2515"/>
                <a:gd name="T43" fmla="*/ 1713 h 2521"/>
                <a:gd name="T44" fmla="*/ 1737 w 2515"/>
                <a:gd name="T45" fmla="*/ 1844 h 2521"/>
                <a:gd name="T46" fmla="*/ 1585 w 2515"/>
                <a:gd name="T47" fmla="*/ 1942 h 2521"/>
                <a:gd name="T48" fmla="*/ 1409 w 2515"/>
                <a:gd name="T49" fmla="*/ 2001 h 2521"/>
                <a:gd name="T50" fmla="*/ 1258 w 2515"/>
                <a:gd name="T51" fmla="*/ 0 h 2521"/>
                <a:gd name="T52" fmla="*/ 944 w 2515"/>
                <a:gd name="T53" fmla="*/ 39 h 2521"/>
                <a:gd name="T54" fmla="*/ 659 w 2515"/>
                <a:gd name="T55" fmla="*/ 152 h 2521"/>
                <a:gd name="T56" fmla="*/ 413 w 2515"/>
                <a:gd name="T57" fmla="*/ 328 h 2521"/>
                <a:gd name="T58" fmla="*/ 215 w 2515"/>
                <a:gd name="T59" fmla="*/ 556 h 2521"/>
                <a:gd name="T60" fmla="*/ 77 w 2515"/>
                <a:gd name="T61" fmla="*/ 827 h 2521"/>
                <a:gd name="T62" fmla="*/ 7 w 2515"/>
                <a:gd name="T63" fmla="*/ 1131 h 2521"/>
                <a:gd name="T64" fmla="*/ 14 w 2515"/>
                <a:gd name="T65" fmla="*/ 1452 h 2521"/>
                <a:gd name="T66" fmla="*/ 99 w 2515"/>
                <a:gd name="T67" fmla="*/ 1750 h 2521"/>
                <a:gd name="T68" fmla="*/ 251 w 2515"/>
                <a:gd name="T69" fmla="*/ 2014 h 2521"/>
                <a:gd name="T70" fmla="*/ 458 w 2515"/>
                <a:gd name="T71" fmla="*/ 2232 h 2521"/>
                <a:gd name="T72" fmla="*/ 713 w 2515"/>
                <a:gd name="T73" fmla="*/ 2397 h 2521"/>
                <a:gd name="T74" fmla="*/ 1004 w 2515"/>
                <a:gd name="T75" fmla="*/ 2495 h 2521"/>
                <a:gd name="T76" fmla="*/ 1322 w 2515"/>
                <a:gd name="T77" fmla="*/ 2519 h 2521"/>
                <a:gd name="T78" fmla="*/ 1631 w 2515"/>
                <a:gd name="T79" fmla="*/ 2464 h 2521"/>
                <a:gd name="T80" fmla="*/ 1908 w 2515"/>
                <a:gd name="T81" fmla="*/ 2338 h 2521"/>
                <a:gd name="T82" fmla="*/ 2146 w 2515"/>
                <a:gd name="T83" fmla="*/ 2152 h 2521"/>
                <a:gd name="T84" fmla="*/ 2333 w 2515"/>
                <a:gd name="T85" fmla="*/ 1914 h 2521"/>
                <a:gd name="T86" fmla="*/ 2459 w 2515"/>
                <a:gd name="T87" fmla="*/ 1634 h 2521"/>
                <a:gd name="T88" fmla="*/ 2513 w 2515"/>
                <a:gd name="T89" fmla="*/ 1325 h 2521"/>
                <a:gd name="T90" fmla="*/ 2490 w 2515"/>
                <a:gd name="T91" fmla="*/ 1006 h 2521"/>
                <a:gd name="T92" fmla="*/ 2390 w 2515"/>
                <a:gd name="T93" fmla="*/ 714 h 2521"/>
                <a:gd name="T94" fmla="*/ 2227 w 2515"/>
                <a:gd name="T95" fmla="*/ 459 h 2521"/>
                <a:gd name="T96" fmla="*/ 2009 w 2515"/>
                <a:gd name="T97" fmla="*/ 251 h 2521"/>
                <a:gd name="T98" fmla="*/ 1746 w 2515"/>
                <a:gd name="T99" fmla="*/ 99 h 2521"/>
                <a:gd name="T100" fmla="*/ 1449 w 2515"/>
                <a:gd name="T101" fmla="*/ 14 h 2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15" h="2521">
                  <a:moveTo>
                    <a:pt x="1258" y="2017"/>
                  </a:moveTo>
                  <a:lnTo>
                    <a:pt x="1218" y="2015"/>
                  </a:lnTo>
                  <a:lnTo>
                    <a:pt x="1180" y="2012"/>
                  </a:lnTo>
                  <a:lnTo>
                    <a:pt x="1143" y="2007"/>
                  </a:lnTo>
                  <a:lnTo>
                    <a:pt x="1106" y="2001"/>
                  </a:lnTo>
                  <a:lnTo>
                    <a:pt x="1068" y="1992"/>
                  </a:lnTo>
                  <a:lnTo>
                    <a:pt x="1033" y="1982"/>
                  </a:lnTo>
                  <a:lnTo>
                    <a:pt x="998" y="1970"/>
                  </a:lnTo>
                  <a:lnTo>
                    <a:pt x="964" y="1957"/>
                  </a:lnTo>
                  <a:lnTo>
                    <a:pt x="931" y="1942"/>
                  </a:lnTo>
                  <a:lnTo>
                    <a:pt x="897" y="1925"/>
                  </a:lnTo>
                  <a:lnTo>
                    <a:pt x="866" y="1907"/>
                  </a:lnTo>
                  <a:lnTo>
                    <a:pt x="836" y="1887"/>
                  </a:lnTo>
                  <a:lnTo>
                    <a:pt x="806" y="1866"/>
                  </a:lnTo>
                  <a:lnTo>
                    <a:pt x="778" y="1844"/>
                  </a:lnTo>
                  <a:lnTo>
                    <a:pt x="751" y="1820"/>
                  </a:lnTo>
                  <a:lnTo>
                    <a:pt x="723" y="1795"/>
                  </a:lnTo>
                  <a:lnTo>
                    <a:pt x="699" y="1768"/>
                  </a:lnTo>
                  <a:lnTo>
                    <a:pt x="675" y="1741"/>
                  </a:lnTo>
                  <a:lnTo>
                    <a:pt x="653" y="1713"/>
                  </a:lnTo>
                  <a:lnTo>
                    <a:pt x="632" y="1683"/>
                  </a:lnTo>
                  <a:lnTo>
                    <a:pt x="612" y="1653"/>
                  </a:lnTo>
                  <a:lnTo>
                    <a:pt x="594" y="1620"/>
                  </a:lnTo>
                  <a:lnTo>
                    <a:pt x="578" y="1588"/>
                  </a:lnTo>
                  <a:lnTo>
                    <a:pt x="562" y="1555"/>
                  </a:lnTo>
                  <a:lnTo>
                    <a:pt x="548" y="1520"/>
                  </a:lnTo>
                  <a:lnTo>
                    <a:pt x="537" y="1485"/>
                  </a:lnTo>
                  <a:lnTo>
                    <a:pt x="527" y="1449"/>
                  </a:lnTo>
                  <a:lnTo>
                    <a:pt x="518" y="1413"/>
                  </a:lnTo>
                  <a:lnTo>
                    <a:pt x="512" y="1375"/>
                  </a:lnTo>
                  <a:lnTo>
                    <a:pt x="507" y="1338"/>
                  </a:lnTo>
                  <a:lnTo>
                    <a:pt x="504" y="1299"/>
                  </a:lnTo>
                  <a:lnTo>
                    <a:pt x="503" y="1260"/>
                  </a:lnTo>
                  <a:lnTo>
                    <a:pt x="504" y="1221"/>
                  </a:lnTo>
                  <a:lnTo>
                    <a:pt x="507" y="1183"/>
                  </a:lnTo>
                  <a:lnTo>
                    <a:pt x="512" y="1145"/>
                  </a:lnTo>
                  <a:lnTo>
                    <a:pt x="518" y="1108"/>
                  </a:lnTo>
                  <a:lnTo>
                    <a:pt x="527" y="1072"/>
                  </a:lnTo>
                  <a:lnTo>
                    <a:pt x="537" y="1035"/>
                  </a:lnTo>
                  <a:lnTo>
                    <a:pt x="548" y="1000"/>
                  </a:lnTo>
                  <a:lnTo>
                    <a:pt x="562" y="966"/>
                  </a:lnTo>
                  <a:lnTo>
                    <a:pt x="578" y="933"/>
                  </a:lnTo>
                  <a:lnTo>
                    <a:pt x="594" y="900"/>
                  </a:lnTo>
                  <a:lnTo>
                    <a:pt x="612" y="868"/>
                  </a:lnTo>
                  <a:lnTo>
                    <a:pt x="632" y="838"/>
                  </a:lnTo>
                  <a:lnTo>
                    <a:pt x="653" y="808"/>
                  </a:lnTo>
                  <a:lnTo>
                    <a:pt x="675" y="779"/>
                  </a:lnTo>
                  <a:lnTo>
                    <a:pt x="699" y="752"/>
                  </a:lnTo>
                  <a:lnTo>
                    <a:pt x="723" y="726"/>
                  </a:lnTo>
                  <a:lnTo>
                    <a:pt x="751" y="701"/>
                  </a:lnTo>
                  <a:lnTo>
                    <a:pt x="778" y="677"/>
                  </a:lnTo>
                  <a:lnTo>
                    <a:pt x="806" y="654"/>
                  </a:lnTo>
                  <a:lnTo>
                    <a:pt x="836" y="633"/>
                  </a:lnTo>
                  <a:lnTo>
                    <a:pt x="866" y="614"/>
                  </a:lnTo>
                  <a:lnTo>
                    <a:pt x="897" y="596"/>
                  </a:lnTo>
                  <a:lnTo>
                    <a:pt x="931" y="579"/>
                  </a:lnTo>
                  <a:lnTo>
                    <a:pt x="964" y="564"/>
                  </a:lnTo>
                  <a:lnTo>
                    <a:pt x="998" y="549"/>
                  </a:lnTo>
                  <a:lnTo>
                    <a:pt x="1033" y="538"/>
                  </a:lnTo>
                  <a:lnTo>
                    <a:pt x="1068" y="528"/>
                  </a:lnTo>
                  <a:lnTo>
                    <a:pt x="1106" y="519"/>
                  </a:lnTo>
                  <a:lnTo>
                    <a:pt x="1143" y="513"/>
                  </a:lnTo>
                  <a:lnTo>
                    <a:pt x="1180" y="508"/>
                  </a:lnTo>
                  <a:lnTo>
                    <a:pt x="1218" y="505"/>
                  </a:lnTo>
                  <a:lnTo>
                    <a:pt x="1258" y="504"/>
                  </a:lnTo>
                  <a:lnTo>
                    <a:pt x="1297" y="505"/>
                  </a:lnTo>
                  <a:lnTo>
                    <a:pt x="1335" y="508"/>
                  </a:lnTo>
                  <a:lnTo>
                    <a:pt x="1372" y="513"/>
                  </a:lnTo>
                  <a:lnTo>
                    <a:pt x="1409" y="519"/>
                  </a:lnTo>
                  <a:lnTo>
                    <a:pt x="1447" y="528"/>
                  </a:lnTo>
                  <a:lnTo>
                    <a:pt x="1482" y="538"/>
                  </a:lnTo>
                  <a:lnTo>
                    <a:pt x="1517" y="549"/>
                  </a:lnTo>
                  <a:lnTo>
                    <a:pt x="1551" y="564"/>
                  </a:lnTo>
                  <a:lnTo>
                    <a:pt x="1585" y="579"/>
                  </a:lnTo>
                  <a:lnTo>
                    <a:pt x="1618" y="596"/>
                  </a:lnTo>
                  <a:lnTo>
                    <a:pt x="1649" y="614"/>
                  </a:lnTo>
                  <a:lnTo>
                    <a:pt x="1679" y="633"/>
                  </a:lnTo>
                  <a:lnTo>
                    <a:pt x="1709" y="654"/>
                  </a:lnTo>
                  <a:lnTo>
                    <a:pt x="1737" y="677"/>
                  </a:lnTo>
                  <a:lnTo>
                    <a:pt x="1765" y="701"/>
                  </a:lnTo>
                  <a:lnTo>
                    <a:pt x="1791" y="726"/>
                  </a:lnTo>
                  <a:lnTo>
                    <a:pt x="1816" y="752"/>
                  </a:lnTo>
                  <a:lnTo>
                    <a:pt x="1840" y="779"/>
                  </a:lnTo>
                  <a:lnTo>
                    <a:pt x="1862" y="808"/>
                  </a:lnTo>
                  <a:lnTo>
                    <a:pt x="1883" y="838"/>
                  </a:lnTo>
                  <a:lnTo>
                    <a:pt x="1902" y="868"/>
                  </a:lnTo>
                  <a:lnTo>
                    <a:pt x="1920" y="900"/>
                  </a:lnTo>
                  <a:lnTo>
                    <a:pt x="1938" y="933"/>
                  </a:lnTo>
                  <a:lnTo>
                    <a:pt x="1953" y="966"/>
                  </a:lnTo>
                  <a:lnTo>
                    <a:pt x="1967" y="1000"/>
                  </a:lnTo>
                  <a:lnTo>
                    <a:pt x="1978" y="1035"/>
                  </a:lnTo>
                  <a:lnTo>
                    <a:pt x="1988" y="1072"/>
                  </a:lnTo>
                  <a:lnTo>
                    <a:pt x="1997" y="1108"/>
                  </a:lnTo>
                  <a:lnTo>
                    <a:pt x="2003" y="1145"/>
                  </a:lnTo>
                  <a:lnTo>
                    <a:pt x="2008" y="1183"/>
                  </a:lnTo>
                  <a:lnTo>
                    <a:pt x="2011" y="1221"/>
                  </a:lnTo>
                  <a:lnTo>
                    <a:pt x="2012" y="1260"/>
                  </a:lnTo>
                  <a:lnTo>
                    <a:pt x="2011" y="1299"/>
                  </a:lnTo>
                  <a:lnTo>
                    <a:pt x="2008" y="1338"/>
                  </a:lnTo>
                  <a:lnTo>
                    <a:pt x="2003" y="1375"/>
                  </a:lnTo>
                  <a:lnTo>
                    <a:pt x="1997" y="1413"/>
                  </a:lnTo>
                  <a:lnTo>
                    <a:pt x="1988" y="1449"/>
                  </a:lnTo>
                  <a:lnTo>
                    <a:pt x="1978" y="1485"/>
                  </a:lnTo>
                  <a:lnTo>
                    <a:pt x="1967" y="1520"/>
                  </a:lnTo>
                  <a:lnTo>
                    <a:pt x="1953" y="1555"/>
                  </a:lnTo>
                  <a:lnTo>
                    <a:pt x="1938" y="1588"/>
                  </a:lnTo>
                  <a:lnTo>
                    <a:pt x="1920" y="1620"/>
                  </a:lnTo>
                  <a:lnTo>
                    <a:pt x="1902" y="1653"/>
                  </a:lnTo>
                  <a:lnTo>
                    <a:pt x="1883" y="1683"/>
                  </a:lnTo>
                  <a:lnTo>
                    <a:pt x="1862" y="1713"/>
                  </a:lnTo>
                  <a:lnTo>
                    <a:pt x="1840" y="1741"/>
                  </a:lnTo>
                  <a:lnTo>
                    <a:pt x="1816" y="1768"/>
                  </a:lnTo>
                  <a:lnTo>
                    <a:pt x="1791" y="1795"/>
                  </a:lnTo>
                  <a:lnTo>
                    <a:pt x="1765" y="1820"/>
                  </a:lnTo>
                  <a:lnTo>
                    <a:pt x="1737" y="1844"/>
                  </a:lnTo>
                  <a:lnTo>
                    <a:pt x="1709" y="1866"/>
                  </a:lnTo>
                  <a:lnTo>
                    <a:pt x="1679" y="1887"/>
                  </a:lnTo>
                  <a:lnTo>
                    <a:pt x="1649" y="1907"/>
                  </a:lnTo>
                  <a:lnTo>
                    <a:pt x="1618" y="1925"/>
                  </a:lnTo>
                  <a:lnTo>
                    <a:pt x="1585" y="1942"/>
                  </a:lnTo>
                  <a:lnTo>
                    <a:pt x="1551" y="1957"/>
                  </a:lnTo>
                  <a:lnTo>
                    <a:pt x="1517" y="1970"/>
                  </a:lnTo>
                  <a:lnTo>
                    <a:pt x="1482" y="1982"/>
                  </a:lnTo>
                  <a:lnTo>
                    <a:pt x="1447" y="1992"/>
                  </a:lnTo>
                  <a:lnTo>
                    <a:pt x="1409" y="2001"/>
                  </a:lnTo>
                  <a:lnTo>
                    <a:pt x="1372" y="2007"/>
                  </a:lnTo>
                  <a:lnTo>
                    <a:pt x="1335" y="2012"/>
                  </a:lnTo>
                  <a:lnTo>
                    <a:pt x="1297" y="2015"/>
                  </a:lnTo>
                  <a:lnTo>
                    <a:pt x="1258" y="2017"/>
                  </a:lnTo>
                  <a:close/>
                  <a:moveTo>
                    <a:pt x="1258" y="0"/>
                  </a:moveTo>
                  <a:lnTo>
                    <a:pt x="1193" y="2"/>
                  </a:lnTo>
                  <a:lnTo>
                    <a:pt x="1129" y="6"/>
                  </a:lnTo>
                  <a:lnTo>
                    <a:pt x="1066" y="14"/>
                  </a:lnTo>
                  <a:lnTo>
                    <a:pt x="1004" y="25"/>
                  </a:lnTo>
                  <a:lnTo>
                    <a:pt x="944" y="39"/>
                  </a:lnTo>
                  <a:lnTo>
                    <a:pt x="884" y="56"/>
                  </a:lnTo>
                  <a:lnTo>
                    <a:pt x="826" y="77"/>
                  </a:lnTo>
                  <a:lnTo>
                    <a:pt x="769" y="99"/>
                  </a:lnTo>
                  <a:lnTo>
                    <a:pt x="713" y="124"/>
                  </a:lnTo>
                  <a:lnTo>
                    <a:pt x="659" y="152"/>
                  </a:lnTo>
                  <a:lnTo>
                    <a:pt x="606" y="182"/>
                  </a:lnTo>
                  <a:lnTo>
                    <a:pt x="555" y="216"/>
                  </a:lnTo>
                  <a:lnTo>
                    <a:pt x="506" y="251"/>
                  </a:lnTo>
                  <a:lnTo>
                    <a:pt x="458" y="288"/>
                  </a:lnTo>
                  <a:lnTo>
                    <a:pt x="413" y="328"/>
                  </a:lnTo>
                  <a:lnTo>
                    <a:pt x="369" y="369"/>
                  </a:lnTo>
                  <a:lnTo>
                    <a:pt x="327" y="413"/>
                  </a:lnTo>
                  <a:lnTo>
                    <a:pt x="288" y="459"/>
                  </a:lnTo>
                  <a:lnTo>
                    <a:pt x="251" y="506"/>
                  </a:lnTo>
                  <a:lnTo>
                    <a:pt x="215" y="556"/>
                  </a:lnTo>
                  <a:lnTo>
                    <a:pt x="182" y="607"/>
                  </a:lnTo>
                  <a:lnTo>
                    <a:pt x="152" y="659"/>
                  </a:lnTo>
                  <a:lnTo>
                    <a:pt x="124" y="714"/>
                  </a:lnTo>
                  <a:lnTo>
                    <a:pt x="99" y="770"/>
                  </a:lnTo>
                  <a:lnTo>
                    <a:pt x="77" y="827"/>
                  </a:lnTo>
                  <a:lnTo>
                    <a:pt x="56" y="886"/>
                  </a:lnTo>
                  <a:lnTo>
                    <a:pt x="39" y="946"/>
                  </a:lnTo>
                  <a:lnTo>
                    <a:pt x="25" y="1006"/>
                  </a:lnTo>
                  <a:lnTo>
                    <a:pt x="14" y="1069"/>
                  </a:lnTo>
                  <a:lnTo>
                    <a:pt x="7" y="1131"/>
                  </a:lnTo>
                  <a:lnTo>
                    <a:pt x="2" y="1196"/>
                  </a:lnTo>
                  <a:lnTo>
                    <a:pt x="0" y="1260"/>
                  </a:lnTo>
                  <a:lnTo>
                    <a:pt x="2" y="1325"/>
                  </a:lnTo>
                  <a:lnTo>
                    <a:pt x="7" y="1389"/>
                  </a:lnTo>
                  <a:lnTo>
                    <a:pt x="14" y="1452"/>
                  </a:lnTo>
                  <a:lnTo>
                    <a:pt x="25" y="1514"/>
                  </a:lnTo>
                  <a:lnTo>
                    <a:pt x="39" y="1575"/>
                  </a:lnTo>
                  <a:lnTo>
                    <a:pt x="56" y="1634"/>
                  </a:lnTo>
                  <a:lnTo>
                    <a:pt x="77" y="1693"/>
                  </a:lnTo>
                  <a:lnTo>
                    <a:pt x="99" y="1750"/>
                  </a:lnTo>
                  <a:lnTo>
                    <a:pt x="124" y="1806"/>
                  </a:lnTo>
                  <a:lnTo>
                    <a:pt x="152" y="1860"/>
                  </a:lnTo>
                  <a:lnTo>
                    <a:pt x="182" y="1914"/>
                  </a:lnTo>
                  <a:lnTo>
                    <a:pt x="215" y="1964"/>
                  </a:lnTo>
                  <a:lnTo>
                    <a:pt x="251" y="2014"/>
                  </a:lnTo>
                  <a:lnTo>
                    <a:pt x="288" y="2062"/>
                  </a:lnTo>
                  <a:lnTo>
                    <a:pt x="327" y="2107"/>
                  </a:lnTo>
                  <a:lnTo>
                    <a:pt x="369" y="2152"/>
                  </a:lnTo>
                  <a:lnTo>
                    <a:pt x="413" y="2193"/>
                  </a:lnTo>
                  <a:lnTo>
                    <a:pt x="458" y="2232"/>
                  </a:lnTo>
                  <a:lnTo>
                    <a:pt x="506" y="2270"/>
                  </a:lnTo>
                  <a:lnTo>
                    <a:pt x="555" y="2305"/>
                  </a:lnTo>
                  <a:lnTo>
                    <a:pt x="606" y="2338"/>
                  </a:lnTo>
                  <a:lnTo>
                    <a:pt x="659" y="2368"/>
                  </a:lnTo>
                  <a:lnTo>
                    <a:pt x="713" y="2397"/>
                  </a:lnTo>
                  <a:lnTo>
                    <a:pt x="769" y="2422"/>
                  </a:lnTo>
                  <a:lnTo>
                    <a:pt x="826" y="2444"/>
                  </a:lnTo>
                  <a:lnTo>
                    <a:pt x="884" y="2464"/>
                  </a:lnTo>
                  <a:lnTo>
                    <a:pt x="944" y="2481"/>
                  </a:lnTo>
                  <a:lnTo>
                    <a:pt x="1004" y="2495"/>
                  </a:lnTo>
                  <a:lnTo>
                    <a:pt x="1066" y="2507"/>
                  </a:lnTo>
                  <a:lnTo>
                    <a:pt x="1129" y="2515"/>
                  </a:lnTo>
                  <a:lnTo>
                    <a:pt x="1193" y="2519"/>
                  </a:lnTo>
                  <a:lnTo>
                    <a:pt x="1258" y="2521"/>
                  </a:lnTo>
                  <a:lnTo>
                    <a:pt x="1322" y="2519"/>
                  </a:lnTo>
                  <a:lnTo>
                    <a:pt x="1385" y="2515"/>
                  </a:lnTo>
                  <a:lnTo>
                    <a:pt x="1449" y="2507"/>
                  </a:lnTo>
                  <a:lnTo>
                    <a:pt x="1510" y="2495"/>
                  </a:lnTo>
                  <a:lnTo>
                    <a:pt x="1571" y="2481"/>
                  </a:lnTo>
                  <a:lnTo>
                    <a:pt x="1631" y="2464"/>
                  </a:lnTo>
                  <a:lnTo>
                    <a:pt x="1689" y="2444"/>
                  </a:lnTo>
                  <a:lnTo>
                    <a:pt x="1746" y="2422"/>
                  </a:lnTo>
                  <a:lnTo>
                    <a:pt x="1802" y="2397"/>
                  </a:lnTo>
                  <a:lnTo>
                    <a:pt x="1856" y="2368"/>
                  </a:lnTo>
                  <a:lnTo>
                    <a:pt x="1908" y="2338"/>
                  </a:lnTo>
                  <a:lnTo>
                    <a:pt x="1960" y="2305"/>
                  </a:lnTo>
                  <a:lnTo>
                    <a:pt x="2009" y="2270"/>
                  </a:lnTo>
                  <a:lnTo>
                    <a:pt x="2056" y="2232"/>
                  </a:lnTo>
                  <a:lnTo>
                    <a:pt x="2103" y="2193"/>
                  </a:lnTo>
                  <a:lnTo>
                    <a:pt x="2146" y="2152"/>
                  </a:lnTo>
                  <a:lnTo>
                    <a:pt x="2188" y="2107"/>
                  </a:lnTo>
                  <a:lnTo>
                    <a:pt x="2227" y="2062"/>
                  </a:lnTo>
                  <a:lnTo>
                    <a:pt x="2265" y="2014"/>
                  </a:lnTo>
                  <a:lnTo>
                    <a:pt x="2300" y="1964"/>
                  </a:lnTo>
                  <a:lnTo>
                    <a:pt x="2333" y="1914"/>
                  </a:lnTo>
                  <a:lnTo>
                    <a:pt x="2363" y="1860"/>
                  </a:lnTo>
                  <a:lnTo>
                    <a:pt x="2390" y="1806"/>
                  </a:lnTo>
                  <a:lnTo>
                    <a:pt x="2416" y="1750"/>
                  </a:lnTo>
                  <a:lnTo>
                    <a:pt x="2439" y="1693"/>
                  </a:lnTo>
                  <a:lnTo>
                    <a:pt x="2459" y="1634"/>
                  </a:lnTo>
                  <a:lnTo>
                    <a:pt x="2476" y="1575"/>
                  </a:lnTo>
                  <a:lnTo>
                    <a:pt x="2490" y="1514"/>
                  </a:lnTo>
                  <a:lnTo>
                    <a:pt x="2501" y="1452"/>
                  </a:lnTo>
                  <a:lnTo>
                    <a:pt x="2508" y="1389"/>
                  </a:lnTo>
                  <a:lnTo>
                    <a:pt x="2513" y="1325"/>
                  </a:lnTo>
                  <a:lnTo>
                    <a:pt x="2515" y="1260"/>
                  </a:lnTo>
                  <a:lnTo>
                    <a:pt x="2513" y="1196"/>
                  </a:lnTo>
                  <a:lnTo>
                    <a:pt x="2508" y="1131"/>
                  </a:lnTo>
                  <a:lnTo>
                    <a:pt x="2501" y="1069"/>
                  </a:lnTo>
                  <a:lnTo>
                    <a:pt x="2490" y="1006"/>
                  </a:lnTo>
                  <a:lnTo>
                    <a:pt x="2476" y="946"/>
                  </a:lnTo>
                  <a:lnTo>
                    <a:pt x="2459" y="886"/>
                  </a:lnTo>
                  <a:lnTo>
                    <a:pt x="2439" y="827"/>
                  </a:lnTo>
                  <a:lnTo>
                    <a:pt x="2416" y="770"/>
                  </a:lnTo>
                  <a:lnTo>
                    <a:pt x="2390" y="714"/>
                  </a:lnTo>
                  <a:lnTo>
                    <a:pt x="2363" y="659"/>
                  </a:lnTo>
                  <a:lnTo>
                    <a:pt x="2333" y="607"/>
                  </a:lnTo>
                  <a:lnTo>
                    <a:pt x="2300" y="556"/>
                  </a:lnTo>
                  <a:lnTo>
                    <a:pt x="2265" y="506"/>
                  </a:lnTo>
                  <a:lnTo>
                    <a:pt x="2227" y="459"/>
                  </a:lnTo>
                  <a:lnTo>
                    <a:pt x="2188" y="413"/>
                  </a:lnTo>
                  <a:lnTo>
                    <a:pt x="2146" y="369"/>
                  </a:lnTo>
                  <a:lnTo>
                    <a:pt x="2103" y="328"/>
                  </a:lnTo>
                  <a:lnTo>
                    <a:pt x="2056" y="288"/>
                  </a:lnTo>
                  <a:lnTo>
                    <a:pt x="2009" y="251"/>
                  </a:lnTo>
                  <a:lnTo>
                    <a:pt x="1960" y="216"/>
                  </a:lnTo>
                  <a:lnTo>
                    <a:pt x="1908" y="182"/>
                  </a:lnTo>
                  <a:lnTo>
                    <a:pt x="1856" y="152"/>
                  </a:lnTo>
                  <a:lnTo>
                    <a:pt x="1802" y="124"/>
                  </a:lnTo>
                  <a:lnTo>
                    <a:pt x="1746" y="99"/>
                  </a:lnTo>
                  <a:lnTo>
                    <a:pt x="1689" y="77"/>
                  </a:lnTo>
                  <a:lnTo>
                    <a:pt x="1631" y="56"/>
                  </a:lnTo>
                  <a:lnTo>
                    <a:pt x="1571" y="39"/>
                  </a:lnTo>
                  <a:lnTo>
                    <a:pt x="1510" y="25"/>
                  </a:lnTo>
                  <a:lnTo>
                    <a:pt x="1449" y="14"/>
                  </a:lnTo>
                  <a:lnTo>
                    <a:pt x="1385" y="6"/>
                  </a:lnTo>
                  <a:lnTo>
                    <a:pt x="1322" y="2"/>
                  </a:lnTo>
                  <a:lnTo>
                    <a:pt x="125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89" name="íṡḷiḓê">
              <a:extLst>
                <a:ext uri="{FF2B5EF4-FFF2-40B4-BE49-F238E27FC236}">
                  <a16:creationId xmlns:a16="http://schemas.microsoft.com/office/drawing/2014/main" id="{A5C220B6-191E-4237-BB78-D74BAFECC9ED}"/>
                </a:ext>
              </a:extLst>
            </p:cNvPr>
            <p:cNvSpPr/>
            <p:nvPr/>
          </p:nvSpPr>
          <p:spPr bwMode="auto">
            <a:xfrm>
              <a:off x="5240936" y="2129362"/>
              <a:ext cx="76139" cy="77549"/>
            </a:xfrm>
            <a:custGeom>
              <a:avLst/>
              <a:gdLst>
                <a:gd name="T0" fmla="*/ 1107 w 2012"/>
                <a:gd name="T1" fmla="*/ 514 h 2016"/>
                <a:gd name="T2" fmla="*/ 1224 w 2012"/>
                <a:gd name="T3" fmla="*/ 553 h 2016"/>
                <a:gd name="T4" fmla="*/ 1326 w 2012"/>
                <a:gd name="T5" fmla="*/ 619 h 2016"/>
                <a:gd name="T6" fmla="*/ 1409 w 2012"/>
                <a:gd name="T7" fmla="*/ 707 h 2016"/>
                <a:gd name="T8" fmla="*/ 1469 w 2012"/>
                <a:gd name="T9" fmla="*/ 812 h 2016"/>
                <a:gd name="T10" fmla="*/ 1503 w 2012"/>
                <a:gd name="T11" fmla="*/ 931 h 2016"/>
                <a:gd name="T12" fmla="*/ 1507 w 2012"/>
                <a:gd name="T13" fmla="*/ 1060 h 2016"/>
                <a:gd name="T14" fmla="*/ 1478 w 2012"/>
                <a:gd name="T15" fmla="*/ 1182 h 2016"/>
                <a:gd name="T16" fmla="*/ 1423 w 2012"/>
                <a:gd name="T17" fmla="*/ 1290 h 2016"/>
                <a:gd name="T18" fmla="*/ 1344 w 2012"/>
                <a:gd name="T19" fmla="*/ 1381 h 2016"/>
                <a:gd name="T20" fmla="*/ 1245 w 2012"/>
                <a:gd name="T21" fmla="*/ 1452 h 2016"/>
                <a:gd name="T22" fmla="*/ 1131 w 2012"/>
                <a:gd name="T23" fmla="*/ 1496 h 2016"/>
                <a:gd name="T24" fmla="*/ 1006 w 2012"/>
                <a:gd name="T25" fmla="*/ 1512 h 2016"/>
                <a:gd name="T26" fmla="*/ 880 w 2012"/>
                <a:gd name="T27" fmla="*/ 1496 h 2016"/>
                <a:gd name="T28" fmla="*/ 766 w 2012"/>
                <a:gd name="T29" fmla="*/ 1452 h 2016"/>
                <a:gd name="T30" fmla="*/ 668 w 2012"/>
                <a:gd name="T31" fmla="*/ 1381 h 2016"/>
                <a:gd name="T32" fmla="*/ 589 w 2012"/>
                <a:gd name="T33" fmla="*/ 1290 h 2016"/>
                <a:gd name="T34" fmla="*/ 534 w 2012"/>
                <a:gd name="T35" fmla="*/ 1182 h 2016"/>
                <a:gd name="T36" fmla="*/ 506 w 2012"/>
                <a:gd name="T37" fmla="*/ 1060 h 2016"/>
                <a:gd name="T38" fmla="*/ 509 w 2012"/>
                <a:gd name="T39" fmla="*/ 931 h 2016"/>
                <a:gd name="T40" fmla="*/ 543 w 2012"/>
                <a:gd name="T41" fmla="*/ 812 h 2016"/>
                <a:gd name="T42" fmla="*/ 603 w 2012"/>
                <a:gd name="T43" fmla="*/ 707 h 2016"/>
                <a:gd name="T44" fmla="*/ 686 w 2012"/>
                <a:gd name="T45" fmla="*/ 619 h 2016"/>
                <a:gd name="T46" fmla="*/ 787 w 2012"/>
                <a:gd name="T47" fmla="*/ 553 h 2016"/>
                <a:gd name="T48" fmla="*/ 904 w 2012"/>
                <a:gd name="T49" fmla="*/ 514 h 2016"/>
                <a:gd name="T50" fmla="*/ 0 w 2012"/>
                <a:gd name="T51" fmla="*/ 1008 h 2016"/>
                <a:gd name="T52" fmla="*/ 32 w 2012"/>
                <a:gd name="T53" fmla="*/ 1260 h 2016"/>
                <a:gd name="T54" fmla="*/ 121 w 2012"/>
                <a:gd name="T55" fmla="*/ 1488 h 2016"/>
                <a:gd name="T56" fmla="*/ 261 w 2012"/>
                <a:gd name="T57" fmla="*/ 1686 h 2016"/>
                <a:gd name="T58" fmla="*/ 443 w 2012"/>
                <a:gd name="T59" fmla="*/ 1844 h 2016"/>
                <a:gd name="T60" fmla="*/ 661 w 2012"/>
                <a:gd name="T61" fmla="*/ 1955 h 2016"/>
                <a:gd name="T62" fmla="*/ 903 w 2012"/>
                <a:gd name="T63" fmla="*/ 2011 h 2016"/>
                <a:gd name="T64" fmla="*/ 1159 w 2012"/>
                <a:gd name="T65" fmla="*/ 2004 h 2016"/>
                <a:gd name="T66" fmla="*/ 1397 w 2012"/>
                <a:gd name="T67" fmla="*/ 1937 h 2016"/>
                <a:gd name="T68" fmla="*/ 1607 w 2012"/>
                <a:gd name="T69" fmla="*/ 1816 h 2016"/>
                <a:gd name="T70" fmla="*/ 1782 w 2012"/>
                <a:gd name="T71" fmla="*/ 1649 h 2016"/>
                <a:gd name="T72" fmla="*/ 1912 w 2012"/>
                <a:gd name="T73" fmla="*/ 1445 h 2016"/>
                <a:gd name="T74" fmla="*/ 1992 w 2012"/>
                <a:gd name="T75" fmla="*/ 1211 h 2016"/>
                <a:gd name="T76" fmla="*/ 2011 w 2012"/>
                <a:gd name="T77" fmla="*/ 957 h 2016"/>
                <a:gd name="T78" fmla="*/ 1966 w 2012"/>
                <a:gd name="T79" fmla="*/ 709 h 2016"/>
                <a:gd name="T80" fmla="*/ 1866 w 2012"/>
                <a:gd name="T81" fmla="*/ 486 h 2016"/>
                <a:gd name="T82" fmla="*/ 1717 w 2012"/>
                <a:gd name="T83" fmla="*/ 295 h 2016"/>
                <a:gd name="T84" fmla="*/ 1527 w 2012"/>
                <a:gd name="T85" fmla="*/ 146 h 2016"/>
                <a:gd name="T86" fmla="*/ 1304 w 2012"/>
                <a:gd name="T87" fmla="*/ 45 h 2016"/>
                <a:gd name="T88" fmla="*/ 1057 w 2012"/>
                <a:gd name="T89" fmla="*/ 1 h 2016"/>
                <a:gd name="T90" fmla="*/ 803 w 2012"/>
                <a:gd name="T91" fmla="*/ 20 h 2016"/>
                <a:gd name="T92" fmla="*/ 570 w 2012"/>
                <a:gd name="T93" fmla="*/ 100 h 2016"/>
                <a:gd name="T94" fmla="*/ 366 w 2012"/>
                <a:gd name="T95" fmla="*/ 231 h 2016"/>
                <a:gd name="T96" fmla="*/ 200 w 2012"/>
                <a:gd name="T97" fmla="*/ 405 h 2016"/>
                <a:gd name="T98" fmla="*/ 79 w 2012"/>
                <a:gd name="T99" fmla="*/ 616 h 2016"/>
                <a:gd name="T100" fmla="*/ 12 w 2012"/>
                <a:gd name="T101" fmla="*/ 855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012" h="2016">
                  <a:moveTo>
                    <a:pt x="1006" y="504"/>
                  </a:moveTo>
                  <a:lnTo>
                    <a:pt x="1032" y="505"/>
                  </a:lnTo>
                  <a:lnTo>
                    <a:pt x="1057" y="507"/>
                  </a:lnTo>
                  <a:lnTo>
                    <a:pt x="1082" y="510"/>
                  </a:lnTo>
                  <a:lnTo>
                    <a:pt x="1107" y="514"/>
                  </a:lnTo>
                  <a:lnTo>
                    <a:pt x="1131" y="520"/>
                  </a:lnTo>
                  <a:lnTo>
                    <a:pt x="1156" y="526"/>
                  </a:lnTo>
                  <a:lnTo>
                    <a:pt x="1179" y="534"/>
                  </a:lnTo>
                  <a:lnTo>
                    <a:pt x="1202" y="543"/>
                  </a:lnTo>
                  <a:lnTo>
                    <a:pt x="1224" y="553"/>
                  </a:lnTo>
                  <a:lnTo>
                    <a:pt x="1245" y="564"/>
                  </a:lnTo>
                  <a:lnTo>
                    <a:pt x="1266" y="577"/>
                  </a:lnTo>
                  <a:lnTo>
                    <a:pt x="1287" y="590"/>
                  </a:lnTo>
                  <a:lnTo>
                    <a:pt x="1306" y="604"/>
                  </a:lnTo>
                  <a:lnTo>
                    <a:pt x="1326" y="619"/>
                  </a:lnTo>
                  <a:lnTo>
                    <a:pt x="1344" y="635"/>
                  </a:lnTo>
                  <a:lnTo>
                    <a:pt x="1362" y="651"/>
                  </a:lnTo>
                  <a:lnTo>
                    <a:pt x="1378" y="669"/>
                  </a:lnTo>
                  <a:lnTo>
                    <a:pt x="1394" y="688"/>
                  </a:lnTo>
                  <a:lnTo>
                    <a:pt x="1409" y="707"/>
                  </a:lnTo>
                  <a:lnTo>
                    <a:pt x="1423" y="726"/>
                  </a:lnTo>
                  <a:lnTo>
                    <a:pt x="1436" y="747"/>
                  </a:lnTo>
                  <a:lnTo>
                    <a:pt x="1448" y="768"/>
                  </a:lnTo>
                  <a:lnTo>
                    <a:pt x="1459" y="789"/>
                  </a:lnTo>
                  <a:lnTo>
                    <a:pt x="1469" y="812"/>
                  </a:lnTo>
                  <a:lnTo>
                    <a:pt x="1478" y="835"/>
                  </a:lnTo>
                  <a:lnTo>
                    <a:pt x="1487" y="858"/>
                  </a:lnTo>
                  <a:lnTo>
                    <a:pt x="1493" y="882"/>
                  </a:lnTo>
                  <a:lnTo>
                    <a:pt x="1499" y="906"/>
                  </a:lnTo>
                  <a:lnTo>
                    <a:pt x="1503" y="931"/>
                  </a:lnTo>
                  <a:lnTo>
                    <a:pt x="1507" y="957"/>
                  </a:lnTo>
                  <a:lnTo>
                    <a:pt x="1508" y="982"/>
                  </a:lnTo>
                  <a:lnTo>
                    <a:pt x="1509" y="1008"/>
                  </a:lnTo>
                  <a:lnTo>
                    <a:pt x="1508" y="1034"/>
                  </a:lnTo>
                  <a:lnTo>
                    <a:pt x="1507" y="1060"/>
                  </a:lnTo>
                  <a:lnTo>
                    <a:pt x="1503" y="1085"/>
                  </a:lnTo>
                  <a:lnTo>
                    <a:pt x="1499" y="1110"/>
                  </a:lnTo>
                  <a:lnTo>
                    <a:pt x="1493" y="1134"/>
                  </a:lnTo>
                  <a:lnTo>
                    <a:pt x="1487" y="1158"/>
                  </a:lnTo>
                  <a:lnTo>
                    <a:pt x="1478" y="1182"/>
                  </a:lnTo>
                  <a:lnTo>
                    <a:pt x="1469" y="1205"/>
                  </a:lnTo>
                  <a:lnTo>
                    <a:pt x="1459" y="1227"/>
                  </a:lnTo>
                  <a:lnTo>
                    <a:pt x="1448" y="1248"/>
                  </a:lnTo>
                  <a:lnTo>
                    <a:pt x="1436" y="1269"/>
                  </a:lnTo>
                  <a:lnTo>
                    <a:pt x="1423" y="1290"/>
                  </a:lnTo>
                  <a:lnTo>
                    <a:pt x="1409" y="1310"/>
                  </a:lnTo>
                  <a:lnTo>
                    <a:pt x="1394" y="1329"/>
                  </a:lnTo>
                  <a:lnTo>
                    <a:pt x="1378" y="1347"/>
                  </a:lnTo>
                  <a:lnTo>
                    <a:pt x="1362" y="1365"/>
                  </a:lnTo>
                  <a:lnTo>
                    <a:pt x="1344" y="1381"/>
                  </a:lnTo>
                  <a:lnTo>
                    <a:pt x="1326" y="1397"/>
                  </a:lnTo>
                  <a:lnTo>
                    <a:pt x="1306" y="1412"/>
                  </a:lnTo>
                  <a:lnTo>
                    <a:pt x="1287" y="1427"/>
                  </a:lnTo>
                  <a:lnTo>
                    <a:pt x="1266" y="1440"/>
                  </a:lnTo>
                  <a:lnTo>
                    <a:pt x="1245" y="1452"/>
                  </a:lnTo>
                  <a:lnTo>
                    <a:pt x="1224" y="1463"/>
                  </a:lnTo>
                  <a:lnTo>
                    <a:pt x="1202" y="1473"/>
                  </a:lnTo>
                  <a:lnTo>
                    <a:pt x="1179" y="1482"/>
                  </a:lnTo>
                  <a:lnTo>
                    <a:pt x="1156" y="1490"/>
                  </a:lnTo>
                  <a:lnTo>
                    <a:pt x="1131" y="1496"/>
                  </a:lnTo>
                  <a:lnTo>
                    <a:pt x="1107" y="1502"/>
                  </a:lnTo>
                  <a:lnTo>
                    <a:pt x="1082" y="1506"/>
                  </a:lnTo>
                  <a:lnTo>
                    <a:pt x="1057" y="1509"/>
                  </a:lnTo>
                  <a:lnTo>
                    <a:pt x="1032" y="1511"/>
                  </a:lnTo>
                  <a:lnTo>
                    <a:pt x="1006" y="1512"/>
                  </a:lnTo>
                  <a:lnTo>
                    <a:pt x="980" y="1511"/>
                  </a:lnTo>
                  <a:lnTo>
                    <a:pt x="954" y="1509"/>
                  </a:lnTo>
                  <a:lnTo>
                    <a:pt x="929" y="1506"/>
                  </a:lnTo>
                  <a:lnTo>
                    <a:pt x="904" y="1502"/>
                  </a:lnTo>
                  <a:lnTo>
                    <a:pt x="880" y="1496"/>
                  </a:lnTo>
                  <a:lnTo>
                    <a:pt x="856" y="1490"/>
                  </a:lnTo>
                  <a:lnTo>
                    <a:pt x="833" y="1482"/>
                  </a:lnTo>
                  <a:lnTo>
                    <a:pt x="811" y="1473"/>
                  </a:lnTo>
                  <a:lnTo>
                    <a:pt x="787" y="1463"/>
                  </a:lnTo>
                  <a:lnTo>
                    <a:pt x="766" y="1452"/>
                  </a:lnTo>
                  <a:lnTo>
                    <a:pt x="745" y="1440"/>
                  </a:lnTo>
                  <a:lnTo>
                    <a:pt x="725" y="1427"/>
                  </a:lnTo>
                  <a:lnTo>
                    <a:pt x="705" y="1412"/>
                  </a:lnTo>
                  <a:lnTo>
                    <a:pt x="686" y="1397"/>
                  </a:lnTo>
                  <a:lnTo>
                    <a:pt x="668" y="1381"/>
                  </a:lnTo>
                  <a:lnTo>
                    <a:pt x="651" y="1365"/>
                  </a:lnTo>
                  <a:lnTo>
                    <a:pt x="633" y="1347"/>
                  </a:lnTo>
                  <a:lnTo>
                    <a:pt x="617" y="1329"/>
                  </a:lnTo>
                  <a:lnTo>
                    <a:pt x="603" y="1310"/>
                  </a:lnTo>
                  <a:lnTo>
                    <a:pt x="589" y="1290"/>
                  </a:lnTo>
                  <a:lnTo>
                    <a:pt x="576" y="1269"/>
                  </a:lnTo>
                  <a:lnTo>
                    <a:pt x="564" y="1248"/>
                  </a:lnTo>
                  <a:lnTo>
                    <a:pt x="553" y="1227"/>
                  </a:lnTo>
                  <a:lnTo>
                    <a:pt x="543" y="1205"/>
                  </a:lnTo>
                  <a:lnTo>
                    <a:pt x="534" y="1182"/>
                  </a:lnTo>
                  <a:lnTo>
                    <a:pt x="526" y="1158"/>
                  </a:lnTo>
                  <a:lnTo>
                    <a:pt x="519" y="1134"/>
                  </a:lnTo>
                  <a:lnTo>
                    <a:pt x="513" y="1110"/>
                  </a:lnTo>
                  <a:lnTo>
                    <a:pt x="509" y="1085"/>
                  </a:lnTo>
                  <a:lnTo>
                    <a:pt x="506" y="1060"/>
                  </a:lnTo>
                  <a:lnTo>
                    <a:pt x="504" y="1034"/>
                  </a:lnTo>
                  <a:lnTo>
                    <a:pt x="503" y="1008"/>
                  </a:lnTo>
                  <a:lnTo>
                    <a:pt x="504" y="982"/>
                  </a:lnTo>
                  <a:lnTo>
                    <a:pt x="506" y="957"/>
                  </a:lnTo>
                  <a:lnTo>
                    <a:pt x="509" y="931"/>
                  </a:lnTo>
                  <a:lnTo>
                    <a:pt x="513" y="906"/>
                  </a:lnTo>
                  <a:lnTo>
                    <a:pt x="519" y="882"/>
                  </a:lnTo>
                  <a:lnTo>
                    <a:pt x="526" y="858"/>
                  </a:lnTo>
                  <a:lnTo>
                    <a:pt x="534" y="835"/>
                  </a:lnTo>
                  <a:lnTo>
                    <a:pt x="543" y="812"/>
                  </a:lnTo>
                  <a:lnTo>
                    <a:pt x="553" y="789"/>
                  </a:lnTo>
                  <a:lnTo>
                    <a:pt x="564" y="768"/>
                  </a:lnTo>
                  <a:lnTo>
                    <a:pt x="576" y="747"/>
                  </a:lnTo>
                  <a:lnTo>
                    <a:pt x="589" y="726"/>
                  </a:lnTo>
                  <a:lnTo>
                    <a:pt x="603" y="707"/>
                  </a:lnTo>
                  <a:lnTo>
                    <a:pt x="617" y="688"/>
                  </a:lnTo>
                  <a:lnTo>
                    <a:pt x="633" y="669"/>
                  </a:lnTo>
                  <a:lnTo>
                    <a:pt x="651" y="651"/>
                  </a:lnTo>
                  <a:lnTo>
                    <a:pt x="668" y="635"/>
                  </a:lnTo>
                  <a:lnTo>
                    <a:pt x="686" y="619"/>
                  </a:lnTo>
                  <a:lnTo>
                    <a:pt x="705" y="604"/>
                  </a:lnTo>
                  <a:lnTo>
                    <a:pt x="725" y="590"/>
                  </a:lnTo>
                  <a:lnTo>
                    <a:pt x="745" y="577"/>
                  </a:lnTo>
                  <a:lnTo>
                    <a:pt x="766" y="564"/>
                  </a:lnTo>
                  <a:lnTo>
                    <a:pt x="787" y="553"/>
                  </a:lnTo>
                  <a:lnTo>
                    <a:pt x="811" y="543"/>
                  </a:lnTo>
                  <a:lnTo>
                    <a:pt x="833" y="534"/>
                  </a:lnTo>
                  <a:lnTo>
                    <a:pt x="856" y="526"/>
                  </a:lnTo>
                  <a:lnTo>
                    <a:pt x="880" y="520"/>
                  </a:lnTo>
                  <a:lnTo>
                    <a:pt x="904" y="514"/>
                  </a:lnTo>
                  <a:lnTo>
                    <a:pt x="929" y="510"/>
                  </a:lnTo>
                  <a:lnTo>
                    <a:pt x="954" y="507"/>
                  </a:lnTo>
                  <a:lnTo>
                    <a:pt x="980" y="505"/>
                  </a:lnTo>
                  <a:lnTo>
                    <a:pt x="1006" y="504"/>
                  </a:lnTo>
                  <a:close/>
                  <a:moveTo>
                    <a:pt x="0" y="1008"/>
                  </a:moveTo>
                  <a:lnTo>
                    <a:pt x="2" y="1060"/>
                  </a:lnTo>
                  <a:lnTo>
                    <a:pt x="5" y="1111"/>
                  </a:lnTo>
                  <a:lnTo>
                    <a:pt x="12" y="1161"/>
                  </a:lnTo>
                  <a:lnTo>
                    <a:pt x="21" y="1211"/>
                  </a:lnTo>
                  <a:lnTo>
                    <a:pt x="32" y="1260"/>
                  </a:lnTo>
                  <a:lnTo>
                    <a:pt x="45" y="1308"/>
                  </a:lnTo>
                  <a:lnTo>
                    <a:pt x="61" y="1355"/>
                  </a:lnTo>
                  <a:lnTo>
                    <a:pt x="79" y="1400"/>
                  </a:lnTo>
                  <a:lnTo>
                    <a:pt x="99" y="1445"/>
                  </a:lnTo>
                  <a:lnTo>
                    <a:pt x="121" y="1488"/>
                  </a:lnTo>
                  <a:lnTo>
                    <a:pt x="146" y="1530"/>
                  </a:lnTo>
                  <a:lnTo>
                    <a:pt x="172" y="1572"/>
                  </a:lnTo>
                  <a:lnTo>
                    <a:pt x="200" y="1611"/>
                  </a:lnTo>
                  <a:lnTo>
                    <a:pt x="230" y="1649"/>
                  </a:lnTo>
                  <a:lnTo>
                    <a:pt x="261" y="1686"/>
                  </a:lnTo>
                  <a:lnTo>
                    <a:pt x="294" y="1721"/>
                  </a:lnTo>
                  <a:lnTo>
                    <a:pt x="330" y="1754"/>
                  </a:lnTo>
                  <a:lnTo>
                    <a:pt x="366" y="1785"/>
                  </a:lnTo>
                  <a:lnTo>
                    <a:pt x="404" y="1816"/>
                  </a:lnTo>
                  <a:lnTo>
                    <a:pt x="443" y="1844"/>
                  </a:lnTo>
                  <a:lnTo>
                    <a:pt x="485" y="1870"/>
                  </a:lnTo>
                  <a:lnTo>
                    <a:pt x="527" y="1894"/>
                  </a:lnTo>
                  <a:lnTo>
                    <a:pt x="570" y="1917"/>
                  </a:lnTo>
                  <a:lnTo>
                    <a:pt x="614" y="1937"/>
                  </a:lnTo>
                  <a:lnTo>
                    <a:pt x="661" y="1955"/>
                  </a:lnTo>
                  <a:lnTo>
                    <a:pt x="707" y="1971"/>
                  </a:lnTo>
                  <a:lnTo>
                    <a:pt x="754" y="1984"/>
                  </a:lnTo>
                  <a:lnTo>
                    <a:pt x="803" y="1995"/>
                  </a:lnTo>
                  <a:lnTo>
                    <a:pt x="853" y="2004"/>
                  </a:lnTo>
                  <a:lnTo>
                    <a:pt x="903" y="2011"/>
                  </a:lnTo>
                  <a:lnTo>
                    <a:pt x="954" y="2015"/>
                  </a:lnTo>
                  <a:lnTo>
                    <a:pt x="1006" y="2016"/>
                  </a:lnTo>
                  <a:lnTo>
                    <a:pt x="1057" y="2015"/>
                  </a:lnTo>
                  <a:lnTo>
                    <a:pt x="1108" y="2011"/>
                  </a:lnTo>
                  <a:lnTo>
                    <a:pt x="1159" y="2004"/>
                  </a:lnTo>
                  <a:lnTo>
                    <a:pt x="1208" y="1995"/>
                  </a:lnTo>
                  <a:lnTo>
                    <a:pt x="1257" y="1984"/>
                  </a:lnTo>
                  <a:lnTo>
                    <a:pt x="1304" y="1971"/>
                  </a:lnTo>
                  <a:lnTo>
                    <a:pt x="1352" y="1955"/>
                  </a:lnTo>
                  <a:lnTo>
                    <a:pt x="1397" y="1937"/>
                  </a:lnTo>
                  <a:lnTo>
                    <a:pt x="1441" y="1917"/>
                  </a:lnTo>
                  <a:lnTo>
                    <a:pt x="1485" y="1894"/>
                  </a:lnTo>
                  <a:lnTo>
                    <a:pt x="1527" y="1870"/>
                  </a:lnTo>
                  <a:lnTo>
                    <a:pt x="1568" y="1844"/>
                  </a:lnTo>
                  <a:lnTo>
                    <a:pt x="1607" y="1816"/>
                  </a:lnTo>
                  <a:lnTo>
                    <a:pt x="1645" y="1785"/>
                  </a:lnTo>
                  <a:lnTo>
                    <a:pt x="1682" y="1754"/>
                  </a:lnTo>
                  <a:lnTo>
                    <a:pt x="1717" y="1721"/>
                  </a:lnTo>
                  <a:lnTo>
                    <a:pt x="1750" y="1686"/>
                  </a:lnTo>
                  <a:lnTo>
                    <a:pt x="1782" y="1649"/>
                  </a:lnTo>
                  <a:lnTo>
                    <a:pt x="1811" y="1611"/>
                  </a:lnTo>
                  <a:lnTo>
                    <a:pt x="1840" y="1572"/>
                  </a:lnTo>
                  <a:lnTo>
                    <a:pt x="1866" y="1530"/>
                  </a:lnTo>
                  <a:lnTo>
                    <a:pt x="1890" y="1488"/>
                  </a:lnTo>
                  <a:lnTo>
                    <a:pt x="1912" y="1445"/>
                  </a:lnTo>
                  <a:lnTo>
                    <a:pt x="1932" y="1400"/>
                  </a:lnTo>
                  <a:lnTo>
                    <a:pt x="1950" y="1355"/>
                  </a:lnTo>
                  <a:lnTo>
                    <a:pt x="1966" y="1308"/>
                  </a:lnTo>
                  <a:lnTo>
                    <a:pt x="1980" y="1260"/>
                  </a:lnTo>
                  <a:lnTo>
                    <a:pt x="1992" y="1211"/>
                  </a:lnTo>
                  <a:lnTo>
                    <a:pt x="2001" y="1161"/>
                  </a:lnTo>
                  <a:lnTo>
                    <a:pt x="2007" y="1111"/>
                  </a:lnTo>
                  <a:lnTo>
                    <a:pt x="2011" y="1060"/>
                  </a:lnTo>
                  <a:lnTo>
                    <a:pt x="2012" y="1008"/>
                  </a:lnTo>
                  <a:lnTo>
                    <a:pt x="2011" y="957"/>
                  </a:lnTo>
                  <a:lnTo>
                    <a:pt x="2007" y="905"/>
                  </a:lnTo>
                  <a:lnTo>
                    <a:pt x="2001" y="855"/>
                  </a:lnTo>
                  <a:lnTo>
                    <a:pt x="1992" y="805"/>
                  </a:lnTo>
                  <a:lnTo>
                    <a:pt x="1980" y="756"/>
                  </a:lnTo>
                  <a:lnTo>
                    <a:pt x="1966" y="709"/>
                  </a:lnTo>
                  <a:lnTo>
                    <a:pt x="1950" y="661"/>
                  </a:lnTo>
                  <a:lnTo>
                    <a:pt x="1932" y="616"/>
                  </a:lnTo>
                  <a:lnTo>
                    <a:pt x="1912" y="572"/>
                  </a:lnTo>
                  <a:lnTo>
                    <a:pt x="1890" y="528"/>
                  </a:lnTo>
                  <a:lnTo>
                    <a:pt x="1866" y="486"/>
                  </a:lnTo>
                  <a:lnTo>
                    <a:pt x="1840" y="445"/>
                  </a:lnTo>
                  <a:lnTo>
                    <a:pt x="1811" y="405"/>
                  </a:lnTo>
                  <a:lnTo>
                    <a:pt x="1782" y="367"/>
                  </a:lnTo>
                  <a:lnTo>
                    <a:pt x="1750" y="331"/>
                  </a:lnTo>
                  <a:lnTo>
                    <a:pt x="1717" y="295"/>
                  </a:lnTo>
                  <a:lnTo>
                    <a:pt x="1682" y="262"/>
                  </a:lnTo>
                  <a:lnTo>
                    <a:pt x="1645" y="231"/>
                  </a:lnTo>
                  <a:lnTo>
                    <a:pt x="1607" y="201"/>
                  </a:lnTo>
                  <a:lnTo>
                    <a:pt x="1568" y="172"/>
                  </a:lnTo>
                  <a:lnTo>
                    <a:pt x="1527" y="146"/>
                  </a:lnTo>
                  <a:lnTo>
                    <a:pt x="1485" y="122"/>
                  </a:lnTo>
                  <a:lnTo>
                    <a:pt x="1441" y="100"/>
                  </a:lnTo>
                  <a:lnTo>
                    <a:pt x="1397" y="80"/>
                  </a:lnTo>
                  <a:lnTo>
                    <a:pt x="1352" y="61"/>
                  </a:lnTo>
                  <a:lnTo>
                    <a:pt x="1304" y="45"/>
                  </a:lnTo>
                  <a:lnTo>
                    <a:pt x="1257" y="31"/>
                  </a:lnTo>
                  <a:lnTo>
                    <a:pt x="1208" y="20"/>
                  </a:lnTo>
                  <a:lnTo>
                    <a:pt x="1159" y="11"/>
                  </a:lnTo>
                  <a:lnTo>
                    <a:pt x="1108" y="5"/>
                  </a:lnTo>
                  <a:lnTo>
                    <a:pt x="1057" y="1"/>
                  </a:lnTo>
                  <a:lnTo>
                    <a:pt x="1006" y="0"/>
                  </a:lnTo>
                  <a:lnTo>
                    <a:pt x="954" y="1"/>
                  </a:lnTo>
                  <a:lnTo>
                    <a:pt x="903" y="5"/>
                  </a:lnTo>
                  <a:lnTo>
                    <a:pt x="853" y="11"/>
                  </a:lnTo>
                  <a:lnTo>
                    <a:pt x="803" y="20"/>
                  </a:lnTo>
                  <a:lnTo>
                    <a:pt x="754" y="31"/>
                  </a:lnTo>
                  <a:lnTo>
                    <a:pt x="707" y="45"/>
                  </a:lnTo>
                  <a:lnTo>
                    <a:pt x="661" y="61"/>
                  </a:lnTo>
                  <a:lnTo>
                    <a:pt x="614" y="80"/>
                  </a:lnTo>
                  <a:lnTo>
                    <a:pt x="570" y="100"/>
                  </a:lnTo>
                  <a:lnTo>
                    <a:pt x="527" y="122"/>
                  </a:lnTo>
                  <a:lnTo>
                    <a:pt x="485" y="146"/>
                  </a:lnTo>
                  <a:lnTo>
                    <a:pt x="443" y="172"/>
                  </a:lnTo>
                  <a:lnTo>
                    <a:pt x="404" y="201"/>
                  </a:lnTo>
                  <a:lnTo>
                    <a:pt x="366" y="231"/>
                  </a:lnTo>
                  <a:lnTo>
                    <a:pt x="330" y="262"/>
                  </a:lnTo>
                  <a:lnTo>
                    <a:pt x="294" y="295"/>
                  </a:lnTo>
                  <a:lnTo>
                    <a:pt x="261" y="331"/>
                  </a:lnTo>
                  <a:lnTo>
                    <a:pt x="230" y="367"/>
                  </a:lnTo>
                  <a:lnTo>
                    <a:pt x="200" y="405"/>
                  </a:lnTo>
                  <a:lnTo>
                    <a:pt x="172" y="445"/>
                  </a:lnTo>
                  <a:lnTo>
                    <a:pt x="146" y="486"/>
                  </a:lnTo>
                  <a:lnTo>
                    <a:pt x="121" y="528"/>
                  </a:lnTo>
                  <a:lnTo>
                    <a:pt x="99" y="572"/>
                  </a:lnTo>
                  <a:lnTo>
                    <a:pt x="79" y="616"/>
                  </a:lnTo>
                  <a:lnTo>
                    <a:pt x="61" y="661"/>
                  </a:lnTo>
                  <a:lnTo>
                    <a:pt x="45" y="709"/>
                  </a:lnTo>
                  <a:lnTo>
                    <a:pt x="32" y="756"/>
                  </a:lnTo>
                  <a:lnTo>
                    <a:pt x="21" y="805"/>
                  </a:lnTo>
                  <a:lnTo>
                    <a:pt x="12" y="855"/>
                  </a:lnTo>
                  <a:lnTo>
                    <a:pt x="5" y="905"/>
                  </a:lnTo>
                  <a:lnTo>
                    <a:pt x="2" y="957"/>
                  </a:lnTo>
                  <a:lnTo>
                    <a:pt x="0" y="10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90" name="íṡ1íḓê">
              <a:extLst>
                <a:ext uri="{FF2B5EF4-FFF2-40B4-BE49-F238E27FC236}">
                  <a16:creationId xmlns:a16="http://schemas.microsoft.com/office/drawing/2014/main" id="{3E6F822D-CBAB-4FC1-83A0-DD889D624F9E}"/>
                </a:ext>
              </a:extLst>
            </p:cNvPr>
            <p:cNvSpPr/>
            <p:nvPr/>
          </p:nvSpPr>
          <p:spPr bwMode="auto">
            <a:xfrm>
              <a:off x="5317074" y="2264720"/>
              <a:ext cx="38070" cy="38070"/>
            </a:xfrm>
            <a:custGeom>
              <a:avLst/>
              <a:gdLst>
                <a:gd name="T0" fmla="*/ 554 w 1006"/>
                <a:gd name="T1" fmla="*/ 1005 h 1008"/>
                <a:gd name="T2" fmla="*/ 628 w 1006"/>
                <a:gd name="T3" fmla="*/ 992 h 1008"/>
                <a:gd name="T4" fmla="*/ 699 w 1006"/>
                <a:gd name="T5" fmla="*/ 969 h 1008"/>
                <a:gd name="T6" fmla="*/ 763 w 1006"/>
                <a:gd name="T7" fmla="*/ 935 h 1008"/>
                <a:gd name="T8" fmla="*/ 822 w 1006"/>
                <a:gd name="T9" fmla="*/ 893 h 1008"/>
                <a:gd name="T10" fmla="*/ 875 w 1006"/>
                <a:gd name="T11" fmla="*/ 843 h 1008"/>
                <a:gd name="T12" fmla="*/ 920 w 1006"/>
                <a:gd name="T13" fmla="*/ 786 h 1008"/>
                <a:gd name="T14" fmla="*/ 956 w 1006"/>
                <a:gd name="T15" fmla="*/ 723 h 1008"/>
                <a:gd name="T16" fmla="*/ 983 w 1006"/>
                <a:gd name="T17" fmla="*/ 654 h 1008"/>
                <a:gd name="T18" fmla="*/ 1000 w 1006"/>
                <a:gd name="T19" fmla="*/ 581 h 1008"/>
                <a:gd name="T20" fmla="*/ 1006 w 1006"/>
                <a:gd name="T21" fmla="*/ 504 h 1008"/>
                <a:gd name="T22" fmla="*/ 1000 w 1006"/>
                <a:gd name="T23" fmla="*/ 427 h 1008"/>
                <a:gd name="T24" fmla="*/ 983 w 1006"/>
                <a:gd name="T25" fmla="*/ 354 h 1008"/>
                <a:gd name="T26" fmla="*/ 956 w 1006"/>
                <a:gd name="T27" fmla="*/ 285 h 1008"/>
                <a:gd name="T28" fmla="*/ 920 w 1006"/>
                <a:gd name="T29" fmla="*/ 222 h 1008"/>
                <a:gd name="T30" fmla="*/ 875 w 1006"/>
                <a:gd name="T31" fmla="*/ 165 h 1008"/>
                <a:gd name="T32" fmla="*/ 822 w 1006"/>
                <a:gd name="T33" fmla="*/ 115 h 1008"/>
                <a:gd name="T34" fmla="*/ 763 w 1006"/>
                <a:gd name="T35" fmla="*/ 72 h 1008"/>
                <a:gd name="T36" fmla="*/ 699 w 1006"/>
                <a:gd name="T37" fmla="*/ 39 h 1008"/>
                <a:gd name="T38" fmla="*/ 628 w 1006"/>
                <a:gd name="T39" fmla="*/ 16 h 1008"/>
                <a:gd name="T40" fmla="*/ 554 w 1006"/>
                <a:gd name="T41" fmla="*/ 3 h 1008"/>
                <a:gd name="T42" fmla="*/ 476 w 1006"/>
                <a:gd name="T43" fmla="*/ 1 h 1008"/>
                <a:gd name="T44" fmla="*/ 401 w 1006"/>
                <a:gd name="T45" fmla="*/ 10 h 1008"/>
                <a:gd name="T46" fmla="*/ 330 w 1006"/>
                <a:gd name="T47" fmla="*/ 30 h 1008"/>
                <a:gd name="T48" fmla="*/ 263 w 1006"/>
                <a:gd name="T49" fmla="*/ 60 h 1008"/>
                <a:gd name="T50" fmla="*/ 202 w 1006"/>
                <a:gd name="T51" fmla="*/ 100 h 1008"/>
                <a:gd name="T52" fmla="*/ 147 w 1006"/>
                <a:gd name="T53" fmla="*/ 147 h 1008"/>
                <a:gd name="T54" fmla="*/ 99 w 1006"/>
                <a:gd name="T55" fmla="*/ 202 h 1008"/>
                <a:gd name="T56" fmla="*/ 61 w 1006"/>
                <a:gd name="T57" fmla="*/ 264 h 1008"/>
                <a:gd name="T58" fmla="*/ 30 w 1006"/>
                <a:gd name="T59" fmla="*/ 330 h 1008"/>
                <a:gd name="T60" fmla="*/ 10 w 1006"/>
                <a:gd name="T61" fmla="*/ 402 h 1008"/>
                <a:gd name="T62" fmla="*/ 1 w 1006"/>
                <a:gd name="T63" fmla="*/ 478 h 1008"/>
                <a:gd name="T64" fmla="*/ 3 w 1006"/>
                <a:gd name="T65" fmla="*/ 555 h 1008"/>
                <a:gd name="T66" fmla="*/ 16 w 1006"/>
                <a:gd name="T67" fmla="*/ 630 h 1008"/>
                <a:gd name="T68" fmla="*/ 39 w 1006"/>
                <a:gd name="T69" fmla="*/ 700 h 1008"/>
                <a:gd name="T70" fmla="*/ 73 w 1006"/>
                <a:gd name="T71" fmla="*/ 765 h 1008"/>
                <a:gd name="T72" fmla="*/ 114 w 1006"/>
                <a:gd name="T73" fmla="*/ 824 h 1008"/>
                <a:gd name="T74" fmla="*/ 165 w 1006"/>
                <a:gd name="T75" fmla="*/ 877 h 1008"/>
                <a:gd name="T76" fmla="*/ 222 w 1006"/>
                <a:gd name="T77" fmla="*/ 922 h 1008"/>
                <a:gd name="T78" fmla="*/ 284 w 1006"/>
                <a:gd name="T79" fmla="*/ 959 h 1008"/>
                <a:gd name="T80" fmla="*/ 353 w 1006"/>
                <a:gd name="T81" fmla="*/ 985 h 1008"/>
                <a:gd name="T82" fmla="*/ 426 w 1006"/>
                <a:gd name="T83" fmla="*/ 1002 h 1008"/>
                <a:gd name="T84" fmla="*/ 503 w 1006"/>
                <a:gd name="T85" fmla="*/ 1008 h 1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" h="1008">
                  <a:moveTo>
                    <a:pt x="503" y="1008"/>
                  </a:moveTo>
                  <a:lnTo>
                    <a:pt x="529" y="1007"/>
                  </a:lnTo>
                  <a:lnTo>
                    <a:pt x="554" y="1005"/>
                  </a:lnTo>
                  <a:lnTo>
                    <a:pt x="579" y="1002"/>
                  </a:lnTo>
                  <a:lnTo>
                    <a:pt x="604" y="998"/>
                  </a:lnTo>
                  <a:lnTo>
                    <a:pt x="628" y="992"/>
                  </a:lnTo>
                  <a:lnTo>
                    <a:pt x="652" y="985"/>
                  </a:lnTo>
                  <a:lnTo>
                    <a:pt x="676" y="978"/>
                  </a:lnTo>
                  <a:lnTo>
                    <a:pt x="699" y="969"/>
                  </a:lnTo>
                  <a:lnTo>
                    <a:pt x="721" y="959"/>
                  </a:lnTo>
                  <a:lnTo>
                    <a:pt x="742" y="948"/>
                  </a:lnTo>
                  <a:lnTo>
                    <a:pt x="763" y="935"/>
                  </a:lnTo>
                  <a:lnTo>
                    <a:pt x="784" y="922"/>
                  </a:lnTo>
                  <a:lnTo>
                    <a:pt x="803" y="908"/>
                  </a:lnTo>
                  <a:lnTo>
                    <a:pt x="822" y="893"/>
                  </a:lnTo>
                  <a:lnTo>
                    <a:pt x="841" y="877"/>
                  </a:lnTo>
                  <a:lnTo>
                    <a:pt x="859" y="861"/>
                  </a:lnTo>
                  <a:lnTo>
                    <a:pt x="875" y="843"/>
                  </a:lnTo>
                  <a:lnTo>
                    <a:pt x="891" y="824"/>
                  </a:lnTo>
                  <a:lnTo>
                    <a:pt x="906" y="805"/>
                  </a:lnTo>
                  <a:lnTo>
                    <a:pt x="920" y="786"/>
                  </a:lnTo>
                  <a:lnTo>
                    <a:pt x="933" y="765"/>
                  </a:lnTo>
                  <a:lnTo>
                    <a:pt x="945" y="744"/>
                  </a:lnTo>
                  <a:lnTo>
                    <a:pt x="956" y="723"/>
                  </a:lnTo>
                  <a:lnTo>
                    <a:pt x="966" y="700"/>
                  </a:lnTo>
                  <a:lnTo>
                    <a:pt x="975" y="677"/>
                  </a:lnTo>
                  <a:lnTo>
                    <a:pt x="983" y="654"/>
                  </a:lnTo>
                  <a:lnTo>
                    <a:pt x="989" y="630"/>
                  </a:lnTo>
                  <a:lnTo>
                    <a:pt x="996" y="606"/>
                  </a:lnTo>
                  <a:lnTo>
                    <a:pt x="1000" y="581"/>
                  </a:lnTo>
                  <a:lnTo>
                    <a:pt x="1004" y="555"/>
                  </a:lnTo>
                  <a:lnTo>
                    <a:pt x="1006" y="530"/>
                  </a:lnTo>
                  <a:lnTo>
                    <a:pt x="1006" y="504"/>
                  </a:lnTo>
                  <a:lnTo>
                    <a:pt x="1006" y="478"/>
                  </a:lnTo>
                  <a:lnTo>
                    <a:pt x="1004" y="452"/>
                  </a:lnTo>
                  <a:lnTo>
                    <a:pt x="1000" y="427"/>
                  </a:lnTo>
                  <a:lnTo>
                    <a:pt x="996" y="402"/>
                  </a:lnTo>
                  <a:lnTo>
                    <a:pt x="989" y="378"/>
                  </a:lnTo>
                  <a:lnTo>
                    <a:pt x="983" y="354"/>
                  </a:lnTo>
                  <a:lnTo>
                    <a:pt x="975" y="330"/>
                  </a:lnTo>
                  <a:lnTo>
                    <a:pt x="966" y="307"/>
                  </a:lnTo>
                  <a:lnTo>
                    <a:pt x="956" y="285"/>
                  </a:lnTo>
                  <a:lnTo>
                    <a:pt x="945" y="264"/>
                  </a:lnTo>
                  <a:lnTo>
                    <a:pt x="933" y="243"/>
                  </a:lnTo>
                  <a:lnTo>
                    <a:pt x="920" y="222"/>
                  </a:lnTo>
                  <a:lnTo>
                    <a:pt x="906" y="202"/>
                  </a:lnTo>
                  <a:lnTo>
                    <a:pt x="891" y="183"/>
                  </a:lnTo>
                  <a:lnTo>
                    <a:pt x="875" y="165"/>
                  </a:lnTo>
                  <a:lnTo>
                    <a:pt x="859" y="147"/>
                  </a:lnTo>
                  <a:lnTo>
                    <a:pt x="841" y="131"/>
                  </a:lnTo>
                  <a:lnTo>
                    <a:pt x="822" y="115"/>
                  </a:lnTo>
                  <a:lnTo>
                    <a:pt x="803" y="100"/>
                  </a:lnTo>
                  <a:lnTo>
                    <a:pt x="784" y="85"/>
                  </a:lnTo>
                  <a:lnTo>
                    <a:pt x="763" y="72"/>
                  </a:lnTo>
                  <a:lnTo>
                    <a:pt x="742" y="60"/>
                  </a:lnTo>
                  <a:lnTo>
                    <a:pt x="721" y="49"/>
                  </a:lnTo>
                  <a:lnTo>
                    <a:pt x="699" y="39"/>
                  </a:lnTo>
                  <a:lnTo>
                    <a:pt x="676" y="30"/>
                  </a:lnTo>
                  <a:lnTo>
                    <a:pt x="652" y="22"/>
                  </a:lnTo>
                  <a:lnTo>
                    <a:pt x="628" y="16"/>
                  </a:lnTo>
                  <a:lnTo>
                    <a:pt x="604" y="10"/>
                  </a:lnTo>
                  <a:lnTo>
                    <a:pt x="579" y="6"/>
                  </a:lnTo>
                  <a:lnTo>
                    <a:pt x="554" y="3"/>
                  </a:lnTo>
                  <a:lnTo>
                    <a:pt x="529" y="1"/>
                  </a:lnTo>
                  <a:lnTo>
                    <a:pt x="503" y="0"/>
                  </a:lnTo>
                  <a:lnTo>
                    <a:pt x="476" y="1"/>
                  </a:lnTo>
                  <a:lnTo>
                    <a:pt x="451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4" y="49"/>
                  </a:lnTo>
                  <a:lnTo>
                    <a:pt x="263" y="60"/>
                  </a:lnTo>
                  <a:lnTo>
                    <a:pt x="242" y="72"/>
                  </a:lnTo>
                  <a:lnTo>
                    <a:pt x="222" y="85"/>
                  </a:lnTo>
                  <a:lnTo>
                    <a:pt x="202" y="100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0" y="165"/>
                  </a:lnTo>
                  <a:lnTo>
                    <a:pt x="114" y="183"/>
                  </a:lnTo>
                  <a:lnTo>
                    <a:pt x="99" y="202"/>
                  </a:lnTo>
                  <a:lnTo>
                    <a:pt x="86" y="222"/>
                  </a:lnTo>
                  <a:lnTo>
                    <a:pt x="73" y="243"/>
                  </a:lnTo>
                  <a:lnTo>
                    <a:pt x="61" y="264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3" y="354"/>
                  </a:lnTo>
                  <a:lnTo>
                    <a:pt x="16" y="378"/>
                  </a:lnTo>
                  <a:lnTo>
                    <a:pt x="10" y="402"/>
                  </a:lnTo>
                  <a:lnTo>
                    <a:pt x="6" y="427"/>
                  </a:lnTo>
                  <a:lnTo>
                    <a:pt x="3" y="452"/>
                  </a:lnTo>
                  <a:lnTo>
                    <a:pt x="1" y="478"/>
                  </a:lnTo>
                  <a:lnTo>
                    <a:pt x="0" y="504"/>
                  </a:lnTo>
                  <a:lnTo>
                    <a:pt x="1" y="530"/>
                  </a:lnTo>
                  <a:lnTo>
                    <a:pt x="3" y="555"/>
                  </a:lnTo>
                  <a:lnTo>
                    <a:pt x="6" y="581"/>
                  </a:lnTo>
                  <a:lnTo>
                    <a:pt x="10" y="606"/>
                  </a:lnTo>
                  <a:lnTo>
                    <a:pt x="16" y="630"/>
                  </a:lnTo>
                  <a:lnTo>
                    <a:pt x="23" y="654"/>
                  </a:lnTo>
                  <a:lnTo>
                    <a:pt x="30" y="677"/>
                  </a:lnTo>
                  <a:lnTo>
                    <a:pt x="39" y="700"/>
                  </a:lnTo>
                  <a:lnTo>
                    <a:pt x="49" y="723"/>
                  </a:lnTo>
                  <a:lnTo>
                    <a:pt x="61" y="744"/>
                  </a:lnTo>
                  <a:lnTo>
                    <a:pt x="73" y="765"/>
                  </a:lnTo>
                  <a:lnTo>
                    <a:pt x="86" y="786"/>
                  </a:lnTo>
                  <a:lnTo>
                    <a:pt x="99" y="805"/>
                  </a:lnTo>
                  <a:lnTo>
                    <a:pt x="114" y="824"/>
                  </a:lnTo>
                  <a:lnTo>
                    <a:pt x="130" y="843"/>
                  </a:lnTo>
                  <a:lnTo>
                    <a:pt x="147" y="861"/>
                  </a:lnTo>
                  <a:lnTo>
                    <a:pt x="165" y="877"/>
                  </a:lnTo>
                  <a:lnTo>
                    <a:pt x="183" y="893"/>
                  </a:lnTo>
                  <a:lnTo>
                    <a:pt x="202" y="908"/>
                  </a:lnTo>
                  <a:lnTo>
                    <a:pt x="222" y="922"/>
                  </a:lnTo>
                  <a:lnTo>
                    <a:pt x="242" y="935"/>
                  </a:lnTo>
                  <a:lnTo>
                    <a:pt x="263" y="948"/>
                  </a:lnTo>
                  <a:lnTo>
                    <a:pt x="284" y="959"/>
                  </a:lnTo>
                  <a:lnTo>
                    <a:pt x="307" y="969"/>
                  </a:lnTo>
                  <a:lnTo>
                    <a:pt x="330" y="978"/>
                  </a:lnTo>
                  <a:lnTo>
                    <a:pt x="353" y="985"/>
                  </a:lnTo>
                  <a:lnTo>
                    <a:pt x="377" y="992"/>
                  </a:lnTo>
                  <a:lnTo>
                    <a:pt x="401" y="998"/>
                  </a:lnTo>
                  <a:lnTo>
                    <a:pt x="426" y="1002"/>
                  </a:lnTo>
                  <a:lnTo>
                    <a:pt x="451" y="1005"/>
                  </a:lnTo>
                  <a:lnTo>
                    <a:pt x="476" y="1007"/>
                  </a:lnTo>
                  <a:lnTo>
                    <a:pt x="503" y="10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91" name="íṣľíḓe">
              <a:extLst>
                <a:ext uri="{FF2B5EF4-FFF2-40B4-BE49-F238E27FC236}">
                  <a16:creationId xmlns:a16="http://schemas.microsoft.com/office/drawing/2014/main" id="{04E79501-45FE-421A-A2A4-73F45CF5F443}"/>
                </a:ext>
              </a:extLst>
            </p:cNvPr>
            <p:cNvSpPr/>
            <p:nvPr/>
          </p:nvSpPr>
          <p:spPr bwMode="auto">
            <a:xfrm>
              <a:off x="5624448" y="1975676"/>
              <a:ext cx="38070" cy="39479"/>
            </a:xfrm>
            <a:custGeom>
              <a:avLst/>
              <a:gdLst>
                <a:gd name="T0" fmla="*/ 452 w 1006"/>
                <a:gd name="T1" fmla="*/ 3 h 1008"/>
                <a:gd name="T2" fmla="*/ 377 w 1006"/>
                <a:gd name="T3" fmla="*/ 16 h 1008"/>
                <a:gd name="T4" fmla="*/ 307 w 1006"/>
                <a:gd name="T5" fmla="*/ 39 h 1008"/>
                <a:gd name="T6" fmla="*/ 243 w 1006"/>
                <a:gd name="T7" fmla="*/ 72 h 1008"/>
                <a:gd name="T8" fmla="*/ 183 w 1006"/>
                <a:gd name="T9" fmla="*/ 115 h 1008"/>
                <a:gd name="T10" fmla="*/ 131 w 1006"/>
                <a:gd name="T11" fmla="*/ 165 h 1008"/>
                <a:gd name="T12" fmla="*/ 86 w 1006"/>
                <a:gd name="T13" fmla="*/ 222 h 1008"/>
                <a:gd name="T14" fmla="*/ 49 w 1006"/>
                <a:gd name="T15" fmla="*/ 285 h 1008"/>
                <a:gd name="T16" fmla="*/ 22 w 1006"/>
                <a:gd name="T17" fmla="*/ 354 h 1008"/>
                <a:gd name="T18" fmla="*/ 6 w 1006"/>
                <a:gd name="T19" fmla="*/ 427 h 1008"/>
                <a:gd name="T20" fmla="*/ 0 w 1006"/>
                <a:gd name="T21" fmla="*/ 504 h 1008"/>
                <a:gd name="T22" fmla="*/ 6 w 1006"/>
                <a:gd name="T23" fmla="*/ 581 h 1008"/>
                <a:gd name="T24" fmla="*/ 22 w 1006"/>
                <a:gd name="T25" fmla="*/ 654 h 1008"/>
                <a:gd name="T26" fmla="*/ 49 w 1006"/>
                <a:gd name="T27" fmla="*/ 723 h 1008"/>
                <a:gd name="T28" fmla="*/ 86 w 1006"/>
                <a:gd name="T29" fmla="*/ 786 h 1008"/>
                <a:gd name="T30" fmla="*/ 131 w 1006"/>
                <a:gd name="T31" fmla="*/ 843 h 1008"/>
                <a:gd name="T32" fmla="*/ 183 w 1006"/>
                <a:gd name="T33" fmla="*/ 893 h 1008"/>
                <a:gd name="T34" fmla="*/ 243 w 1006"/>
                <a:gd name="T35" fmla="*/ 936 h 1008"/>
                <a:gd name="T36" fmla="*/ 307 w 1006"/>
                <a:gd name="T37" fmla="*/ 969 h 1008"/>
                <a:gd name="T38" fmla="*/ 377 w 1006"/>
                <a:gd name="T39" fmla="*/ 992 h 1008"/>
                <a:gd name="T40" fmla="*/ 452 w 1006"/>
                <a:gd name="T41" fmla="*/ 1005 h 1008"/>
                <a:gd name="T42" fmla="*/ 529 w 1006"/>
                <a:gd name="T43" fmla="*/ 1007 h 1008"/>
                <a:gd name="T44" fmla="*/ 605 w 1006"/>
                <a:gd name="T45" fmla="*/ 998 h 1008"/>
                <a:gd name="T46" fmla="*/ 676 w 1006"/>
                <a:gd name="T47" fmla="*/ 978 h 1008"/>
                <a:gd name="T48" fmla="*/ 743 w 1006"/>
                <a:gd name="T49" fmla="*/ 948 h 1008"/>
                <a:gd name="T50" fmla="*/ 804 w 1006"/>
                <a:gd name="T51" fmla="*/ 908 h 1008"/>
                <a:gd name="T52" fmla="*/ 858 w 1006"/>
                <a:gd name="T53" fmla="*/ 861 h 1008"/>
                <a:gd name="T54" fmla="*/ 906 w 1006"/>
                <a:gd name="T55" fmla="*/ 805 h 1008"/>
                <a:gd name="T56" fmla="*/ 946 w 1006"/>
                <a:gd name="T57" fmla="*/ 744 h 1008"/>
                <a:gd name="T58" fmla="*/ 976 w 1006"/>
                <a:gd name="T59" fmla="*/ 677 h 1008"/>
                <a:gd name="T60" fmla="*/ 996 w 1006"/>
                <a:gd name="T61" fmla="*/ 606 h 1008"/>
                <a:gd name="T62" fmla="*/ 1005 w 1006"/>
                <a:gd name="T63" fmla="*/ 530 h 1008"/>
                <a:gd name="T64" fmla="*/ 1003 w 1006"/>
                <a:gd name="T65" fmla="*/ 453 h 1008"/>
                <a:gd name="T66" fmla="*/ 990 w 1006"/>
                <a:gd name="T67" fmla="*/ 378 h 1008"/>
                <a:gd name="T68" fmla="*/ 967 w 1006"/>
                <a:gd name="T69" fmla="*/ 307 h 1008"/>
                <a:gd name="T70" fmla="*/ 934 w 1006"/>
                <a:gd name="T71" fmla="*/ 243 h 1008"/>
                <a:gd name="T72" fmla="*/ 891 w 1006"/>
                <a:gd name="T73" fmla="*/ 183 h 1008"/>
                <a:gd name="T74" fmla="*/ 841 w 1006"/>
                <a:gd name="T75" fmla="*/ 131 h 1008"/>
                <a:gd name="T76" fmla="*/ 784 w 1006"/>
                <a:gd name="T77" fmla="*/ 86 h 1008"/>
                <a:gd name="T78" fmla="*/ 721 w 1006"/>
                <a:gd name="T79" fmla="*/ 49 h 1008"/>
                <a:gd name="T80" fmla="*/ 653 w 1006"/>
                <a:gd name="T81" fmla="*/ 22 h 1008"/>
                <a:gd name="T82" fmla="*/ 580 w 1006"/>
                <a:gd name="T83" fmla="*/ 6 h 1008"/>
                <a:gd name="T84" fmla="*/ 503 w 1006"/>
                <a:gd name="T85" fmla="*/ 0 h 1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" h="1008">
                  <a:moveTo>
                    <a:pt x="503" y="0"/>
                  </a:moveTo>
                  <a:lnTo>
                    <a:pt x="477" y="1"/>
                  </a:lnTo>
                  <a:lnTo>
                    <a:pt x="452" y="3"/>
                  </a:lnTo>
                  <a:lnTo>
                    <a:pt x="427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5" y="49"/>
                  </a:lnTo>
                  <a:lnTo>
                    <a:pt x="264" y="60"/>
                  </a:lnTo>
                  <a:lnTo>
                    <a:pt x="243" y="72"/>
                  </a:lnTo>
                  <a:lnTo>
                    <a:pt x="221" y="86"/>
                  </a:lnTo>
                  <a:lnTo>
                    <a:pt x="202" y="100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100" y="203"/>
                  </a:lnTo>
                  <a:lnTo>
                    <a:pt x="86" y="222"/>
                  </a:lnTo>
                  <a:lnTo>
                    <a:pt x="73" y="243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1"/>
                  </a:lnTo>
                  <a:lnTo>
                    <a:pt x="22" y="354"/>
                  </a:lnTo>
                  <a:lnTo>
                    <a:pt x="16" y="378"/>
                  </a:lnTo>
                  <a:lnTo>
                    <a:pt x="10" y="402"/>
                  </a:lnTo>
                  <a:lnTo>
                    <a:pt x="6" y="427"/>
                  </a:lnTo>
                  <a:lnTo>
                    <a:pt x="3" y="453"/>
                  </a:lnTo>
                  <a:lnTo>
                    <a:pt x="1" y="478"/>
                  </a:lnTo>
                  <a:lnTo>
                    <a:pt x="0" y="504"/>
                  </a:lnTo>
                  <a:lnTo>
                    <a:pt x="1" y="530"/>
                  </a:lnTo>
                  <a:lnTo>
                    <a:pt x="3" y="555"/>
                  </a:lnTo>
                  <a:lnTo>
                    <a:pt x="6" y="581"/>
                  </a:lnTo>
                  <a:lnTo>
                    <a:pt x="10" y="606"/>
                  </a:lnTo>
                  <a:lnTo>
                    <a:pt x="16" y="630"/>
                  </a:lnTo>
                  <a:lnTo>
                    <a:pt x="22" y="654"/>
                  </a:lnTo>
                  <a:lnTo>
                    <a:pt x="30" y="677"/>
                  </a:lnTo>
                  <a:lnTo>
                    <a:pt x="39" y="701"/>
                  </a:lnTo>
                  <a:lnTo>
                    <a:pt x="49" y="723"/>
                  </a:lnTo>
                  <a:lnTo>
                    <a:pt x="60" y="744"/>
                  </a:lnTo>
                  <a:lnTo>
                    <a:pt x="73" y="765"/>
                  </a:lnTo>
                  <a:lnTo>
                    <a:pt x="86" y="786"/>
                  </a:lnTo>
                  <a:lnTo>
                    <a:pt x="100" y="805"/>
                  </a:lnTo>
                  <a:lnTo>
                    <a:pt x="115" y="825"/>
                  </a:lnTo>
                  <a:lnTo>
                    <a:pt x="131" y="843"/>
                  </a:lnTo>
                  <a:lnTo>
                    <a:pt x="147" y="861"/>
                  </a:lnTo>
                  <a:lnTo>
                    <a:pt x="165" y="877"/>
                  </a:lnTo>
                  <a:lnTo>
                    <a:pt x="183" y="893"/>
                  </a:lnTo>
                  <a:lnTo>
                    <a:pt x="202" y="908"/>
                  </a:lnTo>
                  <a:lnTo>
                    <a:pt x="221" y="922"/>
                  </a:lnTo>
                  <a:lnTo>
                    <a:pt x="243" y="936"/>
                  </a:lnTo>
                  <a:lnTo>
                    <a:pt x="264" y="948"/>
                  </a:lnTo>
                  <a:lnTo>
                    <a:pt x="285" y="959"/>
                  </a:lnTo>
                  <a:lnTo>
                    <a:pt x="307" y="969"/>
                  </a:lnTo>
                  <a:lnTo>
                    <a:pt x="330" y="978"/>
                  </a:lnTo>
                  <a:lnTo>
                    <a:pt x="353" y="986"/>
                  </a:lnTo>
                  <a:lnTo>
                    <a:pt x="377" y="992"/>
                  </a:lnTo>
                  <a:lnTo>
                    <a:pt x="401" y="998"/>
                  </a:lnTo>
                  <a:lnTo>
                    <a:pt x="427" y="1002"/>
                  </a:lnTo>
                  <a:lnTo>
                    <a:pt x="452" y="1005"/>
                  </a:lnTo>
                  <a:lnTo>
                    <a:pt x="477" y="1007"/>
                  </a:lnTo>
                  <a:lnTo>
                    <a:pt x="503" y="1008"/>
                  </a:lnTo>
                  <a:lnTo>
                    <a:pt x="529" y="1007"/>
                  </a:lnTo>
                  <a:lnTo>
                    <a:pt x="554" y="1005"/>
                  </a:lnTo>
                  <a:lnTo>
                    <a:pt x="580" y="1002"/>
                  </a:lnTo>
                  <a:lnTo>
                    <a:pt x="605" y="998"/>
                  </a:lnTo>
                  <a:lnTo>
                    <a:pt x="629" y="992"/>
                  </a:lnTo>
                  <a:lnTo>
                    <a:pt x="653" y="986"/>
                  </a:lnTo>
                  <a:lnTo>
                    <a:pt x="676" y="978"/>
                  </a:lnTo>
                  <a:lnTo>
                    <a:pt x="699" y="969"/>
                  </a:lnTo>
                  <a:lnTo>
                    <a:pt x="721" y="959"/>
                  </a:lnTo>
                  <a:lnTo>
                    <a:pt x="743" y="948"/>
                  </a:lnTo>
                  <a:lnTo>
                    <a:pt x="764" y="936"/>
                  </a:lnTo>
                  <a:lnTo>
                    <a:pt x="784" y="922"/>
                  </a:lnTo>
                  <a:lnTo>
                    <a:pt x="804" y="908"/>
                  </a:lnTo>
                  <a:lnTo>
                    <a:pt x="823" y="893"/>
                  </a:lnTo>
                  <a:lnTo>
                    <a:pt x="841" y="877"/>
                  </a:lnTo>
                  <a:lnTo>
                    <a:pt x="858" y="861"/>
                  </a:lnTo>
                  <a:lnTo>
                    <a:pt x="875" y="843"/>
                  </a:lnTo>
                  <a:lnTo>
                    <a:pt x="891" y="825"/>
                  </a:lnTo>
                  <a:lnTo>
                    <a:pt x="906" y="805"/>
                  </a:lnTo>
                  <a:lnTo>
                    <a:pt x="921" y="786"/>
                  </a:lnTo>
                  <a:lnTo>
                    <a:pt x="934" y="765"/>
                  </a:lnTo>
                  <a:lnTo>
                    <a:pt x="946" y="744"/>
                  </a:lnTo>
                  <a:lnTo>
                    <a:pt x="957" y="723"/>
                  </a:lnTo>
                  <a:lnTo>
                    <a:pt x="967" y="701"/>
                  </a:lnTo>
                  <a:lnTo>
                    <a:pt x="976" y="677"/>
                  </a:lnTo>
                  <a:lnTo>
                    <a:pt x="983" y="654"/>
                  </a:lnTo>
                  <a:lnTo>
                    <a:pt x="990" y="630"/>
                  </a:lnTo>
                  <a:lnTo>
                    <a:pt x="996" y="606"/>
                  </a:lnTo>
                  <a:lnTo>
                    <a:pt x="1000" y="581"/>
                  </a:lnTo>
                  <a:lnTo>
                    <a:pt x="1003" y="555"/>
                  </a:lnTo>
                  <a:lnTo>
                    <a:pt x="1005" y="530"/>
                  </a:lnTo>
                  <a:lnTo>
                    <a:pt x="1006" y="504"/>
                  </a:lnTo>
                  <a:lnTo>
                    <a:pt x="1005" y="478"/>
                  </a:lnTo>
                  <a:lnTo>
                    <a:pt x="1003" y="453"/>
                  </a:lnTo>
                  <a:lnTo>
                    <a:pt x="1000" y="427"/>
                  </a:lnTo>
                  <a:lnTo>
                    <a:pt x="996" y="402"/>
                  </a:lnTo>
                  <a:lnTo>
                    <a:pt x="990" y="378"/>
                  </a:lnTo>
                  <a:lnTo>
                    <a:pt x="983" y="354"/>
                  </a:lnTo>
                  <a:lnTo>
                    <a:pt x="976" y="331"/>
                  </a:lnTo>
                  <a:lnTo>
                    <a:pt x="967" y="307"/>
                  </a:lnTo>
                  <a:lnTo>
                    <a:pt x="957" y="285"/>
                  </a:lnTo>
                  <a:lnTo>
                    <a:pt x="946" y="263"/>
                  </a:lnTo>
                  <a:lnTo>
                    <a:pt x="934" y="243"/>
                  </a:lnTo>
                  <a:lnTo>
                    <a:pt x="921" y="222"/>
                  </a:lnTo>
                  <a:lnTo>
                    <a:pt x="906" y="203"/>
                  </a:lnTo>
                  <a:lnTo>
                    <a:pt x="891" y="183"/>
                  </a:lnTo>
                  <a:lnTo>
                    <a:pt x="875" y="165"/>
                  </a:lnTo>
                  <a:lnTo>
                    <a:pt x="858" y="147"/>
                  </a:lnTo>
                  <a:lnTo>
                    <a:pt x="841" y="131"/>
                  </a:lnTo>
                  <a:lnTo>
                    <a:pt x="823" y="115"/>
                  </a:lnTo>
                  <a:lnTo>
                    <a:pt x="804" y="100"/>
                  </a:lnTo>
                  <a:lnTo>
                    <a:pt x="784" y="86"/>
                  </a:lnTo>
                  <a:lnTo>
                    <a:pt x="764" y="72"/>
                  </a:lnTo>
                  <a:lnTo>
                    <a:pt x="743" y="60"/>
                  </a:lnTo>
                  <a:lnTo>
                    <a:pt x="721" y="49"/>
                  </a:lnTo>
                  <a:lnTo>
                    <a:pt x="699" y="39"/>
                  </a:lnTo>
                  <a:lnTo>
                    <a:pt x="676" y="30"/>
                  </a:lnTo>
                  <a:lnTo>
                    <a:pt x="653" y="22"/>
                  </a:lnTo>
                  <a:lnTo>
                    <a:pt x="629" y="16"/>
                  </a:lnTo>
                  <a:lnTo>
                    <a:pt x="605" y="10"/>
                  </a:lnTo>
                  <a:lnTo>
                    <a:pt x="580" y="6"/>
                  </a:lnTo>
                  <a:lnTo>
                    <a:pt x="554" y="3"/>
                  </a:lnTo>
                  <a:lnTo>
                    <a:pt x="529" y="1"/>
                  </a:lnTo>
                  <a:lnTo>
                    <a:pt x="50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92" name="ï$ļiḑê">
              <a:extLst>
                <a:ext uri="{FF2B5EF4-FFF2-40B4-BE49-F238E27FC236}">
                  <a16:creationId xmlns:a16="http://schemas.microsoft.com/office/drawing/2014/main" id="{9991AD0F-3DBE-4939-B6A4-A99214E3F7BA}"/>
                </a:ext>
              </a:extLst>
            </p:cNvPr>
            <p:cNvSpPr/>
            <p:nvPr/>
          </p:nvSpPr>
          <p:spPr bwMode="auto">
            <a:xfrm>
              <a:off x="6810091" y="89716"/>
              <a:ext cx="107841" cy="107841"/>
            </a:xfrm>
            <a:custGeom>
              <a:avLst/>
              <a:gdLst>
                <a:gd name="T0" fmla="*/ 4769 w 5269"/>
                <a:gd name="T1" fmla="*/ 5046 h 5270"/>
                <a:gd name="T2" fmla="*/ 4779 w 5269"/>
                <a:gd name="T3" fmla="*/ 5094 h 5270"/>
                <a:gd name="T4" fmla="*/ 4798 w 5269"/>
                <a:gd name="T5" fmla="*/ 5139 h 5270"/>
                <a:gd name="T6" fmla="*/ 4825 w 5269"/>
                <a:gd name="T7" fmla="*/ 5178 h 5270"/>
                <a:gd name="T8" fmla="*/ 4859 w 5269"/>
                <a:gd name="T9" fmla="*/ 5213 h 5270"/>
                <a:gd name="T10" fmla="*/ 4898 w 5269"/>
                <a:gd name="T11" fmla="*/ 5240 h 5270"/>
                <a:gd name="T12" fmla="*/ 4944 w 5269"/>
                <a:gd name="T13" fmla="*/ 5258 h 5270"/>
                <a:gd name="T14" fmla="*/ 4993 w 5269"/>
                <a:gd name="T15" fmla="*/ 5268 h 5270"/>
                <a:gd name="T16" fmla="*/ 5044 w 5269"/>
                <a:gd name="T17" fmla="*/ 5268 h 5270"/>
                <a:gd name="T18" fmla="*/ 5092 w 5269"/>
                <a:gd name="T19" fmla="*/ 5258 h 5270"/>
                <a:gd name="T20" fmla="*/ 5137 w 5269"/>
                <a:gd name="T21" fmla="*/ 5239 h 5270"/>
                <a:gd name="T22" fmla="*/ 5177 w 5269"/>
                <a:gd name="T23" fmla="*/ 5213 h 5270"/>
                <a:gd name="T24" fmla="*/ 5212 w 5269"/>
                <a:gd name="T25" fmla="*/ 5178 h 5270"/>
                <a:gd name="T26" fmla="*/ 5239 w 5269"/>
                <a:gd name="T27" fmla="*/ 5138 h 5270"/>
                <a:gd name="T28" fmla="*/ 5258 w 5269"/>
                <a:gd name="T29" fmla="*/ 5093 h 5270"/>
                <a:gd name="T30" fmla="*/ 5268 w 5269"/>
                <a:gd name="T31" fmla="*/ 5044 h 5270"/>
                <a:gd name="T32" fmla="*/ 5268 w 5269"/>
                <a:gd name="T33" fmla="*/ 5015 h 5270"/>
                <a:gd name="T34" fmla="*/ 5165 w 5269"/>
                <a:gd name="T35" fmla="*/ 4006 h 5270"/>
                <a:gd name="T36" fmla="*/ 4873 w 5269"/>
                <a:gd name="T37" fmla="*/ 3067 h 5270"/>
                <a:gd name="T38" fmla="*/ 4412 w 5269"/>
                <a:gd name="T39" fmla="*/ 2216 h 5270"/>
                <a:gd name="T40" fmla="*/ 3801 w 5269"/>
                <a:gd name="T41" fmla="*/ 1475 h 5270"/>
                <a:gd name="T42" fmla="*/ 3061 w 5269"/>
                <a:gd name="T43" fmla="*/ 863 h 5270"/>
                <a:gd name="T44" fmla="*/ 2211 w 5269"/>
                <a:gd name="T45" fmla="*/ 401 h 5270"/>
                <a:gd name="T46" fmla="*/ 1272 w 5269"/>
                <a:gd name="T47" fmla="*/ 108 h 5270"/>
                <a:gd name="T48" fmla="*/ 264 w 5269"/>
                <a:gd name="T49" fmla="*/ 3 h 5270"/>
                <a:gd name="T50" fmla="*/ 226 w 5269"/>
                <a:gd name="T51" fmla="*/ 1 h 5270"/>
                <a:gd name="T52" fmla="*/ 176 w 5269"/>
                <a:gd name="T53" fmla="*/ 11 h 5270"/>
                <a:gd name="T54" fmla="*/ 131 w 5269"/>
                <a:gd name="T55" fmla="*/ 30 h 5270"/>
                <a:gd name="T56" fmla="*/ 91 w 5269"/>
                <a:gd name="T57" fmla="*/ 58 h 5270"/>
                <a:gd name="T58" fmla="*/ 57 w 5269"/>
                <a:gd name="T59" fmla="*/ 92 h 5270"/>
                <a:gd name="T60" fmla="*/ 30 w 5269"/>
                <a:gd name="T61" fmla="*/ 132 h 5270"/>
                <a:gd name="T62" fmla="*/ 11 w 5269"/>
                <a:gd name="T63" fmla="*/ 177 h 5270"/>
                <a:gd name="T64" fmla="*/ 2 w 5269"/>
                <a:gd name="T65" fmla="*/ 225 h 5270"/>
                <a:gd name="T66" fmla="*/ 2 w 5269"/>
                <a:gd name="T67" fmla="*/ 276 h 5270"/>
                <a:gd name="T68" fmla="*/ 11 w 5269"/>
                <a:gd name="T69" fmla="*/ 326 h 5270"/>
                <a:gd name="T70" fmla="*/ 30 w 5269"/>
                <a:gd name="T71" fmla="*/ 371 h 5270"/>
                <a:gd name="T72" fmla="*/ 57 w 5269"/>
                <a:gd name="T73" fmla="*/ 411 h 5270"/>
                <a:gd name="T74" fmla="*/ 91 w 5269"/>
                <a:gd name="T75" fmla="*/ 444 h 5270"/>
                <a:gd name="T76" fmla="*/ 131 w 5269"/>
                <a:gd name="T77" fmla="*/ 471 h 5270"/>
                <a:gd name="T78" fmla="*/ 175 w 5269"/>
                <a:gd name="T79" fmla="*/ 490 h 5270"/>
                <a:gd name="T80" fmla="*/ 225 w 5269"/>
                <a:gd name="T81" fmla="*/ 501 h 5270"/>
                <a:gd name="T82" fmla="*/ 481 w 5269"/>
                <a:gd name="T83" fmla="*/ 510 h 5270"/>
                <a:gd name="T84" fmla="*/ 1378 w 5269"/>
                <a:gd name="T85" fmla="*/ 647 h 5270"/>
                <a:gd name="T86" fmla="*/ 2206 w 5269"/>
                <a:gd name="T87" fmla="*/ 950 h 5270"/>
                <a:gd name="T88" fmla="*/ 2950 w 5269"/>
                <a:gd name="T89" fmla="*/ 1403 h 5270"/>
                <a:gd name="T90" fmla="*/ 3592 w 5269"/>
                <a:gd name="T91" fmla="*/ 1986 h 5270"/>
                <a:gd name="T92" fmla="*/ 4112 w 5269"/>
                <a:gd name="T93" fmla="*/ 2680 h 5270"/>
                <a:gd name="T94" fmla="*/ 4492 w 5269"/>
                <a:gd name="T95" fmla="*/ 3469 h 5270"/>
                <a:gd name="T96" fmla="*/ 4714 w 5269"/>
                <a:gd name="T97" fmla="*/ 4333 h 5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269" h="5270">
                  <a:moveTo>
                    <a:pt x="4766" y="5021"/>
                  </a:moveTo>
                  <a:lnTo>
                    <a:pt x="4767" y="5021"/>
                  </a:lnTo>
                  <a:lnTo>
                    <a:pt x="4768" y="5033"/>
                  </a:lnTo>
                  <a:lnTo>
                    <a:pt x="4769" y="5046"/>
                  </a:lnTo>
                  <a:lnTo>
                    <a:pt x="4770" y="5058"/>
                  </a:lnTo>
                  <a:lnTo>
                    <a:pt x="4773" y="5071"/>
                  </a:lnTo>
                  <a:lnTo>
                    <a:pt x="4775" y="5083"/>
                  </a:lnTo>
                  <a:lnTo>
                    <a:pt x="4779" y="5094"/>
                  </a:lnTo>
                  <a:lnTo>
                    <a:pt x="4783" y="5106"/>
                  </a:lnTo>
                  <a:lnTo>
                    <a:pt x="4787" y="5117"/>
                  </a:lnTo>
                  <a:lnTo>
                    <a:pt x="4792" y="5128"/>
                  </a:lnTo>
                  <a:lnTo>
                    <a:pt x="4798" y="5139"/>
                  </a:lnTo>
                  <a:lnTo>
                    <a:pt x="4804" y="5149"/>
                  </a:lnTo>
                  <a:lnTo>
                    <a:pt x="4810" y="5159"/>
                  </a:lnTo>
                  <a:lnTo>
                    <a:pt x="4817" y="5169"/>
                  </a:lnTo>
                  <a:lnTo>
                    <a:pt x="4825" y="5178"/>
                  </a:lnTo>
                  <a:lnTo>
                    <a:pt x="4833" y="5187"/>
                  </a:lnTo>
                  <a:lnTo>
                    <a:pt x="4841" y="5196"/>
                  </a:lnTo>
                  <a:lnTo>
                    <a:pt x="4850" y="5204"/>
                  </a:lnTo>
                  <a:lnTo>
                    <a:pt x="4859" y="5213"/>
                  </a:lnTo>
                  <a:lnTo>
                    <a:pt x="4868" y="5220"/>
                  </a:lnTo>
                  <a:lnTo>
                    <a:pt x="4878" y="5227"/>
                  </a:lnTo>
                  <a:lnTo>
                    <a:pt x="4888" y="5234"/>
                  </a:lnTo>
                  <a:lnTo>
                    <a:pt x="4898" y="5240"/>
                  </a:lnTo>
                  <a:lnTo>
                    <a:pt x="4909" y="5245"/>
                  </a:lnTo>
                  <a:lnTo>
                    <a:pt x="4920" y="5250"/>
                  </a:lnTo>
                  <a:lnTo>
                    <a:pt x="4932" y="5255"/>
                  </a:lnTo>
                  <a:lnTo>
                    <a:pt x="4944" y="5258"/>
                  </a:lnTo>
                  <a:lnTo>
                    <a:pt x="4956" y="5262"/>
                  </a:lnTo>
                  <a:lnTo>
                    <a:pt x="4968" y="5265"/>
                  </a:lnTo>
                  <a:lnTo>
                    <a:pt x="4980" y="5267"/>
                  </a:lnTo>
                  <a:lnTo>
                    <a:pt x="4993" y="5268"/>
                  </a:lnTo>
                  <a:lnTo>
                    <a:pt x="5005" y="5269"/>
                  </a:lnTo>
                  <a:lnTo>
                    <a:pt x="5018" y="5270"/>
                  </a:lnTo>
                  <a:lnTo>
                    <a:pt x="5031" y="5269"/>
                  </a:lnTo>
                  <a:lnTo>
                    <a:pt x="5044" y="5268"/>
                  </a:lnTo>
                  <a:lnTo>
                    <a:pt x="5056" y="5267"/>
                  </a:lnTo>
                  <a:lnTo>
                    <a:pt x="5068" y="5264"/>
                  </a:lnTo>
                  <a:lnTo>
                    <a:pt x="5080" y="5262"/>
                  </a:lnTo>
                  <a:lnTo>
                    <a:pt x="5092" y="5258"/>
                  </a:lnTo>
                  <a:lnTo>
                    <a:pt x="5104" y="5254"/>
                  </a:lnTo>
                  <a:lnTo>
                    <a:pt x="5115" y="5250"/>
                  </a:lnTo>
                  <a:lnTo>
                    <a:pt x="5126" y="5245"/>
                  </a:lnTo>
                  <a:lnTo>
                    <a:pt x="5137" y="5239"/>
                  </a:lnTo>
                  <a:lnTo>
                    <a:pt x="5148" y="5233"/>
                  </a:lnTo>
                  <a:lnTo>
                    <a:pt x="5158" y="5227"/>
                  </a:lnTo>
                  <a:lnTo>
                    <a:pt x="5167" y="5220"/>
                  </a:lnTo>
                  <a:lnTo>
                    <a:pt x="5177" y="5213"/>
                  </a:lnTo>
                  <a:lnTo>
                    <a:pt x="5186" y="5204"/>
                  </a:lnTo>
                  <a:lnTo>
                    <a:pt x="5195" y="5195"/>
                  </a:lnTo>
                  <a:lnTo>
                    <a:pt x="5204" y="5187"/>
                  </a:lnTo>
                  <a:lnTo>
                    <a:pt x="5212" y="5178"/>
                  </a:lnTo>
                  <a:lnTo>
                    <a:pt x="5219" y="5168"/>
                  </a:lnTo>
                  <a:lnTo>
                    <a:pt x="5226" y="5158"/>
                  </a:lnTo>
                  <a:lnTo>
                    <a:pt x="5233" y="5148"/>
                  </a:lnTo>
                  <a:lnTo>
                    <a:pt x="5239" y="5138"/>
                  </a:lnTo>
                  <a:lnTo>
                    <a:pt x="5244" y="5127"/>
                  </a:lnTo>
                  <a:lnTo>
                    <a:pt x="5249" y="5116"/>
                  </a:lnTo>
                  <a:lnTo>
                    <a:pt x="5254" y="5105"/>
                  </a:lnTo>
                  <a:lnTo>
                    <a:pt x="5258" y="5093"/>
                  </a:lnTo>
                  <a:lnTo>
                    <a:pt x="5261" y="5081"/>
                  </a:lnTo>
                  <a:lnTo>
                    <a:pt x="5264" y="5069"/>
                  </a:lnTo>
                  <a:lnTo>
                    <a:pt x="5266" y="5057"/>
                  </a:lnTo>
                  <a:lnTo>
                    <a:pt x="5268" y="5044"/>
                  </a:lnTo>
                  <a:lnTo>
                    <a:pt x="5269" y="5031"/>
                  </a:lnTo>
                  <a:lnTo>
                    <a:pt x="5269" y="5019"/>
                  </a:lnTo>
                  <a:lnTo>
                    <a:pt x="5269" y="5017"/>
                  </a:lnTo>
                  <a:lnTo>
                    <a:pt x="5268" y="5015"/>
                  </a:lnTo>
                  <a:lnTo>
                    <a:pt x="5261" y="4757"/>
                  </a:lnTo>
                  <a:lnTo>
                    <a:pt x="5242" y="4503"/>
                  </a:lnTo>
                  <a:lnTo>
                    <a:pt x="5210" y="4252"/>
                  </a:lnTo>
                  <a:lnTo>
                    <a:pt x="5165" y="4006"/>
                  </a:lnTo>
                  <a:lnTo>
                    <a:pt x="5109" y="3763"/>
                  </a:lnTo>
                  <a:lnTo>
                    <a:pt x="5042" y="3526"/>
                  </a:lnTo>
                  <a:lnTo>
                    <a:pt x="4963" y="3293"/>
                  </a:lnTo>
                  <a:lnTo>
                    <a:pt x="4873" y="3067"/>
                  </a:lnTo>
                  <a:lnTo>
                    <a:pt x="4773" y="2845"/>
                  </a:lnTo>
                  <a:lnTo>
                    <a:pt x="4663" y="2629"/>
                  </a:lnTo>
                  <a:lnTo>
                    <a:pt x="4542" y="2419"/>
                  </a:lnTo>
                  <a:lnTo>
                    <a:pt x="4412" y="2216"/>
                  </a:lnTo>
                  <a:lnTo>
                    <a:pt x="4272" y="2020"/>
                  </a:lnTo>
                  <a:lnTo>
                    <a:pt x="4124" y="1830"/>
                  </a:lnTo>
                  <a:lnTo>
                    <a:pt x="3967" y="1648"/>
                  </a:lnTo>
                  <a:lnTo>
                    <a:pt x="3801" y="1475"/>
                  </a:lnTo>
                  <a:lnTo>
                    <a:pt x="3627" y="1309"/>
                  </a:lnTo>
                  <a:lnTo>
                    <a:pt x="3446" y="1152"/>
                  </a:lnTo>
                  <a:lnTo>
                    <a:pt x="3256" y="1003"/>
                  </a:lnTo>
                  <a:lnTo>
                    <a:pt x="3061" y="863"/>
                  </a:lnTo>
                  <a:lnTo>
                    <a:pt x="2858" y="733"/>
                  </a:lnTo>
                  <a:lnTo>
                    <a:pt x="2648" y="612"/>
                  </a:lnTo>
                  <a:lnTo>
                    <a:pt x="2433" y="501"/>
                  </a:lnTo>
                  <a:lnTo>
                    <a:pt x="2211" y="401"/>
                  </a:lnTo>
                  <a:lnTo>
                    <a:pt x="1984" y="311"/>
                  </a:lnTo>
                  <a:lnTo>
                    <a:pt x="1751" y="231"/>
                  </a:lnTo>
                  <a:lnTo>
                    <a:pt x="1514" y="164"/>
                  </a:lnTo>
                  <a:lnTo>
                    <a:pt x="1272" y="108"/>
                  </a:lnTo>
                  <a:lnTo>
                    <a:pt x="1025" y="63"/>
                  </a:lnTo>
                  <a:lnTo>
                    <a:pt x="776" y="30"/>
                  </a:lnTo>
                  <a:lnTo>
                    <a:pt x="521" y="10"/>
                  </a:lnTo>
                  <a:lnTo>
                    <a:pt x="264" y="3"/>
                  </a:lnTo>
                  <a:lnTo>
                    <a:pt x="258" y="1"/>
                  </a:lnTo>
                  <a:lnTo>
                    <a:pt x="251" y="0"/>
                  </a:lnTo>
                  <a:lnTo>
                    <a:pt x="238" y="0"/>
                  </a:lnTo>
                  <a:lnTo>
                    <a:pt x="226" y="1"/>
                  </a:lnTo>
                  <a:lnTo>
                    <a:pt x="212" y="3"/>
                  </a:lnTo>
                  <a:lnTo>
                    <a:pt x="200" y="5"/>
                  </a:lnTo>
                  <a:lnTo>
                    <a:pt x="188" y="8"/>
                  </a:lnTo>
                  <a:lnTo>
                    <a:pt x="176" y="11"/>
                  </a:lnTo>
                  <a:lnTo>
                    <a:pt x="164" y="15"/>
                  </a:lnTo>
                  <a:lnTo>
                    <a:pt x="153" y="20"/>
                  </a:lnTo>
                  <a:lnTo>
                    <a:pt x="142" y="25"/>
                  </a:lnTo>
                  <a:lnTo>
                    <a:pt x="131" y="30"/>
                  </a:lnTo>
                  <a:lnTo>
                    <a:pt x="121" y="37"/>
                  </a:lnTo>
                  <a:lnTo>
                    <a:pt x="110" y="44"/>
                  </a:lnTo>
                  <a:lnTo>
                    <a:pt x="101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1"/>
                  </a:lnTo>
                  <a:lnTo>
                    <a:pt x="43" y="111"/>
                  </a:lnTo>
                  <a:lnTo>
                    <a:pt x="36" y="121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89"/>
                  </a:lnTo>
                  <a:lnTo>
                    <a:pt x="5" y="301"/>
                  </a:lnTo>
                  <a:lnTo>
                    <a:pt x="8" y="314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0" y="371"/>
                  </a:lnTo>
                  <a:lnTo>
                    <a:pt x="36" y="381"/>
                  </a:lnTo>
                  <a:lnTo>
                    <a:pt x="43" y="391"/>
                  </a:lnTo>
                  <a:lnTo>
                    <a:pt x="50" y="401"/>
                  </a:lnTo>
                  <a:lnTo>
                    <a:pt x="57" y="411"/>
                  </a:lnTo>
                  <a:lnTo>
                    <a:pt x="65" y="420"/>
                  </a:lnTo>
                  <a:lnTo>
                    <a:pt x="73" y="428"/>
                  </a:lnTo>
                  <a:lnTo>
                    <a:pt x="82" y="437"/>
                  </a:lnTo>
                  <a:lnTo>
                    <a:pt x="91" y="444"/>
                  </a:lnTo>
                  <a:lnTo>
                    <a:pt x="100" y="452"/>
                  </a:lnTo>
                  <a:lnTo>
                    <a:pt x="110" y="459"/>
                  </a:lnTo>
                  <a:lnTo>
                    <a:pt x="120" y="465"/>
                  </a:lnTo>
                  <a:lnTo>
                    <a:pt x="131" y="471"/>
                  </a:lnTo>
                  <a:lnTo>
                    <a:pt x="141" y="477"/>
                  </a:lnTo>
                  <a:lnTo>
                    <a:pt x="152" y="482"/>
                  </a:lnTo>
                  <a:lnTo>
                    <a:pt x="164" y="486"/>
                  </a:lnTo>
                  <a:lnTo>
                    <a:pt x="175" y="490"/>
                  </a:lnTo>
                  <a:lnTo>
                    <a:pt x="187" y="494"/>
                  </a:lnTo>
                  <a:lnTo>
                    <a:pt x="199" y="497"/>
                  </a:lnTo>
                  <a:lnTo>
                    <a:pt x="211" y="499"/>
                  </a:lnTo>
                  <a:lnTo>
                    <a:pt x="225" y="501"/>
                  </a:lnTo>
                  <a:lnTo>
                    <a:pt x="237" y="502"/>
                  </a:lnTo>
                  <a:lnTo>
                    <a:pt x="250" y="502"/>
                  </a:lnTo>
                  <a:lnTo>
                    <a:pt x="250" y="504"/>
                  </a:lnTo>
                  <a:lnTo>
                    <a:pt x="481" y="510"/>
                  </a:lnTo>
                  <a:lnTo>
                    <a:pt x="711" y="527"/>
                  </a:lnTo>
                  <a:lnTo>
                    <a:pt x="937" y="556"/>
                  </a:lnTo>
                  <a:lnTo>
                    <a:pt x="1159" y="597"/>
                  </a:lnTo>
                  <a:lnTo>
                    <a:pt x="1378" y="647"/>
                  </a:lnTo>
                  <a:lnTo>
                    <a:pt x="1591" y="708"/>
                  </a:lnTo>
                  <a:lnTo>
                    <a:pt x="1801" y="778"/>
                  </a:lnTo>
                  <a:lnTo>
                    <a:pt x="2006" y="860"/>
                  </a:lnTo>
                  <a:lnTo>
                    <a:pt x="2206" y="950"/>
                  </a:lnTo>
                  <a:lnTo>
                    <a:pt x="2400" y="1050"/>
                  </a:lnTo>
                  <a:lnTo>
                    <a:pt x="2590" y="1159"/>
                  </a:lnTo>
                  <a:lnTo>
                    <a:pt x="2774" y="1276"/>
                  </a:lnTo>
                  <a:lnTo>
                    <a:pt x="2950" y="1403"/>
                  </a:lnTo>
                  <a:lnTo>
                    <a:pt x="3121" y="1537"/>
                  </a:lnTo>
                  <a:lnTo>
                    <a:pt x="3285" y="1679"/>
                  </a:lnTo>
                  <a:lnTo>
                    <a:pt x="3442" y="1828"/>
                  </a:lnTo>
                  <a:lnTo>
                    <a:pt x="3592" y="1986"/>
                  </a:lnTo>
                  <a:lnTo>
                    <a:pt x="3733" y="2149"/>
                  </a:lnTo>
                  <a:lnTo>
                    <a:pt x="3868" y="2320"/>
                  </a:lnTo>
                  <a:lnTo>
                    <a:pt x="3994" y="2498"/>
                  </a:lnTo>
                  <a:lnTo>
                    <a:pt x="4112" y="2680"/>
                  </a:lnTo>
                  <a:lnTo>
                    <a:pt x="4220" y="2870"/>
                  </a:lnTo>
                  <a:lnTo>
                    <a:pt x="4320" y="3064"/>
                  </a:lnTo>
                  <a:lnTo>
                    <a:pt x="4411" y="3264"/>
                  </a:lnTo>
                  <a:lnTo>
                    <a:pt x="4492" y="3469"/>
                  </a:lnTo>
                  <a:lnTo>
                    <a:pt x="4562" y="3679"/>
                  </a:lnTo>
                  <a:lnTo>
                    <a:pt x="4623" y="3893"/>
                  </a:lnTo>
                  <a:lnTo>
                    <a:pt x="4674" y="4111"/>
                  </a:lnTo>
                  <a:lnTo>
                    <a:pt x="4714" y="4333"/>
                  </a:lnTo>
                  <a:lnTo>
                    <a:pt x="4743" y="4559"/>
                  </a:lnTo>
                  <a:lnTo>
                    <a:pt x="4760" y="4788"/>
                  </a:lnTo>
                  <a:lnTo>
                    <a:pt x="4766" y="50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93" name="íṧ1iḋé">
              <a:extLst>
                <a:ext uri="{FF2B5EF4-FFF2-40B4-BE49-F238E27FC236}">
                  <a16:creationId xmlns:a16="http://schemas.microsoft.com/office/drawing/2014/main" id="{F045F73F-C7CF-49F5-92FF-7865204B620D}"/>
                </a:ext>
              </a:extLst>
            </p:cNvPr>
            <p:cNvSpPr/>
            <p:nvPr/>
          </p:nvSpPr>
          <p:spPr bwMode="auto">
            <a:xfrm>
              <a:off x="6631361" y="48993"/>
              <a:ext cx="327294" cy="327293"/>
            </a:xfrm>
            <a:custGeom>
              <a:avLst/>
              <a:gdLst>
                <a:gd name="T0" fmla="*/ 14950 w 16057"/>
                <a:gd name="T1" fmla="*/ 12851 h 16058"/>
                <a:gd name="T2" fmla="*/ 14846 w 16057"/>
                <a:gd name="T3" fmla="*/ 12953 h 16058"/>
                <a:gd name="T4" fmla="*/ 14717 w 16057"/>
                <a:gd name="T5" fmla="*/ 13020 h 16058"/>
                <a:gd name="T6" fmla="*/ 14571 w 16057"/>
                <a:gd name="T7" fmla="*/ 13047 h 16058"/>
                <a:gd name="T8" fmla="*/ 3017 w 16057"/>
                <a:gd name="T9" fmla="*/ 1430 h 16058"/>
                <a:gd name="T10" fmla="*/ 3059 w 16057"/>
                <a:gd name="T11" fmla="*/ 1290 h 16058"/>
                <a:gd name="T12" fmla="*/ 3139 w 16057"/>
                <a:gd name="T13" fmla="*/ 1169 h 16058"/>
                <a:gd name="T14" fmla="*/ 3253 w 16057"/>
                <a:gd name="T15" fmla="*/ 1076 h 16058"/>
                <a:gd name="T16" fmla="*/ 3414 w 16057"/>
                <a:gd name="T17" fmla="*/ 1014 h 16058"/>
                <a:gd name="T18" fmla="*/ 3611 w 16057"/>
                <a:gd name="T19" fmla="*/ 1014 h 16058"/>
                <a:gd name="T20" fmla="*/ 3791 w 16057"/>
                <a:gd name="T21" fmla="*/ 1088 h 16058"/>
                <a:gd name="T22" fmla="*/ 14944 w 16057"/>
                <a:gd name="T23" fmla="*/ 12233 h 16058"/>
                <a:gd name="T24" fmla="*/ 15018 w 16057"/>
                <a:gd name="T25" fmla="*/ 12360 h 16058"/>
                <a:gd name="T26" fmla="*/ 15052 w 16057"/>
                <a:gd name="T27" fmla="*/ 12502 h 16058"/>
                <a:gd name="T28" fmla="*/ 15043 w 16057"/>
                <a:gd name="T29" fmla="*/ 12647 h 16058"/>
                <a:gd name="T30" fmla="*/ 7620 w 16057"/>
                <a:gd name="T31" fmla="*/ 13048 h 16058"/>
                <a:gd name="T32" fmla="*/ 7425 w 16057"/>
                <a:gd name="T33" fmla="*/ 13092 h 16058"/>
                <a:gd name="T34" fmla="*/ 3008 w 16057"/>
                <a:gd name="T35" fmla="*/ 8452 h 16058"/>
                <a:gd name="T36" fmla="*/ 5373 w 16057"/>
                <a:gd name="T37" fmla="*/ 14908 h 16058"/>
                <a:gd name="T38" fmla="*/ 5225 w 16057"/>
                <a:gd name="T39" fmla="*/ 15010 h 16058"/>
                <a:gd name="T40" fmla="*/ 5050 w 16057"/>
                <a:gd name="T41" fmla="*/ 15053 h 16058"/>
                <a:gd name="T42" fmla="*/ 4906 w 16057"/>
                <a:gd name="T43" fmla="*/ 15041 h 16058"/>
                <a:gd name="T44" fmla="*/ 4712 w 16057"/>
                <a:gd name="T45" fmla="*/ 14951 h 16058"/>
                <a:gd name="T46" fmla="*/ 1117 w 16057"/>
                <a:gd name="T47" fmla="*/ 11358 h 16058"/>
                <a:gd name="T48" fmla="*/ 1022 w 16057"/>
                <a:gd name="T49" fmla="*/ 11175 h 16058"/>
                <a:gd name="T50" fmla="*/ 1004 w 16057"/>
                <a:gd name="T51" fmla="*/ 11025 h 16058"/>
                <a:gd name="T52" fmla="*/ 1038 w 16057"/>
                <a:gd name="T53" fmla="*/ 10858 h 16058"/>
                <a:gd name="T54" fmla="*/ 1139 w 16057"/>
                <a:gd name="T55" fmla="*/ 10697 h 16058"/>
                <a:gd name="T56" fmla="*/ 4578 w 16057"/>
                <a:gd name="T57" fmla="*/ 442 h 16058"/>
                <a:gd name="T58" fmla="*/ 4345 w 16057"/>
                <a:gd name="T59" fmla="*/ 251 h 16058"/>
                <a:gd name="T60" fmla="*/ 4084 w 16057"/>
                <a:gd name="T61" fmla="*/ 112 h 16058"/>
                <a:gd name="T62" fmla="*/ 3804 w 16057"/>
                <a:gd name="T63" fmla="*/ 28 h 16058"/>
                <a:gd name="T64" fmla="*/ 3513 w 16057"/>
                <a:gd name="T65" fmla="*/ 0 h 16058"/>
                <a:gd name="T66" fmla="*/ 3222 w 16057"/>
                <a:gd name="T67" fmla="*/ 28 h 16058"/>
                <a:gd name="T68" fmla="*/ 2938 w 16057"/>
                <a:gd name="T69" fmla="*/ 115 h 16058"/>
                <a:gd name="T70" fmla="*/ 2554 w 16057"/>
                <a:gd name="T71" fmla="*/ 344 h 16058"/>
                <a:gd name="T72" fmla="*/ 2261 w 16057"/>
                <a:gd name="T73" fmla="*/ 669 h 16058"/>
                <a:gd name="T74" fmla="*/ 2073 w 16057"/>
                <a:gd name="T75" fmla="*/ 1064 h 16058"/>
                <a:gd name="T76" fmla="*/ 2007 w 16057"/>
                <a:gd name="T77" fmla="*/ 1506 h 16058"/>
                <a:gd name="T78" fmla="*/ 173 w 16057"/>
                <a:gd name="T79" fmla="*/ 10340 h 16058"/>
                <a:gd name="T80" fmla="*/ 7 w 16057"/>
                <a:gd name="T81" fmla="*/ 10896 h 16058"/>
                <a:gd name="T82" fmla="*/ 62 w 16057"/>
                <a:gd name="T83" fmla="*/ 11468 h 16058"/>
                <a:gd name="T84" fmla="*/ 338 w 16057"/>
                <a:gd name="T85" fmla="*/ 11990 h 16058"/>
                <a:gd name="T86" fmla="*/ 4098 w 16057"/>
                <a:gd name="T87" fmla="*/ 15744 h 16058"/>
                <a:gd name="T88" fmla="*/ 4352 w 16057"/>
                <a:gd name="T89" fmla="*/ 15902 h 16058"/>
                <a:gd name="T90" fmla="*/ 4625 w 16057"/>
                <a:gd name="T91" fmla="*/ 16006 h 16058"/>
                <a:gd name="T92" fmla="*/ 4911 w 16057"/>
                <a:gd name="T93" fmla="*/ 16054 h 16058"/>
                <a:gd name="T94" fmla="*/ 5199 w 16057"/>
                <a:gd name="T95" fmla="*/ 16047 h 16058"/>
                <a:gd name="T96" fmla="*/ 5482 w 16057"/>
                <a:gd name="T97" fmla="*/ 15986 h 16058"/>
                <a:gd name="T98" fmla="*/ 5751 w 16057"/>
                <a:gd name="T99" fmla="*/ 15868 h 16058"/>
                <a:gd name="T100" fmla="*/ 5998 w 16057"/>
                <a:gd name="T101" fmla="*/ 15696 h 16058"/>
                <a:gd name="T102" fmla="*/ 14721 w 16057"/>
                <a:gd name="T103" fmla="*/ 14042 h 16058"/>
                <a:gd name="T104" fmla="*/ 15149 w 16057"/>
                <a:gd name="T105" fmla="*/ 13928 h 16058"/>
                <a:gd name="T106" fmla="*/ 15520 w 16057"/>
                <a:gd name="T107" fmla="*/ 13699 h 16058"/>
                <a:gd name="T108" fmla="*/ 15811 w 16057"/>
                <a:gd name="T109" fmla="*/ 13371 h 16058"/>
                <a:gd name="T110" fmla="*/ 15999 w 16057"/>
                <a:gd name="T111" fmla="*/ 12962 h 16058"/>
                <a:gd name="T112" fmla="*/ 16057 w 16057"/>
                <a:gd name="T113" fmla="*/ 12524 h 16058"/>
                <a:gd name="T114" fmla="*/ 15988 w 16057"/>
                <a:gd name="T115" fmla="*/ 12093 h 16058"/>
                <a:gd name="T116" fmla="*/ 15796 w 16057"/>
                <a:gd name="T117" fmla="*/ 11698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057" h="16058">
                  <a:moveTo>
                    <a:pt x="15015" y="12738"/>
                  </a:moveTo>
                  <a:lnTo>
                    <a:pt x="15007" y="12755"/>
                  </a:lnTo>
                  <a:lnTo>
                    <a:pt x="14999" y="12772"/>
                  </a:lnTo>
                  <a:lnTo>
                    <a:pt x="14991" y="12789"/>
                  </a:lnTo>
                  <a:lnTo>
                    <a:pt x="14981" y="12805"/>
                  </a:lnTo>
                  <a:lnTo>
                    <a:pt x="14972" y="12821"/>
                  </a:lnTo>
                  <a:lnTo>
                    <a:pt x="14961" y="12836"/>
                  </a:lnTo>
                  <a:lnTo>
                    <a:pt x="14950" y="12851"/>
                  </a:lnTo>
                  <a:lnTo>
                    <a:pt x="14939" y="12865"/>
                  </a:lnTo>
                  <a:lnTo>
                    <a:pt x="14927" y="12879"/>
                  </a:lnTo>
                  <a:lnTo>
                    <a:pt x="14915" y="12892"/>
                  </a:lnTo>
                  <a:lnTo>
                    <a:pt x="14902" y="12905"/>
                  </a:lnTo>
                  <a:lnTo>
                    <a:pt x="14889" y="12918"/>
                  </a:lnTo>
                  <a:lnTo>
                    <a:pt x="14875" y="12931"/>
                  </a:lnTo>
                  <a:lnTo>
                    <a:pt x="14861" y="12942"/>
                  </a:lnTo>
                  <a:lnTo>
                    <a:pt x="14846" y="12953"/>
                  </a:lnTo>
                  <a:lnTo>
                    <a:pt x="14831" y="12963"/>
                  </a:lnTo>
                  <a:lnTo>
                    <a:pt x="14816" y="12973"/>
                  </a:lnTo>
                  <a:lnTo>
                    <a:pt x="14799" y="12982"/>
                  </a:lnTo>
                  <a:lnTo>
                    <a:pt x="14783" y="12991"/>
                  </a:lnTo>
                  <a:lnTo>
                    <a:pt x="14767" y="12999"/>
                  </a:lnTo>
                  <a:lnTo>
                    <a:pt x="14751" y="13007"/>
                  </a:lnTo>
                  <a:lnTo>
                    <a:pt x="14734" y="13013"/>
                  </a:lnTo>
                  <a:lnTo>
                    <a:pt x="14717" y="13020"/>
                  </a:lnTo>
                  <a:lnTo>
                    <a:pt x="14699" y="13025"/>
                  </a:lnTo>
                  <a:lnTo>
                    <a:pt x="14681" y="13030"/>
                  </a:lnTo>
                  <a:lnTo>
                    <a:pt x="14663" y="13035"/>
                  </a:lnTo>
                  <a:lnTo>
                    <a:pt x="14645" y="13038"/>
                  </a:lnTo>
                  <a:lnTo>
                    <a:pt x="14627" y="13042"/>
                  </a:lnTo>
                  <a:lnTo>
                    <a:pt x="14609" y="13044"/>
                  </a:lnTo>
                  <a:lnTo>
                    <a:pt x="14590" y="13046"/>
                  </a:lnTo>
                  <a:lnTo>
                    <a:pt x="14571" y="13047"/>
                  </a:lnTo>
                  <a:lnTo>
                    <a:pt x="14552" y="13047"/>
                  </a:lnTo>
                  <a:lnTo>
                    <a:pt x="14403" y="13047"/>
                  </a:lnTo>
                  <a:lnTo>
                    <a:pt x="3011" y="1655"/>
                  </a:lnTo>
                  <a:lnTo>
                    <a:pt x="3011" y="1506"/>
                  </a:lnTo>
                  <a:lnTo>
                    <a:pt x="3011" y="1486"/>
                  </a:lnTo>
                  <a:lnTo>
                    <a:pt x="3012" y="1467"/>
                  </a:lnTo>
                  <a:lnTo>
                    <a:pt x="3014" y="1449"/>
                  </a:lnTo>
                  <a:lnTo>
                    <a:pt x="3017" y="1430"/>
                  </a:lnTo>
                  <a:lnTo>
                    <a:pt x="3020" y="1412"/>
                  </a:lnTo>
                  <a:lnTo>
                    <a:pt x="3023" y="1394"/>
                  </a:lnTo>
                  <a:lnTo>
                    <a:pt x="3028" y="1376"/>
                  </a:lnTo>
                  <a:lnTo>
                    <a:pt x="3033" y="1358"/>
                  </a:lnTo>
                  <a:lnTo>
                    <a:pt x="3038" y="1341"/>
                  </a:lnTo>
                  <a:lnTo>
                    <a:pt x="3045" y="1324"/>
                  </a:lnTo>
                  <a:lnTo>
                    <a:pt x="3052" y="1307"/>
                  </a:lnTo>
                  <a:lnTo>
                    <a:pt x="3059" y="1290"/>
                  </a:lnTo>
                  <a:lnTo>
                    <a:pt x="3067" y="1274"/>
                  </a:lnTo>
                  <a:lnTo>
                    <a:pt x="3076" y="1258"/>
                  </a:lnTo>
                  <a:lnTo>
                    <a:pt x="3085" y="1242"/>
                  </a:lnTo>
                  <a:lnTo>
                    <a:pt x="3095" y="1227"/>
                  </a:lnTo>
                  <a:lnTo>
                    <a:pt x="3105" y="1211"/>
                  </a:lnTo>
                  <a:lnTo>
                    <a:pt x="3116" y="1197"/>
                  </a:lnTo>
                  <a:lnTo>
                    <a:pt x="3128" y="1183"/>
                  </a:lnTo>
                  <a:lnTo>
                    <a:pt x="3139" y="1169"/>
                  </a:lnTo>
                  <a:lnTo>
                    <a:pt x="3152" y="1156"/>
                  </a:lnTo>
                  <a:lnTo>
                    <a:pt x="3165" y="1143"/>
                  </a:lnTo>
                  <a:lnTo>
                    <a:pt x="3178" y="1130"/>
                  </a:lnTo>
                  <a:lnTo>
                    <a:pt x="3193" y="1118"/>
                  </a:lnTo>
                  <a:lnTo>
                    <a:pt x="3208" y="1107"/>
                  </a:lnTo>
                  <a:lnTo>
                    <a:pt x="3222" y="1096"/>
                  </a:lnTo>
                  <a:lnTo>
                    <a:pt x="3238" y="1086"/>
                  </a:lnTo>
                  <a:lnTo>
                    <a:pt x="3253" y="1076"/>
                  </a:lnTo>
                  <a:lnTo>
                    <a:pt x="3270" y="1067"/>
                  </a:lnTo>
                  <a:lnTo>
                    <a:pt x="3286" y="1058"/>
                  </a:lnTo>
                  <a:lnTo>
                    <a:pt x="3303" y="1050"/>
                  </a:lnTo>
                  <a:lnTo>
                    <a:pt x="3320" y="1042"/>
                  </a:lnTo>
                  <a:lnTo>
                    <a:pt x="3344" y="1033"/>
                  </a:lnTo>
                  <a:lnTo>
                    <a:pt x="3367" y="1026"/>
                  </a:lnTo>
                  <a:lnTo>
                    <a:pt x="3391" y="1019"/>
                  </a:lnTo>
                  <a:lnTo>
                    <a:pt x="3414" y="1014"/>
                  </a:lnTo>
                  <a:lnTo>
                    <a:pt x="3438" y="1009"/>
                  </a:lnTo>
                  <a:lnTo>
                    <a:pt x="3464" y="1006"/>
                  </a:lnTo>
                  <a:lnTo>
                    <a:pt x="3488" y="1005"/>
                  </a:lnTo>
                  <a:lnTo>
                    <a:pt x="3513" y="1004"/>
                  </a:lnTo>
                  <a:lnTo>
                    <a:pt x="3538" y="1005"/>
                  </a:lnTo>
                  <a:lnTo>
                    <a:pt x="3562" y="1006"/>
                  </a:lnTo>
                  <a:lnTo>
                    <a:pt x="3587" y="1009"/>
                  </a:lnTo>
                  <a:lnTo>
                    <a:pt x="3611" y="1014"/>
                  </a:lnTo>
                  <a:lnTo>
                    <a:pt x="3635" y="1019"/>
                  </a:lnTo>
                  <a:lnTo>
                    <a:pt x="3658" y="1025"/>
                  </a:lnTo>
                  <a:lnTo>
                    <a:pt x="3682" y="1033"/>
                  </a:lnTo>
                  <a:lnTo>
                    <a:pt x="3704" y="1042"/>
                  </a:lnTo>
                  <a:lnTo>
                    <a:pt x="3726" y="1052"/>
                  </a:lnTo>
                  <a:lnTo>
                    <a:pt x="3749" y="1063"/>
                  </a:lnTo>
                  <a:lnTo>
                    <a:pt x="3770" y="1075"/>
                  </a:lnTo>
                  <a:lnTo>
                    <a:pt x="3791" y="1088"/>
                  </a:lnTo>
                  <a:lnTo>
                    <a:pt x="3811" y="1102"/>
                  </a:lnTo>
                  <a:lnTo>
                    <a:pt x="3830" y="1117"/>
                  </a:lnTo>
                  <a:lnTo>
                    <a:pt x="3849" y="1133"/>
                  </a:lnTo>
                  <a:lnTo>
                    <a:pt x="3867" y="1150"/>
                  </a:lnTo>
                  <a:lnTo>
                    <a:pt x="14907" y="12191"/>
                  </a:lnTo>
                  <a:lnTo>
                    <a:pt x="14920" y="12205"/>
                  </a:lnTo>
                  <a:lnTo>
                    <a:pt x="14932" y="12219"/>
                  </a:lnTo>
                  <a:lnTo>
                    <a:pt x="14944" y="12233"/>
                  </a:lnTo>
                  <a:lnTo>
                    <a:pt x="14956" y="12248"/>
                  </a:lnTo>
                  <a:lnTo>
                    <a:pt x="14966" y="12263"/>
                  </a:lnTo>
                  <a:lnTo>
                    <a:pt x="14977" y="12278"/>
                  </a:lnTo>
                  <a:lnTo>
                    <a:pt x="14986" y="12294"/>
                  </a:lnTo>
                  <a:lnTo>
                    <a:pt x="14995" y="12310"/>
                  </a:lnTo>
                  <a:lnTo>
                    <a:pt x="15003" y="12326"/>
                  </a:lnTo>
                  <a:lnTo>
                    <a:pt x="15011" y="12343"/>
                  </a:lnTo>
                  <a:lnTo>
                    <a:pt x="15018" y="12360"/>
                  </a:lnTo>
                  <a:lnTo>
                    <a:pt x="15024" y="12377"/>
                  </a:lnTo>
                  <a:lnTo>
                    <a:pt x="15030" y="12395"/>
                  </a:lnTo>
                  <a:lnTo>
                    <a:pt x="15035" y="12412"/>
                  </a:lnTo>
                  <a:lnTo>
                    <a:pt x="15040" y="12430"/>
                  </a:lnTo>
                  <a:lnTo>
                    <a:pt x="15044" y="12448"/>
                  </a:lnTo>
                  <a:lnTo>
                    <a:pt x="15047" y="12466"/>
                  </a:lnTo>
                  <a:lnTo>
                    <a:pt x="15050" y="12484"/>
                  </a:lnTo>
                  <a:lnTo>
                    <a:pt x="15052" y="12502"/>
                  </a:lnTo>
                  <a:lnTo>
                    <a:pt x="15053" y="12520"/>
                  </a:lnTo>
                  <a:lnTo>
                    <a:pt x="15053" y="12538"/>
                  </a:lnTo>
                  <a:lnTo>
                    <a:pt x="15053" y="12556"/>
                  </a:lnTo>
                  <a:lnTo>
                    <a:pt x="15053" y="12574"/>
                  </a:lnTo>
                  <a:lnTo>
                    <a:pt x="15051" y="12593"/>
                  </a:lnTo>
                  <a:lnTo>
                    <a:pt x="15049" y="12611"/>
                  </a:lnTo>
                  <a:lnTo>
                    <a:pt x="15046" y="12629"/>
                  </a:lnTo>
                  <a:lnTo>
                    <a:pt x="15043" y="12647"/>
                  </a:lnTo>
                  <a:lnTo>
                    <a:pt x="15039" y="12666"/>
                  </a:lnTo>
                  <a:lnTo>
                    <a:pt x="15034" y="12684"/>
                  </a:lnTo>
                  <a:lnTo>
                    <a:pt x="15028" y="12702"/>
                  </a:lnTo>
                  <a:lnTo>
                    <a:pt x="15022" y="12720"/>
                  </a:lnTo>
                  <a:lnTo>
                    <a:pt x="15015" y="12738"/>
                  </a:lnTo>
                  <a:close/>
                  <a:moveTo>
                    <a:pt x="7649" y="13047"/>
                  </a:moveTo>
                  <a:lnTo>
                    <a:pt x="7635" y="13047"/>
                  </a:lnTo>
                  <a:lnTo>
                    <a:pt x="7620" y="13048"/>
                  </a:lnTo>
                  <a:lnTo>
                    <a:pt x="7605" y="13050"/>
                  </a:lnTo>
                  <a:lnTo>
                    <a:pt x="7591" y="13052"/>
                  </a:lnTo>
                  <a:lnTo>
                    <a:pt x="7563" y="13057"/>
                  </a:lnTo>
                  <a:lnTo>
                    <a:pt x="7535" y="13063"/>
                  </a:lnTo>
                  <a:lnTo>
                    <a:pt x="7507" y="13070"/>
                  </a:lnTo>
                  <a:lnTo>
                    <a:pt x="7480" y="13078"/>
                  </a:lnTo>
                  <a:lnTo>
                    <a:pt x="7452" y="13085"/>
                  </a:lnTo>
                  <a:lnTo>
                    <a:pt x="7425" y="13092"/>
                  </a:lnTo>
                  <a:lnTo>
                    <a:pt x="2966" y="8633"/>
                  </a:lnTo>
                  <a:lnTo>
                    <a:pt x="2973" y="8606"/>
                  </a:lnTo>
                  <a:lnTo>
                    <a:pt x="2980" y="8578"/>
                  </a:lnTo>
                  <a:lnTo>
                    <a:pt x="2988" y="8550"/>
                  </a:lnTo>
                  <a:lnTo>
                    <a:pt x="2995" y="8522"/>
                  </a:lnTo>
                  <a:lnTo>
                    <a:pt x="3001" y="8494"/>
                  </a:lnTo>
                  <a:lnTo>
                    <a:pt x="3006" y="8466"/>
                  </a:lnTo>
                  <a:lnTo>
                    <a:pt x="3008" y="8452"/>
                  </a:lnTo>
                  <a:lnTo>
                    <a:pt x="3009" y="8438"/>
                  </a:lnTo>
                  <a:lnTo>
                    <a:pt x="3010" y="8424"/>
                  </a:lnTo>
                  <a:lnTo>
                    <a:pt x="3011" y="8410"/>
                  </a:lnTo>
                  <a:lnTo>
                    <a:pt x="3011" y="2365"/>
                  </a:lnTo>
                  <a:lnTo>
                    <a:pt x="13693" y="13047"/>
                  </a:lnTo>
                  <a:lnTo>
                    <a:pt x="7649" y="13047"/>
                  </a:lnTo>
                  <a:close/>
                  <a:moveTo>
                    <a:pt x="6939" y="13341"/>
                  </a:moveTo>
                  <a:lnTo>
                    <a:pt x="5373" y="14908"/>
                  </a:lnTo>
                  <a:lnTo>
                    <a:pt x="5361" y="14919"/>
                  </a:lnTo>
                  <a:lnTo>
                    <a:pt x="5349" y="14930"/>
                  </a:lnTo>
                  <a:lnTo>
                    <a:pt x="5336" y="14941"/>
                  </a:lnTo>
                  <a:lnTo>
                    <a:pt x="5324" y="14951"/>
                  </a:lnTo>
                  <a:lnTo>
                    <a:pt x="5299" y="14969"/>
                  </a:lnTo>
                  <a:lnTo>
                    <a:pt x="5274" y="14984"/>
                  </a:lnTo>
                  <a:lnTo>
                    <a:pt x="5250" y="14998"/>
                  </a:lnTo>
                  <a:lnTo>
                    <a:pt x="5225" y="15010"/>
                  </a:lnTo>
                  <a:lnTo>
                    <a:pt x="5201" y="15020"/>
                  </a:lnTo>
                  <a:lnTo>
                    <a:pt x="5177" y="15029"/>
                  </a:lnTo>
                  <a:lnTo>
                    <a:pt x="5154" y="15036"/>
                  </a:lnTo>
                  <a:lnTo>
                    <a:pt x="5131" y="15041"/>
                  </a:lnTo>
                  <a:lnTo>
                    <a:pt x="5109" y="15046"/>
                  </a:lnTo>
                  <a:lnTo>
                    <a:pt x="5088" y="15049"/>
                  </a:lnTo>
                  <a:lnTo>
                    <a:pt x="5069" y="15052"/>
                  </a:lnTo>
                  <a:lnTo>
                    <a:pt x="5050" y="15053"/>
                  </a:lnTo>
                  <a:lnTo>
                    <a:pt x="5034" y="15054"/>
                  </a:lnTo>
                  <a:lnTo>
                    <a:pt x="5018" y="15054"/>
                  </a:lnTo>
                  <a:lnTo>
                    <a:pt x="5003" y="15054"/>
                  </a:lnTo>
                  <a:lnTo>
                    <a:pt x="4986" y="15053"/>
                  </a:lnTo>
                  <a:lnTo>
                    <a:pt x="4968" y="15052"/>
                  </a:lnTo>
                  <a:lnTo>
                    <a:pt x="4949" y="15049"/>
                  </a:lnTo>
                  <a:lnTo>
                    <a:pt x="4928" y="15046"/>
                  </a:lnTo>
                  <a:lnTo>
                    <a:pt x="4906" y="15041"/>
                  </a:lnTo>
                  <a:lnTo>
                    <a:pt x="4884" y="15036"/>
                  </a:lnTo>
                  <a:lnTo>
                    <a:pt x="4860" y="15029"/>
                  </a:lnTo>
                  <a:lnTo>
                    <a:pt x="4836" y="15020"/>
                  </a:lnTo>
                  <a:lnTo>
                    <a:pt x="4811" y="15010"/>
                  </a:lnTo>
                  <a:lnTo>
                    <a:pt x="4787" y="14998"/>
                  </a:lnTo>
                  <a:lnTo>
                    <a:pt x="4762" y="14984"/>
                  </a:lnTo>
                  <a:lnTo>
                    <a:pt x="4737" y="14969"/>
                  </a:lnTo>
                  <a:lnTo>
                    <a:pt x="4712" y="14951"/>
                  </a:lnTo>
                  <a:lnTo>
                    <a:pt x="4700" y="14941"/>
                  </a:lnTo>
                  <a:lnTo>
                    <a:pt x="4688" y="14930"/>
                  </a:lnTo>
                  <a:lnTo>
                    <a:pt x="4676" y="14919"/>
                  </a:lnTo>
                  <a:lnTo>
                    <a:pt x="4664" y="14908"/>
                  </a:lnTo>
                  <a:lnTo>
                    <a:pt x="1151" y="11395"/>
                  </a:lnTo>
                  <a:lnTo>
                    <a:pt x="1139" y="11383"/>
                  </a:lnTo>
                  <a:lnTo>
                    <a:pt x="1128" y="11371"/>
                  </a:lnTo>
                  <a:lnTo>
                    <a:pt x="1117" y="11358"/>
                  </a:lnTo>
                  <a:lnTo>
                    <a:pt x="1108" y="11346"/>
                  </a:lnTo>
                  <a:lnTo>
                    <a:pt x="1090" y="11321"/>
                  </a:lnTo>
                  <a:lnTo>
                    <a:pt x="1074" y="11297"/>
                  </a:lnTo>
                  <a:lnTo>
                    <a:pt x="1060" y="11271"/>
                  </a:lnTo>
                  <a:lnTo>
                    <a:pt x="1048" y="11246"/>
                  </a:lnTo>
                  <a:lnTo>
                    <a:pt x="1038" y="11222"/>
                  </a:lnTo>
                  <a:lnTo>
                    <a:pt x="1029" y="11198"/>
                  </a:lnTo>
                  <a:lnTo>
                    <a:pt x="1022" y="11175"/>
                  </a:lnTo>
                  <a:lnTo>
                    <a:pt x="1017" y="11152"/>
                  </a:lnTo>
                  <a:lnTo>
                    <a:pt x="1012" y="11131"/>
                  </a:lnTo>
                  <a:lnTo>
                    <a:pt x="1009" y="11110"/>
                  </a:lnTo>
                  <a:lnTo>
                    <a:pt x="1007" y="11091"/>
                  </a:lnTo>
                  <a:lnTo>
                    <a:pt x="1005" y="11072"/>
                  </a:lnTo>
                  <a:lnTo>
                    <a:pt x="1004" y="11056"/>
                  </a:lnTo>
                  <a:lnTo>
                    <a:pt x="1004" y="11040"/>
                  </a:lnTo>
                  <a:lnTo>
                    <a:pt x="1004" y="11025"/>
                  </a:lnTo>
                  <a:lnTo>
                    <a:pt x="1005" y="11007"/>
                  </a:lnTo>
                  <a:lnTo>
                    <a:pt x="1007" y="10989"/>
                  </a:lnTo>
                  <a:lnTo>
                    <a:pt x="1009" y="10970"/>
                  </a:lnTo>
                  <a:lnTo>
                    <a:pt x="1012" y="10949"/>
                  </a:lnTo>
                  <a:lnTo>
                    <a:pt x="1017" y="10927"/>
                  </a:lnTo>
                  <a:lnTo>
                    <a:pt x="1022" y="10905"/>
                  </a:lnTo>
                  <a:lnTo>
                    <a:pt x="1029" y="10882"/>
                  </a:lnTo>
                  <a:lnTo>
                    <a:pt x="1038" y="10858"/>
                  </a:lnTo>
                  <a:lnTo>
                    <a:pt x="1048" y="10834"/>
                  </a:lnTo>
                  <a:lnTo>
                    <a:pt x="1060" y="10809"/>
                  </a:lnTo>
                  <a:lnTo>
                    <a:pt x="1074" y="10784"/>
                  </a:lnTo>
                  <a:lnTo>
                    <a:pt x="1090" y="10760"/>
                  </a:lnTo>
                  <a:lnTo>
                    <a:pt x="1108" y="10734"/>
                  </a:lnTo>
                  <a:lnTo>
                    <a:pt x="1117" y="10722"/>
                  </a:lnTo>
                  <a:lnTo>
                    <a:pt x="1128" y="10709"/>
                  </a:lnTo>
                  <a:lnTo>
                    <a:pt x="1139" y="10697"/>
                  </a:lnTo>
                  <a:lnTo>
                    <a:pt x="1151" y="10685"/>
                  </a:lnTo>
                  <a:lnTo>
                    <a:pt x="2717" y="9119"/>
                  </a:lnTo>
                  <a:lnTo>
                    <a:pt x="2722" y="9111"/>
                  </a:lnTo>
                  <a:lnTo>
                    <a:pt x="2727" y="9103"/>
                  </a:lnTo>
                  <a:lnTo>
                    <a:pt x="6954" y="13332"/>
                  </a:lnTo>
                  <a:lnTo>
                    <a:pt x="6947" y="13336"/>
                  </a:lnTo>
                  <a:lnTo>
                    <a:pt x="6939" y="13341"/>
                  </a:lnTo>
                  <a:close/>
                  <a:moveTo>
                    <a:pt x="4578" y="442"/>
                  </a:moveTo>
                  <a:lnTo>
                    <a:pt x="4550" y="415"/>
                  </a:lnTo>
                  <a:lnTo>
                    <a:pt x="4522" y="388"/>
                  </a:lnTo>
                  <a:lnTo>
                    <a:pt x="4494" y="363"/>
                  </a:lnTo>
                  <a:lnTo>
                    <a:pt x="4465" y="339"/>
                  </a:lnTo>
                  <a:lnTo>
                    <a:pt x="4436" y="316"/>
                  </a:lnTo>
                  <a:lnTo>
                    <a:pt x="4406" y="293"/>
                  </a:lnTo>
                  <a:lnTo>
                    <a:pt x="4376" y="272"/>
                  </a:lnTo>
                  <a:lnTo>
                    <a:pt x="4345" y="251"/>
                  </a:lnTo>
                  <a:lnTo>
                    <a:pt x="4314" y="231"/>
                  </a:lnTo>
                  <a:lnTo>
                    <a:pt x="4281" y="211"/>
                  </a:lnTo>
                  <a:lnTo>
                    <a:pt x="4249" y="193"/>
                  </a:lnTo>
                  <a:lnTo>
                    <a:pt x="4217" y="175"/>
                  </a:lnTo>
                  <a:lnTo>
                    <a:pt x="4184" y="158"/>
                  </a:lnTo>
                  <a:lnTo>
                    <a:pt x="4151" y="143"/>
                  </a:lnTo>
                  <a:lnTo>
                    <a:pt x="4118" y="126"/>
                  </a:lnTo>
                  <a:lnTo>
                    <a:pt x="4084" y="112"/>
                  </a:lnTo>
                  <a:lnTo>
                    <a:pt x="4050" y="99"/>
                  </a:lnTo>
                  <a:lnTo>
                    <a:pt x="4016" y="86"/>
                  </a:lnTo>
                  <a:lnTo>
                    <a:pt x="3980" y="74"/>
                  </a:lnTo>
                  <a:lnTo>
                    <a:pt x="3945" y="63"/>
                  </a:lnTo>
                  <a:lnTo>
                    <a:pt x="3910" y="53"/>
                  </a:lnTo>
                  <a:lnTo>
                    <a:pt x="3875" y="44"/>
                  </a:lnTo>
                  <a:lnTo>
                    <a:pt x="3839" y="36"/>
                  </a:lnTo>
                  <a:lnTo>
                    <a:pt x="3804" y="28"/>
                  </a:lnTo>
                  <a:lnTo>
                    <a:pt x="3768" y="22"/>
                  </a:lnTo>
                  <a:lnTo>
                    <a:pt x="3731" y="16"/>
                  </a:lnTo>
                  <a:lnTo>
                    <a:pt x="3695" y="11"/>
                  </a:lnTo>
                  <a:lnTo>
                    <a:pt x="3658" y="7"/>
                  </a:lnTo>
                  <a:lnTo>
                    <a:pt x="3622" y="4"/>
                  </a:lnTo>
                  <a:lnTo>
                    <a:pt x="3586" y="2"/>
                  </a:lnTo>
                  <a:lnTo>
                    <a:pt x="3549" y="0"/>
                  </a:lnTo>
                  <a:lnTo>
                    <a:pt x="3513" y="0"/>
                  </a:lnTo>
                  <a:lnTo>
                    <a:pt x="3476" y="0"/>
                  </a:lnTo>
                  <a:lnTo>
                    <a:pt x="3439" y="2"/>
                  </a:lnTo>
                  <a:lnTo>
                    <a:pt x="3403" y="4"/>
                  </a:lnTo>
                  <a:lnTo>
                    <a:pt x="3367" y="7"/>
                  </a:lnTo>
                  <a:lnTo>
                    <a:pt x="3330" y="11"/>
                  </a:lnTo>
                  <a:lnTo>
                    <a:pt x="3294" y="16"/>
                  </a:lnTo>
                  <a:lnTo>
                    <a:pt x="3258" y="22"/>
                  </a:lnTo>
                  <a:lnTo>
                    <a:pt x="3222" y="28"/>
                  </a:lnTo>
                  <a:lnTo>
                    <a:pt x="3186" y="36"/>
                  </a:lnTo>
                  <a:lnTo>
                    <a:pt x="3149" y="44"/>
                  </a:lnTo>
                  <a:lnTo>
                    <a:pt x="3114" y="54"/>
                  </a:lnTo>
                  <a:lnTo>
                    <a:pt x="3078" y="64"/>
                  </a:lnTo>
                  <a:lnTo>
                    <a:pt x="3043" y="75"/>
                  </a:lnTo>
                  <a:lnTo>
                    <a:pt x="3008" y="87"/>
                  </a:lnTo>
                  <a:lnTo>
                    <a:pt x="2972" y="100"/>
                  </a:lnTo>
                  <a:lnTo>
                    <a:pt x="2938" y="115"/>
                  </a:lnTo>
                  <a:lnTo>
                    <a:pt x="2885" y="138"/>
                  </a:lnTo>
                  <a:lnTo>
                    <a:pt x="2834" y="163"/>
                  </a:lnTo>
                  <a:lnTo>
                    <a:pt x="2784" y="189"/>
                  </a:lnTo>
                  <a:lnTo>
                    <a:pt x="2736" y="217"/>
                  </a:lnTo>
                  <a:lnTo>
                    <a:pt x="2689" y="246"/>
                  </a:lnTo>
                  <a:lnTo>
                    <a:pt x="2643" y="278"/>
                  </a:lnTo>
                  <a:lnTo>
                    <a:pt x="2597" y="310"/>
                  </a:lnTo>
                  <a:lnTo>
                    <a:pt x="2554" y="344"/>
                  </a:lnTo>
                  <a:lnTo>
                    <a:pt x="2513" y="380"/>
                  </a:lnTo>
                  <a:lnTo>
                    <a:pt x="2472" y="418"/>
                  </a:lnTo>
                  <a:lnTo>
                    <a:pt x="2433" y="457"/>
                  </a:lnTo>
                  <a:lnTo>
                    <a:pt x="2396" y="497"/>
                  </a:lnTo>
                  <a:lnTo>
                    <a:pt x="2360" y="538"/>
                  </a:lnTo>
                  <a:lnTo>
                    <a:pt x="2325" y="580"/>
                  </a:lnTo>
                  <a:lnTo>
                    <a:pt x="2292" y="624"/>
                  </a:lnTo>
                  <a:lnTo>
                    <a:pt x="2261" y="669"/>
                  </a:lnTo>
                  <a:lnTo>
                    <a:pt x="2232" y="715"/>
                  </a:lnTo>
                  <a:lnTo>
                    <a:pt x="2204" y="762"/>
                  </a:lnTo>
                  <a:lnTo>
                    <a:pt x="2178" y="810"/>
                  </a:lnTo>
                  <a:lnTo>
                    <a:pt x="2153" y="859"/>
                  </a:lnTo>
                  <a:lnTo>
                    <a:pt x="2131" y="909"/>
                  </a:lnTo>
                  <a:lnTo>
                    <a:pt x="2110" y="960"/>
                  </a:lnTo>
                  <a:lnTo>
                    <a:pt x="2091" y="1012"/>
                  </a:lnTo>
                  <a:lnTo>
                    <a:pt x="2073" y="1064"/>
                  </a:lnTo>
                  <a:lnTo>
                    <a:pt x="2058" y="1117"/>
                  </a:lnTo>
                  <a:lnTo>
                    <a:pt x="2044" y="1171"/>
                  </a:lnTo>
                  <a:lnTo>
                    <a:pt x="2033" y="1226"/>
                  </a:lnTo>
                  <a:lnTo>
                    <a:pt x="2024" y="1281"/>
                  </a:lnTo>
                  <a:lnTo>
                    <a:pt x="2017" y="1336"/>
                  </a:lnTo>
                  <a:lnTo>
                    <a:pt x="2011" y="1392"/>
                  </a:lnTo>
                  <a:lnTo>
                    <a:pt x="2008" y="1448"/>
                  </a:lnTo>
                  <a:lnTo>
                    <a:pt x="2007" y="1506"/>
                  </a:lnTo>
                  <a:lnTo>
                    <a:pt x="2006" y="8410"/>
                  </a:lnTo>
                  <a:lnTo>
                    <a:pt x="442" y="9976"/>
                  </a:lnTo>
                  <a:lnTo>
                    <a:pt x="387" y="10032"/>
                  </a:lnTo>
                  <a:lnTo>
                    <a:pt x="338" y="10090"/>
                  </a:lnTo>
                  <a:lnTo>
                    <a:pt x="291" y="10150"/>
                  </a:lnTo>
                  <a:lnTo>
                    <a:pt x="248" y="10212"/>
                  </a:lnTo>
                  <a:lnTo>
                    <a:pt x="209" y="10275"/>
                  </a:lnTo>
                  <a:lnTo>
                    <a:pt x="173" y="10340"/>
                  </a:lnTo>
                  <a:lnTo>
                    <a:pt x="140" y="10406"/>
                  </a:lnTo>
                  <a:lnTo>
                    <a:pt x="110" y="10473"/>
                  </a:lnTo>
                  <a:lnTo>
                    <a:pt x="84" y="10542"/>
                  </a:lnTo>
                  <a:lnTo>
                    <a:pt x="62" y="10611"/>
                  </a:lnTo>
                  <a:lnTo>
                    <a:pt x="43" y="10681"/>
                  </a:lnTo>
                  <a:lnTo>
                    <a:pt x="28" y="10753"/>
                  </a:lnTo>
                  <a:lnTo>
                    <a:pt x="16" y="10824"/>
                  </a:lnTo>
                  <a:lnTo>
                    <a:pt x="7" y="10896"/>
                  </a:lnTo>
                  <a:lnTo>
                    <a:pt x="2" y="10967"/>
                  </a:lnTo>
                  <a:lnTo>
                    <a:pt x="0" y="11040"/>
                  </a:lnTo>
                  <a:lnTo>
                    <a:pt x="2" y="11112"/>
                  </a:lnTo>
                  <a:lnTo>
                    <a:pt x="7" y="11184"/>
                  </a:lnTo>
                  <a:lnTo>
                    <a:pt x="16" y="11256"/>
                  </a:lnTo>
                  <a:lnTo>
                    <a:pt x="28" y="11328"/>
                  </a:lnTo>
                  <a:lnTo>
                    <a:pt x="43" y="11398"/>
                  </a:lnTo>
                  <a:lnTo>
                    <a:pt x="62" y="11468"/>
                  </a:lnTo>
                  <a:lnTo>
                    <a:pt x="84" y="11538"/>
                  </a:lnTo>
                  <a:lnTo>
                    <a:pt x="110" y="11607"/>
                  </a:lnTo>
                  <a:lnTo>
                    <a:pt x="140" y="11674"/>
                  </a:lnTo>
                  <a:lnTo>
                    <a:pt x="173" y="11740"/>
                  </a:lnTo>
                  <a:lnTo>
                    <a:pt x="209" y="11804"/>
                  </a:lnTo>
                  <a:lnTo>
                    <a:pt x="248" y="11869"/>
                  </a:lnTo>
                  <a:lnTo>
                    <a:pt x="291" y="11930"/>
                  </a:lnTo>
                  <a:lnTo>
                    <a:pt x="338" y="11990"/>
                  </a:lnTo>
                  <a:lnTo>
                    <a:pt x="387" y="12048"/>
                  </a:lnTo>
                  <a:lnTo>
                    <a:pt x="442" y="12104"/>
                  </a:lnTo>
                  <a:lnTo>
                    <a:pt x="3953" y="15617"/>
                  </a:lnTo>
                  <a:lnTo>
                    <a:pt x="3981" y="15644"/>
                  </a:lnTo>
                  <a:lnTo>
                    <a:pt x="4009" y="15671"/>
                  </a:lnTo>
                  <a:lnTo>
                    <a:pt x="4039" y="15696"/>
                  </a:lnTo>
                  <a:lnTo>
                    <a:pt x="4069" y="15721"/>
                  </a:lnTo>
                  <a:lnTo>
                    <a:pt x="4098" y="15744"/>
                  </a:lnTo>
                  <a:lnTo>
                    <a:pt x="4128" y="15767"/>
                  </a:lnTo>
                  <a:lnTo>
                    <a:pt x="4159" y="15789"/>
                  </a:lnTo>
                  <a:lnTo>
                    <a:pt x="4190" y="15810"/>
                  </a:lnTo>
                  <a:lnTo>
                    <a:pt x="4222" y="15830"/>
                  </a:lnTo>
                  <a:lnTo>
                    <a:pt x="4253" y="15849"/>
                  </a:lnTo>
                  <a:lnTo>
                    <a:pt x="4286" y="15868"/>
                  </a:lnTo>
                  <a:lnTo>
                    <a:pt x="4319" y="15885"/>
                  </a:lnTo>
                  <a:lnTo>
                    <a:pt x="4352" y="15902"/>
                  </a:lnTo>
                  <a:lnTo>
                    <a:pt x="4385" y="15918"/>
                  </a:lnTo>
                  <a:lnTo>
                    <a:pt x="4418" y="15934"/>
                  </a:lnTo>
                  <a:lnTo>
                    <a:pt x="4452" y="15948"/>
                  </a:lnTo>
                  <a:lnTo>
                    <a:pt x="4486" y="15961"/>
                  </a:lnTo>
                  <a:lnTo>
                    <a:pt x="4520" y="15974"/>
                  </a:lnTo>
                  <a:lnTo>
                    <a:pt x="4555" y="15986"/>
                  </a:lnTo>
                  <a:lnTo>
                    <a:pt x="4591" y="15996"/>
                  </a:lnTo>
                  <a:lnTo>
                    <a:pt x="4625" y="16006"/>
                  </a:lnTo>
                  <a:lnTo>
                    <a:pt x="4660" y="16015"/>
                  </a:lnTo>
                  <a:lnTo>
                    <a:pt x="4696" y="16023"/>
                  </a:lnTo>
                  <a:lnTo>
                    <a:pt x="4731" y="16031"/>
                  </a:lnTo>
                  <a:lnTo>
                    <a:pt x="4767" y="16037"/>
                  </a:lnTo>
                  <a:lnTo>
                    <a:pt x="4802" y="16043"/>
                  </a:lnTo>
                  <a:lnTo>
                    <a:pt x="4838" y="16047"/>
                  </a:lnTo>
                  <a:lnTo>
                    <a:pt x="4875" y="16051"/>
                  </a:lnTo>
                  <a:lnTo>
                    <a:pt x="4911" y="16054"/>
                  </a:lnTo>
                  <a:lnTo>
                    <a:pt x="4946" y="16056"/>
                  </a:lnTo>
                  <a:lnTo>
                    <a:pt x="4982" y="16058"/>
                  </a:lnTo>
                  <a:lnTo>
                    <a:pt x="5018" y="16058"/>
                  </a:lnTo>
                  <a:lnTo>
                    <a:pt x="5054" y="16058"/>
                  </a:lnTo>
                  <a:lnTo>
                    <a:pt x="5090" y="16056"/>
                  </a:lnTo>
                  <a:lnTo>
                    <a:pt x="5127" y="16054"/>
                  </a:lnTo>
                  <a:lnTo>
                    <a:pt x="5163" y="16051"/>
                  </a:lnTo>
                  <a:lnTo>
                    <a:pt x="5199" y="16047"/>
                  </a:lnTo>
                  <a:lnTo>
                    <a:pt x="5235" y="16043"/>
                  </a:lnTo>
                  <a:lnTo>
                    <a:pt x="5270" y="16037"/>
                  </a:lnTo>
                  <a:lnTo>
                    <a:pt x="5306" y="16031"/>
                  </a:lnTo>
                  <a:lnTo>
                    <a:pt x="5341" y="16023"/>
                  </a:lnTo>
                  <a:lnTo>
                    <a:pt x="5376" y="16015"/>
                  </a:lnTo>
                  <a:lnTo>
                    <a:pt x="5413" y="16006"/>
                  </a:lnTo>
                  <a:lnTo>
                    <a:pt x="5447" y="15996"/>
                  </a:lnTo>
                  <a:lnTo>
                    <a:pt x="5482" y="15986"/>
                  </a:lnTo>
                  <a:lnTo>
                    <a:pt x="5517" y="15974"/>
                  </a:lnTo>
                  <a:lnTo>
                    <a:pt x="5551" y="15961"/>
                  </a:lnTo>
                  <a:lnTo>
                    <a:pt x="5585" y="15948"/>
                  </a:lnTo>
                  <a:lnTo>
                    <a:pt x="5618" y="15934"/>
                  </a:lnTo>
                  <a:lnTo>
                    <a:pt x="5652" y="15918"/>
                  </a:lnTo>
                  <a:lnTo>
                    <a:pt x="5686" y="15902"/>
                  </a:lnTo>
                  <a:lnTo>
                    <a:pt x="5719" y="15885"/>
                  </a:lnTo>
                  <a:lnTo>
                    <a:pt x="5751" y="15868"/>
                  </a:lnTo>
                  <a:lnTo>
                    <a:pt x="5783" y="15849"/>
                  </a:lnTo>
                  <a:lnTo>
                    <a:pt x="5815" y="15830"/>
                  </a:lnTo>
                  <a:lnTo>
                    <a:pt x="5846" y="15810"/>
                  </a:lnTo>
                  <a:lnTo>
                    <a:pt x="5877" y="15789"/>
                  </a:lnTo>
                  <a:lnTo>
                    <a:pt x="5908" y="15767"/>
                  </a:lnTo>
                  <a:lnTo>
                    <a:pt x="5938" y="15744"/>
                  </a:lnTo>
                  <a:lnTo>
                    <a:pt x="5969" y="15721"/>
                  </a:lnTo>
                  <a:lnTo>
                    <a:pt x="5998" y="15696"/>
                  </a:lnTo>
                  <a:lnTo>
                    <a:pt x="6027" y="15671"/>
                  </a:lnTo>
                  <a:lnTo>
                    <a:pt x="6055" y="15644"/>
                  </a:lnTo>
                  <a:lnTo>
                    <a:pt x="6083" y="15617"/>
                  </a:lnTo>
                  <a:lnTo>
                    <a:pt x="7649" y="14051"/>
                  </a:lnTo>
                  <a:lnTo>
                    <a:pt x="14552" y="14051"/>
                  </a:lnTo>
                  <a:lnTo>
                    <a:pt x="14609" y="14050"/>
                  </a:lnTo>
                  <a:lnTo>
                    <a:pt x="14665" y="14047"/>
                  </a:lnTo>
                  <a:lnTo>
                    <a:pt x="14721" y="14042"/>
                  </a:lnTo>
                  <a:lnTo>
                    <a:pt x="14777" y="14034"/>
                  </a:lnTo>
                  <a:lnTo>
                    <a:pt x="14832" y="14025"/>
                  </a:lnTo>
                  <a:lnTo>
                    <a:pt x="14887" y="14013"/>
                  </a:lnTo>
                  <a:lnTo>
                    <a:pt x="14940" y="14000"/>
                  </a:lnTo>
                  <a:lnTo>
                    <a:pt x="14993" y="13984"/>
                  </a:lnTo>
                  <a:lnTo>
                    <a:pt x="15046" y="13967"/>
                  </a:lnTo>
                  <a:lnTo>
                    <a:pt x="15098" y="13948"/>
                  </a:lnTo>
                  <a:lnTo>
                    <a:pt x="15149" y="13928"/>
                  </a:lnTo>
                  <a:lnTo>
                    <a:pt x="15198" y="13905"/>
                  </a:lnTo>
                  <a:lnTo>
                    <a:pt x="15247" y="13881"/>
                  </a:lnTo>
                  <a:lnTo>
                    <a:pt x="15295" y="13855"/>
                  </a:lnTo>
                  <a:lnTo>
                    <a:pt x="15342" y="13827"/>
                  </a:lnTo>
                  <a:lnTo>
                    <a:pt x="15389" y="13798"/>
                  </a:lnTo>
                  <a:lnTo>
                    <a:pt x="15434" y="13767"/>
                  </a:lnTo>
                  <a:lnTo>
                    <a:pt x="15477" y="13733"/>
                  </a:lnTo>
                  <a:lnTo>
                    <a:pt x="15520" y="13699"/>
                  </a:lnTo>
                  <a:lnTo>
                    <a:pt x="15561" y="13663"/>
                  </a:lnTo>
                  <a:lnTo>
                    <a:pt x="15601" y="13626"/>
                  </a:lnTo>
                  <a:lnTo>
                    <a:pt x="15639" y="13587"/>
                  </a:lnTo>
                  <a:lnTo>
                    <a:pt x="15677" y="13546"/>
                  </a:lnTo>
                  <a:lnTo>
                    <a:pt x="15713" y="13505"/>
                  </a:lnTo>
                  <a:lnTo>
                    <a:pt x="15747" y="13461"/>
                  </a:lnTo>
                  <a:lnTo>
                    <a:pt x="15780" y="13416"/>
                  </a:lnTo>
                  <a:lnTo>
                    <a:pt x="15811" y="13371"/>
                  </a:lnTo>
                  <a:lnTo>
                    <a:pt x="15841" y="13323"/>
                  </a:lnTo>
                  <a:lnTo>
                    <a:pt x="15869" y="13275"/>
                  </a:lnTo>
                  <a:lnTo>
                    <a:pt x="15895" y="13225"/>
                  </a:lnTo>
                  <a:lnTo>
                    <a:pt x="15919" y="13174"/>
                  </a:lnTo>
                  <a:lnTo>
                    <a:pt x="15943" y="13122"/>
                  </a:lnTo>
                  <a:lnTo>
                    <a:pt x="15964" y="13069"/>
                  </a:lnTo>
                  <a:lnTo>
                    <a:pt x="15982" y="13016"/>
                  </a:lnTo>
                  <a:lnTo>
                    <a:pt x="15999" y="12962"/>
                  </a:lnTo>
                  <a:lnTo>
                    <a:pt x="16013" y="12907"/>
                  </a:lnTo>
                  <a:lnTo>
                    <a:pt x="16026" y="12853"/>
                  </a:lnTo>
                  <a:lnTo>
                    <a:pt x="16036" y="12798"/>
                  </a:lnTo>
                  <a:lnTo>
                    <a:pt x="16044" y="12744"/>
                  </a:lnTo>
                  <a:lnTo>
                    <a:pt x="16051" y="12689"/>
                  </a:lnTo>
                  <a:lnTo>
                    <a:pt x="16055" y="12633"/>
                  </a:lnTo>
                  <a:lnTo>
                    <a:pt x="16057" y="12579"/>
                  </a:lnTo>
                  <a:lnTo>
                    <a:pt x="16057" y="12524"/>
                  </a:lnTo>
                  <a:lnTo>
                    <a:pt x="16056" y="12469"/>
                  </a:lnTo>
                  <a:lnTo>
                    <a:pt x="16052" y="12415"/>
                  </a:lnTo>
                  <a:lnTo>
                    <a:pt x="16046" y="12359"/>
                  </a:lnTo>
                  <a:lnTo>
                    <a:pt x="16038" y="12306"/>
                  </a:lnTo>
                  <a:lnTo>
                    <a:pt x="16029" y="12252"/>
                  </a:lnTo>
                  <a:lnTo>
                    <a:pt x="16017" y="12199"/>
                  </a:lnTo>
                  <a:lnTo>
                    <a:pt x="16004" y="12146"/>
                  </a:lnTo>
                  <a:lnTo>
                    <a:pt x="15988" y="12093"/>
                  </a:lnTo>
                  <a:lnTo>
                    <a:pt x="15971" y="12041"/>
                  </a:lnTo>
                  <a:lnTo>
                    <a:pt x="15951" y="11990"/>
                  </a:lnTo>
                  <a:lnTo>
                    <a:pt x="15930" y="11939"/>
                  </a:lnTo>
                  <a:lnTo>
                    <a:pt x="15906" y="11889"/>
                  </a:lnTo>
                  <a:lnTo>
                    <a:pt x="15881" y="11840"/>
                  </a:lnTo>
                  <a:lnTo>
                    <a:pt x="15855" y="11791"/>
                  </a:lnTo>
                  <a:lnTo>
                    <a:pt x="15826" y="11744"/>
                  </a:lnTo>
                  <a:lnTo>
                    <a:pt x="15796" y="11698"/>
                  </a:lnTo>
                  <a:lnTo>
                    <a:pt x="15763" y="11652"/>
                  </a:lnTo>
                  <a:lnTo>
                    <a:pt x="15729" y="11608"/>
                  </a:lnTo>
                  <a:lnTo>
                    <a:pt x="15694" y="11564"/>
                  </a:lnTo>
                  <a:lnTo>
                    <a:pt x="15656" y="11522"/>
                  </a:lnTo>
                  <a:lnTo>
                    <a:pt x="15615" y="11481"/>
                  </a:lnTo>
                  <a:lnTo>
                    <a:pt x="4578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94" name="iš1îḍê">
              <a:extLst>
                <a:ext uri="{FF2B5EF4-FFF2-40B4-BE49-F238E27FC236}">
                  <a16:creationId xmlns:a16="http://schemas.microsoft.com/office/drawing/2014/main" id="{61DDB54F-C4A8-438A-8519-96090B6F02A8}"/>
                </a:ext>
              </a:extLst>
            </p:cNvPr>
            <p:cNvSpPr/>
            <p:nvPr/>
          </p:nvSpPr>
          <p:spPr bwMode="auto">
            <a:xfrm>
              <a:off x="6805566" y="48993"/>
              <a:ext cx="153089" cy="153089"/>
            </a:xfrm>
            <a:custGeom>
              <a:avLst/>
              <a:gdLst>
                <a:gd name="T0" fmla="*/ 1116 w 7527"/>
                <a:gd name="T1" fmla="*/ 1037 h 7528"/>
                <a:gd name="T2" fmla="*/ 2289 w 7527"/>
                <a:gd name="T3" fmla="*/ 1277 h 7528"/>
                <a:gd name="T4" fmla="*/ 3369 w 7527"/>
                <a:gd name="T5" fmla="*/ 1733 h 7528"/>
                <a:gd name="T6" fmla="*/ 4329 w 7527"/>
                <a:gd name="T7" fmla="*/ 2383 h 7528"/>
                <a:gd name="T8" fmla="*/ 5145 w 7527"/>
                <a:gd name="T9" fmla="*/ 3200 h 7528"/>
                <a:gd name="T10" fmla="*/ 5795 w 7527"/>
                <a:gd name="T11" fmla="*/ 4159 h 7528"/>
                <a:gd name="T12" fmla="*/ 6251 w 7527"/>
                <a:gd name="T13" fmla="*/ 5239 h 7528"/>
                <a:gd name="T14" fmla="*/ 6491 w 7527"/>
                <a:gd name="T15" fmla="*/ 6413 h 7528"/>
                <a:gd name="T16" fmla="*/ 6524 w 7527"/>
                <a:gd name="T17" fmla="*/ 7053 h 7528"/>
                <a:gd name="T18" fmla="*/ 6539 w 7527"/>
                <a:gd name="T19" fmla="*/ 7152 h 7528"/>
                <a:gd name="T20" fmla="*/ 6574 w 7527"/>
                <a:gd name="T21" fmla="*/ 7245 h 7528"/>
                <a:gd name="T22" fmla="*/ 6624 w 7527"/>
                <a:gd name="T23" fmla="*/ 7327 h 7528"/>
                <a:gd name="T24" fmla="*/ 6689 w 7527"/>
                <a:gd name="T25" fmla="*/ 7398 h 7528"/>
                <a:gd name="T26" fmla="*/ 6765 w 7527"/>
                <a:gd name="T27" fmla="*/ 7455 h 7528"/>
                <a:gd name="T28" fmla="*/ 6854 w 7527"/>
                <a:gd name="T29" fmla="*/ 7498 h 7528"/>
                <a:gd name="T30" fmla="*/ 6949 w 7527"/>
                <a:gd name="T31" fmla="*/ 7522 h 7528"/>
                <a:gd name="T32" fmla="*/ 7051 w 7527"/>
                <a:gd name="T33" fmla="*/ 7527 h 7528"/>
                <a:gd name="T34" fmla="*/ 7151 w 7527"/>
                <a:gd name="T35" fmla="*/ 7512 h 7528"/>
                <a:gd name="T36" fmla="*/ 7243 w 7527"/>
                <a:gd name="T37" fmla="*/ 7478 h 7528"/>
                <a:gd name="T38" fmla="*/ 7325 w 7527"/>
                <a:gd name="T39" fmla="*/ 7428 h 7528"/>
                <a:gd name="T40" fmla="*/ 7397 w 7527"/>
                <a:gd name="T41" fmla="*/ 7363 h 7528"/>
                <a:gd name="T42" fmla="*/ 7455 w 7527"/>
                <a:gd name="T43" fmla="*/ 7286 h 7528"/>
                <a:gd name="T44" fmla="*/ 7497 w 7527"/>
                <a:gd name="T45" fmla="*/ 7198 h 7528"/>
                <a:gd name="T46" fmla="*/ 7521 w 7527"/>
                <a:gd name="T47" fmla="*/ 7102 h 7528"/>
                <a:gd name="T48" fmla="*/ 7526 w 7527"/>
                <a:gd name="T49" fmla="*/ 7024 h 7528"/>
                <a:gd name="T50" fmla="*/ 7445 w 7527"/>
                <a:gd name="T51" fmla="*/ 5954 h 7528"/>
                <a:gd name="T52" fmla="*/ 7099 w 7527"/>
                <a:gd name="T53" fmla="*/ 4610 h 7528"/>
                <a:gd name="T54" fmla="*/ 6509 w 7527"/>
                <a:gd name="T55" fmla="*/ 3385 h 7528"/>
                <a:gd name="T56" fmla="*/ 5703 w 7527"/>
                <a:gd name="T57" fmla="*/ 2306 h 7528"/>
                <a:gd name="T58" fmla="*/ 4709 w 7527"/>
                <a:gd name="T59" fmla="*/ 1401 h 7528"/>
                <a:gd name="T60" fmla="*/ 3554 w 7527"/>
                <a:gd name="T61" fmla="*/ 699 h 7528"/>
                <a:gd name="T62" fmla="*/ 2267 w 7527"/>
                <a:gd name="T63" fmla="*/ 227 h 7528"/>
                <a:gd name="T64" fmla="*/ 875 w 7527"/>
                <a:gd name="T65" fmla="*/ 13 h 7528"/>
                <a:gd name="T66" fmla="*/ 477 w 7527"/>
                <a:gd name="T67" fmla="*/ 1 h 7528"/>
                <a:gd name="T68" fmla="*/ 376 w 7527"/>
                <a:gd name="T69" fmla="*/ 16 h 7528"/>
                <a:gd name="T70" fmla="*/ 284 w 7527"/>
                <a:gd name="T71" fmla="*/ 49 h 7528"/>
                <a:gd name="T72" fmla="*/ 202 w 7527"/>
                <a:gd name="T73" fmla="*/ 99 h 7528"/>
                <a:gd name="T74" fmla="*/ 130 w 7527"/>
                <a:gd name="T75" fmla="*/ 165 h 7528"/>
                <a:gd name="T76" fmla="*/ 73 w 7527"/>
                <a:gd name="T77" fmla="*/ 242 h 7528"/>
                <a:gd name="T78" fmla="*/ 31 w 7527"/>
                <a:gd name="T79" fmla="*/ 329 h 7528"/>
                <a:gd name="T80" fmla="*/ 6 w 7527"/>
                <a:gd name="T81" fmla="*/ 426 h 7528"/>
                <a:gd name="T82" fmla="*/ 1 w 7527"/>
                <a:gd name="T83" fmla="*/ 528 h 7528"/>
                <a:gd name="T84" fmla="*/ 16 w 7527"/>
                <a:gd name="T85" fmla="*/ 627 h 7528"/>
                <a:gd name="T86" fmla="*/ 50 w 7527"/>
                <a:gd name="T87" fmla="*/ 720 h 7528"/>
                <a:gd name="T88" fmla="*/ 100 w 7527"/>
                <a:gd name="T89" fmla="*/ 802 h 7528"/>
                <a:gd name="T90" fmla="*/ 164 w 7527"/>
                <a:gd name="T91" fmla="*/ 873 h 7528"/>
                <a:gd name="T92" fmla="*/ 242 w 7527"/>
                <a:gd name="T93" fmla="*/ 930 h 7528"/>
                <a:gd name="T94" fmla="*/ 329 w 7527"/>
                <a:gd name="T95" fmla="*/ 974 h 7528"/>
                <a:gd name="T96" fmla="*/ 424 w 7527"/>
                <a:gd name="T97" fmla="*/ 998 h 7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527" h="7528">
                  <a:moveTo>
                    <a:pt x="501" y="1004"/>
                  </a:moveTo>
                  <a:lnTo>
                    <a:pt x="501" y="1006"/>
                  </a:lnTo>
                  <a:lnTo>
                    <a:pt x="811" y="1014"/>
                  </a:lnTo>
                  <a:lnTo>
                    <a:pt x="1116" y="1037"/>
                  </a:lnTo>
                  <a:lnTo>
                    <a:pt x="1417" y="1075"/>
                  </a:lnTo>
                  <a:lnTo>
                    <a:pt x="1713" y="1128"/>
                  </a:lnTo>
                  <a:lnTo>
                    <a:pt x="2004" y="1195"/>
                  </a:lnTo>
                  <a:lnTo>
                    <a:pt x="2289" y="1277"/>
                  </a:lnTo>
                  <a:lnTo>
                    <a:pt x="2569" y="1372"/>
                  </a:lnTo>
                  <a:lnTo>
                    <a:pt x="2843" y="1479"/>
                  </a:lnTo>
                  <a:lnTo>
                    <a:pt x="3109" y="1601"/>
                  </a:lnTo>
                  <a:lnTo>
                    <a:pt x="3369" y="1733"/>
                  </a:lnTo>
                  <a:lnTo>
                    <a:pt x="3621" y="1879"/>
                  </a:lnTo>
                  <a:lnTo>
                    <a:pt x="3866" y="2035"/>
                  </a:lnTo>
                  <a:lnTo>
                    <a:pt x="4102" y="2204"/>
                  </a:lnTo>
                  <a:lnTo>
                    <a:pt x="4329" y="2383"/>
                  </a:lnTo>
                  <a:lnTo>
                    <a:pt x="4547" y="2572"/>
                  </a:lnTo>
                  <a:lnTo>
                    <a:pt x="4757" y="2771"/>
                  </a:lnTo>
                  <a:lnTo>
                    <a:pt x="4957" y="2981"/>
                  </a:lnTo>
                  <a:lnTo>
                    <a:pt x="5145" y="3200"/>
                  </a:lnTo>
                  <a:lnTo>
                    <a:pt x="5325" y="3427"/>
                  </a:lnTo>
                  <a:lnTo>
                    <a:pt x="5493" y="3663"/>
                  </a:lnTo>
                  <a:lnTo>
                    <a:pt x="5649" y="3907"/>
                  </a:lnTo>
                  <a:lnTo>
                    <a:pt x="5795" y="4159"/>
                  </a:lnTo>
                  <a:lnTo>
                    <a:pt x="5928" y="4419"/>
                  </a:lnTo>
                  <a:lnTo>
                    <a:pt x="6049" y="4686"/>
                  </a:lnTo>
                  <a:lnTo>
                    <a:pt x="6156" y="4959"/>
                  </a:lnTo>
                  <a:lnTo>
                    <a:pt x="6251" y="5239"/>
                  </a:lnTo>
                  <a:lnTo>
                    <a:pt x="6333" y="5524"/>
                  </a:lnTo>
                  <a:lnTo>
                    <a:pt x="6400" y="5815"/>
                  </a:lnTo>
                  <a:lnTo>
                    <a:pt x="6453" y="6111"/>
                  </a:lnTo>
                  <a:lnTo>
                    <a:pt x="6491" y="6413"/>
                  </a:lnTo>
                  <a:lnTo>
                    <a:pt x="6514" y="6718"/>
                  </a:lnTo>
                  <a:lnTo>
                    <a:pt x="6522" y="7028"/>
                  </a:lnTo>
                  <a:lnTo>
                    <a:pt x="6523" y="7028"/>
                  </a:lnTo>
                  <a:lnTo>
                    <a:pt x="6524" y="7053"/>
                  </a:lnTo>
                  <a:lnTo>
                    <a:pt x="6526" y="7079"/>
                  </a:lnTo>
                  <a:lnTo>
                    <a:pt x="6529" y="7104"/>
                  </a:lnTo>
                  <a:lnTo>
                    <a:pt x="6534" y="7128"/>
                  </a:lnTo>
                  <a:lnTo>
                    <a:pt x="6539" y="7152"/>
                  </a:lnTo>
                  <a:lnTo>
                    <a:pt x="6546" y="7176"/>
                  </a:lnTo>
                  <a:lnTo>
                    <a:pt x="6554" y="7199"/>
                  </a:lnTo>
                  <a:lnTo>
                    <a:pt x="6564" y="7223"/>
                  </a:lnTo>
                  <a:lnTo>
                    <a:pt x="6574" y="7245"/>
                  </a:lnTo>
                  <a:lnTo>
                    <a:pt x="6585" y="7266"/>
                  </a:lnTo>
                  <a:lnTo>
                    <a:pt x="6597" y="7287"/>
                  </a:lnTo>
                  <a:lnTo>
                    <a:pt x="6610" y="7307"/>
                  </a:lnTo>
                  <a:lnTo>
                    <a:pt x="6624" y="7327"/>
                  </a:lnTo>
                  <a:lnTo>
                    <a:pt x="6639" y="7346"/>
                  </a:lnTo>
                  <a:lnTo>
                    <a:pt x="6655" y="7364"/>
                  </a:lnTo>
                  <a:lnTo>
                    <a:pt x="6671" y="7381"/>
                  </a:lnTo>
                  <a:lnTo>
                    <a:pt x="6689" y="7398"/>
                  </a:lnTo>
                  <a:lnTo>
                    <a:pt x="6707" y="7413"/>
                  </a:lnTo>
                  <a:lnTo>
                    <a:pt x="6725" y="7428"/>
                  </a:lnTo>
                  <a:lnTo>
                    <a:pt x="6745" y="7442"/>
                  </a:lnTo>
                  <a:lnTo>
                    <a:pt x="6765" y="7455"/>
                  </a:lnTo>
                  <a:lnTo>
                    <a:pt x="6786" y="7467"/>
                  </a:lnTo>
                  <a:lnTo>
                    <a:pt x="6808" y="7478"/>
                  </a:lnTo>
                  <a:lnTo>
                    <a:pt x="6830" y="7489"/>
                  </a:lnTo>
                  <a:lnTo>
                    <a:pt x="6854" y="7498"/>
                  </a:lnTo>
                  <a:lnTo>
                    <a:pt x="6877" y="7505"/>
                  </a:lnTo>
                  <a:lnTo>
                    <a:pt x="6900" y="7512"/>
                  </a:lnTo>
                  <a:lnTo>
                    <a:pt x="6925" y="7518"/>
                  </a:lnTo>
                  <a:lnTo>
                    <a:pt x="6949" y="7522"/>
                  </a:lnTo>
                  <a:lnTo>
                    <a:pt x="6974" y="7525"/>
                  </a:lnTo>
                  <a:lnTo>
                    <a:pt x="6999" y="7527"/>
                  </a:lnTo>
                  <a:lnTo>
                    <a:pt x="7025" y="7528"/>
                  </a:lnTo>
                  <a:lnTo>
                    <a:pt x="7051" y="7527"/>
                  </a:lnTo>
                  <a:lnTo>
                    <a:pt x="7076" y="7525"/>
                  </a:lnTo>
                  <a:lnTo>
                    <a:pt x="7101" y="7522"/>
                  </a:lnTo>
                  <a:lnTo>
                    <a:pt x="7127" y="7518"/>
                  </a:lnTo>
                  <a:lnTo>
                    <a:pt x="7151" y="7512"/>
                  </a:lnTo>
                  <a:lnTo>
                    <a:pt x="7175" y="7505"/>
                  </a:lnTo>
                  <a:lnTo>
                    <a:pt x="7198" y="7497"/>
                  </a:lnTo>
                  <a:lnTo>
                    <a:pt x="7221" y="7489"/>
                  </a:lnTo>
                  <a:lnTo>
                    <a:pt x="7243" y="7478"/>
                  </a:lnTo>
                  <a:lnTo>
                    <a:pt x="7265" y="7466"/>
                  </a:lnTo>
                  <a:lnTo>
                    <a:pt x="7286" y="7454"/>
                  </a:lnTo>
                  <a:lnTo>
                    <a:pt x="7306" y="7441"/>
                  </a:lnTo>
                  <a:lnTo>
                    <a:pt x="7325" y="7428"/>
                  </a:lnTo>
                  <a:lnTo>
                    <a:pt x="7344" y="7413"/>
                  </a:lnTo>
                  <a:lnTo>
                    <a:pt x="7362" y="7397"/>
                  </a:lnTo>
                  <a:lnTo>
                    <a:pt x="7380" y="7380"/>
                  </a:lnTo>
                  <a:lnTo>
                    <a:pt x="7397" y="7363"/>
                  </a:lnTo>
                  <a:lnTo>
                    <a:pt x="7413" y="7345"/>
                  </a:lnTo>
                  <a:lnTo>
                    <a:pt x="7428" y="7326"/>
                  </a:lnTo>
                  <a:lnTo>
                    <a:pt x="7442" y="7306"/>
                  </a:lnTo>
                  <a:lnTo>
                    <a:pt x="7455" y="7286"/>
                  </a:lnTo>
                  <a:lnTo>
                    <a:pt x="7467" y="7265"/>
                  </a:lnTo>
                  <a:lnTo>
                    <a:pt x="7478" y="7244"/>
                  </a:lnTo>
                  <a:lnTo>
                    <a:pt x="7488" y="7222"/>
                  </a:lnTo>
                  <a:lnTo>
                    <a:pt x="7497" y="7198"/>
                  </a:lnTo>
                  <a:lnTo>
                    <a:pt x="7505" y="7175"/>
                  </a:lnTo>
                  <a:lnTo>
                    <a:pt x="7511" y="7151"/>
                  </a:lnTo>
                  <a:lnTo>
                    <a:pt x="7517" y="7127"/>
                  </a:lnTo>
                  <a:lnTo>
                    <a:pt x="7521" y="7102"/>
                  </a:lnTo>
                  <a:lnTo>
                    <a:pt x="7524" y="7077"/>
                  </a:lnTo>
                  <a:lnTo>
                    <a:pt x="7526" y="7052"/>
                  </a:lnTo>
                  <a:lnTo>
                    <a:pt x="7527" y="7026"/>
                  </a:lnTo>
                  <a:lnTo>
                    <a:pt x="7526" y="7024"/>
                  </a:lnTo>
                  <a:lnTo>
                    <a:pt x="7526" y="7022"/>
                  </a:lnTo>
                  <a:lnTo>
                    <a:pt x="7517" y="6660"/>
                  </a:lnTo>
                  <a:lnTo>
                    <a:pt x="7489" y="6304"/>
                  </a:lnTo>
                  <a:lnTo>
                    <a:pt x="7445" y="5954"/>
                  </a:lnTo>
                  <a:lnTo>
                    <a:pt x="7382" y="5609"/>
                  </a:lnTo>
                  <a:lnTo>
                    <a:pt x="7304" y="5269"/>
                  </a:lnTo>
                  <a:lnTo>
                    <a:pt x="7210" y="4936"/>
                  </a:lnTo>
                  <a:lnTo>
                    <a:pt x="7099" y="4610"/>
                  </a:lnTo>
                  <a:lnTo>
                    <a:pt x="6974" y="4292"/>
                  </a:lnTo>
                  <a:lnTo>
                    <a:pt x="6833" y="3982"/>
                  </a:lnTo>
                  <a:lnTo>
                    <a:pt x="6679" y="3679"/>
                  </a:lnTo>
                  <a:lnTo>
                    <a:pt x="6509" y="3385"/>
                  </a:lnTo>
                  <a:lnTo>
                    <a:pt x="6328" y="3100"/>
                  </a:lnTo>
                  <a:lnTo>
                    <a:pt x="6132" y="2825"/>
                  </a:lnTo>
                  <a:lnTo>
                    <a:pt x="5923" y="2560"/>
                  </a:lnTo>
                  <a:lnTo>
                    <a:pt x="5703" y="2306"/>
                  </a:lnTo>
                  <a:lnTo>
                    <a:pt x="5472" y="2063"/>
                  </a:lnTo>
                  <a:lnTo>
                    <a:pt x="5228" y="1830"/>
                  </a:lnTo>
                  <a:lnTo>
                    <a:pt x="4974" y="1610"/>
                  </a:lnTo>
                  <a:lnTo>
                    <a:pt x="4709" y="1401"/>
                  </a:lnTo>
                  <a:lnTo>
                    <a:pt x="4434" y="1205"/>
                  </a:lnTo>
                  <a:lnTo>
                    <a:pt x="4150" y="1023"/>
                  </a:lnTo>
                  <a:lnTo>
                    <a:pt x="3856" y="854"/>
                  </a:lnTo>
                  <a:lnTo>
                    <a:pt x="3554" y="699"/>
                  </a:lnTo>
                  <a:lnTo>
                    <a:pt x="3244" y="558"/>
                  </a:lnTo>
                  <a:lnTo>
                    <a:pt x="2925" y="433"/>
                  </a:lnTo>
                  <a:lnTo>
                    <a:pt x="2599" y="321"/>
                  </a:lnTo>
                  <a:lnTo>
                    <a:pt x="2267" y="227"/>
                  </a:lnTo>
                  <a:lnTo>
                    <a:pt x="1928" y="148"/>
                  </a:lnTo>
                  <a:lnTo>
                    <a:pt x="1583" y="85"/>
                  </a:lnTo>
                  <a:lnTo>
                    <a:pt x="1231" y="40"/>
                  </a:lnTo>
                  <a:lnTo>
                    <a:pt x="875" y="13"/>
                  </a:lnTo>
                  <a:lnTo>
                    <a:pt x="515" y="3"/>
                  </a:lnTo>
                  <a:lnTo>
                    <a:pt x="509" y="2"/>
                  </a:lnTo>
                  <a:lnTo>
                    <a:pt x="502" y="0"/>
                  </a:lnTo>
                  <a:lnTo>
                    <a:pt x="477" y="1"/>
                  </a:lnTo>
                  <a:lnTo>
                    <a:pt x="450" y="3"/>
                  </a:lnTo>
                  <a:lnTo>
                    <a:pt x="425" y="6"/>
                  </a:lnTo>
                  <a:lnTo>
                    <a:pt x="401" y="10"/>
                  </a:lnTo>
                  <a:lnTo>
                    <a:pt x="376" y="16"/>
                  </a:lnTo>
                  <a:lnTo>
                    <a:pt x="353" y="23"/>
                  </a:lnTo>
                  <a:lnTo>
                    <a:pt x="329" y="30"/>
                  </a:lnTo>
                  <a:lnTo>
                    <a:pt x="307" y="39"/>
                  </a:lnTo>
                  <a:lnTo>
                    <a:pt x="284" y="49"/>
                  </a:lnTo>
                  <a:lnTo>
                    <a:pt x="263" y="60"/>
                  </a:lnTo>
                  <a:lnTo>
                    <a:pt x="242" y="72"/>
                  </a:lnTo>
                  <a:lnTo>
                    <a:pt x="222" y="85"/>
                  </a:lnTo>
                  <a:lnTo>
                    <a:pt x="202" y="99"/>
                  </a:lnTo>
                  <a:lnTo>
                    <a:pt x="182" y="114"/>
                  </a:lnTo>
                  <a:lnTo>
                    <a:pt x="164" y="130"/>
                  </a:lnTo>
                  <a:lnTo>
                    <a:pt x="147" y="147"/>
                  </a:lnTo>
                  <a:lnTo>
                    <a:pt x="130" y="165"/>
                  </a:lnTo>
                  <a:lnTo>
                    <a:pt x="114" y="183"/>
                  </a:lnTo>
                  <a:lnTo>
                    <a:pt x="100" y="202"/>
                  </a:lnTo>
                  <a:lnTo>
                    <a:pt x="86" y="221"/>
                  </a:lnTo>
                  <a:lnTo>
                    <a:pt x="73" y="242"/>
                  </a:lnTo>
                  <a:lnTo>
                    <a:pt x="61" y="263"/>
                  </a:lnTo>
                  <a:lnTo>
                    <a:pt x="50" y="284"/>
                  </a:lnTo>
                  <a:lnTo>
                    <a:pt x="40" y="306"/>
                  </a:lnTo>
                  <a:lnTo>
                    <a:pt x="31" y="329"/>
                  </a:lnTo>
                  <a:lnTo>
                    <a:pt x="23" y="352"/>
                  </a:lnTo>
                  <a:lnTo>
                    <a:pt x="16" y="376"/>
                  </a:lnTo>
                  <a:lnTo>
                    <a:pt x="10" y="400"/>
                  </a:lnTo>
                  <a:lnTo>
                    <a:pt x="6" y="426"/>
                  </a:lnTo>
                  <a:lnTo>
                    <a:pt x="3" y="451"/>
                  </a:lnTo>
                  <a:lnTo>
                    <a:pt x="1" y="476"/>
                  </a:lnTo>
                  <a:lnTo>
                    <a:pt x="0" y="502"/>
                  </a:lnTo>
                  <a:lnTo>
                    <a:pt x="1" y="528"/>
                  </a:lnTo>
                  <a:lnTo>
                    <a:pt x="3" y="553"/>
                  </a:lnTo>
                  <a:lnTo>
                    <a:pt x="6" y="578"/>
                  </a:lnTo>
                  <a:lnTo>
                    <a:pt x="10" y="603"/>
                  </a:lnTo>
                  <a:lnTo>
                    <a:pt x="16" y="627"/>
                  </a:lnTo>
                  <a:lnTo>
                    <a:pt x="23" y="651"/>
                  </a:lnTo>
                  <a:lnTo>
                    <a:pt x="31" y="674"/>
                  </a:lnTo>
                  <a:lnTo>
                    <a:pt x="40" y="698"/>
                  </a:lnTo>
                  <a:lnTo>
                    <a:pt x="50" y="720"/>
                  </a:lnTo>
                  <a:lnTo>
                    <a:pt x="61" y="741"/>
                  </a:lnTo>
                  <a:lnTo>
                    <a:pt x="73" y="762"/>
                  </a:lnTo>
                  <a:lnTo>
                    <a:pt x="86" y="782"/>
                  </a:lnTo>
                  <a:lnTo>
                    <a:pt x="100" y="802"/>
                  </a:lnTo>
                  <a:lnTo>
                    <a:pt x="114" y="821"/>
                  </a:lnTo>
                  <a:lnTo>
                    <a:pt x="130" y="839"/>
                  </a:lnTo>
                  <a:lnTo>
                    <a:pt x="147" y="856"/>
                  </a:lnTo>
                  <a:lnTo>
                    <a:pt x="164" y="873"/>
                  </a:lnTo>
                  <a:lnTo>
                    <a:pt x="182" y="889"/>
                  </a:lnTo>
                  <a:lnTo>
                    <a:pt x="202" y="904"/>
                  </a:lnTo>
                  <a:lnTo>
                    <a:pt x="221" y="917"/>
                  </a:lnTo>
                  <a:lnTo>
                    <a:pt x="242" y="930"/>
                  </a:lnTo>
                  <a:lnTo>
                    <a:pt x="262" y="942"/>
                  </a:lnTo>
                  <a:lnTo>
                    <a:pt x="284" y="955"/>
                  </a:lnTo>
                  <a:lnTo>
                    <a:pt x="306" y="965"/>
                  </a:lnTo>
                  <a:lnTo>
                    <a:pt x="329" y="974"/>
                  </a:lnTo>
                  <a:lnTo>
                    <a:pt x="352" y="981"/>
                  </a:lnTo>
                  <a:lnTo>
                    <a:pt x="376" y="988"/>
                  </a:lnTo>
                  <a:lnTo>
                    <a:pt x="400" y="994"/>
                  </a:lnTo>
                  <a:lnTo>
                    <a:pt x="424" y="998"/>
                  </a:lnTo>
                  <a:lnTo>
                    <a:pt x="449" y="1001"/>
                  </a:lnTo>
                  <a:lnTo>
                    <a:pt x="476" y="1003"/>
                  </a:lnTo>
                  <a:lnTo>
                    <a:pt x="501" y="10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95" name="ísḻîḓè">
              <a:extLst>
                <a:ext uri="{FF2B5EF4-FFF2-40B4-BE49-F238E27FC236}">
                  <a16:creationId xmlns:a16="http://schemas.microsoft.com/office/drawing/2014/main" id="{36330551-30DD-4B84-A21B-E92EBA4B90D1}"/>
                </a:ext>
              </a:extLst>
            </p:cNvPr>
            <p:cNvSpPr/>
            <p:nvPr/>
          </p:nvSpPr>
          <p:spPr bwMode="auto">
            <a:xfrm>
              <a:off x="6926271" y="1010027"/>
              <a:ext cx="415238" cy="402829"/>
            </a:xfrm>
            <a:custGeom>
              <a:avLst/>
              <a:gdLst>
                <a:gd name="T0" fmla="*/ 11715 w 16095"/>
                <a:gd name="T1" fmla="*/ 9432 h 15614"/>
                <a:gd name="T2" fmla="*/ 11598 w 16095"/>
                <a:gd name="T3" fmla="*/ 9669 h 15614"/>
                <a:gd name="T4" fmla="*/ 11540 w 16095"/>
                <a:gd name="T5" fmla="*/ 9924 h 15614"/>
                <a:gd name="T6" fmla="*/ 11544 w 16095"/>
                <a:gd name="T7" fmla="*/ 10189 h 15614"/>
                <a:gd name="T8" fmla="*/ 8441 w 16095"/>
                <a:gd name="T9" fmla="*/ 12438 h 15614"/>
                <a:gd name="T10" fmla="*/ 8156 w 16095"/>
                <a:gd name="T11" fmla="*/ 12375 h 15614"/>
                <a:gd name="T12" fmla="*/ 7866 w 16095"/>
                <a:gd name="T13" fmla="*/ 12384 h 15614"/>
                <a:gd name="T14" fmla="*/ 7586 w 16095"/>
                <a:gd name="T15" fmla="*/ 12464 h 15614"/>
                <a:gd name="T16" fmla="*/ 4558 w 16095"/>
                <a:gd name="T17" fmla="*/ 10123 h 15614"/>
                <a:gd name="T18" fmla="*/ 4547 w 16095"/>
                <a:gd name="T19" fmla="*/ 9859 h 15614"/>
                <a:gd name="T20" fmla="*/ 4473 w 16095"/>
                <a:gd name="T21" fmla="*/ 9607 h 15614"/>
                <a:gd name="T22" fmla="*/ 4342 w 16095"/>
                <a:gd name="T23" fmla="*/ 9376 h 15614"/>
                <a:gd name="T24" fmla="*/ 5386 w 16095"/>
                <a:gd name="T25" fmla="*/ 5551 h 15614"/>
                <a:gd name="T26" fmla="*/ 5658 w 16095"/>
                <a:gd name="T27" fmla="*/ 5467 h 15614"/>
                <a:gd name="T28" fmla="*/ 5899 w 16095"/>
                <a:gd name="T29" fmla="*/ 5323 h 15614"/>
                <a:gd name="T30" fmla="*/ 6097 w 16095"/>
                <a:gd name="T31" fmla="*/ 5126 h 15614"/>
                <a:gd name="T32" fmla="*/ 8048 w 16095"/>
                <a:gd name="T33" fmla="*/ 1134 h 15614"/>
                <a:gd name="T34" fmla="*/ 9998 w 16095"/>
                <a:gd name="T35" fmla="*/ 5126 h 15614"/>
                <a:gd name="T36" fmla="*/ 10196 w 16095"/>
                <a:gd name="T37" fmla="*/ 5323 h 15614"/>
                <a:gd name="T38" fmla="*/ 10437 w 16095"/>
                <a:gd name="T39" fmla="*/ 5467 h 15614"/>
                <a:gd name="T40" fmla="*/ 10708 w 16095"/>
                <a:gd name="T41" fmla="*/ 5551 h 15614"/>
                <a:gd name="T42" fmla="*/ 15973 w 16095"/>
                <a:gd name="T43" fmla="*/ 5675 h 15614"/>
                <a:gd name="T44" fmla="*/ 15794 w 16095"/>
                <a:gd name="T45" fmla="*/ 5421 h 15614"/>
                <a:gd name="T46" fmla="*/ 15554 w 16095"/>
                <a:gd name="T47" fmla="*/ 5223 h 15614"/>
                <a:gd name="T48" fmla="*/ 15266 w 16095"/>
                <a:gd name="T49" fmla="*/ 5094 h 15614"/>
                <a:gd name="T50" fmla="*/ 9061 w 16095"/>
                <a:gd name="T51" fmla="*/ 579 h 15614"/>
                <a:gd name="T52" fmla="*/ 8861 w 16095"/>
                <a:gd name="T53" fmla="*/ 324 h 15614"/>
                <a:gd name="T54" fmla="*/ 8601 w 16095"/>
                <a:gd name="T55" fmla="*/ 137 h 15614"/>
                <a:gd name="T56" fmla="*/ 8296 w 16095"/>
                <a:gd name="T57" fmla="*/ 26 h 15614"/>
                <a:gd name="T58" fmla="*/ 7963 w 16095"/>
                <a:gd name="T59" fmla="*/ 3 h 15614"/>
                <a:gd name="T60" fmla="*/ 7642 w 16095"/>
                <a:gd name="T61" fmla="*/ 72 h 15614"/>
                <a:gd name="T62" fmla="*/ 7357 w 16095"/>
                <a:gd name="T63" fmla="*/ 222 h 15614"/>
                <a:gd name="T64" fmla="*/ 7125 w 16095"/>
                <a:gd name="T65" fmla="*/ 444 h 15614"/>
                <a:gd name="T66" fmla="*/ 987 w 16095"/>
                <a:gd name="T67" fmla="*/ 5060 h 15614"/>
                <a:gd name="T68" fmla="*/ 680 w 16095"/>
                <a:gd name="T69" fmla="*/ 5150 h 15614"/>
                <a:gd name="T70" fmla="*/ 414 w 16095"/>
                <a:gd name="T71" fmla="*/ 5314 h 15614"/>
                <a:gd name="T72" fmla="*/ 203 w 16095"/>
                <a:gd name="T73" fmla="*/ 5541 h 15614"/>
                <a:gd name="T74" fmla="*/ 60 w 16095"/>
                <a:gd name="T75" fmla="*/ 5820 h 15614"/>
                <a:gd name="T76" fmla="*/ 1 w 16095"/>
                <a:gd name="T77" fmla="*/ 6128 h 15614"/>
                <a:gd name="T78" fmla="*/ 29 w 16095"/>
                <a:gd name="T79" fmla="*/ 6434 h 15614"/>
                <a:gd name="T80" fmla="*/ 141 w 16095"/>
                <a:gd name="T81" fmla="*/ 6721 h 15614"/>
                <a:gd name="T82" fmla="*/ 330 w 16095"/>
                <a:gd name="T83" fmla="*/ 6972 h 15614"/>
                <a:gd name="T84" fmla="*/ 2674 w 16095"/>
                <a:gd name="T85" fmla="*/ 14537 h 15614"/>
                <a:gd name="T86" fmla="*/ 2734 w 16095"/>
                <a:gd name="T87" fmla="*/ 14845 h 15614"/>
                <a:gd name="T88" fmla="*/ 2878 w 16095"/>
                <a:gd name="T89" fmla="*/ 15124 h 15614"/>
                <a:gd name="T90" fmla="*/ 3098 w 16095"/>
                <a:gd name="T91" fmla="*/ 15358 h 15614"/>
                <a:gd name="T92" fmla="*/ 3402 w 16095"/>
                <a:gd name="T93" fmla="*/ 15532 h 15614"/>
                <a:gd name="T94" fmla="*/ 3746 w 16095"/>
                <a:gd name="T95" fmla="*/ 15611 h 15614"/>
                <a:gd name="T96" fmla="*/ 4051 w 16095"/>
                <a:gd name="T97" fmla="*/ 15594 h 15614"/>
                <a:gd name="T98" fmla="*/ 4330 w 16095"/>
                <a:gd name="T99" fmla="*/ 15505 h 15614"/>
                <a:gd name="T100" fmla="*/ 11834 w 16095"/>
                <a:gd name="T101" fmla="*/ 15534 h 15614"/>
                <a:gd name="T102" fmla="*/ 12117 w 16095"/>
                <a:gd name="T103" fmla="*/ 15605 h 15614"/>
                <a:gd name="T104" fmla="*/ 12436 w 16095"/>
                <a:gd name="T105" fmla="*/ 15601 h 15614"/>
                <a:gd name="T106" fmla="*/ 12774 w 16095"/>
                <a:gd name="T107" fmla="*/ 15497 h 15614"/>
                <a:gd name="T108" fmla="*/ 13058 w 16095"/>
                <a:gd name="T109" fmla="*/ 15305 h 15614"/>
                <a:gd name="T110" fmla="*/ 13260 w 16095"/>
                <a:gd name="T111" fmla="*/ 15059 h 15614"/>
                <a:gd name="T112" fmla="*/ 13384 w 16095"/>
                <a:gd name="T113" fmla="*/ 14771 h 15614"/>
                <a:gd name="T114" fmla="*/ 13422 w 16095"/>
                <a:gd name="T115" fmla="*/ 14458 h 15614"/>
                <a:gd name="T116" fmla="*/ 15819 w 16095"/>
                <a:gd name="T117" fmla="*/ 6913 h 15614"/>
                <a:gd name="T118" fmla="*/ 15989 w 16095"/>
                <a:gd name="T119" fmla="*/ 6652 h 15614"/>
                <a:gd name="T120" fmla="*/ 16080 w 16095"/>
                <a:gd name="T121" fmla="*/ 6358 h 15614"/>
                <a:gd name="T122" fmla="*/ 16087 w 16095"/>
                <a:gd name="T123" fmla="*/ 6050 h 15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095" h="15614">
                  <a:moveTo>
                    <a:pt x="11864" y="9250"/>
                  </a:moveTo>
                  <a:lnTo>
                    <a:pt x="11840" y="9274"/>
                  </a:lnTo>
                  <a:lnTo>
                    <a:pt x="11817" y="9299"/>
                  </a:lnTo>
                  <a:lnTo>
                    <a:pt x="11796" y="9324"/>
                  </a:lnTo>
                  <a:lnTo>
                    <a:pt x="11773" y="9350"/>
                  </a:lnTo>
                  <a:lnTo>
                    <a:pt x="11753" y="9376"/>
                  </a:lnTo>
                  <a:lnTo>
                    <a:pt x="11734" y="9404"/>
                  </a:lnTo>
                  <a:lnTo>
                    <a:pt x="11715" y="9432"/>
                  </a:lnTo>
                  <a:lnTo>
                    <a:pt x="11698" y="9460"/>
                  </a:lnTo>
                  <a:lnTo>
                    <a:pt x="11681" y="9488"/>
                  </a:lnTo>
                  <a:lnTo>
                    <a:pt x="11665" y="9517"/>
                  </a:lnTo>
                  <a:lnTo>
                    <a:pt x="11650" y="9547"/>
                  </a:lnTo>
                  <a:lnTo>
                    <a:pt x="11636" y="9577"/>
                  </a:lnTo>
                  <a:lnTo>
                    <a:pt x="11623" y="9607"/>
                  </a:lnTo>
                  <a:lnTo>
                    <a:pt x="11610" y="9637"/>
                  </a:lnTo>
                  <a:lnTo>
                    <a:pt x="11598" y="9669"/>
                  </a:lnTo>
                  <a:lnTo>
                    <a:pt x="11587" y="9700"/>
                  </a:lnTo>
                  <a:lnTo>
                    <a:pt x="11578" y="9731"/>
                  </a:lnTo>
                  <a:lnTo>
                    <a:pt x="11569" y="9762"/>
                  </a:lnTo>
                  <a:lnTo>
                    <a:pt x="11561" y="9795"/>
                  </a:lnTo>
                  <a:lnTo>
                    <a:pt x="11554" y="9827"/>
                  </a:lnTo>
                  <a:lnTo>
                    <a:pt x="11549" y="9859"/>
                  </a:lnTo>
                  <a:lnTo>
                    <a:pt x="11544" y="9891"/>
                  </a:lnTo>
                  <a:lnTo>
                    <a:pt x="11540" y="9924"/>
                  </a:lnTo>
                  <a:lnTo>
                    <a:pt x="11537" y="9958"/>
                  </a:lnTo>
                  <a:lnTo>
                    <a:pt x="11535" y="9990"/>
                  </a:lnTo>
                  <a:lnTo>
                    <a:pt x="11534" y="10023"/>
                  </a:lnTo>
                  <a:lnTo>
                    <a:pt x="11534" y="10056"/>
                  </a:lnTo>
                  <a:lnTo>
                    <a:pt x="11535" y="10090"/>
                  </a:lnTo>
                  <a:lnTo>
                    <a:pt x="11537" y="10123"/>
                  </a:lnTo>
                  <a:lnTo>
                    <a:pt x="11540" y="10156"/>
                  </a:lnTo>
                  <a:lnTo>
                    <a:pt x="11544" y="10189"/>
                  </a:lnTo>
                  <a:lnTo>
                    <a:pt x="11549" y="10223"/>
                  </a:lnTo>
                  <a:lnTo>
                    <a:pt x="12260" y="14481"/>
                  </a:lnTo>
                  <a:lnTo>
                    <a:pt x="8610" y="12512"/>
                  </a:lnTo>
                  <a:lnTo>
                    <a:pt x="8577" y="12495"/>
                  </a:lnTo>
                  <a:lnTo>
                    <a:pt x="8543" y="12479"/>
                  </a:lnTo>
                  <a:lnTo>
                    <a:pt x="8509" y="12464"/>
                  </a:lnTo>
                  <a:lnTo>
                    <a:pt x="8475" y="12450"/>
                  </a:lnTo>
                  <a:lnTo>
                    <a:pt x="8441" y="12438"/>
                  </a:lnTo>
                  <a:lnTo>
                    <a:pt x="8406" y="12426"/>
                  </a:lnTo>
                  <a:lnTo>
                    <a:pt x="8370" y="12416"/>
                  </a:lnTo>
                  <a:lnTo>
                    <a:pt x="8335" y="12406"/>
                  </a:lnTo>
                  <a:lnTo>
                    <a:pt x="8300" y="12398"/>
                  </a:lnTo>
                  <a:lnTo>
                    <a:pt x="8264" y="12390"/>
                  </a:lnTo>
                  <a:lnTo>
                    <a:pt x="8229" y="12384"/>
                  </a:lnTo>
                  <a:lnTo>
                    <a:pt x="8192" y="12379"/>
                  </a:lnTo>
                  <a:lnTo>
                    <a:pt x="8156" y="12375"/>
                  </a:lnTo>
                  <a:lnTo>
                    <a:pt x="8120" y="12372"/>
                  </a:lnTo>
                  <a:lnTo>
                    <a:pt x="8084" y="12371"/>
                  </a:lnTo>
                  <a:lnTo>
                    <a:pt x="8048" y="12370"/>
                  </a:lnTo>
                  <a:lnTo>
                    <a:pt x="8011" y="12371"/>
                  </a:lnTo>
                  <a:lnTo>
                    <a:pt x="7975" y="12372"/>
                  </a:lnTo>
                  <a:lnTo>
                    <a:pt x="7939" y="12375"/>
                  </a:lnTo>
                  <a:lnTo>
                    <a:pt x="7903" y="12379"/>
                  </a:lnTo>
                  <a:lnTo>
                    <a:pt x="7866" y="12384"/>
                  </a:lnTo>
                  <a:lnTo>
                    <a:pt x="7831" y="12390"/>
                  </a:lnTo>
                  <a:lnTo>
                    <a:pt x="7795" y="12398"/>
                  </a:lnTo>
                  <a:lnTo>
                    <a:pt x="7760" y="12406"/>
                  </a:lnTo>
                  <a:lnTo>
                    <a:pt x="7725" y="12416"/>
                  </a:lnTo>
                  <a:lnTo>
                    <a:pt x="7689" y="12426"/>
                  </a:lnTo>
                  <a:lnTo>
                    <a:pt x="7655" y="12438"/>
                  </a:lnTo>
                  <a:lnTo>
                    <a:pt x="7620" y="12450"/>
                  </a:lnTo>
                  <a:lnTo>
                    <a:pt x="7586" y="12464"/>
                  </a:lnTo>
                  <a:lnTo>
                    <a:pt x="7553" y="12479"/>
                  </a:lnTo>
                  <a:lnTo>
                    <a:pt x="7518" y="12495"/>
                  </a:lnTo>
                  <a:lnTo>
                    <a:pt x="7485" y="12512"/>
                  </a:lnTo>
                  <a:lnTo>
                    <a:pt x="3834" y="14481"/>
                  </a:lnTo>
                  <a:lnTo>
                    <a:pt x="4546" y="10223"/>
                  </a:lnTo>
                  <a:lnTo>
                    <a:pt x="4551" y="10189"/>
                  </a:lnTo>
                  <a:lnTo>
                    <a:pt x="4555" y="10156"/>
                  </a:lnTo>
                  <a:lnTo>
                    <a:pt x="4558" y="10123"/>
                  </a:lnTo>
                  <a:lnTo>
                    <a:pt x="4560" y="10090"/>
                  </a:lnTo>
                  <a:lnTo>
                    <a:pt x="4561" y="10056"/>
                  </a:lnTo>
                  <a:lnTo>
                    <a:pt x="4561" y="10023"/>
                  </a:lnTo>
                  <a:lnTo>
                    <a:pt x="4560" y="9990"/>
                  </a:lnTo>
                  <a:lnTo>
                    <a:pt x="4558" y="9958"/>
                  </a:lnTo>
                  <a:lnTo>
                    <a:pt x="4555" y="9924"/>
                  </a:lnTo>
                  <a:lnTo>
                    <a:pt x="4551" y="9891"/>
                  </a:lnTo>
                  <a:lnTo>
                    <a:pt x="4547" y="9859"/>
                  </a:lnTo>
                  <a:lnTo>
                    <a:pt x="4541" y="9827"/>
                  </a:lnTo>
                  <a:lnTo>
                    <a:pt x="4534" y="9795"/>
                  </a:lnTo>
                  <a:lnTo>
                    <a:pt x="4526" y="9762"/>
                  </a:lnTo>
                  <a:lnTo>
                    <a:pt x="4518" y="9731"/>
                  </a:lnTo>
                  <a:lnTo>
                    <a:pt x="4508" y="9700"/>
                  </a:lnTo>
                  <a:lnTo>
                    <a:pt x="4497" y="9669"/>
                  </a:lnTo>
                  <a:lnTo>
                    <a:pt x="4485" y="9637"/>
                  </a:lnTo>
                  <a:lnTo>
                    <a:pt x="4473" y="9607"/>
                  </a:lnTo>
                  <a:lnTo>
                    <a:pt x="4459" y="9577"/>
                  </a:lnTo>
                  <a:lnTo>
                    <a:pt x="4445" y="9547"/>
                  </a:lnTo>
                  <a:lnTo>
                    <a:pt x="4430" y="9517"/>
                  </a:lnTo>
                  <a:lnTo>
                    <a:pt x="4414" y="9488"/>
                  </a:lnTo>
                  <a:lnTo>
                    <a:pt x="4398" y="9460"/>
                  </a:lnTo>
                  <a:lnTo>
                    <a:pt x="4380" y="9432"/>
                  </a:lnTo>
                  <a:lnTo>
                    <a:pt x="4361" y="9404"/>
                  </a:lnTo>
                  <a:lnTo>
                    <a:pt x="4342" y="9376"/>
                  </a:lnTo>
                  <a:lnTo>
                    <a:pt x="4322" y="9350"/>
                  </a:lnTo>
                  <a:lnTo>
                    <a:pt x="4300" y="9324"/>
                  </a:lnTo>
                  <a:lnTo>
                    <a:pt x="4278" y="9299"/>
                  </a:lnTo>
                  <a:lnTo>
                    <a:pt x="4255" y="9274"/>
                  </a:lnTo>
                  <a:lnTo>
                    <a:pt x="4231" y="9250"/>
                  </a:lnTo>
                  <a:lnTo>
                    <a:pt x="1163" y="6180"/>
                  </a:lnTo>
                  <a:lnTo>
                    <a:pt x="5351" y="5557"/>
                  </a:lnTo>
                  <a:lnTo>
                    <a:pt x="5386" y="5551"/>
                  </a:lnTo>
                  <a:lnTo>
                    <a:pt x="5422" y="5543"/>
                  </a:lnTo>
                  <a:lnTo>
                    <a:pt x="5456" y="5535"/>
                  </a:lnTo>
                  <a:lnTo>
                    <a:pt x="5491" y="5526"/>
                  </a:lnTo>
                  <a:lnTo>
                    <a:pt x="5526" y="5516"/>
                  </a:lnTo>
                  <a:lnTo>
                    <a:pt x="5560" y="5505"/>
                  </a:lnTo>
                  <a:lnTo>
                    <a:pt x="5593" y="5493"/>
                  </a:lnTo>
                  <a:lnTo>
                    <a:pt x="5626" y="5480"/>
                  </a:lnTo>
                  <a:lnTo>
                    <a:pt x="5658" y="5467"/>
                  </a:lnTo>
                  <a:lnTo>
                    <a:pt x="5691" y="5452"/>
                  </a:lnTo>
                  <a:lnTo>
                    <a:pt x="5722" y="5436"/>
                  </a:lnTo>
                  <a:lnTo>
                    <a:pt x="5753" y="5420"/>
                  </a:lnTo>
                  <a:lnTo>
                    <a:pt x="5783" y="5401"/>
                  </a:lnTo>
                  <a:lnTo>
                    <a:pt x="5813" y="5383"/>
                  </a:lnTo>
                  <a:lnTo>
                    <a:pt x="5842" y="5364"/>
                  </a:lnTo>
                  <a:lnTo>
                    <a:pt x="5871" y="5344"/>
                  </a:lnTo>
                  <a:lnTo>
                    <a:pt x="5899" y="5323"/>
                  </a:lnTo>
                  <a:lnTo>
                    <a:pt x="5926" y="5301"/>
                  </a:lnTo>
                  <a:lnTo>
                    <a:pt x="5952" y="5279"/>
                  </a:lnTo>
                  <a:lnTo>
                    <a:pt x="5978" y="5254"/>
                  </a:lnTo>
                  <a:lnTo>
                    <a:pt x="6003" y="5230"/>
                  </a:lnTo>
                  <a:lnTo>
                    <a:pt x="6028" y="5206"/>
                  </a:lnTo>
                  <a:lnTo>
                    <a:pt x="6052" y="5180"/>
                  </a:lnTo>
                  <a:lnTo>
                    <a:pt x="6075" y="5154"/>
                  </a:lnTo>
                  <a:lnTo>
                    <a:pt x="6097" y="5126"/>
                  </a:lnTo>
                  <a:lnTo>
                    <a:pt x="6118" y="5098"/>
                  </a:lnTo>
                  <a:lnTo>
                    <a:pt x="6138" y="5070"/>
                  </a:lnTo>
                  <a:lnTo>
                    <a:pt x="6158" y="5041"/>
                  </a:lnTo>
                  <a:lnTo>
                    <a:pt x="6176" y="5011"/>
                  </a:lnTo>
                  <a:lnTo>
                    <a:pt x="6195" y="4980"/>
                  </a:lnTo>
                  <a:lnTo>
                    <a:pt x="6212" y="4949"/>
                  </a:lnTo>
                  <a:lnTo>
                    <a:pt x="6227" y="4918"/>
                  </a:lnTo>
                  <a:lnTo>
                    <a:pt x="8048" y="1134"/>
                  </a:lnTo>
                  <a:lnTo>
                    <a:pt x="9868" y="4918"/>
                  </a:lnTo>
                  <a:lnTo>
                    <a:pt x="9884" y="4949"/>
                  </a:lnTo>
                  <a:lnTo>
                    <a:pt x="9900" y="4980"/>
                  </a:lnTo>
                  <a:lnTo>
                    <a:pt x="9919" y="5011"/>
                  </a:lnTo>
                  <a:lnTo>
                    <a:pt x="9938" y="5041"/>
                  </a:lnTo>
                  <a:lnTo>
                    <a:pt x="9957" y="5070"/>
                  </a:lnTo>
                  <a:lnTo>
                    <a:pt x="9977" y="5098"/>
                  </a:lnTo>
                  <a:lnTo>
                    <a:pt x="9998" y="5126"/>
                  </a:lnTo>
                  <a:lnTo>
                    <a:pt x="10020" y="5154"/>
                  </a:lnTo>
                  <a:lnTo>
                    <a:pt x="10043" y="5180"/>
                  </a:lnTo>
                  <a:lnTo>
                    <a:pt x="10067" y="5206"/>
                  </a:lnTo>
                  <a:lnTo>
                    <a:pt x="10092" y="5230"/>
                  </a:lnTo>
                  <a:lnTo>
                    <a:pt x="10117" y="5254"/>
                  </a:lnTo>
                  <a:lnTo>
                    <a:pt x="10143" y="5279"/>
                  </a:lnTo>
                  <a:lnTo>
                    <a:pt x="10169" y="5301"/>
                  </a:lnTo>
                  <a:lnTo>
                    <a:pt x="10196" y="5323"/>
                  </a:lnTo>
                  <a:lnTo>
                    <a:pt x="10224" y="5344"/>
                  </a:lnTo>
                  <a:lnTo>
                    <a:pt x="10254" y="5364"/>
                  </a:lnTo>
                  <a:lnTo>
                    <a:pt x="10282" y="5383"/>
                  </a:lnTo>
                  <a:lnTo>
                    <a:pt x="10312" y="5401"/>
                  </a:lnTo>
                  <a:lnTo>
                    <a:pt x="10342" y="5420"/>
                  </a:lnTo>
                  <a:lnTo>
                    <a:pt x="10373" y="5436"/>
                  </a:lnTo>
                  <a:lnTo>
                    <a:pt x="10404" y="5452"/>
                  </a:lnTo>
                  <a:lnTo>
                    <a:pt x="10437" y="5467"/>
                  </a:lnTo>
                  <a:lnTo>
                    <a:pt x="10469" y="5480"/>
                  </a:lnTo>
                  <a:lnTo>
                    <a:pt x="10502" y="5493"/>
                  </a:lnTo>
                  <a:lnTo>
                    <a:pt x="10535" y="5505"/>
                  </a:lnTo>
                  <a:lnTo>
                    <a:pt x="10569" y="5516"/>
                  </a:lnTo>
                  <a:lnTo>
                    <a:pt x="10604" y="5526"/>
                  </a:lnTo>
                  <a:lnTo>
                    <a:pt x="10638" y="5535"/>
                  </a:lnTo>
                  <a:lnTo>
                    <a:pt x="10673" y="5543"/>
                  </a:lnTo>
                  <a:lnTo>
                    <a:pt x="10708" y="5551"/>
                  </a:lnTo>
                  <a:lnTo>
                    <a:pt x="10744" y="5557"/>
                  </a:lnTo>
                  <a:lnTo>
                    <a:pt x="14933" y="6180"/>
                  </a:lnTo>
                  <a:lnTo>
                    <a:pt x="11864" y="9250"/>
                  </a:lnTo>
                  <a:close/>
                  <a:moveTo>
                    <a:pt x="16035" y="5820"/>
                  </a:moveTo>
                  <a:lnTo>
                    <a:pt x="16022" y="5783"/>
                  </a:lnTo>
                  <a:lnTo>
                    <a:pt x="16006" y="5746"/>
                  </a:lnTo>
                  <a:lnTo>
                    <a:pt x="15990" y="5711"/>
                  </a:lnTo>
                  <a:lnTo>
                    <a:pt x="15973" y="5675"/>
                  </a:lnTo>
                  <a:lnTo>
                    <a:pt x="15954" y="5640"/>
                  </a:lnTo>
                  <a:lnTo>
                    <a:pt x="15935" y="5607"/>
                  </a:lnTo>
                  <a:lnTo>
                    <a:pt x="15914" y="5574"/>
                  </a:lnTo>
                  <a:lnTo>
                    <a:pt x="15892" y="5541"/>
                  </a:lnTo>
                  <a:lnTo>
                    <a:pt x="15869" y="5509"/>
                  </a:lnTo>
                  <a:lnTo>
                    <a:pt x="15846" y="5479"/>
                  </a:lnTo>
                  <a:lnTo>
                    <a:pt x="15820" y="5449"/>
                  </a:lnTo>
                  <a:lnTo>
                    <a:pt x="15794" y="5421"/>
                  </a:lnTo>
                  <a:lnTo>
                    <a:pt x="15767" y="5392"/>
                  </a:lnTo>
                  <a:lnTo>
                    <a:pt x="15739" y="5365"/>
                  </a:lnTo>
                  <a:lnTo>
                    <a:pt x="15711" y="5339"/>
                  </a:lnTo>
                  <a:lnTo>
                    <a:pt x="15681" y="5314"/>
                  </a:lnTo>
                  <a:lnTo>
                    <a:pt x="15650" y="5290"/>
                  </a:lnTo>
                  <a:lnTo>
                    <a:pt x="15619" y="5266"/>
                  </a:lnTo>
                  <a:lnTo>
                    <a:pt x="15587" y="5244"/>
                  </a:lnTo>
                  <a:lnTo>
                    <a:pt x="15554" y="5223"/>
                  </a:lnTo>
                  <a:lnTo>
                    <a:pt x="15521" y="5203"/>
                  </a:lnTo>
                  <a:lnTo>
                    <a:pt x="15485" y="5184"/>
                  </a:lnTo>
                  <a:lnTo>
                    <a:pt x="15450" y="5166"/>
                  </a:lnTo>
                  <a:lnTo>
                    <a:pt x="15415" y="5150"/>
                  </a:lnTo>
                  <a:lnTo>
                    <a:pt x="15379" y="5133"/>
                  </a:lnTo>
                  <a:lnTo>
                    <a:pt x="15342" y="5119"/>
                  </a:lnTo>
                  <a:lnTo>
                    <a:pt x="15304" y="5106"/>
                  </a:lnTo>
                  <a:lnTo>
                    <a:pt x="15266" y="5094"/>
                  </a:lnTo>
                  <a:lnTo>
                    <a:pt x="15227" y="5084"/>
                  </a:lnTo>
                  <a:lnTo>
                    <a:pt x="15188" y="5075"/>
                  </a:lnTo>
                  <a:lnTo>
                    <a:pt x="15148" y="5067"/>
                  </a:lnTo>
                  <a:lnTo>
                    <a:pt x="15108" y="5060"/>
                  </a:lnTo>
                  <a:lnTo>
                    <a:pt x="10920" y="4436"/>
                  </a:lnTo>
                  <a:lnTo>
                    <a:pt x="9100" y="652"/>
                  </a:lnTo>
                  <a:lnTo>
                    <a:pt x="9081" y="615"/>
                  </a:lnTo>
                  <a:lnTo>
                    <a:pt x="9061" y="579"/>
                  </a:lnTo>
                  <a:lnTo>
                    <a:pt x="9040" y="544"/>
                  </a:lnTo>
                  <a:lnTo>
                    <a:pt x="9018" y="510"/>
                  </a:lnTo>
                  <a:lnTo>
                    <a:pt x="8995" y="476"/>
                  </a:lnTo>
                  <a:lnTo>
                    <a:pt x="8970" y="444"/>
                  </a:lnTo>
                  <a:lnTo>
                    <a:pt x="8945" y="413"/>
                  </a:lnTo>
                  <a:lnTo>
                    <a:pt x="8918" y="383"/>
                  </a:lnTo>
                  <a:lnTo>
                    <a:pt x="8890" y="353"/>
                  </a:lnTo>
                  <a:lnTo>
                    <a:pt x="8861" y="324"/>
                  </a:lnTo>
                  <a:lnTo>
                    <a:pt x="8832" y="297"/>
                  </a:lnTo>
                  <a:lnTo>
                    <a:pt x="8802" y="271"/>
                  </a:lnTo>
                  <a:lnTo>
                    <a:pt x="8770" y="246"/>
                  </a:lnTo>
                  <a:lnTo>
                    <a:pt x="8738" y="222"/>
                  </a:lnTo>
                  <a:lnTo>
                    <a:pt x="8704" y="198"/>
                  </a:lnTo>
                  <a:lnTo>
                    <a:pt x="8671" y="177"/>
                  </a:lnTo>
                  <a:lnTo>
                    <a:pt x="8636" y="156"/>
                  </a:lnTo>
                  <a:lnTo>
                    <a:pt x="8601" y="137"/>
                  </a:lnTo>
                  <a:lnTo>
                    <a:pt x="8565" y="119"/>
                  </a:lnTo>
                  <a:lnTo>
                    <a:pt x="8528" y="102"/>
                  </a:lnTo>
                  <a:lnTo>
                    <a:pt x="8491" y="86"/>
                  </a:lnTo>
                  <a:lnTo>
                    <a:pt x="8453" y="72"/>
                  </a:lnTo>
                  <a:lnTo>
                    <a:pt x="8415" y="57"/>
                  </a:lnTo>
                  <a:lnTo>
                    <a:pt x="8375" y="46"/>
                  </a:lnTo>
                  <a:lnTo>
                    <a:pt x="8335" y="35"/>
                  </a:lnTo>
                  <a:lnTo>
                    <a:pt x="8296" y="26"/>
                  </a:lnTo>
                  <a:lnTo>
                    <a:pt x="8255" y="18"/>
                  </a:lnTo>
                  <a:lnTo>
                    <a:pt x="8214" y="12"/>
                  </a:lnTo>
                  <a:lnTo>
                    <a:pt x="8173" y="7"/>
                  </a:lnTo>
                  <a:lnTo>
                    <a:pt x="8131" y="3"/>
                  </a:lnTo>
                  <a:lnTo>
                    <a:pt x="8090" y="1"/>
                  </a:lnTo>
                  <a:lnTo>
                    <a:pt x="8048" y="0"/>
                  </a:lnTo>
                  <a:lnTo>
                    <a:pt x="8005" y="1"/>
                  </a:lnTo>
                  <a:lnTo>
                    <a:pt x="7963" y="3"/>
                  </a:lnTo>
                  <a:lnTo>
                    <a:pt x="7922" y="7"/>
                  </a:lnTo>
                  <a:lnTo>
                    <a:pt x="7881" y="12"/>
                  </a:lnTo>
                  <a:lnTo>
                    <a:pt x="7840" y="18"/>
                  </a:lnTo>
                  <a:lnTo>
                    <a:pt x="7799" y="26"/>
                  </a:lnTo>
                  <a:lnTo>
                    <a:pt x="7760" y="35"/>
                  </a:lnTo>
                  <a:lnTo>
                    <a:pt x="7720" y="46"/>
                  </a:lnTo>
                  <a:lnTo>
                    <a:pt x="7681" y="57"/>
                  </a:lnTo>
                  <a:lnTo>
                    <a:pt x="7642" y="72"/>
                  </a:lnTo>
                  <a:lnTo>
                    <a:pt x="7605" y="86"/>
                  </a:lnTo>
                  <a:lnTo>
                    <a:pt x="7567" y="102"/>
                  </a:lnTo>
                  <a:lnTo>
                    <a:pt x="7530" y="119"/>
                  </a:lnTo>
                  <a:lnTo>
                    <a:pt x="7494" y="137"/>
                  </a:lnTo>
                  <a:lnTo>
                    <a:pt x="7459" y="156"/>
                  </a:lnTo>
                  <a:lnTo>
                    <a:pt x="7424" y="177"/>
                  </a:lnTo>
                  <a:lnTo>
                    <a:pt x="7391" y="198"/>
                  </a:lnTo>
                  <a:lnTo>
                    <a:pt x="7357" y="222"/>
                  </a:lnTo>
                  <a:lnTo>
                    <a:pt x="7325" y="246"/>
                  </a:lnTo>
                  <a:lnTo>
                    <a:pt x="7293" y="271"/>
                  </a:lnTo>
                  <a:lnTo>
                    <a:pt x="7263" y="297"/>
                  </a:lnTo>
                  <a:lnTo>
                    <a:pt x="7234" y="324"/>
                  </a:lnTo>
                  <a:lnTo>
                    <a:pt x="7205" y="353"/>
                  </a:lnTo>
                  <a:lnTo>
                    <a:pt x="7177" y="383"/>
                  </a:lnTo>
                  <a:lnTo>
                    <a:pt x="7150" y="413"/>
                  </a:lnTo>
                  <a:lnTo>
                    <a:pt x="7125" y="444"/>
                  </a:lnTo>
                  <a:lnTo>
                    <a:pt x="7100" y="476"/>
                  </a:lnTo>
                  <a:lnTo>
                    <a:pt x="7077" y="510"/>
                  </a:lnTo>
                  <a:lnTo>
                    <a:pt x="7055" y="544"/>
                  </a:lnTo>
                  <a:lnTo>
                    <a:pt x="7034" y="579"/>
                  </a:lnTo>
                  <a:lnTo>
                    <a:pt x="7013" y="615"/>
                  </a:lnTo>
                  <a:lnTo>
                    <a:pt x="6995" y="652"/>
                  </a:lnTo>
                  <a:lnTo>
                    <a:pt x="5175" y="4436"/>
                  </a:lnTo>
                  <a:lnTo>
                    <a:pt x="987" y="5060"/>
                  </a:lnTo>
                  <a:lnTo>
                    <a:pt x="947" y="5067"/>
                  </a:lnTo>
                  <a:lnTo>
                    <a:pt x="907" y="5075"/>
                  </a:lnTo>
                  <a:lnTo>
                    <a:pt x="868" y="5084"/>
                  </a:lnTo>
                  <a:lnTo>
                    <a:pt x="829" y="5094"/>
                  </a:lnTo>
                  <a:lnTo>
                    <a:pt x="791" y="5106"/>
                  </a:lnTo>
                  <a:lnTo>
                    <a:pt x="753" y="5119"/>
                  </a:lnTo>
                  <a:lnTo>
                    <a:pt x="716" y="5133"/>
                  </a:lnTo>
                  <a:lnTo>
                    <a:pt x="680" y="5150"/>
                  </a:lnTo>
                  <a:lnTo>
                    <a:pt x="644" y="5166"/>
                  </a:lnTo>
                  <a:lnTo>
                    <a:pt x="610" y="5184"/>
                  </a:lnTo>
                  <a:lnTo>
                    <a:pt x="574" y="5203"/>
                  </a:lnTo>
                  <a:lnTo>
                    <a:pt x="541" y="5223"/>
                  </a:lnTo>
                  <a:lnTo>
                    <a:pt x="508" y="5244"/>
                  </a:lnTo>
                  <a:lnTo>
                    <a:pt x="476" y="5266"/>
                  </a:lnTo>
                  <a:lnTo>
                    <a:pt x="445" y="5290"/>
                  </a:lnTo>
                  <a:lnTo>
                    <a:pt x="414" y="5314"/>
                  </a:lnTo>
                  <a:lnTo>
                    <a:pt x="384" y="5339"/>
                  </a:lnTo>
                  <a:lnTo>
                    <a:pt x="356" y="5365"/>
                  </a:lnTo>
                  <a:lnTo>
                    <a:pt x="328" y="5392"/>
                  </a:lnTo>
                  <a:lnTo>
                    <a:pt x="301" y="5421"/>
                  </a:lnTo>
                  <a:lnTo>
                    <a:pt x="275" y="5449"/>
                  </a:lnTo>
                  <a:lnTo>
                    <a:pt x="250" y="5479"/>
                  </a:lnTo>
                  <a:lnTo>
                    <a:pt x="226" y="5509"/>
                  </a:lnTo>
                  <a:lnTo>
                    <a:pt x="203" y="5541"/>
                  </a:lnTo>
                  <a:lnTo>
                    <a:pt x="181" y="5574"/>
                  </a:lnTo>
                  <a:lnTo>
                    <a:pt x="160" y="5607"/>
                  </a:lnTo>
                  <a:lnTo>
                    <a:pt x="141" y="5640"/>
                  </a:lnTo>
                  <a:lnTo>
                    <a:pt x="122" y="5675"/>
                  </a:lnTo>
                  <a:lnTo>
                    <a:pt x="105" y="5711"/>
                  </a:lnTo>
                  <a:lnTo>
                    <a:pt x="89" y="5746"/>
                  </a:lnTo>
                  <a:lnTo>
                    <a:pt x="73" y="5783"/>
                  </a:lnTo>
                  <a:lnTo>
                    <a:pt x="60" y="5820"/>
                  </a:lnTo>
                  <a:lnTo>
                    <a:pt x="48" y="5859"/>
                  </a:lnTo>
                  <a:lnTo>
                    <a:pt x="37" y="5897"/>
                  </a:lnTo>
                  <a:lnTo>
                    <a:pt x="27" y="5935"/>
                  </a:lnTo>
                  <a:lnTo>
                    <a:pt x="20" y="5974"/>
                  </a:lnTo>
                  <a:lnTo>
                    <a:pt x="13" y="6012"/>
                  </a:lnTo>
                  <a:lnTo>
                    <a:pt x="8" y="6050"/>
                  </a:lnTo>
                  <a:lnTo>
                    <a:pt x="4" y="6089"/>
                  </a:lnTo>
                  <a:lnTo>
                    <a:pt x="1" y="6128"/>
                  </a:lnTo>
                  <a:lnTo>
                    <a:pt x="0" y="6167"/>
                  </a:lnTo>
                  <a:lnTo>
                    <a:pt x="0" y="6205"/>
                  </a:lnTo>
                  <a:lnTo>
                    <a:pt x="2" y="6244"/>
                  </a:lnTo>
                  <a:lnTo>
                    <a:pt x="5" y="6282"/>
                  </a:lnTo>
                  <a:lnTo>
                    <a:pt x="9" y="6320"/>
                  </a:lnTo>
                  <a:lnTo>
                    <a:pt x="14" y="6358"/>
                  </a:lnTo>
                  <a:lnTo>
                    <a:pt x="21" y="6396"/>
                  </a:lnTo>
                  <a:lnTo>
                    <a:pt x="29" y="6434"/>
                  </a:lnTo>
                  <a:lnTo>
                    <a:pt x="39" y="6471"/>
                  </a:lnTo>
                  <a:lnTo>
                    <a:pt x="49" y="6508"/>
                  </a:lnTo>
                  <a:lnTo>
                    <a:pt x="61" y="6545"/>
                  </a:lnTo>
                  <a:lnTo>
                    <a:pt x="74" y="6580"/>
                  </a:lnTo>
                  <a:lnTo>
                    <a:pt x="90" y="6616"/>
                  </a:lnTo>
                  <a:lnTo>
                    <a:pt x="106" y="6652"/>
                  </a:lnTo>
                  <a:lnTo>
                    <a:pt x="123" y="6687"/>
                  </a:lnTo>
                  <a:lnTo>
                    <a:pt x="141" y="6721"/>
                  </a:lnTo>
                  <a:lnTo>
                    <a:pt x="160" y="6754"/>
                  </a:lnTo>
                  <a:lnTo>
                    <a:pt x="181" y="6788"/>
                  </a:lnTo>
                  <a:lnTo>
                    <a:pt x="203" y="6820"/>
                  </a:lnTo>
                  <a:lnTo>
                    <a:pt x="225" y="6852"/>
                  </a:lnTo>
                  <a:lnTo>
                    <a:pt x="250" y="6883"/>
                  </a:lnTo>
                  <a:lnTo>
                    <a:pt x="276" y="6913"/>
                  </a:lnTo>
                  <a:lnTo>
                    <a:pt x="303" y="6943"/>
                  </a:lnTo>
                  <a:lnTo>
                    <a:pt x="330" y="6972"/>
                  </a:lnTo>
                  <a:lnTo>
                    <a:pt x="3399" y="10040"/>
                  </a:lnTo>
                  <a:lnTo>
                    <a:pt x="2688" y="14297"/>
                  </a:lnTo>
                  <a:lnTo>
                    <a:pt x="2682" y="14337"/>
                  </a:lnTo>
                  <a:lnTo>
                    <a:pt x="2677" y="14377"/>
                  </a:lnTo>
                  <a:lnTo>
                    <a:pt x="2674" y="14417"/>
                  </a:lnTo>
                  <a:lnTo>
                    <a:pt x="2673" y="14458"/>
                  </a:lnTo>
                  <a:lnTo>
                    <a:pt x="2673" y="14497"/>
                  </a:lnTo>
                  <a:lnTo>
                    <a:pt x="2674" y="14537"/>
                  </a:lnTo>
                  <a:lnTo>
                    <a:pt x="2677" y="14576"/>
                  </a:lnTo>
                  <a:lnTo>
                    <a:pt x="2681" y="14616"/>
                  </a:lnTo>
                  <a:lnTo>
                    <a:pt x="2686" y="14655"/>
                  </a:lnTo>
                  <a:lnTo>
                    <a:pt x="2693" y="14694"/>
                  </a:lnTo>
                  <a:lnTo>
                    <a:pt x="2701" y="14733"/>
                  </a:lnTo>
                  <a:lnTo>
                    <a:pt x="2711" y="14771"/>
                  </a:lnTo>
                  <a:lnTo>
                    <a:pt x="2722" y="14808"/>
                  </a:lnTo>
                  <a:lnTo>
                    <a:pt x="2734" y="14845"/>
                  </a:lnTo>
                  <a:lnTo>
                    <a:pt x="2747" y="14883"/>
                  </a:lnTo>
                  <a:lnTo>
                    <a:pt x="2762" y="14919"/>
                  </a:lnTo>
                  <a:lnTo>
                    <a:pt x="2778" y="14954"/>
                  </a:lnTo>
                  <a:lnTo>
                    <a:pt x="2797" y="14989"/>
                  </a:lnTo>
                  <a:lnTo>
                    <a:pt x="2815" y="15025"/>
                  </a:lnTo>
                  <a:lnTo>
                    <a:pt x="2835" y="15059"/>
                  </a:lnTo>
                  <a:lnTo>
                    <a:pt x="2856" y="15092"/>
                  </a:lnTo>
                  <a:lnTo>
                    <a:pt x="2878" y="15124"/>
                  </a:lnTo>
                  <a:lnTo>
                    <a:pt x="2902" y="15157"/>
                  </a:lnTo>
                  <a:lnTo>
                    <a:pt x="2926" y="15188"/>
                  </a:lnTo>
                  <a:lnTo>
                    <a:pt x="2952" y="15218"/>
                  </a:lnTo>
                  <a:lnTo>
                    <a:pt x="2980" y="15248"/>
                  </a:lnTo>
                  <a:lnTo>
                    <a:pt x="3008" y="15277"/>
                  </a:lnTo>
                  <a:lnTo>
                    <a:pt x="3037" y="15305"/>
                  </a:lnTo>
                  <a:lnTo>
                    <a:pt x="3067" y="15332"/>
                  </a:lnTo>
                  <a:lnTo>
                    <a:pt x="3098" y="15358"/>
                  </a:lnTo>
                  <a:lnTo>
                    <a:pt x="3131" y="15383"/>
                  </a:lnTo>
                  <a:lnTo>
                    <a:pt x="3165" y="15407"/>
                  </a:lnTo>
                  <a:lnTo>
                    <a:pt x="3203" y="15432"/>
                  </a:lnTo>
                  <a:lnTo>
                    <a:pt x="3241" y="15455"/>
                  </a:lnTo>
                  <a:lnTo>
                    <a:pt x="3280" y="15477"/>
                  </a:lnTo>
                  <a:lnTo>
                    <a:pt x="3321" y="15497"/>
                  </a:lnTo>
                  <a:lnTo>
                    <a:pt x="3361" y="15515"/>
                  </a:lnTo>
                  <a:lnTo>
                    <a:pt x="3402" y="15532"/>
                  </a:lnTo>
                  <a:lnTo>
                    <a:pt x="3444" y="15549"/>
                  </a:lnTo>
                  <a:lnTo>
                    <a:pt x="3487" y="15562"/>
                  </a:lnTo>
                  <a:lnTo>
                    <a:pt x="3529" y="15574"/>
                  </a:lnTo>
                  <a:lnTo>
                    <a:pt x="3572" y="15585"/>
                  </a:lnTo>
                  <a:lnTo>
                    <a:pt x="3615" y="15594"/>
                  </a:lnTo>
                  <a:lnTo>
                    <a:pt x="3659" y="15601"/>
                  </a:lnTo>
                  <a:lnTo>
                    <a:pt x="3702" y="15607"/>
                  </a:lnTo>
                  <a:lnTo>
                    <a:pt x="3746" y="15611"/>
                  </a:lnTo>
                  <a:lnTo>
                    <a:pt x="3790" y="15613"/>
                  </a:lnTo>
                  <a:lnTo>
                    <a:pt x="3834" y="15614"/>
                  </a:lnTo>
                  <a:lnTo>
                    <a:pt x="3870" y="15613"/>
                  </a:lnTo>
                  <a:lnTo>
                    <a:pt x="3906" y="15612"/>
                  </a:lnTo>
                  <a:lnTo>
                    <a:pt x="3942" y="15609"/>
                  </a:lnTo>
                  <a:lnTo>
                    <a:pt x="3978" y="15605"/>
                  </a:lnTo>
                  <a:lnTo>
                    <a:pt x="4015" y="15600"/>
                  </a:lnTo>
                  <a:lnTo>
                    <a:pt x="4051" y="15594"/>
                  </a:lnTo>
                  <a:lnTo>
                    <a:pt x="4086" y="15587"/>
                  </a:lnTo>
                  <a:lnTo>
                    <a:pt x="4121" y="15579"/>
                  </a:lnTo>
                  <a:lnTo>
                    <a:pt x="4158" y="15570"/>
                  </a:lnTo>
                  <a:lnTo>
                    <a:pt x="4192" y="15559"/>
                  </a:lnTo>
                  <a:lnTo>
                    <a:pt x="4227" y="15548"/>
                  </a:lnTo>
                  <a:lnTo>
                    <a:pt x="4261" y="15534"/>
                  </a:lnTo>
                  <a:lnTo>
                    <a:pt x="4295" y="15520"/>
                  </a:lnTo>
                  <a:lnTo>
                    <a:pt x="4330" y="15505"/>
                  </a:lnTo>
                  <a:lnTo>
                    <a:pt x="4363" y="15490"/>
                  </a:lnTo>
                  <a:lnTo>
                    <a:pt x="4396" y="15473"/>
                  </a:lnTo>
                  <a:lnTo>
                    <a:pt x="8048" y="13505"/>
                  </a:lnTo>
                  <a:lnTo>
                    <a:pt x="11699" y="15473"/>
                  </a:lnTo>
                  <a:lnTo>
                    <a:pt x="11732" y="15490"/>
                  </a:lnTo>
                  <a:lnTo>
                    <a:pt x="11765" y="15505"/>
                  </a:lnTo>
                  <a:lnTo>
                    <a:pt x="11800" y="15520"/>
                  </a:lnTo>
                  <a:lnTo>
                    <a:pt x="11834" y="15534"/>
                  </a:lnTo>
                  <a:lnTo>
                    <a:pt x="11868" y="15548"/>
                  </a:lnTo>
                  <a:lnTo>
                    <a:pt x="11903" y="15559"/>
                  </a:lnTo>
                  <a:lnTo>
                    <a:pt x="11938" y="15570"/>
                  </a:lnTo>
                  <a:lnTo>
                    <a:pt x="11974" y="15579"/>
                  </a:lnTo>
                  <a:lnTo>
                    <a:pt x="12009" y="15587"/>
                  </a:lnTo>
                  <a:lnTo>
                    <a:pt x="12044" y="15594"/>
                  </a:lnTo>
                  <a:lnTo>
                    <a:pt x="12080" y="15600"/>
                  </a:lnTo>
                  <a:lnTo>
                    <a:pt x="12117" y="15605"/>
                  </a:lnTo>
                  <a:lnTo>
                    <a:pt x="12153" y="15609"/>
                  </a:lnTo>
                  <a:lnTo>
                    <a:pt x="12189" y="15612"/>
                  </a:lnTo>
                  <a:lnTo>
                    <a:pt x="12224" y="15613"/>
                  </a:lnTo>
                  <a:lnTo>
                    <a:pt x="12260" y="15614"/>
                  </a:lnTo>
                  <a:lnTo>
                    <a:pt x="12305" y="15613"/>
                  </a:lnTo>
                  <a:lnTo>
                    <a:pt x="12349" y="15611"/>
                  </a:lnTo>
                  <a:lnTo>
                    <a:pt x="12393" y="15607"/>
                  </a:lnTo>
                  <a:lnTo>
                    <a:pt x="12436" y="15601"/>
                  </a:lnTo>
                  <a:lnTo>
                    <a:pt x="12480" y="15594"/>
                  </a:lnTo>
                  <a:lnTo>
                    <a:pt x="12523" y="15585"/>
                  </a:lnTo>
                  <a:lnTo>
                    <a:pt x="12566" y="15574"/>
                  </a:lnTo>
                  <a:lnTo>
                    <a:pt x="12608" y="15562"/>
                  </a:lnTo>
                  <a:lnTo>
                    <a:pt x="12651" y="15549"/>
                  </a:lnTo>
                  <a:lnTo>
                    <a:pt x="12693" y="15532"/>
                  </a:lnTo>
                  <a:lnTo>
                    <a:pt x="12734" y="15515"/>
                  </a:lnTo>
                  <a:lnTo>
                    <a:pt x="12774" y="15497"/>
                  </a:lnTo>
                  <a:lnTo>
                    <a:pt x="12815" y="15477"/>
                  </a:lnTo>
                  <a:lnTo>
                    <a:pt x="12854" y="15455"/>
                  </a:lnTo>
                  <a:lnTo>
                    <a:pt x="12893" y="15432"/>
                  </a:lnTo>
                  <a:lnTo>
                    <a:pt x="12930" y="15407"/>
                  </a:lnTo>
                  <a:lnTo>
                    <a:pt x="12965" y="15383"/>
                  </a:lnTo>
                  <a:lnTo>
                    <a:pt x="12997" y="15358"/>
                  </a:lnTo>
                  <a:lnTo>
                    <a:pt x="13028" y="15332"/>
                  </a:lnTo>
                  <a:lnTo>
                    <a:pt x="13058" y="15305"/>
                  </a:lnTo>
                  <a:lnTo>
                    <a:pt x="13087" y="15277"/>
                  </a:lnTo>
                  <a:lnTo>
                    <a:pt x="13115" y="15248"/>
                  </a:lnTo>
                  <a:lnTo>
                    <a:pt x="13143" y="15218"/>
                  </a:lnTo>
                  <a:lnTo>
                    <a:pt x="13169" y="15188"/>
                  </a:lnTo>
                  <a:lnTo>
                    <a:pt x="13194" y="15157"/>
                  </a:lnTo>
                  <a:lnTo>
                    <a:pt x="13217" y="15124"/>
                  </a:lnTo>
                  <a:lnTo>
                    <a:pt x="13239" y="15092"/>
                  </a:lnTo>
                  <a:lnTo>
                    <a:pt x="13260" y="15059"/>
                  </a:lnTo>
                  <a:lnTo>
                    <a:pt x="13280" y="15025"/>
                  </a:lnTo>
                  <a:lnTo>
                    <a:pt x="13298" y="14989"/>
                  </a:lnTo>
                  <a:lnTo>
                    <a:pt x="13317" y="14954"/>
                  </a:lnTo>
                  <a:lnTo>
                    <a:pt x="13333" y="14919"/>
                  </a:lnTo>
                  <a:lnTo>
                    <a:pt x="13347" y="14883"/>
                  </a:lnTo>
                  <a:lnTo>
                    <a:pt x="13361" y="14845"/>
                  </a:lnTo>
                  <a:lnTo>
                    <a:pt x="13373" y="14808"/>
                  </a:lnTo>
                  <a:lnTo>
                    <a:pt x="13384" y="14771"/>
                  </a:lnTo>
                  <a:lnTo>
                    <a:pt x="13394" y="14733"/>
                  </a:lnTo>
                  <a:lnTo>
                    <a:pt x="13402" y="14694"/>
                  </a:lnTo>
                  <a:lnTo>
                    <a:pt x="13409" y="14655"/>
                  </a:lnTo>
                  <a:lnTo>
                    <a:pt x="13414" y="14616"/>
                  </a:lnTo>
                  <a:lnTo>
                    <a:pt x="13418" y="14576"/>
                  </a:lnTo>
                  <a:lnTo>
                    <a:pt x="13421" y="14537"/>
                  </a:lnTo>
                  <a:lnTo>
                    <a:pt x="13422" y="14497"/>
                  </a:lnTo>
                  <a:lnTo>
                    <a:pt x="13422" y="14458"/>
                  </a:lnTo>
                  <a:lnTo>
                    <a:pt x="13421" y="14417"/>
                  </a:lnTo>
                  <a:lnTo>
                    <a:pt x="13418" y="14377"/>
                  </a:lnTo>
                  <a:lnTo>
                    <a:pt x="13413" y="14337"/>
                  </a:lnTo>
                  <a:lnTo>
                    <a:pt x="13407" y="14297"/>
                  </a:lnTo>
                  <a:lnTo>
                    <a:pt x="12695" y="10040"/>
                  </a:lnTo>
                  <a:lnTo>
                    <a:pt x="15765" y="6972"/>
                  </a:lnTo>
                  <a:lnTo>
                    <a:pt x="15793" y="6943"/>
                  </a:lnTo>
                  <a:lnTo>
                    <a:pt x="15819" y="6913"/>
                  </a:lnTo>
                  <a:lnTo>
                    <a:pt x="15845" y="6883"/>
                  </a:lnTo>
                  <a:lnTo>
                    <a:pt x="15870" y="6852"/>
                  </a:lnTo>
                  <a:lnTo>
                    <a:pt x="15893" y="6820"/>
                  </a:lnTo>
                  <a:lnTo>
                    <a:pt x="15914" y="6788"/>
                  </a:lnTo>
                  <a:lnTo>
                    <a:pt x="15935" y="6754"/>
                  </a:lnTo>
                  <a:lnTo>
                    <a:pt x="15954" y="6721"/>
                  </a:lnTo>
                  <a:lnTo>
                    <a:pt x="15973" y="6687"/>
                  </a:lnTo>
                  <a:lnTo>
                    <a:pt x="15989" y="6652"/>
                  </a:lnTo>
                  <a:lnTo>
                    <a:pt x="16005" y="6616"/>
                  </a:lnTo>
                  <a:lnTo>
                    <a:pt x="16021" y="6580"/>
                  </a:lnTo>
                  <a:lnTo>
                    <a:pt x="16034" y="6545"/>
                  </a:lnTo>
                  <a:lnTo>
                    <a:pt x="16046" y="6508"/>
                  </a:lnTo>
                  <a:lnTo>
                    <a:pt x="16056" y="6471"/>
                  </a:lnTo>
                  <a:lnTo>
                    <a:pt x="16066" y="6434"/>
                  </a:lnTo>
                  <a:lnTo>
                    <a:pt x="16074" y="6396"/>
                  </a:lnTo>
                  <a:lnTo>
                    <a:pt x="16080" y="6358"/>
                  </a:lnTo>
                  <a:lnTo>
                    <a:pt x="16086" y="6320"/>
                  </a:lnTo>
                  <a:lnTo>
                    <a:pt x="16090" y="6282"/>
                  </a:lnTo>
                  <a:lnTo>
                    <a:pt x="16093" y="6244"/>
                  </a:lnTo>
                  <a:lnTo>
                    <a:pt x="16095" y="6205"/>
                  </a:lnTo>
                  <a:lnTo>
                    <a:pt x="16095" y="6167"/>
                  </a:lnTo>
                  <a:lnTo>
                    <a:pt x="16094" y="6128"/>
                  </a:lnTo>
                  <a:lnTo>
                    <a:pt x="16091" y="6089"/>
                  </a:lnTo>
                  <a:lnTo>
                    <a:pt x="16087" y="6050"/>
                  </a:lnTo>
                  <a:lnTo>
                    <a:pt x="16082" y="6012"/>
                  </a:lnTo>
                  <a:lnTo>
                    <a:pt x="16075" y="5974"/>
                  </a:lnTo>
                  <a:lnTo>
                    <a:pt x="16067" y="5935"/>
                  </a:lnTo>
                  <a:lnTo>
                    <a:pt x="16058" y="5897"/>
                  </a:lnTo>
                  <a:lnTo>
                    <a:pt x="16047" y="5859"/>
                  </a:lnTo>
                  <a:lnTo>
                    <a:pt x="16035" y="58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96" name="îŝḷíḋê">
              <a:extLst>
                <a:ext uri="{FF2B5EF4-FFF2-40B4-BE49-F238E27FC236}">
                  <a16:creationId xmlns:a16="http://schemas.microsoft.com/office/drawing/2014/main" id="{EA32E7B1-6A4D-4D84-B1B5-D266117CFED8}"/>
                </a:ext>
              </a:extLst>
            </p:cNvPr>
            <p:cNvSpPr/>
            <p:nvPr/>
          </p:nvSpPr>
          <p:spPr bwMode="auto">
            <a:xfrm>
              <a:off x="8795931" y="50286"/>
              <a:ext cx="265011" cy="190515"/>
            </a:xfrm>
            <a:custGeom>
              <a:avLst/>
              <a:gdLst>
                <a:gd name="T0" fmla="*/ 2486 w 16058"/>
                <a:gd name="T1" fmla="*/ 10403 h 11544"/>
                <a:gd name="T2" fmla="*/ 1591 w 16058"/>
                <a:gd name="T3" fmla="*/ 9798 h 11544"/>
                <a:gd name="T4" fmla="*/ 1075 w 16058"/>
                <a:gd name="T5" fmla="*/ 8845 h 11544"/>
                <a:gd name="T6" fmla="*/ 1034 w 16058"/>
                <a:gd name="T7" fmla="*/ 7911 h 11544"/>
                <a:gd name="T8" fmla="*/ 1269 w 16058"/>
                <a:gd name="T9" fmla="*/ 7227 h 11544"/>
                <a:gd name="T10" fmla="*/ 1712 w 16058"/>
                <a:gd name="T11" fmla="*/ 6654 h 11544"/>
                <a:gd name="T12" fmla="*/ 2311 w 16058"/>
                <a:gd name="T13" fmla="*/ 6236 h 11544"/>
                <a:gd name="T14" fmla="*/ 2677 w 16058"/>
                <a:gd name="T15" fmla="*/ 5951 h 11544"/>
                <a:gd name="T16" fmla="*/ 2739 w 16058"/>
                <a:gd name="T17" fmla="*/ 5626 h 11544"/>
                <a:gd name="T18" fmla="*/ 2564 w 16058"/>
                <a:gd name="T19" fmla="*/ 5102 h 11544"/>
                <a:gd name="T20" fmla="*/ 2509 w 16058"/>
                <a:gd name="T21" fmla="*/ 4790 h 11544"/>
                <a:gd name="T22" fmla="*/ 2634 w 16058"/>
                <a:gd name="T23" fmla="*/ 4225 h 11544"/>
                <a:gd name="T24" fmla="*/ 3014 w 16058"/>
                <a:gd name="T25" fmla="*/ 3763 h 11544"/>
                <a:gd name="T26" fmla="*/ 3573 w 16058"/>
                <a:gd name="T27" fmla="*/ 3528 h 11544"/>
                <a:gd name="T28" fmla="*/ 4022 w 16058"/>
                <a:gd name="T29" fmla="*/ 3524 h 11544"/>
                <a:gd name="T30" fmla="*/ 4410 w 16058"/>
                <a:gd name="T31" fmla="*/ 3616 h 11544"/>
                <a:gd name="T32" fmla="*/ 4822 w 16058"/>
                <a:gd name="T33" fmla="*/ 3718 h 11544"/>
                <a:gd name="T34" fmla="*/ 5077 w 16058"/>
                <a:gd name="T35" fmla="*/ 3578 h 11544"/>
                <a:gd name="T36" fmla="*/ 5304 w 16058"/>
                <a:gd name="T37" fmla="*/ 3154 h 11544"/>
                <a:gd name="T38" fmla="*/ 5986 w 16058"/>
                <a:gd name="T39" fmla="*/ 2112 h 11544"/>
                <a:gd name="T40" fmla="*/ 6970 w 16058"/>
                <a:gd name="T41" fmla="*/ 1377 h 11544"/>
                <a:gd name="T42" fmla="*/ 8153 w 16058"/>
                <a:gd name="T43" fmla="*/ 1025 h 11544"/>
                <a:gd name="T44" fmla="*/ 9661 w 16058"/>
                <a:gd name="T45" fmla="*/ 1190 h 11544"/>
                <a:gd name="T46" fmla="*/ 10994 w 16058"/>
                <a:gd name="T47" fmla="*/ 2023 h 11544"/>
                <a:gd name="T48" fmla="*/ 11831 w 16058"/>
                <a:gd name="T49" fmla="*/ 3370 h 11544"/>
                <a:gd name="T50" fmla="*/ 12046 w 16058"/>
                <a:gd name="T51" fmla="*/ 4561 h 11544"/>
                <a:gd name="T52" fmla="*/ 12173 w 16058"/>
                <a:gd name="T53" fmla="*/ 4853 h 11544"/>
                <a:gd name="T54" fmla="*/ 12517 w 16058"/>
                <a:gd name="T55" fmla="*/ 5002 h 11544"/>
                <a:gd name="T56" fmla="*/ 13610 w 16058"/>
                <a:gd name="T57" fmla="*/ 5356 h 11544"/>
                <a:gd name="T58" fmla="*/ 14494 w 16058"/>
                <a:gd name="T59" fmla="*/ 6116 h 11544"/>
                <a:gd name="T60" fmla="*/ 14988 w 16058"/>
                <a:gd name="T61" fmla="*/ 7177 h 11544"/>
                <a:gd name="T62" fmla="*/ 14968 w 16058"/>
                <a:gd name="T63" fmla="*/ 8469 h 11544"/>
                <a:gd name="T64" fmla="*/ 14337 w 16058"/>
                <a:gd name="T65" fmla="*/ 9634 h 11544"/>
                <a:gd name="T66" fmla="*/ 13243 w 16058"/>
                <a:gd name="T67" fmla="*/ 10372 h 11544"/>
                <a:gd name="T68" fmla="*/ 12944 w 16058"/>
                <a:gd name="T69" fmla="*/ 3664 h 11544"/>
                <a:gd name="T70" fmla="*/ 12111 w 16058"/>
                <a:gd name="T71" fmla="*/ 1788 h 11544"/>
                <a:gd name="T72" fmla="*/ 10564 w 16058"/>
                <a:gd name="T73" fmla="*/ 487 h 11544"/>
                <a:gd name="T74" fmla="*/ 8531 w 16058"/>
                <a:gd name="T75" fmla="*/ 0 h 11544"/>
                <a:gd name="T76" fmla="*/ 6922 w 16058"/>
                <a:gd name="T77" fmla="*/ 297 h 11544"/>
                <a:gd name="T78" fmla="*/ 5572 w 16058"/>
                <a:gd name="T79" fmla="*/ 1115 h 11544"/>
                <a:gd name="T80" fmla="*/ 4587 w 16058"/>
                <a:gd name="T81" fmla="*/ 2341 h 11544"/>
                <a:gd name="T82" fmla="*/ 4112 w 16058"/>
                <a:gd name="T83" fmla="*/ 2541 h 11544"/>
                <a:gd name="T84" fmla="*/ 3533 w 16058"/>
                <a:gd name="T85" fmla="*/ 2521 h 11544"/>
                <a:gd name="T86" fmla="*/ 2501 w 16058"/>
                <a:gd name="T87" fmla="*/ 2896 h 11544"/>
                <a:gd name="T88" fmla="*/ 1778 w 16058"/>
                <a:gd name="T89" fmla="*/ 3692 h 11544"/>
                <a:gd name="T90" fmla="*/ 1505 w 16058"/>
                <a:gd name="T91" fmla="*/ 4768 h 11544"/>
                <a:gd name="T92" fmla="*/ 1558 w 16058"/>
                <a:gd name="T93" fmla="*/ 5217 h 11544"/>
                <a:gd name="T94" fmla="*/ 1281 w 16058"/>
                <a:gd name="T95" fmla="*/ 5706 h 11544"/>
                <a:gd name="T96" fmla="*/ 564 w 16058"/>
                <a:gd name="T97" fmla="*/ 6461 h 11544"/>
                <a:gd name="T98" fmla="*/ 118 w 16058"/>
                <a:gd name="T99" fmla="*/ 7414 h 11544"/>
                <a:gd name="T100" fmla="*/ 17 w 16058"/>
                <a:gd name="T101" fmla="*/ 8615 h 11544"/>
                <a:gd name="T102" fmla="*/ 557 w 16058"/>
                <a:gd name="T103" fmla="*/ 10106 h 11544"/>
                <a:gd name="T104" fmla="*/ 1707 w 16058"/>
                <a:gd name="T105" fmla="*/ 11150 h 11544"/>
                <a:gd name="T106" fmla="*/ 3262 w 16058"/>
                <a:gd name="T107" fmla="*/ 11543 h 11544"/>
                <a:gd name="T108" fmla="*/ 13589 w 16058"/>
                <a:gd name="T109" fmla="*/ 11315 h 11544"/>
                <a:gd name="T110" fmla="*/ 15080 w 16058"/>
                <a:gd name="T111" fmla="*/ 10310 h 11544"/>
                <a:gd name="T112" fmla="*/ 15940 w 16058"/>
                <a:gd name="T113" fmla="*/ 8720 h 11544"/>
                <a:gd name="T114" fmla="*/ 15965 w 16058"/>
                <a:gd name="T115" fmla="*/ 6945 h 11544"/>
                <a:gd name="T116" fmla="*/ 15283 w 16058"/>
                <a:gd name="T117" fmla="*/ 5493 h 11544"/>
                <a:gd name="T118" fmla="*/ 14075 w 16058"/>
                <a:gd name="T119" fmla="*/ 4467 h 11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058" h="11544">
                  <a:moveTo>
                    <a:pt x="12294" y="10539"/>
                  </a:moveTo>
                  <a:lnTo>
                    <a:pt x="12294" y="10540"/>
                  </a:lnTo>
                  <a:lnTo>
                    <a:pt x="3262" y="10540"/>
                  </a:lnTo>
                  <a:lnTo>
                    <a:pt x="3145" y="10537"/>
                  </a:lnTo>
                  <a:lnTo>
                    <a:pt x="3031" y="10528"/>
                  </a:lnTo>
                  <a:lnTo>
                    <a:pt x="2919" y="10514"/>
                  </a:lnTo>
                  <a:lnTo>
                    <a:pt x="2807" y="10494"/>
                  </a:lnTo>
                  <a:lnTo>
                    <a:pt x="2698" y="10469"/>
                  </a:lnTo>
                  <a:lnTo>
                    <a:pt x="2591" y="10438"/>
                  </a:lnTo>
                  <a:lnTo>
                    <a:pt x="2486" y="10403"/>
                  </a:lnTo>
                  <a:lnTo>
                    <a:pt x="2384" y="10363"/>
                  </a:lnTo>
                  <a:lnTo>
                    <a:pt x="2284" y="10316"/>
                  </a:lnTo>
                  <a:lnTo>
                    <a:pt x="2187" y="10267"/>
                  </a:lnTo>
                  <a:lnTo>
                    <a:pt x="2092" y="10212"/>
                  </a:lnTo>
                  <a:lnTo>
                    <a:pt x="2000" y="10154"/>
                  </a:lnTo>
                  <a:lnTo>
                    <a:pt x="1912" y="10091"/>
                  </a:lnTo>
                  <a:lnTo>
                    <a:pt x="1827" y="10023"/>
                  </a:lnTo>
                  <a:lnTo>
                    <a:pt x="1744" y="9952"/>
                  </a:lnTo>
                  <a:lnTo>
                    <a:pt x="1666" y="9878"/>
                  </a:lnTo>
                  <a:lnTo>
                    <a:pt x="1591" y="9798"/>
                  </a:lnTo>
                  <a:lnTo>
                    <a:pt x="1520" y="9717"/>
                  </a:lnTo>
                  <a:lnTo>
                    <a:pt x="1453" y="9632"/>
                  </a:lnTo>
                  <a:lnTo>
                    <a:pt x="1390" y="9543"/>
                  </a:lnTo>
                  <a:lnTo>
                    <a:pt x="1331" y="9451"/>
                  </a:lnTo>
                  <a:lnTo>
                    <a:pt x="1277" y="9357"/>
                  </a:lnTo>
                  <a:lnTo>
                    <a:pt x="1226" y="9259"/>
                  </a:lnTo>
                  <a:lnTo>
                    <a:pt x="1181" y="9159"/>
                  </a:lnTo>
                  <a:lnTo>
                    <a:pt x="1141" y="9057"/>
                  </a:lnTo>
                  <a:lnTo>
                    <a:pt x="1105" y="8952"/>
                  </a:lnTo>
                  <a:lnTo>
                    <a:pt x="1075" y="8845"/>
                  </a:lnTo>
                  <a:lnTo>
                    <a:pt x="1050" y="8736"/>
                  </a:lnTo>
                  <a:lnTo>
                    <a:pt x="1030" y="8624"/>
                  </a:lnTo>
                  <a:lnTo>
                    <a:pt x="1016" y="8512"/>
                  </a:lnTo>
                  <a:lnTo>
                    <a:pt x="1007" y="8397"/>
                  </a:lnTo>
                  <a:lnTo>
                    <a:pt x="1004" y="8281"/>
                  </a:lnTo>
                  <a:lnTo>
                    <a:pt x="1005" y="8207"/>
                  </a:lnTo>
                  <a:lnTo>
                    <a:pt x="1009" y="8131"/>
                  </a:lnTo>
                  <a:lnTo>
                    <a:pt x="1015" y="8057"/>
                  </a:lnTo>
                  <a:lnTo>
                    <a:pt x="1024" y="7984"/>
                  </a:lnTo>
                  <a:lnTo>
                    <a:pt x="1034" y="7911"/>
                  </a:lnTo>
                  <a:lnTo>
                    <a:pt x="1048" y="7839"/>
                  </a:lnTo>
                  <a:lnTo>
                    <a:pt x="1063" y="7768"/>
                  </a:lnTo>
                  <a:lnTo>
                    <a:pt x="1081" y="7697"/>
                  </a:lnTo>
                  <a:lnTo>
                    <a:pt x="1101" y="7627"/>
                  </a:lnTo>
                  <a:lnTo>
                    <a:pt x="1123" y="7558"/>
                  </a:lnTo>
                  <a:lnTo>
                    <a:pt x="1148" y="7490"/>
                  </a:lnTo>
                  <a:lnTo>
                    <a:pt x="1175" y="7423"/>
                  </a:lnTo>
                  <a:lnTo>
                    <a:pt x="1203" y="7356"/>
                  </a:lnTo>
                  <a:lnTo>
                    <a:pt x="1235" y="7291"/>
                  </a:lnTo>
                  <a:lnTo>
                    <a:pt x="1269" y="7227"/>
                  </a:lnTo>
                  <a:lnTo>
                    <a:pt x="1304" y="7165"/>
                  </a:lnTo>
                  <a:lnTo>
                    <a:pt x="1341" y="7102"/>
                  </a:lnTo>
                  <a:lnTo>
                    <a:pt x="1381" y="7041"/>
                  </a:lnTo>
                  <a:lnTo>
                    <a:pt x="1422" y="6982"/>
                  </a:lnTo>
                  <a:lnTo>
                    <a:pt x="1465" y="6924"/>
                  </a:lnTo>
                  <a:lnTo>
                    <a:pt x="1511" y="6867"/>
                  </a:lnTo>
                  <a:lnTo>
                    <a:pt x="1559" y="6811"/>
                  </a:lnTo>
                  <a:lnTo>
                    <a:pt x="1608" y="6757"/>
                  </a:lnTo>
                  <a:lnTo>
                    <a:pt x="1659" y="6705"/>
                  </a:lnTo>
                  <a:lnTo>
                    <a:pt x="1712" y="6654"/>
                  </a:lnTo>
                  <a:lnTo>
                    <a:pt x="1767" y="6604"/>
                  </a:lnTo>
                  <a:lnTo>
                    <a:pt x="1825" y="6555"/>
                  </a:lnTo>
                  <a:lnTo>
                    <a:pt x="1883" y="6509"/>
                  </a:lnTo>
                  <a:lnTo>
                    <a:pt x="1943" y="6464"/>
                  </a:lnTo>
                  <a:lnTo>
                    <a:pt x="2005" y="6421"/>
                  </a:lnTo>
                  <a:lnTo>
                    <a:pt x="2069" y="6380"/>
                  </a:lnTo>
                  <a:lnTo>
                    <a:pt x="2135" y="6341"/>
                  </a:lnTo>
                  <a:lnTo>
                    <a:pt x="2198" y="6304"/>
                  </a:lnTo>
                  <a:lnTo>
                    <a:pt x="2256" y="6269"/>
                  </a:lnTo>
                  <a:lnTo>
                    <a:pt x="2311" y="6236"/>
                  </a:lnTo>
                  <a:lnTo>
                    <a:pt x="2364" y="6205"/>
                  </a:lnTo>
                  <a:lnTo>
                    <a:pt x="2412" y="6174"/>
                  </a:lnTo>
                  <a:lnTo>
                    <a:pt x="2456" y="6145"/>
                  </a:lnTo>
                  <a:lnTo>
                    <a:pt x="2498" y="6116"/>
                  </a:lnTo>
                  <a:lnTo>
                    <a:pt x="2535" y="6088"/>
                  </a:lnTo>
                  <a:lnTo>
                    <a:pt x="2570" y="6061"/>
                  </a:lnTo>
                  <a:lnTo>
                    <a:pt x="2601" y="6033"/>
                  </a:lnTo>
                  <a:lnTo>
                    <a:pt x="2629" y="6006"/>
                  </a:lnTo>
                  <a:lnTo>
                    <a:pt x="2655" y="5979"/>
                  </a:lnTo>
                  <a:lnTo>
                    <a:pt x="2677" y="5951"/>
                  </a:lnTo>
                  <a:lnTo>
                    <a:pt x="2696" y="5923"/>
                  </a:lnTo>
                  <a:lnTo>
                    <a:pt x="2712" y="5895"/>
                  </a:lnTo>
                  <a:lnTo>
                    <a:pt x="2725" y="5866"/>
                  </a:lnTo>
                  <a:lnTo>
                    <a:pt x="2735" y="5836"/>
                  </a:lnTo>
                  <a:lnTo>
                    <a:pt x="2742" y="5805"/>
                  </a:lnTo>
                  <a:lnTo>
                    <a:pt x="2747" y="5773"/>
                  </a:lnTo>
                  <a:lnTo>
                    <a:pt x="2748" y="5738"/>
                  </a:lnTo>
                  <a:lnTo>
                    <a:pt x="2748" y="5703"/>
                  </a:lnTo>
                  <a:lnTo>
                    <a:pt x="2744" y="5665"/>
                  </a:lnTo>
                  <a:lnTo>
                    <a:pt x="2739" y="5626"/>
                  </a:lnTo>
                  <a:lnTo>
                    <a:pt x="2730" y="5585"/>
                  </a:lnTo>
                  <a:lnTo>
                    <a:pt x="2720" y="5542"/>
                  </a:lnTo>
                  <a:lnTo>
                    <a:pt x="2707" y="5495"/>
                  </a:lnTo>
                  <a:lnTo>
                    <a:pt x="2691" y="5446"/>
                  </a:lnTo>
                  <a:lnTo>
                    <a:pt x="2674" y="5395"/>
                  </a:lnTo>
                  <a:lnTo>
                    <a:pt x="2654" y="5340"/>
                  </a:lnTo>
                  <a:lnTo>
                    <a:pt x="2632" y="5282"/>
                  </a:lnTo>
                  <a:lnTo>
                    <a:pt x="2607" y="5220"/>
                  </a:lnTo>
                  <a:lnTo>
                    <a:pt x="2581" y="5156"/>
                  </a:lnTo>
                  <a:lnTo>
                    <a:pt x="2564" y="5102"/>
                  </a:lnTo>
                  <a:lnTo>
                    <a:pt x="2549" y="5050"/>
                  </a:lnTo>
                  <a:lnTo>
                    <a:pt x="2537" y="5000"/>
                  </a:lnTo>
                  <a:lnTo>
                    <a:pt x="2527" y="4950"/>
                  </a:lnTo>
                  <a:lnTo>
                    <a:pt x="2523" y="4926"/>
                  </a:lnTo>
                  <a:lnTo>
                    <a:pt x="2519" y="4903"/>
                  </a:lnTo>
                  <a:lnTo>
                    <a:pt x="2516" y="4880"/>
                  </a:lnTo>
                  <a:lnTo>
                    <a:pt x="2514" y="4857"/>
                  </a:lnTo>
                  <a:lnTo>
                    <a:pt x="2512" y="4834"/>
                  </a:lnTo>
                  <a:lnTo>
                    <a:pt x="2510" y="4812"/>
                  </a:lnTo>
                  <a:lnTo>
                    <a:pt x="2509" y="4790"/>
                  </a:lnTo>
                  <a:lnTo>
                    <a:pt x="2509" y="4768"/>
                  </a:lnTo>
                  <a:lnTo>
                    <a:pt x="2511" y="4704"/>
                  </a:lnTo>
                  <a:lnTo>
                    <a:pt x="2516" y="4640"/>
                  </a:lnTo>
                  <a:lnTo>
                    <a:pt x="2524" y="4577"/>
                  </a:lnTo>
                  <a:lnTo>
                    <a:pt x="2535" y="4516"/>
                  </a:lnTo>
                  <a:lnTo>
                    <a:pt x="2549" y="4455"/>
                  </a:lnTo>
                  <a:lnTo>
                    <a:pt x="2565" y="4395"/>
                  </a:lnTo>
                  <a:lnTo>
                    <a:pt x="2585" y="4337"/>
                  </a:lnTo>
                  <a:lnTo>
                    <a:pt x="2608" y="4280"/>
                  </a:lnTo>
                  <a:lnTo>
                    <a:pt x="2634" y="4225"/>
                  </a:lnTo>
                  <a:lnTo>
                    <a:pt x="2661" y="4171"/>
                  </a:lnTo>
                  <a:lnTo>
                    <a:pt x="2691" y="4118"/>
                  </a:lnTo>
                  <a:lnTo>
                    <a:pt x="2724" y="4067"/>
                  </a:lnTo>
                  <a:lnTo>
                    <a:pt x="2759" y="4018"/>
                  </a:lnTo>
                  <a:lnTo>
                    <a:pt x="2796" y="3971"/>
                  </a:lnTo>
                  <a:lnTo>
                    <a:pt x="2835" y="3925"/>
                  </a:lnTo>
                  <a:lnTo>
                    <a:pt x="2877" y="3881"/>
                  </a:lnTo>
                  <a:lnTo>
                    <a:pt x="2921" y="3839"/>
                  </a:lnTo>
                  <a:lnTo>
                    <a:pt x="2966" y="3800"/>
                  </a:lnTo>
                  <a:lnTo>
                    <a:pt x="3014" y="3763"/>
                  </a:lnTo>
                  <a:lnTo>
                    <a:pt x="3063" y="3728"/>
                  </a:lnTo>
                  <a:lnTo>
                    <a:pt x="3113" y="3696"/>
                  </a:lnTo>
                  <a:lnTo>
                    <a:pt x="3166" y="3665"/>
                  </a:lnTo>
                  <a:lnTo>
                    <a:pt x="3221" y="3638"/>
                  </a:lnTo>
                  <a:lnTo>
                    <a:pt x="3276" y="3612"/>
                  </a:lnTo>
                  <a:lnTo>
                    <a:pt x="3333" y="3589"/>
                  </a:lnTo>
                  <a:lnTo>
                    <a:pt x="3391" y="3570"/>
                  </a:lnTo>
                  <a:lnTo>
                    <a:pt x="3450" y="3553"/>
                  </a:lnTo>
                  <a:lnTo>
                    <a:pt x="3512" y="3539"/>
                  </a:lnTo>
                  <a:lnTo>
                    <a:pt x="3573" y="3528"/>
                  </a:lnTo>
                  <a:lnTo>
                    <a:pt x="3636" y="3520"/>
                  </a:lnTo>
                  <a:lnTo>
                    <a:pt x="3699" y="3515"/>
                  </a:lnTo>
                  <a:lnTo>
                    <a:pt x="3764" y="3513"/>
                  </a:lnTo>
                  <a:lnTo>
                    <a:pt x="3779" y="3513"/>
                  </a:lnTo>
                  <a:lnTo>
                    <a:pt x="3821" y="3512"/>
                  </a:lnTo>
                  <a:lnTo>
                    <a:pt x="3851" y="3512"/>
                  </a:lnTo>
                  <a:lnTo>
                    <a:pt x="3886" y="3513"/>
                  </a:lnTo>
                  <a:lnTo>
                    <a:pt x="3927" y="3515"/>
                  </a:lnTo>
                  <a:lnTo>
                    <a:pt x="3972" y="3519"/>
                  </a:lnTo>
                  <a:lnTo>
                    <a:pt x="4022" y="3524"/>
                  </a:lnTo>
                  <a:lnTo>
                    <a:pt x="4074" y="3531"/>
                  </a:lnTo>
                  <a:lnTo>
                    <a:pt x="4130" y="3540"/>
                  </a:lnTo>
                  <a:lnTo>
                    <a:pt x="4189" y="3552"/>
                  </a:lnTo>
                  <a:lnTo>
                    <a:pt x="4219" y="3559"/>
                  </a:lnTo>
                  <a:lnTo>
                    <a:pt x="4250" y="3566"/>
                  </a:lnTo>
                  <a:lnTo>
                    <a:pt x="4281" y="3575"/>
                  </a:lnTo>
                  <a:lnTo>
                    <a:pt x="4314" y="3584"/>
                  </a:lnTo>
                  <a:lnTo>
                    <a:pt x="4345" y="3594"/>
                  </a:lnTo>
                  <a:lnTo>
                    <a:pt x="4378" y="3604"/>
                  </a:lnTo>
                  <a:lnTo>
                    <a:pt x="4410" y="3616"/>
                  </a:lnTo>
                  <a:lnTo>
                    <a:pt x="4443" y="3629"/>
                  </a:lnTo>
                  <a:lnTo>
                    <a:pt x="4495" y="3649"/>
                  </a:lnTo>
                  <a:lnTo>
                    <a:pt x="4544" y="3667"/>
                  </a:lnTo>
                  <a:lnTo>
                    <a:pt x="4592" y="3682"/>
                  </a:lnTo>
                  <a:lnTo>
                    <a:pt x="4636" y="3694"/>
                  </a:lnTo>
                  <a:lnTo>
                    <a:pt x="4678" y="3704"/>
                  </a:lnTo>
                  <a:lnTo>
                    <a:pt x="4717" y="3711"/>
                  </a:lnTo>
                  <a:lnTo>
                    <a:pt x="4754" y="3716"/>
                  </a:lnTo>
                  <a:lnTo>
                    <a:pt x="4789" y="3718"/>
                  </a:lnTo>
                  <a:lnTo>
                    <a:pt x="4822" y="3718"/>
                  </a:lnTo>
                  <a:lnTo>
                    <a:pt x="4855" y="3715"/>
                  </a:lnTo>
                  <a:lnTo>
                    <a:pt x="4884" y="3710"/>
                  </a:lnTo>
                  <a:lnTo>
                    <a:pt x="4912" y="3702"/>
                  </a:lnTo>
                  <a:lnTo>
                    <a:pt x="4939" y="3692"/>
                  </a:lnTo>
                  <a:lnTo>
                    <a:pt x="4964" y="3679"/>
                  </a:lnTo>
                  <a:lnTo>
                    <a:pt x="4989" y="3664"/>
                  </a:lnTo>
                  <a:lnTo>
                    <a:pt x="5012" y="3646"/>
                  </a:lnTo>
                  <a:lnTo>
                    <a:pt x="5034" y="3626"/>
                  </a:lnTo>
                  <a:lnTo>
                    <a:pt x="5056" y="3603"/>
                  </a:lnTo>
                  <a:lnTo>
                    <a:pt x="5077" y="3578"/>
                  </a:lnTo>
                  <a:lnTo>
                    <a:pt x="5097" y="3551"/>
                  </a:lnTo>
                  <a:lnTo>
                    <a:pt x="5117" y="3522"/>
                  </a:lnTo>
                  <a:lnTo>
                    <a:pt x="5138" y="3490"/>
                  </a:lnTo>
                  <a:lnTo>
                    <a:pt x="5158" y="3456"/>
                  </a:lnTo>
                  <a:lnTo>
                    <a:pt x="5177" y="3420"/>
                  </a:lnTo>
                  <a:lnTo>
                    <a:pt x="5197" y="3382"/>
                  </a:lnTo>
                  <a:lnTo>
                    <a:pt x="5218" y="3340"/>
                  </a:lnTo>
                  <a:lnTo>
                    <a:pt x="5238" y="3297"/>
                  </a:lnTo>
                  <a:lnTo>
                    <a:pt x="5260" y="3251"/>
                  </a:lnTo>
                  <a:lnTo>
                    <a:pt x="5304" y="3154"/>
                  </a:lnTo>
                  <a:lnTo>
                    <a:pt x="5353" y="3047"/>
                  </a:lnTo>
                  <a:lnTo>
                    <a:pt x="5409" y="2932"/>
                  </a:lnTo>
                  <a:lnTo>
                    <a:pt x="5469" y="2820"/>
                  </a:lnTo>
                  <a:lnTo>
                    <a:pt x="5532" y="2710"/>
                  </a:lnTo>
                  <a:lnTo>
                    <a:pt x="5599" y="2603"/>
                  </a:lnTo>
                  <a:lnTo>
                    <a:pt x="5669" y="2499"/>
                  </a:lnTo>
                  <a:lnTo>
                    <a:pt x="5744" y="2398"/>
                  </a:lnTo>
                  <a:lnTo>
                    <a:pt x="5821" y="2300"/>
                  </a:lnTo>
                  <a:lnTo>
                    <a:pt x="5902" y="2204"/>
                  </a:lnTo>
                  <a:lnTo>
                    <a:pt x="5986" y="2112"/>
                  </a:lnTo>
                  <a:lnTo>
                    <a:pt x="6072" y="2024"/>
                  </a:lnTo>
                  <a:lnTo>
                    <a:pt x="6161" y="1938"/>
                  </a:lnTo>
                  <a:lnTo>
                    <a:pt x="6255" y="1856"/>
                  </a:lnTo>
                  <a:lnTo>
                    <a:pt x="6349" y="1777"/>
                  </a:lnTo>
                  <a:lnTo>
                    <a:pt x="6447" y="1701"/>
                  </a:lnTo>
                  <a:lnTo>
                    <a:pt x="6547" y="1629"/>
                  </a:lnTo>
                  <a:lnTo>
                    <a:pt x="6650" y="1560"/>
                  </a:lnTo>
                  <a:lnTo>
                    <a:pt x="6754" y="1496"/>
                  </a:lnTo>
                  <a:lnTo>
                    <a:pt x="6862" y="1434"/>
                  </a:lnTo>
                  <a:lnTo>
                    <a:pt x="6970" y="1377"/>
                  </a:lnTo>
                  <a:lnTo>
                    <a:pt x="7082" y="1323"/>
                  </a:lnTo>
                  <a:lnTo>
                    <a:pt x="7195" y="1274"/>
                  </a:lnTo>
                  <a:lnTo>
                    <a:pt x="7309" y="1228"/>
                  </a:lnTo>
                  <a:lnTo>
                    <a:pt x="7426" y="1186"/>
                  </a:lnTo>
                  <a:lnTo>
                    <a:pt x="7543" y="1148"/>
                  </a:lnTo>
                  <a:lnTo>
                    <a:pt x="7663" y="1115"/>
                  </a:lnTo>
                  <a:lnTo>
                    <a:pt x="7784" y="1086"/>
                  </a:lnTo>
                  <a:lnTo>
                    <a:pt x="7906" y="1061"/>
                  </a:lnTo>
                  <a:lnTo>
                    <a:pt x="8029" y="1041"/>
                  </a:lnTo>
                  <a:lnTo>
                    <a:pt x="8153" y="1025"/>
                  </a:lnTo>
                  <a:lnTo>
                    <a:pt x="8278" y="1013"/>
                  </a:lnTo>
                  <a:lnTo>
                    <a:pt x="8404" y="1007"/>
                  </a:lnTo>
                  <a:lnTo>
                    <a:pt x="8531" y="1004"/>
                  </a:lnTo>
                  <a:lnTo>
                    <a:pt x="8699" y="1008"/>
                  </a:lnTo>
                  <a:lnTo>
                    <a:pt x="8866" y="1020"/>
                  </a:lnTo>
                  <a:lnTo>
                    <a:pt x="9030" y="1039"/>
                  </a:lnTo>
                  <a:lnTo>
                    <a:pt x="9192" y="1066"/>
                  </a:lnTo>
                  <a:lnTo>
                    <a:pt x="9351" y="1100"/>
                  </a:lnTo>
                  <a:lnTo>
                    <a:pt x="9507" y="1142"/>
                  </a:lnTo>
                  <a:lnTo>
                    <a:pt x="9661" y="1190"/>
                  </a:lnTo>
                  <a:lnTo>
                    <a:pt x="9811" y="1246"/>
                  </a:lnTo>
                  <a:lnTo>
                    <a:pt x="9959" y="1308"/>
                  </a:lnTo>
                  <a:lnTo>
                    <a:pt x="10102" y="1376"/>
                  </a:lnTo>
                  <a:lnTo>
                    <a:pt x="10242" y="1451"/>
                  </a:lnTo>
                  <a:lnTo>
                    <a:pt x="10378" y="1532"/>
                  </a:lnTo>
                  <a:lnTo>
                    <a:pt x="10510" y="1619"/>
                  </a:lnTo>
                  <a:lnTo>
                    <a:pt x="10638" y="1711"/>
                  </a:lnTo>
                  <a:lnTo>
                    <a:pt x="10761" y="1810"/>
                  </a:lnTo>
                  <a:lnTo>
                    <a:pt x="10880" y="1914"/>
                  </a:lnTo>
                  <a:lnTo>
                    <a:pt x="10994" y="2023"/>
                  </a:lnTo>
                  <a:lnTo>
                    <a:pt x="11103" y="2137"/>
                  </a:lnTo>
                  <a:lnTo>
                    <a:pt x="11207" y="2256"/>
                  </a:lnTo>
                  <a:lnTo>
                    <a:pt x="11306" y="2381"/>
                  </a:lnTo>
                  <a:lnTo>
                    <a:pt x="11398" y="2509"/>
                  </a:lnTo>
                  <a:lnTo>
                    <a:pt x="11486" y="2643"/>
                  </a:lnTo>
                  <a:lnTo>
                    <a:pt x="11568" y="2780"/>
                  </a:lnTo>
                  <a:lnTo>
                    <a:pt x="11643" y="2922"/>
                  </a:lnTo>
                  <a:lnTo>
                    <a:pt x="11712" y="3067"/>
                  </a:lnTo>
                  <a:lnTo>
                    <a:pt x="11775" y="3217"/>
                  </a:lnTo>
                  <a:lnTo>
                    <a:pt x="11831" y="3370"/>
                  </a:lnTo>
                  <a:lnTo>
                    <a:pt x="11880" y="3526"/>
                  </a:lnTo>
                  <a:lnTo>
                    <a:pt x="11922" y="3686"/>
                  </a:lnTo>
                  <a:lnTo>
                    <a:pt x="11957" y="3848"/>
                  </a:lnTo>
                  <a:lnTo>
                    <a:pt x="11985" y="4014"/>
                  </a:lnTo>
                  <a:lnTo>
                    <a:pt x="12005" y="4183"/>
                  </a:lnTo>
                  <a:lnTo>
                    <a:pt x="12016" y="4309"/>
                  </a:lnTo>
                  <a:lnTo>
                    <a:pt x="12027" y="4420"/>
                  </a:lnTo>
                  <a:lnTo>
                    <a:pt x="12032" y="4471"/>
                  </a:lnTo>
                  <a:lnTo>
                    <a:pt x="12038" y="4517"/>
                  </a:lnTo>
                  <a:lnTo>
                    <a:pt x="12046" y="4561"/>
                  </a:lnTo>
                  <a:lnTo>
                    <a:pt x="12053" y="4601"/>
                  </a:lnTo>
                  <a:lnTo>
                    <a:pt x="12061" y="4638"/>
                  </a:lnTo>
                  <a:lnTo>
                    <a:pt x="12070" y="4673"/>
                  </a:lnTo>
                  <a:lnTo>
                    <a:pt x="12081" y="4706"/>
                  </a:lnTo>
                  <a:lnTo>
                    <a:pt x="12092" y="4736"/>
                  </a:lnTo>
                  <a:lnTo>
                    <a:pt x="12105" y="4763"/>
                  </a:lnTo>
                  <a:lnTo>
                    <a:pt x="12119" y="4788"/>
                  </a:lnTo>
                  <a:lnTo>
                    <a:pt x="12135" y="4812"/>
                  </a:lnTo>
                  <a:lnTo>
                    <a:pt x="12153" y="4833"/>
                  </a:lnTo>
                  <a:lnTo>
                    <a:pt x="12173" y="4853"/>
                  </a:lnTo>
                  <a:lnTo>
                    <a:pt x="12195" y="4872"/>
                  </a:lnTo>
                  <a:lnTo>
                    <a:pt x="12220" y="4889"/>
                  </a:lnTo>
                  <a:lnTo>
                    <a:pt x="12247" y="4905"/>
                  </a:lnTo>
                  <a:lnTo>
                    <a:pt x="12276" y="4920"/>
                  </a:lnTo>
                  <a:lnTo>
                    <a:pt x="12308" y="4935"/>
                  </a:lnTo>
                  <a:lnTo>
                    <a:pt x="12344" y="4949"/>
                  </a:lnTo>
                  <a:lnTo>
                    <a:pt x="12383" y="4962"/>
                  </a:lnTo>
                  <a:lnTo>
                    <a:pt x="12424" y="4976"/>
                  </a:lnTo>
                  <a:lnTo>
                    <a:pt x="12468" y="4989"/>
                  </a:lnTo>
                  <a:lnTo>
                    <a:pt x="12517" y="5002"/>
                  </a:lnTo>
                  <a:lnTo>
                    <a:pt x="12568" y="5015"/>
                  </a:lnTo>
                  <a:lnTo>
                    <a:pt x="12684" y="5043"/>
                  </a:lnTo>
                  <a:lnTo>
                    <a:pt x="12816" y="5073"/>
                  </a:lnTo>
                  <a:lnTo>
                    <a:pt x="12937" y="5099"/>
                  </a:lnTo>
                  <a:lnTo>
                    <a:pt x="13055" y="5129"/>
                  </a:lnTo>
                  <a:lnTo>
                    <a:pt x="13171" y="5165"/>
                  </a:lnTo>
                  <a:lnTo>
                    <a:pt x="13285" y="5206"/>
                  </a:lnTo>
                  <a:lnTo>
                    <a:pt x="13395" y="5252"/>
                  </a:lnTo>
                  <a:lnTo>
                    <a:pt x="13505" y="5302"/>
                  </a:lnTo>
                  <a:lnTo>
                    <a:pt x="13610" y="5356"/>
                  </a:lnTo>
                  <a:lnTo>
                    <a:pt x="13714" y="5415"/>
                  </a:lnTo>
                  <a:lnTo>
                    <a:pt x="13813" y="5477"/>
                  </a:lnTo>
                  <a:lnTo>
                    <a:pt x="13910" y="5545"/>
                  </a:lnTo>
                  <a:lnTo>
                    <a:pt x="14004" y="5615"/>
                  </a:lnTo>
                  <a:lnTo>
                    <a:pt x="14095" y="5690"/>
                  </a:lnTo>
                  <a:lnTo>
                    <a:pt x="14181" y="5768"/>
                  </a:lnTo>
                  <a:lnTo>
                    <a:pt x="14266" y="5850"/>
                  </a:lnTo>
                  <a:lnTo>
                    <a:pt x="14346" y="5935"/>
                  </a:lnTo>
                  <a:lnTo>
                    <a:pt x="14422" y="6024"/>
                  </a:lnTo>
                  <a:lnTo>
                    <a:pt x="14494" y="6116"/>
                  </a:lnTo>
                  <a:lnTo>
                    <a:pt x="14564" y="6210"/>
                  </a:lnTo>
                  <a:lnTo>
                    <a:pt x="14628" y="6307"/>
                  </a:lnTo>
                  <a:lnTo>
                    <a:pt x="14689" y="6408"/>
                  </a:lnTo>
                  <a:lnTo>
                    <a:pt x="14745" y="6511"/>
                  </a:lnTo>
                  <a:lnTo>
                    <a:pt x="14796" y="6617"/>
                  </a:lnTo>
                  <a:lnTo>
                    <a:pt x="14845" y="6724"/>
                  </a:lnTo>
                  <a:lnTo>
                    <a:pt x="14888" y="6834"/>
                  </a:lnTo>
                  <a:lnTo>
                    <a:pt x="14926" y="6947"/>
                  </a:lnTo>
                  <a:lnTo>
                    <a:pt x="14959" y="7060"/>
                  </a:lnTo>
                  <a:lnTo>
                    <a:pt x="14988" y="7177"/>
                  </a:lnTo>
                  <a:lnTo>
                    <a:pt x="15012" y="7294"/>
                  </a:lnTo>
                  <a:lnTo>
                    <a:pt x="15030" y="7414"/>
                  </a:lnTo>
                  <a:lnTo>
                    <a:pt x="15044" y="7534"/>
                  </a:lnTo>
                  <a:lnTo>
                    <a:pt x="15052" y="7656"/>
                  </a:lnTo>
                  <a:lnTo>
                    <a:pt x="15055" y="7779"/>
                  </a:lnTo>
                  <a:lnTo>
                    <a:pt x="15051" y="7922"/>
                  </a:lnTo>
                  <a:lnTo>
                    <a:pt x="15040" y="8061"/>
                  </a:lnTo>
                  <a:lnTo>
                    <a:pt x="15023" y="8199"/>
                  </a:lnTo>
                  <a:lnTo>
                    <a:pt x="14999" y="8335"/>
                  </a:lnTo>
                  <a:lnTo>
                    <a:pt x="14968" y="8469"/>
                  </a:lnTo>
                  <a:lnTo>
                    <a:pt x="14931" y="8599"/>
                  </a:lnTo>
                  <a:lnTo>
                    <a:pt x="14887" y="8728"/>
                  </a:lnTo>
                  <a:lnTo>
                    <a:pt x="14838" y="8853"/>
                  </a:lnTo>
                  <a:lnTo>
                    <a:pt x="14782" y="8975"/>
                  </a:lnTo>
                  <a:lnTo>
                    <a:pt x="14721" y="9094"/>
                  </a:lnTo>
                  <a:lnTo>
                    <a:pt x="14655" y="9209"/>
                  </a:lnTo>
                  <a:lnTo>
                    <a:pt x="14583" y="9322"/>
                  </a:lnTo>
                  <a:lnTo>
                    <a:pt x="14505" y="9430"/>
                  </a:lnTo>
                  <a:lnTo>
                    <a:pt x="14424" y="9535"/>
                  </a:lnTo>
                  <a:lnTo>
                    <a:pt x="14337" y="9634"/>
                  </a:lnTo>
                  <a:lnTo>
                    <a:pt x="14245" y="9730"/>
                  </a:lnTo>
                  <a:lnTo>
                    <a:pt x="14150" y="9822"/>
                  </a:lnTo>
                  <a:lnTo>
                    <a:pt x="14050" y="9909"/>
                  </a:lnTo>
                  <a:lnTo>
                    <a:pt x="13945" y="9990"/>
                  </a:lnTo>
                  <a:lnTo>
                    <a:pt x="13837" y="10068"/>
                  </a:lnTo>
                  <a:lnTo>
                    <a:pt x="13725" y="10140"/>
                  </a:lnTo>
                  <a:lnTo>
                    <a:pt x="13609" y="10206"/>
                  </a:lnTo>
                  <a:lnTo>
                    <a:pt x="13491" y="10267"/>
                  </a:lnTo>
                  <a:lnTo>
                    <a:pt x="13368" y="10322"/>
                  </a:lnTo>
                  <a:lnTo>
                    <a:pt x="13243" y="10372"/>
                  </a:lnTo>
                  <a:lnTo>
                    <a:pt x="13114" y="10416"/>
                  </a:lnTo>
                  <a:lnTo>
                    <a:pt x="12984" y="10453"/>
                  </a:lnTo>
                  <a:lnTo>
                    <a:pt x="12850" y="10484"/>
                  </a:lnTo>
                  <a:lnTo>
                    <a:pt x="12715" y="10508"/>
                  </a:lnTo>
                  <a:lnTo>
                    <a:pt x="12576" y="10525"/>
                  </a:lnTo>
                  <a:lnTo>
                    <a:pt x="12437" y="10536"/>
                  </a:lnTo>
                  <a:lnTo>
                    <a:pt x="12294" y="10539"/>
                  </a:lnTo>
                  <a:close/>
                  <a:moveTo>
                    <a:pt x="13004" y="4087"/>
                  </a:moveTo>
                  <a:lnTo>
                    <a:pt x="12979" y="3874"/>
                  </a:lnTo>
                  <a:lnTo>
                    <a:pt x="12944" y="3664"/>
                  </a:lnTo>
                  <a:lnTo>
                    <a:pt x="12899" y="3457"/>
                  </a:lnTo>
                  <a:lnTo>
                    <a:pt x="12845" y="3254"/>
                  </a:lnTo>
                  <a:lnTo>
                    <a:pt x="12782" y="3054"/>
                  </a:lnTo>
                  <a:lnTo>
                    <a:pt x="12711" y="2860"/>
                  </a:lnTo>
                  <a:lnTo>
                    <a:pt x="12631" y="2669"/>
                  </a:lnTo>
                  <a:lnTo>
                    <a:pt x="12542" y="2482"/>
                  </a:lnTo>
                  <a:lnTo>
                    <a:pt x="12446" y="2301"/>
                  </a:lnTo>
                  <a:lnTo>
                    <a:pt x="12343" y="2124"/>
                  </a:lnTo>
                  <a:lnTo>
                    <a:pt x="12230" y="1953"/>
                  </a:lnTo>
                  <a:lnTo>
                    <a:pt x="12111" y="1788"/>
                  </a:lnTo>
                  <a:lnTo>
                    <a:pt x="11985" y="1628"/>
                  </a:lnTo>
                  <a:lnTo>
                    <a:pt x="11852" y="1473"/>
                  </a:lnTo>
                  <a:lnTo>
                    <a:pt x="11711" y="1326"/>
                  </a:lnTo>
                  <a:lnTo>
                    <a:pt x="11566" y="1184"/>
                  </a:lnTo>
                  <a:lnTo>
                    <a:pt x="11413" y="1050"/>
                  </a:lnTo>
                  <a:lnTo>
                    <a:pt x="11254" y="922"/>
                  </a:lnTo>
                  <a:lnTo>
                    <a:pt x="11090" y="802"/>
                  </a:lnTo>
                  <a:lnTo>
                    <a:pt x="10919" y="690"/>
                  </a:lnTo>
                  <a:lnTo>
                    <a:pt x="10745" y="584"/>
                  </a:lnTo>
                  <a:lnTo>
                    <a:pt x="10564" y="487"/>
                  </a:lnTo>
                  <a:lnTo>
                    <a:pt x="10378" y="397"/>
                  </a:lnTo>
                  <a:lnTo>
                    <a:pt x="10189" y="316"/>
                  </a:lnTo>
                  <a:lnTo>
                    <a:pt x="9995" y="244"/>
                  </a:lnTo>
                  <a:lnTo>
                    <a:pt x="9796" y="181"/>
                  </a:lnTo>
                  <a:lnTo>
                    <a:pt x="9594" y="126"/>
                  </a:lnTo>
                  <a:lnTo>
                    <a:pt x="9388" y="81"/>
                  </a:lnTo>
                  <a:lnTo>
                    <a:pt x="9178" y="46"/>
                  </a:lnTo>
                  <a:lnTo>
                    <a:pt x="8965" y="21"/>
                  </a:lnTo>
                  <a:lnTo>
                    <a:pt x="8750" y="5"/>
                  </a:lnTo>
                  <a:lnTo>
                    <a:pt x="8531" y="0"/>
                  </a:lnTo>
                  <a:lnTo>
                    <a:pt x="8361" y="3"/>
                  </a:lnTo>
                  <a:lnTo>
                    <a:pt x="8194" y="12"/>
                  </a:lnTo>
                  <a:lnTo>
                    <a:pt x="8027" y="28"/>
                  </a:lnTo>
                  <a:lnTo>
                    <a:pt x="7863" y="49"/>
                  </a:lnTo>
                  <a:lnTo>
                    <a:pt x="7701" y="76"/>
                  </a:lnTo>
                  <a:lnTo>
                    <a:pt x="7540" y="109"/>
                  </a:lnTo>
                  <a:lnTo>
                    <a:pt x="7383" y="149"/>
                  </a:lnTo>
                  <a:lnTo>
                    <a:pt x="7227" y="193"/>
                  </a:lnTo>
                  <a:lnTo>
                    <a:pt x="7074" y="242"/>
                  </a:lnTo>
                  <a:lnTo>
                    <a:pt x="6922" y="297"/>
                  </a:lnTo>
                  <a:lnTo>
                    <a:pt x="6773" y="357"/>
                  </a:lnTo>
                  <a:lnTo>
                    <a:pt x="6628" y="423"/>
                  </a:lnTo>
                  <a:lnTo>
                    <a:pt x="6485" y="493"/>
                  </a:lnTo>
                  <a:lnTo>
                    <a:pt x="6345" y="568"/>
                  </a:lnTo>
                  <a:lnTo>
                    <a:pt x="6208" y="648"/>
                  </a:lnTo>
                  <a:lnTo>
                    <a:pt x="6075" y="733"/>
                  </a:lnTo>
                  <a:lnTo>
                    <a:pt x="5943" y="821"/>
                  </a:lnTo>
                  <a:lnTo>
                    <a:pt x="5817" y="915"/>
                  </a:lnTo>
                  <a:lnTo>
                    <a:pt x="5693" y="1013"/>
                  </a:lnTo>
                  <a:lnTo>
                    <a:pt x="5572" y="1115"/>
                  </a:lnTo>
                  <a:lnTo>
                    <a:pt x="5456" y="1221"/>
                  </a:lnTo>
                  <a:lnTo>
                    <a:pt x="5342" y="1331"/>
                  </a:lnTo>
                  <a:lnTo>
                    <a:pt x="5234" y="1444"/>
                  </a:lnTo>
                  <a:lnTo>
                    <a:pt x="5129" y="1562"/>
                  </a:lnTo>
                  <a:lnTo>
                    <a:pt x="5027" y="1683"/>
                  </a:lnTo>
                  <a:lnTo>
                    <a:pt x="4931" y="1809"/>
                  </a:lnTo>
                  <a:lnTo>
                    <a:pt x="4837" y="1936"/>
                  </a:lnTo>
                  <a:lnTo>
                    <a:pt x="4750" y="2068"/>
                  </a:lnTo>
                  <a:lnTo>
                    <a:pt x="4666" y="2203"/>
                  </a:lnTo>
                  <a:lnTo>
                    <a:pt x="4587" y="2341"/>
                  </a:lnTo>
                  <a:lnTo>
                    <a:pt x="4512" y="2481"/>
                  </a:lnTo>
                  <a:lnTo>
                    <a:pt x="4443" y="2625"/>
                  </a:lnTo>
                  <a:lnTo>
                    <a:pt x="4402" y="2613"/>
                  </a:lnTo>
                  <a:lnTo>
                    <a:pt x="4362" y="2601"/>
                  </a:lnTo>
                  <a:lnTo>
                    <a:pt x="4321" y="2589"/>
                  </a:lnTo>
                  <a:lnTo>
                    <a:pt x="4279" y="2579"/>
                  </a:lnTo>
                  <a:lnTo>
                    <a:pt x="4237" y="2568"/>
                  </a:lnTo>
                  <a:lnTo>
                    <a:pt x="4196" y="2559"/>
                  </a:lnTo>
                  <a:lnTo>
                    <a:pt x="4154" y="2549"/>
                  </a:lnTo>
                  <a:lnTo>
                    <a:pt x="4112" y="2541"/>
                  </a:lnTo>
                  <a:lnTo>
                    <a:pt x="4070" y="2534"/>
                  </a:lnTo>
                  <a:lnTo>
                    <a:pt x="4027" y="2528"/>
                  </a:lnTo>
                  <a:lnTo>
                    <a:pt x="3983" y="2522"/>
                  </a:lnTo>
                  <a:lnTo>
                    <a:pt x="3940" y="2518"/>
                  </a:lnTo>
                  <a:lnTo>
                    <a:pt x="3896" y="2514"/>
                  </a:lnTo>
                  <a:lnTo>
                    <a:pt x="3853" y="2511"/>
                  </a:lnTo>
                  <a:lnTo>
                    <a:pt x="3809" y="2510"/>
                  </a:lnTo>
                  <a:lnTo>
                    <a:pt x="3764" y="2509"/>
                  </a:lnTo>
                  <a:lnTo>
                    <a:pt x="3647" y="2512"/>
                  </a:lnTo>
                  <a:lnTo>
                    <a:pt x="3533" y="2521"/>
                  </a:lnTo>
                  <a:lnTo>
                    <a:pt x="3420" y="2535"/>
                  </a:lnTo>
                  <a:lnTo>
                    <a:pt x="3309" y="2556"/>
                  </a:lnTo>
                  <a:lnTo>
                    <a:pt x="3200" y="2581"/>
                  </a:lnTo>
                  <a:lnTo>
                    <a:pt x="3092" y="2611"/>
                  </a:lnTo>
                  <a:lnTo>
                    <a:pt x="2988" y="2647"/>
                  </a:lnTo>
                  <a:lnTo>
                    <a:pt x="2884" y="2687"/>
                  </a:lnTo>
                  <a:lnTo>
                    <a:pt x="2785" y="2732"/>
                  </a:lnTo>
                  <a:lnTo>
                    <a:pt x="2688" y="2782"/>
                  </a:lnTo>
                  <a:lnTo>
                    <a:pt x="2593" y="2837"/>
                  </a:lnTo>
                  <a:lnTo>
                    <a:pt x="2501" y="2896"/>
                  </a:lnTo>
                  <a:lnTo>
                    <a:pt x="2413" y="2958"/>
                  </a:lnTo>
                  <a:lnTo>
                    <a:pt x="2327" y="3025"/>
                  </a:lnTo>
                  <a:lnTo>
                    <a:pt x="2245" y="3097"/>
                  </a:lnTo>
                  <a:lnTo>
                    <a:pt x="2167" y="3172"/>
                  </a:lnTo>
                  <a:lnTo>
                    <a:pt x="2093" y="3250"/>
                  </a:lnTo>
                  <a:lnTo>
                    <a:pt x="2021" y="3331"/>
                  </a:lnTo>
                  <a:lnTo>
                    <a:pt x="1954" y="3417"/>
                  </a:lnTo>
                  <a:lnTo>
                    <a:pt x="1891" y="3506"/>
                  </a:lnTo>
                  <a:lnTo>
                    <a:pt x="1833" y="3597"/>
                  </a:lnTo>
                  <a:lnTo>
                    <a:pt x="1778" y="3692"/>
                  </a:lnTo>
                  <a:lnTo>
                    <a:pt x="1728" y="3789"/>
                  </a:lnTo>
                  <a:lnTo>
                    <a:pt x="1683" y="3889"/>
                  </a:lnTo>
                  <a:lnTo>
                    <a:pt x="1643" y="3992"/>
                  </a:lnTo>
                  <a:lnTo>
                    <a:pt x="1607" y="4097"/>
                  </a:lnTo>
                  <a:lnTo>
                    <a:pt x="1577" y="4204"/>
                  </a:lnTo>
                  <a:lnTo>
                    <a:pt x="1552" y="4313"/>
                  </a:lnTo>
                  <a:lnTo>
                    <a:pt x="1532" y="4424"/>
                  </a:lnTo>
                  <a:lnTo>
                    <a:pt x="1517" y="4537"/>
                  </a:lnTo>
                  <a:lnTo>
                    <a:pt x="1508" y="4652"/>
                  </a:lnTo>
                  <a:lnTo>
                    <a:pt x="1505" y="4768"/>
                  </a:lnTo>
                  <a:lnTo>
                    <a:pt x="1506" y="4815"/>
                  </a:lnTo>
                  <a:lnTo>
                    <a:pt x="1507" y="4860"/>
                  </a:lnTo>
                  <a:lnTo>
                    <a:pt x="1510" y="4906"/>
                  </a:lnTo>
                  <a:lnTo>
                    <a:pt x="1514" y="4951"/>
                  </a:lnTo>
                  <a:lnTo>
                    <a:pt x="1519" y="4997"/>
                  </a:lnTo>
                  <a:lnTo>
                    <a:pt x="1526" y="5042"/>
                  </a:lnTo>
                  <a:lnTo>
                    <a:pt x="1532" y="5086"/>
                  </a:lnTo>
                  <a:lnTo>
                    <a:pt x="1540" y="5130"/>
                  </a:lnTo>
                  <a:lnTo>
                    <a:pt x="1548" y="5174"/>
                  </a:lnTo>
                  <a:lnTo>
                    <a:pt x="1558" y="5217"/>
                  </a:lnTo>
                  <a:lnTo>
                    <a:pt x="1568" y="5261"/>
                  </a:lnTo>
                  <a:lnTo>
                    <a:pt x="1579" y="5304"/>
                  </a:lnTo>
                  <a:lnTo>
                    <a:pt x="1590" y="5347"/>
                  </a:lnTo>
                  <a:lnTo>
                    <a:pt x="1603" y="5389"/>
                  </a:lnTo>
                  <a:lnTo>
                    <a:pt x="1616" y="5431"/>
                  </a:lnTo>
                  <a:lnTo>
                    <a:pt x="1629" y="5473"/>
                  </a:lnTo>
                  <a:lnTo>
                    <a:pt x="1539" y="5528"/>
                  </a:lnTo>
                  <a:lnTo>
                    <a:pt x="1451" y="5585"/>
                  </a:lnTo>
                  <a:lnTo>
                    <a:pt x="1365" y="5644"/>
                  </a:lnTo>
                  <a:lnTo>
                    <a:pt x="1281" y="5706"/>
                  </a:lnTo>
                  <a:lnTo>
                    <a:pt x="1198" y="5771"/>
                  </a:lnTo>
                  <a:lnTo>
                    <a:pt x="1118" y="5839"/>
                  </a:lnTo>
                  <a:lnTo>
                    <a:pt x="1041" y="5909"/>
                  </a:lnTo>
                  <a:lnTo>
                    <a:pt x="965" y="5981"/>
                  </a:lnTo>
                  <a:lnTo>
                    <a:pt x="892" y="6056"/>
                  </a:lnTo>
                  <a:lnTo>
                    <a:pt x="821" y="6133"/>
                  </a:lnTo>
                  <a:lnTo>
                    <a:pt x="753" y="6211"/>
                  </a:lnTo>
                  <a:lnTo>
                    <a:pt x="687" y="6292"/>
                  </a:lnTo>
                  <a:lnTo>
                    <a:pt x="624" y="6376"/>
                  </a:lnTo>
                  <a:lnTo>
                    <a:pt x="564" y="6461"/>
                  </a:lnTo>
                  <a:lnTo>
                    <a:pt x="506" y="6548"/>
                  </a:lnTo>
                  <a:lnTo>
                    <a:pt x="451" y="6638"/>
                  </a:lnTo>
                  <a:lnTo>
                    <a:pt x="398" y="6729"/>
                  </a:lnTo>
                  <a:lnTo>
                    <a:pt x="349" y="6821"/>
                  </a:lnTo>
                  <a:lnTo>
                    <a:pt x="303" y="6917"/>
                  </a:lnTo>
                  <a:lnTo>
                    <a:pt x="260" y="7013"/>
                  </a:lnTo>
                  <a:lnTo>
                    <a:pt x="220" y="7110"/>
                  </a:lnTo>
                  <a:lnTo>
                    <a:pt x="183" y="7210"/>
                  </a:lnTo>
                  <a:lnTo>
                    <a:pt x="149" y="7311"/>
                  </a:lnTo>
                  <a:lnTo>
                    <a:pt x="118" y="7414"/>
                  </a:lnTo>
                  <a:lnTo>
                    <a:pt x="91" y="7518"/>
                  </a:lnTo>
                  <a:lnTo>
                    <a:pt x="67" y="7623"/>
                  </a:lnTo>
                  <a:lnTo>
                    <a:pt x="47" y="7730"/>
                  </a:lnTo>
                  <a:lnTo>
                    <a:pt x="30" y="7838"/>
                  </a:lnTo>
                  <a:lnTo>
                    <a:pt x="17" y="7948"/>
                  </a:lnTo>
                  <a:lnTo>
                    <a:pt x="8" y="8057"/>
                  </a:lnTo>
                  <a:lnTo>
                    <a:pt x="2" y="8168"/>
                  </a:lnTo>
                  <a:lnTo>
                    <a:pt x="0" y="8281"/>
                  </a:lnTo>
                  <a:lnTo>
                    <a:pt x="4" y="8449"/>
                  </a:lnTo>
                  <a:lnTo>
                    <a:pt x="17" y="8615"/>
                  </a:lnTo>
                  <a:lnTo>
                    <a:pt x="37" y="8778"/>
                  </a:lnTo>
                  <a:lnTo>
                    <a:pt x="66" y="8938"/>
                  </a:lnTo>
                  <a:lnTo>
                    <a:pt x="102" y="9097"/>
                  </a:lnTo>
                  <a:lnTo>
                    <a:pt x="147" y="9251"/>
                  </a:lnTo>
                  <a:lnTo>
                    <a:pt x="198" y="9403"/>
                  </a:lnTo>
                  <a:lnTo>
                    <a:pt x="256" y="9551"/>
                  </a:lnTo>
                  <a:lnTo>
                    <a:pt x="322" y="9695"/>
                  </a:lnTo>
                  <a:lnTo>
                    <a:pt x="393" y="9837"/>
                  </a:lnTo>
                  <a:lnTo>
                    <a:pt x="473" y="9973"/>
                  </a:lnTo>
                  <a:lnTo>
                    <a:pt x="557" y="10106"/>
                  </a:lnTo>
                  <a:lnTo>
                    <a:pt x="648" y="10233"/>
                  </a:lnTo>
                  <a:lnTo>
                    <a:pt x="745" y="10357"/>
                  </a:lnTo>
                  <a:lnTo>
                    <a:pt x="847" y="10475"/>
                  </a:lnTo>
                  <a:lnTo>
                    <a:pt x="955" y="10588"/>
                  </a:lnTo>
                  <a:lnTo>
                    <a:pt x="1069" y="10696"/>
                  </a:lnTo>
                  <a:lnTo>
                    <a:pt x="1187" y="10798"/>
                  </a:lnTo>
                  <a:lnTo>
                    <a:pt x="1310" y="10896"/>
                  </a:lnTo>
                  <a:lnTo>
                    <a:pt x="1438" y="10986"/>
                  </a:lnTo>
                  <a:lnTo>
                    <a:pt x="1571" y="11071"/>
                  </a:lnTo>
                  <a:lnTo>
                    <a:pt x="1707" y="11150"/>
                  </a:lnTo>
                  <a:lnTo>
                    <a:pt x="1848" y="11222"/>
                  </a:lnTo>
                  <a:lnTo>
                    <a:pt x="1992" y="11287"/>
                  </a:lnTo>
                  <a:lnTo>
                    <a:pt x="2141" y="11345"/>
                  </a:lnTo>
                  <a:lnTo>
                    <a:pt x="2292" y="11396"/>
                  </a:lnTo>
                  <a:lnTo>
                    <a:pt x="2447" y="11441"/>
                  </a:lnTo>
                  <a:lnTo>
                    <a:pt x="2604" y="11478"/>
                  </a:lnTo>
                  <a:lnTo>
                    <a:pt x="2765" y="11506"/>
                  </a:lnTo>
                  <a:lnTo>
                    <a:pt x="2929" y="11527"/>
                  </a:lnTo>
                  <a:lnTo>
                    <a:pt x="3094" y="11539"/>
                  </a:lnTo>
                  <a:lnTo>
                    <a:pt x="3262" y="11543"/>
                  </a:lnTo>
                  <a:lnTo>
                    <a:pt x="3262" y="11544"/>
                  </a:lnTo>
                  <a:lnTo>
                    <a:pt x="12294" y="11544"/>
                  </a:lnTo>
                  <a:lnTo>
                    <a:pt x="12294" y="11543"/>
                  </a:lnTo>
                  <a:lnTo>
                    <a:pt x="12488" y="11539"/>
                  </a:lnTo>
                  <a:lnTo>
                    <a:pt x="12680" y="11524"/>
                  </a:lnTo>
                  <a:lnTo>
                    <a:pt x="12867" y="11500"/>
                  </a:lnTo>
                  <a:lnTo>
                    <a:pt x="13053" y="11467"/>
                  </a:lnTo>
                  <a:lnTo>
                    <a:pt x="13236" y="11425"/>
                  </a:lnTo>
                  <a:lnTo>
                    <a:pt x="13414" y="11374"/>
                  </a:lnTo>
                  <a:lnTo>
                    <a:pt x="13589" y="11315"/>
                  </a:lnTo>
                  <a:lnTo>
                    <a:pt x="13760" y="11248"/>
                  </a:lnTo>
                  <a:lnTo>
                    <a:pt x="13926" y="11173"/>
                  </a:lnTo>
                  <a:lnTo>
                    <a:pt x="14089" y="11089"/>
                  </a:lnTo>
                  <a:lnTo>
                    <a:pt x="14246" y="10999"/>
                  </a:lnTo>
                  <a:lnTo>
                    <a:pt x="14399" y="10901"/>
                  </a:lnTo>
                  <a:lnTo>
                    <a:pt x="14547" y="10796"/>
                  </a:lnTo>
                  <a:lnTo>
                    <a:pt x="14689" y="10684"/>
                  </a:lnTo>
                  <a:lnTo>
                    <a:pt x="14826" y="10565"/>
                  </a:lnTo>
                  <a:lnTo>
                    <a:pt x="14956" y="10441"/>
                  </a:lnTo>
                  <a:lnTo>
                    <a:pt x="15080" y="10310"/>
                  </a:lnTo>
                  <a:lnTo>
                    <a:pt x="15199" y="10174"/>
                  </a:lnTo>
                  <a:lnTo>
                    <a:pt x="15310" y="10031"/>
                  </a:lnTo>
                  <a:lnTo>
                    <a:pt x="15416" y="9884"/>
                  </a:lnTo>
                  <a:lnTo>
                    <a:pt x="15513" y="9731"/>
                  </a:lnTo>
                  <a:lnTo>
                    <a:pt x="15604" y="9574"/>
                  </a:lnTo>
                  <a:lnTo>
                    <a:pt x="15687" y="9411"/>
                  </a:lnTo>
                  <a:lnTo>
                    <a:pt x="15762" y="9244"/>
                  </a:lnTo>
                  <a:lnTo>
                    <a:pt x="15830" y="9074"/>
                  </a:lnTo>
                  <a:lnTo>
                    <a:pt x="15888" y="8899"/>
                  </a:lnTo>
                  <a:lnTo>
                    <a:pt x="15940" y="8720"/>
                  </a:lnTo>
                  <a:lnTo>
                    <a:pt x="15982" y="8538"/>
                  </a:lnTo>
                  <a:lnTo>
                    <a:pt x="16015" y="8352"/>
                  </a:lnTo>
                  <a:lnTo>
                    <a:pt x="16039" y="8164"/>
                  </a:lnTo>
                  <a:lnTo>
                    <a:pt x="16053" y="7973"/>
                  </a:lnTo>
                  <a:lnTo>
                    <a:pt x="16058" y="7779"/>
                  </a:lnTo>
                  <a:lnTo>
                    <a:pt x="16054" y="7608"/>
                  </a:lnTo>
                  <a:lnTo>
                    <a:pt x="16043" y="7439"/>
                  </a:lnTo>
                  <a:lnTo>
                    <a:pt x="16024" y="7272"/>
                  </a:lnTo>
                  <a:lnTo>
                    <a:pt x="15998" y="7107"/>
                  </a:lnTo>
                  <a:lnTo>
                    <a:pt x="15965" y="6945"/>
                  </a:lnTo>
                  <a:lnTo>
                    <a:pt x="15926" y="6785"/>
                  </a:lnTo>
                  <a:lnTo>
                    <a:pt x="15878" y="6629"/>
                  </a:lnTo>
                  <a:lnTo>
                    <a:pt x="15825" y="6475"/>
                  </a:lnTo>
                  <a:lnTo>
                    <a:pt x="15766" y="6324"/>
                  </a:lnTo>
                  <a:lnTo>
                    <a:pt x="15700" y="6176"/>
                  </a:lnTo>
                  <a:lnTo>
                    <a:pt x="15628" y="6032"/>
                  </a:lnTo>
                  <a:lnTo>
                    <a:pt x="15550" y="5892"/>
                  </a:lnTo>
                  <a:lnTo>
                    <a:pt x="15467" y="5755"/>
                  </a:lnTo>
                  <a:lnTo>
                    <a:pt x="15378" y="5623"/>
                  </a:lnTo>
                  <a:lnTo>
                    <a:pt x="15283" y="5493"/>
                  </a:lnTo>
                  <a:lnTo>
                    <a:pt x="15183" y="5369"/>
                  </a:lnTo>
                  <a:lnTo>
                    <a:pt x="15078" y="5250"/>
                  </a:lnTo>
                  <a:lnTo>
                    <a:pt x="14968" y="5134"/>
                  </a:lnTo>
                  <a:lnTo>
                    <a:pt x="14854" y="5023"/>
                  </a:lnTo>
                  <a:lnTo>
                    <a:pt x="14734" y="4917"/>
                  </a:lnTo>
                  <a:lnTo>
                    <a:pt x="14611" y="4817"/>
                  </a:lnTo>
                  <a:lnTo>
                    <a:pt x="14483" y="4721"/>
                  </a:lnTo>
                  <a:lnTo>
                    <a:pt x="14351" y="4630"/>
                  </a:lnTo>
                  <a:lnTo>
                    <a:pt x="14215" y="4546"/>
                  </a:lnTo>
                  <a:lnTo>
                    <a:pt x="14075" y="4467"/>
                  </a:lnTo>
                  <a:lnTo>
                    <a:pt x="13931" y="4394"/>
                  </a:lnTo>
                  <a:lnTo>
                    <a:pt x="13785" y="4327"/>
                  </a:lnTo>
                  <a:lnTo>
                    <a:pt x="13634" y="4266"/>
                  </a:lnTo>
                  <a:lnTo>
                    <a:pt x="13482" y="4212"/>
                  </a:lnTo>
                  <a:lnTo>
                    <a:pt x="13325" y="4164"/>
                  </a:lnTo>
                  <a:lnTo>
                    <a:pt x="13166" y="4121"/>
                  </a:lnTo>
                  <a:lnTo>
                    <a:pt x="13004" y="408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97" name="îs1ïḓê">
              <a:extLst>
                <a:ext uri="{FF2B5EF4-FFF2-40B4-BE49-F238E27FC236}">
                  <a16:creationId xmlns:a16="http://schemas.microsoft.com/office/drawing/2014/main" id="{F44304F2-6DBC-4CD2-BFBB-0C6B3BC49E43}"/>
                </a:ext>
              </a:extLst>
            </p:cNvPr>
            <p:cNvSpPr/>
            <p:nvPr/>
          </p:nvSpPr>
          <p:spPr bwMode="auto">
            <a:xfrm>
              <a:off x="6725319" y="360183"/>
              <a:ext cx="611928" cy="383513"/>
            </a:xfrm>
            <a:custGeom>
              <a:avLst/>
              <a:gdLst>
                <a:gd name="T0" fmla="*/ 6716 w 16058"/>
                <a:gd name="T1" fmla="*/ 8942 h 10064"/>
                <a:gd name="T2" fmla="*/ 5195 w 16058"/>
                <a:gd name="T3" fmla="*/ 8519 h 10064"/>
                <a:gd name="T4" fmla="*/ 3782 w 16058"/>
                <a:gd name="T5" fmla="*/ 7815 h 10064"/>
                <a:gd name="T6" fmla="*/ 2529 w 16058"/>
                <a:gd name="T7" fmla="*/ 6861 h 10064"/>
                <a:gd name="T8" fmla="*/ 1491 w 16058"/>
                <a:gd name="T9" fmla="*/ 5689 h 10064"/>
                <a:gd name="T10" fmla="*/ 1492 w 16058"/>
                <a:gd name="T11" fmla="*/ 4372 h 10064"/>
                <a:gd name="T12" fmla="*/ 2533 w 16058"/>
                <a:gd name="T13" fmla="*/ 3199 h 10064"/>
                <a:gd name="T14" fmla="*/ 3786 w 16058"/>
                <a:gd name="T15" fmla="*/ 2246 h 10064"/>
                <a:gd name="T16" fmla="*/ 5198 w 16058"/>
                <a:gd name="T17" fmla="*/ 1543 h 10064"/>
                <a:gd name="T18" fmla="*/ 6717 w 16058"/>
                <a:gd name="T19" fmla="*/ 1121 h 10064"/>
                <a:gd name="T20" fmla="*/ 8293 w 16058"/>
                <a:gd name="T21" fmla="*/ 1012 h 10064"/>
                <a:gd name="T22" fmla="*/ 9859 w 16058"/>
                <a:gd name="T23" fmla="*/ 1230 h 10064"/>
                <a:gd name="T24" fmla="*/ 11349 w 16058"/>
                <a:gd name="T25" fmla="*/ 1750 h 10064"/>
                <a:gd name="T26" fmla="*/ 12715 w 16058"/>
                <a:gd name="T27" fmla="*/ 2540 h 10064"/>
                <a:gd name="T28" fmla="*/ 13901 w 16058"/>
                <a:gd name="T29" fmla="*/ 3571 h 10064"/>
                <a:gd name="T30" fmla="*/ 14857 w 16058"/>
                <a:gd name="T31" fmla="*/ 4809 h 10064"/>
                <a:gd name="T32" fmla="*/ 14245 w 16058"/>
                <a:gd name="T33" fmla="*/ 6106 h 10064"/>
                <a:gd name="T34" fmla="*/ 13128 w 16058"/>
                <a:gd name="T35" fmla="*/ 7208 h 10064"/>
                <a:gd name="T36" fmla="*/ 11817 w 16058"/>
                <a:gd name="T37" fmla="*/ 8082 h 10064"/>
                <a:gd name="T38" fmla="*/ 10363 w 16058"/>
                <a:gd name="T39" fmla="*/ 8694 h 10064"/>
                <a:gd name="T40" fmla="*/ 8819 w 16058"/>
                <a:gd name="T41" fmla="*/ 9015 h 10064"/>
                <a:gd name="T42" fmla="*/ 16037 w 16058"/>
                <a:gd name="T43" fmla="*/ 4889 h 10064"/>
                <a:gd name="T44" fmla="*/ 16017 w 16058"/>
                <a:gd name="T45" fmla="*/ 4835 h 10064"/>
                <a:gd name="T46" fmla="*/ 15713 w 16058"/>
                <a:gd name="T47" fmla="*/ 4283 h 10064"/>
                <a:gd name="T48" fmla="*/ 14616 w 16058"/>
                <a:gd name="T49" fmla="*/ 2869 h 10064"/>
                <a:gd name="T50" fmla="*/ 13237 w 16058"/>
                <a:gd name="T51" fmla="*/ 1686 h 10064"/>
                <a:gd name="T52" fmla="*/ 11639 w 16058"/>
                <a:gd name="T53" fmla="*/ 781 h 10064"/>
                <a:gd name="T54" fmla="*/ 9883 w 16058"/>
                <a:gd name="T55" fmla="*/ 203 h 10064"/>
                <a:gd name="T56" fmla="*/ 8029 w 16058"/>
                <a:gd name="T57" fmla="*/ 0 h 10064"/>
                <a:gd name="T58" fmla="*/ 6175 w 16058"/>
                <a:gd name="T59" fmla="*/ 203 h 10064"/>
                <a:gd name="T60" fmla="*/ 4419 w 16058"/>
                <a:gd name="T61" fmla="*/ 780 h 10064"/>
                <a:gd name="T62" fmla="*/ 2821 w 16058"/>
                <a:gd name="T63" fmla="*/ 1684 h 10064"/>
                <a:gd name="T64" fmla="*/ 1443 w 16058"/>
                <a:gd name="T65" fmla="*/ 2866 h 10064"/>
                <a:gd name="T66" fmla="*/ 345 w 16058"/>
                <a:gd name="T67" fmla="*/ 4280 h 10064"/>
                <a:gd name="T68" fmla="*/ 41 w 16058"/>
                <a:gd name="T69" fmla="*/ 4831 h 10064"/>
                <a:gd name="T70" fmla="*/ 22 w 16058"/>
                <a:gd name="T71" fmla="*/ 4885 h 10064"/>
                <a:gd name="T72" fmla="*/ 2 w 16058"/>
                <a:gd name="T73" fmla="*/ 5001 h 10064"/>
                <a:gd name="T74" fmla="*/ 6 w 16058"/>
                <a:gd name="T75" fmla="*/ 5087 h 10064"/>
                <a:gd name="T76" fmla="*/ 23 w 16058"/>
                <a:gd name="T77" fmla="*/ 5191 h 10064"/>
                <a:gd name="T78" fmla="*/ 46 w 16058"/>
                <a:gd name="T79" fmla="*/ 5248 h 10064"/>
                <a:gd name="T80" fmla="*/ 675 w 16058"/>
                <a:gd name="T81" fmla="*/ 6275 h 10064"/>
                <a:gd name="T82" fmla="*/ 1874 w 16058"/>
                <a:gd name="T83" fmla="*/ 7617 h 10064"/>
                <a:gd name="T84" fmla="*/ 3332 w 16058"/>
                <a:gd name="T85" fmla="*/ 8713 h 10064"/>
                <a:gd name="T86" fmla="*/ 4990 w 16058"/>
                <a:gd name="T87" fmla="*/ 9514 h 10064"/>
                <a:gd name="T88" fmla="*/ 6786 w 16058"/>
                <a:gd name="T89" fmla="*/ 9972 h 10064"/>
                <a:gd name="T90" fmla="*/ 8654 w 16058"/>
                <a:gd name="T91" fmla="*/ 10041 h 10064"/>
                <a:gd name="T92" fmla="*/ 10483 w 16058"/>
                <a:gd name="T93" fmla="*/ 9708 h 10064"/>
                <a:gd name="T94" fmla="*/ 12193 w 16058"/>
                <a:gd name="T95" fmla="*/ 9017 h 10064"/>
                <a:gd name="T96" fmla="*/ 13724 w 16058"/>
                <a:gd name="T97" fmla="*/ 8014 h 10064"/>
                <a:gd name="T98" fmla="*/ 15015 w 16058"/>
                <a:gd name="T99" fmla="*/ 6749 h 10064"/>
                <a:gd name="T100" fmla="*/ 16007 w 16058"/>
                <a:gd name="T101" fmla="*/ 5270 h 10064"/>
                <a:gd name="T102" fmla="*/ 16031 w 16058"/>
                <a:gd name="T103" fmla="*/ 5211 h 10064"/>
                <a:gd name="T104" fmla="*/ 16040 w 16058"/>
                <a:gd name="T105" fmla="*/ 5146 h 10064"/>
                <a:gd name="T106" fmla="*/ 16058 w 16058"/>
                <a:gd name="T107" fmla="*/ 5034 h 10064"/>
                <a:gd name="T108" fmla="*/ 16040 w 16058"/>
                <a:gd name="T109" fmla="*/ 4921 h 10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058" h="10064">
                  <a:moveTo>
                    <a:pt x="8029" y="9056"/>
                  </a:moveTo>
                  <a:lnTo>
                    <a:pt x="7765" y="9052"/>
                  </a:lnTo>
                  <a:lnTo>
                    <a:pt x="7501" y="9038"/>
                  </a:lnTo>
                  <a:lnTo>
                    <a:pt x="7238" y="9015"/>
                  </a:lnTo>
                  <a:lnTo>
                    <a:pt x="6976" y="8983"/>
                  </a:lnTo>
                  <a:lnTo>
                    <a:pt x="6716" y="8942"/>
                  </a:lnTo>
                  <a:lnTo>
                    <a:pt x="6457" y="8892"/>
                  </a:lnTo>
                  <a:lnTo>
                    <a:pt x="6200" y="8834"/>
                  </a:lnTo>
                  <a:lnTo>
                    <a:pt x="5944" y="8768"/>
                  </a:lnTo>
                  <a:lnTo>
                    <a:pt x="5693" y="8693"/>
                  </a:lnTo>
                  <a:lnTo>
                    <a:pt x="5442" y="8610"/>
                  </a:lnTo>
                  <a:lnTo>
                    <a:pt x="5195" y="8519"/>
                  </a:lnTo>
                  <a:lnTo>
                    <a:pt x="4950" y="8421"/>
                  </a:lnTo>
                  <a:lnTo>
                    <a:pt x="4709" y="8314"/>
                  </a:lnTo>
                  <a:lnTo>
                    <a:pt x="4471" y="8200"/>
                  </a:lnTo>
                  <a:lnTo>
                    <a:pt x="4237" y="8079"/>
                  </a:lnTo>
                  <a:lnTo>
                    <a:pt x="4007" y="7951"/>
                  </a:lnTo>
                  <a:lnTo>
                    <a:pt x="3782" y="7815"/>
                  </a:lnTo>
                  <a:lnTo>
                    <a:pt x="3560" y="7672"/>
                  </a:lnTo>
                  <a:lnTo>
                    <a:pt x="3343" y="7524"/>
                  </a:lnTo>
                  <a:lnTo>
                    <a:pt x="3132" y="7368"/>
                  </a:lnTo>
                  <a:lnTo>
                    <a:pt x="2926" y="7205"/>
                  </a:lnTo>
                  <a:lnTo>
                    <a:pt x="2725" y="7036"/>
                  </a:lnTo>
                  <a:lnTo>
                    <a:pt x="2529" y="6861"/>
                  </a:lnTo>
                  <a:lnTo>
                    <a:pt x="2340" y="6680"/>
                  </a:lnTo>
                  <a:lnTo>
                    <a:pt x="2157" y="6493"/>
                  </a:lnTo>
                  <a:lnTo>
                    <a:pt x="1980" y="6301"/>
                  </a:lnTo>
                  <a:lnTo>
                    <a:pt x="1811" y="6102"/>
                  </a:lnTo>
                  <a:lnTo>
                    <a:pt x="1647" y="5898"/>
                  </a:lnTo>
                  <a:lnTo>
                    <a:pt x="1491" y="5689"/>
                  </a:lnTo>
                  <a:lnTo>
                    <a:pt x="1343" y="5475"/>
                  </a:lnTo>
                  <a:lnTo>
                    <a:pt x="1201" y="5255"/>
                  </a:lnTo>
                  <a:lnTo>
                    <a:pt x="1069" y="5030"/>
                  </a:lnTo>
                  <a:lnTo>
                    <a:pt x="1202" y="4806"/>
                  </a:lnTo>
                  <a:lnTo>
                    <a:pt x="1344" y="4586"/>
                  </a:lnTo>
                  <a:lnTo>
                    <a:pt x="1492" y="4372"/>
                  </a:lnTo>
                  <a:lnTo>
                    <a:pt x="1649" y="4163"/>
                  </a:lnTo>
                  <a:lnTo>
                    <a:pt x="1813" y="3958"/>
                  </a:lnTo>
                  <a:lnTo>
                    <a:pt x="1983" y="3760"/>
                  </a:lnTo>
                  <a:lnTo>
                    <a:pt x="2160" y="3567"/>
                  </a:lnTo>
                  <a:lnTo>
                    <a:pt x="2343" y="3380"/>
                  </a:lnTo>
                  <a:lnTo>
                    <a:pt x="2533" y="3199"/>
                  </a:lnTo>
                  <a:lnTo>
                    <a:pt x="2729" y="3024"/>
                  </a:lnTo>
                  <a:lnTo>
                    <a:pt x="2930" y="2855"/>
                  </a:lnTo>
                  <a:lnTo>
                    <a:pt x="3136" y="2693"/>
                  </a:lnTo>
                  <a:lnTo>
                    <a:pt x="3348" y="2537"/>
                  </a:lnTo>
                  <a:lnTo>
                    <a:pt x="3564" y="2389"/>
                  </a:lnTo>
                  <a:lnTo>
                    <a:pt x="3786" y="2246"/>
                  </a:lnTo>
                  <a:lnTo>
                    <a:pt x="4011" y="2111"/>
                  </a:lnTo>
                  <a:lnTo>
                    <a:pt x="4241" y="1982"/>
                  </a:lnTo>
                  <a:lnTo>
                    <a:pt x="4475" y="1862"/>
                  </a:lnTo>
                  <a:lnTo>
                    <a:pt x="4712" y="1748"/>
                  </a:lnTo>
                  <a:lnTo>
                    <a:pt x="4953" y="1641"/>
                  </a:lnTo>
                  <a:lnTo>
                    <a:pt x="5198" y="1543"/>
                  </a:lnTo>
                  <a:lnTo>
                    <a:pt x="5445" y="1452"/>
                  </a:lnTo>
                  <a:lnTo>
                    <a:pt x="5695" y="1370"/>
                  </a:lnTo>
                  <a:lnTo>
                    <a:pt x="5947" y="1295"/>
                  </a:lnTo>
                  <a:lnTo>
                    <a:pt x="6202" y="1229"/>
                  </a:lnTo>
                  <a:lnTo>
                    <a:pt x="6459" y="1171"/>
                  </a:lnTo>
                  <a:lnTo>
                    <a:pt x="6717" y="1121"/>
                  </a:lnTo>
                  <a:lnTo>
                    <a:pt x="6978" y="1081"/>
                  </a:lnTo>
                  <a:lnTo>
                    <a:pt x="7239" y="1049"/>
                  </a:lnTo>
                  <a:lnTo>
                    <a:pt x="7502" y="1026"/>
                  </a:lnTo>
                  <a:lnTo>
                    <a:pt x="7765" y="1012"/>
                  </a:lnTo>
                  <a:lnTo>
                    <a:pt x="8029" y="1008"/>
                  </a:lnTo>
                  <a:lnTo>
                    <a:pt x="8293" y="1012"/>
                  </a:lnTo>
                  <a:lnTo>
                    <a:pt x="8557" y="1026"/>
                  </a:lnTo>
                  <a:lnTo>
                    <a:pt x="8820" y="1049"/>
                  </a:lnTo>
                  <a:lnTo>
                    <a:pt x="9082" y="1081"/>
                  </a:lnTo>
                  <a:lnTo>
                    <a:pt x="9342" y="1122"/>
                  </a:lnTo>
                  <a:lnTo>
                    <a:pt x="9601" y="1172"/>
                  </a:lnTo>
                  <a:lnTo>
                    <a:pt x="9859" y="1230"/>
                  </a:lnTo>
                  <a:lnTo>
                    <a:pt x="10114" y="1296"/>
                  </a:lnTo>
                  <a:lnTo>
                    <a:pt x="10366" y="1371"/>
                  </a:lnTo>
                  <a:lnTo>
                    <a:pt x="10616" y="1454"/>
                  </a:lnTo>
                  <a:lnTo>
                    <a:pt x="10863" y="1545"/>
                  </a:lnTo>
                  <a:lnTo>
                    <a:pt x="11108" y="1643"/>
                  </a:lnTo>
                  <a:lnTo>
                    <a:pt x="11349" y="1750"/>
                  </a:lnTo>
                  <a:lnTo>
                    <a:pt x="11587" y="1864"/>
                  </a:lnTo>
                  <a:lnTo>
                    <a:pt x="11821" y="1985"/>
                  </a:lnTo>
                  <a:lnTo>
                    <a:pt x="12051" y="2113"/>
                  </a:lnTo>
                  <a:lnTo>
                    <a:pt x="12276" y="2249"/>
                  </a:lnTo>
                  <a:lnTo>
                    <a:pt x="12498" y="2392"/>
                  </a:lnTo>
                  <a:lnTo>
                    <a:pt x="12715" y="2540"/>
                  </a:lnTo>
                  <a:lnTo>
                    <a:pt x="12926" y="2696"/>
                  </a:lnTo>
                  <a:lnTo>
                    <a:pt x="13132" y="2859"/>
                  </a:lnTo>
                  <a:lnTo>
                    <a:pt x="13333" y="3028"/>
                  </a:lnTo>
                  <a:lnTo>
                    <a:pt x="13529" y="3203"/>
                  </a:lnTo>
                  <a:lnTo>
                    <a:pt x="13718" y="3384"/>
                  </a:lnTo>
                  <a:lnTo>
                    <a:pt x="13901" y="3571"/>
                  </a:lnTo>
                  <a:lnTo>
                    <a:pt x="14078" y="3763"/>
                  </a:lnTo>
                  <a:lnTo>
                    <a:pt x="14247" y="3962"/>
                  </a:lnTo>
                  <a:lnTo>
                    <a:pt x="14411" y="4166"/>
                  </a:lnTo>
                  <a:lnTo>
                    <a:pt x="14567" y="4375"/>
                  </a:lnTo>
                  <a:lnTo>
                    <a:pt x="14715" y="4589"/>
                  </a:lnTo>
                  <a:lnTo>
                    <a:pt x="14857" y="4809"/>
                  </a:lnTo>
                  <a:lnTo>
                    <a:pt x="14989" y="5034"/>
                  </a:lnTo>
                  <a:lnTo>
                    <a:pt x="14856" y="5258"/>
                  </a:lnTo>
                  <a:lnTo>
                    <a:pt x="14714" y="5477"/>
                  </a:lnTo>
                  <a:lnTo>
                    <a:pt x="14566" y="5692"/>
                  </a:lnTo>
                  <a:lnTo>
                    <a:pt x="14409" y="5901"/>
                  </a:lnTo>
                  <a:lnTo>
                    <a:pt x="14245" y="6106"/>
                  </a:lnTo>
                  <a:lnTo>
                    <a:pt x="14075" y="6304"/>
                  </a:lnTo>
                  <a:lnTo>
                    <a:pt x="13898" y="6497"/>
                  </a:lnTo>
                  <a:lnTo>
                    <a:pt x="13715" y="6684"/>
                  </a:lnTo>
                  <a:lnTo>
                    <a:pt x="13525" y="6865"/>
                  </a:lnTo>
                  <a:lnTo>
                    <a:pt x="13329" y="7040"/>
                  </a:lnTo>
                  <a:lnTo>
                    <a:pt x="13128" y="7208"/>
                  </a:lnTo>
                  <a:lnTo>
                    <a:pt x="12922" y="7371"/>
                  </a:lnTo>
                  <a:lnTo>
                    <a:pt x="12711" y="7527"/>
                  </a:lnTo>
                  <a:lnTo>
                    <a:pt x="12494" y="7675"/>
                  </a:lnTo>
                  <a:lnTo>
                    <a:pt x="12272" y="7818"/>
                  </a:lnTo>
                  <a:lnTo>
                    <a:pt x="12047" y="7953"/>
                  </a:lnTo>
                  <a:lnTo>
                    <a:pt x="11817" y="8082"/>
                  </a:lnTo>
                  <a:lnTo>
                    <a:pt x="11584" y="8202"/>
                  </a:lnTo>
                  <a:lnTo>
                    <a:pt x="11346" y="8316"/>
                  </a:lnTo>
                  <a:lnTo>
                    <a:pt x="11105" y="8423"/>
                  </a:lnTo>
                  <a:lnTo>
                    <a:pt x="10860" y="8520"/>
                  </a:lnTo>
                  <a:lnTo>
                    <a:pt x="10613" y="8612"/>
                  </a:lnTo>
                  <a:lnTo>
                    <a:pt x="10363" y="8694"/>
                  </a:lnTo>
                  <a:lnTo>
                    <a:pt x="10111" y="8769"/>
                  </a:lnTo>
                  <a:lnTo>
                    <a:pt x="9856" y="8835"/>
                  </a:lnTo>
                  <a:lnTo>
                    <a:pt x="9599" y="8893"/>
                  </a:lnTo>
                  <a:lnTo>
                    <a:pt x="9341" y="8943"/>
                  </a:lnTo>
                  <a:lnTo>
                    <a:pt x="9081" y="8983"/>
                  </a:lnTo>
                  <a:lnTo>
                    <a:pt x="8819" y="9015"/>
                  </a:lnTo>
                  <a:lnTo>
                    <a:pt x="8556" y="9038"/>
                  </a:lnTo>
                  <a:lnTo>
                    <a:pt x="8293" y="9052"/>
                  </a:lnTo>
                  <a:lnTo>
                    <a:pt x="8029" y="9056"/>
                  </a:lnTo>
                  <a:close/>
                  <a:moveTo>
                    <a:pt x="16040" y="4921"/>
                  </a:moveTo>
                  <a:lnTo>
                    <a:pt x="16038" y="4905"/>
                  </a:lnTo>
                  <a:lnTo>
                    <a:pt x="16037" y="4889"/>
                  </a:lnTo>
                  <a:lnTo>
                    <a:pt x="16036" y="4881"/>
                  </a:lnTo>
                  <a:lnTo>
                    <a:pt x="16035" y="4873"/>
                  </a:lnTo>
                  <a:lnTo>
                    <a:pt x="16033" y="4865"/>
                  </a:lnTo>
                  <a:lnTo>
                    <a:pt x="16031" y="4857"/>
                  </a:lnTo>
                  <a:lnTo>
                    <a:pt x="16024" y="4846"/>
                  </a:lnTo>
                  <a:lnTo>
                    <a:pt x="16017" y="4835"/>
                  </a:lnTo>
                  <a:lnTo>
                    <a:pt x="16014" y="4826"/>
                  </a:lnTo>
                  <a:lnTo>
                    <a:pt x="16012" y="4816"/>
                  </a:lnTo>
                  <a:lnTo>
                    <a:pt x="16010" y="4807"/>
                  </a:lnTo>
                  <a:lnTo>
                    <a:pt x="16007" y="4798"/>
                  </a:lnTo>
                  <a:lnTo>
                    <a:pt x="15864" y="4539"/>
                  </a:lnTo>
                  <a:lnTo>
                    <a:pt x="15713" y="4283"/>
                  </a:lnTo>
                  <a:lnTo>
                    <a:pt x="15552" y="4034"/>
                  </a:lnTo>
                  <a:lnTo>
                    <a:pt x="15383" y="3789"/>
                  </a:lnTo>
                  <a:lnTo>
                    <a:pt x="15203" y="3550"/>
                  </a:lnTo>
                  <a:lnTo>
                    <a:pt x="15015" y="3318"/>
                  </a:lnTo>
                  <a:lnTo>
                    <a:pt x="14820" y="3091"/>
                  </a:lnTo>
                  <a:lnTo>
                    <a:pt x="14616" y="2869"/>
                  </a:lnTo>
                  <a:lnTo>
                    <a:pt x="14404" y="2654"/>
                  </a:lnTo>
                  <a:lnTo>
                    <a:pt x="14184" y="2447"/>
                  </a:lnTo>
                  <a:lnTo>
                    <a:pt x="13957" y="2246"/>
                  </a:lnTo>
                  <a:lnTo>
                    <a:pt x="13724" y="2052"/>
                  </a:lnTo>
                  <a:lnTo>
                    <a:pt x="13484" y="1865"/>
                  </a:lnTo>
                  <a:lnTo>
                    <a:pt x="13237" y="1686"/>
                  </a:lnTo>
                  <a:lnTo>
                    <a:pt x="12985" y="1515"/>
                  </a:lnTo>
                  <a:lnTo>
                    <a:pt x="12726" y="1351"/>
                  </a:lnTo>
                  <a:lnTo>
                    <a:pt x="12462" y="1196"/>
                  </a:lnTo>
                  <a:lnTo>
                    <a:pt x="12193" y="1049"/>
                  </a:lnTo>
                  <a:lnTo>
                    <a:pt x="11918" y="910"/>
                  </a:lnTo>
                  <a:lnTo>
                    <a:pt x="11639" y="781"/>
                  </a:lnTo>
                  <a:lnTo>
                    <a:pt x="11356" y="661"/>
                  </a:lnTo>
                  <a:lnTo>
                    <a:pt x="11069" y="550"/>
                  </a:lnTo>
                  <a:lnTo>
                    <a:pt x="10777" y="449"/>
                  </a:lnTo>
                  <a:lnTo>
                    <a:pt x="10483" y="357"/>
                  </a:lnTo>
                  <a:lnTo>
                    <a:pt x="10185" y="275"/>
                  </a:lnTo>
                  <a:lnTo>
                    <a:pt x="9883" y="203"/>
                  </a:lnTo>
                  <a:lnTo>
                    <a:pt x="9580" y="142"/>
                  </a:lnTo>
                  <a:lnTo>
                    <a:pt x="9273" y="92"/>
                  </a:lnTo>
                  <a:lnTo>
                    <a:pt x="8964" y="52"/>
                  </a:lnTo>
                  <a:lnTo>
                    <a:pt x="8654" y="23"/>
                  </a:lnTo>
                  <a:lnTo>
                    <a:pt x="8342" y="6"/>
                  </a:lnTo>
                  <a:lnTo>
                    <a:pt x="8029" y="0"/>
                  </a:lnTo>
                  <a:lnTo>
                    <a:pt x="7716" y="6"/>
                  </a:lnTo>
                  <a:lnTo>
                    <a:pt x="7404" y="23"/>
                  </a:lnTo>
                  <a:lnTo>
                    <a:pt x="7094" y="51"/>
                  </a:lnTo>
                  <a:lnTo>
                    <a:pt x="6786" y="92"/>
                  </a:lnTo>
                  <a:lnTo>
                    <a:pt x="6478" y="142"/>
                  </a:lnTo>
                  <a:lnTo>
                    <a:pt x="6175" y="203"/>
                  </a:lnTo>
                  <a:lnTo>
                    <a:pt x="5874" y="275"/>
                  </a:lnTo>
                  <a:lnTo>
                    <a:pt x="5576" y="356"/>
                  </a:lnTo>
                  <a:lnTo>
                    <a:pt x="5281" y="448"/>
                  </a:lnTo>
                  <a:lnTo>
                    <a:pt x="4990" y="549"/>
                  </a:lnTo>
                  <a:lnTo>
                    <a:pt x="4702" y="660"/>
                  </a:lnTo>
                  <a:lnTo>
                    <a:pt x="4419" y="780"/>
                  </a:lnTo>
                  <a:lnTo>
                    <a:pt x="4140" y="909"/>
                  </a:lnTo>
                  <a:lnTo>
                    <a:pt x="3866" y="1047"/>
                  </a:lnTo>
                  <a:lnTo>
                    <a:pt x="3596" y="1194"/>
                  </a:lnTo>
                  <a:lnTo>
                    <a:pt x="3332" y="1349"/>
                  </a:lnTo>
                  <a:lnTo>
                    <a:pt x="3073" y="1513"/>
                  </a:lnTo>
                  <a:lnTo>
                    <a:pt x="2821" y="1684"/>
                  </a:lnTo>
                  <a:lnTo>
                    <a:pt x="2574" y="1863"/>
                  </a:lnTo>
                  <a:lnTo>
                    <a:pt x="2334" y="2050"/>
                  </a:lnTo>
                  <a:lnTo>
                    <a:pt x="2101" y="2243"/>
                  </a:lnTo>
                  <a:lnTo>
                    <a:pt x="1874" y="2444"/>
                  </a:lnTo>
                  <a:lnTo>
                    <a:pt x="1655" y="2652"/>
                  </a:lnTo>
                  <a:lnTo>
                    <a:pt x="1443" y="2866"/>
                  </a:lnTo>
                  <a:lnTo>
                    <a:pt x="1238" y="3087"/>
                  </a:lnTo>
                  <a:lnTo>
                    <a:pt x="1043" y="3314"/>
                  </a:lnTo>
                  <a:lnTo>
                    <a:pt x="855" y="3547"/>
                  </a:lnTo>
                  <a:lnTo>
                    <a:pt x="675" y="3785"/>
                  </a:lnTo>
                  <a:lnTo>
                    <a:pt x="506" y="4031"/>
                  </a:lnTo>
                  <a:lnTo>
                    <a:pt x="345" y="4280"/>
                  </a:lnTo>
                  <a:lnTo>
                    <a:pt x="194" y="4535"/>
                  </a:lnTo>
                  <a:lnTo>
                    <a:pt x="52" y="4794"/>
                  </a:lnTo>
                  <a:lnTo>
                    <a:pt x="48" y="4804"/>
                  </a:lnTo>
                  <a:lnTo>
                    <a:pt x="46" y="4813"/>
                  </a:lnTo>
                  <a:lnTo>
                    <a:pt x="44" y="4822"/>
                  </a:lnTo>
                  <a:lnTo>
                    <a:pt x="41" y="4831"/>
                  </a:lnTo>
                  <a:lnTo>
                    <a:pt x="34" y="4842"/>
                  </a:lnTo>
                  <a:lnTo>
                    <a:pt x="28" y="4853"/>
                  </a:lnTo>
                  <a:lnTo>
                    <a:pt x="25" y="4861"/>
                  </a:lnTo>
                  <a:lnTo>
                    <a:pt x="23" y="4869"/>
                  </a:lnTo>
                  <a:lnTo>
                    <a:pt x="22" y="4877"/>
                  </a:lnTo>
                  <a:lnTo>
                    <a:pt x="22" y="4885"/>
                  </a:lnTo>
                  <a:lnTo>
                    <a:pt x="20" y="4902"/>
                  </a:lnTo>
                  <a:lnTo>
                    <a:pt x="18" y="4918"/>
                  </a:lnTo>
                  <a:lnTo>
                    <a:pt x="11" y="4946"/>
                  </a:lnTo>
                  <a:lnTo>
                    <a:pt x="6" y="4973"/>
                  </a:lnTo>
                  <a:lnTo>
                    <a:pt x="3" y="4987"/>
                  </a:lnTo>
                  <a:lnTo>
                    <a:pt x="2" y="5001"/>
                  </a:lnTo>
                  <a:lnTo>
                    <a:pt x="0" y="5016"/>
                  </a:lnTo>
                  <a:lnTo>
                    <a:pt x="0" y="5030"/>
                  </a:lnTo>
                  <a:lnTo>
                    <a:pt x="0" y="5045"/>
                  </a:lnTo>
                  <a:lnTo>
                    <a:pt x="2" y="5059"/>
                  </a:lnTo>
                  <a:lnTo>
                    <a:pt x="3" y="5073"/>
                  </a:lnTo>
                  <a:lnTo>
                    <a:pt x="6" y="5087"/>
                  </a:lnTo>
                  <a:lnTo>
                    <a:pt x="11" y="5115"/>
                  </a:lnTo>
                  <a:lnTo>
                    <a:pt x="18" y="5143"/>
                  </a:lnTo>
                  <a:lnTo>
                    <a:pt x="20" y="5159"/>
                  </a:lnTo>
                  <a:lnTo>
                    <a:pt x="22" y="5175"/>
                  </a:lnTo>
                  <a:lnTo>
                    <a:pt x="22" y="5183"/>
                  </a:lnTo>
                  <a:lnTo>
                    <a:pt x="23" y="5191"/>
                  </a:lnTo>
                  <a:lnTo>
                    <a:pt x="25" y="5199"/>
                  </a:lnTo>
                  <a:lnTo>
                    <a:pt x="28" y="5207"/>
                  </a:lnTo>
                  <a:lnTo>
                    <a:pt x="34" y="5218"/>
                  </a:lnTo>
                  <a:lnTo>
                    <a:pt x="41" y="5229"/>
                  </a:lnTo>
                  <a:lnTo>
                    <a:pt x="44" y="5238"/>
                  </a:lnTo>
                  <a:lnTo>
                    <a:pt x="46" y="5248"/>
                  </a:lnTo>
                  <a:lnTo>
                    <a:pt x="48" y="5257"/>
                  </a:lnTo>
                  <a:lnTo>
                    <a:pt x="52" y="5266"/>
                  </a:lnTo>
                  <a:lnTo>
                    <a:pt x="194" y="5525"/>
                  </a:lnTo>
                  <a:lnTo>
                    <a:pt x="345" y="5781"/>
                  </a:lnTo>
                  <a:lnTo>
                    <a:pt x="506" y="6030"/>
                  </a:lnTo>
                  <a:lnTo>
                    <a:pt x="675" y="6275"/>
                  </a:lnTo>
                  <a:lnTo>
                    <a:pt x="855" y="6513"/>
                  </a:lnTo>
                  <a:lnTo>
                    <a:pt x="1043" y="6746"/>
                  </a:lnTo>
                  <a:lnTo>
                    <a:pt x="1238" y="6973"/>
                  </a:lnTo>
                  <a:lnTo>
                    <a:pt x="1443" y="7195"/>
                  </a:lnTo>
                  <a:lnTo>
                    <a:pt x="1655" y="7409"/>
                  </a:lnTo>
                  <a:lnTo>
                    <a:pt x="1874" y="7617"/>
                  </a:lnTo>
                  <a:lnTo>
                    <a:pt x="2101" y="7818"/>
                  </a:lnTo>
                  <a:lnTo>
                    <a:pt x="2334" y="8012"/>
                  </a:lnTo>
                  <a:lnTo>
                    <a:pt x="2574" y="8198"/>
                  </a:lnTo>
                  <a:lnTo>
                    <a:pt x="2821" y="8378"/>
                  </a:lnTo>
                  <a:lnTo>
                    <a:pt x="3073" y="8549"/>
                  </a:lnTo>
                  <a:lnTo>
                    <a:pt x="3332" y="8713"/>
                  </a:lnTo>
                  <a:lnTo>
                    <a:pt x="3596" y="8868"/>
                  </a:lnTo>
                  <a:lnTo>
                    <a:pt x="3866" y="9015"/>
                  </a:lnTo>
                  <a:lnTo>
                    <a:pt x="4140" y="9154"/>
                  </a:lnTo>
                  <a:lnTo>
                    <a:pt x="4419" y="9283"/>
                  </a:lnTo>
                  <a:lnTo>
                    <a:pt x="4702" y="9403"/>
                  </a:lnTo>
                  <a:lnTo>
                    <a:pt x="4990" y="9514"/>
                  </a:lnTo>
                  <a:lnTo>
                    <a:pt x="5281" y="9615"/>
                  </a:lnTo>
                  <a:lnTo>
                    <a:pt x="5576" y="9707"/>
                  </a:lnTo>
                  <a:lnTo>
                    <a:pt x="5874" y="9789"/>
                  </a:lnTo>
                  <a:lnTo>
                    <a:pt x="6175" y="9861"/>
                  </a:lnTo>
                  <a:lnTo>
                    <a:pt x="6478" y="9922"/>
                  </a:lnTo>
                  <a:lnTo>
                    <a:pt x="6786" y="9972"/>
                  </a:lnTo>
                  <a:lnTo>
                    <a:pt x="7094" y="10012"/>
                  </a:lnTo>
                  <a:lnTo>
                    <a:pt x="7404" y="10041"/>
                  </a:lnTo>
                  <a:lnTo>
                    <a:pt x="7716" y="10058"/>
                  </a:lnTo>
                  <a:lnTo>
                    <a:pt x="8029" y="10064"/>
                  </a:lnTo>
                  <a:lnTo>
                    <a:pt x="8342" y="10058"/>
                  </a:lnTo>
                  <a:lnTo>
                    <a:pt x="8654" y="10041"/>
                  </a:lnTo>
                  <a:lnTo>
                    <a:pt x="8964" y="10013"/>
                  </a:lnTo>
                  <a:lnTo>
                    <a:pt x="9273" y="9972"/>
                  </a:lnTo>
                  <a:lnTo>
                    <a:pt x="9580" y="9922"/>
                  </a:lnTo>
                  <a:lnTo>
                    <a:pt x="9883" y="9861"/>
                  </a:lnTo>
                  <a:lnTo>
                    <a:pt x="10185" y="9789"/>
                  </a:lnTo>
                  <a:lnTo>
                    <a:pt x="10483" y="9708"/>
                  </a:lnTo>
                  <a:lnTo>
                    <a:pt x="10777" y="9616"/>
                  </a:lnTo>
                  <a:lnTo>
                    <a:pt x="11069" y="9515"/>
                  </a:lnTo>
                  <a:lnTo>
                    <a:pt x="11356" y="9404"/>
                  </a:lnTo>
                  <a:lnTo>
                    <a:pt x="11639" y="9284"/>
                  </a:lnTo>
                  <a:lnTo>
                    <a:pt x="11918" y="9155"/>
                  </a:lnTo>
                  <a:lnTo>
                    <a:pt x="12193" y="9017"/>
                  </a:lnTo>
                  <a:lnTo>
                    <a:pt x="12462" y="8870"/>
                  </a:lnTo>
                  <a:lnTo>
                    <a:pt x="12726" y="8714"/>
                  </a:lnTo>
                  <a:lnTo>
                    <a:pt x="12985" y="8551"/>
                  </a:lnTo>
                  <a:lnTo>
                    <a:pt x="13237" y="8380"/>
                  </a:lnTo>
                  <a:lnTo>
                    <a:pt x="13484" y="8201"/>
                  </a:lnTo>
                  <a:lnTo>
                    <a:pt x="13724" y="8014"/>
                  </a:lnTo>
                  <a:lnTo>
                    <a:pt x="13957" y="7821"/>
                  </a:lnTo>
                  <a:lnTo>
                    <a:pt x="14184" y="7620"/>
                  </a:lnTo>
                  <a:lnTo>
                    <a:pt x="14404" y="7412"/>
                  </a:lnTo>
                  <a:lnTo>
                    <a:pt x="14616" y="7198"/>
                  </a:lnTo>
                  <a:lnTo>
                    <a:pt x="14820" y="6977"/>
                  </a:lnTo>
                  <a:lnTo>
                    <a:pt x="15015" y="6749"/>
                  </a:lnTo>
                  <a:lnTo>
                    <a:pt x="15203" y="6517"/>
                  </a:lnTo>
                  <a:lnTo>
                    <a:pt x="15383" y="6278"/>
                  </a:lnTo>
                  <a:lnTo>
                    <a:pt x="15552" y="6033"/>
                  </a:lnTo>
                  <a:lnTo>
                    <a:pt x="15713" y="5784"/>
                  </a:lnTo>
                  <a:lnTo>
                    <a:pt x="15864" y="5529"/>
                  </a:lnTo>
                  <a:lnTo>
                    <a:pt x="16007" y="5270"/>
                  </a:lnTo>
                  <a:lnTo>
                    <a:pt x="16010" y="5260"/>
                  </a:lnTo>
                  <a:lnTo>
                    <a:pt x="16012" y="5251"/>
                  </a:lnTo>
                  <a:lnTo>
                    <a:pt x="16014" y="5242"/>
                  </a:lnTo>
                  <a:lnTo>
                    <a:pt x="16017" y="5232"/>
                  </a:lnTo>
                  <a:lnTo>
                    <a:pt x="16024" y="5222"/>
                  </a:lnTo>
                  <a:lnTo>
                    <a:pt x="16031" y="5211"/>
                  </a:lnTo>
                  <a:lnTo>
                    <a:pt x="16033" y="5202"/>
                  </a:lnTo>
                  <a:lnTo>
                    <a:pt x="16035" y="5194"/>
                  </a:lnTo>
                  <a:lnTo>
                    <a:pt x="16036" y="5186"/>
                  </a:lnTo>
                  <a:lnTo>
                    <a:pt x="16037" y="5178"/>
                  </a:lnTo>
                  <a:lnTo>
                    <a:pt x="16038" y="5162"/>
                  </a:lnTo>
                  <a:lnTo>
                    <a:pt x="16040" y="5146"/>
                  </a:lnTo>
                  <a:lnTo>
                    <a:pt x="16047" y="5118"/>
                  </a:lnTo>
                  <a:lnTo>
                    <a:pt x="16052" y="5090"/>
                  </a:lnTo>
                  <a:lnTo>
                    <a:pt x="16055" y="5076"/>
                  </a:lnTo>
                  <a:lnTo>
                    <a:pt x="16056" y="5063"/>
                  </a:lnTo>
                  <a:lnTo>
                    <a:pt x="16058" y="5048"/>
                  </a:lnTo>
                  <a:lnTo>
                    <a:pt x="16058" y="5034"/>
                  </a:lnTo>
                  <a:lnTo>
                    <a:pt x="16058" y="5019"/>
                  </a:lnTo>
                  <a:lnTo>
                    <a:pt x="16056" y="5005"/>
                  </a:lnTo>
                  <a:lnTo>
                    <a:pt x="16055" y="4991"/>
                  </a:lnTo>
                  <a:lnTo>
                    <a:pt x="16052" y="4977"/>
                  </a:lnTo>
                  <a:lnTo>
                    <a:pt x="16047" y="4949"/>
                  </a:lnTo>
                  <a:lnTo>
                    <a:pt x="16040" y="49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98" name="ï$ḻïďê">
              <a:extLst>
                <a:ext uri="{FF2B5EF4-FFF2-40B4-BE49-F238E27FC236}">
                  <a16:creationId xmlns:a16="http://schemas.microsoft.com/office/drawing/2014/main" id="{71A27C20-B981-4CD3-9522-5275ABF3B747}"/>
                </a:ext>
              </a:extLst>
            </p:cNvPr>
            <p:cNvSpPr/>
            <p:nvPr/>
          </p:nvSpPr>
          <p:spPr bwMode="auto">
            <a:xfrm>
              <a:off x="6955145" y="475801"/>
              <a:ext cx="86009" cy="86009"/>
            </a:xfrm>
            <a:custGeom>
              <a:avLst/>
              <a:gdLst>
                <a:gd name="T0" fmla="*/ 1902 w 2259"/>
                <a:gd name="T1" fmla="*/ 3 h 2264"/>
                <a:gd name="T2" fmla="*/ 1504 w 2259"/>
                <a:gd name="T3" fmla="*/ 64 h 2264"/>
                <a:gd name="T4" fmla="*/ 1136 w 2259"/>
                <a:gd name="T5" fmla="*/ 200 h 2264"/>
                <a:gd name="T6" fmla="*/ 805 w 2259"/>
                <a:gd name="T7" fmla="*/ 401 h 2264"/>
                <a:gd name="T8" fmla="*/ 521 w 2259"/>
                <a:gd name="T9" fmla="*/ 661 h 2264"/>
                <a:gd name="T10" fmla="*/ 290 w 2259"/>
                <a:gd name="T11" fmla="*/ 970 h 2264"/>
                <a:gd name="T12" fmla="*/ 121 w 2259"/>
                <a:gd name="T13" fmla="*/ 1322 h 2264"/>
                <a:gd name="T14" fmla="*/ 23 w 2259"/>
                <a:gd name="T15" fmla="*/ 1707 h 2264"/>
                <a:gd name="T16" fmla="*/ 0 w 2259"/>
                <a:gd name="T17" fmla="*/ 2026 h 2264"/>
                <a:gd name="T18" fmla="*/ 8 w 2259"/>
                <a:gd name="T19" fmla="*/ 2076 h 2264"/>
                <a:gd name="T20" fmla="*/ 24 w 2259"/>
                <a:gd name="T21" fmla="*/ 2122 h 2264"/>
                <a:gd name="T22" fmla="*/ 49 w 2259"/>
                <a:gd name="T23" fmla="*/ 2163 h 2264"/>
                <a:gd name="T24" fmla="*/ 82 w 2259"/>
                <a:gd name="T25" fmla="*/ 2199 h 2264"/>
                <a:gd name="T26" fmla="*/ 120 w 2259"/>
                <a:gd name="T27" fmla="*/ 2228 h 2264"/>
                <a:gd name="T28" fmla="*/ 164 w 2259"/>
                <a:gd name="T29" fmla="*/ 2249 h 2264"/>
                <a:gd name="T30" fmla="*/ 213 w 2259"/>
                <a:gd name="T31" fmla="*/ 2262 h 2264"/>
                <a:gd name="T32" fmla="*/ 264 w 2259"/>
                <a:gd name="T33" fmla="*/ 2264 h 2264"/>
                <a:gd name="T34" fmla="*/ 313 w 2259"/>
                <a:gd name="T35" fmla="*/ 2257 h 2264"/>
                <a:gd name="T36" fmla="*/ 359 w 2259"/>
                <a:gd name="T37" fmla="*/ 2240 h 2264"/>
                <a:gd name="T38" fmla="*/ 400 w 2259"/>
                <a:gd name="T39" fmla="*/ 2215 h 2264"/>
                <a:gd name="T40" fmla="*/ 436 w 2259"/>
                <a:gd name="T41" fmla="*/ 2181 h 2264"/>
                <a:gd name="T42" fmla="*/ 465 w 2259"/>
                <a:gd name="T43" fmla="*/ 2143 h 2264"/>
                <a:gd name="T44" fmla="*/ 487 w 2259"/>
                <a:gd name="T45" fmla="*/ 2099 h 2264"/>
                <a:gd name="T46" fmla="*/ 499 w 2259"/>
                <a:gd name="T47" fmla="*/ 2051 h 2264"/>
                <a:gd name="T48" fmla="*/ 504 w 2259"/>
                <a:gd name="T49" fmla="*/ 1935 h 2264"/>
                <a:gd name="T50" fmla="*/ 549 w 2259"/>
                <a:gd name="T51" fmla="*/ 1636 h 2264"/>
                <a:gd name="T52" fmla="*/ 650 w 2259"/>
                <a:gd name="T53" fmla="*/ 1359 h 2264"/>
                <a:gd name="T54" fmla="*/ 801 w 2259"/>
                <a:gd name="T55" fmla="*/ 1110 h 2264"/>
                <a:gd name="T56" fmla="*/ 995 w 2259"/>
                <a:gd name="T57" fmla="*/ 896 h 2264"/>
                <a:gd name="T58" fmla="*/ 1227 w 2259"/>
                <a:gd name="T59" fmla="*/ 722 h 2264"/>
                <a:gd name="T60" fmla="*/ 1490 w 2259"/>
                <a:gd name="T61" fmla="*/ 595 h 2264"/>
                <a:gd name="T62" fmla="*/ 1779 w 2259"/>
                <a:gd name="T63" fmla="*/ 521 h 2264"/>
                <a:gd name="T64" fmla="*/ 2008 w 2259"/>
                <a:gd name="T65" fmla="*/ 503 h 2264"/>
                <a:gd name="T66" fmla="*/ 2058 w 2259"/>
                <a:gd name="T67" fmla="*/ 498 h 2264"/>
                <a:gd name="T68" fmla="*/ 2105 w 2259"/>
                <a:gd name="T69" fmla="*/ 483 h 2264"/>
                <a:gd name="T70" fmla="*/ 2149 w 2259"/>
                <a:gd name="T71" fmla="*/ 460 h 2264"/>
                <a:gd name="T72" fmla="*/ 2186 w 2259"/>
                <a:gd name="T73" fmla="*/ 430 h 2264"/>
                <a:gd name="T74" fmla="*/ 2216 w 2259"/>
                <a:gd name="T75" fmla="*/ 392 h 2264"/>
                <a:gd name="T76" fmla="*/ 2239 w 2259"/>
                <a:gd name="T77" fmla="*/ 349 h 2264"/>
                <a:gd name="T78" fmla="*/ 2254 w 2259"/>
                <a:gd name="T79" fmla="*/ 302 h 2264"/>
                <a:gd name="T80" fmla="*/ 2259 w 2259"/>
                <a:gd name="T81" fmla="*/ 252 h 2264"/>
                <a:gd name="T82" fmla="*/ 2254 w 2259"/>
                <a:gd name="T83" fmla="*/ 201 h 2264"/>
                <a:gd name="T84" fmla="*/ 2239 w 2259"/>
                <a:gd name="T85" fmla="*/ 154 h 2264"/>
                <a:gd name="T86" fmla="*/ 2216 w 2259"/>
                <a:gd name="T87" fmla="*/ 111 h 2264"/>
                <a:gd name="T88" fmla="*/ 2186 w 2259"/>
                <a:gd name="T89" fmla="*/ 74 h 2264"/>
                <a:gd name="T90" fmla="*/ 2149 w 2259"/>
                <a:gd name="T91" fmla="*/ 42 h 2264"/>
                <a:gd name="T92" fmla="*/ 2105 w 2259"/>
                <a:gd name="T93" fmla="*/ 19 h 2264"/>
                <a:gd name="T94" fmla="*/ 2058 w 2259"/>
                <a:gd name="T95" fmla="*/ 5 h 2264"/>
                <a:gd name="T96" fmla="*/ 2008 w 2259"/>
                <a:gd name="T97" fmla="*/ 0 h 2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59" h="2264">
                  <a:moveTo>
                    <a:pt x="2008" y="0"/>
                  </a:moveTo>
                  <a:lnTo>
                    <a:pt x="2006" y="0"/>
                  </a:lnTo>
                  <a:lnTo>
                    <a:pt x="2005" y="0"/>
                  </a:lnTo>
                  <a:lnTo>
                    <a:pt x="1902" y="3"/>
                  </a:lnTo>
                  <a:lnTo>
                    <a:pt x="1800" y="11"/>
                  </a:lnTo>
                  <a:lnTo>
                    <a:pt x="1700" y="24"/>
                  </a:lnTo>
                  <a:lnTo>
                    <a:pt x="1601" y="42"/>
                  </a:lnTo>
                  <a:lnTo>
                    <a:pt x="1504" y="64"/>
                  </a:lnTo>
                  <a:lnTo>
                    <a:pt x="1409" y="92"/>
                  </a:lnTo>
                  <a:lnTo>
                    <a:pt x="1315" y="124"/>
                  </a:lnTo>
                  <a:lnTo>
                    <a:pt x="1224" y="159"/>
                  </a:lnTo>
                  <a:lnTo>
                    <a:pt x="1136" y="200"/>
                  </a:lnTo>
                  <a:lnTo>
                    <a:pt x="1049" y="244"/>
                  </a:lnTo>
                  <a:lnTo>
                    <a:pt x="965" y="293"/>
                  </a:lnTo>
                  <a:lnTo>
                    <a:pt x="884" y="345"/>
                  </a:lnTo>
                  <a:lnTo>
                    <a:pt x="805" y="401"/>
                  </a:lnTo>
                  <a:lnTo>
                    <a:pt x="729" y="461"/>
                  </a:lnTo>
                  <a:lnTo>
                    <a:pt x="656" y="524"/>
                  </a:lnTo>
                  <a:lnTo>
                    <a:pt x="587" y="590"/>
                  </a:lnTo>
                  <a:lnTo>
                    <a:pt x="521" y="661"/>
                  </a:lnTo>
                  <a:lnTo>
                    <a:pt x="457" y="733"/>
                  </a:lnTo>
                  <a:lnTo>
                    <a:pt x="398" y="810"/>
                  </a:lnTo>
                  <a:lnTo>
                    <a:pt x="342" y="888"/>
                  </a:lnTo>
                  <a:lnTo>
                    <a:pt x="290" y="970"/>
                  </a:lnTo>
                  <a:lnTo>
                    <a:pt x="242" y="1054"/>
                  </a:lnTo>
                  <a:lnTo>
                    <a:pt x="197" y="1141"/>
                  </a:lnTo>
                  <a:lnTo>
                    <a:pt x="157" y="1230"/>
                  </a:lnTo>
                  <a:lnTo>
                    <a:pt x="121" y="1322"/>
                  </a:lnTo>
                  <a:lnTo>
                    <a:pt x="90" y="1415"/>
                  </a:lnTo>
                  <a:lnTo>
                    <a:pt x="63" y="1510"/>
                  </a:lnTo>
                  <a:lnTo>
                    <a:pt x="40" y="1607"/>
                  </a:lnTo>
                  <a:lnTo>
                    <a:pt x="23" y="1707"/>
                  </a:lnTo>
                  <a:lnTo>
                    <a:pt x="10" y="1807"/>
                  </a:lnTo>
                  <a:lnTo>
                    <a:pt x="2" y="1909"/>
                  </a:lnTo>
                  <a:lnTo>
                    <a:pt x="0" y="2012"/>
                  </a:lnTo>
                  <a:lnTo>
                    <a:pt x="0" y="2026"/>
                  </a:lnTo>
                  <a:lnTo>
                    <a:pt x="1" y="2039"/>
                  </a:lnTo>
                  <a:lnTo>
                    <a:pt x="3" y="2051"/>
                  </a:lnTo>
                  <a:lnTo>
                    <a:pt x="5" y="2064"/>
                  </a:lnTo>
                  <a:lnTo>
                    <a:pt x="8" y="2076"/>
                  </a:lnTo>
                  <a:lnTo>
                    <a:pt x="11" y="2088"/>
                  </a:lnTo>
                  <a:lnTo>
                    <a:pt x="15" y="2099"/>
                  </a:lnTo>
                  <a:lnTo>
                    <a:pt x="19" y="2111"/>
                  </a:lnTo>
                  <a:lnTo>
                    <a:pt x="24" y="2122"/>
                  </a:lnTo>
                  <a:lnTo>
                    <a:pt x="30" y="2132"/>
                  </a:lnTo>
                  <a:lnTo>
                    <a:pt x="36" y="2143"/>
                  </a:lnTo>
                  <a:lnTo>
                    <a:pt x="42" y="2153"/>
                  </a:lnTo>
                  <a:lnTo>
                    <a:pt x="49" y="2163"/>
                  </a:lnTo>
                  <a:lnTo>
                    <a:pt x="57" y="2172"/>
                  </a:lnTo>
                  <a:lnTo>
                    <a:pt x="65" y="2181"/>
                  </a:lnTo>
                  <a:lnTo>
                    <a:pt x="73" y="2191"/>
                  </a:lnTo>
                  <a:lnTo>
                    <a:pt x="82" y="2199"/>
                  </a:lnTo>
                  <a:lnTo>
                    <a:pt x="91" y="2207"/>
                  </a:lnTo>
                  <a:lnTo>
                    <a:pt x="100" y="2215"/>
                  </a:lnTo>
                  <a:lnTo>
                    <a:pt x="110" y="2222"/>
                  </a:lnTo>
                  <a:lnTo>
                    <a:pt x="120" y="2228"/>
                  </a:lnTo>
                  <a:lnTo>
                    <a:pt x="131" y="2234"/>
                  </a:lnTo>
                  <a:lnTo>
                    <a:pt x="142" y="2240"/>
                  </a:lnTo>
                  <a:lnTo>
                    <a:pt x="153" y="2245"/>
                  </a:lnTo>
                  <a:lnTo>
                    <a:pt x="164" y="2249"/>
                  </a:lnTo>
                  <a:lnTo>
                    <a:pt x="176" y="2253"/>
                  </a:lnTo>
                  <a:lnTo>
                    <a:pt x="187" y="2257"/>
                  </a:lnTo>
                  <a:lnTo>
                    <a:pt x="200" y="2259"/>
                  </a:lnTo>
                  <a:lnTo>
                    <a:pt x="213" y="2262"/>
                  </a:lnTo>
                  <a:lnTo>
                    <a:pt x="225" y="2263"/>
                  </a:lnTo>
                  <a:lnTo>
                    <a:pt x="238" y="2264"/>
                  </a:lnTo>
                  <a:lnTo>
                    <a:pt x="251" y="2264"/>
                  </a:lnTo>
                  <a:lnTo>
                    <a:pt x="264" y="2264"/>
                  </a:lnTo>
                  <a:lnTo>
                    <a:pt x="277" y="2263"/>
                  </a:lnTo>
                  <a:lnTo>
                    <a:pt x="289" y="2262"/>
                  </a:lnTo>
                  <a:lnTo>
                    <a:pt x="301" y="2259"/>
                  </a:lnTo>
                  <a:lnTo>
                    <a:pt x="313" y="2257"/>
                  </a:lnTo>
                  <a:lnTo>
                    <a:pt x="325" y="2253"/>
                  </a:lnTo>
                  <a:lnTo>
                    <a:pt x="337" y="2249"/>
                  </a:lnTo>
                  <a:lnTo>
                    <a:pt x="348" y="2245"/>
                  </a:lnTo>
                  <a:lnTo>
                    <a:pt x="359" y="2240"/>
                  </a:lnTo>
                  <a:lnTo>
                    <a:pt x="370" y="2234"/>
                  </a:lnTo>
                  <a:lnTo>
                    <a:pt x="380" y="2228"/>
                  </a:lnTo>
                  <a:lnTo>
                    <a:pt x="391" y="2222"/>
                  </a:lnTo>
                  <a:lnTo>
                    <a:pt x="400" y="2215"/>
                  </a:lnTo>
                  <a:lnTo>
                    <a:pt x="410" y="2207"/>
                  </a:lnTo>
                  <a:lnTo>
                    <a:pt x="419" y="2199"/>
                  </a:lnTo>
                  <a:lnTo>
                    <a:pt x="428" y="2191"/>
                  </a:lnTo>
                  <a:lnTo>
                    <a:pt x="436" y="2181"/>
                  </a:lnTo>
                  <a:lnTo>
                    <a:pt x="444" y="2172"/>
                  </a:lnTo>
                  <a:lnTo>
                    <a:pt x="451" y="2163"/>
                  </a:lnTo>
                  <a:lnTo>
                    <a:pt x="458" y="2153"/>
                  </a:lnTo>
                  <a:lnTo>
                    <a:pt x="465" y="2143"/>
                  </a:lnTo>
                  <a:lnTo>
                    <a:pt x="471" y="2132"/>
                  </a:lnTo>
                  <a:lnTo>
                    <a:pt x="476" y="2122"/>
                  </a:lnTo>
                  <a:lnTo>
                    <a:pt x="481" y="2111"/>
                  </a:lnTo>
                  <a:lnTo>
                    <a:pt x="487" y="2099"/>
                  </a:lnTo>
                  <a:lnTo>
                    <a:pt x="491" y="2088"/>
                  </a:lnTo>
                  <a:lnTo>
                    <a:pt x="494" y="2076"/>
                  </a:lnTo>
                  <a:lnTo>
                    <a:pt x="497" y="2064"/>
                  </a:lnTo>
                  <a:lnTo>
                    <a:pt x="499" y="2051"/>
                  </a:lnTo>
                  <a:lnTo>
                    <a:pt x="501" y="2039"/>
                  </a:lnTo>
                  <a:lnTo>
                    <a:pt x="501" y="2026"/>
                  </a:lnTo>
                  <a:lnTo>
                    <a:pt x="502" y="2012"/>
                  </a:lnTo>
                  <a:lnTo>
                    <a:pt x="504" y="1935"/>
                  </a:lnTo>
                  <a:lnTo>
                    <a:pt x="510" y="1859"/>
                  </a:lnTo>
                  <a:lnTo>
                    <a:pt x="519" y="1783"/>
                  </a:lnTo>
                  <a:lnTo>
                    <a:pt x="532" y="1709"/>
                  </a:lnTo>
                  <a:lnTo>
                    <a:pt x="549" y="1636"/>
                  </a:lnTo>
                  <a:lnTo>
                    <a:pt x="569" y="1564"/>
                  </a:lnTo>
                  <a:lnTo>
                    <a:pt x="593" y="1495"/>
                  </a:lnTo>
                  <a:lnTo>
                    <a:pt x="620" y="1426"/>
                  </a:lnTo>
                  <a:lnTo>
                    <a:pt x="650" y="1359"/>
                  </a:lnTo>
                  <a:lnTo>
                    <a:pt x="683" y="1294"/>
                  </a:lnTo>
                  <a:lnTo>
                    <a:pt x="719" y="1231"/>
                  </a:lnTo>
                  <a:lnTo>
                    <a:pt x="759" y="1170"/>
                  </a:lnTo>
                  <a:lnTo>
                    <a:pt x="801" y="1110"/>
                  </a:lnTo>
                  <a:lnTo>
                    <a:pt x="846" y="1053"/>
                  </a:lnTo>
                  <a:lnTo>
                    <a:pt x="893" y="999"/>
                  </a:lnTo>
                  <a:lnTo>
                    <a:pt x="943" y="946"/>
                  </a:lnTo>
                  <a:lnTo>
                    <a:pt x="995" y="896"/>
                  </a:lnTo>
                  <a:lnTo>
                    <a:pt x="1051" y="849"/>
                  </a:lnTo>
                  <a:lnTo>
                    <a:pt x="1107" y="804"/>
                  </a:lnTo>
                  <a:lnTo>
                    <a:pt x="1166" y="761"/>
                  </a:lnTo>
                  <a:lnTo>
                    <a:pt x="1227" y="722"/>
                  </a:lnTo>
                  <a:lnTo>
                    <a:pt x="1290" y="686"/>
                  </a:lnTo>
                  <a:lnTo>
                    <a:pt x="1356" y="653"/>
                  </a:lnTo>
                  <a:lnTo>
                    <a:pt x="1422" y="623"/>
                  </a:lnTo>
                  <a:lnTo>
                    <a:pt x="1490" y="595"/>
                  </a:lnTo>
                  <a:lnTo>
                    <a:pt x="1560" y="571"/>
                  </a:lnTo>
                  <a:lnTo>
                    <a:pt x="1632" y="551"/>
                  </a:lnTo>
                  <a:lnTo>
                    <a:pt x="1705" y="534"/>
                  </a:lnTo>
                  <a:lnTo>
                    <a:pt x="1779" y="521"/>
                  </a:lnTo>
                  <a:lnTo>
                    <a:pt x="1854" y="511"/>
                  </a:lnTo>
                  <a:lnTo>
                    <a:pt x="1931" y="505"/>
                  </a:lnTo>
                  <a:lnTo>
                    <a:pt x="2008" y="503"/>
                  </a:lnTo>
                  <a:lnTo>
                    <a:pt x="2008" y="503"/>
                  </a:lnTo>
                  <a:lnTo>
                    <a:pt x="2021" y="503"/>
                  </a:lnTo>
                  <a:lnTo>
                    <a:pt x="2034" y="502"/>
                  </a:lnTo>
                  <a:lnTo>
                    <a:pt x="2046" y="500"/>
                  </a:lnTo>
                  <a:lnTo>
                    <a:pt x="2058" y="498"/>
                  </a:lnTo>
                  <a:lnTo>
                    <a:pt x="2070" y="495"/>
                  </a:lnTo>
                  <a:lnTo>
                    <a:pt x="2082" y="492"/>
                  </a:lnTo>
                  <a:lnTo>
                    <a:pt x="2094" y="488"/>
                  </a:lnTo>
                  <a:lnTo>
                    <a:pt x="2105" y="483"/>
                  </a:lnTo>
                  <a:lnTo>
                    <a:pt x="2116" y="478"/>
                  </a:lnTo>
                  <a:lnTo>
                    <a:pt x="2127" y="473"/>
                  </a:lnTo>
                  <a:lnTo>
                    <a:pt x="2137" y="467"/>
                  </a:lnTo>
                  <a:lnTo>
                    <a:pt x="2149" y="460"/>
                  </a:lnTo>
                  <a:lnTo>
                    <a:pt x="2158" y="453"/>
                  </a:lnTo>
                  <a:lnTo>
                    <a:pt x="2168" y="446"/>
                  </a:lnTo>
                  <a:lnTo>
                    <a:pt x="2177" y="438"/>
                  </a:lnTo>
                  <a:lnTo>
                    <a:pt x="2186" y="430"/>
                  </a:lnTo>
                  <a:lnTo>
                    <a:pt x="2194" y="420"/>
                  </a:lnTo>
                  <a:lnTo>
                    <a:pt x="2202" y="411"/>
                  </a:lnTo>
                  <a:lnTo>
                    <a:pt x="2209" y="401"/>
                  </a:lnTo>
                  <a:lnTo>
                    <a:pt x="2216" y="392"/>
                  </a:lnTo>
                  <a:lnTo>
                    <a:pt x="2223" y="381"/>
                  </a:lnTo>
                  <a:lnTo>
                    <a:pt x="2229" y="371"/>
                  </a:lnTo>
                  <a:lnTo>
                    <a:pt x="2234" y="360"/>
                  </a:lnTo>
                  <a:lnTo>
                    <a:pt x="2239" y="349"/>
                  </a:lnTo>
                  <a:lnTo>
                    <a:pt x="2244" y="338"/>
                  </a:lnTo>
                  <a:lnTo>
                    <a:pt x="2248" y="326"/>
                  </a:lnTo>
                  <a:lnTo>
                    <a:pt x="2251" y="314"/>
                  </a:lnTo>
                  <a:lnTo>
                    <a:pt x="2254" y="302"/>
                  </a:lnTo>
                  <a:lnTo>
                    <a:pt x="2256" y="290"/>
                  </a:lnTo>
                  <a:lnTo>
                    <a:pt x="2258" y="278"/>
                  </a:lnTo>
                  <a:lnTo>
                    <a:pt x="2259" y="265"/>
                  </a:lnTo>
                  <a:lnTo>
                    <a:pt x="2259" y="252"/>
                  </a:lnTo>
                  <a:lnTo>
                    <a:pt x="2259" y="238"/>
                  </a:lnTo>
                  <a:lnTo>
                    <a:pt x="2258" y="226"/>
                  </a:lnTo>
                  <a:lnTo>
                    <a:pt x="2256" y="213"/>
                  </a:lnTo>
                  <a:lnTo>
                    <a:pt x="2254" y="201"/>
                  </a:lnTo>
                  <a:lnTo>
                    <a:pt x="2251" y="189"/>
                  </a:lnTo>
                  <a:lnTo>
                    <a:pt x="2248" y="177"/>
                  </a:lnTo>
                  <a:lnTo>
                    <a:pt x="2244" y="165"/>
                  </a:lnTo>
                  <a:lnTo>
                    <a:pt x="2239" y="154"/>
                  </a:lnTo>
                  <a:lnTo>
                    <a:pt x="2234" y="143"/>
                  </a:lnTo>
                  <a:lnTo>
                    <a:pt x="2229" y="132"/>
                  </a:lnTo>
                  <a:lnTo>
                    <a:pt x="2223" y="121"/>
                  </a:lnTo>
                  <a:lnTo>
                    <a:pt x="2216" y="111"/>
                  </a:lnTo>
                  <a:lnTo>
                    <a:pt x="2209" y="101"/>
                  </a:lnTo>
                  <a:lnTo>
                    <a:pt x="2202" y="92"/>
                  </a:lnTo>
                  <a:lnTo>
                    <a:pt x="2194" y="83"/>
                  </a:lnTo>
                  <a:lnTo>
                    <a:pt x="2186" y="74"/>
                  </a:lnTo>
                  <a:lnTo>
                    <a:pt x="2177" y="65"/>
                  </a:lnTo>
                  <a:lnTo>
                    <a:pt x="2168" y="57"/>
                  </a:lnTo>
                  <a:lnTo>
                    <a:pt x="2158" y="49"/>
                  </a:lnTo>
                  <a:lnTo>
                    <a:pt x="2149" y="42"/>
                  </a:lnTo>
                  <a:lnTo>
                    <a:pt x="2137" y="36"/>
                  </a:lnTo>
                  <a:lnTo>
                    <a:pt x="2127" y="30"/>
                  </a:lnTo>
                  <a:lnTo>
                    <a:pt x="2116" y="24"/>
                  </a:lnTo>
                  <a:lnTo>
                    <a:pt x="2105" y="19"/>
                  </a:lnTo>
                  <a:lnTo>
                    <a:pt x="2094" y="15"/>
                  </a:lnTo>
                  <a:lnTo>
                    <a:pt x="2082" y="11"/>
                  </a:lnTo>
                  <a:lnTo>
                    <a:pt x="2070" y="8"/>
                  </a:lnTo>
                  <a:lnTo>
                    <a:pt x="2058" y="5"/>
                  </a:lnTo>
                  <a:lnTo>
                    <a:pt x="2046" y="3"/>
                  </a:lnTo>
                  <a:lnTo>
                    <a:pt x="2034" y="1"/>
                  </a:lnTo>
                  <a:lnTo>
                    <a:pt x="2021" y="0"/>
                  </a:lnTo>
                  <a:lnTo>
                    <a:pt x="200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99" name="ïs1íḋê">
              <a:extLst>
                <a:ext uri="{FF2B5EF4-FFF2-40B4-BE49-F238E27FC236}">
                  <a16:creationId xmlns:a16="http://schemas.microsoft.com/office/drawing/2014/main" id="{FCBAB853-3775-4CCB-AD1D-927BCDD9DEF2}"/>
                </a:ext>
              </a:extLst>
            </p:cNvPr>
            <p:cNvSpPr/>
            <p:nvPr/>
          </p:nvSpPr>
          <p:spPr bwMode="auto">
            <a:xfrm>
              <a:off x="6897336" y="417992"/>
              <a:ext cx="267895" cy="267895"/>
            </a:xfrm>
            <a:custGeom>
              <a:avLst/>
              <a:gdLst>
                <a:gd name="T0" fmla="*/ 2911 w 7036"/>
                <a:gd name="T1" fmla="*/ 6484 h 7049"/>
                <a:gd name="T2" fmla="*/ 2212 w 7036"/>
                <a:gd name="T3" fmla="*/ 6248 h 7049"/>
                <a:gd name="T4" fmla="*/ 1601 w 7036"/>
                <a:gd name="T5" fmla="*/ 5856 h 7049"/>
                <a:gd name="T6" fmla="*/ 1102 w 7036"/>
                <a:gd name="T7" fmla="*/ 5332 h 7049"/>
                <a:gd name="T8" fmla="*/ 740 w 7036"/>
                <a:gd name="T9" fmla="*/ 4699 h 7049"/>
                <a:gd name="T10" fmla="*/ 538 w 7036"/>
                <a:gd name="T11" fmla="*/ 3984 h 7049"/>
                <a:gd name="T12" fmla="*/ 518 w 7036"/>
                <a:gd name="T13" fmla="*/ 3216 h 7049"/>
                <a:gd name="T14" fmla="*/ 686 w 7036"/>
                <a:gd name="T15" fmla="*/ 2487 h 7049"/>
                <a:gd name="T16" fmla="*/ 1019 w 7036"/>
                <a:gd name="T17" fmla="*/ 1836 h 7049"/>
                <a:gd name="T18" fmla="*/ 1492 w 7036"/>
                <a:gd name="T19" fmla="*/ 1289 h 7049"/>
                <a:gd name="T20" fmla="*/ 2082 w 7036"/>
                <a:gd name="T21" fmla="*/ 868 h 7049"/>
                <a:gd name="T22" fmla="*/ 2765 w 7036"/>
                <a:gd name="T23" fmla="*/ 598 h 7049"/>
                <a:gd name="T24" fmla="*/ 3518 w 7036"/>
                <a:gd name="T25" fmla="*/ 503 h 7049"/>
                <a:gd name="T26" fmla="*/ 4271 w 7036"/>
                <a:gd name="T27" fmla="*/ 598 h 7049"/>
                <a:gd name="T28" fmla="*/ 4954 w 7036"/>
                <a:gd name="T29" fmla="*/ 868 h 7049"/>
                <a:gd name="T30" fmla="*/ 5544 w 7036"/>
                <a:gd name="T31" fmla="*/ 1289 h 7049"/>
                <a:gd name="T32" fmla="*/ 6018 w 7036"/>
                <a:gd name="T33" fmla="*/ 1836 h 7049"/>
                <a:gd name="T34" fmla="*/ 6350 w 7036"/>
                <a:gd name="T35" fmla="*/ 2487 h 7049"/>
                <a:gd name="T36" fmla="*/ 6518 w 7036"/>
                <a:gd name="T37" fmla="*/ 3216 h 7049"/>
                <a:gd name="T38" fmla="*/ 6499 w 7036"/>
                <a:gd name="T39" fmla="*/ 3984 h 7049"/>
                <a:gd name="T40" fmla="*/ 6296 w 7036"/>
                <a:gd name="T41" fmla="*/ 4699 h 7049"/>
                <a:gd name="T42" fmla="*/ 5934 w 7036"/>
                <a:gd name="T43" fmla="*/ 5332 h 7049"/>
                <a:gd name="T44" fmla="*/ 5435 w 7036"/>
                <a:gd name="T45" fmla="*/ 5856 h 7049"/>
                <a:gd name="T46" fmla="*/ 4825 w 7036"/>
                <a:gd name="T47" fmla="*/ 6248 h 7049"/>
                <a:gd name="T48" fmla="*/ 4125 w 7036"/>
                <a:gd name="T49" fmla="*/ 6484 h 7049"/>
                <a:gd name="T50" fmla="*/ 3518 w 7036"/>
                <a:gd name="T51" fmla="*/ 0 h 7049"/>
                <a:gd name="T52" fmla="*/ 2639 w 7036"/>
                <a:gd name="T53" fmla="*/ 110 h 7049"/>
                <a:gd name="T54" fmla="*/ 1842 w 7036"/>
                <a:gd name="T55" fmla="*/ 425 h 7049"/>
                <a:gd name="T56" fmla="*/ 1153 w 7036"/>
                <a:gd name="T57" fmla="*/ 916 h 7049"/>
                <a:gd name="T58" fmla="*/ 601 w 7036"/>
                <a:gd name="T59" fmla="*/ 1553 h 7049"/>
                <a:gd name="T60" fmla="*/ 214 w 7036"/>
                <a:gd name="T61" fmla="*/ 2313 h 7049"/>
                <a:gd name="T62" fmla="*/ 18 w 7036"/>
                <a:gd name="T63" fmla="*/ 3164 h 7049"/>
                <a:gd name="T64" fmla="*/ 41 w 7036"/>
                <a:gd name="T65" fmla="*/ 4062 h 7049"/>
                <a:gd name="T66" fmla="*/ 277 w 7036"/>
                <a:gd name="T67" fmla="*/ 4896 h 7049"/>
                <a:gd name="T68" fmla="*/ 700 w 7036"/>
                <a:gd name="T69" fmla="*/ 5633 h 7049"/>
                <a:gd name="T70" fmla="*/ 1281 w 7036"/>
                <a:gd name="T71" fmla="*/ 6245 h 7049"/>
                <a:gd name="T72" fmla="*/ 1993 w 7036"/>
                <a:gd name="T73" fmla="*/ 6703 h 7049"/>
                <a:gd name="T74" fmla="*/ 2809 w 7036"/>
                <a:gd name="T75" fmla="*/ 6978 h 7049"/>
                <a:gd name="T76" fmla="*/ 3700 w 7036"/>
                <a:gd name="T77" fmla="*/ 7045 h 7049"/>
                <a:gd name="T78" fmla="*/ 4565 w 7036"/>
                <a:gd name="T79" fmla="*/ 6892 h 7049"/>
                <a:gd name="T80" fmla="*/ 5343 w 7036"/>
                <a:gd name="T81" fmla="*/ 6540 h 7049"/>
                <a:gd name="T82" fmla="*/ 6006 w 7036"/>
                <a:gd name="T83" fmla="*/ 6018 h 7049"/>
                <a:gd name="T84" fmla="*/ 6527 w 7036"/>
                <a:gd name="T85" fmla="*/ 5353 h 7049"/>
                <a:gd name="T86" fmla="*/ 6878 w 7036"/>
                <a:gd name="T87" fmla="*/ 4572 h 7049"/>
                <a:gd name="T88" fmla="*/ 7032 w 7036"/>
                <a:gd name="T89" fmla="*/ 3706 h 7049"/>
                <a:gd name="T90" fmla="*/ 6964 w 7036"/>
                <a:gd name="T91" fmla="*/ 2814 h 7049"/>
                <a:gd name="T92" fmla="*/ 6689 w 7036"/>
                <a:gd name="T93" fmla="*/ 1997 h 7049"/>
                <a:gd name="T94" fmla="*/ 6233 w 7036"/>
                <a:gd name="T95" fmla="*/ 1283 h 7049"/>
                <a:gd name="T96" fmla="*/ 5623 w 7036"/>
                <a:gd name="T97" fmla="*/ 700 h 7049"/>
                <a:gd name="T98" fmla="*/ 4888 w 7036"/>
                <a:gd name="T99" fmla="*/ 277 h 7049"/>
                <a:gd name="T100" fmla="*/ 4054 w 7036"/>
                <a:gd name="T101" fmla="*/ 40 h 70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036" h="7049">
                  <a:moveTo>
                    <a:pt x="3518" y="6547"/>
                  </a:moveTo>
                  <a:lnTo>
                    <a:pt x="3363" y="6543"/>
                  </a:lnTo>
                  <a:lnTo>
                    <a:pt x="3210" y="6531"/>
                  </a:lnTo>
                  <a:lnTo>
                    <a:pt x="3059" y="6511"/>
                  </a:lnTo>
                  <a:lnTo>
                    <a:pt x="2911" y="6484"/>
                  </a:lnTo>
                  <a:lnTo>
                    <a:pt x="2765" y="6451"/>
                  </a:lnTo>
                  <a:lnTo>
                    <a:pt x="2623" y="6410"/>
                  </a:lnTo>
                  <a:lnTo>
                    <a:pt x="2482" y="6363"/>
                  </a:lnTo>
                  <a:lnTo>
                    <a:pt x="2346" y="6308"/>
                  </a:lnTo>
                  <a:lnTo>
                    <a:pt x="2212" y="6248"/>
                  </a:lnTo>
                  <a:lnTo>
                    <a:pt x="2082" y="6181"/>
                  </a:lnTo>
                  <a:lnTo>
                    <a:pt x="1955" y="6108"/>
                  </a:lnTo>
                  <a:lnTo>
                    <a:pt x="1834" y="6030"/>
                  </a:lnTo>
                  <a:lnTo>
                    <a:pt x="1715" y="5945"/>
                  </a:lnTo>
                  <a:lnTo>
                    <a:pt x="1601" y="5856"/>
                  </a:lnTo>
                  <a:lnTo>
                    <a:pt x="1492" y="5760"/>
                  </a:lnTo>
                  <a:lnTo>
                    <a:pt x="1387" y="5661"/>
                  </a:lnTo>
                  <a:lnTo>
                    <a:pt x="1287" y="5555"/>
                  </a:lnTo>
                  <a:lnTo>
                    <a:pt x="1193" y="5445"/>
                  </a:lnTo>
                  <a:lnTo>
                    <a:pt x="1102" y="5332"/>
                  </a:lnTo>
                  <a:lnTo>
                    <a:pt x="1019" y="5213"/>
                  </a:lnTo>
                  <a:lnTo>
                    <a:pt x="940" y="5090"/>
                  </a:lnTo>
                  <a:lnTo>
                    <a:pt x="867" y="4964"/>
                  </a:lnTo>
                  <a:lnTo>
                    <a:pt x="801" y="4834"/>
                  </a:lnTo>
                  <a:lnTo>
                    <a:pt x="740" y="4699"/>
                  </a:lnTo>
                  <a:lnTo>
                    <a:pt x="686" y="4562"/>
                  </a:lnTo>
                  <a:lnTo>
                    <a:pt x="639" y="4423"/>
                  </a:lnTo>
                  <a:lnTo>
                    <a:pt x="598" y="4279"/>
                  </a:lnTo>
                  <a:lnTo>
                    <a:pt x="564" y="4133"/>
                  </a:lnTo>
                  <a:lnTo>
                    <a:pt x="538" y="3984"/>
                  </a:lnTo>
                  <a:lnTo>
                    <a:pt x="518" y="3833"/>
                  </a:lnTo>
                  <a:lnTo>
                    <a:pt x="507" y="3680"/>
                  </a:lnTo>
                  <a:lnTo>
                    <a:pt x="503" y="3525"/>
                  </a:lnTo>
                  <a:lnTo>
                    <a:pt x="507" y="3370"/>
                  </a:lnTo>
                  <a:lnTo>
                    <a:pt x="518" y="3216"/>
                  </a:lnTo>
                  <a:lnTo>
                    <a:pt x="538" y="3065"/>
                  </a:lnTo>
                  <a:lnTo>
                    <a:pt x="564" y="2916"/>
                  </a:lnTo>
                  <a:lnTo>
                    <a:pt x="598" y="2770"/>
                  </a:lnTo>
                  <a:lnTo>
                    <a:pt x="639" y="2627"/>
                  </a:lnTo>
                  <a:lnTo>
                    <a:pt x="686" y="2487"/>
                  </a:lnTo>
                  <a:lnTo>
                    <a:pt x="740" y="2350"/>
                  </a:lnTo>
                  <a:lnTo>
                    <a:pt x="801" y="2216"/>
                  </a:lnTo>
                  <a:lnTo>
                    <a:pt x="867" y="2085"/>
                  </a:lnTo>
                  <a:lnTo>
                    <a:pt x="940" y="1959"/>
                  </a:lnTo>
                  <a:lnTo>
                    <a:pt x="1019" y="1836"/>
                  </a:lnTo>
                  <a:lnTo>
                    <a:pt x="1102" y="1718"/>
                  </a:lnTo>
                  <a:lnTo>
                    <a:pt x="1193" y="1604"/>
                  </a:lnTo>
                  <a:lnTo>
                    <a:pt x="1287" y="1494"/>
                  </a:lnTo>
                  <a:lnTo>
                    <a:pt x="1387" y="1389"/>
                  </a:lnTo>
                  <a:lnTo>
                    <a:pt x="1492" y="1289"/>
                  </a:lnTo>
                  <a:lnTo>
                    <a:pt x="1601" y="1194"/>
                  </a:lnTo>
                  <a:lnTo>
                    <a:pt x="1715" y="1104"/>
                  </a:lnTo>
                  <a:lnTo>
                    <a:pt x="1834" y="1020"/>
                  </a:lnTo>
                  <a:lnTo>
                    <a:pt x="1955" y="941"/>
                  </a:lnTo>
                  <a:lnTo>
                    <a:pt x="2082" y="868"/>
                  </a:lnTo>
                  <a:lnTo>
                    <a:pt x="2212" y="801"/>
                  </a:lnTo>
                  <a:lnTo>
                    <a:pt x="2346" y="741"/>
                  </a:lnTo>
                  <a:lnTo>
                    <a:pt x="2482" y="686"/>
                  </a:lnTo>
                  <a:lnTo>
                    <a:pt x="2623" y="639"/>
                  </a:lnTo>
                  <a:lnTo>
                    <a:pt x="2765" y="598"/>
                  </a:lnTo>
                  <a:lnTo>
                    <a:pt x="2911" y="565"/>
                  </a:lnTo>
                  <a:lnTo>
                    <a:pt x="3059" y="538"/>
                  </a:lnTo>
                  <a:lnTo>
                    <a:pt x="3210" y="518"/>
                  </a:lnTo>
                  <a:lnTo>
                    <a:pt x="3363" y="507"/>
                  </a:lnTo>
                  <a:lnTo>
                    <a:pt x="3518" y="503"/>
                  </a:lnTo>
                  <a:lnTo>
                    <a:pt x="3674" y="507"/>
                  </a:lnTo>
                  <a:lnTo>
                    <a:pt x="3826" y="518"/>
                  </a:lnTo>
                  <a:lnTo>
                    <a:pt x="3977" y="538"/>
                  </a:lnTo>
                  <a:lnTo>
                    <a:pt x="4125" y="565"/>
                  </a:lnTo>
                  <a:lnTo>
                    <a:pt x="4271" y="598"/>
                  </a:lnTo>
                  <a:lnTo>
                    <a:pt x="4414" y="639"/>
                  </a:lnTo>
                  <a:lnTo>
                    <a:pt x="4554" y="686"/>
                  </a:lnTo>
                  <a:lnTo>
                    <a:pt x="4691" y="741"/>
                  </a:lnTo>
                  <a:lnTo>
                    <a:pt x="4825" y="801"/>
                  </a:lnTo>
                  <a:lnTo>
                    <a:pt x="4954" y="868"/>
                  </a:lnTo>
                  <a:lnTo>
                    <a:pt x="5081" y="941"/>
                  </a:lnTo>
                  <a:lnTo>
                    <a:pt x="5203" y="1020"/>
                  </a:lnTo>
                  <a:lnTo>
                    <a:pt x="5321" y="1104"/>
                  </a:lnTo>
                  <a:lnTo>
                    <a:pt x="5435" y="1194"/>
                  </a:lnTo>
                  <a:lnTo>
                    <a:pt x="5544" y="1289"/>
                  </a:lnTo>
                  <a:lnTo>
                    <a:pt x="5650" y="1389"/>
                  </a:lnTo>
                  <a:lnTo>
                    <a:pt x="5749" y="1494"/>
                  </a:lnTo>
                  <a:lnTo>
                    <a:pt x="5844" y="1604"/>
                  </a:lnTo>
                  <a:lnTo>
                    <a:pt x="5934" y="1718"/>
                  </a:lnTo>
                  <a:lnTo>
                    <a:pt x="6018" y="1836"/>
                  </a:lnTo>
                  <a:lnTo>
                    <a:pt x="6096" y="1959"/>
                  </a:lnTo>
                  <a:lnTo>
                    <a:pt x="6169" y="2085"/>
                  </a:lnTo>
                  <a:lnTo>
                    <a:pt x="6236" y="2216"/>
                  </a:lnTo>
                  <a:lnTo>
                    <a:pt x="6296" y="2350"/>
                  </a:lnTo>
                  <a:lnTo>
                    <a:pt x="6350" y="2487"/>
                  </a:lnTo>
                  <a:lnTo>
                    <a:pt x="6397" y="2627"/>
                  </a:lnTo>
                  <a:lnTo>
                    <a:pt x="6439" y="2770"/>
                  </a:lnTo>
                  <a:lnTo>
                    <a:pt x="6472" y="2916"/>
                  </a:lnTo>
                  <a:lnTo>
                    <a:pt x="6499" y="3065"/>
                  </a:lnTo>
                  <a:lnTo>
                    <a:pt x="6518" y="3216"/>
                  </a:lnTo>
                  <a:lnTo>
                    <a:pt x="6530" y="3370"/>
                  </a:lnTo>
                  <a:lnTo>
                    <a:pt x="6533" y="3525"/>
                  </a:lnTo>
                  <a:lnTo>
                    <a:pt x="6530" y="3680"/>
                  </a:lnTo>
                  <a:lnTo>
                    <a:pt x="6518" y="3833"/>
                  </a:lnTo>
                  <a:lnTo>
                    <a:pt x="6499" y="3984"/>
                  </a:lnTo>
                  <a:lnTo>
                    <a:pt x="6472" y="4133"/>
                  </a:lnTo>
                  <a:lnTo>
                    <a:pt x="6439" y="4279"/>
                  </a:lnTo>
                  <a:lnTo>
                    <a:pt x="6397" y="4423"/>
                  </a:lnTo>
                  <a:lnTo>
                    <a:pt x="6350" y="4562"/>
                  </a:lnTo>
                  <a:lnTo>
                    <a:pt x="6296" y="4699"/>
                  </a:lnTo>
                  <a:lnTo>
                    <a:pt x="6236" y="4834"/>
                  </a:lnTo>
                  <a:lnTo>
                    <a:pt x="6169" y="4964"/>
                  </a:lnTo>
                  <a:lnTo>
                    <a:pt x="6096" y="5090"/>
                  </a:lnTo>
                  <a:lnTo>
                    <a:pt x="6018" y="5213"/>
                  </a:lnTo>
                  <a:lnTo>
                    <a:pt x="5934" y="5332"/>
                  </a:lnTo>
                  <a:lnTo>
                    <a:pt x="5844" y="5445"/>
                  </a:lnTo>
                  <a:lnTo>
                    <a:pt x="5749" y="5555"/>
                  </a:lnTo>
                  <a:lnTo>
                    <a:pt x="5650" y="5661"/>
                  </a:lnTo>
                  <a:lnTo>
                    <a:pt x="5544" y="5760"/>
                  </a:lnTo>
                  <a:lnTo>
                    <a:pt x="5435" y="5856"/>
                  </a:lnTo>
                  <a:lnTo>
                    <a:pt x="5321" y="5945"/>
                  </a:lnTo>
                  <a:lnTo>
                    <a:pt x="5203" y="6030"/>
                  </a:lnTo>
                  <a:lnTo>
                    <a:pt x="5081" y="6108"/>
                  </a:lnTo>
                  <a:lnTo>
                    <a:pt x="4954" y="6181"/>
                  </a:lnTo>
                  <a:lnTo>
                    <a:pt x="4825" y="6248"/>
                  </a:lnTo>
                  <a:lnTo>
                    <a:pt x="4691" y="6308"/>
                  </a:lnTo>
                  <a:lnTo>
                    <a:pt x="4554" y="6363"/>
                  </a:lnTo>
                  <a:lnTo>
                    <a:pt x="4414" y="6410"/>
                  </a:lnTo>
                  <a:lnTo>
                    <a:pt x="4271" y="6451"/>
                  </a:lnTo>
                  <a:lnTo>
                    <a:pt x="4125" y="6484"/>
                  </a:lnTo>
                  <a:lnTo>
                    <a:pt x="3977" y="6511"/>
                  </a:lnTo>
                  <a:lnTo>
                    <a:pt x="3826" y="6531"/>
                  </a:lnTo>
                  <a:lnTo>
                    <a:pt x="3674" y="6543"/>
                  </a:lnTo>
                  <a:lnTo>
                    <a:pt x="3518" y="6547"/>
                  </a:lnTo>
                  <a:close/>
                  <a:moveTo>
                    <a:pt x="3518" y="0"/>
                  </a:moveTo>
                  <a:lnTo>
                    <a:pt x="3337" y="5"/>
                  </a:lnTo>
                  <a:lnTo>
                    <a:pt x="3159" y="18"/>
                  </a:lnTo>
                  <a:lnTo>
                    <a:pt x="2982" y="40"/>
                  </a:lnTo>
                  <a:lnTo>
                    <a:pt x="2809" y="71"/>
                  </a:lnTo>
                  <a:lnTo>
                    <a:pt x="2639" y="110"/>
                  </a:lnTo>
                  <a:lnTo>
                    <a:pt x="2472" y="158"/>
                  </a:lnTo>
                  <a:lnTo>
                    <a:pt x="2309" y="214"/>
                  </a:lnTo>
                  <a:lnTo>
                    <a:pt x="2149" y="277"/>
                  </a:lnTo>
                  <a:lnTo>
                    <a:pt x="1993" y="348"/>
                  </a:lnTo>
                  <a:lnTo>
                    <a:pt x="1842" y="425"/>
                  </a:lnTo>
                  <a:lnTo>
                    <a:pt x="1694" y="510"/>
                  </a:lnTo>
                  <a:lnTo>
                    <a:pt x="1552" y="602"/>
                  </a:lnTo>
                  <a:lnTo>
                    <a:pt x="1413" y="700"/>
                  </a:lnTo>
                  <a:lnTo>
                    <a:pt x="1281" y="804"/>
                  </a:lnTo>
                  <a:lnTo>
                    <a:pt x="1153" y="916"/>
                  </a:lnTo>
                  <a:lnTo>
                    <a:pt x="1031" y="1032"/>
                  </a:lnTo>
                  <a:lnTo>
                    <a:pt x="915" y="1154"/>
                  </a:lnTo>
                  <a:lnTo>
                    <a:pt x="804" y="1283"/>
                  </a:lnTo>
                  <a:lnTo>
                    <a:pt x="700" y="1416"/>
                  </a:lnTo>
                  <a:lnTo>
                    <a:pt x="601" y="1553"/>
                  </a:lnTo>
                  <a:lnTo>
                    <a:pt x="510" y="1697"/>
                  </a:lnTo>
                  <a:lnTo>
                    <a:pt x="425" y="1844"/>
                  </a:lnTo>
                  <a:lnTo>
                    <a:pt x="348" y="1997"/>
                  </a:lnTo>
                  <a:lnTo>
                    <a:pt x="277" y="2153"/>
                  </a:lnTo>
                  <a:lnTo>
                    <a:pt x="214" y="2313"/>
                  </a:lnTo>
                  <a:lnTo>
                    <a:pt x="159" y="2477"/>
                  </a:lnTo>
                  <a:lnTo>
                    <a:pt x="112" y="2644"/>
                  </a:lnTo>
                  <a:lnTo>
                    <a:pt x="72" y="2814"/>
                  </a:lnTo>
                  <a:lnTo>
                    <a:pt x="41" y="2987"/>
                  </a:lnTo>
                  <a:lnTo>
                    <a:pt x="18" y="3164"/>
                  </a:lnTo>
                  <a:lnTo>
                    <a:pt x="5" y="3343"/>
                  </a:lnTo>
                  <a:lnTo>
                    <a:pt x="0" y="3525"/>
                  </a:lnTo>
                  <a:lnTo>
                    <a:pt x="5" y="3706"/>
                  </a:lnTo>
                  <a:lnTo>
                    <a:pt x="18" y="3886"/>
                  </a:lnTo>
                  <a:lnTo>
                    <a:pt x="41" y="4062"/>
                  </a:lnTo>
                  <a:lnTo>
                    <a:pt x="72" y="4236"/>
                  </a:lnTo>
                  <a:lnTo>
                    <a:pt x="112" y="4405"/>
                  </a:lnTo>
                  <a:lnTo>
                    <a:pt x="159" y="4572"/>
                  </a:lnTo>
                  <a:lnTo>
                    <a:pt x="214" y="4736"/>
                  </a:lnTo>
                  <a:lnTo>
                    <a:pt x="277" y="4896"/>
                  </a:lnTo>
                  <a:lnTo>
                    <a:pt x="348" y="5053"/>
                  </a:lnTo>
                  <a:lnTo>
                    <a:pt x="425" y="5205"/>
                  </a:lnTo>
                  <a:lnTo>
                    <a:pt x="510" y="5353"/>
                  </a:lnTo>
                  <a:lnTo>
                    <a:pt x="601" y="5496"/>
                  </a:lnTo>
                  <a:lnTo>
                    <a:pt x="700" y="5633"/>
                  </a:lnTo>
                  <a:lnTo>
                    <a:pt x="804" y="5767"/>
                  </a:lnTo>
                  <a:lnTo>
                    <a:pt x="915" y="5895"/>
                  </a:lnTo>
                  <a:lnTo>
                    <a:pt x="1031" y="6018"/>
                  </a:lnTo>
                  <a:lnTo>
                    <a:pt x="1153" y="6134"/>
                  </a:lnTo>
                  <a:lnTo>
                    <a:pt x="1281" y="6245"/>
                  </a:lnTo>
                  <a:lnTo>
                    <a:pt x="1413" y="6350"/>
                  </a:lnTo>
                  <a:lnTo>
                    <a:pt x="1552" y="6448"/>
                  </a:lnTo>
                  <a:lnTo>
                    <a:pt x="1694" y="6540"/>
                  </a:lnTo>
                  <a:lnTo>
                    <a:pt x="1842" y="6624"/>
                  </a:lnTo>
                  <a:lnTo>
                    <a:pt x="1993" y="6703"/>
                  </a:lnTo>
                  <a:lnTo>
                    <a:pt x="2149" y="6773"/>
                  </a:lnTo>
                  <a:lnTo>
                    <a:pt x="2309" y="6835"/>
                  </a:lnTo>
                  <a:lnTo>
                    <a:pt x="2472" y="6892"/>
                  </a:lnTo>
                  <a:lnTo>
                    <a:pt x="2639" y="6939"/>
                  </a:lnTo>
                  <a:lnTo>
                    <a:pt x="2809" y="6978"/>
                  </a:lnTo>
                  <a:lnTo>
                    <a:pt x="2982" y="7009"/>
                  </a:lnTo>
                  <a:lnTo>
                    <a:pt x="3159" y="7031"/>
                  </a:lnTo>
                  <a:lnTo>
                    <a:pt x="3337" y="7045"/>
                  </a:lnTo>
                  <a:lnTo>
                    <a:pt x="3518" y="7049"/>
                  </a:lnTo>
                  <a:lnTo>
                    <a:pt x="3700" y="7045"/>
                  </a:lnTo>
                  <a:lnTo>
                    <a:pt x="3878" y="7031"/>
                  </a:lnTo>
                  <a:lnTo>
                    <a:pt x="4054" y="7009"/>
                  </a:lnTo>
                  <a:lnTo>
                    <a:pt x="4228" y="6978"/>
                  </a:lnTo>
                  <a:lnTo>
                    <a:pt x="4397" y="6939"/>
                  </a:lnTo>
                  <a:lnTo>
                    <a:pt x="4565" y="6892"/>
                  </a:lnTo>
                  <a:lnTo>
                    <a:pt x="4727" y="6835"/>
                  </a:lnTo>
                  <a:lnTo>
                    <a:pt x="4888" y="6773"/>
                  </a:lnTo>
                  <a:lnTo>
                    <a:pt x="5043" y="6703"/>
                  </a:lnTo>
                  <a:lnTo>
                    <a:pt x="5195" y="6624"/>
                  </a:lnTo>
                  <a:lnTo>
                    <a:pt x="5343" y="6540"/>
                  </a:lnTo>
                  <a:lnTo>
                    <a:pt x="5485" y="6448"/>
                  </a:lnTo>
                  <a:lnTo>
                    <a:pt x="5623" y="6350"/>
                  </a:lnTo>
                  <a:lnTo>
                    <a:pt x="5756" y="6245"/>
                  </a:lnTo>
                  <a:lnTo>
                    <a:pt x="5884" y="6134"/>
                  </a:lnTo>
                  <a:lnTo>
                    <a:pt x="6006" y="6018"/>
                  </a:lnTo>
                  <a:lnTo>
                    <a:pt x="6122" y="5895"/>
                  </a:lnTo>
                  <a:lnTo>
                    <a:pt x="6233" y="5767"/>
                  </a:lnTo>
                  <a:lnTo>
                    <a:pt x="6337" y="5633"/>
                  </a:lnTo>
                  <a:lnTo>
                    <a:pt x="6435" y="5496"/>
                  </a:lnTo>
                  <a:lnTo>
                    <a:pt x="6527" y="5353"/>
                  </a:lnTo>
                  <a:lnTo>
                    <a:pt x="6611" y="5205"/>
                  </a:lnTo>
                  <a:lnTo>
                    <a:pt x="6689" y="5053"/>
                  </a:lnTo>
                  <a:lnTo>
                    <a:pt x="6760" y="4896"/>
                  </a:lnTo>
                  <a:lnTo>
                    <a:pt x="6823" y="4736"/>
                  </a:lnTo>
                  <a:lnTo>
                    <a:pt x="6878" y="4572"/>
                  </a:lnTo>
                  <a:lnTo>
                    <a:pt x="6925" y="4405"/>
                  </a:lnTo>
                  <a:lnTo>
                    <a:pt x="6964" y="4236"/>
                  </a:lnTo>
                  <a:lnTo>
                    <a:pt x="6996" y="4062"/>
                  </a:lnTo>
                  <a:lnTo>
                    <a:pt x="7018" y="3886"/>
                  </a:lnTo>
                  <a:lnTo>
                    <a:pt x="7032" y="3706"/>
                  </a:lnTo>
                  <a:lnTo>
                    <a:pt x="7036" y="3525"/>
                  </a:lnTo>
                  <a:lnTo>
                    <a:pt x="7032" y="3343"/>
                  </a:lnTo>
                  <a:lnTo>
                    <a:pt x="7018" y="3164"/>
                  </a:lnTo>
                  <a:lnTo>
                    <a:pt x="6996" y="2987"/>
                  </a:lnTo>
                  <a:lnTo>
                    <a:pt x="6964" y="2814"/>
                  </a:lnTo>
                  <a:lnTo>
                    <a:pt x="6925" y="2644"/>
                  </a:lnTo>
                  <a:lnTo>
                    <a:pt x="6878" y="2477"/>
                  </a:lnTo>
                  <a:lnTo>
                    <a:pt x="6823" y="2313"/>
                  </a:lnTo>
                  <a:lnTo>
                    <a:pt x="6760" y="2153"/>
                  </a:lnTo>
                  <a:lnTo>
                    <a:pt x="6689" y="1997"/>
                  </a:lnTo>
                  <a:lnTo>
                    <a:pt x="6611" y="1844"/>
                  </a:lnTo>
                  <a:lnTo>
                    <a:pt x="6527" y="1697"/>
                  </a:lnTo>
                  <a:lnTo>
                    <a:pt x="6435" y="1553"/>
                  </a:lnTo>
                  <a:lnTo>
                    <a:pt x="6337" y="1416"/>
                  </a:lnTo>
                  <a:lnTo>
                    <a:pt x="6233" y="1283"/>
                  </a:lnTo>
                  <a:lnTo>
                    <a:pt x="6122" y="1154"/>
                  </a:lnTo>
                  <a:lnTo>
                    <a:pt x="6006" y="1032"/>
                  </a:lnTo>
                  <a:lnTo>
                    <a:pt x="5884" y="916"/>
                  </a:lnTo>
                  <a:lnTo>
                    <a:pt x="5756" y="804"/>
                  </a:lnTo>
                  <a:lnTo>
                    <a:pt x="5623" y="700"/>
                  </a:lnTo>
                  <a:lnTo>
                    <a:pt x="5485" y="602"/>
                  </a:lnTo>
                  <a:lnTo>
                    <a:pt x="5343" y="510"/>
                  </a:lnTo>
                  <a:lnTo>
                    <a:pt x="5195" y="425"/>
                  </a:lnTo>
                  <a:lnTo>
                    <a:pt x="5043" y="348"/>
                  </a:lnTo>
                  <a:lnTo>
                    <a:pt x="4888" y="277"/>
                  </a:lnTo>
                  <a:lnTo>
                    <a:pt x="4727" y="214"/>
                  </a:lnTo>
                  <a:lnTo>
                    <a:pt x="4565" y="158"/>
                  </a:lnTo>
                  <a:lnTo>
                    <a:pt x="4397" y="110"/>
                  </a:lnTo>
                  <a:lnTo>
                    <a:pt x="4228" y="71"/>
                  </a:lnTo>
                  <a:lnTo>
                    <a:pt x="4054" y="40"/>
                  </a:lnTo>
                  <a:lnTo>
                    <a:pt x="3878" y="18"/>
                  </a:lnTo>
                  <a:lnTo>
                    <a:pt x="3700" y="5"/>
                  </a:lnTo>
                  <a:lnTo>
                    <a:pt x="35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77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00" name="ïṣ1îḋé">
              <a:extLst>
                <a:ext uri="{FF2B5EF4-FFF2-40B4-BE49-F238E27FC236}">
                  <a16:creationId xmlns:a16="http://schemas.microsoft.com/office/drawing/2014/main" id="{CEB45053-4478-4AF3-806D-B9805B69D66D}"/>
                </a:ext>
              </a:extLst>
            </p:cNvPr>
            <p:cNvSpPr/>
            <p:nvPr/>
          </p:nvSpPr>
          <p:spPr bwMode="auto">
            <a:xfrm>
              <a:off x="6817553" y="835601"/>
              <a:ext cx="131262" cy="131262"/>
            </a:xfrm>
            <a:custGeom>
              <a:avLst/>
              <a:gdLst>
                <a:gd name="T0" fmla="*/ 3521 w 6031"/>
                <a:gd name="T1" fmla="*/ 553 h 6022"/>
                <a:gd name="T2" fmla="*/ 4104 w 6031"/>
                <a:gd name="T3" fmla="*/ 750 h 6022"/>
                <a:gd name="T4" fmla="*/ 4613 w 6031"/>
                <a:gd name="T5" fmla="*/ 1076 h 6022"/>
                <a:gd name="T6" fmla="*/ 5029 w 6031"/>
                <a:gd name="T7" fmla="*/ 1511 h 6022"/>
                <a:gd name="T8" fmla="*/ 5330 w 6031"/>
                <a:gd name="T9" fmla="*/ 2036 h 6022"/>
                <a:gd name="T10" fmla="*/ 5499 w 6031"/>
                <a:gd name="T11" fmla="*/ 2630 h 6022"/>
                <a:gd name="T12" fmla="*/ 5515 w 6031"/>
                <a:gd name="T13" fmla="*/ 3268 h 6022"/>
                <a:gd name="T14" fmla="*/ 5375 w 6031"/>
                <a:gd name="T15" fmla="*/ 3873 h 6022"/>
                <a:gd name="T16" fmla="*/ 5098 w 6031"/>
                <a:gd name="T17" fmla="*/ 4413 h 6022"/>
                <a:gd name="T18" fmla="*/ 4704 w 6031"/>
                <a:gd name="T19" fmla="*/ 4868 h 6022"/>
                <a:gd name="T20" fmla="*/ 4213 w 6031"/>
                <a:gd name="T21" fmla="*/ 5217 h 6022"/>
                <a:gd name="T22" fmla="*/ 3643 w 6031"/>
                <a:gd name="T23" fmla="*/ 5441 h 6022"/>
                <a:gd name="T24" fmla="*/ 3016 w 6031"/>
                <a:gd name="T25" fmla="*/ 5520 h 6022"/>
                <a:gd name="T26" fmla="*/ 2388 w 6031"/>
                <a:gd name="T27" fmla="*/ 5441 h 6022"/>
                <a:gd name="T28" fmla="*/ 1818 w 6031"/>
                <a:gd name="T29" fmla="*/ 5217 h 6022"/>
                <a:gd name="T30" fmla="*/ 1327 w 6031"/>
                <a:gd name="T31" fmla="*/ 4868 h 6022"/>
                <a:gd name="T32" fmla="*/ 932 w 6031"/>
                <a:gd name="T33" fmla="*/ 4413 h 6022"/>
                <a:gd name="T34" fmla="*/ 656 w 6031"/>
                <a:gd name="T35" fmla="*/ 3873 h 6022"/>
                <a:gd name="T36" fmla="*/ 516 w 6031"/>
                <a:gd name="T37" fmla="*/ 3268 h 6022"/>
                <a:gd name="T38" fmla="*/ 532 w 6031"/>
                <a:gd name="T39" fmla="*/ 2630 h 6022"/>
                <a:gd name="T40" fmla="*/ 701 w 6031"/>
                <a:gd name="T41" fmla="*/ 2036 h 6022"/>
                <a:gd name="T42" fmla="*/ 1002 w 6031"/>
                <a:gd name="T43" fmla="*/ 1511 h 6022"/>
                <a:gd name="T44" fmla="*/ 1417 w 6031"/>
                <a:gd name="T45" fmla="*/ 1076 h 6022"/>
                <a:gd name="T46" fmla="*/ 1927 w 6031"/>
                <a:gd name="T47" fmla="*/ 750 h 6022"/>
                <a:gd name="T48" fmla="*/ 2510 w 6031"/>
                <a:gd name="T49" fmla="*/ 553 h 6022"/>
                <a:gd name="T50" fmla="*/ 3016 w 6031"/>
                <a:gd name="T51" fmla="*/ 6022 h 6022"/>
                <a:gd name="T52" fmla="*/ 3768 w 6031"/>
                <a:gd name="T53" fmla="*/ 5928 h 6022"/>
                <a:gd name="T54" fmla="*/ 4452 w 6031"/>
                <a:gd name="T55" fmla="*/ 5659 h 6022"/>
                <a:gd name="T56" fmla="*/ 5042 w 6031"/>
                <a:gd name="T57" fmla="*/ 5239 h 6022"/>
                <a:gd name="T58" fmla="*/ 5515 w 6031"/>
                <a:gd name="T59" fmla="*/ 4693 h 6022"/>
                <a:gd name="T60" fmla="*/ 5848 w 6031"/>
                <a:gd name="T61" fmla="*/ 4046 h 6022"/>
                <a:gd name="T62" fmla="*/ 6015 w 6031"/>
                <a:gd name="T63" fmla="*/ 3318 h 6022"/>
                <a:gd name="T64" fmla="*/ 5996 w 6031"/>
                <a:gd name="T65" fmla="*/ 2554 h 6022"/>
                <a:gd name="T66" fmla="*/ 5794 w 6031"/>
                <a:gd name="T67" fmla="*/ 1840 h 6022"/>
                <a:gd name="T68" fmla="*/ 5431 w 6031"/>
                <a:gd name="T69" fmla="*/ 1211 h 6022"/>
                <a:gd name="T70" fmla="*/ 4932 w 6031"/>
                <a:gd name="T71" fmla="*/ 689 h 6022"/>
                <a:gd name="T72" fmla="*/ 4322 w 6031"/>
                <a:gd name="T73" fmla="*/ 297 h 6022"/>
                <a:gd name="T74" fmla="*/ 3623 w 6031"/>
                <a:gd name="T75" fmla="*/ 62 h 6022"/>
                <a:gd name="T76" fmla="*/ 2861 w 6031"/>
                <a:gd name="T77" fmla="*/ 4 h 6022"/>
                <a:gd name="T78" fmla="*/ 2120 w 6031"/>
                <a:gd name="T79" fmla="*/ 136 h 6022"/>
                <a:gd name="T80" fmla="*/ 1453 w 6031"/>
                <a:gd name="T81" fmla="*/ 437 h 6022"/>
                <a:gd name="T82" fmla="*/ 884 w 6031"/>
                <a:gd name="T83" fmla="*/ 884 h 6022"/>
                <a:gd name="T84" fmla="*/ 437 w 6031"/>
                <a:gd name="T85" fmla="*/ 1452 h 6022"/>
                <a:gd name="T86" fmla="*/ 136 w 6031"/>
                <a:gd name="T87" fmla="*/ 2117 h 6022"/>
                <a:gd name="T88" fmla="*/ 4 w 6031"/>
                <a:gd name="T89" fmla="*/ 2857 h 6022"/>
                <a:gd name="T90" fmla="*/ 62 w 6031"/>
                <a:gd name="T91" fmla="*/ 3617 h 6022"/>
                <a:gd name="T92" fmla="*/ 298 w 6031"/>
                <a:gd name="T93" fmla="*/ 4316 h 6022"/>
                <a:gd name="T94" fmla="*/ 690 w 6031"/>
                <a:gd name="T95" fmla="*/ 4925 h 6022"/>
                <a:gd name="T96" fmla="*/ 1212 w 6031"/>
                <a:gd name="T97" fmla="*/ 5424 h 6022"/>
                <a:gd name="T98" fmla="*/ 1843 w 6031"/>
                <a:gd name="T99" fmla="*/ 5785 h 6022"/>
                <a:gd name="T100" fmla="*/ 2557 w 6031"/>
                <a:gd name="T101" fmla="*/ 5988 h 6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31" h="6022">
                  <a:moveTo>
                    <a:pt x="3016" y="502"/>
                  </a:moveTo>
                  <a:lnTo>
                    <a:pt x="3144" y="505"/>
                  </a:lnTo>
                  <a:lnTo>
                    <a:pt x="3272" y="515"/>
                  </a:lnTo>
                  <a:lnTo>
                    <a:pt x="3397" y="531"/>
                  </a:lnTo>
                  <a:lnTo>
                    <a:pt x="3521" y="553"/>
                  </a:lnTo>
                  <a:lnTo>
                    <a:pt x="3643" y="582"/>
                  </a:lnTo>
                  <a:lnTo>
                    <a:pt x="3762" y="616"/>
                  </a:lnTo>
                  <a:lnTo>
                    <a:pt x="3879" y="655"/>
                  </a:lnTo>
                  <a:lnTo>
                    <a:pt x="3992" y="700"/>
                  </a:lnTo>
                  <a:lnTo>
                    <a:pt x="4104" y="750"/>
                  </a:lnTo>
                  <a:lnTo>
                    <a:pt x="4213" y="805"/>
                  </a:lnTo>
                  <a:lnTo>
                    <a:pt x="4318" y="866"/>
                  </a:lnTo>
                  <a:lnTo>
                    <a:pt x="4420" y="932"/>
                  </a:lnTo>
                  <a:lnTo>
                    <a:pt x="4518" y="1001"/>
                  </a:lnTo>
                  <a:lnTo>
                    <a:pt x="4613" y="1076"/>
                  </a:lnTo>
                  <a:lnTo>
                    <a:pt x="4704" y="1155"/>
                  </a:lnTo>
                  <a:lnTo>
                    <a:pt x="4791" y="1238"/>
                  </a:lnTo>
                  <a:lnTo>
                    <a:pt x="4875" y="1325"/>
                  </a:lnTo>
                  <a:lnTo>
                    <a:pt x="4954" y="1417"/>
                  </a:lnTo>
                  <a:lnTo>
                    <a:pt x="5029" y="1511"/>
                  </a:lnTo>
                  <a:lnTo>
                    <a:pt x="5098" y="1609"/>
                  </a:lnTo>
                  <a:lnTo>
                    <a:pt x="5164" y="1712"/>
                  </a:lnTo>
                  <a:lnTo>
                    <a:pt x="5225" y="1816"/>
                  </a:lnTo>
                  <a:lnTo>
                    <a:pt x="5280" y="1924"/>
                  </a:lnTo>
                  <a:lnTo>
                    <a:pt x="5330" y="2036"/>
                  </a:lnTo>
                  <a:lnTo>
                    <a:pt x="5375" y="2149"/>
                  </a:lnTo>
                  <a:lnTo>
                    <a:pt x="5415" y="2266"/>
                  </a:lnTo>
                  <a:lnTo>
                    <a:pt x="5449" y="2385"/>
                  </a:lnTo>
                  <a:lnTo>
                    <a:pt x="5477" y="2506"/>
                  </a:lnTo>
                  <a:lnTo>
                    <a:pt x="5499" y="2630"/>
                  </a:lnTo>
                  <a:lnTo>
                    <a:pt x="5515" y="2755"/>
                  </a:lnTo>
                  <a:lnTo>
                    <a:pt x="5525" y="2883"/>
                  </a:lnTo>
                  <a:lnTo>
                    <a:pt x="5528" y="3011"/>
                  </a:lnTo>
                  <a:lnTo>
                    <a:pt x="5525" y="3141"/>
                  </a:lnTo>
                  <a:lnTo>
                    <a:pt x="5515" y="3268"/>
                  </a:lnTo>
                  <a:lnTo>
                    <a:pt x="5499" y="3394"/>
                  </a:lnTo>
                  <a:lnTo>
                    <a:pt x="5477" y="3517"/>
                  </a:lnTo>
                  <a:lnTo>
                    <a:pt x="5449" y="3638"/>
                  </a:lnTo>
                  <a:lnTo>
                    <a:pt x="5415" y="3757"/>
                  </a:lnTo>
                  <a:lnTo>
                    <a:pt x="5375" y="3873"/>
                  </a:lnTo>
                  <a:lnTo>
                    <a:pt x="5330" y="3988"/>
                  </a:lnTo>
                  <a:lnTo>
                    <a:pt x="5280" y="4098"/>
                  </a:lnTo>
                  <a:lnTo>
                    <a:pt x="5225" y="4207"/>
                  </a:lnTo>
                  <a:lnTo>
                    <a:pt x="5164" y="4312"/>
                  </a:lnTo>
                  <a:lnTo>
                    <a:pt x="5098" y="4413"/>
                  </a:lnTo>
                  <a:lnTo>
                    <a:pt x="5029" y="4512"/>
                  </a:lnTo>
                  <a:lnTo>
                    <a:pt x="4954" y="4607"/>
                  </a:lnTo>
                  <a:lnTo>
                    <a:pt x="4875" y="4697"/>
                  </a:lnTo>
                  <a:lnTo>
                    <a:pt x="4791" y="4785"/>
                  </a:lnTo>
                  <a:lnTo>
                    <a:pt x="4704" y="4868"/>
                  </a:lnTo>
                  <a:lnTo>
                    <a:pt x="4613" y="4947"/>
                  </a:lnTo>
                  <a:lnTo>
                    <a:pt x="4518" y="5022"/>
                  </a:lnTo>
                  <a:lnTo>
                    <a:pt x="4420" y="5092"/>
                  </a:lnTo>
                  <a:lnTo>
                    <a:pt x="4318" y="5157"/>
                  </a:lnTo>
                  <a:lnTo>
                    <a:pt x="4213" y="5217"/>
                  </a:lnTo>
                  <a:lnTo>
                    <a:pt x="4104" y="5272"/>
                  </a:lnTo>
                  <a:lnTo>
                    <a:pt x="3992" y="5324"/>
                  </a:lnTo>
                  <a:lnTo>
                    <a:pt x="3879" y="5368"/>
                  </a:lnTo>
                  <a:lnTo>
                    <a:pt x="3762" y="5408"/>
                  </a:lnTo>
                  <a:lnTo>
                    <a:pt x="3643" y="5441"/>
                  </a:lnTo>
                  <a:lnTo>
                    <a:pt x="3521" y="5469"/>
                  </a:lnTo>
                  <a:lnTo>
                    <a:pt x="3397" y="5491"/>
                  </a:lnTo>
                  <a:lnTo>
                    <a:pt x="3272" y="5507"/>
                  </a:lnTo>
                  <a:lnTo>
                    <a:pt x="3144" y="5517"/>
                  </a:lnTo>
                  <a:lnTo>
                    <a:pt x="3016" y="5520"/>
                  </a:lnTo>
                  <a:lnTo>
                    <a:pt x="2886" y="5517"/>
                  </a:lnTo>
                  <a:lnTo>
                    <a:pt x="2759" y="5507"/>
                  </a:lnTo>
                  <a:lnTo>
                    <a:pt x="2634" y="5491"/>
                  </a:lnTo>
                  <a:lnTo>
                    <a:pt x="2510" y="5469"/>
                  </a:lnTo>
                  <a:lnTo>
                    <a:pt x="2388" y="5441"/>
                  </a:lnTo>
                  <a:lnTo>
                    <a:pt x="2269" y="5408"/>
                  </a:lnTo>
                  <a:lnTo>
                    <a:pt x="2152" y="5368"/>
                  </a:lnTo>
                  <a:lnTo>
                    <a:pt x="2039" y="5324"/>
                  </a:lnTo>
                  <a:lnTo>
                    <a:pt x="1927" y="5272"/>
                  </a:lnTo>
                  <a:lnTo>
                    <a:pt x="1818" y="5217"/>
                  </a:lnTo>
                  <a:lnTo>
                    <a:pt x="1713" y="5157"/>
                  </a:lnTo>
                  <a:lnTo>
                    <a:pt x="1611" y="5092"/>
                  </a:lnTo>
                  <a:lnTo>
                    <a:pt x="1513" y="5022"/>
                  </a:lnTo>
                  <a:lnTo>
                    <a:pt x="1417" y="4947"/>
                  </a:lnTo>
                  <a:lnTo>
                    <a:pt x="1327" y="4868"/>
                  </a:lnTo>
                  <a:lnTo>
                    <a:pt x="1240" y="4785"/>
                  </a:lnTo>
                  <a:lnTo>
                    <a:pt x="1156" y="4697"/>
                  </a:lnTo>
                  <a:lnTo>
                    <a:pt x="1077" y="4607"/>
                  </a:lnTo>
                  <a:lnTo>
                    <a:pt x="1002" y="4512"/>
                  </a:lnTo>
                  <a:lnTo>
                    <a:pt x="932" y="4413"/>
                  </a:lnTo>
                  <a:lnTo>
                    <a:pt x="867" y="4312"/>
                  </a:lnTo>
                  <a:lnTo>
                    <a:pt x="806" y="4207"/>
                  </a:lnTo>
                  <a:lnTo>
                    <a:pt x="751" y="4098"/>
                  </a:lnTo>
                  <a:lnTo>
                    <a:pt x="701" y="3988"/>
                  </a:lnTo>
                  <a:lnTo>
                    <a:pt x="656" y="3873"/>
                  </a:lnTo>
                  <a:lnTo>
                    <a:pt x="615" y="3757"/>
                  </a:lnTo>
                  <a:lnTo>
                    <a:pt x="582" y="3638"/>
                  </a:lnTo>
                  <a:lnTo>
                    <a:pt x="554" y="3517"/>
                  </a:lnTo>
                  <a:lnTo>
                    <a:pt x="532" y="3394"/>
                  </a:lnTo>
                  <a:lnTo>
                    <a:pt x="516" y="3268"/>
                  </a:lnTo>
                  <a:lnTo>
                    <a:pt x="506" y="3141"/>
                  </a:lnTo>
                  <a:lnTo>
                    <a:pt x="503" y="3011"/>
                  </a:lnTo>
                  <a:lnTo>
                    <a:pt x="506" y="2883"/>
                  </a:lnTo>
                  <a:lnTo>
                    <a:pt x="516" y="2755"/>
                  </a:lnTo>
                  <a:lnTo>
                    <a:pt x="532" y="2630"/>
                  </a:lnTo>
                  <a:lnTo>
                    <a:pt x="554" y="2506"/>
                  </a:lnTo>
                  <a:lnTo>
                    <a:pt x="582" y="2385"/>
                  </a:lnTo>
                  <a:lnTo>
                    <a:pt x="615" y="2266"/>
                  </a:lnTo>
                  <a:lnTo>
                    <a:pt x="656" y="2149"/>
                  </a:lnTo>
                  <a:lnTo>
                    <a:pt x="701" y="2036"/>
                  </a:lnTo>
                  <a:lnTo>
                    <a:pt x="751" y="1924"/>
                  </a:lnTo>
                  <a:lnTo>
                    <a:pt x="806" y="1816"/>
                  </a:lnTo>
                  <a:lnTo>
                    <a:pt x="867" y="1712"/>
                  </a:lnTo>
                  <a:lnTo>
                    <a:pt x="932" y="1609"/>
                  </a:lnTo>
                  <a:lnTo>
                    <a:pt x="1002" y="1511"/>
                  </a:lnTo>
                  <a:lnTo>
                    <a:pt x="1077" y="1417"/>
                  </a:lnTo>
                  <a:lnTo>
                    <a:pt x="1156" y="1325"/>
                  </a:lnTo>
                  <a:lnTo>
                    <a:pt x="1240" y="1238"/>
                  </a:lnTo>
                  <a:lnTo>
                    <a:pt x="1327" y="1155"/>
                  </a:lnTo>
                  <a:lnTo>
                    <a:pt x="1417" y="1076"/>
                  </a:lnTo>
                  <a:lnTo>
                    <a:pt x="1513" y="1001"/>
                  </a:lnTo>
                  <a:lnTo>
                    <a:pt x="1611" y="932"/>
                  </a:lnTo>
                  <a:lnTo>
                    <a:pt x="1713" y="866"/>
                  </a:lnTo>
                  <a:lnTo>
                    <a:pt x="1818" y="805"/>
                  </a:lnTo>
                  <a:lnTo>
                    <a:pt x="1927" y="750"/>
                  </a:lnTo>
                  <a:lnTo>
                    <a:pt x="2039" y="700"/>
                  </a:lnTo>
                  <a:lnTo>
                    <a:pt x="2152" y="655"/>
                  </a:lnTo>
                  <a:lnTo>
                    <a:pt x="2269" y="616"/>
                  </a:lnTo>
                  <a:lnTo>
                    <a:pt x="2388" y="582"/>
                  </a:lnTo>
                  <a:lnTo>
                    <a:pt x="2510" y="553"/>
                  </a:lnTo>
                  <a:lnTo>
                    <a:pt x="2634" y="531"/>
                  </a:lnTo>
                  <a:lnTo>
                    <a:pt x="2759" y="515"/>
                  </a:lnTo>
                  <a:lnTo>
                    <a:pt x="2886" y="505"/>
                  </a:lnTo>
                  <a:lnTo>
                    <a:pt x="3016" y="502"/>
                  </a:lnTo>
                  <a:close/>
                  <a:moveTo>
                    <a:pt x="3016" y="6022"/>
                  </a:moveTo>
                  <a:lnTo>
                    <a:pt x="3170" y="6018"/>
                  </a:lnTo>
                  <a:lnTo>
                    <a:pt x="3323" y="6007"/>
                  </a:lnTo>
                  <a:lnTo>
                    <a:pt x="3474" y="5988"/>
                  </a:lnTo>
                  <a:lnTo>
                    <a:pt x="3623" y="5961"/>
                  </a:lnTo>
                  <a:lnTo>
                    <a:pt x="3768" y="5928"/>
                  </a:lnTo>
                  <a:lnTo>
                    <a:pt x="3911" y="5887"/>
                  </a:lnTo>
                  <a:lnTo>
                    <a:pt x="4052" y="5840"/>
                  </a:lnTo>
                  <a:lnTo>
                    <a:pt x="4188" y="5785"/>
                  </a:lnTo>
                  <a:lnTo>
                    <a:pt x="4322" y="5725"/>
                  </a:lnTo>
                  <a:lnTo>
                    <a:pt x="4452" y="5659"/>
                  </a:lnTo>
                  <a:lnTo>
                    <a:pt x="4577" y="5586"/>
                  </a:lnTo>
                  <a:lnTo>
                    <a:pt x="4700" y="5507"/>
                  </a:lnTo>
                  <a:lnTo>
                    <a:pt x="4819" y="5424"/>
                  </a:lnTo>
                  <a:lnTo>
                    <a:pt x="4932" y="5334"/>
                  </a:lnTo>
                  <a:lnTo>
                    <a:pt x="5042" y="5239"/>
                  </a:lnTo>
                  <a:lnTo>
                    <a:pt x="5146" y="5140"/>
                  </a:lnTo>
                  <a:lnTo>
                    <a:pt x="5247" y="5035"/>
                  </a:lnTo>
                  <a:lnTo>
                    <a:pt x="5341" y="4925"/>
                  </a:lnTo>
                  <a:lnTo>
                    <a:pt x="5431" y="4812"/>
                  </a:lnTo>
                  <a:lnTo>
                    <a:pt x="5515" y="4693"/>
                  </a:lnTo>
                  <a:lnTo>
                    <a:pt x="5594" y="4572"/>
                  </a:lnTo>
                  <a:lnTo>
                    <a:pt x="5666" y="4445"/>
                  </a:lnTo>
                  <a:lnTo>
                    <a:pt x="5733" y="4316"/>
                  </a:lnTo>
                  <a:lnTo>
                    <a:pt x="5794" y="4183"/>
                  </a:lnTo>
                  <a:lnTo>
                    <a:pt x="5848" y="4046"/>
                  </a:lnTo>
                  <a:lnTo>
                    <a:pt x="5895" y="3906"/>
                  </a:lnTo>
                  <a:lnTo>
                    <a:pt x="5935" y="3763"/>
                  </a:lnTo>
                  <a:lnTo>
                    <a:pt x="5969" y="3617"/>
                  </a:lnTo>
                  <a:lnTo>
                    <a:pt x="5996" y="3469"/>
                  </a:lnTo>
                  <a:lnTo>
                    <a:pt x="6015" y="3318"/>
                  </a:lnTo>
                  <a:lnTo>
                    <a:pt x="6027" y="3166"/>
                  </a:lnTo>
                  <a:lnTo>
                    <a:pt x="6031" y="3011"/>
                  </a:lnTo>
                  <a:lnTo>
                    <a:pt x="6027" y="2857"/>
                  </a:lnTo>
                  <a:lnTo>
                    <a:pt x="6015" y="2704"/>
                  </a:lnTo>
                  <a:lnTo>
                    <a:pt x="5996" y="2554"/>
                  </a:lnTo>
                  <a:lnTo>
                    <a:pt x="5969" y="2405"/>
                  </a:lnTo>
                  <a:lnTo>
                    <a:pt x="5935" y="2260"/>
                  </a:lnTo>
                  <a:lnTo>
                    <a:pt x="5895" y="2117"/>
                  </a:lnTo>
                  <a:lnTo>
                    <a:pt x="5848" y="1978"/>
                  </a:lnTo>
                  <a:lnTo>
                    <a:pt x="5794" y="1840"/>
                  </a:lnTo>
                  <a:lnTo>
                    <a:pt x="5733" y="1708"/>
                  </a:lnTo>
                  <a:lnTo>
                    <a:pt x="5666" y="1577"/>
                  </a:lnTo>
                  <a:lnTo>
                    <a:pt x="5594" y="1452"/>
                  </a:lnTo>
                  <a:lnTo>
                    <a:pt x="5515" y="1329"/>
                  </a:lnTo>
                  <a:lnTo>
                    <a:pt x="5431" y="1211"/>
                  </a:lnTo>
                  <a:lnTo>
                    <a:pt x="5341" y="1097"/>
                  </a:lnTo>
                  <a:lnTo>
                    <a:pt x="5247" y="988"/>
                  </a:lnTo>
                  <a:lnTo>
                    <a:pt x="5146" y="884"/>
                  </a:lnTo>
                  <a:lnTo>
                    <a:pt x="5042" y="783"/>
                  </a:lnTo>
                  <a:lnTo>
                    <a:pt x="4932" y="689"/>
                  </a:lnTo>
                  <a:lnTo>
                    <a:pt x="4819" y="600"/>
                  </a:lnTo>
                  <a:lnTo>
                    <a:pt x="4700" y="515"/>
                  </a:lnTo>
                  <a:lnTo>
                    <a:pt x="4577" y="437"/>
                  </a:lnTo>
                  <a:lnTo>
                    <a:pt x="4452" y="365"/>
                  </a:lnTo>
                  <a:lnTo>
                    <a:pt x="4322" y="297"/>
                  </a:lnTo>
                  <a:lnTo>
                    <a:pt x="4188" y="237"/>
                  </a:lnTo>
                  <a:lnTo>
                    <a:pt x="4052" y="183"/>
                  </a:lnTo>
                  <a:lnTo>
                    <a:pt x="3911" y="136"/>
                  </a:lnTo>
                  <a:lnTo>
                    <a:pt x="3768" y="96"/>
                  </a:lnTo>
                  <a:lnTo>
                    <a:pt x="3623" y="62"/>
                  </a:lnTo>
                  <a:lnTo>
                    <a:pt x="3474" y="36"/>
                  </a:lnTo>
                  <a:lnTo>
                    <a:pt x="3323" y="16"/>
                  </a:lnTo>
                  <a:lnTo>
                    <a:pt x="3170" y="4"/>
                  </a:lnTo>
                  <a:lnTo>
                    <a:pt x="3016" y="0"/>
                  </a:lnTo>
                  <a:lnTo>
                    <a:pt x="2861" y="4"/>
                  </a:lnTo>
                  <a:lnTo>
                    <a:pt x="2708" y="16"/>
                  </a:lnTo>
                  <a:lnTo>
                    <a:pt x="2557" y="36"/>
                  </a:lnTo>
                  <a:lnTo>
                    <a:pt x="2408" y="62"/>
                  </a:lnTo>
                  <a:lnTo>
                    <a:pt x="2263" y="96"/>
                  </a:lnTo>
                  <a:lnTo>
                    <a:pt x="2120" y="136"/>
                  </a:lnTo>
                  <a:lnTo>
                    <a:pt x="1979" y="183"/>
                  </a:lnTo>
                  <a:lnTo>
                    <a:pt x="1843" y="237"/>
                  </a:lnTo>
                  <a:lnTo>
                    <a:pt x="1709" y="297"/>
                  </a:lnTo>
                  <a:lnTo>
                    <a:pt x="1579" y="365"/>
                  </a:lnTo>
                  <a:lnTo>
                    <a:pt x="1453" y="437"/>
                  </a:lnTo>
                  <a:lnTo>
                    <a:pt x="1331" y="515"/>
                  </a:lnTo>
                  <a:lnTo>
                    <a:pt x="1212" y="600"/>
                  </a:lnTo>
                  <a:lnTo>
                    <a:pt x="1099" y="689"/>
                  </a:lnTo>
                  <a:lnTo>
                    <a:pt x="989" y="783"/>
                  </a:lnTo>
                  <a:lnTo>
                    <a:pt x="884" y="884"/>
                  </a:lnTo>
                  <a:lnTo>
                    <a:pt x="784" y="988"/>
                  </a:lnTo>
                  <a:lnTo>
                    <a:pt x="690" y="1097"/>
                  </a:lnTo>
                  <a:lnTo>
                    <a:pt x="600" y="1211"/>
                  </a:lnTo>
                  <a:lnTo>
                    <a:pt x="516" y="1329"/>
                  </a:lnTo>
                  <a:lnTo>
                    <a:pt x="437" y="1452"/>
                  </a:lnTo>
                  <a:lnTo>
                    <a:pt x="364" y="1577"/>
                  </a:lnTo>
                  <a:lnTo>
                    <a:pt x="298" y="1708"/>
                  </a:lnTo>
                  <a:lnTo>
                    <a:pt x="237" y="1840"/>
                  </a:lnTo>
                  <a:lnTo>
                    <a:pt x="183" y="1978"/>
                  </a:lnTo>
                  <a:lnTo>
                    <a:pt x="136" y="2117"/>
                  </a:lnTo>
                  <a:lnTo>
                    <a:pt x="95" y="2260"/>
                  </a:lnTo>
                  <a:lnTo>
                    <a:pt x="62" y="2405"/>
                  </a:lnTo>
                  <a:lnTo>
                    <a:pt x="35" y="2554"/>
                  </a:lnTo>
                  <a:lnTo>
                    <a:pt x="15" y="2704"/>
                  </a:lnTo>
                  <a:lnTo>
                    <a:pt x="4" y="2857"/>
                  </a:lnTo>
                  <a:lnTo>
                    <a:pt x="0" y="3011"/>
                  </a:lnTo>
                  <a:lnTo>
                    <a:pt x="4" y="3166"/>
                  </a:lnTo>
                  <a:lnTo>
                    <a:pt x="15" y="3318"/>
                  </a:lnTo>
                  <a:lnTo>
                    <a:pt x="35" y="3469"/>
                  </a:lnTo>
                  <a:lnTo>
                    <a:pt x="62" y="3617"/>
                  </a:lnTo>
                  <a:lnTo>
                    <a:pt x="95" y="3763"/>
                  </a:lnTo>
                  <a:lnTo>
                    <a:pt x="136" y="3906"/>
                  </a:lnTo>
                  <a:lnTo>
                    <a:pt x="183" y="4046"/>
                  </a:lnTo>
                  <a:lnTo>
                    <a:pt x="237" y="4183"/>
                  </a:lnTo>
                  <a:lnTo>
                    <a:pt x="298" y="4316"/>
                  </a:lnTo>
                  <a:lnTo>
                    <a:pt x="364" y="4445"/>
                  </a:lnTo>
                  <a:lnTo>
                    <a:pt x="437" y="4572"/>
                  </a:lnTo>
                  <a:lnTo>
                    <a:pt x="516" y="4693"/>
                  </a:lnTo>
                  <a:lnTo>
                    <a:pt x="600" y="4812"/>
                  </a:lnTo>
                  <a:lnTo>
                    <a:pt x="690" y="4925"/>
                  </a:lnTo>
                  <a:lnTo>
                    <a:pt x="784" y="5035"/>
                  </a:lnTo>
                  <a:lnTo>
                    <a:pt x="884" y="5140"/>
                  </a:lnTo>
                  <a:lnTo>
                    <a:pt x="989" y="5239"/>
                  </a:lnTo>
                  <a:lnTo>
                    <a:pt x="1099" y="5334"/>
                  </a:lnTo>
                  <a:lnTo>
                    <a:pt x="1212" y="5424"/>
                  </a:lnTo>
                  <a:lnTo>
                    <a:pt x="1331" y="5507"/>
                  </a:lnTo>
                  <a:lnTo>
                    <a:pt x="1453" y="5586"/>
                  </a:lnTo>
                  <a:lnTo>
                    <a:pt x="1579" y="5659"/>
                  </a:lnTo>
                  <a:lnTo>
                    <a:pt x="1709" y="5725"/>
                  </a:lnTo>
                  <a:lnTo>
                    <a:pt x="1843" y="5785"/>
                  </a:lnTo>
                  <a:lnTo>
                    <a:pt x="1979" y="5840"/>
                  </a:lnTo>
                  <a:lnTo>
                    <a:pt x="2120" y="5887"/>
                  </a:lnTo>
                  <a:lnTo>
                    <a:pt x="2263" y="5928"/>
                  </a:lnTo>
                  <a:lnTo>
                    <a:pt x="2408" y="5961"/>
                  </a:lnTo>
                  <a:lnTo>
                    <a:pt x="2557" y="5988"/>
                  </a:lnTo>
                  <a:lnTo>
                    <a:pt x="2708" y="6007"/>
                  </a:lnTo>
                  <a:lnTo>
                    <a:pt x="2861" y="6018"/>
                  </a:lnTo>
                  <a:lnTo>
                    <a:pt x="3016" y="60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01" name="í$ľíḓê">
              <a:extLst>
                <a:ext uri="{FF2B5EF4-FFF2-40B4-BE49-F238E27FC236}">
                  <a16:creationId xmlns:a16="http://schemas.microsoft.com/office/drawing/2014/main" id="{8CE14C00-5C50-44C5-9360-46D7D71352C7}"/>
                </a:ext>
              </a:extLst>
            </p:cNvPr>
            <p:cNvSpPr/>
            <p:nvPr/>
          </p:nvSpPr>
          <p:spPr bwMode="auto">
            <a:xfrm>
              <a:off x="6751519" y="772789"/>
              <a:ext cx="262524" cy="349494"/>
            </a:xfrm>
            <a:custGeom>
              <a:avLst/>
              <a:gdLst>
                <a:gd name="T0" fmla="*/ 6018 w 12062"/>
                <a:gd name="T1" fmla="*/ 15039 h 16058"/>
                <a:gd name="T2" fmla="*/ 5780 w 12062"/>
                <a:gd name="T3" fmla="*/ 14775 h 16058"/>
                <a:gd name="T4" fmla="*/ 4611 w 12062"/>
                <a:gd name="T5" fmla="*/ 13399 h 16058"/>
                <a:gd name="T6" fmla="*/ 3378 w 12062"/>
                <a:gd name="T7" fmla="*/ 11797 h 16058"/>
                <a:gd name="T8" fmla="*/ 2251 w 12062"/>
                <a:gd name="T9" fmla="*/ 10038 h 16058"/>
                <a:gd name="T10" fmla="*/ 1406 w 12062"/>
                <a:gd name="T11" fmla="*/ 8193 h 16058"/>
                <a:gd name="T12" fmla="*/ 1014 w 12062"/>
                <a:gd name="T13" fmla="*/ 6330 h 16058"/>
                <a:gd name="T14" fmla="*/ 1164 w 12062"/>
                <a:gd name="T15" fmla="*/ 4770 h 16058"/>
                <a:gd name="T16" fmla="*/ 1734 w 12062"/>
                <a:gd name="T17" fmla="*/ 3422 h 16058"/>
                <a:gd name="T18" fmla="*/ 2653 w 12062"/>
                <a:gd name="T19" fmla="*/ 2309 h 16058"/>
                <a:gd name="T20" fmla="*/ 3854 w 12062"/>
                <a:gd name="T21" fmla="*/ 1499 h 16058"/>
                <a:gd name="T22" fmla="*/ 5267 w 12062"/>
                <a:gd name="T23" fmla="*/ 1062 h 16058"/>
                <a:gd name="T24" fmla="*/ 6795 w 12062"/>
                <a:gd name="T25" fmla="*/ 1062 h 16058"/>
                <a:gd name="T26" fmla="*/ 8208 w 12062"/>
                <a:gd name="T27" fmla="*/ 1499 h 16058"/>
                <a:gd name="T28" fmla="*/ 9409 w 12062"/>
                <a:gd name="T29" fmla="*/ 2309 h 16058"/>
                <a:gd name="T30" fmla="*/ 10328 w 12062"/>
                <a:gd name="T31" fmla="*/ 3422 h 16058"/>
                <a:gd name="T32" fmla="*/ 10898 w 12062"/>
                <a:gd name="T33" fmla="*/ 4770 h 16058"/>
                <a:gd name="T34" fmla="*/ 11048 w 12062"/>
                <a:gd name="T35" fmla="*/ 6330 h 16058"/>
                <a:gd name="T36" fmla="*/ 10656 w 12062"/>
                <a:gd name="T37" fmla="*/ 8193 h 16058"/>
                <a:gd name="T38" fmla="*/ 9810 w 12062"/>
                <a:gd name="T39" fmla="*/ 10039 h 16058"/>
                <a:gd name="T40" fmla="*/ 8681 w 12062"/>
                <a:gd name="T41" fmla="*/ 11801 h 16058"/>
                <a:gd name="T42" fmla="*/ 7443 w 12062"/>
                <a:gd name="T43" fmla="*/ 13407 h 16058"/>
                <a:gd name="T44" fmla="*/ 6267 w 12062"/>
                <a:gd name="T45" fmla="*/ 14791 h 16058"/>
                <a:gd name="T46" fmla="*/ 4817 w 12062"/>
                <a:gd name="T47" fmla="*/ 121 h 16058"/>
                <a:gd name="T48" fmla="*/ 3159 w 12062"/>
                <a:gd name="T49" fmla="*/ 722 h 16058"/>
                <a:gd name="T50" fmla="*/ 1768 w 12062"/>
                <a:gd name="T51" fmla="*/ 1753 h 16058"/>
                <a:gd name="T52" fmla="*/ 729 w 12062"/>
                <a:gd name="T53" fmla="*/ 3139 h 16058"/>
                <a:gd name="T54" fmla="*/ 123 w 12062"/>
                <a:gd name="T55" fmla="*/ 4801 h 16058"/>
                <a:gd name="T56" fmla="*/ 34 w 12062"/>
                <a:gd name="T57" fmla="*/ 6682 h 16058"/>
                <a:gd name="T58" fmla="*/ 506 w 12062"/>
                <a:gd name="T59" fmla="*/ 8654 h 16058"/>
                <a:gd name="T60" fmla="*/ 1411 w 12062"/>
                <a:gd name="T61" fmla="*/ 10583 h 16058"/>
                <a:gd name="T62" fmla="*/ 2598 w 12062"/>
                <a:gd name="T63" fmla="*/ 12423 h 16058"/>
                <a:gd name="T64" fmla="*/ 3917 w 12062"/>
                <a:gd name="T65" fmla="*/ 14129 h 16058"/>
                <a:gd name="T66" fmla="*/ 5214 w 12062"/>
                <a:gd name="T67" fmla="*/ 15655 h 16058"/>
                <a:gd name="T68" fmla="*/ 5355 w 12062"/>
                <a:gd name="T69" fmla="*/ 15786 h 16058"/>
                <a:gd name="T70" fmla="*/ 5509 w 12062"/>
                <a:gd name="T71" fmla="*/ 15897 h 16058"/>
                <a:gd name="T72" fmla="*/ 5705 w 12062"/>
                <a:gd name="T73" fmla="*/ 15997 h 16058"/>
                <a:gd name="T74" fmla="*/ 5931 w 12062"/>
                <a:gd name="T75" fmla="*/ 16054 h 16058"/>
                <a:gd name="T76" fmla="*/ 6170 w 12062"/>
                <a:gd name="T77" fmla="*/ 16048 h 16058"/>
                <a:gd name="T78" fmla="*/ 6392 w 12062"/>
                <a:gd name="T79" fmla="*/ 15982 h 16058"/>
                <a:gd name="T80" fmla="*/ 6581 w 12062"/>
                <a:gd name="T81" fmla="*/ 15878 h 16058"/>
                <a:gd name="T82" fmla="*/ 6747 w 12062"/>
                <a:gd name="T83" fmla="*/ 15752 h 16058"/>
                <a:gd name="T84" fmla="*/ 7056 w 12062"/>
                <a:gd name="T85" fmla="*/ 15415 h 16058"/>
                <a:gd name="T86" fmla="*/ 8368 w 12062"/>
                <a:gd name="T87" fmla="*/ 13856 h 16058"/>
                <a:gd name="T88" fmla="*/ 9675 w 12062"/>
                <a:gd name="T89" fmla="*/ 12125 h 16058"/>
                <a:gd name="T90" fmla="*/ 10826 w 12062"/>
                <a:gd name="T91" fmla="*/ 10267 h 16058"/>
                <a:gd name="T92" fmla="*/ 11669 w 12062"/>
                <a:gd name="T93" fmla="*/ 8328 h 16058"/>
                <a:gd name="T94" fmla="*/ 12053 w 12062"/>
                <a:gd name="T95" fmla="*/ 6352 h 16058"/>
                <a:gd name="T96" fmla="*/ 11872 w 12062"/>
                <a:gd name="T97" fmla="*/ 4508 h 16058"/>
                <a:gd name="T98" fmla="*/ 11188 w 12062"/>
                <a:gd name="T99" fmla="*/ 2887 h 16058"/>
                <a:gd name="T100" fmla="*/ 10084 w 12062"/>
                <a:gd name="T101" fmla="*/ 1555 h 16058"/>
                <a:gd name="T102" fmla="*/ 8644 w 12062"/>
                <a:gd name="T103" fmla="*/ 589 h 16058"/>
                <a:gd name="T104" fmla="*/ 6948 w 12062"/>
                <a:gd name="T105" fmla="*/ 68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062" h="16058">
                  <a:moveTo>
                    <a:pt x="6090" y="14996"/>
                  </a:moveTo>
                  <a:lnTo>
                    <a:pt x="6078" y="15005"/>
                  </a:lnTo>
                  <a:lnTo>
                    <a:pt x="6062" y="15018"/>
                  </a:lnTo>
                  <a:lnTo>
                    <a:pt x="6042" y="15032"/>
                  </a:lnTo>
                  <a:lnTo>
                    <a:pt x="6021" y="15045"/>
                  </a:lnTo>
                  <a:lnTo>
                    <a:pt x="6018" y="15039"/>
                  </a:lnTo>
                  <a:lnTo>
                    <a:pt x="6012" y="15032"/>
                  </a:lnTo>
                  <a:lnTo>
                    <a:pt x="6004" y="15024"/>
                  </a:lnTo>
                  <a:lnTo>
                    <a:pt x="5995" y="15015"/>
                  </a:lnTo>
                  <a:lnTo>
                    <a:pt x="5975" y="14996"/>
                  </a:lnTo>
                  <a:lnTo>
                    <a:pt x="5956" y="14978"/>
                  </a:lnTo>
                  <a:lnTo>
                    <a:pt x="5780" y="14775"/>
                  </a:lnTo>
                  <a:lnTo>
                    <a:pt x="5597" y="14565"/>
                  </a:lnTo>
                  <a:lnTo>
                    <a:pt x="5408" y="14346"/>
                  </a:lnTo>
                  <a:lnTo>
                    <a:pt x="5215" y="14120"/>
                  </a:lnTo>
                  <a:lnTo>
                    <a:pt x="5017" y="13886"/>
                  </a:lnTo>
                  <a:lnTo>
                    <a:pt x="4815" y="13646"/>
                  </a:lnTo>
                  <a:lnTo>
                    <a:pt x="4611" y="13399"/>
                  </a:lnTo>
                  <a:lnTo>
                    <a:pt x="4406" y="13145"/>
                  </a:lnTo>
                  <a:lnTo>
                    <a:pt x="4199" y="12887"/>
                  </a:lnTo>
                  <a:lnTo>
                    <a:pt x="3992" y="12622"/>
                  </a:lnTo>
                  <a:lnTo>
                    <a:pt x="3785" y="12352"/>
                  </a:lnTo>
                  <a:lnTo>
                    <a:pt x="3580" y="12077"/>
                  </a:lnTo>
                  <a:lnTo>
                    <a:pt x="3378" y="11797"/>
                  </a:lnTo>
                  <a:lnTo>
                    <a:pt x="3178" y="11513"/>
                  </a:lnTo>
                  <a:lnTo>
                    <a:pt x="2982" y="11225"/>
                  </a:lnTo>
                  <a:lnTo>
                    <a:pt x="2790" y="10932"/>
                  </a:lnTo>
                  <a:lnTo>
                    <a:pt x="2604" y="10637"/>
                  </a:lnTo>
                  <a:lnTo>
                    <a:pt x="2424" y="10339"/>
                  </a:lnTo>
                  <a:lnTo>
                    <a:pt x="2251" y="10038"/>
                  </a:lnTo>
                  <a:lnTo>
                    <a:pt x="2087" y="9734"/>
                  </a:lnTo>
                  <a:lnTo>
                    <a:pt x="1930" y="9429"/>
                  </a:lnTo>
                  <a:lnTo>
                    <a:pt x="1782" y="9122"/>
                  </a:lnTo>
                  <a:lnTo>
                    <a:pt x="1645" y="8813"/>
                  </a:lnTo>
                  <a:lnTo>
                    <a:pt x="1520" y="8504"/>
                  </a:lnTo>
                  <a:lnTo>
                    <a:pt x="1406" y="8193"/>
                  </a:lnTo>
                  <a:lnTo>
                    <a:pt x="1305" y="7881"/>
                  </a:lnTo>
                  <a:lnTo>
                    <a:pt x="1216" y="7570"/>
                  </a:lnTo>
                  <a:lnTo>
                    <a:pt x="1142" y="7259"/>
                  </a:lnTo>
                  <a:lnTo>
                    <a:pt x="1083" y="6948"/>
                  </a:lnTo>
                  <a:lnTo>
                    <a:pt x="1040" y="6639"/>
                  </a:lnTo>
                  <a:lnTo>
                    <a:pt x="1014" y="6330"/>
                  </a:lnTo>
                  <a:lnTo>
                    <a:pt x="1005" y="6023"/>
                  </a:lnTo>
                  <a:lnTo>
                    <a:pt x="1011" y="5765"/>
                  </a:lnTo>
                  <a:lnTo>
                    <a:pt x="1031" y="5510"/>
                  </a:lnTo>
                  <a:lnTo>
                    <a:pt x="1063" y="5259"/>
                  </a:lnTo>
                  <a:lnTo>
                    <a:pt x="1108" y="5012"/>
                  </a:lnTo>
                  <a:lnTo>
                    <a:pt x="1164" y="4770"/>
                  </a:lnTo>
                  <a:lnTo>
                    <a:pt x="1231" y="4532"/>
                  </a:lnTo>
                  <a:lnTo>
                    <a:pt x="1311" y="4299"/>
                  </a:lnTo>
                  <a:lnTo>
                    <a:pt x="1401" y="4071"/>
                  </a:lnTo>
                  <a:lnTo>
                    <a:pt x="1502" y="3849"/>
                  </a:lnTo>
                  <a:lnTo>
                    <a:pt x="1612" y="3632"/>
                  </a:lnTo>
                  <a:lnTo>
                    <a:pt x="1734" y="3422"/>
                  </a:lnTo>
                  <a:lnTo>
                    <a:pt x="1864" y="3219"/>
                  </a:lnTo>
                  <a:lnTo>
                    <a:pt x="2005" y="3022"/>
                  </a:lnTo>
                  <a:lnTo>
                    <a:pt x="2154" y="2832"/>
                  </a:lnTo>
                  <a:lnTo>
                    <a:pt x="2313" y="2650"/>
                  </a:lnTo>
                  <a:lnTo>
                    <a:pt x="2479" y="2475"/>
                  </a:lnTo>
                  <a:lnTo>
                    <a:pt x="2653" y="2309"/>
                  </a:lnTo>
                  <a:lnTo>
                    <a:pt x="2836" y="2151"/>
                  </a:lnTo>
                  <a:lnTo>
                    <a:pt x="3026" y="2002"/>
                  </a:lnTo>
                  <a:lnTo>
                    <a:pt x="3223" y="1862"/>
                  </a:lnTo>
                  <a:lnTo>
                    <a:pt x="3427" y="1731"/>
                  </a:lnTo>
                  <a:lnTo>
                    <a:pt x="3637" y="1610"/>
                  </a:lnTo>
                  <a:lnTo>
                    <a:pt x="3854" y="1499"/>
                  </a:lnTo>
                  <a:lnTo>
                    <a:pt x="4077" y="1399"/>
                  </a:lnTo>
                  <a:lnTo>
                    <a:pt x="4305" y="1309"/>
                  </a:lnTo>
                  <a:lnTo>
                    <a:pt x="4538" y="1229"/>
                  </a:lnTo>
                  <a:lnTo>
                    <a:pt x="4776" y="1162"/>
                  </a:lnTo>
                  <a:lnTo>
                    <a:pt x="5019" y="1106"/>
                  </a:lnTo>
                  <a:lnTo>
                    <a:pt x="5267" y="1062"/>
                  </a:lnTo>
                  <a:lnTo>
                    <a:pt x="5518" y="1030"/>
                  </a:lnTo>
                  <a:lnTo>
                    <a:pt x="5773" y="1010"/>
                  </a:lnTo>
                  <a:lnTo>
                    <a:pt x="6032" y="1004"/>
                  </a:lnTo>
                  <a:lnTo>
                    <a:pt x="6289" y="1010"/>
                  </a:lnTo>
                  <a:lnTo>
                    <a:pt x="6544" y="1030"/>
                  </a:lnTo>
                  <a:lnTo>
                    <a:pt x="6795" y="1062"/>
                  </a:lnTo>
                  <a:lnTo>
                    <a:pt x="7043" y="1106"/>
                  </a:lnTo>
                  <a:lnTo>
                    <a:pt x="7286" y="1162"/>
                  </a:lnTo>
                  <a:lnTo>
                    <a:pt x="7524" y="1229"/>
                  </a:lnTo>
                  <a:lnTo>
                    <a:pt x="7757" y="1309"/>
                  </a:lnTo>
                  <a:lnTo>
                    <a:pt x="7985" y="1399"/>
                  </a:lnTo>
                  <a:lnTo>
                    <a:pt x="8208" y="1499"/>
                  </a:lnTo>
                  <a:lnTo>
                    <a:pt x="8425" y="1610"/>
                  </a:lnTo>
                  <a:lnTo>
                    <a:pt x="8635" y="1731"/>
                  </a:lnTo>
                  <a:lnTo>
                    <a:pt x="8839" y="1862"/>
                  </a:lnTo>
                  <a:lnTo>
                    <a:pt x="9036" y="2002"/>
                  </a:lnTo>
                  <a:lnTo>
                    <a:pt x="9226" y="2151"/>
                  </a:lnTo>
                  <a:lnTo>
                    <a:pt x="9409" y="2309"/>
                  </a:lnTo>
                  <a:lnTo>
                    <a:pt x="9583" y="2475"/>
                  </a:lnTo>
                  <a:lnTo>
                    <a:pt x="9749" y="2650"/>
                  </a:lnTo>
                  <a:lnTo>
                    <a:pt x="9908" y="2832"/>
                  </a:lnTo>
                  <a:lnTo>
                    <a:pt x="10057" y="3022"/>
                  </a:lnTo>
                  <a:lnTo>
                    <a:pt x="10198" y="3219"/>
                  </a:lnTo>
                  <a:lnTo>
                    <a:pt x="10328" y="3422"/>
                  </a:lnTo>
                  <a:lnTo>
                    <a:pt x="10450" y="3632"/>
                  </a:lnTo>
                  <a:lnTo>
                    <a:pt x="10560" y="3849"/>
                  </a:lnTo>
                  <a:lnTo>
                    <a:pt x="10661" y="4071"/>
                  </a:lnTo>
                  <a:lnTo>
                    <a:pt x="10751" y="4299"/>
                  </a:lnTo>
                  <a:lnTo>
                    <a:pt x="10831" y="4532"/>
                  </a:lnTo>
                  <a:lnTo>
                    <a:pt x="10898" y="4770"/>
                  </a:lnTo>
                  <a:lnTo>
                    <a:pt x="10954" y="5012"/>
                  </a:lnTo>
                  <a:lnTo>
                    <a:pt x="10999" y="5259"/>
                  </a:lnTo>
                  <a:lnTo>
                    <a:pt x="11031" y="5510"/>
                  </a:lnTo>
                  <a:lnTo>
                    <a:pt x="11051" y="5765"/>
                  </a:lnTo>
                  <a:lnTo>
                    <a:pt x="11057" y="6023"/>
                  </a:lnTo>
                  <a:lnTo>
                    <a:pt x="11048" y="6330"/>
                  </a:lnTo>
                  <a:lnTo>
                    <a:pt x="11022" y="6639"/>
                  </a:lnTo>
                  <a:lnTo>
                    <a:pt x="10979" y="6948"/>
                  </a:lnTo>
                  <a:lnTo>
                    <a:pt x="10920" y="7259"/>
                  </a:lnTo>
                  <a:lnTo>
                    <a:pt x="10846" y="7570"/>
                  </a:lnTo>
                  <a:lnTo>
                    <a:pt x="10757" y="7881"/>
                  </a:lnTo>
                  <a:lnTo>
                    <a:pt x="10656" y="8193"/>
                  </a:lnTo>
                  <a:lnTo>
                    <a:pt x="10542" y="8504"/>
                  </a:lnTo>
                  <a:lnTo>
                    <a:pt x="10416" y="8814"/>
                  </a:lnTo>
                  <a:lnTo>
                    <a:pt x="10279" y="9122"/>
                  </a:lnTo>
                  <a:lnTo>
                    <a:pt x="10132" y="9430"/>
                  </a:lnTo>
                  <a:lnTo>
                    <a:pt x="9975" y="9735"/>
                  </a:lnTo>
                  <a:lnTo>
                    <a:pt x="9810" y="10039"/>
                  </a:lnTo>
                  <a:lnTo>
                    <a:pt x="9637" y="10340"/>
                  </a:lnTo>
                  <a:lnTo>
                    <a:pt x="9457" y="10639"/>
                  </a:lnTo>
                  <a:lnTo>
                    <a:pt x="9270" y="10934"/>
                  </a:lnTo>
                  <a:lnTo>
                    <a:pt x="9078" y="11227"/>
                  </a:lnTo>
                  <a:lnTo>
                    <a:pt x="8882" y="11516"/>
                  </a:lnTo>
                  <a:lnTo>
                    <a:pt x="8681" y="11801"/>
                  </a:lnTo>
                  <a:lnTo>
                    <a:pt x="8478" y="12081"/>
                  </a:lnTo>
                  <a:lnTo>
                    <a:pt x="8272" y="12357"/>
                  </a:lnTo>
                  <a:lnTo>
                    <a:pt x="8065" y="12628"/>
                  </a:lnTo>
                  <a:lnTo>
                    <a:pt x="7857" y="12893"/>
                  </a:lnTo>
                  <a:lnTo>
                    <a:pt x="7650" y="13154"/>
                  </a:lnTo>
                  <a:lnTo>
                    <a:pt x="7443" y="13407"/>
                  </a:lnTo>
                  <a:lnTo>
                    <a:pt x="7238" y="13655"/>
                  </a:lnTo>
                  <a:lnTo>
                    <a:pt x="7036" y="13897"/>
                  </a:lnTo>
                  <a:lnTo>
                    <a:pt x="6837" y="14132"/>
                  </a:lnTo>
                  <a:lnTo>
                    <a:pt x="6642" y="14359"/>
                  </a:lnTo>
                  <a:lnTo>
                    <a:pt x="6452" y="14579"/>
                  </a:lnTo>
                  <a:lnTo>
                    <a:pt x="6267" y="14791"/>
                  </a:lnTo>
                  <a:lnTo>
                    <a:pt x="6090" y="14996"/>
                  </a:lnTo>
                  <a:close/>
                  <a:moveTo>
                    <a:pt x="6032" y="0"/>
                  </a:moveTo>
                  <a:lnTo>
                    <a:pt x="5721" y="8"/>
                  </a:lnTo>
                  <a:lnTo>
                    <a:pt x="5415" y="31"/>
                  </a:lnTo>
                  <a:lnTo>
                    <a:pt x="5114" y="68"/>
                  </a:lnTo>
                  <a:lnTo>
                    <a:pt x="4817" y="121"/>
                  </a:lnTo>
                  <a:lnTo>
                    <a:pt x="4526" y="188"/>
                  </a:lnTo>
                  <a:lnTo>
                    <a:pt x="4239" y="268"/>
                  </a:lnTo>
                  <a:lnTo>
                    <a:pt x="3959" y="362"/>
                  </a:lnTo>
                  <a:lnTo>
                    <a:pt x="3686" y="470"/>
                  </a:lnTo>
                  <a:lnTo>
                    <a:pt x="3418" y="589"/>
                  </a:lnTo>
                  <a:lnTo>
                    <a:pt x="3159" y="722"/>
                  </a:lnTo>
                  <a:lnTo>
                    <a:pt x="2906" y="865"/>
                  </a:lnTo>
                  <a:lnTo>
                    <a:pt x="2661" y="1021"/>
                  </a:lnTo>
                  <a:lnTo>
                    <a:pt x="2424" y="1188"/>
                  </a:lnTo>
                  <a:lnTo>
                    <a:pt x="2197" y="1366"/>
                  </a:lnTo>
                  <a:lnTo>
                    <a:pt x="1978" y="1555"/>
                  </a:lnTo>
                  <a:lnTo>
                    <a:pt x="1768" y="1753"/>
                  </a:lnTo>
                  <a:lnTo>
                    <a:pt x="1569" y="1962"/>
                  </a:lnTo>
                  <a:lnTo>
                    <a:pt x="1379" y="2180"/>
                  </a:lnTo>
                  <a:lnTo>
                    <a:pt x="1200" y="2407"/>
                  </a:lnTo>
                  <a:lnTo>
                    <a:pt x="1031" y="2643"/>
                  </a:lnTo>
                  <a:lnTo>
                    <a:pt x="874" y="2887"/>
                  </a:lnTo>
                  <a:lnTo>
                    <a:pt x="729" y="3139"/>
                  </a:lnTo>
                  <a:lnTo>
                    <a:pt x="596" y="3399"/>
                  </a:lnTo>
                  <a:lnTo>
                    <a:pt x="474" y="3666"/>
                  </a:lnTo>
                  <a:lnTo>
                    <a:pt x="367" y="3940"/>
                  </a:lnTo>
                  <a:lnTo>
                    <a:pt x="271" y="4221"/>
                  </a:lnTo>
                  <a:lnTo>
                    <a:pt x="190" y="4508"/>
                  </a:lnTo>
                  <a:lnTo>
                    <a:pt x="123" y="4801"/>
                  </a:lnTo>
                  <a:lnTo>
                    <a:pt x="69" y="5099"/>
                  </a:lnTo>
                  <a:lnTo>
                    <a:pt x="31" y="5403"/>
                  </a:lnTo>
                  <a:lnTo>
                    <a:pt x="8" y="5711"/>
                  </a:lnTo>
                  <a:lnTo>
                    <a:pt x="0" y="6023"/>
                  </a:lnTo>
                  <a:lnTo>
                    <a:pt x="9" y="6352"/>
                  </a:lnTo>
                  <a:lnTo>
                    <a:pt x="34" y="6682"/>
                  </a:lnTo>
                  <a:lnTo>
                    <a:pt x="76" y="7012"/>
                  </a:lnTo>
                  <a:lnTo>
                    <a:pt x="134" y="7342"/>
                  </a:lnTo>
                  <a:lnTo>
                    <a:pt x="206" y="7671"/>
                  </a:lnTo>
                  <a:lnTo>
                    <a:pt x="292" y="8000"/>
                  </a:lnTo>
                  <a:lnTo>
                    <a:pt x="393" y="8328"/>
                  </a:lnTo>
                  <a:lnTo>
                    <a:pt x="506" y="8654"/>
                  </a:lnTo>
                  <a:lnTo>
                    <a:pt x="630" y="8980"/>
                  </a:lnTo>
                  <a:lnTo>
                    <a:pt x="767" y="9305"/>
                  </a:lnTo>
                  <a:lnTo>
                    <a:pt x="914" y="9628"/>
                  </a:lnTo>
                  <a:lnTo>
                    <a:pt x="1070" y="9948"/>
                  </a:lnTo>
                  <a:lnTo>
                    <a:pt x="1236" y="10267"/>
                  </a:lnTo>
                  <a:lnTo>
                    <a:pt x="1411" y="10583"/>
                  </a:lnTo>
                  <a:lnTo>
                    <a:pt x="1593" y="10897"/>
                  </a:lnTo>
                  <a:lnTo>
                    <a:pt x="1783" y="11208"/>
                  </a:lnTo>
                  <a:lnTo>
                    <a:pt x="1979" y="11518"/>
                  </a:lnTo>
                  <a:lnTo>
                    <a:pt x="2180" y="11823"/>
                  </a:lnTo>
                  <a:lnTo>
                    <a:pt x="2387" y="12125"/>
                  </a:lnTo>
                  <a:lnTo>
                    <a:pt x="2598" y="12423"/>
                  </a:lnTo>
                  <a:lnTo>
                    <a:pt x="2813" y="12718"/>
                  </a:lnTo>
                  <a:lnTo>
                    <a:pt x="3030" y="13009"/>
                  </a:lnTo>
                  <a:lnTo>
                    <a:pt x="3250" y="13296"/>
                  </a:lnTo>
                  <a:lnTo>
                    <a:pt x="3473" y="13578"/>
                  </a:lnTo>
                  <a:lnTo>
                    <a:pt x="3695" y="13856"/>
                  </a:lnTo>
                  <a:lnTo>
                    <a:pt x="3917" y="14129"/>
                  </a:lnTo>
                  <a:lnTo>
                    <a:pt x="4139" y="14397"/>
                  </a:lnTo>
                  <a:lnTo>
                    <a:pt x="4359" y="14659"/>
                  </a:lnTo>
                  <a:lnTo>
                    <a:pt x="4577" y="14917"/>
                  </a:lnTo>
                  <a:lnTo>
                    <a:pt x="4793" y="15169"/>
                  </a:lnTo>
                  <a:lnTo>
                    <a:pt x="5006" y="15415"/>
                  </a:lnTo>
                  <a:lnTo>
                    <a:pt x="5214" y="15655"/>
                  </a:lnTo>
                  <a:lnTo>
                    <a:pt x="5219" y="15661"/>
                  </a:lnTo>
                  <a:lnTo>
                    <a:pt x="5233" y="15675"/>
                  </a:lnTo>
                  <a:lnTo>
                    <a:pt x="5254" y="15695"/>
                  </a:lnTo>
                  <a:lnTo>
                    <a:pt x="5281" y="15722"/>
                  </a:lnTo>
                  <a:lnTo>
                    <a:pt x="5315" y="15752"/>
                  </a:lnTo>
                  <a:lnTo>
                    <a:pt x="5355" y="15786"/>
                  </a:lnTo>
                  <a:lnTo>
                    <a:pt x="5377" y="15804"/>
                  </a:lnTo>
                  <a:lnTo>
                    <a:pt x="5401" y="15822"/>
                  </a:lnTo>
                  <a:lnTo>
                    <a:pt x="5426" y="15841"/>
                  </a:lnTo>
                  <a:lnTo>
                    <a:pt x="5453" y="15860"/>
                  </a:lnTo>
                  <a:lnTo>
                    <a:pt x="5480" y="15878"/>
                  </a:lnTo>
                  <a:lnTo>
                    <a:pt x="5509" y="15897"/>
                  </a:lnTo>
                  <a:lnTo>
                    <a:pt x="5539" y="15915"/>
                  </a:lnTo>
                  <a:lnTo>
                    <a:pt x="5570" y="15933"/>
                  </a:lnTo>
                  <a:lnTo>
                    <a:pt x="5602" y="15950"/>
                  </a:lnTo>
                  <a:lnTo>
                    <a:pt x="5635" y="15967"/>
                  </a:lnTo>
                  <a:lnTo>
                    <a:pt x="5670" y="15982"/>
                  </a:lnTo>
                  <a:lnTo>
                    <a:pt x="5705" y="15997"/>
                  </a:lnTo>
                  <a:lnTo>
                    <a:pt x="5740" y="16010"/>
                  </a:lnTo>
                  <a:lnTo>
                    <a:pt x="5777" y="16022"/>
                  </a:lnTo>
                  <a:lnTo>
                    <a:pt x="5814" y="16032"/>
                  </a:lnTo>
                  <a:lnTo>
                    <a:pt x="5853" y="16041"/>
                  </a:lnTo>
                  <a:lnTo>
                    <a:pt x="5892" y="16048"/>
                  </a:lnTo>
                  <a:lnTo>
                    <a:pt x="5931" y="16054"/>
                  </a:lnTo>
                  <a:lnTo>
                    <a:pt x="5971" y="16057"/>
                  </a:lnTo>
                  <a:lnTo>
                    <a:pt x="6011" y="16058"/>
                  </a:lnTo>
                  <a:lnTo>
                    <a:pt x="6051" y="16058"/>
                  </a:lnTo>
                  <a:lnTo>
                    <a:pt x="6091" y="16057"/>
                  </a:lnTo>
                  <a:lnTo>
                    <a:pt x="6131" y="16054"/>
                  </a:lnTo>
                  <a:lnTo>
                    <a:pt x="6170" y="16048"/>
                  </a:lnTo>
                  <a:lnTo>
                    <a:pt x="6209" y="16041"/>
                  </a:lnTo>
                  <a:lnTo>
                    <a:pt x="6248" y="16032"/>
                  </a:lnTo>
                  <a:lnTo>
                    <a:pt x="6285" y="16022"/>
                  </a:lnTo>
                  <a:lnTo>
                    <a:pt x="6322" y="16010"/>
                  </a:lnTo>
                  <a:lnTo>
                    <a:pt x="6357" y="15997"/>
                  </a:lnTo>
                  <a:lnTo>
                    <a:pt x="6392" y="15982"/>
                  </a:lnTo>
                  <a:lnTo>
                    <a:pt x="6427" y="15967"/>
                  </a:lnTo>
                  <a:lnTo>
                    <a:pt x="6460" y="15950"/>
                  </a:lnTo>
                  <a:lnTo>
                    <a:pt x="6492" y="15933"/>
                  </a:lnTo>
                  <a:lnTo>
                    <a:pt x="6523" y="15915"/>
                  </a:lnTo>
                  <a:lnTo>
                    <a:pt x="6553" y="15897"/>
                  </a:lnTo>
                  <a:lnTo>
                    <a:pt x="6581" y="15878"/>
                  </a:lnTo>
                  <a:lnTo>
                    <a:pt x="6609" y="15860"/>
                  </a:lnTo>
                  <a:lnTo>
                    <a:pt x="6636" y="15841"/>
                  </a:lnTo>
                  <a:lnTo>
                    <a:pt x="6661" y="15822"/>
                  </a:lnTo>
                  <a:lnTo>
                    <a:pt x="6684" y="15804"/>
                  </a:lnTo>
                  <a:lnTo>
                    <a:pt x="6707" y="15786"/>
                  </a:lnTo>
                  <a:lnTo>
                    <a:pt x="6747" y="15752"/>
                  </a:lnTo>
                  <a:lnTo>
                    <a:pt x="6780" y="15722"/>
                  </a:lnTo>
                  <a:lnTo>
                    <a:pt x="6808" y="15695"/>
                  </a:lnTo>
                  <a:lnTo>
                    <a:pt x="6829" y="15675"/>
                  </a:lnTo>
                  <a:lnTo>
                    <a:pt x="6842" y="15661"/>
                  </a:lnTo>
                  <a:lnTo>
                    <a:pt x="6848" y="15655"/>
                  </a:lnTo>
                  <a:lnTo>
                    <a:pt x="7056" y="15415"/>
                  </a:lnTo>
                  <a:lnTo>
                    <a:pt x="7269" y="15169"/>
                  </a:lnTo>
                  <a:lnTo>
                    <a:pt x="7485" y="14917"/>
                  </a:lnTo>
                  <a:lnTo>
                    <a:pt x="7703" y="14659"/>
                  </a:lnTo>
                  <a:lnTo>
                    <a:pt x="7924" y="14397"/>
                  </a:lnTo>
                  <a:lnTo>
                    <a:pt x="8145" y="14129"/>
                  </a:lnTo>
                  <a:lnTo>
                    <a:pt x="8368" y="13856"/>
                  </a:lnTo>
                  <a:lnTo>
                    <a:pt x="8590" y="13578"/>
                  </a:lnTo>
                  <a:lnTo>
                    <a:pt x="8812" y="13296"/>
                  </a:lnTo>
                  <a:lnTo>
                    <a:pt x="9032" y="13009"/>
                  </a:lnTo>
                  <a:lnTo>
                    <a:pt x="9249" y="12718"/>
                  </a:lnTo>
                  <a:lnTo>
                    <a:pt x="9464" y="12423"/>
                  </a:lnTo>
                  <a:lnTo>
                    <a:pt x="9675" y="12125"/>
                  </a:lnTo>
                  <a:lnTo>
                    <a:pt x="9882" y="11823"/>
                  </a:lnTo>
                  <a:lnTo>
                    <a:pt x="10084" y="11518"/>
                  </a:lnTo>
                  <a:lnTo>
                    <a:pt x="10280" y="11208"/>
                  </a:lnTo>
                  <a:lnTo>
                    <a:pt x="10469" y="10897"/>
                  </a:lnTo>
                  <a:lnTo>
                    <a:pt x="10652" y="10583"/>
                  </a:lnTo>
                  <a:lnTo>
                    <a:pt x="10826" y="10267"/>
                  </a:lnTo>
                  <a:lnTo>
                    <a:pt x="10992" y="9948"/>
                  </a:lnTo>
                  <a:lnTo>
                    <a:pt x="11148" y="9628"/>
                  </a:lnTo>
                  <a:lnTo>
                    <a:pt x="11295" y="9305"/>
                  </a:lnTo>
                  <a:lnTo>
                    <a:pt x="11432" y="8980"/>
                  </a:lnTo>
                  <a:lnTo>
                    <a:pt x="11556" y="8654"/>
                  </a:lnTo>
                  <a:lnTo>
                    <a:pt x="11669" y="8328"/>
                  </a:lnTo>
                  <a:lnTo>
                    <a:pt x="11770" y="8000"/>
                  </a:lnTo>
                  <a:lnTo>
                    <a:pt x="11856" y="7671"/>
                  </a:lnTo>
                  <a:lnTo>
                    <a:pt x="11928" y="7342"/>
                  </a:lnTo>
                  <a:lnTo>
                    <a:pt x="11986" y="7012"/>
                  </a:lnTo>
                  <a:lnTo>
                    <a:pt x="12028" y="6682"/>
                  </a:lnTo>
                  <a:lnTo>
                    <a:pt x="12053" y="6352"/>
                  </a:lnTo>
                  <a:lnTo>
                    <a:pt x="12062" y="6023"/>
                  </a:lnTo>
                  <a:lnTo>
                    <a:pt x="12054" y="5711"/>
                  </a:lnTo>
                  <a:lnTo>
                    <a:pt x="12031" y="5403"/>
                  </a:lnTo>
                  <a:lnTo>
                    <a:pt x="11993" y="5099"/>
                  </a:lnTo>
                  <a:lnTo>
                    <a:pt x="11939" y="4801"/>
                  </a:lnTo>
                  <a:lnTo>
                    <a:pt x="11872" y="4508"/>
                  </a:lnTo>
                  <a:lnTo>
                    <a:pt x="11791" y="4221"/>
                  </a:lnTo>
                  <a:lnTo>
                    <a:pt x="11695" y="3940"/>
                  </a:lnTo>
                  <a:lnTo>
                    <a:pt x="11588" y="3666"/>
                  </a:lnTo>
                  <a:lnTo>
                    <a:pt x="11466" y="3399"/>
                  </a:lnTo>
                  <a:lnTo>
                    <a:pt x="11333" y="3139"/>
                  </a:lnTo>
                  <a:lnTo>
                    <a:pt x="11188" y="2887"/>
                  </a:lnTo>
                  <a:lnTo>
                    <a:pt x="11031" y="2643"/>
                  </a:lnTo>
                  <a:lnTo>
                    <a:pt x="10862" y="2407"/>
                  </a:lnTo>
                  <a:lnTo>
                    <a:pt x="10683" y="2180"/>
                  </a:lnTo>
                  <a:lnTo>
                    <a:pt x="10493" y="1962"/>
                  </a:lnTo>
                  <a:lnTo>
                    <a:pt x="10294" y="1753"/>
                  </a:lnTo>
                  <a:lnTo>
                    <a:pt x="10084" y="1555"/>
                  </a:lnTo>
                  <a:lnTo>
                    <a:pt x="9865" y="1366"/>
                  </a:lnTo>
                  <a:lnTo>
                    <a:pt x="9638" y="1188"/>
                  </a:lnTo>
                  <a:lnTo>
                    <a:pt x="9401" y="1021"/>
                  </a:lnTo>
                  <a:lnTo>
                    <a:pt x="9156" y="865"/>
                  </a:lnTo>
                  <a:lnTo>
                    <a:pt x="8903" y="722"/>
                  </a:lnTo>
                  <a:lnTo>
                    <a:pt x="8644" y="589"/>
                  </a:lnTo>
                  <a:lnTo>
                    <a:pt x="8376" y="470"/>
                  </a:lnTo>
                  <a:lnTo>
                    <a:pt x="8103" y="362"/>
                  </a:lnTo>
                  <a:lnTo>
                    <a:pt x="7823" y="268"/>
                  </a:lnTo>
                  <a:lnTo>
                    <a:pt x="7536" y="188"/>
                  </a:lnTo>
                  <a:lnTo>
                    <a:pt x="7245" y="121"/>
                  </a:lnTo>
                  <a:lnTo>
                    <a:pt x="6948" y="68"/>
                  </a:lnTo>
                  <a:lnTo>
                    <a:pt x="6647" y="31"/>
                  </a:lnTo>
                  <a:lnTo>
                    <a:pt x="6341" y="8"/>
                  </a:lnTo>
                  <a:lnTo>
                    <a:pt x="60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02" name="işľiḑe">
              <a:extLst>
                <a:ext uri="{FF2B5EF4-FFF2-40B4-BE49-F238E27FC236}">
                  <a16:creationId xmlns:a16="http://schemas.microsoft.com/office/drawing/2014/main" id="{40220C21-0221-4780-8A4F-938226F40627}"/>
                </a:ext>
              </a:extLst>
            </p:cNvPr>
            <p:cNvSpPr/>
            <p:nvPr/>
          </p:nvSpPr>
          <p:spPr bwMode="auto">
            <a:xfrm>
              <a:off x="8347248" y="732952"/>
              <a:ext cx="363600" cy="362763"/>
            </a:xfrm>
            <a:custGeom>
              <a:avLst/>
              <a:gdLst>
                <a:gd name="T0" fmla="*/ 13537 w 16094"/>
                <a:gd name="T1" fmla="*/ 6059 h 16058"/>
                <a:gd name="T2" fmla="*/ 13105 w 16094"/>
                <a:gd name="T3" fmla="*/ 4843 h 16058"/>
                <a:gd name="T4" fmla="*/ 12309 w 16094"/>
                <a:gd name="T5" fmla="*/ 3778 h 16058"/>
                <a:gd name="T6" fmla="*/ 11103 w 16094"/>
                <a:gd name="T7" fmla="*/ 2914 h 16058"/>
                <a:gd name="T8" fmla="*/ 9730 w 16094"/>
                <a:gd name="T9" fmla="*/ 2510 h 16058"/>
                <a:gd name="T10" fmla="*/ 10548 w 16094"/>
                <a:gd name="T11" fmla="*/ 1344 h 16058"/>
                <a:gd name="T12" fmla="*/ 11273 w 16094"/>
                <a:gd name="T13" fmla="*/ 1058 h 16058"/>
                <a:gd name="T14" fmla="*/ 12175 w 16094"/>
                <a:gd name="T15" fmla="*/ 1030 h 16058"/>
                <a:gd name="T16" fmla="*/ 13215 w 16094"/>
                <a:gd name="T17" fmla="*/ 1370 h 16058"/>
                <a:gd name="T18" fmla="*/ 14130 w 16094"/>
                <a:gd name="T19" fmla="*/ 2061 h 16058"/>
                <a:gd name="T20" fmla="*/ 14752 w 16094"/>
                <a:gd name="T21" fmla="*/ 2927 h 16058"/>
                <a:gd name="T22" fmla="*/ 15061 w 16094"/>
                <a:gd name="T23" fmla="*/ 3885 h 16058"/>
                <a:gd name="T24" fmla="*/ 15035 w 16094"/>
                <a:gd name="T25" fmla="*/ 4794 h 16058"/>
                <a:gd name="T26" fmla="*/ 14704 w 16094"/>
                <a:gd name="T27" fmla="*/ 5577 h 16058"/>
                <a:gd name="T28" fmla="*/ 4429 w 16094"/>
                <a:gd name="T29" fmla="*/ 13990 h 16058"/>
                <a:gd name="T30" fmla="*/ 4128 w 16094"/>
                <a:gd name="T31" fmla="*/ 13119 h 16058"/>
                <a:gd name="T32" fmla="*/ 3522 w 16094"/>
                <a:gd name="T33" fmla="*/ 12349 h 16058"/>
                <a:gd name="T34" fmla="*/ 2735 w 16094"/>
                <a:gd name="T35" fmla="*/ 11832 h 16058"/>
                <a:gd name="T36" fmla="*/ 1857 w 16094"/>
                <a:gd name="T37" fmla="*/ 11600 h 16058"/>
                <a:gd name="T38" fmla="*/ 2349 w 16094"/>
                <a:gd name="T39" fmla="*/ 9539 h 16058"/>
                <a:gd name="T40" fmla="*/ 3383 w 16094"/>
                <a:gd name="T41" fmla="*/ 9051 h 16058"/>
                <a:gd name="T42" fmla="*/ 5065 w 16094"/>
                <a:gd name="T43" fmla="*/ 9305 h 16058"/>
                <a:gd name="T44" fmla="*/ 6529 w 16094"/>
                <a:gd name="T45" fmla="*/ 10574 h 16058"/>
                <a:gd name="T46" fmla="*/ 7057 w 16094"/>
                <a:gd name="T47" fmla="*/ 12341 h 16058"/>
                <a:gd name="T48" fmla="*/ 6481 w 16094"/>
                <a:gd name="T49" fmla="*/ 13816 h 16058"/>
                <a:gd name="T50" fmla="*/ 1899 w 16094"/>
                <a:gd name="T51" fmla="*/ 15034 h 16058"/>
                <a:gd name="T52" fmla="*/ 1430 w 16094"/>
                <a:gd name="T53" fmla="*/ 14978 h 16058"/>
                <a:gd name="T54" fmla="*/ 1080 w 16094"/>
                <a:gd name="T55" fmla="*/ 14626 h 16058"/>
                <a:gd name="T56" fmla="*/ 1037 w 16094"/>
                <a:gd name="T57" fmla="*/ 14110 h 16058"/>
                <a:gd name="T58" fmla="*/ 2133 w 16094"/>
                <a:gd name="T59" fmla="*/ 12161 h 16058"/>
                <a:gd name="T60" fmla="*/ 2879 w 16094"/>
                <a:gd name="T61" fmla="*/ 12483 h 16058"/>
                <a:gd name="T62" fmla="*/ 3517 w 16094"/>
                <a:gd name="T63" fmla="*/ 13089 h 16058"/>
                <a:gd name="T64" fmla="*/ 3887 w 16094"/>
                <a:gd name="T65" fmla="*/ 13837 h 16058"/>
                <a:gd name="T66" fmla="*/ 5275 w 16094"/>
                <a:gd name="T67" fmla="*/ 8311 h 16058"/>
                <a:gd name="T68" fmla="*/ 4471 w 16094"/>
                <a:gd name="T69" fmla="*/ 8075 h 16058"/>
                <a:gd name="T70" fmla="*/ 3832 w 16094"/>
                <a:gd name="T71" fmla="*/ 8011 h 16058"/>
                <a:gd name="T72" fmla="*/ 8544 w 16094"/>
                <a:gd name="T73" fmla="*/ 3613 h 16058"/>
                <a:gd name="T74" fmla="*/ 9615 w 16094"/>
                <a:gd name="T75" fmla="*/ 3512 h 16058"/>
                <a:gd name="T76" fmla="*/ 7177 w 16094"/>
                <a:gd name="T77" fmla="*/ 9768 h 16058"/>
                <a:gd name="T78" fmla="*/ 6475 w 16094"/>
                <a:gd name="T79" fmla="*/ 9029 h 16058"/>
                <a:gd name="T80" fmla="*/ 10683 w 16094"/>
                <a:gd name="T81" fmla="*/ 3831 h 16058"/>
                <a:gd name="T82" fmla="*/ 11597 w 16094"/>
                <a:gd name="T83" fmla="*/ 4487 h 16058"/>
                <a:gd name="T84" fmla="*/ 12178 w 16094"/>
                <a:gd name="T85" fmla="*/ 5258 h 16058"/>
                <a:gd name="T86" fmla="*/ 7882 w 16094"/>
                <a:gd name="T87" fmla="*/ 11105 h 16058"/>
                <a:gd name="T88" fmla="*/ 12576 w 16094"/>
                <a:gd name="T89" fmla="*/ 6482 h 16058"/>
                <a:gd name="T90" fmla="*/ 12439 w 16094"/>
                <a:gd name="T91" fmla="*/ 7635 h 16058"/>
                <a:gd name="T92" fmla="*/ 11948 w 16094"/>
                <a:gd name="T93" fmla="*/ 8406 h 16058"/>
                <a:gd name="T94" fmla="*/ 14463 w 16094"/>
                <a:gd name="T95" fmla="*/ 1003 h 16058"/>
                <a:gd name="T96" fmla="*/ 13190 w 16094"/>
                <a:gd name="T97" fmla="*/ 260 h 16058"/>
                <a:gd name="T98" fmla="*/ 11795 w 16094"/>
                <a:gd name="T99" fmla="*/ 0 h 16058"/>
                <a:gd name="T100" fmla="*/ 10660 w 16094"/>
                <a:gd name="T101" fmla="*/ 187 h 16058"/>
                <a:gd name="T102" fmla="*/ 9684 w 16094"/>
                <a:gd name="T103" fmla="*/ 727 h 16058"/>
                <a:gd name="T104" fmla="*/ 1704 w 16094"/>
                <a:gd name="T105" fmla="*/ 8728 h 16058"/>
                <a:gd name="T106" fmla="*/ 1279 w 16094"/>
                <a:gd name="T107" fmla="*/ 9454 h 16058"/>
                <a:gd name="T108" fmla="*/ 0 w 16094"/>
                <a:gd name="T109" fmla="*/ 14302 h 16058"/>
                <a:gd name="T110" fmla="*/ 402 w 16094"/>
                <a:gd name="T111" fmla="*/ 15419 h 16058"/>
                <a:gd name="T112" fmla="*/ 1407 w 16094"/>
                <a:gd name="T113" fmla="*/ 16022 h 16058"/>
                <a:gd name="T114" fmla="*/ 2275 w 16094"/>
                <a:gd name="T115" fmla="*/ 15980 h 16058"/>
                <a:gd name="T116" fmla="*/ 7227 w 16094"/>
                <a:gd name="T117" fmla="*/ 14541 h 16058"/>
                <a:gd name="T118" fmla="*/ 15901 w 16094"/>
                <a:gd name="T119" fmla="*/ 5421 h 16058"/>
                <a:gd name="T120" fmla="*/ 15857 w 16094"/>
                <a:gd name="T121" fmla="*/ 2953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094" h="16058">
                  <a:moveTo>
                    <a:pt x="14431" y="5907"/>
                  </a:moveTo>
                  <a:lnTo>
                    <a:pt x="13584" y="6759"/>
                  </a:lnTo>
                  <a:lnTo>
                    <a:pt x="13585" y="6717"/>
                  </a:lnTo>
                  <a:lnTo>
                    <a:pt x="13586" y="6675"/>
                  </a:lnTo>
                  <a:lnTo>
                    <a:pt x="13588" y="6633"/>
                  </a:lnTo>
                  <a:lnTo>
                    <a:pt x="13590" y="6591"/>
                  </a:lnTo>
                  <a:lnTo>
                    <a:pt x="13591" y="6549"/>
                  </a:lnTo>
                  <a:lnTo>
                    <a:pt x="13591" y="6507"/>
                  </a:lnTo>
                  <a:lnTo>
                    <a:pt x="13590" y="6464"/>
                  </a:lnTo>
                  <a:lnTo>
                    <a:pt x="13587" y="6420"/>
                  </a:lnTo>
                  <a:lnTo>
                    <a:pt x="13578" y="6330"/>
                  </a:lnTo>
                  <a:lnTo>
                    <a:pt x="13566" y="6240"/>
                  </a:lnTo>
                  <a:lnTo>
                    <a:pt x="13553" y="6148"/>
                  </a:lnTo>
                  <a:lnTo>
                    <a:pt x="13537" y="6059"/>
                  </a:lnTo>
                  <a:lnTo>
                    <a:pt x="13520" y="5969"/>
                  </a:lnTo>
                  <a:lnTo>
                    <a:pt x="13500" y="5879"/>
                  </a:lnTo>
                  <a:lnTo>
                    <a:pt x="13478" y="5790"/>
                  </a:lnTo>
                  <a:lnTo>
                    <a:pt x="13453" y="5702"/>
                  </a:lnTo>
                  <a:lnTo>
                    <a:pt x="13427" y="5613"/>
                  </a:lnTo>
                  <a:lnTo>
                    <a:pt x="13400" y="5525"/>
                  </a:lnTo>
                  <a:lnTo>
                    <a:pt x="13370" y="5439"/>
                  </a:lnTo>
                  <a:lnTo>
                    <a:pt x="13338" y="5351"/>
                  </a:lnTo>
                  <a:lnTo>
                    <a:pt x="13305" y="5265"/>
                  </a:lnTo>
                  <a:lnTo>
                    <a:pt x="13268" y="5180"/>
                  </a:lnTo>
                  <a:lnTo>
                    <a:pt x="13230" y="5094"/>
                  </a:lnTo>
                  <a:lnTo>
                    <a:pt x="13191" y="5010"/>
                  </a:lnTo>
                  <a:lnTo>
                    <a:pt x="13150" y="4927"/>
                  </a:lnTo>
                  <a:lnTo>
                    <a:pt x="13105" y="4843"/>
                  </a:lnTo>
                  <a:lnTo>
                    <a:pt x="13060" y="4761"/>
                  </a:lnTo>
                  <a:lnTo>
                    <a:pt x="13014" y="4680"/>
                  </a:lnTo>
                  <a:lnTo>
                    <a:pt x="12965" y="4600"/>
                  </a:lnTo>
                  <a:lnTo>
                    <a:pt x="12913" y="4520"/>
                  </a:lnTo>
                  <a:lnTo>
                    <a:pt x="12861" y="4441"/>
                  </a:lnTo>
                  <a:lnTo>
                    <a:pt x="12807" y="4364"/>
                  </a:lnTo>
                  <a:lnTo>
                    <a:pt x="12750" y="4286"/>
                  </a:lnTo>
                  <a:lnTo>
                    <a:pt x="12692" y="4210"/>
                  </a:lnTo>
                  <a:lnTo>
                    <a:pt x="12633" y="4136"/>
                  </a:lnTo>
                  <a:lnTo>
                    <a:pt x="12571" y="4062"/>
                  </a:lnTo>
                  <a:lnTo>
                    <a:pt x="12508" y="3989"/>
                  </a:lnTo>
                  <a:lnTo>
                    <a:pt x="12443" y="3917"/>
                  </a:lnTo>
                  <a:lnTo>
                    <a:pt x="12376" y="3847"/>
                  </a:lnTo>
                  <a:lnTo>
                    <a:pt x="12309" y="3778"/>
                  </a:lnTo>
                  <a:lnTo>
                    <a:pt x="12230" y="3701"/>
                  </a:lnTo>
                  <a:lnTo>
                    <a:pt x="12152" y="3628"/>
                  </a:lnTo>
                  <a:lnTo>
                    <a:pt x="12071" y="3557"/>
                  </a:lnTo>
                  <a:lnTo>
                    <a:pt x="11989" y="3487"/>
                  </a:lnTo>
                  <a:lnTo>
                    <a:pt x="11905" y="3419"/>
                  </a:lnTo>
                  <a:lnTo>
                    <a:pt x="11821" y="3354"/>
                  </a:lnTo>
                  <a:lnTo>
                    <a:pt x="11735" y="3292"/>
                  </a:lnTo>
                  <a:lnTo>
                    <a:pt x="11648" y="3231"/>
                  </a:lnTo>
                  <a:lnTo>
                    <a:pt x="11560" y="3172"/>
                  </a:lnTo>
                  <a:lnTo>
                    <a:pt x="11471" y="3116"/>
                  </a:lnTo>
                  <a:lnTo>
                    <a:pt x="11380" y="3062"/>
                  </a:lnTo>
                  <a:lnTo>
                    <a:pt x="11289" y="3010"/>
                  </a:lnTo>
                  <a:lnTo>
                    <a:pt x="11196" y="2961"/>
                  </a:lnTo>
                  <a:lnTo>
                    <a:pt x="11103" y="2914"/>
                  </a:lnTo>
                  <a:lnTo>
                    <a:pt x="11009" y="2868"/>
                  </a:lnTo>
                  <a:lnTo>
                    <a:pt x="10913" y="2826"/>
                  </a:lnTo>
                  <a:lnTo>
                    <a:pt x="10818" y="2786"/>
                  </a:lnTo>
                  <a:lnTo>
                    <a:pt x="10721" y="2749"/>
                  </a:lnTo>
                  <a:lnTo>
                    <a:pt x="10625" y="2714"/>
                  </a:lnTo>
                  <a:lnTo>
                    <a:pt x="10527" y="2681"/>
                  </a:lnTo>
                  <a:lnTo>
                    <a:pt x="10429" y="2651"/>
                  </a:lnTo>
                  <a:lnTo>
                    <a:pt x="10330" y="2622"/>
                  </a:lnTo>
                  <a:lnTo>
                    <a:pt x="10231" y="2597"/>
                  </a:lnTo>
                  <a:lnTo>
                    <a:pt x="10132" y="2574"/>
                  </a:lnTo>
                  <a:lnTo>
                    <a:pt x="10031" y="2554"/>
                  </a:lnTo>
                  <a:lnTo>
                    <a:pt x="9932" y="2537"/>
                  </a:lnTo>
                  <a:lnTo>
                    <a:pt x="9831" y="2522"/>
                  </a:lnTo>
                  <a:lnTo>
                    <a:pt x="9730" y="2510"/>
                  </a:lnTo>
                  <a:lnTo>
                    <a:pt x="9630" y="2500"/>
                  </a:lnTo>
                  <a:lnTo>
                    <a:pt x="9529" y="2493"/>
                  </a:lnTo>
                  <a:lnTo>
                    <a:pt x="9428" y="2489"/>
                  </a:lnTo>
                  <a:lnTo>
                    <a:pt x="9327" y="2487"/>
                  </a:lnTo>
                  <a:lnTo>
                    <a:pt x="10160" y="1649"/>
                  </a:lnTo>
                  <a:lnTo>
                    <a:pt x="10199" y="1611"/>
                  </a:lnTo>
                  <a:lnTo>
                    <a:pt x="10240" y="1574"/>
                  </a:lnTo>
                  <a:lnTo>
                    <a:pt x="10282" y="1538"/>
                  </a:lnTo>
                  <a:lnTo>
                    <a:pt x="10324" y="1502"/>
                  </a:lnTo>
                  <a:lnTo>
                    <a:pt x="10367" y="1468"/>
                  </a:lnTo>
                  <a:lnTo>
                    <a:pt x="10411" y="1435"/>
                  </a:lnTo>
                  <a:lnTo>
                    <a:pt x="10456" y="1404"/>
                  </a:lnTo>
                  <a:lnTo>
                    <a:pt x="10502" y="1373"/>
                  </a:lnTo>
                  <a:lnTo>
                    <a:pt x="10548" y="1344"/>
                  </a:lnTo>
                  <a:lnTo>
                    <a:pt x="10596" y="1316"/>
                  </a:lnTo>
                  <a:lnTo>
                    <a:pt x="10644" y="1289"/>
                  </a:lnTo>
                  <a:lnTo>
                    <a:pt x="10692" y="1263"/>
                  </a:lnTo>
                  <a:lnTo>
                    <a:pt x="10742" y="1237"/>
                  </a:lnTo>
                  <a:lnTo>
                    <a:pt x="10793" y="1214"/>
                  </a:lnTo>
                  <a:lnTo>
                    <a:pt x="10843" y="1192"/>
                  </a:lnTo>
                  <a:lnTo>
                    <a:pt x="10894" y="1171"/>
                  </a:lnTo>
                  <a:lnTo>
                    <a:pt x="10947" y="1151"/>
                  </a:lnTo>
                  <a:lnTo>
                    <a:pt x="11000" y="1132"/>
                  </a:lnTo>
                  <a:lnTo>
                    <a:pt x="11053" y="1115"/>
                  </a:lnTo>
                  <a:lnTo>
                    <a:pt x="11108" y="1099"/>
                  </a:lnTo>
                  <a:lnTo>
                    <a:pt x="11162" y="1084"/>
                  </a:lnTo>
                  <a:lnTo>
                    <a:pt x="11217" y="1070"/>
                  </a:lnTo>
                  <a:lnTo>
                    <a:pt x="11273" y="1058"/>
                  </a:lnTo>
                  <a:lnTo>
                    <a:pt x="11329" y="1046"/>
                  </a:lnTo>
                  <a:lnTo>
                    <a:pt x="11386" y="1037"/>
                  </a:lnTo>
                  <a:lnTo>
                    <a:pt x="11444" y="1028"/>
                  </a:lnTo>
                  <a:lnTo>
                    <a:pt x="11501" y="1021"/>
                  </a:lnTo>
                  <a:lnTo>
                    <a:pt x="11559" y="1015"/>
                  </a:lnTo>
                  <a:lnTo>
                    <a:pt x="11618" y="1010"/>
                  </a:lnTo>
                  <a:lnTo>
                    <a:pt x="11676" y="1007"/>
                  </a:lnTo>
                  <a:lnTo>
                    <a:pt x="11735" y="1005"/>
                  </a:lnTo>
                  <a:lnTo>
                    <a:pt x="11795" y="1004"/>
                  </a:lnTo>
                  <a:lnTo>
                    <a:pt x="11871" y="1005"/>
                  </a:lnTo>
                  <a:lnTo>
                    <a:pt x="11947" y="1008"/>
                  </a:lnTo>
                  <a:lnTo>
                    <a:pt x="12023" y="1014"/>
                  </a:lnTo>
                  <a:lnTo>
                    <a:pt x="12098" y="1021"/>
                  </a:lnTo>
                  <a:lnTo>
                    <a:pt x="12175" y="1030"/>
                  </a:lnTo>
                  <a:lnTo>
                    <a:pt x="12251" y="1042"/>
                  </a:lnTo>
                  <a:lnTo>
                    <a:pt x="12327" y="1055"/>
                  </a:lnTo>
                  <a:lnTo>
                    <a:pt x="12402" y="1071"/>
                  </a:lnTo>
                  <a:lnTo>
                    <a:pt x="12478" y="1088"/>
                  </a:lnTo>
                  <a:lnTo>
                    <a:pt x="12553" y="1108"/>
                  </a:lnTo>
                  <a:lnTo>
                    <a:pt x="12629" y="1129"/>
                  </a:lnTo>
                  <a:lnTo>
                    <a:pt x="12703" y="1153"/>
                  </a:lnTo>
                  <a:lnTo>
                    <a:pt x="12777" y="1178"/>
                  </a:lnTo>
                  <a:lnTo>
                    <a:pt x="12852" y="1205"/>
                  </a:lnTo>
                  <a:lnTo>
                    <a:pt x="12925" y="1234"/>
                  </a:lnTo>
                  <a:lnTo>
                    <a:pt x="12999" y="1266"/>
                  </a:lnTo>
                  <a:lnTo>
                    <a:pt x="13071" y="1299"/>
                  </a:lnTo>
                  <a:lnTo>
                    <a:pt x="13144" y="1334"/>
                  </a:lnTo>
                  <a:lnTo>
                    <a:pt x="13215" y="1370"/>
                  </a:lnTo>
                  <a:lnTo>
                    <a:pt x="13285" y="1408"/>
                  </a:lnTo>
                  <a:lnTo>
                    <a:pt x="13356" y="1448"/>
                  </a:lnTo>
                  <a:lnTo>
                    <a:pt x="13425" y="1490"/>
                  </a:lnTo>
                  <a:lnTo>
                    <a:pt x="13495" y="1535"/>
                  </a:lnTo>
                  <a:lnTo>
                    <a:pt x="13562" y="1580"/>
                  </a:lnTo>
                  <a:lnTo>
                    <a:pt x="13629" y="1627"/>
                  </a:lnTo>
                  <a:lnTo>
                    <a:pt x="13696" y="1676"/>
                  </a:lnTo>
                  <a:lnTo>
                    <a:pt x="13761" y="1727"/>
                  </a:lnTo>
                  <a:lnTo>
                    <a:pt x="13827" y="1779"/>
                  </a:lnTo>
                  <a:lnTo>
                    <a:pt x="13890" y="1834"/>
                  </a:lnTo>
                  <a:lnTo>
                    <a:pt x="13952" y="1889"/>
                  </a:lnTo>
                  <a:lnTo>
                    <a:pt x="14014" y="1946"/>
                  </a:lnTo>
                  <a:lnTo>
                    <a:pt x="14075" y="2005"/>
                  </a:lnTo>
                  <a:lnTo>
                    <a:pt x="14130" y="2061"/>
                  </a:lnTo>
                  <a:lnTo>
                    <a:pt x="14185" y="2119"/>
                  </a:lnTo>
                  <a:lnTo>
                    <a:pt x="14237" y="2177"/>
                  </a:lnTo>
                  <a:lnTo>
                    <a:pt x="14288" y="2235"/>
                  </a:lnTo>
                  <a:lnTo>
                    <a:pt x="14338" y="2295"/>
                  </a:lnTo>
                  <a:lnTo>
                    <a:pt x="14386" y="2356"/>
                  </a:lnTo>
                  <a:lnTo>
                    <a:pt x="14433" y="2417"/>
                  </a:lnTo>
                  <a:lnTo>
                    <a:pt x="14478" y="2478"/>
                  </a:lnTo>
                  <a:lnTo>
                    <a:pt x="14522" y="2540"/>
                  </a:lnTo>
                  <a:lnTo>
                    <a:pt x="14564" y="2603"/>
                  </a:lnTo>
                  <a:lnTo>
                    <a:pt x="14605" y="2667"/>
                  </a:lnTo>
                  <a:lnTo>
                    <a:pt x="14644" y="2731"/>
                  </a:lnTo>
                  <a:lnTo>
                    <a:pt x="14682" y="2796"/>
                  </a:lnTo>
                  <a:lnTo>
                    <a:pt x="14718" y="2861"/>
                  </a:lnTo>
                  <a:lnTo>
                    <a:pt x="14752" y="2927"/>
                  </a:lnTo>
                  <a:lnTo>
                    <a:pt x="14785" y="2993"/>
                  </a:lnTo>
                  <a:lnTo>
                    <a:pt x="14816" y="3060"/>
                  </a:lnTo>
                  <a:lnTo>
                    <a:pt x="14846" y="3126"/>
                  </a:lnTo>
                  <a:lnTo>
                    <a:pt x="14874" y="3195"/>
                  </a:lnTo>
                  <a:lnTo>
                    <a:pt x="14900" y="3262"/>
                  </a:lnTo>
                  <a:lnTo>
                    <a:pt x="14925" y="3330"/>
                  </a:lnTo>
                  <a:lnTo>
                    <a:pt x="14948" y="3398"/>
                  </a:lnTo>
                  <a:lnTo>
                    <a:pt x="14969" y="3468"/>
                  </a:lnTo>
                  <a:lnTo>
                    <a:pt x="14988" y="3537"/>
                  </a:lnTo>
                  <a:lnTo>
                    <a:pt x="15007" y="3606"/>
                  </a:lnTo>
                  <a:lnTo>
                    <a:pt x="15023" y="3675"/>
                  </a:lnTo>
                  <a:lnTo>
                    <a:pt x="15038" y="3746"/>
                  </a:lnTo>
                  <a:lnTo>
                    <a:pt x="15050" y="3816"/>
                  </a:lnTo>
                  <a:lnTo>
                    <a:pt x="15061" y="3885"/>
                  </a:lnTo>
                  <a:lnTo>
                    <a:pt x="15070" y="3955"/>
                  </a:lnTo>
                  <a:lnTo>
                    <a:pt x="15078" y="4026"/>
                  </a:lnTo>
                  <a:lnTo>
                    <a:pt x="15084" y="4097"/>
                  </a:lnTo>
                  <a:lnTo>
                    <a:pt x="15087" y="4162"/>
                  </a:lnTo>
                  <a:lnTo>
                    <a:pt x="15089" y="4227"/>
                  </a:lnTo>
                  <a:lnTo>
                    <a:pt x="15089" y="4292"/>
                  </a:lnTo>
                  <a:lnTo>
                    <a:pt x="15088" y="4357"/>
                  </a:lnTo>
                  <a:lnTo>
                    <a:pt x="15085" y="4420"/>
                  </a:lnTo>
                  <a:lnTo>
                    <a:pt x="15081" y="4484"/>
                  </a:lnTo>
                  <a:lnTo>
                    <a:pt x="15075" y="4546"/>
                  </a:lnTo>
                  <a:lnTo>
                    <a:pt x="15067" y="4610"/>
                  </a:lnTo>
                  <a:lnTo>
                    <a:pt x="15058" y="4672"/>
                  </a:lnTo>
                  <a:lnTo>
                    <a:pt x="15048" y="4733"/>
                  </a:lnTo>
                  <a:lnTo>
                    <a:pt x="15035" y="4794"/>
                  </a:lnTo>
                  <a:lnTo>
                    <a:pt x="15022" y="4855"/>
                  </a:lnTo>
                  <a:lnTo>
                    <a:pt x="15006" y="4914"/>
                  </a:lnTo>
                  <a:lnTo>
                    <a:pt x="14989" y="4973"/>
                  </a:lnTo>
                  <a:lnTo>
                    <a:pt x="14970" y="5032"/>
                  </a:lnTo>
                  <a:lnTo>
                    <a:pt x="14950" y="5089"/>
                  </a:lnTo>
                  <a:lnTo>
                    <a:pt x="14929" y="5147"/>
                  </a:lnTo>
                  <a:lnTo>
                    <a:pt x="14906" y="5203"/>
                  </a:lnTo>
                  <a:lnTo>
                    <a:pt x="14882" y="5259"/>
                  </a:lnTo>
                  <a:lnTo>
                    <a:pt x="14856" y="5314"/>
                  </a:lnTo>
                  <a:lnTo>
                    <a:pt x="14829" y="5368"/>
                  </a:lnTo>
                  <a:lnTo>
                    <a:pt x="14799" y="5422"/>
                  </a:lnTo>
                  <a:lnTo>
                    <a:pt x="14769" y="5474"/>
                  </a:lnTo>
                  <a:lnTo>
                    <a:pt x="14737" y="5526"/>
                  </a:lnTo>
                  <a:lnTo>
                    <a:pt x="14704" y="5577"/>
                  </a:lnTo>
                  <a:lnTo>
                    <a:pt x="14670" y="5627"/>
                  </a:lnTo>
                  <a:lnTo>
                    <a:pt x="14633" y="5675"/>
                  </a:lnTo>
                  <a:lnTo>
                    <a:pt x="14595" y="5724"/>
                  </a:lnTo>
                  <a:lnTo>
                    <a:pt x="14557" y="5772"/>
                  </a:lnTo>
                  <a:lnTo>
                    <a:pt x="14516" y="5818"/>
                  </a:lnTo>
                  <a:lnTo>
                    <a:pt x="14474" y="5863"/>
                  </a:lnTo>
                  <a:lnTo>
                    <a:pt x="14431" y="5907"/>
                  </a:lnTo>
                  <a:close/>
                  <a:moveTo>
                    <a:pt x="4463" y="14370"/>
                  </a:moveTo>
                  <a:lnTo>
                    <a:pt x="4461" y="14307"/>
                  </a:lnTo>
                  <a:lnTo>
                    <a:pt x="4458" y="14243"/>
                  </a:lnTo>
                  <a:lnTo>
                    <a:pt x="4453" y="14180"/>
                  </a:lnTo>
                  <a:lnTo>
                    <a:pt x="4446" y="14117"/>
                  </a:lnTo>
                  <a:lnTo>
                    <a:pt x="4438" y="14053"/>
                  </a:lnTo>
                  <a:lnTo>
                    <a:pt x="4429" y="13990"/>
                  </a:lnTo>
                  <a:lnTo>
                    <a:pt x="4417" y="13926"/>
                  </a:lnTo>
                  <a:lnTo>
                    <a:pt x="4405" y="13863"/>
                  </a:lnTo>
                  <a:lnTo>
                    <a:pt x="4391" y="13800"/>
                  </a:lnTo>
                  <a:lnTo>
                    <a:pt x="4375" y="13737"/>
                  </a:lnTo>
                  <a:lnTo>
                    <a:pt x="4357" y="13673"/>
                  </a:lnTo>
                  <a:lnTo>
                    <a:pt x="4338" y="13610"/>
                  </a:lnTo>
                  <a:lnTo>
                    <a:pt x="4317" y="13548"/>
                  </a:lnTo>
                  <a:lnTo>
                    <a:pt x="4295" y="13486"/>
                  </a:lnTo>
                  <a:lnTo>
                    <a:pt x="4271" y="13423"/>
                  </a:lnTo>
                  <a:lnTo>
                    <a:pt x="4246" y="13362"/>
                  </a:lnTo>
                  <a:lnTo>
                    <a:pt x="4219" y="13300"/>
                  </a:lnTo>
                  <a:lnTo>
                    <a:pt x="4191" y="13240"/>
                  </a:lnTo>
                  <a:lnTo>
                    <a:pt x="4161" y="13179"/>
                  </a:lnTo>
                  <a:lnTo>
                    <a:pt x="4128" y="13119"/>
                  </a:lnTo>
                  <a:lnTo>
                    <a:pt x="4095" y="13059"/>
                  </a:lnTo>
                  <a:lnTo>
                    <a:pt x="4060" y="13000"/>
                  </a:lnTo>
                  <a:lnTo>
                    <a:pt x="4024" y="12942"/>
                  </a:lnTo>
                  <a:lnTo>
                    <a:pt x="3986" y="12884"/>
                  </a:lnTo>
                  <a:lnTo>
                    <a:pt x="3946" y="12826"/>
                  </a:lnTo>
                  <a:lnTo>
                    <a:pt x="3905" y="12769"/>
                  </a:lnTo>
                  <a:lnTo>
                    <a:pt x="3862" y="12714"/>
                  </a:lnTo>
                  <a:lnTo>
                    <a:pt x="3818" y="12658"/>
                  </a:lnTo>
                  <a:lnTo>
                    <a:pt x="3771" y="12604"/>
                  </a:lnTo>
                  <a:lnTo>
                    <a:pt x="3723" y="12549"/>
                  </a:lnTo>
                  <a:lnTo>
                    <a:pt x="3674" y="12497"/>
                  </a:lnTo>
                  <a:lnTo>
                    <a:pt x="3622" y="12445"/>
                  </a:lnTo>
                  <a:lnTo>
                    <a:pt x="3573" y="12396"/>
                  </a:lnTo>
                  <a:lnTo>
                    <a:pt x="3522" y="12349"/>
                  </a:lnTo>
                  <a:lnTo>
                    <a:pt x="3470" y="12303"/>
                  </a:lnTo>
                  <a:lnTo>
                    <a:pt x="3418" y="12258"/>
                  </a:lnTo>
                  <a:lnTo>
                    <a:pt x="3366" y="12215"/>
                  </a:lnTo>
                  <a:lnTo>
                    <a:pt x="3312" y="12174"/>
                  </a:lnTo>
                  <a:lnTo>
                    <a:pt x="3257" y="12133"/>
                  </a:lnTo>
                  <a:lnTo>
                    <a:pt x="3202" y="12094"/>
                  </a:lnTo>
                  <a:lnTo>
                    <a:pt x="3146" y="12057"/>
                  </a:lnTo>
                  <a:lnTo>
                    <a:pt x="3088" y="12020"/>
                  </a:lnTo>
                  <a:lnTo>
                    <a:pt x="3031" y="11985"/>
                  </a:lnTo>
                  <a:lnTo>
                    <a:pt x="2974" y="11952"/>
                  </a:lnTo>
                  <a:lnTo>
                    <a:pt x="2914" y="11920"/>
                  </a:lnTo>
                  <a:lnTo>
                    <a:pt x="2855" y="11889"/>
                  </a:lnTo>
                  <a:lnTo>
                    <a:pt x="2796" y="11860"/>
                  </a:lnTo>
                  <a:lnTo>
                    <a:pt x="2735" y="11832"/>
                  </a:lnTo>
                  <a:lnTo>
                    <a:pt x="2675" y="11806"/>
                  </a:lnTo>
                  <a:lnTo>
                    <a:pt x="2613" y="11781"/>
                  </a:lnTo>
                  <a:lnTo>
                    <a:pt x="2552" y="11757"/>
                  </a:lnTo>
                  <a:lnTo>
                    <a:pt x="2490" y="11735"/>
                  </a:lnTo>
                  <a:lnTo>
                    <a:pt x="2427" y="11715"/>
                  </a:lnTo>
                  <a:lnTo>
                    <a:pt x="2365" y="11696"/>
                  </a:lnTo>
                  <a:lnTo>
                    <a:pt x="2303" y="11679"/>
                  </a:lnTo>
                  <a:lnTo>
                    <a:pt x="2239" y="11663"/>
                  </a:lnTo>
                  <a:lnTo>
                    <a:pt x="2176" y="11648"/>
                  </a:lnTo>
                  <a:lnTo>
                    <a:pt x="2112" y="11636"/>
                  </a:lnTo>
                  <a:lnTo>
                    <a:pt x="2048" y="11625"/>
                  </a:lnTo>
                  <a:lnTo>
                    <a:pt x="1985" y="11615"/>
                  </a:lnTo>
                  <a:lnTo>
                    <a:pt x="1920" y="11607"/>
                  </a:lnTo>
                  <a:lnTo>
                    <a:pt x="1857" y="11600"/>
                  </a:lnTo>
                  <a:lnTo>
                    <a:pt x="1793" y="11595"/>
                  </a:lnTo>
                  <a:lnTo>
                    <a:pt x="1728" y="11592"/>
                  </a:lnTo>
                  <a:lnTo>
                    <a:pt x="2229" y="9781"/>
                  </a:lnTo>
                  <a:lnTo>
                    <a:pt x="2236" y="9759"/>
                  </a:lnTo>
                  <a:lnTo>
                    <a:pt x="2244" y="9736"/>
                  </a:lnTo>
                  <a:lnTo>
                    <a:pt x="2253" y="9714"/>
                  </a:lnTo>
                  <a:lnTo>
                    <a:pt x="2263" y="9692"/>
                  </a:lnTo>
                  <a:lnTo>
                    <a:pt x="2273" y="9670"/>
                  </a:lnTo>
                  <a:lnTo>
                    <a:pt x="2284" y="9648"/>
                  </a:lnTo>
                  <a:lnTo>
                    <a:pt x="2296" y="9626"/>
                  </a:lnTo>
                  <a:lnTo>
                    <a:pt x="2308" y="9604"/>
                  </a:lnTo>
                  <a:lnTo>
                    <a:pt x="2321" y="9583"/>
                  </a:lnTo>
                  <a:lnTo>
                    <a:pt x="2335" y="9561"/>
                  </a:lnTo>
                  <a:lnTo>
                    <a:pt x="2349" y="9539"/>
                  </a:lnTo>
                  <a:lnTo>
                    <a:pt x="2363" y="9518"/>
                  </a:lnTo>
                  <a:lnTo>
                    <a:pt x="2378" y="9498"/>
                  </a:lnTo>
                  <a:lnTo>
                    <a:pt x="2393" y="9478"/>
                  </a:lnTo>
                  <a:lnTo>
                    <a:pt x="2409" y="9458"/>
                  </a:lnTo>
                  <a:lnTo>
                    <a:pt x="2426" y="9438"/>
                  </a:lnTo>
                  <a:lnTo>
                    <a:pt x="2522" y="9374"/>
                  </a:lnTo>
                  <a:lnTo>
                    <a:pt x="2621" y="9314"/>
                  </a:lnTo>
                  <a:lnTo>
                    <a:pt x="2723" y="9260"/>
                  </a:lnTo>
                  <a:lnTo>
                    <a:pt x="2828" y="9211"/>
                  </a:lnTo>
                  <a:lnTo>
                    <a:pt x="2934" y="9169"/>
                  </a:lnTo>
                  <a:lnTo>
                    <a:pt x="3044" y="9131"/>
                  </a:lnTo>
                  <a:lnTo>
                    <a:pt x="3156" y="9099"/>
                  </a:lnTo>
                  <a:lnTo>
                    <a:pt x="3268" y="9072"/>
                  </a:lnTo>
                  <a:lnTo>
                    <a:pt x="3383" y="9051"/>
                  </a:lnTo>
                  <a:lnTo>
                    <a:pt x="3500" y="9034"/>
                  </a:lnTo>
                  <a:lnTo>
                    <a:pt x="3617" y="9024"/>
                  </a:lnTo>
                  <a:lnTo>
                    <a:pt x="3736" y="9018"/>
                  </a:lnTo>
                  <a:lnTo>
                    <a:pt x="3857" y="9018"/>
                  </a:lnTo>
                  <a:lnTo>
                    <a:pt x="3976" y="9023"/>
                  </a:lnTo>
                  <a:lnTo>
                    <a:pt x="4098" y="9033"/>
                  </a:lnTo>
                  <a:lnTo>
                    <a:pt x="4220" y="9049"/>
                  </a:lnTo>
                  <a:lnTo>
                    <a:pt x="4342" y="9070"/>
                  </a:lnTo>
                  <a:lnTo>
                    <a:pt x="4463" y="9096"/>
                  </a:lnTo>
                  <a:lnTo>
                    <a:pt x="4584" y="9127"/>
                  </a:lnTo>
                  <a:lnTo>
                    <a:pt x="4706" y="9164"/>
                  </a:lnTo>
                  <a:lnTo>
                    <a:pt x="4826" y="9206"/>
                  </a:lnTo>
                  <a:lnTo>
                    <a:pt x="4946" y="9252"/>
                  </a:lnTo>
                  <a:lnTo>
                    <a:pt x="5065" y="9305"/>
                  </a:lnTo>
                  <a:lnTo>
                    <a:pt x="5184" y="9363"/>
                  </a:lnTo>
                  <a:lnTo>
                    <a:pt x="5300" y="9425"/>
                  </a:lnTo>
                  <a:lnTo>
                    <a:pt x="5415" y="9493"/>
                  </a:lnTo>
                  <a:lnTo>
                    <a:pt x="5529" y="9566"/>
                  </a:lnTo>
                  <a:lnTo>
                    <a:pt x="5640" y="9644"/>
                  </a:lnTo>
                  <a:lnTo>
                    <a:pt x="5750" y="9727"/>
                  </a:lnTo>
                  <a:lnTo>
                    <a:pt x="5857" y="9815"/>
                  </a:lnTo>
                  <a:lnTo>
                    <a:pt x="5962" y="9909"/>
                  </a:lnTo>
                  <a:lnTo>
                    <a:pt x="6065" y="10007"/>
                  </a:lnTo>
                  <a:lnTo>
                    <a:pt x="6168" y="10115"/>
                  </a:lnTo>
                  <a:lnTo>
                    <a:pt x="6267" y="10226"/>
                  </a:lnTo>
                  <a:lnTo>
                    <a:pt x="6360" y="10339"/>
                  </a:lnTo>
                  <a:lnTo>
                    <a:pt x="6447" y="10456"/>
                  </a:lnTo>
                  <a:lnTo>
                    <a:pt x="6529" y="10574"/>
                  </a:lnTo>
                  <a:lnTo>
                    <a:pt x="6604" y="10695"/>
                  </a:lnTo>
                  <a:lnTo>
                    <a:pt x="6673" y="10816"/>
                  </a:lnTo>
                  <a:lnTo>
                    <a:pt x="6738" y="10941"/>
                  </a:lnTo>
                  <a:lnTo>
                    <a:pt x="6796" y="11065"/>
                  </a:lnTo>
                  <a:lnTo>
                    <a:pt x="6848" y="11191"/>
                  </a:lnTo>
                  <a:lnTo>
                    <a:pt x="6895" y="11318"/>
                  </a:lnTo>
                  <a:lnTo>
                    <a:pt x="6936" y="11446"/>
                  </a:lnTo>
                  <a:lnTo>
                    <a:pt x="6971" y="11574"/>
                  </a:lnTo>
                  <a:lnTo>
                    <a:pt x="7000" y="11702"/>
                  </a:lnTo>
                  <a:lnTo>
                    <a:pt x="7023" y="11831"/>
                  </a:lnTo>
                  <a:lnTo>
                    <a:pt x="7041" y="11959"/>
                  </a:lnTo>
                  <a:lnTo>
                    <a:pt x="7052" y="12087"/>
                  </a:lnTo>
                  <a:lnTo>
                    <a:pt x="7058" y="12214"/>
                  </a:lnTo>
                  <a:lnTo>
                    <a:pt x="7057" y="12341"/>
                  </a:lnTo>
                  <a:lnTo>
                    <a:pt x="7051" y="12466"/>
                  </a:lnTo>
                  <a:lnTo>
                    <a:pt x="7039" y="12589"/>
                  </a:lnTo>
                  <a:lnTo>
                    <a:pt x="7019" y="12712"/>
                  </a:lnTo>
                  <a:lnTo>
                    <a:pt x="6995" y="12832"/>
                  </a:lnTo>
                  <a:lnTo>
                    <a:pt x="6965" y="12952"/>
                  </a:lnTo>
                  <a:lnTo>
                    <a:pt x="6929" y="13068"/>
                  </a:lnTo>
                  <a:lnTo>
                    <a:pt x="6886" y="13183"/>
                  </a:lnTo>
                  <a:lnTo>
                    <a:pt x="6837" y="13294"/>
                  </a:lnTo>
                  <a:lnTo>
                    <a:pt x="6783" y="13402"/>
                  </a:lnTo>
                  <a:lnTo>
                    <a:pt x="6722" y="13508"/>
                  </a:lnTo>
                  <a:lnTo>
                    <a:pt x="6655" y="13610"/>
                  </a:lnTo>
                  <a:lnTo>
                    <a:pt x="6582" y="13710"/>
                  </a:lnTo>
                  <a:lnTo>
                    <a:pt x="6502" y="13805"/>
                  </a:lnTo>
                  <a:lnTo>
                    <a:pt x="6481" y="13816"/>
                  </a:lnTo>
                  <a:lnTo>
                    <a:pt x="6459" y="13827"/>
                  </a:lnTo>
                  <a:lnTo>
                    <a:pt x="6437" y="13838"/>
                  </a:lnTo>
                  <a:lnTo>
                    <a:pt x="6415" y="13848"/>
                  </a:lnTo>
                  <a:lnTo>
                    <a:pt x="6392" y="13858"/>
                  </a:lnTo>
                  <a:lnTo>
                    <a:pt x="6369" y="13867"/>
                  </a:lnTo>
                  <a:lnTo>
                    <a:pt x="6345" y="13876"/>
                  </a:lnTo>
                  <a:lnTo>
                    <a:pt x="6322" y="13884"/>
                  </a:lnTo>
                  <a:lnTo>
                    <a:pt x="4463" y="14370"/>
                  </a:lnTo>
                  <a:close/>
                  <a:moveTo>
                    <a:pt x="2096" y="14991"/>
                  </a:moveTo>
                  <a:lnTo>
                    <a:pt x="2070" y="14997"/>
                  </a:lnTo>
                  <a:lnTo>
                    <a:pt x="2036" y="15005"/>
                  </a:lnTo>
                  <a:lnTo>
                    <a:pt x="1995" y="15014"/>
                  </a:lnTo>
                  <a:lnTo>
                    <a:pt x="1949" y="15024"/>
                  </a:lnTo>
                  <a:lnTo>
                    <a:pt x="1899" y="15034"/>
                  </a:lnTo>
                  <a:lnTo>
                    <a:pt x="1849" y="15043"/>
                  </a:lnTo>
                  <a:lnTo>
                    <a:pt x="1825" y="15046"/>
                  </a:lnTo>
                  <a:lnTo>
                    <a:pt x="1801" y="15050"/>
                  </a:lnTo>
                  <a:lnTo>
                    <a:pt x="1777" y="15052"/>
                  </a:lnTo>
                  <a:lnTo>
                    <a:pt x="1755" y="15054"/>
                  </a:lnTo>
                  <a:lnTo>
                    <a:pt x="1716" y="15053"/>
                  </a:lnTo>
                  <a:lnTo>
                    <a:pt x="1679" y="15049"/>
                  </a:lnTo>
                  <a:lnTo>
                    <a:pt x="1641" y="15044"/>
                  </a:lnTo>
                  <a:lnTo>
                    <a:pt x="1604" y="15037"/>
                  </a:lnTo>
                  <a:lnTo>
                    <a:pt x="1568" y="15029"/>
                  </a:lnTo>
                  <a:lnTo>
                    <a:pt x="1532" y="15018"/>
                  </a:lnTo>
                  <a:lnTo>
                    <a:pt x="1498" y="15006"/>
                  </a:lnTo>
                  <a:lnTo>
                    <a:pt x="1464" y="14993"/>
                  </a:lnTo>
                  <a:lnTo>
                    <a:pt x="1430" y="14978"/>
                  </a:lnTo>
                  <a:lnTo>
                    <a:pt x="1398" y="14961"/>
                  </a:lnTo>
                  <a:lnTo>
                    <a:pt x="1367" y="14943"/>
                  </a:lnTo>
                  <a:lnTo>
                    <a:pt x="1336" y="14923"/>
                  </a:lnTo>
                  <a:lnTo>
                    <a:pt x="1307" y="14902"/>
                  </a:lnTo>
                  <a:lnTo>
                    <a:pt x="1279" y="14880"/>
                  </a:lnTo>
                  <a:lnTo>
                    <a:pt x="1251" y="14856"/>
                  </a:lnTo>
                  <a:lnTo>
                    <a:pt x="1225" y="14832"/>
                  </a:lnTo>
                  <a:lnTo>
                    <a:pt x="1201" y="14804"/>
                  </a:lnTo>
                  <a:lnTo>
                    <a:pt x="1177" y="14777"/>
                  </a:lnTo>
                  <a:lnTo>
                    <a:pt x="1155" y="14749"/>
                  </a:lnTo>
                  <a:lnTo>
                    <a:pt x="1134" y="14720"/>
                  </a:lnTo>
                  <a:lnTo>
                    <a:pt x="1115" y="14689"/>
                  </a:lnTo>
                  <a:lnTo>
                    <a:pt x="1096" y="14658"/>
                  </a:lnTo>
                  <a:lnTo>
                    <a:pt x="1080" y="14626"/>
                  </a:lnTo>
                  <a:lnTo>
                    <a:pt x="1065" y="14593"/>
                  </a:lnTo>
                  <a:lnTo>
                    <a:pt x="1051" y="14559"/>
                  </a:lnTo>
                  <a:lnTo>
                    <a:pt x="1040" y="14524"/>
                  </a:lnTo>
                  <a:lnTo>
                    <a:pt x="1030" y="14488"/>
                  </a:lnTo>
                  <a:lnTo>
                    <a:pt x="1021" y="14452"/>
                  </a:lnTo>
                  <a:lnTo>
                    <a:pt x="1015" y="14415"/>
                  </a:lnTo>
                  <a:lnTo>
                    <a:pt x="1010" y="14378"/>
                  </a:lnTo>
                  <a:lnTo>
                    <a:pt x="1007" y="14340"/>
                  </a:lnTo>
                  <a:lnTo>
                    <a:pt x="1006" y="14302"/>
                  </a:lnTo>
                  <a:lnTo>
                    <a:pt x="1009" y="14268"/>
                  </a:lnTo>
                  <a:lnTo>
                    <a:pt x="1015" y="14229"/>
                  </a:lnTo>
                  <a:lnTo>
                    <a:pt x="1022" y="14189"/>
                  </a:lnTo>
                  <a:lnTo>
                    <a:pt x="1029" y="14149"/>
                  </a:lnTo>
                  <a:lnTo>
                    <a:pt x="1037" y="14110"/>
                  </a:lnTo>
                  <a:lnTo>
                    <a:pt x="1045" y="14074"/>
                  </a:lnTo>
                  <a:lnTo>
                    <a:pt x="1051" y="14043"/>
                  </a:lnTo>
                  <a:lnTo>
                    <a:pt x="1056" y="14020"/>
                  </a:lnTo>
                  <a:lnTo>
                    <a:pt x="1586" y="12106"/>
                  </a:lnTo>
                  <a:lnTo>
                    <a:pt x="1641" y="12105"/>
                  </a:lnTo>
                  <a:lnTo>
                    <a:pt x="1695" y="12105"/>
                  </a:lnTo>
                  <a:lnTo>
                    <a:pt x="1749" y="12107"/>
                  </a:lnTo>
                  <a:lnTo>
                    <a:pt x="1804" y="12111"/>
                  </a:lnTo>
                  <a:lnTo>
                    <a:pt x="1858" y="12116"/>
                  </a:lnTo>
                  <a:lnTo>
                    <a:pt x="1913" y="12122"/>
                  </a:lnTo>
                  <a:lnTo>
                    <a:pt x="1968" y="12130"/>
                  </a:lnTo>
                  <a:lnTo>
                    <a:pt x="2023" y="12139"/>
                  </a:lnTo>
                  <a:lnTo>
                    <a:pt x="2077" y="12149"/>
                  </a:lnTo>
                  <a:lnTo>
                    <a:pt x="2133" y="12161"/>
                  </a:lnTo>
                  <a:lnTo>
                    <a:pt x="2187" y="12175"/>
                  </a:lnTo>
                  <a:lnTo>
                    <a:pt x="2242" y="12190"/>
                  </a:lnTo>
                  <a:lnTo>
                    <a:pt x="2297" y="12206"/>
                  </a:lnTo>
                  <a:lnTo>
                    <a:pt x="2351" y="12224"/>
                  </a:lnTo>
                  <a:lnTo>
                    <a:pt x="2405" y="12243"/>
                  </a:lnTo>
                  <a:lnTo>
                    <a:pt x="2460" y="12264"/>
                  </a:lnTo>
                  <a:lnTo>
                    <a:pt x="2513" y="12286"/>
                  </a:lnTo>
                  <a:lnTo>
                    <a:pt x="2566" y="12309"/>
                  </a:lnTo>
                  <a:lnTo>
                    <a:pt x="2619" y="12335"/>
                  </a:lnTo>
                  <a:lnTo>
                    <a:pt x="2673" y="12362"/>
                  </a:lnTo>
                  <a:lnTo>
                    <a:pt x="2725" y="12390"/>
                  </a:lnTo>
                  <a:lnTo>
                    <a:pt x="2776" y="12420"/>
                  </a:lnTo>
                  <a:lnTo>
                    <a:pt x="2829" y="12451"/>
                  </a:lnTo>
                  <a:lnTo>
                    <a:pt x="2879" y="12483"/>
                  </a:lnTo>
                  <a:lnTo>
                    <a:pt x="2930" y="12517"/>
                  </a:lnTo>
                  <a:lnTo>
                    <a:pt x="2980" y="12553"/>
                  </a:lnTo>
                  <a:lnTo>
                    <a:pt x="3029" y="12590"/>
                  </a:lnTo>
                  <a:lnTo>
                    <a:pt x="3078" y="12629"/>
                  </a:lnTo>
                  <a:lnTo>
                    <a:pt x="3126" y="12669"/>
                  </a:lnTo>
                  <a:lnTo>
                    <a:pt x="3174" y="12711"/>
                  </a:lnTo>
                  <a:lnTo>
                    <a:pt x="3220" y="12754"/>
                  </a:lnTo>
                  <a:lnTo>
                    <a:pt x="3266" y="12799"/>
                  </a:lnTo>
                  <a:lnTo>
                    <a:pt x="3312" y="12845"/>
                  </a:lnTo>
                  <a:lnTo>
                    <a:pt x="3356" y="12893"/>
                  </a:lnTo>
                  <a:lnTo>
                    <a:pt x="3398" y="12941"/>
                  </a:lnTo>
                  <a:lnTo>
                    <a:pt x="3439" y="12990"/>
                  </a:lnTo>
                  <a:lnTo>
                    <a:pt x="3479" y="13039"/>
                  </a:lnTo>
                  <a:lnTo>
                    <a:pt x="3517" y="13089"/>
                  </a:lnTo>
                  <a:lnTo>
                    <a:pt x="3553" y="13139"/>
                  </a:lnTo>
                  <a:lnTo>
                    <a:pt x="3588" y="13191"/>
                  </a:lnTo>
                  <a:lnTo>
                    <a:pt x="3621" y="13243"/>
                  </a:lnTo>
                  <a:lnTo>
                    <a:pt x="3653" y="13295"/>
                  </a:lnTo>
                  <a:lnTo>
                    <a:pt x="3683" y="13348"/>
                  </a:lnTo>
                  <a:lnTo>
                    <a:pt x="3712" y="13401"/>
                  </a:lnTo>
                  <a:lnTo>
                    <a:pt x="3739" y="13455"/>
                  </a:lnTo>
                  <a:lnTo>
                    <a:pt x="3765" y="13509"/>
                  </a:lnTo>
                  <a:lnTo>
                    <a:pt x="3788" y="13563"/>
                  </a:lnTo>
                  <a:lnTo>
                    <a:pt x="3811" y="13617"/>
                  </a:lnTo>
                  <a:lnTo>
                    <a:pt x="3833" y="13671"/>
                  </a:lnTo>
                  <a:lnTo>
                    <a:pt x="3852" y="13727"/>
                  </a:lnTo>
                  <a:lnTo>
                    <a:pt x="3870" y="13782"/>
                  </a:lnTo>
                  <a:lnTo>
                    <a:pt x="3887" y="13837"/>
                  </a:lnTo>
                  <a:lnTo>
                    <a:pt x="3902" y="13892"/>
                  </a:lnTo>
                  <a:lnTo>
                    <a:pt x="3915" y="13948"/>
                  </a:lnTo>
                  <a:lnTo>
                    <a:pt x="3927" y="14004"/>
                  </a:lnTo>
                  <a:lnTo>
                    <a:pt x="3938" y="14060"/>
                  </a:lnTo>
                  <a:lnTo>
                    <a:pt x="3946" y="14115"/>
                  </a:lnTo>
                  <a:lnTo>
                    <a:pt x="3954" y="14170"/>
                  </a:lnTo>
                  <a:lnTo>
                    <a:pt x="3960" y="14225"/>
                  </a:lnTo>
                  <a:lnTo>
                    <a:pt x="3964" y="14282"/>
                  </a:lnTo>
                  <a:lnTo>
                    <a:pt x="3967" y="14337"/>
                  </a:lnTo>
                  <a:lnTo>
                    <a:pt x="3968" y="14391"/>
                  </a:lnTo>
                  <a:lnTo>
                    <a:pt x="3968" y="14446"/>
                  </a:lnTo>
                  <a:lnTo>
                    <a:pt x="3967" y="14500"/>
                  </a:lnTo>
                  <a:lnTo>
                    <a:pt x="2096" y="14991"/>
                  </a:lnTo>
                  <a:close/>
                  <a:moveTo>
                    <a:pt x="5275" y="8311"/>
                  </a:moveTo>
                  <a:lnTo>
                    <a:pt x="5187" y="8277"/>
                  </a:lnTo>
                  <a:lnTo>
                    <a:pt x="5099" y="8245"/>
                  </a:lnTo>
                  <a:lnTo>
                    <a:pt x="5011" y="8215"/>
                  </a:lnTo>
                  <a:lnTo>
                    <a:pt x="4921" y="8186"/>
                  </a:lnTo>
                  <a:lnTo>
                    <a:pt x="4877" y="8173"/>
                  </a:lnTo>
                  <a:lnTo>
                    <a:pt x="4833" y="8159"/>
                  </a:lnTo>
                  <a:lnTo>
                    <a:pt x="4787" y="8147"/>
                  </a:lnTo>
                  <a:lnTo>
                    <a:pt x="4742" y="8135"/>
                  </a:lnTo>
                  <a:lnTo>
                    <a:pt x="4698" y="8124"/>
                  </a:lnTo>
                  <a:lnTo>
                    <a:pt x="4652" y="8113"/>
                  </a:lnTo>
                  <a:lnTo>
                    <a:pt x="4607" y="8103"/>
                  </a:lnTo>
                  <a:lnTo>
                    <a:pt x="4562" y="8093"/>
                  </a:lnTo>
                  <a:lnTo>
                    <a:pt x="4517" y="8084"/>
                  </a:lnTo>
                  <a:lnTo>
                    <a:pt x="4471" y="8075"/>
                  </a:lnTo>
                  <a:lnTo>
                    <a:pt x="4426" y="8067"/>
                  </a:lnTo>
                  <a:lnTo>
                    <a:pt x="4380" y="8059"/>
                  </a:lnTo>
                  <a:lnTo>
                    <a:pt x="4335" y="8052"/>
                  </a:lnTo>
                  <a:lnTo>
                    <a:pt x="4289" y="8045"/>
                  </a:lnTo>
                  <a:lnTo>
                    <a:pt x="4243" y="8039"/>
                  </a:lnTo>
                  <a:lnTo>
                    <a:pt x="4198" y="8034"/>
                  </a:lnTo>
                  <a:lnTo>
                    <a:pt x="4153" y="8029"/>
                  </a:lnTo>
                  <a:lnTo>
                    <a:pt x="4106" y="8025"/>
                  </a:lnTo>
                  <a:lnTo>
                    <a:pt x="4061" y="8021"/>
                  </a:lnTo>
                  <a:lnTo>
                    <a:pt x="4015" y="8018"/>
                  </a:lnTo>
                  <a:lnTo>
                    <a:pt x="3969" y="8015"/>
                  </a:lnTo>
                  <a:lnTo>
                    <a:pt x="3923" y="8013"/>
                  </a:lnTo>
                  <a:lnTo>
                    <a:pt x="3878" y="8011"/>
                  </a:lnTo>
                  <a:lnTo>
                    <a:pt x="3832" y="8011"/>
                  </a:lnTo>
                  <a:lnTo>
                    <a:pt x="7706" y="4116"/>
                  </a:lnTo>
                  <a:lnTo>
                    <a:pt x="7763" y="4063"/>
                  </a:lnTo>
                  <a:lnTo>
                    <a:pt x="7820" y="4012"/>
                  </a:lnTo>
                  <a:lnTo>
                    <a:pt x="7880" y="3964"/>
                  </a:lnTo>
                  <a:lnTo>
                    <a:pt x="7941" y="3918"/>
                  </a:lnTo>
                  <a:lnTo>
                    <a:pt x="8003" y="3875"/>
                  </a:lnTo>
                  <a:lnTo>
                    <a:pt x="8067" y="3834"/>
                  </a:lnTo>
                  <a:lnTo>
                    <a:pt x="8131" y="3796"/>
                  </a:lnTo>
                  <a:lnTo>
                    <a:pt x="8197" y="3760"/>
                  </a:lnTo>
                  <a:lnTo>
                    <a:pt x="8265" y="3725"/>
                  </a:lnTo>
                  <a:lnTo>
                    <a:pt x="8333" y="3694"/>
                  </a:lnTo>
                  <a:lnTo>
                    <a:pt x="8403" y="3665"/>
                  </a:lnTo>
                  <a:lnTo>
                    <a:pt x="8473" y="3638"/>
                  </a:lnTo>
                  <a:lnTo>
                    <a:pt x="8544" y="3613"/>
                  </a:lnTo>
                  <a:lnTo>
                    <a:pt x="8616" y="3591"/>
                  </a:lnTo>
                  <a:lnTo>
                    <a:pt x="8689" y="3571"/>
                  </a:lnTo>
                  <a:lnTo>
                    <a:pt x="8764" y="3554"/>
                  </a:lnTo>
                  <a:lnTo>
                    <a:pt x="8838" y="3539"/>
                  </a:lnTo>
                  <a:lnTo>
                    <a:pt x="8914" y="3526"/>
                  </a:lnTo>
                  <a:lnTo>
                    <a:pt x="8989" y="3515"/>
                  </a:lnTo>
                  <a:lnTo>
                    <a:pt x="9067" y="3507"/>
                  </a:lnTo>
                  <a:lnTo>
                    <a:pt x="9143" y="3501"/>
                  </a:lnTo>
                  <a:lnTo>
                    <a:pt x="9220" y="3497"/>
                  </a:lnTo>
                  <a:lnTo>
                    <a:pt x="9299" y="3496"/>
                  </a:lnTo>
                  <a:lnTo>
                    <a:pt x="9377" y="3497"/>
                  </a:lnTo>
                  <a:lnTo>
                    <a:pt x="9457" y="3500"/>
                  </a:lnTo>
                  <a:lnTo>
                    <a:pt x="9535" y="3505"/>
                  </a:lnTo>
                  <a:lnTo>
                    <a:pt x="9615" y="3512"/>
                  </a:lnTo>
                  <a:lnTo>
                    <a:pt x="9694" y="3522"/>
                  </a:lnTo>
                  <a:lnTo>
                    <a:pt x="9775" y="3534"/>
                  </a:lnTo>
                  <a:lnTo>
                    <a:pt x="9854" y="3548"/>
                  </a:lnTo>
                  <a:lnTo>
                    <a:pt x="9934" y="3565"/>
                  </a:lnTo>
                  <a:lnTo>
                    <a:pt x="10014" y="3583"/>
                  </a:lnTo>
                  <a:lnTo>
                    <a:pt x="5275" y="8311"/>
                  </a:lnTo>
                  <a:close/>
                  <a:moveTo>
                    <a:pt x="7441" y="10165"/>
                  </a:moveTo>
                  <a:lnTo>
                    <a:pt x="7406" y="10107"/>
                  </a:lnTo>
                  <a:lnTo>
                    <a:pt x="7369" y="10049"/>
                  </a:lnTo>
                  <a:lnTo>
                    <a:pt x="7332" y="9992"/>
                  </a:lnTo>
                  <a:lnTo>
                    <a:pt x="7295" y="9936"/>
                  </a:lnTo>
                  <a:lnTo>
                    <a:pt x="7257" y="9880"/>
                  </a:lnTo>
                  <a:lnTo>
                    <a:pt x="7218" y="9824"/>
                  </a:lnTo>
                  <a:lnTo>
                    <a:pt x="7177" y="9768"/>
                  </a:lnTo>
                  <a:lnTo>
                    <a:pt x="7137" y="9714"/>
                  </a:lnTo>
                  <a:lnTo>
                    <a:pt x="7096" y="9660"/>
                  </a:lnTo>
                  <a:lnTo>
                    <a:pt x="7053" y="9606"/>
                  </a:lnTo>
                  <a:lnTo>
                    <a:pt x="7009" y="9553"/>
                  </a:lnTo>
                  <a:lnTo>
                    <a:pt x="6965" y="9500"/>
                  </a:lnTo>
                  <a:lnTo>
                    <a:pt x="6919" y="9448"/>
                  </a:lnTo>
                  <a:lnTo>
                    <a:pt x="6873" y="9397"/>
                  </a:lnTo>
                  <a:lnTo>
                    <a:pt x="6824" y="9347"/>
                  </a:lnTo>
                  <a:lnTo>
                    <a:pt x="6776" y="9297"/>
                  </a:lnTo>
                  <a:lnTo>
                    <a:pt x="6718" y="9240"/>
                  </a:lnTo>
                  <a:lnTo>
                    <a:pt x="6658" y="9185"/>
                  </a:lnTo>
                  <a:lnTo>
                    <a:pt x="6598" y="9131"/>
                  </a:lnTo>
                  <a:lnTo>
                    <a:pt x="6538" y="9079"/>
                  </a:lnTo>
                  <a:lnTo>
                    <a:pt x="6475" y="9029"/>
                  </a:lnTo>
                  <a:lnTo>
                    <a:pt x="6412" y="8978"/>
                  </a:lnTo>
                  <a:lnTo>
                    <a:pt x="6348" y="8930"/>
                  </a:lnTo>
                  <a:lnTo>
                    <a:pt x="6284" y="8884"/>
                  </a:lnTo>
                  <a:lnTo>
                    <a:pt x="6220" y="8838"/>
                  </a:lnTo>
                  <a:lnTo>
                    <a:pt x="6153" y="8794"/>
                  </a:lnTo>
                  <a:lnTo>
                    <a:pt x="6087" y="8750"/>
                  </a:lnTo>
                  <a:lnTo>
                    <a:pt x="6021" y="8707"/>
                  </a:lnTo>
                  <a:lnTo>
                    <a:pt x="5953" y="8666"/>
                  </a:lnTo>
                  <a:lnTo>
                    <a:pt x="5885" y="8626"/>
                  </a:lnTo>
                  <a:lnTo>
                    <a:pt x="5816" y="8587"/>
                  </a:lnTo>
                  <a:lnTo>
                    <a:pt x="5748" y="8549"/>
                  </a:lnTo>
                  <a:lnTo>
                    <a:pt x="10542" y="3766"/>
                  </a:lnTo>
                  <a:lnTo>
                    <a:pt x="10613" y="3798"/>
                  </a:lnTo>
                  <a:lnTo>
                    <a:pt x="10683" y="3831"/>
                  </a:lnTo>
                  <a:lnTo>
                    <a:pt x="10752" y="3866"/>
                  </a:lnTo>
                  <a:lnTo>
                    <a:pt x="10821" y="3903"/>
                  </a:lnTo>
                  <a:lnTo>
                    <a:pt x="10889" y="3942"/>
                  </a:lnTo>
                  <a:lnTo>
                    <a:pt x="10958" y="3983"/>
                  </a:lnTo>
                  <a:lnTo>
                    <a:pt x="11025" y="4026"/>
                  </a:lnTo>
                  <a:lnTo>
                    <a:pt x="11091" y="4070"/>
                  </a:lnTo>
                  <a:lnTo>
                    <a:pt x="11157" y="4115"/>
                  </a:lnTo>
                  <a:lnTo>
                    <a:pt x="11222" y="4163"/>
                  </a:lnTo>
                  <a:lnTo>
                    <a:pt x="11287" y="4212"/>
                  </a:lnTo>
                  <a:lnTo>
                    <a:pt x="11351" y="4263"/>
                  </a:lnTo>
                  <a:lnTo>
                    <a:pt x="11413" y="4317"/>
                  </a:lnTo>
                  <a:lnTo>
                    <a:pt x="11476" y="4372"/>
                  </a:lnTo>
                  <a:lnTo>
                    <a:pt x="11537" y="4428"/>
                  </a:lnTo>
                  <a:lnTo>
                    <a:pt x="11597" y="4487"/>
                  </a:lnTo>
                  <a:lnTo>
                    <a:pt x="11648" y="4537"/>
                  </a:lnTo>
                  <a:lnTo>
                    <a:pt x="11696" y="4590"/>
                  </a:lnTo>
                  <a:lnTo>
                    <a:pt x="11743" y="4642"/>
                  </a:lnTo>
                  <a:lnTo>
                    <a:pt x="11790" y="4696"/>
                  </a:lnTo>
                  <a:lnTo>
                    <a:pt x="11835" y="4749"/>
                  </a:lnTo>
                  <a:lnTo>
                    <a:pt x="11878" y="4803"/>
                  </a:lnTo>
                  <a:lnTo>
                    <a:pt x="11919" y="4859"/>
                  </a:lnTo>
                  <a:lnTo>
                    <a:pt x="11961" y="4915"/>
                  </a:lnTo>
                  <a:lnTo>
                    <a:pt x="12000" y="4970"/>
                  </a:lnTo>
                  <a:lnTo>
                    <a:pt x="12038" y="5027"/>
                  </a:lnTo>
                  <a:lnTo>
                    <a:pt x="12075" y="5084"/>
                  </a:lnTo>
                  <a:lnTo>
                    <a:pt x="12110" y="5142"/>
                  </a:lnTo>
                  <a:lnTo>
                    <a:pt x="12145" y="5200"/>
                  </a:lnTo>
                  <a:lnTo>
                    <a:pt x="12178" y="5258"/>
                  </a:lnTo>
                  <a:lnTo>
                    <a:pt x="12210" y="5316"/>
                  </a:lnTo>
                  <a:lnTo>
                    <a:pt x="12241" y="5375"/>
                  </a:lnTo>
                  <a:lnTo>
                    <a:pt x="7441" y="10165"/>
                  </a:lnTo>
                  <a:close/>
                  <a:moveTo>
                    <a:pt x="8055" y="11941"/>
                  </a:moveTo>
                  <a:lnTo>
                    <a:pt x="8045" y="11856"/>
                  </a:lnTo>
                  <a:lnTo>
                    <a:pt x="8035" y="11772"/>
                  </a:lnTo>
                  <a:lnTo>
                    <a:pt x="8022" y="11687"/>
                  </a:lnTo>
                  <a:lnTo>
                    <a:pt x="8008" y="11603"/>
                  </a:lnTo>
                  <a:lnTo>
                    <a:pt x="7991" y="11519"/>
                  </a:lnTo>
                  <a:lnTo>
                    <a:pt x="7973" y="11435"/>
                  </a:lnTo>
                  <a:lnTo>
                    <a:pt x="7953" y="11352"/>
                  </a:lnTo>
                  <a:lnTo>
                    <a:pt x="7931" y="11270"/>
                  </a:lnTo>
                  <a:lnTo>
                    <a:pt x="7907" y="11187"/>
                  </a:lnTo>
                  <a:lnTo>
                    <a:pt x="7882" y="11105"/>
                  </a:lnTo>
                  <a:lnTo>
                    <a:pt x="7854" y="11024"/>
                  </a:lnTo>
                  <a:lnTo>
                    <a:pt x="7825" y="10943"/>
                  </a:lnTo>
                  <a:lnTo>
                    <a:pt x="7795" y="10861"/>
                  </a:lnTo>
                  <a:lnTo>
                    <a:pt x="7763" y="10781"/>
                  </a:lnTo>
                  <a:lnTo>
                    <a:pt x="7729" y="10702"/>
                  </a:lnTo>
                  <a:lnTo>
                    <a:pt x="7693" y="10622"/>
                  </a:lnTo>
                  <a:lnTo>
                    <a:pt x="12448" y="5878"/>
                  </a:lnTo>
                  <a:lnTo>
                    <a:pt x="12475" y="5965"/>
                  </a:lnTo>
                  <a:lnTo>
                    <a:pt x="12499" y="6051"/>
                  </a:lnTo>
                  <a:lnTo>
                    <a:pt x="12519" y="6137"/>
                  </a:lnTo>
                  <a:lnTo>
                    <a:pt x="12537" y="6223"/>
                  </a:lnTo>
                  <a:lnTo>
                    <a:pt x="12553" y="6310"/>
                  </a:lnTo>
                  <a:lnTo>
                    <a:pt x="12566" y="6396"/>
                  </a:lnTo>
                  <a:lnTo>
                    <a:pt x="12576" y="6482"/>
                  </a:lnTo>
                  <a:lnTo>
                    <a:pt x="12583" y="6568"/>
                  </a:lnTo>
                  <a:lnTo>
                    <a:pt x="12588" y="6654"/>
                  </a:lnTo>
                  <a:lnTo>
                    <a:pt x="12591" y="6739"/>
                  </a:lnTo>
                  <a:lnTo>
                    <a:pt x="12591" y="6824"/>
                  </a:lnTo>
                  <a:lnTo>
                    <a:pt x="12588" y="6908"/>
                  </a:lnTo>
                  <a:lnTo>
                    <a:pt x="12582" y="6992"/>
                  </a:lnTo>
                  <a:lnTo>
                    <a:pt x="12574" y="7075"/>
                  </a:lnTo>
                  <a:lnTo>
                    <a:pt x="12563" y="7158"/>
                  </a:lnTo>
                  <a:lnTo>
                    <a:pt x="12549" y="7239"/>
                  </a:lnTo>
                  <a:lnTo>
                    <a:pt x="12533" y="7320"/>
                  </a:lnTo>
                  <a:lnTo>
                    <a:pt x="12513" y="7400"/>
                  </a:lnTo>
                  <a:lnTo>
                    <a:pt x="12492" y="7479"/>
                  </a:lnTo>
                  <a:lnTo>
                    <a:pt x="12467" y="7557"/>
                  </a:lnTo>
                  <a:lnTo>
                    <a:pt x="12439" y="7635"/>
                  </a:lnTo>
                  <a:lnTo>
                    <a:pt x="12409" y="7710"/>
                  </a:lnTo>
                  <a:lnTo>
                    <a:pt x="12376" y="7784"/>
                  </a:lnTo>
                  <a:lnTo>
                    <a:pt x="12340" y="7857"/>
                  </a:lnTo>
                  <a:lnTo>
                    <a:pt x="12302" y="7930"/>
                  </a:lnTo>
                  <a:lnTo>
                    <a:pt x="12260" y="8000"/>
                  </a:lnTo>
                  <a:lnTo>
                    <a:pt x="12216" y="8069"/>
                  </a:lnTo>
                  <a:lnTo>
                    <a:pt x="12169" y="8136"/>
                  </a:lnTo>
                  <a:lnTo>
                    <a:pt x="12120" y="8203"/>
                  </a:lnTo>
                  <a:lnTo>
                    <a:pt x="12066" y="8267"/>
                  </a:lnTo>
                  <a:lnTo>
                    <a:pt x="12011" y="8329"/>
                  </a:lnTo>
                  <a:lnTo>
                    <a:pt x="11953" y="8389"/>
                  </a:lnTo>
                  <a:lnTo>
                    <a:pt x="11947" y="8394"/>
                  </a:lnTo>
                  <a:lnTo>
                    <a:pt x="11940" y="8400"/>
                  </a:lnTo>
                  <a:lnTo>
                    <a:pt x="11948" y="8406"/>
                  </a:lnTo>
                  <a:lnTo>
                    <a:pt x="8060" y="12314"/>
                  </a:lnTo>
                  <a:lnTo>
                    <a:pt x="8061" y="12268"/>
                  </a:lnTo>
                  <a:lnTo>
                    <a:pt x="8061" y="12222"/>
                  </a:lnTo>
                  <a:lnTo>
                    <a:pt x="8062" y="12175"/>
                  </a:lnTo>
                  <a:lnTo>
                    <a:pt x="8062" y="12129"/>
                  </a:lnTo>
                  <a:lnTo>
                    <a:pt x="8062" y="12082"/>
                  </a:lnTo>
                  <a:lnTo>
                    <a:pt x="8061" y="12035"/>
                  </a:lnTo>
                  <a:lnTo>
                    <a:pt x="8059" y="11988"/>
                  </a:lnTo>
                  <a:lnTo>
                    <a:pt x="8055" y="11941"/>
                  </a:lnTo>
                  <a:close/>
                  <a:moveTo>
                    <a:pt x="14785" y="1295"/>
                  </a:moveTo>
                  <a:lnTo>
                    <a:pt x="14707" y="1218"/>
                  </a:lnTo>
                  <a:lnTo>
                    <a:pt x="14626" y="1144"/>
                  </a:lnTo>
                  <a:lnTo>
                    <a:pt x="14546" y="1072"/>
                  </a:lnTo>
                  <a:lnTo>
                    <a:pt x="14463" y="1003"/>
                  </a:lnTo>
                  <a:lnTo>
                    <a:pt x="14379" y="934"/>
                  </a:lnTo>
                  <a:lnTo>
                    <a:pt x="14294" y="869"/>
                  </a:lnTo>
                  <a:lnTo>
                    <a:pt x="14208" y="806"/>
                  </a:lnTo>
                  <a:lnTo>
                    <a:pt x="14119" y="745"/>
                  </a:lnTo>
                  <a:lnTo>
                    <a:pt x="14031" y="685"/>
                  </a:lnTo>
                  <a:lnTo>
                    <a:pt x="13941" y="629"/>
                  </a:lnTo>
                  <a:lnTo>
                    <a:pt x="13851" y="575"/>
                  </a:lnTo>
                  <a:lnTo>
                    <a:pt x="13758" y="523"/>
                  </a:lnTo>
                  <a:lnTo>
                    <a:pt x="13666" y="473"/>
                  </a:lnTo>
                  <a:lnTo>
                    <a:pt x="13572" y="426"/>
                  </a:lnTo>
                  <a:lnTo>
                    <a:pt x="13478" y="380"/>
                  </a:lnTo>
                  <a:lnTo>
                    <a:pt x="13382" y="338"/>
                  </a:lnTo>
                  <a:lnTo>
                    <a:pt x="13286" y="298"/>
                  </a:lnTo>
                  <a:lnTo>
                    <a:pt x="13190" y="260"/>
                  </a:lnTo>
                  <a:lnTo>
                    <a:pt x="13092" y="225"/>
                  </a:lnTo>
                  <a:lnTo>
                    <a:pt x="12995" y="193"/>
                  </a:lnTo>
                  <a:lnTo>
                    <a:pt x="12896" y="162"/>
                  </a:lnTo>
                  <a:lnTo>
                    <a:pt x="12798" y="134"/>
                  </a:lnTo>
                  <a:lnTo>
                    <a:pt x="12698" y="109"/>
                  </a:lnTo>
                  <a:lnTo>
                    <a:pt x="12598" y="86"/>
                  </a:lnTo>
                  <a:lnTo>
                    <a:pt x="12499" y="66"/>
                  </a:lnTo>
                  <a:lnTo>
                    <a:pt x="12398" y="49"/>
                  </a:lnTo>
                  <a:lnTo>
                    <a:pt x="12299" y="34"/>
                  </a:lnTo>
                  <a:lnTo>
                    <a:pt x="12198" y="22"/>
                  </a:lnTo>
                  <a:lnTo>
                    <a:pt x="12097" y="12"/>
                  </a:lnTo>
                  <a:lnTo>
                    <a:pt x="11996" y="5"/>
                  </a:lnTo>
                  <a:lnTo>
                    <a:pt x="11895" y="1"/>
                  </a:lnTo>
                  <a:lnTo>
                    <a:pt x="11795" y="0"/>
                  </a:lnTo>
                  <a:lnTo>
                    <a:pt x="11710" y="1"/>
                  </a:lnTo>
                  <a:lnTo>
                    <a:pt x="11626" y="4"/>
                  </a:lnTo>
                  <a:lnTo>
                    <a:pt x="11542" y="9"/>
                  </a:lnTo>
                  <a:lnTo>
                    <a:pt x="11459" y="16"/>
                  </a:lnTo>
                  <a:lnTo>
                    <a:pt x="11376" y="24"/>
                  </a:lnTo>
                  <a:lnTo>
                    <a:pt x="11294" y="35"/>
                  </a:lnTo>
                  <a:lnTo>
                    <a:pt x="11212" y="47"/>
                  </a:lnTo>
                  <a:lnTo>
                    <a:pt x="11131" y="62"/>
                  </a:lnTo>
                  <a:lnTo>
                    <a:pt x="11051" y="78"/>
                  </a:lnTo>
                  <a:lnTo>
                    <a:pt x="10971" y="96"/>
                  </a:lnTo>
                  <a:lnTo>
                    <a:pt x="10892" y="116"/>
                  </a:lnTo>
                  <a:lnTo>
                    <a:pt x="10814" y="139"/>
                  </a:lnTo>
                  <a:lnTo>
                    <a:pt x="10736" y="162"/>
                  </a:lnTo>
                  <a:lnTo>
                    <a:pt x="10660" y="187"/>
                  </a:lnTo>
                  <a:lnTo>
                    <a:pt x="10584" y="215"/>
                  </a:lnTo>
                  <a:lnTo>
                    <a:pt x="10509" y="243"/>
                  </a:lnTo>
                  <a:lnTo>
                    <a:pt x="10435" y="274"/>
                  </a:lnTo>
                  <a:lnTo>
                    <a:pt x="10361" y="307"/>
                  </a:lnTo>
                  <a:lnTo>
                    <a:pt x="10289" y="341"/>
                  </a:lnTo>
                  <a:lnTo>
                    <a:pt x="10217" y="377"/>
                  </a:lnTo>
                  <a:lnTo>
                    <a:pt x="10147" y="416"/>
                  </a:lnTo>
                  <a:lnTo>
                    <a:pt x="10078" y="455"/>
                  </a:lnTo>
                  <a:lnTo>
                    <a:pt x="10010" y="496"/>
                  </a:lnTo>
                  <a:lnTo>
                    <a:pt x="9943" y="539"/>
                  </a:lnTo>
                  <a:lnTo>
                    <a:pt x="9876" y="583"/>
                  </a:lnTo>
                  <a:lnTo>
                    <a:pt x="9811" y="629"/>
                  </a:lnTo>
                  <a:lnTo>
                    <a:pt x="9748" y="677"/>
                  </a:lnTo>
                  <a:lnTo>
                    <a:pt x="9684" y="727"/>
                  </a:lnTo>
                  <a:lnTo>
                    <a:pt x="9623" y="778"/>
                  </a:lnTo>
                  <a:lnTo>
                    <a:pt x="9562" y="831"/>
                  </a:lnTo>
                  <a:lnTo>
                    <a:pt x="9503" y="885"/>
                  </a:lnTo>
                  <a:lnTo>
                    <a:pt x="9446" y="941"/>
                  </a:lnTo>
                  <a:lnTo>
                    <a:pt x="6997" y="3403"/>
                  </a:lnTo>
                  <a:lnTo>
                    <a:pt x="6986" y="3412"/>
                  </a:lnTo>
                  <a:lnTo>
                    <a:pt x="6974" y="3422"/>
                  </a:lnTo>
                  <a:lnTo>
                    <a:pt x="6969" y="3428"/>
                  </a:lnTo>
                  <a:lnTo>
                    <a:pt x="6964" y="3435"/>
                  </a:lnTo>
                  <a:lnTo>
                    <a:pt x="6965" y="3436"/>
                  </a:lnTo>
                  <a:lnTo>
                    <a:pt x="1769" y="8659"/>
                  </a:lnTo>
                  <a:lnTo>
                    <a:pt x="1747" y="8681"/>
                  </a:lnTo>
                  <a:lnTo>
                    <a:pt x="1725" y="8704"/>
                  </a:lnTo>
                  <a:lnTo>
                    <a:pt x="1704" y="8728"/>
                  </a:lnTo>
                  <a:lnTo>
                    <a:pt x="1683" y="8751"/>
                  </a:lnTo>
                  <a:lnTo>
                    <a:pt x="1642" y="8799"/>
                  </a:lnTo>
                  <a:lnTo>
                    <a:pt x="1602" y="8847"/>
                  </a:lnTo>
                  <a:lnTo>
                    <a:pt x="1564" y="8897"/>
                  </a:lnTo>
                  <a:lnTo>
                    <a:pt x="1528" y="8949"/>
                  </a:lnTo>
                  <a:lnTo>
                    <a:pt x="1494" y="9002"/>
                  </a:lnTo>
                  <a:lnTo>
                    <a:pt x="1461" y="9055"/>
                  </a:lnTo>
                  <a:lnTo>
                    <a:pt x="1429" y="9109"/>
                  </a:lnTo>
                  <a:lnTo>
                    <a:pt x="1400" y="9165"/>
                  </a:lnTo>
                  <a:lnTo>
                    <a:pt x="1372" y="9221"/>
                  </a:lnTo>
                  <a:lnTo>
                    <a:pt x="1347" y="9279"/>
                  </a:lnTo>
                  <a:lnTo>
                    <a:pt x="1322" y="9336"/>
                  </a:lnTo>
                  <a:lnTo>
                    <a:pt x="1300" y="9395"/>
                  </a:lnTo>
                  <a:lnTo>
                    <a:pt x="1279" y="9454"/>
                  </a:lnTo>
                  <a:lnTo>
                    <a:pt x="1260" y="9514"/>
                  </a:lnTo>
                  <a:lnTo>
                    <a:pt x="78" y="13784"/>
                  </a:lnTo>
                  <a:lnTo>
                    <a:pt x="74" y="13803"/>
                  </a:lnTo>
                  <a:lnTo>
                    <a:pt x="65" y="13846"/>
                  </a:lnTo>
                  <a:lnTo>
                    <a:pt x="53" y="13908"/>
                  </a:lnTo>
                  <a:lnTo>
                    <a:pt x="38" y="13984"/>
                  </a:lnTo>
                  <a:lnTo>
                    <a:pt x="31" y="14025"/>
                  </a:lnTo>
                  <a:lnTo>
                    <a:pt x="24" y="14066"/>
                  </a:lnTo>
                  <a:lnTo>
                    <a:pt x="18" y="14109"/>
                  </a:lnTo>
                  <a:lnTo>
                    <a:pt x="12" y="14151"/>
                  </a:lnTo>
                  <a:lnTo>
                    <a:pt x="7" y="14192"/>
                  </a:lnTo>
                  <a:lnTo>
                    <a:pt x="3" y="14231"/>
                  </a:lnTo>
                  <a:lnTo>
                    <a:pt x="1" y="14268"/>
                  </a:lnTo>
                  <a:lnTo>
                    <a:pt x="0" y="14302"/>
                  </a:lnTo>
                  <a:lnTo>
                    <a:pt x="2" y="14392"/>
                  </a:lnTo>
                  <a:lnTo>
                    <a:pt x="9" y="14481"/>
                  </a:lnTo>
                  <a:lnTo>
                    <a:pt x="20" y="14569"/>
                  </a:lnTo>
                  <a:lnTo>
                    <a:pt x="36" y="14656"/>
                  </a:lnTo>
                  <a:lnTo>
                    <a:pt x="55" y="14740"/>
                  </a:lnTo>
                  <a:lnTo>
                    <a:pt x="79" y="14824"/>
                  </a:lnTo>
                  <a:lnTo>
                    <a:pt x="107" y="14906"/>
                  </a:lnTo>
                  <a:lnTo>
                    <a:pt x="139" y="14985"/>
                  </a:lnTo>
                  <a:lnTo>
                    <a:pt x="174" y="15063"/>
                  </a:lnTo>
                  <a:lnTo>
                    <a:pt x="212" y="15139"/>
                  </a:lnTo>
                  <a:lnTo>
                    <a:pt x="256" y="15212"/>
                  </a:lnTo>
                  <a:lnTo>
                    <a:pt x="301" y="15283"/>
                  </a:lnTo>
                  <a:lnTo>
                    <a:pt x="350" y="15352"/>
                  </a:lnTo>
                  <a:lnTo>
                    <a:pt x="402" y="15419"/>
                  </a:lnTo>
                  <a:lnTo>
                    <a:pt x="458" y="15483"/>
                  </a:lnTo>
                  <a:lnTo>
                    <a:pt x="516" y="15543"/>
                  </a:lnTo>
                  <a:lnTo>
                    <a:pt x="577" y="15601"/>
                  </a:lnTo>
                  <a:lnTo>
                    <a:pt x="642" y="15657"/>
                  </a:lnTo>
                  <a:lnTo>
                    <a:pt x="708" y="15709"/>
                  </a:lnTo>
                  <a:lnTo>
                    <a:pt x="778" y="15758"/>
                  </a:lnTo>
                  <a:lnTo>
                    <a:pt x="849" y="15804"/>
                  </a:lnTo>
                  <a:lnTo>
                    <a:pt x="922" y="15846"/>
                  </a:lnTo>
                  <a:lnTo>
                    <a:pt x="999" y="15884"/>
                  </a:lnTo>
                  <a:lnTo>
                    <a:pt x="1076" y="15919"/>
                  </a:lnTo>
                  <a:lnTo>
                    <a:pt x="1157" y="15952"/>
                  </a:lnTo>
                  <a:lnTo>
                    <a:pt x="1238" y="15979"/>
                  </a:lnTo>
                  <a:lnTo>
                    <a:pt x="1323" y="16003"/>
                  </a:lnTo>
                  <a:lnTo>
                    <a:pt x="1407" y="16022"/>
                  </a:lnTo>
                  <a:lnTo>
                    <a:pt x="1495" y="16038"/>
                  </a:lnTo>
                  <a:lnTo>
                    <a:pt x="1582" y="16049"/>
                  </a:lnTo>
                  <a:lnTo>
                    <a:pt x="1672" y="16056"/>
                  </a:lnTo>
                  <a:lnTo>
                    <a:pt x="1763" y="16058"/>
                  </a:lnTo>
                  <a:lnTo>
                    <a:pt x="1801" y="16057"/>
                  </a:lnTo>
                  <a:lnTo>
                    <a:pt x="1843" y="16054"/>
                  </a:lnTo>
                  <a:lnTo>
                    <a:pt x="1887" y="16049"/>
                  </a:lnTo>
                  <a:lnTo>
                    <a:pt x="1933" y="16044"/>
                  </a:lnTo>
                  <a:lnTo>
                    <a:pt x="1981" y="16037"/>
                  </a:lnTo>
                  <a:lnTo>
                    <a:pt x="2028" y="16029"/>
                  </a:lnTo>
                  <a:lnTo>
                    <a:pt x="2075" y="16020"/>
                  </a:lnTo>
                  <a:lnTo>
                    <a:pt x="2122" y="16012"/>
                  </a:lnTo>
                  <a:lnTo>
                    <a:pt x="2205" y="15995"/>
                  </a:lnTo>
                  <a:lnTo>
                    <a:pt x="2275" y="15980"/>
                  </a:lnTo>
                  <a:lnTo>
                    <a:pt x="2324" y="15969"/>
                  </a:lnTo>
                  <a:lnTo>
                    <a:pt x="2345" y="15964"/>
                  </a:lnTo>
                  <a:lnTo>
                    <a:pt x="6609" y="14846"/>
                  </a:lnTo>
                  <a:lnTo>
                    <a:pt x="6669" y="14827"/>
                  </a:lnTo>
                  <a:lnTo>
                    <a:pt x="6729" y="14805"/>
                  </a:lnTo>
                  <a:lnTo>
                    <a:pt x="6788" y="14783"/>
                  </a:lnTo>
                  <a:lnTo>
                    <a:pt x="6845" y="14759"/>
                  </a:lnTo>
                  <a:lnTo>
                    <a:pt x="6903" y="14733"/>
                  </a:lnTo>
                  <a:lnTo>
                    <a:pt x="6960" y="14705"/>
                  </a:lnTo>
                  <a:lnTo>
                    <a:pt x="7015" y="14675"/>
                  </a:lnTo>
                  <a:lnTo>
                    <a:pt x="7070" y="14644"/>
                  </a:lnTo>
                  <a:lnTo>
                    <a:pt x="7123" y="14612"/>
                  </a:lnTo>
                  <a:lnTo>
                    <a:pt x="7175" y="14577"/>
                  </a:lnTo>
                  <a:lnTo>
                    <a:pt x="7227" y="14541"/>
                  </a:lnTo>
                  <a:lnTo>
                    <a:pt x="7277" y="14502"/>
                  </a:lnTo>
                  <a:lnTo>
                    <a:pt x="7326" y="14463"/>
                  </a:lnTo>
                  <a:lnTo>
                    <a:pt x="7375" y="14422"/>
                  </a:lnTo>
                  <a:lnTo>
                    <a:pt x="7421" y="14380"/>
                  </a:lnTo>
                  <a:lnTo>
                    <a:pt x="7466" y="14336"/>
                  </a:lnTo>
                  <a:lnTo>
                    <a:pt x="15143" y="6617"/>
                  </a:lnTo>
                  <a:lnTo>
                    <a:pt x="15270" y="6483"/>
                  </a:lnTo>
                  <a:lnTo>
                    <a:pt x="15387" y="6344"/>
                  </a:lnTo>
                  <a:lnTo>
                    <a:pt x="15495" y="6200"/>
                  </a:lnTo>
                  <a:lnTo>
                    <a:pt x="15594" y="6053"/>
                  </a:lnTo>
                  <a:lnTo>
                    <a:pt x="15685" y="5900"/>
                  </a:lnTo>
                  <a:lnTo>
                    <a:pt x="15766" y="5744"/>
                  </a:lnTo>
                  <a:lnTo>
                    <a:pt x="15837" y="5584"/>
                  </a:lnTo>
                  <a:lnTo>
                    <a:pt x="15901" y="5421"/>
                  </a:lnTo>
                  <a:lnTo>
                    <a:pt x="15955" y="5254"/>
                  </a:lnTo>
                  <a:lnTo>
                    <a:pt x="16000" y="5084"/>
                  </a:lnTo>
                  <a:lnTo>
                    <a:pt x="16037" y="4913"/>
                  </a:lnTo>
                  <a:lnTo>
                    <a:pt x="16065" y="4739"/>
                  </a:lnTo>
                  <a:lnTo>
                    <a:pt x="16083" y="4563"/>
                  </a:lnTo>
                  <a:lnTo>
                    <a:pt x="16093" y="4387"/>
                  </a:lnTo>
                  <a:lnTo>
                    <a:pt x="16094" y="4208"/>
                  </a:lnTo>
                  <a:lnTo>
                    <a:pt x="16087" y="4030"/>
                  </a:lnTo>
                  <a:lnTo>
                    <a:pt x="16070" y="3850"/>
                  </a:lnTo>
                  <a:lnTo>
                    <a:pt x="16045" y="3669"/>
                  </a:lnTo>
                  <a:lnTo>
                    <a:pt x="16011" y="3490"/>
                  </a:lnTo>
                  <a:lnTo>
                    <a:pt x="15968" y="3310"/>
                  </a:lnTo>
                  <a:lnTo>
                    <a:pt x="15917" y="3131"/>
                  </a:lnTo>
                  <a:lnTo>
                    <a:pt x="15857" y="2953"/>
                  </a:lnTo>
                  <a:lnTo>
                    <a:pt x="15788" y="2776"/>
                  </a:lnTo>
                  <a:lnTo>
                    <a:pt x="15711" y="2601"/>
                  </a:lnTo>
                  <a:lnTo>
                    <a:pt x="15625" y="2428"/>
                  </a:lnTo>
                  <a:lnTo>
                    <a:pt x="15531" y="2257"/>
                  </a:lnTo>
                  <a:lnTo>
                    <a:pt x="15428" y="2089"/>
                  </a:lnTo>
                  <a:lnTo>
                    <a:pt x="15316" y="1923"/>
                  </a:lnTo>
                  <a:lnTo>
                    <a:pt x="15196" y="1760"/>
                  </a:lnTo>
                  <a:lnTo>
                    <a:pt x="15067" y="1602"/>
                  </a:lnTo>
                  <a:lnTo>
                    <a:pt x="14930" y="1446"/>
                  </a:lnTo>
                  <a:lnTo>
                    <a:pt x="14785" y="129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03" name="îṡliḓè">
              <a:extLst>
                <a:ext uri="{FF2B5EF4-FFF2-40B4-BE49-F238E27FC236}">
                  <a16:creationId xmlns:a16="http://schemas.microsoft.com/office/drawing/2014/main" id="{1908A908-73C2-4F4C-9F2B-B1AAB24D4827}"/>
                </a:ext>
              </a:extLst>
            </p:cNvPr>
            <p:cNvSpPr/>
            <p:nvPr/>
          </p:nvSpPr>
          <p:spPr bwMode="auto">
            <a:xfrm>
              <a:off x="9117135" y="54219"/>
              <a:ext cx="265624" cy="385553"/>
            </a:xfrm>
            <a:custGeom>
              <a:avLst/>
              <a:gdLst>
                <a:gd name="T0" fmla="*/ 2887 w 11063"/>
                <a:gd name="T1" fmla="*/ 9929 h 16058"/>
                <a:gd name="T2" fmla="*/ 2451 w 11063"/>
                <a:gd name="T3" fmla="*/ 9123 h 16058"/>
                <a:gd name="T4" fmla="*/ 1855 w 11063"/>
                <a:gd name="T5" fmla="*/ 8041 h 16058"/>
                <a:gd name="T6" fmla="*/ 1427 w 11063"/>
                <a:gd name="T7" fmla="*/ 7165 h 16058"/>
                <a:gd name="T8" fmla="*/ 1122 w 11063"/>
                <a:gd name="T9" fmla="*/ 6318 h 16058"/>
                <a:gd name="T10" fmla="*/ 1006 w 11063"/>
                <a:gd name="T11" fmla="*/ 5520 h 16058"/>
                <a:gd name="T12" fmla="*/ 1362 w 11063"/>
                <a:gd name="T13" fmla="*/ 3764 h 16058"/>
                <a:gd name="T14" fmla="*/ 2332 w 11063"/>
                <a:gd name="T15" fmla="*/ 2327 h 16058"/>
                <a:gd name="T16" fmla="*/ 3771 w 11063"/>
                <a:gd name="T17" fmla="*/ 1359 h 16058"/>
                <a:gd name="T18" fmla="*/ 5532 w 11063"/>
                <a:gd name="T19" fmla="*/ 1004 h 16058"/>
                <a:gd name="T20" fmla="*/ 7292 w 11063"/>
                <a:gd name="T21" fmla="*/ 1359 h 16058"/>
                <a:gd name="T22" fmla="*/ 8731 w 11063"/>
                <a:gd name="T23" fmla="*/ 2327 h 16058"/>
                <a:gd name="T24" fmla="*/ 9701 w 11063"/>
                <a:gd name="T25" fmla="*/ 3764 h 16058"/>
                <a:gd name="T26" fmla="*/ 10057 w 11063"/>
                <a:gd name="T27" fmla="*/ 5520 h 16058"/>
                <a:gd name="T28" fmla="*/ 9941 w 11063"/>
                <a:gd name="T29" fmla="*/ 6314 h 16058"/>
                <a:gd name="T30" fmla="*/ 9636 w 11063"/>
                <a:gd name="T31" fmla="*/ 7163 h 16058"/>
                <a:gd name="T32" fmla="*/ 9207 w 11063"/>
                <a:gd name="T33" fmla="*/ 8042 h 16058"/>
                <a:gd name="T34" fmla="*/ 8612 w 11063"/>
                <a:gd name="T35" fmla="*/ 9129 h 16058"/>
                <a:gd name="T36" fmla="*/ 8179 w 11063"/>
                <a:gd name="T37" fmla="*/ 9932 h 16058"/>
                <a:gd name="T38" fmla="*/ 5484 w 11063"/>
                <a:gd name="T39" fmla="*/ 15054 h 16058"/>
                <a:gd name="T40" fmla="*/ 5160 w 11063"/>
                <a:gd name="T41" fmla="*/ 15030 h 16058"/>
                <a:gd name="T42" fmla="*/ 4907 w 11063"/>
                <a:gd name="T43" fmla="*/ 14937 h 16058"/>
                <a:gd name="T44" fmla="*/ 4698 w 11063"/>
                <a:gd name="T45" fmla="*/ 14732 h 16058"/>
                <a:gd name="T46" fmla="*/ 6658 w 11063"/>
                <a:gd name="T47" fmla="*/ 14161 h 16058"/>
                <a:gd name="T48" fmla="*/ 6436 w 11063"/>
                <a:gd name="T49" fmla="*/ 14651 h 16058"/>
                <a:gd name="T50" fmla="*/ 6202 w 11063"/>
                <a:gd name="T51" fmla="*/ 14919 h 16058"/>
                <a:gd name="T52" fmla="*/ 5915 w 11063"/>
                <a:gd name="T53" fmla="*/ 15031 h 16058"/>
                <a:gd name="T54" fmla="*/ 5532 w 11063"/>
                <a:gd name="T55" fmla="*/ 15054 h 16058"/>
                <a:gd name="T56" fmla="*/ 3763 w 11063"/>
                <a:gd name="T57" fmla="*/ 12094 h 16058"/>
                <a:gd name="T58" fmla="*/ 3603 w 11063"/>
                <a:gd name="T59" fmla="*/ 11605 h 16058"/>
                <a:gd name="T60" fmla="*/ 7351 w 11063"/>
                <a:gd name="T61" fmla="*/ 11943 h 16058"/>
                <a:gd name="T62" fmla="*/ 4290 w 11063"/>
                <a:gd name="T63" fmla="*/ 13799 h 16058"/>
                <a:gd name="T64" fmla="*/ 4145 w 11063"/>
                <a:gd name="T65" fmla="*/ 13340 h 16058"/>
                <a:gd name="T66" fmla="*/ 7149 w 11063"/>
                <a:gd name="T67" fmla="*/ 12594 h 16058"/>
                <a:gd name="T68" fmla="*/ 7016 w 11063"/>
                <a:gd name="T69" fmla="*/ 13038 h 16058"/>
                <a:gd name="T70" fmla="*/ 6835 w 11063"/>
                <a:gd name="T71" fmla="*/ 13637 h 16058"/>
                <a:gd name="T72" fmla="*/ 3630 w 11063"/>
                <a:gd name="T73" fmla="*/ 335 h 16058"/>
                <a:gd name="T74" fmla="*/ 1812 w 11063"/>
                <a:gd name="T75" fmla="*/ 1434 h 16058"/>
                <a:gd name="T76" fmla="*/ 545 w 11063"/>
                <a:gd name="T77" fmla="*/ 3127 h 16058"/>
                <a:gd name="T78" fmla="*/ 7 w 11063"/>
                <a:gd name="T79" fmla="*/ 5236 h 16058"/>
                <a:gd name="T80" fmla="*/ 234 w 11063"/>
                <a:gd name="T81" fmla="*/ 6861 h 16058"/>
                <a:gd name="T82" fmla="*/ 910 w 11063"/>
                <a:gd name="T83" fmla="*/ 8405 h 16058"/>
                <a:gd name="T84" fmla="*/ 1748 w 11063"/>
                <a:gd name="T85" fmla="*/ 9927 h 16058"/>
                <a:gd name="T86" fmla="*/ 2463 w 11063"/>
                <a:gd name="T87" fmla="*/ 11392 h 16058"/>
                <a:gd name="T88" fmla="*/ 3065 w 11063"/>
                <a:gd name="T89" fmla="*/ 13245 h 16058"/>
                <a:gd name="T90" fmla="*/ 3552 w 11063"/>
                <a:gd name="T91" fmla="*/ 14718 h 16058"/>
                <a:gd name="T92" fmla="*/ 4207 w 11063"/>
                <a:gd name="T93" fmla="*/ 15672 h 16058"/>
                <a:gd name="T94" fmla="*/ 5340 w 11063"/>
                <a:gd name="T95" fmla="*/ 16053 h 16058"/>
                <a:gd name="T96" fmla="*/ 6643 w 11063"/>
                <a:gd name="T97" fmla="*/ 15823 h 16058"/>
                <a:gd name="T98" fmla="*/ 7387 w 11063"/>
                <a:gd name="T99" fmla="*/ 15011 h 16058"/>
                <a:gd name="T100" fmla="*/ 7880 w 11063"/>
                <a:gd name="T101" fmla="*/ 13666 h 16058"/>
                <a:gd name="T102" fmla="*/ 8442 w 11063"/>
                <a:gd name="T103" fmla="*/ 11841 h 16058"/>
                <a:gd name="T104" fmla="*/ 9115 w 11063"/>
                <a:gd name="T105" fmla="*/ 10307 h 16058"/>
                <a:gd name="T106" fmla="*/ 9949 w 11063"/>
                <a:gd name="T107" fmla="*/ 8788 h 16058"/>
                <a:gd name="T108" fmla="*/ 10691 w 11063"/>
                <a:gd name="T109" fmla="*/ 7241 h 16058"/>
                <a:gd name="T110" fmla="*/ 11058 w 11063"/>
                <a:gd name="T111" fmla="*/ 5709 h 16058"/>
                <a:gd name="T112" fmla="*/ 10727 w 11063"/>
                <a:gd name="T113" fmla="*/ 3622 h 16058"/>
                <a:gd name="T114" fmla="*/ 9626 w 11063"/>
                <a:gd name="T115" fmla="*/ 1809 h 16058"/>
                <a:gd name="T116" fmla="*/ 7929 w 11063"/>
                <a:gd name="T117" fmla="*/ 544 h 16058"/>
                <a:gd name="T118" fmla="*/ 5816 w 11063"/>
                <a:gd name="T119" fmla="*/ 7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063" h="16058">
                  <a:moveTo>
                    <a:pt x="7881" y="10538"/>
                  </a:moveTo>
                  <a:lnTo>
                    <a:pt x="3187" y="10538"/>
                  </a:lnTo>
                  <a:lnTo>
                    <a:pt x="3140" y="10437"/>
                  </a:lnTo>
                  <a:lnTo>
                    <a:pt x="3092" y="10335"/>
                  </a:lnTo>
                  <a:lnTo>
                    <a:pt x="3041" y="10234"/>
                  </a:lnTo>
                  <a:lnTo>
                    <a:pt x="2991" y="10132"/>
                  </a:lnTo>
                  <a:lnTo>
                    <a:pt x="2940" y="10030"/>
                  </a:lnTo>
                  <a:lnTo>
                    <a:pt x="2887" y="9929"/>
                  </a:lnTo>
                  <a:lnTo>
                    <a:pt x="2835" y="9827"/>
                  </a:lnTo>
                  <a:lnTo>
                    <a:pt x="2781" y="9727"/>
                  </a:lnTo>
                  <a:lnTo>
                    <a:pt x="2728" y="9626"/>
                  </a:lnTo>
                  <a:lnTo>
                    <a:pt x="2672" y="9524"/>
                  </a:lnTo>
                  <a:lnTo>
                    <a:pt x="2618" y="9424"/>
                  </a:lnTo>
                  <a:lnTo>
                    <a:pt x="2563" y="9324"/>
                  </a:lnTo>
                  <a:lnTo>
                    <a:pt x="2507" y="9223"/>
                  </a:lnTo>
                  <a:lnTo>
                    <a:pt x="2451" y="9123"/>
                  </a:lnTo>
                  <a:lnTo>
                    <a:pt x="2396" y="9024"/>
                  </a:lnTo>
                  <a:lnTo>
                    <a:pt x="2340" y="8924"/>
                  </a:lnTo>
                  <a:lnTo>
                    <a:pt x="2217" y="8703"/>
                  </a:lnTo>
                  <a:lnTo>
                    <a:pt x="2094" y="8483"/>
                  </a:lnTo>
                  <a:lnTo>
                    <a:pt x="2034" y="8372"/>
                  </a:lnTo>
                  <a:lnTo>
                    <a:pt x="1973" y="8262"/>
                  </a:lnTo>
                  <a:lnTo>
                    <a:pt x="1914" y="8151"/>
                  </a:lnTo>
                  <a:lnTo>
                    <a:pt x="1855" y="8041"/>
                  </a:lnTo>
                  <a:lnTo>
                    <a:pt x="1796" y="7931"/>
                  </a:lnTo>
                  <a:lnTo>
                    <a:pt x="1740" y="7820"/>
                  </a:lnTo>
                  <a:lnTo>
                    <a:pt x="1684" y="7711"/>
                  </a:lnTo>
                  <a:lnTo>
                    <a:pt x="1629" y="7600"/>
                  </a:lnTo>
                  <a:lnTo>
                    <a:pt x="1576" y="7491"/>
                  </a:lnTo>
                  <a:lnTo>
                    <a:pt x="1525" y="7383"/>
                  </a:lnTo>
                  <a:lnTo>
                    <a:pt x="1475" y="7273"/>
                  </a:lnTo>
                  <a:lnTo>
                    <a:pt x="1427" y="7165"/>
                  </a:lnTo>
                  <a:lnTo>
                    <a:pt x="1381" y="7057"/>
                  </a:lnTo>
                  <a:lnTo>
                    <a:pt x="1337" y="6950"/>
                  </a:lnTo>
                  <a:lnTo>
                    <a:pt x="1294" y="6843"/>
                  </a:lnTo>
                  <a:lnTo>
                    <a:pt x="1255" y="6736"/>
                  </a:lnTo>
                  <a:lnTo>
                    <a:pt x="1218" y="6631"/>
                  </a:lnTo>
                  <a:lnTo>
                    <a:pt x="1183" y="6526"/>
                  </a:lnTo>
                  <a:lnTo>
                    <a:pt x="1151" y="6421"/>
                  </a:lnTo>
                  <a:lnTo>
                    <a:pt x="1122" y="6318"/>
                  </a:lnTo>
                  <a:lnTo>
                    <a:pt x="1095" y="6214"/>
                  </a:lnTo>
                  <a:lnTo>
                    <a:pt x="1072" y="6112"/>
                  </a:lnTo>
                  <a:lnTo>
                    <a:pt x="1053" y="6012"/>
                  </a:lnTo>
                  <a:lnTo>
                    <a:pt x="1036" y="5911"/>
                  </a:lnTo>
                  <a:lnTo>
                    <a:pt x="1023" y="5812"/>
                  </a:lnTo>
                  <a:lnTo>
                    <a:pt x="1014" y="5714"/>
                  </a:lnTo>
                  <a:lnTo>
                    <a:pt x="1008" y="5616"/>
                  </a:lnTo>
                  <a:lnTo>
                    <a:pt x="1006" y="5520"/>
                  </a:lnTo>
                  <a:lnTo>
                    <a:pt x="1012" y="5288"/>
                  </a:lnTo>
                  <a:lnTo>
                    <a:pt x="1029" y="5059"/>
                  </a:lnTo>
                  <a:lnTo>
                    <a:pt x="1058" y="4833"/>
                  </a:lnTo>
                  <a:lnTo>
                    <a:pt x="1098" y="4611"/>
                  </a:lnTo>
                  <a:lnTo>
                    <a:pt x="1149" y="4393"/>
                  </a:lnTo>
                  <a:lnTo>
                    <a:pt x="1210" y="4178"/>
                  </a:lnTo>
                  <a:lnTo>
                    <a:pt x="1280" y="3968"/>
                  </a:lnTo>
                  <a:lnTo>
                    <a:pt x="1362" y="3764"/>
                  </a:lnTo>
                  <a:lnTo>
                    <a:pt x="1452" y="3564"/>
                  </a:lnTo>
                  <a:lnTo>
                    <a:pt x="1553" y="3369"/>
                  </a:lnTo>
                  <a:lnTo>
                    <a:pt x="1661" y="3179"/>
                  </a:lnTo>
                  <a:lnTo>
                    <a:pt x="1779" y="2997"/>
                  </a:lnTo>
                  <a:lnTo>
                    <a:pt x="1906" y="2819"/>
                  </a:lnTo>
                  <a:lnTo>
                    <a:pt x="2041" y="2649"/>
                  </a:lnTo>
                  <a:lnTo>
                    <a:pt x="2182" y="2485"/>
                  </a:lnTo>
                  <a:lnTo>
                    <a:pt x="2332" y="2327"/>
                  </a:lnTo>
                  <a:lnTo>
                    <a:pt x="2490" y="2178"/>
                  </a:lnTo>
                  <a:lnTo>
                    <a:pt x="2654" y="2036"/>
                  </a:lnTo>
                  <a:lnTo>
                    <a:pt x="2825" y="1902"/>
                  </a:lnTo>
                  <a:lnTo>
                    <a:pt x="3003" y="1776"/>
                  </a:lnTo>
                  <a:lnTo>
                    <a:pt x="3186" y="1658"/>
                  </a:lnTo>
                  <a:lnTo>
                    <a:pt x="3376" y="1550"/>
                  </a:lnTo>
                  <a:lnTo>
                    <a:pt x="3571" y="1449"/>
                  </a:lnTo>
                  <a:lnTo>
                    <a:pt x="3771" y="1359"/>
                  </a:lnTo>
                  <a:lnTo>
                    <a:pt x="3977" y="1279"/>
                  </a:lnTo>
                  <a:lnTo>
                    <a:pt x="4187" y="1207"/>
                  </a:lnTo>
                  <a:lnTo>
                    <a:pt x="4402" y="1146"/>
                  </a:lnTo>
                  <a:lnTo>
                    <a:pt x="4620" y="1096"/>
                  </a:lnTo>
                  <a:lnTo>
                    <a:pt x="4843" y="1056"/>
                  </a:lnTo>
                  <a:lnTo>
                    <a:pt x="5069" y="1027"/>
                  </a:lnTo>
                  <a:lnTo>
                    <a:pt x="5299" y="1010"/>
                  </a:lnTo>
                  <a:lnTo>
                    <a:pt x="5532" y="1004"/>
                  </a:lnTo>
                  <a:lnTo>
                    <a:pt x="5764" y="1010"/>
                  </a:lnTo>
                  <a:lnTo>
                    <a:pt x="5993" y="1027"/>
                  </a:lnTo>
                  <a:lnTo>
                    <a:pt x="6219" y="1056"/>
                  </a:lnTo>
                  <a:lnTo>
                    <a:pt x="6443" y="1096"/>
                  </a:lnTo>
                  <a:lnTo>
                    <a:pt x="6661" y="1146"/>
                  </a:lnTo>
                  <a:lnTo>
                    <a:pt x="6876" y="1207"/>
                  </a:lnTo>
                  <a:lnTo>
                    <a:pt x="7086" y="1279"/>
                  </a:lnTo>
                  <a:lnTo>
                    <a:pt x="7292" y="1359"/>
                  </a:lnTo>
                  <a:lnTo>
                    <a:pt x="7492" y="1449"/>
                  </a:lnTo>
                  <a:lnTo>
                    <a:pt x="7687" y="1550"/>
                  </a:lnTo>
                  <a:lnTo>
                    <a:pt x="7877" y="1658"/>
                  </a:lnTo>
                  <a:lnTo>
                    <a:pt x="8060" y="1776"/>
                  </a:lnTo>
                  <a:lnTo>
                    <a:pt x="8238" y="1902"/>
                  </a:lnTo>
                  <a:lnTo>
                    <a:pt x="8409" y="2036"/>
                  </a:lnTo>
                  <a:lnTo>
                    <a:pt x="8573" y="2178"/>
                  </a:lnTo>
                  <a:lnTo>
                    <a:pt x="8731" y="2327"/>
                  </a:lnTo>
                  <a:lnTo>
                    <a:pt x="8881" y="2485"/>
                  </a:lnTo>
                  <a:lnTo>
                    <a:pt x="9022" y="2649"/>
                  </a:lnTo>
                  <a:lnTo>
                    <a:pt x="9157" y="2819"/>
                  </a:lnTo>
                  <a:lnTo>
                    <a:pt x="9283" y="2997"/>
                  </a:lnTo>
                  <a:lnTo>
                    <a:pt x="9402" y="3179"/>
                  </a:lnTo>
                  <a:lnTo>
                    <a:pt x="9510" y="3369"/>
                  </a:lnTo>
                  <a:lnTo>
                    <a:pt x="9611" y="3564"/>
                  </a:lnTo>
                  <a:lnTo>
                    <a:pt x="9701" y="3764"/>
                  </a:lnTo>
                  <a:lnTo>
                    <a:pt x="9783" y="3968"/>
                  </a:lnTo>
                  <a:lnTo>
                    <a:pt x="9853" y="4178"/>
                  </a:lnTo>
                  <a:lnTo>
                    <a:pt x="9914" y="4393"/>
                  </a:lnTo>
                  <a:lnTo>
                    <a:pt x="9965" y="4611"/>
                  </a:lnTo>
                  <a:lnTo>
                    <a:pt x="10005" y="4833"/>
                  </a:lnTo>
                  <a:lnTo>
                    <a:pt x="10034" y="5059"/>
                  </a:lnTo>
                  <a:lnTo>
                    <a:pt x="10051" y="5288"/>
                  </a:lnTo>
                  <a:lnTo>
                    <a:pt x="10057" y="5520"/>
                  </a:lnTo>
                  <a:lnTo>
                    <a:pt x="10055" y="5615"/>
                  </a:lnTo>
                  <a:lnTo>
                    <a:pt x="10049" y="5713"/>
                  </a:lnTo>
                  <a:lnTo>
                    <a:pt x="10040" y="5810"/>
                  </a:lnTo>
                  <a:lnTo>
                    <a:pt x="10027" y="5908"/>
                  </a:lnTo>
                  <a:lnTo>
                    <a:pt x="10010" y="6009"/>
                  </a:lnTo>
                  <a:lnTo>
                    <a:pt x="9990" y="6110"/>
                  </a:lnTo>
                  <a:lnTo>
                    <a:pt x="9967" y="6211"/>
                  </a:lnTo>
                  <a:lnTo>
                    <a:pt x="9941" y="6314"/>
                  </a:lnTo>
                  <a:lnTo>
                    <a:pt x="9911" y="6418"/>
                  </a:lnTo>
                  <a:lnTo>
                    <a:pt x="9880" y="6523"/>
                  </a:lnTo>
                  <a:lnTo>
                    <a:pt x="9845" y="6627"/>
                  </a:lnTo>
                  <a:lnTo>
                    <a:pt x="9808" y="6733"/>
                  </a:lnTo>
                  <a:lnTo>
                    <a:pt x="9769" y="6840"/>
                  </a:lnTo>
                  <a:lnTo>
                    <a:pt x="9726" y="6947"/>
                  </a:lnTo>
                  <a:lnTo>
                    <a:pt x="9682" y="7054"/>
                  </a:lnTo>
                  <a:lnTo>
                    <a:pt x="9636" y="7163"/>
                  </a:lnTo>
                  <a:lnTo>
                    <a:pt x="9588" y="7271"/>
                  </a:lnTo>
                  <a:lnTo>
                    <a:pt x="9538" y="7381"/>
                  </a:lnTo>
                  <a:lnTo>
                    <a:pt x="9486" y="7490"/>
                  </a:lnTo>
                  <a:lnTo>
                    <a:pt x="9433" y="7599"/>
                  </a:lnTo>
                  <a:lnTo>
                    <a:pt x="9378" y="7710"/>
                  </a:lnTo>
                  <a:lnTo>
                    <a:pt x="9323" y="7820"/>
                  </a:lnTo>
                  <a:lnTo>
                    <a:pt x="9266" y="7932"/>
                  </a:lnTo>
                  <a:lnTo>
                    <a:pt x="9207" y="8042"/>
                  </a:lnTo>
                  <a:lnTo>
                    <a:pt x="9149" y="8153"/>
                  </a:lnTo>
                  <a:lnTo>
                    <a:pt x="9089" y="8264"/>
                  </a:lnTo>
                  <a:lnTo>
                    <a:pt x="9028" y="8375"/>
                  </a:lnTo>
                  <a:lnTo>
                    <a:pt x="8968" y="8487"/>
                  </a:lnTo>
                  <a:lnTo>
                    <a:pt x="8845" y="8708"/>
                  </a:lnTo>
                  <a:lnTo>
                    <a:pt x="8722" y="8930"/>
                  </a:lnTo>
                  <a:lnTo>
                    <a:pt x="8667" y="9029"/>
                  </a:lnTo>
                  <a:lnTo>
                    <a:pt x="8612" y="9129"/>
                  </a:lnTo>
                  <a:lnTo>
                    <a:pt x="8557" y="9228"/>
                  </a:lnTo>
                  <a:lnTo>
                    <a:pt x="8501" y="9329"/>
                  </a:lnTo>
                  <a:lnTo>
                    <a:pt x="8447" y="9429"/>
                  </a:lnTo>
                  <a:lnTo>
                    <a:pt x="8392" y="9529"/>
                  </a:lnTo>
                  <a:lnTo>
                    <a:pt x="8338" y="9630"/>
                  </a:lnTo>
                  <a:lnTo>
                    <a:pt x="8284" y="9730"/>
                  </a:lnTo>
                  <a:lnTo>
                    <a:pt x="8231" y="9831"/>
                  </a:lnTo>
                  <a:lnTo>
                    <a:pt x="8179" y="9932"/>
                  </a:lnTo>
                  <a:lnTo>
                    <a:pt x="8127" y="10033"/>
                  </a:lnTo>
                  <a:lnTo>
                    <a:pt x="8076" y="10134"/>
                  </a:lnTo>
                  <a:lnTo>
                    <a:pt x="8026" y="10235"/>
                  </a:lnTo>
                  <a:lnTo>
                    <a:pt x="7976" y="10336"/>
                  </a:lnTo>
                  <a:lnTo>
                    <a:pt x="7928" y="10437"/>
                  </a:lnTo>
                  <a:lnTo>
                    <a:pt x="7881" y="10538"/>
                  </a:lnTo>
                  <a:close/>
                  <a:moveTo>
                    <a:pt x="5532" y="15054"/>
                  </a:moveTo>
                  <a:lnTo>
                    <a:pt x="5484" y="15054"/>
                  </a:lnTo>
                  <a:lnTo>
                    <a:pt x="5439" y="15053"/>
                  </a:lnTo>
                  <a:lnTo>
                    <a:pt x="5395" y="15052"/>
                  </a:lnTo>
                  <a:lnTo>
                    <a:pt x="5352" y="15050"/>
                  </a:lnTo>
                  <a:lnTo>
                    <a:pt x="5311" y="15048"/>
                  </a:lnTo>
                  <a:lnTo>
                    <a:pt x="5272" y="15045"/>
                  </a:lnTo>
                  <a:lnTo>
                    <a:pt x="5234" y="15041"/>
                  </a:lnTo>
                  <a:lnTo>
                    <a:pt x="5197" y="15036"/>
                  </a:lnTo>
                  <a:lnTo>
                    <a:pt x="5160" y="15030"/>
                  </a:lnTo>
                  <a:lnTo>
                    <a:pt x="5125" y="15023"/>
                  </a:lnTo>
                  <a:lnTo>
                    <a:pt x="5091" y="15015"/>
                  </a:lnTo>
                  <a:lnTo>
                    <a:pt x="5059" y="15006"/>
                  </a:lnTo>
                  <a:lnTo>
                    <a:pt x="5027" y="14995"/>
                  </a:lnTo>
                  <a:lnTo>
                    <a:pt x="4995" y="14983"/>
                  </a:lnTo>
                  <a:lnTo>
                    <a:pt x="4965" y="14969"/>
                  </a:lnTo>
                  <a:lnTo>
                    <a:pt x="4936" y="14954"/>
                  </a:lnTo>
                  <a:lnTo>
                    <a:pt x="4907" y="14937"/>
                  </a:lnTo>
                  <a:lnTo>
                    <a:pt x="4880" y="14919"/>
                  </a:lnTo>
                  <a:lnTo>
                    <a:pt x="4852" y="14898"/>
                  </a:lnTo>
                  <a:lnTo>
                    <a:pt x="4825" y="14876"/>
                  </a:lnTo>
                  <a:lnTo>
                    <a:pt x="4799" y="14852"/>
                  </a:lnTo>
                  <a:lnTo>
                    <a:pt x="4773" y="14825"/>
                  </a:lnTo>
                  <a:lnTo>
                    <a:pt x="4748" y="14796"/>
                  </a:lnTo>
                  <a:lnTo>
                    <a:pt x="4723" y="14765"/>
                  </a:lnTo>
                  <a:lnTo>
                    <a:pt x="4698" y="14732"/>
                  </a:lnTo>
                  <a:lnTo>
                    <a:pt x="4673" y="14696"/>
                  </a:lnTo>
                  <a:lnTo>
                    <a:pt x="4648" y="14658"/>
                  </a:lnTo>
                  <a:lnTo>
                    <a:pt x="4624" y="14618"/>
                  </a:lnTo>
                  <a:lnTo>
                    <a:pt x="4600" y="14574"/>
                  </a:lnTo>
                  <a:lnTo>
                    <a:pt x="4576" y="14527"/>
                  </a:lnTo>
                  <a:lnTo>
                    <a:pt x="4552" y="14479"/>
                  </a:lnTo>
                  <a:lnTo>
                    <a:pt x="4527" y="14427"/>
                  </a:lnTo>
                  <a:lnTo>
                    <a:pt x="6658" y="14161"/>
                  </a:lnTo>
                  <a:lnTo>
                    <a:pt x="6630" y="14236"/>
                  </a:lnTo>
                  <a:lnTo>
                    <a:pt x="6602" y="14308"/>
                  </a:lnTo>
                  <a:lnTo>
                    <a:pt x="6573" y="14375"/>
                  </a:lnTo>
                  <a:lnTo>
                    <a:pt x="6546" y="14438"/>
                  </a:lnTo>
                  <a:lnTo>
                    <a:pt x="6518" y="14496"/>
                  </a:lnTo>
                  <a:lnTo>
                    <a:pt x="6491" y="14552"/>
                  </a:lnTo>
                  <a:lnTo>
                    <a:pt x="6464" y="14603"/>
                  </a:lnTo>
                  <a:lnTo>
                    <a:pt x="6436" y="14651"/>
                  </a:lnTo>
                  <a:lnTo>
                    <a:pt x="6408" y="14695"/>
                  </a:lnTo>
                  <a:lnTo>
                    <a:pt x="6380" y="14736"/>
                  </a:lnTo>
                  <a:lnTo>
                    <a:pt x="6352" y="14773"/>
                  </a:lnTo>
                  <a:lnTo>
                    <a:pt x="6323" y="14808"/>
                  </a:lnTo>
                  <a:lnTo>
                    <a:pt x="6294" y="14841"/>
                  </a:lnTo>
                  <a:lnTo>
                    <a:pt x="6264" y="14869"/>
                  </a:lnTo>
                  <a:lnTo>
                    <a:pt x="6233" y="14895"/>
                  </a:lnTo>
                  <a:lnTo>
                    <a:pt x="6202" y="14919"/>
                  </a:lnTo>
                  <a:lnTo>
                    <a:pt x="6170" y="14940"/>
                  </a:lnTo>
                  <a:lnTo>
                    <a:pt x="6137" y="14959"/>
                  </a:lnTo>
                  <a:lnTo>
                    <a:pt x="6103" y="14976"/>
                  </a:lnTo>
                  <a:lnTo>
                    <a:pt x="6068" y="14990"/>
                  </a:lnTo>
                  <a:lnTo>
                    <a:pt x="6031" y="15003"/>
                  </a:lnTo>
                  <a:lnTo>
                    <a:pt x="5994" y="15014"/>
                  </a:lnTo>
                  <a:lnTo>
                    <a:pt x="5955" y="15023"/>
                  </a:lnTo>
                  <a:lnTo>
                    <a:pt x="5915" y="15031"/>
                  </a:lnTo>
                  <a:lnTo>
                    <a:pt x="5873" y="15038"/>
                  </a:lnTo>
                  <a:lnTo>
                    <a:pt x="5829" y="15043"/>
                  </a:lnTo>
                  <a:lnTo>
                    <a:pt x="5785" y="15047"/>
                  </a:lnTo>
                  <a:lnTo>
                    <a:pt x="5738" y="15050"/>
                  </a:lnTo>
                  <a:lnTo>
                    <a:pt x="5689" y="15052"/>
                  </a:lnTo>
                  <a:lnTo>
                    <a:pt x="5638" y="15053"/>
                  </a:lnTo>
                  <a:lnTo>
                    <a:pt x="5586" y="15054"/>
                  </a:lnTo>
                  <a:lnTo>
                    <a:pt x="5532" y="15054"/>
                  </a:lnTo>
                  <a:close/>
                  <a:moveTo>
                    <a:pt x="3890" y="12499"/>
                  </a:moveTo>
                  <a:lnTo>
                    <a:pt x="3873" y="12442"/>
                  </a:lnTo>
                  <a:lnTo>
                    <a:pt x="3855" y="12386"/>
                  </a:lnTo>
                  <a:lnTo>
                    <a:pt x="3838" y="12328"/>
                  </a:lnTo>
                  <a:lnTo>
                    <a:pt x="3820" y="12269"/>
                  </a:lnTo>
                  <a:lnTo>
                    <a:pt x="3802" y="12211"/>
                  </a:lnTo>
                  <a:lnTo>
                    <a:pt x="3783" y="12153"/>
                  </a:lnTo>
                  <a:lnTo>
                    <a:pt x="3763" y="12094"/>
                  </a:lnTo>
                  <a:lnTo>
                    <a:pt x="3744" y="12033"/>
                  </a:lnTo>
                  <a:lnTo>
                    <a:pt x="3725" y="11974"/>
                  </a:lnTo>
                  <a:lnTo>
                    <a:pt x="3705" y="11913"/>
                  </a:lnTo>
                  <a:lnTo>
                    <a:pt x="3685" y="11853"/>
                  </a:lnTo>
                  <a:lnTo>
                    <a:pt x="3665" y="11792"/>
                  </a:lnTo>
                  <a:lnTo>
                    <a:pt x="3645" y="11729"/>
                  </a:lnTo>
                  <a:lnTo>
                    <a:pt x="3624" y="11667"/>
                  </a:lnTo>
                  <a:lnTo>
                    <a:pt x="3603" y="11605"/>
                  </a:lnTo>
                  <a:lnTo>
                    <a:pt x="3581" y="11542"/>
                  </a:lnTo>
                  <a:lnTo>
                    <a:pt x="7487" y="11542"/>
                  </a:lnTo>
                  <a:lnTo>
                    <a:pt x="7464" y="11609"/>
                  </a:lnTo>
                  <a:lnTo>
                    <a:pt x="7440" y="11677"/>
                  </a:lnTo>
                  <a:lnTo>
                    <a:pt x="7417" y="11744"/>
                  </a:lnTo>
                  <a:lnTo>
                    <a:pt x="7395" y="11811"/>
                  </a:lnTo>
                  <a:lnTo>
                    <a:pt x="7373" y="11878"/>
                  </a:lnTo>
                  <a:lnTo>
                    <a:pt x="7351" y="11943"/>
                  </a:lnTo>
                  <a:lnTo>
                    <a:pt x="7330" y="12008"/>
                  </a:lnTo>
                  <a:lnTo>
                    <a:pt x="7309" y="12074"/>
                  </a:lnTo>
                  <a:lnTo>
                    <a:pt x="3890" y="12499"/>
                  </a:lnTo>
                  <a:close/>
                  <a:moveTo>
                    <a:pt x="6835" y="13637"/>
                  </a:moveTo>
                  <a:lnTo>
                    <a:pt x="4342" y="13948"/>
                  </a:lnTo>
                  <a:lnTo>
                    <a:pt x="4325" y="13899"/>
                  </a:lnTo>
                  <a:lnTo>
                    <a:pt x="4309" y="13850"/>
                  </a:lnTo>
                  <a:lnTo>
                    <a:pt x="4290" y="13799"/>
                  </a:lnTo>
                  <a:lnTo>
                    <a:pt x="4273" y="13747"/>
                  </a:lnTo>
                  <a:lnTo>
                    <a:pt x="4256" y="13693"/>
                  </a:lnTo>
                  <a:lnTo>
                    <a:pt x="4238" y="13638"/>
                  </a:lnTo>
                  <a:lnTo>
                    <a:pt x="4220" y="13582"/>
                  </a:lnTo>
                  <a:lnTo>
                    <a:pt x="4202" y="13524"/>
                  </a:lnTo>
                  <a:lnTo>
                    <a:pt x="4183" y="13465"/>
                  </a:lnTo>
                  <a:lnTo>
                    <a:pt x="4164" y="13403"/>
                  </a:lnTo>
                  <a:lnTo>
                    <a:pt x="4145" y="13340"/>
                  </a:lnTo>
                  <a:lnTo>
                    <a:pt x="4124" y="13276"/>
                  </a:lnTo>
                  <a:lnTo>
                    <a:pt x="4104" y="13210"/>
                  </a:lnTo>
                  <a:lnTo>
                    <a:pt x="4083" y="13141"/>
                  </a:lnTo>
                  <a:lnTo>
                    <a:pt x="4062" y="13070"/>
                  </a:lnTo>
                  <a:lnTo>
                    <a:pt x="4041" y="12998"/>
                  </a:lnTo>
                  <a:lnTo>
                    <a:pt x="4038" y="12990"/>
                  </a:lnTo>
                  <a:lnTo>
                    <a:pt x="4036" y="12983"/>
                  </a:lnTo>
                  <a:lnTo>
                    <a:pt x="7149" y="12594"/>
                  </a:lnTo>
                  <a:lnTo>
                    <a:pt x="7132" y="12651"/>
                  </a:lnTo>
                  <a:lnTo>
                    <a:pt x="7116" y="12707"/>
                  </a:lnTo>
                  <a:lnTo>
                    <a:pt x="7098" y="12763"/>
                  </a:lnTo>
                  <a:lnTo>
                    <a:pt x="7081" y="12819"/>
                  </a:lnTo>
                  <a:lnTo>
                    <a:pt x="7064" y="12876"/>
                  </a:lnTo>
                  <a:lnTo>
                    <a:pt x="7047" y="12931"/>
                  </a:lnTo>
                  <a:lnTo>
                    <a:pt x="7031" y="12985"/>
                  </a:lnTo>
                  <a:lnTo>
                    <a:pt x="7016" y="13038"/>
                  </a:lnTo>
                  <a:lnTo>
                    <a:pt x="6992" y="13121"/>
                  </a:lnTo>
                  <a:lnTo>
                    <a:pt x="6968" y="13202"/>
                  </a:lnTo>
                  <a:lnTo>
                    <a:pt x="6945" y="13280"/>
                  </a:lnTo>
                  <a:lnTo>
                    <a:pt x="6921" y="13355"/>
                  </a:lnTo>
                  <a:lnTo>
                    <a:pt x="6899" y="13429"/>
                  </a:lnTo>
                  <a:lnTo>
                    <a:pt x="6878" y="13500"/>
                  </a:lnTo>
                  <a:lnTo>
                    <a:pt x="6856" y="13570"/>
                  </a:lnTo>
                  <a:lnTo>
                    <a:pt x="6835" y="13637"/>
                  </a:lnTo>
                  <a:close/>
                  <a:moveTo>
                    <a:pt x="5532" y="0"/>
                  </a:moveTo>
                  <a:lnTo>
                    <a:pt x="5247" y="7"/>
                  </a:lnTo>
                  <a:lnTo>
                    <a:pt x="4966" y="28"/>
                  </a:lnTo>
                  <a:lnTo>
                    <a:pt x="4689" y="63"/>
                  </a:lnTo>
                  <a:lnTo>
                    <a:pt x="4417" y="112"/>
                  </a:lnTo>
                  <a:lnTo>
                    <a:pt x="4149" y="174"/>
                  </a:lnTo>
                  <a:lnTo>
                    <a:pt x="3886" y="248"/>
                  </a:lnTo>
                  <a:lnTo>
                    <a:pt x="3630" y="335"/>
                  </a:lnTo>
                  <a:lnTo>
                    <a:pt x="3378" y="434"/>
                  </a:lnTo>
                  <a:lnTo>
                    <a:pt x="3133" y="544"/>
                  </a:lnTo>
                  <a:lnTo>
                    <a:pt x="2894" y="666"/>
                  </a:lnTo>
                  <a:lnTo>
                    <a:pt x="2663" y="799"/>
                  </a:lnTo>
                  <a:lnTo>
                    <a:pt x="2439" y="942"/>
                  </a:lnTo>
                  <a:lnTo>
                    <a:pt x="2222" y="1097"/>
                  </a:lnTo>
                  <a:lnTo>
                    <a:pt x="2013" y="1261"/>
                  </a:lnTo>
                  <a:lnTo>
                    <a:pt x="1812" y="1434"/>
                  </a:lnTo>
                  <a:lnTo>
                    <a:pt x="1620" y="1617"/>
                  </a:lnTo>
                  <a:lnTo>
                    <a:pt x="1437" y="1809"/>
                  </a:lnTo>
                  <a:lnTo>
                    <a:pt x="1263" y="2009"/>
                  </a:lnTo>
                  <a:lnTo>
                    <a:pt x="1099" y="2217"/>
                  </a:lnTo>
                  <a:lnTo>
                    <a:pt x="944" y="2434"/>
                  </a:lnTo>
                  <a:lnTo>
                    <a:pt x="801" y="2658"/>
                  </a:lnTo>
                  <a:lnTo>
                    <a:pt x="668" y="2888"/>
                  </a:lnTo>
                  <a:lnTo>
                    <a:pt x="545" y="3127"/>
                  </a:lnTo>
                  <a:lnTo>
                    <a:pt x="434" y="3371"/>
                  </a:lnTo>
                  <a:lnTo>
                    <a:pt x="336" y="3622"/>
                  </a:lnTo>
                  <a:lnTo>
                    <a:pt x="248" y="3879"/>
                  </a:lnTo>
                  <a:lnTo>
                    <a:pt x="174" y="4141"/>
                  </a:lnTo>
                  <a:lnTo>
                    <a:pt x="113" y="4408"/>
                  </a:lnTo>
                  <a:lnTo>
                    <a:pt x="63" y="4679"/>
                  </a:lnTo>
                  <a:lnTo>
                    <a:pt x="28" y="4956"/>
                  </a:lnTo>
                  <a:lnTo>
                    <a:pt x="7" y="5236"/>
                  </a:lnTo>
                  <a:lnTo>
                    <a:pt x="0" y="5520"/>
                  </a:lnTo>
                  <a:lnTo>
                    <a:pt x="5" y="5710"/>
                  </a:lnTo>
                  <a:lnTo>
                    <a:pt x="21" y="5900"/>
                  </a:lnTo>
                  <a:lnTo>
                    <a:pt x="46" y="6092"/>
                  </a:lnTo>
                  <a:lnTo>
                    <a:pt x="81" y="6284"/>
                  </a:lnTo>
                  <a:lnTo>
                    <a:pt x="125" y="6475"/>
                  </a:lnTo>
                  <a:lnTo>
                    <a:pt x="176" y="6668"/>
                  </a:lnTo>
                  <a:lnTo>
                    <a:pt x="234" y="6861"/>
                  </a:lnTo>
                  <a:lnTo>
                    <a:pt x="301" y="7053"/>
                  </a:lnTo>
                  <a:lnTo>
                    <a:pt x="373" y="7247"/>
                  </a:lnTo>
                  <a:lnTo>
                    <a:pt x="451" y="7440"/>
                  </a:lnTo>
                  <a:lnTo>
                    <a:pt x="534" y="7634"/>
                  </a:lnTo>
                  <a:lnTo>
                    <a:pt x="623" y="7826"/>
                  </a:lnTo>
                  <a:lnTo>
                    <a:pt x="715" y="8020"/>
                  </a:lnTo>
                  <a:lnTo>
                    <a:pt x="811" y="8213"/>
                  </a:lnTo>
                  <a:lnTo>
                    <a:pt x="910" y="8405"/>
                  </a:lnTo>
                  <a:lnTo>
                    <a:pt x="1012" y="8597"/>
                  </a:lnTo>
                  <a:lnTo>
                    <a:pt x="1115" y="8789"/>
                  </a:lnTo>
                  <a:lnTo>
                    <a:pt x="1221" y="8980"/>
                  </a:lnTo>
                  <a:lnTo>
                    <a:pt x="1327" y="9171"/>
                  </a:lnTo>
                  <a:lnTo>
                    <a:pt x="1433" y="9361"/>
                  </a:lnTo>
                  <a:lnTo>
                    <a:pt x="1539" y="9550"/>
                  </a:lnTo>
                  <a:lnTo>
                    <a:pt x="1644" y="9739"/>
                  </a:lnTo>
                  <a:lnTo>
                    <a:pt x="1748" y="9927"/>
                  </a:lnTo>
                  <a:lnTo>
                    <a:pt x="1850" y="10115"/>
                  </a:lnTo>
                  <a:lnTo>
                    <a:pt x="1949" y="10300"/>
                  </a:lnTo>
                  <a:lnTo>
                    <a:pt x="2046" y="10485"/>
                  </a:lnTo>
                  <a:lnTo>
                    <a:pt x="2138" y="10670"/>
                  </a:lnTo>
                  <a:lnTo>
                    <a:pt x="2228" y="10852"/>
                  </a:lnTo>
                  <a:lnTo>
                    <a:pt x="2311" y="11033"/>
                  </a:lnTo>
                  <a:lnTo>
                    <a:pt x="2391" y="11214"/>
                  </a:lnTo>
                  <a:lnTo>
                    <a:pt x="2463" y="11392"/>
                  </a:lnTo>
                  <a:lnTo>
                    <a:pt x="2529" y="11569"/>
                  </a:lnTo>
                  <a:lnTo>
                    <a:pt x="2621" y="11829"/>
                  </a:lnTo>
                  <a:lnTo>
                    <a:pt x="2706" y="12083"/>
                  </a:lnTo>
                  <a:lnTo>
                    <a:pt x="2787" y="12329"/>
                  </a:lnTo>
                  <a:lnTo>
                    <a:pt x="2861" y="12568"/>
                  </a:lnTo>
                  <a:lnTo>
                    <a:pt x="2933" y="12801"/>
                  </a:lnTo>
                  <a:lnTo>
                    <a:pt x="3000" y="13026"/>
                  </a:lnTo>
                  <a:lnTo>
                    <a:pt x="3065" y="13245"/>
                  </a:lnTo>
                  <a:lnTo>
                    <a:pt x="3128" y="13456"/>
                  </a:lnTo>
                  <a:lnTo>
                    <a:pt x="3188" y="13658"/>
                  </a:lnTo>
                  <a:lnTo>
                    <a:pt x="3248" y="13855"/>
                  </a:lnTo>
                  <a:lnTo>
                    <a:pt x="3308" y="14043"/>
                  </a:lnTo>
                  <a:lnTo>
                    <a:pt x="3367" y="14223"/>
                  </a:lnTo>
                  <a:lnTo>
                    <a:pt x="3428" y="14396"/>
                  </a:lnTo>
                  <a:lnTo>
                    <a:pt x="3489" y="14562"/>
                  </a:lnTo>
                  <a:lnTo>
                    <a:pt x="3552" y="14718"/>
                  </a:lnTo>
                  <a:lnTo>
                    <a:pt x="3619" y="14867"/>
                  </a:lnTo>
                  <a:lnTo>
                    <a:pt x="3688" y="15007"/>
                  </a:lnTo>
                  <a:lnTo>
                    <a:pt x="3761" y="15140"/>
                  </a:lnTo>
                  <a:lnTo>
                    <a:pt x="3839" y="15263"/>
                  </a:lnTo>
                  <a:lnTo>
                    <a:pt x="3922" y="15379"/>
                  </a:lnTo>
                  <a:lnTo>
                    <a:pt x="4011" y="15485"/>
                  </a:lnTo>
                  <a:lnTo>
                    <a:pt x="4105" y="15582"/>
                  </a:lnTo>
                  <a:lnTo>
                    <a:pt x="4207" y="15672"/>
                  </a:lnTo>
                  <a:lnTo>
                    <a:pt x="4316" y="15752"/>
                  </a:lnTo>
                  <a:lnTo>
                    <a:pt x="4433" y="15822"/>
                  </a:lnTo>
                  <a:lnTo>
                    <a:pt x="4559" y="15884"/>
                  </a:lnTo>
                  <a:lnTo>
                    <a:pt x="4694" y="15937"/>
                  </a:lnTo>
                  <a:lnTo>
                    <a:pt x="4840" y="15981"/>
                  </a:lnTo>
                  <a:lnTo>
                    <a:pt x="4995" y="16014"/>
                  </a:lnTo>
                  <a:lnTo>
                    <a:pt x="5161" y="16038"/>
                  </a:lnTo>
                  <a:lnTo>
                    <a:pt x="5340" y="16053"/>
                  </a:lnTo>
                  <a:lnTo>
                    <a:pt x="5532" y="16058"/>
                  </a:lnTo>
                  <a:lnTo>
                    <a:pt x="5726" y="16053"/>
                  </a:lnTo>
                  <a:lnTo>
                    <a:pt x="5907" y="16039"/>
                  </a:lnTo>
                  <a:lnTo>
                    <a:pt x="6076" y="16014"/>
                  </a:lnTo>
                  <a:lnTo>
                    <a:pt x="6232" y="15981"/>
                  </a:lnTo>
                  <a:lnTo>
                    <a:pt x="6379" y="15938"/>
                  </a:lnTo>
                  <a:lnTo>
                    <a:pt x="6516" y="15885"/>
                  </a:lnTo>
                  <a:lnTo>
                    <a:pt x="6643" y="15823"/>
                  </a:lnTo>
                  <a:lnTo>
                    <a:pt x="6760" y="15753"/>
                  </a:lnTo>
                  <a:lnTo>
                    <a:pt x="6870" y="15673"/>
                  </a:lnTo>
                  <a:lnTo>
                    <a:pt x="6972" y="15584"/>
                  </a:lnTo>
                  <a:lnTo>
                    <a:pt x="7066" y="15487"/>
                  </a:lnTo>
                  <a:lnTo>
                    <a:pt x="7155" y="15381"/>
                  </a:lnTo>
                  <a:lnTo>
                    <a:pt x="7237" y="15266"/>
                  </a:lnTo>
                  <a:lnTo>
                    <a:pt x="7315" y="15143"/>
                  </a:lnTo>
                  <a:lnTo>
                    <a:pt x="7387" y="15011"/>
                  </a:lnTo>
                  <a:lnTo>
                    <a:pt x="7455" y="14871"/>
                  </a:lnTo>
                  <a:lnTo>
                    <a:pt x="7521" y="14723"/>
                  </a:lnTo>
                  <a:lnTo>
                    <a:pt x="7584" y="14567"/>
                  </a:lnTo>
                  <a:lnTo>
                    <a:pt x="7645" y="14402"/>
                  </a:lnTo>
                  <a:lnTo>
                    <a:pt x="7704" y="14229"/>
                  </a:lnTo>
                  <a:lnTo>
                    <a:pt x="7762" y="14050"/>
                  </a:lnTo>
                  <a:lnTo>
                    <a:pt x="7821" y="13862"/>
                  </a:lnTo>
                  <a:lnTo>
                    <a:pt x="7880" y="13666"/>
                  </a:lnTo>
                  <a:lnTo>
                    <a:pt x="7939" y="13464"/>
                  </a:lnTo>
                  <a:lnTo>
                    <a:pt x="8002" y="13253"/>
                  </a:lnTo>
                  <a:lnTo>
                    <a:pt x="8065" y="13035"/>
                  </a:lnTo>
                  <a:lnTo>
                    <a:pt x="8132" y="12810"/>
                  </a:lnTo>
                  <a:lnTo>
                    <a:pt x="8203" y="12578"/>
                  </a:lnTo>
                  <a:lnTo>
                    <a:pt x="8277" y="12340"/>
                  </a:lnTo>
                  <a:lnTo>
                    <a:pt x="8357" y="12094"/>
                  </a:lnTo>
                  <a:lnTo>
                    <a:pt x="8442" y="11841"/>
                  </a:lnTo>
                  <a:lnTo>
                    <a:pt x="8534" y="11581"/>
                  </a:lnTo>
                  <a:lnTo>
                    <a:pt x="8600" y="11403"/>
                  </a:lnTo>
                  <a:lnTo>
                    <a:pt x="8673" y="11224"/>
                  </a:lnTo>
                  <a:lnTo>
                    <a:pt x="8752" y="11043"/>
                  </a:lnTo>
                  <a:lnTo>
                    <a:pt x="8836" y="10861"/>
                  </a:lnTo>
                  <a:lnTo>
                    <a:pt x="8926" y="10678"/>
                  </a:lnTo>
                  <a:lnTo>
                    <a:pt x="9018" y="10493"/>
                  </a:lnTo>
                  <a:lnTo>
                    <a:pt x="9115" y="10307"/>
                  </a:lnTo>
                  <a:lnTo>
                    <a:pt x="9214" y="10121"/>
                  </a:lnTo>
                  <a:lnTo>
                    <a:pt x="9316" y="9932"/>
                  </a:lnTo>
                  <a:lnTo>
                    <a:pt x="9421" y="9743"/>
                  </a:lnTo>
                  <a:lnTo>
                    <a:pt x="9525" y="9554"/>
                  </a:lnTo>
                  <a:lnTo>
                    <a:pt x="9632" y="9363"/>
                  </a:lnTo>
                  <a:lnTo>
                    <a:pt x="9737" y="9172"/>
                  </a:lnTo>
                  <a:lnTo>
                    <a:pt x="9844" y="8980"/>
                  </a:lnTo>
                  <a:lnTo>
                    <a:pt x="9949" y="8788"/>
                  </a:lnTo>
                  <a:lnTo>
                    <a:pt x="10052" y="8596"/>
                  </a:lnTo>
                  <a:lnTo>
                    <a:pt x="10154" y="8402"/>
                  </a:lnTo>
                  <a:lnTo>
                    <a:pt x="10253" y="8210"/>
                  </a:lnTo>
                  <a:lnTo>
                    <a:pt x="10349" y="8016"/>
                  </a:lnTo>
                  <a:lnTo>
                    <a:pt x="10441" y="7822"/>
                  </a:lnTo>
                  <a:lnTo>
                    <a:pt x="10529" y="7629"/>
                  </a:lnTo>
                  <a:lnTo>
                    <a:pt x="10612" y="7435"/>
                  </a:lnTo>
                  <a:lnTo>
                    <a:pt x="10691" y="7241"/>
                  </a:lnTo>
                  <a:lnTo>
                    <a:pt x="10763" y="7048"/>
                  </a:lnTo>
                  <a:lnTo>
                    <a:pt x="10829" y="6856"/>
                  </a:lnTo>
                  <a:lnTo>
                    <a:pt x="10888" y="6663"/>
                  </a:lnTo>
                  <a:lnTo>
                    <a:pt x="10939" y="6470"/>
                  </a:lnTo>
                  <a:lnTo>
                    <a:pt x="10983" y="6280"/>
                  </a:lnTo>
                  <a:lnTo>
                    <a:pt x="11017" y="6088"/>
                  </a:lnTo>
                  <a:lnTo>
                    <a:pt x="11042" y="5898"/>
                  </a:lnTo>
                  <a:lnTo>
                    <a:pt x="11058" y="5709"/>
                  </a:lnTo>
                  <a:lnTo>
                    <a:pt x="11063" y="5520"/>
                  </a:lnTo>
                  <a:lnTo>
                    <a:pt x="11056" y="5236"/>
                  </a:lnTo>
                  <a:lnTo>
                    <a:pt x="11035" y="4956"/>
                  </a:lnTo>
                  <a:lnTo>
                    <a:pt x="11000" y="4679"/>
                  </a:lnTo>
                  <a:lnTo>
                    <a:pt x="10950" y="4408"/>
                  </a:lnTo>
                  <a:lnTo>
                    <a:pt x="10889" y="4141"/>
                  </a:lnTo>
                  <a:lnTo>
                    <a:pt x="10815" y="3879"/>
                  </a:lnTo>
                  <a:lnTo>
                    <a:pt x="10727" y="3622"/>
                  </a:lnTo>
                  <a:lnTo>
                    <a:pt x="10629" y="3371"/>
                  </a:lnTo>
                  <a:lnTo>
                    <a:pt x="10518" y="3127"/>
                  </a:lnTo>
                  <a:lnTo>
                    <a:pt x="10395" y="2888"/>
                  </a:lnTo>
                  <a:lnTo>
                    <a:pt x="10262" y="2658"/>
                  </a:lnTo>
                  <a:lnTo>
                    <a:pt x="10119" y="2434"/>
                  </a:lnTo>
                  <a:lnTo>
                    <a:pt x="9964" y="2217"/>
                  </a:lnTo>
                  <a:lnTo>
                    <a:pt x="9800" y="2009"/>
                  </a:lnTo>
                  <a:lnTo>
                    <a:pt x="9626" y="1809"/>
                  </a:lnTo>
                  <a:lnTo>
                    <a:pt x="9443" y="1617"/>
                  </a:lnTo>
                  <a:lnTo>
                    <a:pt x="9251" y="1434"/>
                  </a:lnTo>
                  <a:lnTo>
                    <a:pt x="9050" y="1261"/>
                  </a:lnTo>
                  <a:lnTo>
                    <a:pt x="8841" y="1097"/>
                  </a:lnTo>
                  <a:lnTo>
                    <a:pt x="8624" y="942"/>
                  </a:lnTo>
                  <a:lnTo>
                    <a:pt x="8400" y="799"/>
                  </a:lnTo>
                  <a:lnTo>
                    <a:pt x="8169" y="666"/>
                  </a:lnTo>
                  <a:lnTo>
                    <a:pt x="7929" y="544"/>
                  </a:lnTo>
                  <a:lnTo>
                    <a:pt x="7685" y="434"/>
                  </a:lnTo>
                  <a:lnTo>
                    <a:pt x="7433" y="335"/>
                  </a:lnTo>
                  <a:lnTo>
                    <a:pt x="7176" y="248"/>
                  </a:lnTo>
                  <a:lnTo>
                    <a:pt x="6913" y="174"/>
                  </a:lnTo>
                  <a:lnTo>
                    <a:pt x="6646" y="112"/>
                  </a:lnTo>
                  <a:lnTo>
                    <a:pt x="6374" y="63"/>
                  </a:lnTo>
                  <a:lnTo>
                    <a:pt x="6097" y="28"/>
                  </a:lnTo>
                  <a:lnTo>
                    <a:pt x="5816" y="7"/>
                  </a:lnTo>
                  <a:lnTo>
                    <a:pt x="55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04" name="iś1ïḓé">
              <a:extLst>
                <a:ext uri="{FF2B5EF4-FFF2-40B4-BE49-F238E27FC236}">
                  <a16:creationId xmlns:a16="http://schemas.microsoft.com/office/drawing/2014/main" id="{EF520969-BC3E-433E-AA6C-55E217795917}"/>
                </a:ext>
              </a:extLst>
            </p:cNvPr>
            <p:cNvSpPr/>
            <p:nvPr/>
          </p:nvSpPr>
          <p:spPr bwMode="auto">
            <a:xfrm>
              <a:off x="9177544" y="114628"/>
              <a:ext cx="78177" cy="78177"/>
            </a:xfrm>
            <a:custGeom>
              <a:avLst/>
              <a:gdLst>
                <a:gd name="T0" fmla="*/ 2559 w 3269"/>
                <a:gd name="T1" fmla="*/ 35 h 3262"/>
                <a:gd name="T2" fmla="*/ 1981 w 3269"/>
                <a:gd name="T3" fmla="*/ 183 h 3262"/>
                <a:gd name="T4" fmla="*/ 1455 w 3269"/>
                <a:gd name="T5" fmla="*/ 437 h 3262"/>
                <a:gd name="T6" fmla="*/ 990 w 3269"/>
                <a:gd name="T7" fmla="*/ 783 h 3262"/>
                <a:gd name="T8" fmla="*/ 601 w 3269"/>
                <a:gd name="T9" fmla="*/ 1210 h 3262"/>
                <a:gd name="T10" fmla="*/ 298 w 3269"/>
                <a:gd name="T11" fmla="*/ 1706 h 3262"/>
                <a:gd name="T12" fmla="*/ 96 w 3269"/>
                <a:gd name="T13" fmla="*/ 2259 h 3262"/>
                <a:gd name="T14" fmla="*/ 4 w 3269"/>
                <a:gd name="T15" fmla="*/ 2856 h 3262"/>
                <a:gd name="T16" fmla="*/ 3 w 3269"/>
                <a:gd name="T17" fmla="*/ 3049 h 3262"/>
                <a:gd name="T18" fmla="*/ 15 w 3269"/>
                <a:gd name="T19" fmla="*/ 3097 h 3262"/>
                <a:gd name="T20" fmla="*/ 37 w 3269"/>
                <a:gd name="T21" fmla="*/ 3141 h 3262"/>
                <a:gd name="T22" fmla="*/ 66 w 3269"/>
                <a:gd name="T23" fmla="*/ 3180 h 3262"/>
                <a:gd name="T24" fmla="*/ 101 w 3269"/>
                <a:gd name="T25" fmla="*/ 3212 h 3262"/>
                <a:gd name="T26" fmla="*/ 143 w 3269"/>
                <a:gd name="T27" fmla="*/ 3237 h 3262"/>
                <a:gd name="T28" fmla="*/ 189 w 3269"/>
                <a:gd name="T29" fmla="*/ 3254 h 3262"/>
                <a:gd name="T30" fmla="*/ 239 w 3269"/>
                <a:gd name="T31" fmla="*/ 3262 h 3262"/>
                <a:gd name="T32" fmla="*/ 290 w 3269"/>
                <a:gd name="T33" fmla="*/ 3259 h 3262"/>
                <a:gd name="T34" fmla="*/ 338 w 3269"/>
                <a:gd name="T35" fmla="*/ 3247 h 3262"/>
                <a:gd name="T36" fmla="*/ 382 w 3269"/>
                <a:gd name="T37" fmla="*/ 3226 h 3262"/>
                <a:gd name="T38" fmla="*/ 421 w 3269"/>
                <a:gd name="T39" fmla="*/ 3197 h 3262"/>
                <a:gd name="T40" fmla="*/ 453 w 3269"/>
                <a:gd name="T41" fmla="*/ 3161 h 3262"/>
                <a:gd name="T42" fmla="*/ 478 w 3269"/>
                <a:gd name="T43" fmla="*/ 3119 h 3262"/>
                <a:gd name="T44" fmla="*/ 495 w 3269"/>
                <a:gd name="T45" fmla="*/ 3073 h 3262"/>
                <a:gd name="T46" fmla="*/ 503 w 3269"/>
                <a:gd name="T47" fmla="*/ 3024 h 3262"/>
                <a:gd name="T48" fmla="*/ 532 w 3269"/>
                <a:gd name="T49" fmla="*/ 2630 h 3262"/>
                <a:gd name="T50" fmla="*/ 656 w 3269"/>
                <a:gd name="T51" fmla="*/ 2149 h 3262"/>
                <a:gd name="T52" fmla="*/ 867 w 3269"/>
                <a:gd name="T53" fmla="*/ 1711 h 3262"/>
                <a:gd name="T54" fmla="*/ 1157 w 3269"/>
                <a:gd name="T55" fmla="*/ 1325 h 3262"/>
                <a:gd name="T56" fmla="*/ 1514 w 3269"/>
                <a:gd name="T57" fmla="*/ 1001 h 3262"/>
                <a:gd name="T58" fmla="*/ 1928 w 3269"/>
                <a:gd name="T59" fmla="*/ 750 h 3262"/>
                <a:gd name="T60" fmla="*/ 2390 w 3269"/>
                <a:gd name="T61" fmla="*/ 581 h 3262"/>
                <a:gd name="T62" fmla="*/ 2889 w 3269"/>
                <a:gd name="T63" fmla="*/ 505 h 3262"/>
                <a:gd name="T64" fmla="*/ 3056 w 3269"/>
                <a:gd name="T65" fmla="*/ 499 h 3262"/>
                <a:gd name="T66" fmla="*/ 3104 w 3269"/>
                <a:gd name="T67" fmla="*/ 487 h 3262"/>
                <a:gd name="T68" fmla="*/ 3148 w 3269"/>
                <a:gd name="T69" fmla="*/ 466 h 3262"/>
                <a:gd name="T70" fmla="*/ 3186 w 3269"/>
                <a:gd name="T71" fmla="*/ 437 h 3262"/>
                <a:gd name="T72" fmla="*/ 3219 w 3269"/>
                <a:gd name="T73" fmla="*/ 402 h 3262"/>
                <a:gd name="T74" fmla="*/ 3244 w 3269"/>
                <a:gd name="T75" fmla="*/ 359 h 3262"/>
                <a:gd name="T76" fmla="*/ 3261 w 3269"/>
                <a:gd name="T77" fmla="*/ 314 h 3262"/>
                <a:gd name="T78" fmla="*/ 3269 w 3269"/>
                <a:gd name="T79" fmla="*/ 264 h 3262"/>
                <a:gd name="T80" fmla="*/ 3266 w 3269"/>
                <a:gd name="T81" fmla="*/ 213 h 3262"/>
                <a:gd name="T82" fmla="*/ 3254 w 3269"/>
                <a:gd name="T83" fmla="*/ 165 h 3262"/>
                <a:gd name="T84" fmla="*/ 3233 w 3269"/>
                <a:gd name="T85" fmla="*/ 120 h 3262"/>
                <a:gd name="T86" fmla="*/ 3204 w 3269"/>
                <a:gd name="T87" fmla="*/ 82 h 3262"/>
                <a:gd name="T88" fmla="*/ 3168 w 3269"/>
                <a:gd name="T89" fmla="*/ 50 h 3262"/>
                <a:gd name="T90" fmla="*/ 3126 w 3269"/>
                <a:gd name="T91" fmla="*/ 25 h 3262"/>
                <a:gd name="T92" fmla="*/ 3080 w 3269"/>
                <a:gd name="T93" fmla="*/ 8 h 3262"/>
                <a:gd name="T94" fmla="*/ 3031 w 3269"/>
                <a:gd name="T95" fmla="*/ 0 h 3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269" h="3262">
                  <a:moveTo>
                    <a:pt x="3018" y="0"/>
                  </a:moveTo>
                  <a:lnTo>
                    <a:pt x="2863" y="4"/>
                  </a:lnTo>
                  <a:lnTo>
                    <a:pt x="2710" y="15"/>
                  </a:lnTo>
                  <a:lnTo>
                    <a:pt x="2559" y="35"/>
                  </a:lnTo>
                  <a:lnTo>
                    <a:pt x="2410" y="61"/>
                  </a:lnTo>
                  <a:lnTo>
                    <a:pt x="2264" y="95"/>
                  </a:lnTo>
                  <a:lnTo>
                    <a:pt x="2121" y="136"/>
                  </a:lnTo>
                  <a:lnTo>
                    <a:pt x="1981" y="183"/>
                  </a:lnTo>
                  <a:lnTo>
                    <a:pt x="1844" y="237"/>
                  </a:lnTo>
                  <a:lnTo>
                    <a:pt x="1710" y="297"/>
                  </a:lnTo>
                  <a:lnTo>
                    <a:pt x="1580" y="364"/>
                  </a:lnTo>
                  <a:lnTo>
                    <a:pt x="1455" y="437"/>
                  </a:lnTo>
                  <a:lnTo>
                    <a:pt x="1332" y="515"/>
                  </a:lnTo>
                  <a:lnTo>
                    <a:pt x="1213" y="599"/>
                  </a:lnTo>
                  <a:lnTo>
                    <a:pt x="1100" y="689"/>
                  </a:lnTo>
                  <a:lnTo>
                    <a:pt x="990" y="783"/>
                  </a:lnTo>
                  <a:lnTo>
                    <a:pt x="885" y="883"/>
                  </a:lnTo>
                  <a:lnTo>
                    <a:pt x="785" y="988"/>
                  </a:lnTo>
                  <a:lnTo>
                    <a:pt x="690" y="1097"/>
                  </a:lnTo>
                  <a:lnTo>
                    <a:pt x="601" y="1210"/>
                  </a:lnTo>
                  <a:lnTo>
                    <a:pt x="516" y="1329"/>
                  </a:lnTo>
                  <a:lnTo>
                    <a:pt x="438" y="1450"/>
                  </a:lnTo>
                  <a:lnTo>
                    <a:pt x="365" y="1577"/>
                  </a:lnTo>
                  <a:lnTo>
                    <a:pt x="298" y="1706"/>
                  </a:lnTo>
                  <a:lnTo>
                    <a:pt x="238" y="1840"/>
                  </a:lnTo>
                  <a:lnTo>
                    <a:pt x="183" y="1976"/>
                  </a:lnTo>
                  <a:lnTo>
                    <a:pt x="136" y="2117"/>
                  </a:lnTo>
                  <a:lnTo>
                    <a:pt x="96" y="2259"/>
                  </a:lnTo>
                  <a:lnTo>
                    <a:pt x="62" y="2405"/>
                  </a:lnTo>
                  <a:lnTo>
                    <a:pt x="36" y="2553"/>
                  </a:lnTo>
                  <a:lnTo>
                    <a:pt x="16" y="2704"/>
                  </a:lnTo>
                  <a:lnTo>
                    <a:pt x="4" y="2856"/>
                  </a:lnTo>
                  <a:lnTo>
                    <a:pt x="0" y="3011"/>
                  </a:lnTo>
                  <a:lnTo>
                    <a:pt x="0" y="3024"/>
                  </a:lnTo>
                  <a:lnTo>
                    <a:pt x="1" y="3037"/>
                  </a:lnTo>
                  <a:lnTo>
                    <a:pt x="3" y="3049"/>
                  </a:lnTo>
                  <a:lnTo>
                    <a:pt x="5" y="3061"/>
                  </a:lnTo>
                  <a:lnTo>
                    <a:pt x="8" y="3073"/>
                  </a:lnTo>
                  <a:lnTo>
                    <a:pt x="11" y="3085"/>
                  </a:lnTo>
                  <a:lnTo>
                    <a:pt x="15" y="3097"/>
                  </a:lnTo>
                  <a:lnTo>
                    <a:pt x="20" y="3108"/>
                  </a:lnTo>
                  <a:lnTo>
                    <a:pt x="25" y="3119"/>
                  </a:lnTo>
                  <a:lnTo>
                    <a:pt x="30" y="3130"/>
                  </a:lnTo>
                  <a:lnTo>
                    <a:pt x="37" y="3141"/>
                  </a:lnTo>
                  <a:lnTo>
                    <a:pt x="44" y="3151"/>
                  </a:lnTo>
                  <a:lnTo>
                    <a:pt x="51" y="3161"/>
                  </a:lnTo>
                  <a:lnTo>
                    <a:pt x="58" y="3171"/>
                  </a:lnTo>
                  <a:lnTo>
                    <a:pt x="66" y="3180"/>
                  </a:lnTo>
                  <a:lnTo>
                    <a:pt x="74" y="3189"/>
                  </a:lnTo>
                  <a:lnTo>
                    <a:pt x="83" y="3197"/>
                  </a:lnTo>
                  <a:lnTo>
                    <a:pt x="92" y="3205"/>
                  </a:lnTo>
                  <a:lnTo>
                    <a:pt x="101" y="3212"/>
                  </a:lnTo>
                  <a:lnTo>
                    <a:pt x="111" y="3219"/>
                  </a:lnTo>
                  <a:lnTo>
                    <a:pt x="121" y="3226"/>
                  </a:lnTo>
                  <a:lnTo>
                    <a:pt x="132" y="3232"/>
                  </a:lnTo>
                  <a:lnTo>
                    <a:pt x="143" y="3237"/>
                  </a:lnTo>
                  <a:lnTo>
                    <a:pt x="154" y="3242"/>
                  </a:lnTo>
                  <a:lnTo>
                    <a:pt x="165" y="3247"/>
                  </a:lnTo>
                  <a:lnTo>
                    <a:pt x="177" y="3251"/>
                  </a:lnTo>
                  <a:lnTo>
                    <a:pt x="189" y="3254"/>
                  </a:lnTo>
                  <a:lnTo>
                    <a:pt x="201" y="3257"/>
                  </a:lnTo>
                  <a:lnTo>
                    <a:pt x="214" y="3259"/>
                  </a:lnTo>
                  <a:lnTo>
                    <a:pt x="227" y="3261"/>
                  </a:lnTo>
                  <a:lnTo>
                    <a:pt x="239" y="3262"/>
                  </a:lnTo>
                  <a:lnTo>
                    <a:pt x="252" y="3262"/>
                  </a:lnTo>
                  <a:lnTo>
                    <a:pt x="265" y="3262"/>
                  </a:lnTo>
                  <a:lnTo>
                    <a:pt x="278" y="3261"/>
                  </a:lnTo>
                  <a:lnTo>
                    <a:pt x="290" y="3259"/>
                  </a:lnTo>
                  <a:lnTo>
                    <a:pt x="302" y="3257"/>
                  </a:lnTo>
                  <a:lnTo>
                    <a:pt x="315" y="3254"/>
                  </a:lnTo>
                  <a:lnTo>
                    <a:pt x="326" y="3251"/>
                  </a:lnTo>
                  <a:lnTo>
                    <a:pt x="338" y="3247"/>
                  </a:lnTo>
                  <a:lnTo>
                    <a:pt x="349" y="3242"/>
                  </a:lnTo>
                  <a:lnTo>
                    <a:pt x="360" y="3237"/>
                  </a:lnTo>
                  <a:lnTo>
                    <a:pt x="371" y="3232"/>
                  </a:lnTo>
                  <a:lnTo>
                    <a:pt x="382" y="3226"/>
                  </a:lnTo>
                  <a:lnTo>
                    <a:pt x="393" y="3219"/>
                  </a:lnTo>
                  <a:lnTo>
                    <a:pt x="403" y="3212"/>
                  </a:lnTo>
                  <a:lnTo>
                    <a:pt x="412" y="3205"/>
                  </a:lnTo>
                  <a:lnTo>
                    <a:pt x="421" y="3197"/>
                  </a:lnTo>
                  <a:lnTo>
                    <a:pt x="430" y="3189"/>
                  </a:lnTo>
                  <a:lnTo>
                    <a:pt x="438" y="3180"/>
                  </a:lnTo>
                  <a:lnTo>
                    <a:pt x="446" y="3171"/>
                  </a:lnTo>
                  <a:lnTo>
                    <a:pt x="453" y="3161"/>
                  </a:lnTo>
                  <a:lnTo>
                    <a:pt x="460" y="3151"/>
                  </a:lnTo>
                  <a:lnTo>
                    <a:pt x="467" y="3141"/>
                  </a:lnTo>
                  <a:lnTo>
                    <a:pt x="473" y="3130"/>
                  </a:lnTo>
                  <a:lnTo>
                    <a:pt x="478" y="3119"/>
                  </a:lnTo>
                  <a:lnTo>
                    <a:pt x="483" y="3108"/>
                  </a:lnTo>
                  <a:lnTo>
                    <a:pt x="488" y="3097"/>
                  </a:lnTo>
                  <a:lnTo>
                    <a:pt x="492" y="3085"/>
                  </a:lnTo>
                  <a:lnTo>
                    <a:pt x="495" y="3073"/>
                  </a:lnTo>
                  <a:lnTo>
                    <a:pt x="498" y="3061"/>
                  </a:lnTo>
                  <a:lnTo>
                    <a:pt x="500" y="3049"/>
                  </a:lnTo>
                  <a:lnTo>
                    <a:pt x="502" y="3037"/>
                  </a:lnTo>
                  <a:lnTo>
                    <a:pt x="503" y="3024"/>
                  </a:lnTo>
                  <a:lnTo>
                    <a:pt x="503" y="3011"/>
                  </a:lnTo>
                  <a:lnTo>
                    <a:pt x="506" y="2882"/>
                  </a:lnTo>
                  <a:lnTo>
                    <a:pt x="516" y="2755"/>
                  </a:lnTo>
                  <a:lnTo>
                    <a:pt x="532" y="2630"/>
                  </a:lnTo>
                  <a:lnTo>
                    <a:pt x="554" y="2506"/>
                  </a:lnTo>
                  <a:lnTo>
                    <a:pt x="583" y="2385"/>
                  </a:lnTo>
                  <a:lnTo>
                    <a:pt x="617" y="2265"/>
                  </a:lnTo>
                  <a:lnTo>
                    <a:pt x="656" y="2149"/>
                  </a:lnTo>
                  <a:lnTo>
                    <a:pt x="701" y="2035"/>
                  </a:lnTo>
                  <a:lnTo>
                    <a:pt x="752" y="1924"/>
                  </a:lnTo>
                  <a:lnTo>
                    <a:pt x="807" y="1816"/>
                  </a:lnTo>
                  <a:lnTo>
                    <a:pt x="867" y="1711"/>
                  </a:lnTo>
                  <a:lnTo>
                    <a:pt x="934" y="1609"/>
                  </a:lnTo>
                  <a:lnTo>
                    <a:pt x="1003" y="1511"/>
                  </a:lnTo>
                  <a:lnTo>
                    <a:pt x="1078" y="1416"/>
                  </a:lnTo>
                  <a:lnTo>
                    <a:pt x="1157" y="1325"/>
                  </a:lnTo>
                  <a:lnTo>
                    <a:pt x="1240" y="1238"/>
                  </a:lnTo>
                  <a:lnTo>
                    <a:pt x="1328" y="1154"/>
                  </a:lnTo>
                  <a:lnTo>
                    <a:pt x="1419" y="1076"/>
                  </a:lnTo>
                  <a:lnTo>
                    <a:pt x="1514" y="1001"/>
                  </a:lnTo>
                  <a:lnTo>
                    <a:pt x="1612" y="931"/>
                  </a:lnTo>
                  <a:lnTo>
                    <a:pt x="1715" y="865"/>
                  </a:lnTo>
                  <a:lnTo>
                    <a:pt x="1820" y="805"/>
                  </a:lnTo>
                  <a:lnTo>
                    <a:pt x="1928" y="750"/>
                  </a:lnTo>
                  <a:lnTo>
                    <a:pt x="2040" y="700"/>
                  </a:lnTo>
                  <a:lnTo>
                    <a:pt x="2154" y="654"/>
                  </a:lnTo>
                  <a:lnTo>
                    <a:pt x="2270" y="615"/>
                  </a:lnTo>
                  <a:lnTo>
                    <a:pt x="2390" y="581"/>
                  </a:lnTo>
                  <a:lnTo>
                    <a:pt x="2512" y="553"/>
                  </a:lnTo>
                  <a:lnTo>
                    <a:pt x="2635" y="531"/>
                  </a:lnTo>
                  <a:lnTo>
                    <a:pt x="2761" y="515"/>
                  </a:lnTo>
                  <a:lnTo>
                    <a:pt x="2889" y="505"/>
                  </a:lnTo>
                  <a:lnTo>
                    <a:pt x="3018" y="502"/>
                  </a:lnTo>
                  <a:lnTo>
                    <a:pt x="3031" y="502"/>
                  </a:lnTo>
                  <a:lnTo>
                    <a:pt x="3044" y="501"/>
                  </a:lnTo>
                  <a:lnTo>
                    <a:pt x="3056" y="499"/>
                  </a:lnTo>
                  <a:lnTo>
                    <a:pt x="3068" y="497"/>
                  </a:lnTo>
                  <a:lnTo>
                    <a:pt x="3080" y="494"/>
                  </a:lnTo>
                  <a:lnTo>
                    <a:pt x="3092" y="491"/>
                  </a:lnTo>
                  <a:lnTo>
                    <a:pt x="3104" y="487"/>
                  </a:lnTo>
                  <a:lnTo>
                    <a:pt x="3115" y="482"/>
                  </a:lnTo>
                  <a:lnTo>
                    <a:pt x="3126" y="477"/>
                  </a:lnTo>
                  <a:lnTo>
                    <a:pt x="3137" y="472"/>
                  </a:lnTo>
                  <a:lnTo>
                    <a:pt x="3148" y="466"/>
                  </a:lnTo>
                  <a:lnTo>
                    <a:pt x="3158" y="459"/>
                  </a:lnTo>
                  <a:lnTo>
                    <a:pt x="3168" y="452"/>
                  </a:lnTo>
                  <a:lnTo>
                    <a:pt x="3177" y="445"/>
                  </a:lnTo>
                  <a:lnTo>
                    <a:pt x="3186" y="437"/>
                  </a:lnTo>
                  <a:lnTo>
                    <a:pt x="3196" y="429"/>
                  </a:lnTo>
                  <a:lnTo>
                    <a:pt x="3204" y="420"/>
                  </a:lnTo>
                  <a:lnTo>
                    <a:pt x="3212" y="411"/>
                  </a:lnTo>
                  <a:lnTo>
                    <a:pt x="3219" y="402"/>
                  </a:lnTo>
                  <a:lnTo>
                    <a:pt x="3226" y="391"/>
                  </a:lnTo>
                  <a:lnTo>
                    <a:pt x="3233" y="381"/>
                  </a:lnTo>
                  <a:lnTo>
                    <a:pt x="3239" y="370"/>
                  </a:lnTo>
                  <a:lnTo>
                    <a:pt x="3244" y="359"/>
                  </a:lnTo>
                  <a:lnTo>
                    <a:pt x="3249" y="348"/>
                  </a:lnTo>
                  <a:lnTo>
                    <a:pt x="3254" y="337"/>
                  </a:lnTo>
                  <a:lnTo>
                    <a:pt x="3258" y="325"/>
                  </a:lnTo>
                  <a:lnTo>
                    <a:pt x="3261" y="314"/>
                  </a:lnTo>
                  <a:lnTo>
                    <a:pt x="3264" y="301"/>
                  </a:lnTo>
                  <a:lnTo>
                    <a:pt x="3266" y="289"/>
                  </a:lnTo>
                  <a:lnTo>
                    <a:pt x="3268" y="277"/>
                  </a:lnTo>
                  <a:lnTo>
                    <a:pt x="3269" y="264"/>
                  </a:lnTo>
                  <a:lnTo>
                    <a:pt x="3269" y="251"/>
                  </a:lnTo>
                  <a:lnTo>
                    <a:pt x="3269" y="238"/>
                  </a:lnTo>
                  <a:lnTo>
                    <a:pt x="3268" y="226"/>
                  </a:lnTo>
                  <a:lnTo>
                    <a:pt x="3266" y="213"/>
                  </a:lnTo>
                  <a:lnTo>
                    <a:pt x="3264" y="201"/>
                  </a:lnTo>
                  <a:lnTo>
                    <a:pt x="3261" y="189"/>
                  </a:lnTo>
                  <a:lnTo>
                    <a:pt x="3258" y="177"/>
                  </a:lnTo>
                  <a:lnTo>
                    <a:pt x="3254" y="165"/>
                  </a:lnTo>
                  <a:lnTo>
                    <a:pt x="3249" y="154"/>
                  </a:lnTo>
                  <a:lnTo>
                    <a:pt x="3244" y="143"/>
                  </a:lnTo>
                  <a:lnTo>
                    <a:pt x="3239" y="132"/>
                  </a:lnTo>
                  <a:lnTo>
                    <a:pt x="3233" y="120"/>
                  </a:lnTo>
                  <a:lnTo>
                    <a:pt x="3226" y="110"/>
                  </a:lnTo>
                  <a:lnTo>
                    <a:pt x="3219" y="100"/>
                  </a:lnTo>
                  <a:lnTo>
                    <a:pt x="3212" y="91"/>
                  </a:lnTo>
                  <a:lnTo>
                    <a:pt x="3204" y="82"/>
                  </a:lnTo>
                  <a:lnTo>
                    <a:pt x="3196" y="73"/>
                  </a:lnTo>
                  <a:lnTo>
                    <a:pt x="3186" y="65"/>
                  </a:lnTo>
                  <a:lnTo>
                    <a:pt x="3177" y="57"/>
                  </a:lnTo>
                  <a:lnTo>
                    <a:pt x="3168" y="50"/>
                  </a:lnTo>
                  <a:lnTo>
                    <a:pt x="3158" y="43"/>
                  </a:lnTo>
                  <a:lnTo>
                    <a:pt x="3148" y="36"/>
                  </a:lnTo>
                  <a:lnTo>
                    <a:pt x="3137" y="30"/>
                  </a:lnTo>
                  <a:lnTo>
                    <a:pt x="3126" y="25"/>
                  </a:lnTo>
                  <a:lnTo>
                    <a:pt x="3115" y="20"/>
                  </a:lnTo>
                  <a:lnTo>
                    <a:pt x="3104" y="15"/>
                  </a:lnTo>
                  <a:lnTo>
                    <a:pt x="3092" y="11"/>
                  </a:lnTo>
                  <a:lnTo>
                    <a:pt x="3080" y="8"/>
                  </a:lnTo>
                  <a:lnTo>
                    <a:pt x="3068" y="5"/>
                  </a:lnTo>
                  <a:lnTo>
                    <a:pt x="3056" y="3"/>
                  </a:lnTo>
                  <a:lnTo>
                    <a:pt x="3044" y="1"/>
                  </a:lnTo>
                  <a:lnTo>
                    <a:pt x="3031" y="0"/>
                  </a:lnTo>
                  <a:lnTo>
                    <a:pt x="30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05" name="ísľïḍé">
              <a:extLst>
                <a:ext uri="{FF2B5EF4-FFF2-40B4-BE49-F238E27FC236}">
                  <a16:creationId xmlns:a16="http://schemas.microsoft.com/office/drawing/2014/main" id="{DCAB98E0-1D4B-4FEA-B493-D589E227D901}"/>
                </a:ext>
              </a:extLst>
            </p:cNvPr>
            <p:cNvSpPr/>
            <p:nvPr/>
          </p:nvSpPr>
          <p:spPr bwMode="auto">
            <a:xfrm>
              <a:off x="8743115" y="289307"/>
              <a:ext cx="459652" cy="611928"/>
            </a:xfrm>
            <a:custGeom>
              <a:avLst/>
              <a:gdLst>
                <a:gd name="T0" fmla="*/ 10946 w 12062"/>
                <a:gd name="T1" fmla="*/ 12419 h 16058"/>
                <a:gd name="T2" fmla="*/ 10253 w 12062"/>
                <a:gd name="T3" fmla="*/ 13775 h 16058"/>
                <a:gd name="T4" fmla="*/ 9063 w 12062"/>
                <a:gd name="T5" fmla="*/ 14707 h 16058"/>
                <a:gd name="T6" fmla="*/ 7539 w 12062"/>
                <a:gd name="T7" fmla="*/ 15054 h 16058"/>
                <a:gd name="T8" fmla="*/ 3155 w 12062"/>
                <a:gd name="T9" fmla="*/ 14778 h 16058"/>
                <a:gd name="T10" fmla="*/ 1920 w 12062"/>
                <a:gd name="T11" fmla="*/ 13902 h 16058"/>
                <a:gd name="T12" fmla="*/ 1164 w 12062"/>
                <a:gd name="T13" fmla="*/ 12585 h 16058"/>
                <a:gd name="T14" fmla="*/ 1005 w 12062"/>
                <a:gd name="T15" fmla="*/ 9534 h 16058"/>
                <a:gd name="T16" fmla="*/ 1044 w 12062"/>
                <a:gd name="T17" fmla="*/ 7834 h 16058"/>
                <a:gd name="T18" fmla="*/ 1170 w 12062"/>
                <a:gd name="T19" fmla="*/ 7658 h 16058"/>
                <a:gd name="T20" fmla="*/ 1358 w 12062"/>
                <a:gd name="T21" fmla="*/ 7550 h 16058"/>
                <a:gd name="T22" fmla="*/ 10554 w 12062"/>
                <a:gd name="T23" fmla="*/ 7527 h 16058"/>
                <a:gd name="T24" fmla="*/ 10772 w 12062"/>
                <a:gd name="T25" fmla="*/ 7576 h 16058"/>
                <a:gd name="T26" fmla="*/ 10942 w 12062"/>
                <a:gd name="T27" fmla="*/ 7710 h 16058"/>
                <a:gd name="T28" fmla="*/ 11041 w 12062"/>
                <a:gd name="T29" fmla="*/ 7904 h 16058"/>
                <a:gd name="T30" fmla="*/ 8041 w 12062"/>
                <a:gd name="T31" fmla="*/ 6524 h 16058"/>
                <a:gd name="T32" fmla="*/ 4111 w 12062"/>
                <a:gd name="T33" fmla="*/ 3919 h 16058"/>
                <a:gd name="T34" fmla="*/ 4543 w 12062"/>
                <a:gd name="T35" fmla="*/ 3166 h 16058"/>
                <a:gd name="T36" fmla="*/ 5248 w 12062"/>
                <a:gd name="T37" fmla="*/ 2667 h 16058"/>
                <a:gd name="T38" fmla="*/ 6135 w 12062"/>
                <a:gd name="T39" fmla="*/ 2512 h 16058"/>
                <a:gd name="T40" fmla="*/ 6989 w 12062"/>
                <a:gd name="T41" fmla="*/ 2751 h 16058"/>
                <a:gd name="T42" fmla="*/ 7642 w 12062"/>
                <a:gd name="T43" fmla="*/ 3315 h 16058"/>
                <a:gd name="T44" fmla="*/ 8000 w 12062"/>
                <a:gd name="T45" fmla="*/ 4112 h 16058"/>
                <a:gd name="T46" fmla="*/ 2584 w 12062"/>
                <a:gd name="T47" fmla="*/ 3809 h 16058"/>
                <a:gd name="T48" fmla="*/ 3212 w 12062"/>
                <a:gd name="T49" fmla="*/ 2415 h 16058"/>
                <a:gd name="T50" fmla="*/ 4354 w 12062"/>
                <a:gd name="T51" fmla="*/ 1427 h 16058"/>
                <a:gd name="T52" fmla="*/ 5850 w 12062"/>
                <a:gd name="T53" fmla="*/ 1009 h 16058"/>
                <a:gd name="T54" fmla="*/ 7400 w 12062"/>
                <a:gd name="T55" fmla="*/ 1280 h 16058"/>
                <a:gd name="T56" fmla="*/ 8635 w 12062"/>
                <a:gd name="T57" fmla="*/ 2155 h 16058"/>
                <a:gd name="T58" fmla="*/ 9391 w 12062"/>
                <a:gd name="T59" fmla="*/ 3472 h 16058"/>
                <a:gd name="T60" fmla="*/ 8544 w 12062"/>
                <a:gd name="T61" fmla="*/ 4518 h 16058"/>
                <a:gd name="T62" fmla="*/ 8297 w 12062"/>
                <a:gd name="T63" fmla="*/ 3430 h 16058"/>
                <a:gd name="T64" fmla="*/ 7629 w 12062"/>
                <a:gd name="T65" fmla="*/ 2581 h 16058"/>
                <a:gd name="T66" fmla="*/ 6659 w 12062"/>
                <a:gd name="T67" fmla="*/ 2088 h 16058"/>
                <a:gd name="T68" fmla="*/ 5524 w 12062"/>
                <a:gd name="T69" fmla="*/ 2059 h 16058"/>
                <a:gd name="T70" fmla="*/ 4527 w 12062"/>
                <a:gd name="T71" fmla="*/ 2507 h 16058"/>
                <a:gd name="T72" fmla="*/ 3822 w 12062"/>
                <a:gd name="T73" fmla="*/ 3322 h 16058"/>
                <a:gd name="T74" fmla="*/ 3521 w 12062"/>
                <a:gd name="T75" fmla="*/ 4389 h 16058"/>
                <a:gd name="T76" fmla="*/ 10502 w 12062"/>
                <a:gd name="T77" fmla="*/ 3829 h 16058"/>
                <a:gd name="T78" fmla="*/ 9782 w 12062"/>
                <a:gd name="T79" fmla="*/ 1991 h 16058"/>
                <a:gd name="T80" fmla="*/ 8376 w 12062"/>
                <a:gd name="T81" fmla="*/ 653 h 16058"/>
                <a:gd name="T82" fmla="*/ 6493 w 12062"/>
                <a:gd name="T83" fmla="*/ 23 h 16058"/>
                <a:gd name="T84" fmla="*/ 4476 w 12062"/>
                <a:gd name="T85" fmla="*/ 274 h 16058"/>
                <a:gd name="T86" fmla="*/ 2833 w 12062"/>
                <a:gd name="T87" fmla="*/ 1323 h 16058"/>
                <a:gd name="T88" fmla="*/ 1782 w 12062"/>
                <a:gd name="T89" fmla="*/ 2964 h 16058"/>
                <a:gd name="T90" fmla="*/ 1430 w 12062"/>
                <a:gd name="T91" fmla="*/ 6526 h 16058"/>
                <a:gd name="T92" fmla="*/ 789 w 12062"/>
                <a:gd name="T93" fmla="*/ 6705 h 16058"/>
                <a:gd name="T94" fmla="*/ 300 w 12062"/>
                <a:gd name="T95" fmla="*/ 7129 h 16058"/>
                <a:gd name="T96" fmla="*/ 30 w 12062"/>
                <a:gd name="T97" fmla="*/ 7726 h 16058"/>
                <a:gd name="T98" fmla="*/ 6 w 12062"/>
                <a:gd name="T99" fmla="*/ 11775 h 16058"/>
                <a:gd name="T100" fmla="*/ 546 w 12062"/>
                <a:gd name="T101" fmla="*/ 13694 h 16058"/>
                <a:gd name="T102" fmla="*/ 1817 w 12062"/>
                <a:gd name="T103" fmla="*/ 15161 h 16058"/>
                <a:gd name="T104" fmla="*/ 3612 w 12062"/>
                <a:gd name="T105" fmla="*/ 15967 h 16058"/>
                <a:gd name="T106" fmla="*/ 8450 w 12062"/>
                <a:gd name="T107" fmla="*/ 15967 h 16058"/>
                <a:gd name="T108" fmla="*/ 10245 w 12062"/>
                <a:gd name="T109" fmla="*/ 15161 h 16058"/>
                <a:gd name="T110" fmla="*/ 11516 w 12062"/>
                <a:gd name="T111" fmla="*/ 13694 h 16058"/>
                <a:gd name="T112" fmla="*/ 12056 w 12062"/>
                <a:gd name="T113" fmla="*/ 11775 h 16058"/>
                <a:gd name="T114" fmla="*/ 12032 w 12062"/>
                <a:gd name="T115" fmla="*/ 7726 h 16058"/>
                <a:gd name="T116" fmla="*/ 11762 w 12062"/>
                <a:gd name="T117" fmla="*/ 7129 h 16058"/>
                <a:gd name="T118" fmla="*/ 11273 w 12062"/>
                <a:gd name="T119" fmla="*/ 6705 h 16058"/>
                <a:gd name="T120" fmla="*/ 10632 w 12062"/>
                <a:gd name="T121" fmla="*/ 6526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062" h="16058">
                  <a:moveTo>
                    <a:pt x="11057" y="9534"/>
                  </a:moveTo>
                  <a:lnTo>
                    <a:pt x="11057" y="10036"/>
                  </a:lnTo>
                  <a:lnTo>
                    <a:pt x="11057" y="11040"/>
                  </a:lnTo>
                  <a:lnTo>
                    <a:pt x="11057" y="11542"/>
                  </a:lnTo>
                  <a:lnTo>
                    <a:pt x="11052" y="11722"/>
                  </a:lnTo>
                  <a:lnTo>
                    <a:pt x="11039" y="11900"/>
                  </a:lnTo>
                  <a:lnTo>
                    <a:pt x="11017" y="12076"/>
                  </a:lnTo>
                  <a:lnTo>
                    <a:pt x="10985" y="12248"/>
                  </a:lnTo>
                  <a:lnTo>
                    <a:pt x="10946" y="12419"/>
                  </a:lnTo>
                  <a:lnTo>
                    <a:pt x="10898" y="12585"/>
                  </a:lnTo>
                  <a:lnTo>
                    <a:pt x="10843" y="12748"/>
                  </a:lnTo>
                  <a:lnTo>
                    <a:pt x="10780" y="12908"/>
                  </a:lnTo>
                  <a:lnTo>
                    <a:pt x="10709" y="13063"/>
                  </a:lnTo>
                  <a:lnTo>
                    <a:pt x="10632" y="13215"/>
                  </a:lnTo>
                  <a:lnTo>
                    <a:pt x="10547" y="13361"/>
                  </a:lnTo>
                  <a:lnTo>
                    <a:pt x="10455" y="13504"/>
                  </a:lnTo>
                  <a:lnTo>
                    <a:pt x="10357" y="13642"/>
                  </a:lnTo>
                  <a:lnTo>
                    <a:pt x="10253" y="13775"/>
                  </a:lnTo>
                  <a:lnTo>
                    <a:pt x="10142" y="13902"/>
                  </a:lnTo>
                  <a:lnTo>
                    <a:pt x="10026" y="14025"/>
                  </a:lnTo>
                  <a:lnTo>
                    <a:pt x="9903" y="14141"/>
                  </a:lnTo>
                  <a:lnTo>
                    <a:pt x="9775" y="14251"/>
                  </a:lnTo>
                  <a:lnTo>
                    <a:pt x="9643" y="14356"/>
                  </a:lnTo>
                  <a:lnTo>
                    <a:pt x="9504" y="14453"/>
                  </a:lnTo>
                  <a:lnTo>
                    <a:pt x="9361" y="14546"/>
                  </a:lnTo>
                  <a:lnTo>
                    <a:pt x="9214" y="14630"/>
                  </a:lnTo>
                  <a:lnTo>
                    <a:pt x="9063" y="14707"/>
                  </a:lnTo>
                  <a:lnTo>
                    <a:pt x="8907" y="14778"/>
                  </a:lnTo>
                  <a:lnTo>
                    <a:pt x="8747" y="14841"/>
                  </a:lnTo>
                  <a:lnTo>
                    <a:pt x="8583" y="14896"/>
                  </a:lnTo>
                  <a:lnTo>
                    <a:pt x="8416" y="14944"/>
                  </a:lnTo>
                  <a:lnTo>
                    <a:pt x="8246" y="14983"/>
                  </a:lnTo>
                  <a:lnTo>
                    <a:pt x="8073" y="15014"/>
                  </a:lnTo>
                  <a:lnTo>
                    <a:pt x="7898" y="15036"/>
                  </a:lnTo>
                  <a:lnTo>
                    <a:pt x="7720" y="15049"/>
                  </a:lnTo>
                  <a:lnTo>
                    <a:pt x="7539" y="15054"/>
                  </a:lnTo>
                  <a:lnTo>
                    <a:pt x="4523" y="15054"/>
                  </a:lnTo>
                  <a:lnTo>
                    <a:pt x="4342" y="15049"/>
                  </a:lnTo>
                  <a:lnTo>
                    <a:pt x="4164" y="15036"/>
                  </a:lnTo>
                  <a:lnTo>
                    <a:pt x="3989" y="15014"/>
                  </a:lnTo>
                  <a:lnTo>
                    <a:pt x="3816" y="14983"/>
                  </a:lnTo>
                  <a:lnTo>
                    <a:pt x="3645" y="14944"/>
                  </a:lnTo>
                  <a:lnTo>
                    <a:pt x="3478" y="14896"/>
                  </a:lnTo>
                  <a:lnTo>
                    <a:pt x="3315" y="14841"/>
                  </a:lnTo>
                  <a:lnTo>
                    <a:pt x="3155" y="14778"/>
                  </a:lnTo>
                  <a:lnTo>
                    <a:pt x="2999" y="14707"/>
                  </a:lnTo>
                  <a:lnTo>
                    <a:pt x="2848" y="14630"/>
                  </a:lnTo>
                  <a:lnTo>
                    <a:pt x="2701" y="14546"/>
                  </a:lnTo>
                  <a:lnTo>
                    <a:pt x="2558" y="14453"/>
                  </a:lnTo>
                  <a:lnTo>
                    <a:pt x="2419" y="14356"/>
                  </a:lnTo>
                  <a:lnTo>
                    <a:pt x="2287" y="14251"/>
                  </a:lnTo>
                  <a:lnTo>
                    <a:pt x="2159" y="14141"/>
                  </a:lnTo>
                  <a:lnTo>
                    <a:pt x="2036" y="14025"/>
                  </a:lnTo>
                  <a:lnTo>
                    <a:pt x="1920" y="13902"/>
                  </a:lnTo>
                  <a:lnTo>
                    <a:pt x="1809" y="13775"/>
                  </a:lnTo>
                  <a:lnTo>
                    <a:pt x="1705" y="13642"/>
                  </a:lnTo>
                  <a:lnTo>
                    <a:pt x="1607" y="13504"/>
                  </a:lnTo>
                  <a:lnTo>
                    <a:pt x="1515" y="13361"/>
                  </a:lnTo>
                  <a:lnTo>
                    <a:pt x="1430" y="13215"/>
                  </a:lnTo>
                  <a:lnTo>
                    <a:pt x="1353" y="13063"/>
                  </a:lnTo>
                  <a:lnTo>
                    <a:pt x="1282" y="12908"/>
                  </a:lnTo>
                  <a:lnTo>
                    <a:pt x="1219" y="12748"/>
                  </a:lnTo>
                  <a:lnTo>
                    <a:pt x="1164" y="12585"/>
                  </a:lnTo>
                  <a:lnTo>
                    <a:pt x="1116" y="12419"/>
                  </a:lnTo>
                  <a:lnTo>
                    <a:pt x="1077" y="12248"/>
                  </a:lnTo>
                  <a:lnTo>
                    <a:pt x="1045" y="12076"/>
                  </a:lnTo>
                  <a:lnTo>
                    <a:pt x="1023" y="11900"/>
                  </a:lnTo>
                  <a:lnTo>
                    <a:pt x="1010" y="11722"/>
                  </a:lnTo>
                  <a:lnTo>
                    <a:pt x="1005" y="11542"/>
                  </a:lnTo>
                  <a:lnTo>
                    <a:pt x="1005" y="11040"/>
                  </a:lnTo>
                  <a:lnTo>
                    <a:pt x="1005" y="10036"/>
                  </a:lnTo>
                  <a:lnTo>
                    <a:pt x="1005" y="9534"/>
                  </a:lnTo>
                  <a:lnTo>
                    <a:pt x="1005" y="8029"/>
                  </a:lnTo>
                  <a:lnTo>
                    <a:pt x="1006" y="8003"/>
                  </a:lnTo>
                  <a:lnTo>
                    <a:pt x="1008" y="7978"/>
                  </a:lnTo>
                  <a:lnTo>
                    <a:pt x="1011" y="7953"/>
                  </a:lnTo>
                  <a:lnTo>
                    <a:pt x="1015" y="7928"/>
                  </a:lnTo>
                  <a:lnTo>
                    <a:pt x="1021" y="7904"/>
                  </a:lnTo>
                  <a:lnTo>
                    <a:pt x="1027" y="7879"/>
                  </a:lnTo>
                  <a:lnTo>
                    <a:pt x="1035" y="7856"/>
                  </a:lnTo>
                  <a:lnTo>
                    <a:pt x="1044" y="7834"/>
                  </a:lnTo>
                  <a:lnTo>
                    <a:pt x="1054" y="7811"/>
                  </a:lnTo>
                  <a:lnTo>
                    <a:pt x="1065" y="7790"/>
                  </a:lnTo>
                  <a:lnTo>
                    <a:pt x="1078" y="7769"/>
                  </a:lnTo>
                  <a:lnTo>
                    <a:pt x="1091" y="7749"/>
                  </a:lnTo>
                  <a:lnTo>
                    <a:pt x="1105" y="7729"/>
                  </a:lnTo>
                  <a:lnTo>
                    <a:pt x="1120" y="7710"/>
                  </a:lnTo>
                  <a:lnTo>
                    <a:pt x="1136" y="7692"/>
                  </a:lnTo>
                  <a:lnTo>
                    <a:pt x="1152" y="7675"/>
                  </a:lnTo>
                  <a:lnTo>
                    <a:pt x="1170" y="7658"/>
                  </a:lnTo>
                  <a:lnTo>
                    <a:pt x="1188" y="7642"/>
                  </a:lnTo>
                  <a:lnTo>
                    <a:pt x="1207" y="7627"/>
                  </a:lnTo>
                  <a:lnTo>
                    <a:pt x="1226" y="7612"/>
                  </a:lnTo>
                  <a:lnTo>
                    <a:pt x="1247" y="7599"/>
                  </a:lnTo>
                  <a:lnTo>
                    <a:pt x="1269" y="7587"/>
                  </a:lnTo>
                  <a:lnTo>
                    <a:pt x="1290" y="7576"/>
                  </a:lnTo>
                  <a:lnTo>
                    <a:pt x="1312" y="7566"/>
                  </a:lnTo>
                  <a:lnTo>
                    <a:pt x="1335" y="7557"/>
                  </a:lnTo>
                  <a:lnTo>
                    <a:pt x="1358" y="7550"/>
                  </a:lnTo>
                  <a:lnTo>
                    <a:pt x="1382" y="7543"/>
                  </a:lnTo>
                  <a:lnTo>
                    <a:pt x="1406" y="7537"/>
                  </a:lnTo>
                  <a:lnTo>
                    <a:pt x="1431" y="7533"/>
                  </a:lnTo>
                  <a:lnTo>
                    <a:pt x="1456" y="7530"/>
                  </a:lnTo>
                  <a:lnTo>
                    <a:pt x="1482" y="7528"/>
                  </a:lnTo>
                  <a:lnTo>
                    <a:pt x="1508" y="7527"/>
                  </a:lnTo>
                  <a:lnTo>
                    <a:pt x="2513" y="7527"/>
                  </a:lnTo>
                  <a:lnTo>
                    <a:pt x="9549" y="7527"/>
                  </a:lnTo>
                  <a:lnTo>
                    <a:pt x="10554" y="7527"/>
                  </a:lnTo>
                  <a:lnTo>
                    <a:pt x="10580" y="7528"/>
                  </a:lnTo>
                  <a:lnTo>
                    <a:pt x="10606" y="7530"/>
                  </a:lnTo>
                  <a:lnTo>
                    <a:pt x="10631" y="7533"/>
                  </a:lnTo>
                  <a:lnTo>
                    <a:pt x="10656" y="7537"/>
                  </a:lnTo>
                  <a:lnTo>
                    <a:pt x="10680" y="7543"/>
                  </a:lnTo>
                  <a:lnTo>
                    <a:pt x="10704" y="7550"/>
                  </a:lnTo>
                  <a:lnTo>
                    <a:pt x="10727" y="7557"/>
                  </a:lnTo>
                  <a:lnTo>
                    <a:pt x="10750" y="7566"/>
                  </a:lnTo>
                  <a:lnTo>
                    <a:pt x="10772" y="7576"/>
                  </a:lnTo>
                  <a:lnTo>
                    <a:pt x="10793" y="7587"/>
                  </a:lnTo>
                  <a:lnTo>
                    <a:pt x="10815" y="7599"/>
                  </a:lnTo>
                  <a:lnTo>
                    <a:pt x="10836" y="7612"/>
                  </a:lnTo>
                  <a:lnTo>
                    <a:pt x="10855" y="7627"/>
                  </a:lnTo>
                  <a:lnTo>
                    <a:pt x="10874" y="7642"/>
                  </a:lnTo>
                  <a:lnTo>
                    <a:pt x="10892" y="7658"/>
                  </a:lnTo>
                  <a:lnTo>
                    <a:pt x="10909" y="7675"/>
                  </a:lnTo>
                  <a:lnTo>
                    <a:pt x="10926" y="7692"/>
                  </a:lnTo>
                  <a:lnTo>
                    <a:pt x="10942" y="7710"/>
                  </a:lnTo>
                  <a:lnTo>
                    <a:pt x="10957" y="7729"/>
                  </a:lnTo>
                  <a:lnTo>
                    <a:pt x="10971" y="7749"/>
                  </a:lnTo>
                  <a:lnTo>
                    <a:pt x="10984" y="7769"/>
                  </a:lnTo>
                  <a:lnTo>
                    <a:pt x="10997" y="7790"/>
                  </a:lnTo>
                  <a:lnTo>
                    <a:pt x="11008" y="7811"/>
                  </a:lnTo>
                  <a:lnTo>
                    <a:pt x="11018" y="7834"/>
                  </a:lnTo>
                  <a:lnTo>
                    <a:pt x="11027" y="7856"/>
                  </a:lnTo>
                  <a:lnTo>
                    <a:pt x="11035" y="7879"/>
                  </a:lnTo>
                  <a:lnTo>
                    <a:pt x="11041" y="7904"/>
                  </a:lnTo>
                  <a:lnTo>
                    <a:pt x="11047" y="7928"/>
                  </a:lnTo>
                  <a:lnTo>
                    <a:pt x="11051" y="7953"/>
                  </a:lnTo>
                  <a:lnTo>
                    <a:pt x="11054" y="7978"/>
                  </a:lnTo>
                  <a:lnTo>
                    <a:pt x="11056" y="8003"/>
                  </a:lnTo>
                  <a:lnTo>
                    <a:pt x="11057" y="8029"/>
                  </a:lnTo>
                  <a:lnTo>
                    <a:pt x="11057" y="9534"/>
                  </a:lnTo>
                  <a:close/>
                  <a:moveTo>
                    <a:pt x="8041" y="4516"/>
                  </a:moveTo>
                  <a:lnTo>
                    <a:pt x="8041" y="4518"/>
                  </a:lnTo>
                  <a:lnTo>
                    <a:pt x="8041" y="6524"/>
                  </a:lnTo>
                  <a:lnTo>
                    <a:pt x="4021" y="6524"/>
                  </a:lnTo>
                  <a:lnTo>
                    <a:pt x="4021" y="4518"/>
                  </a:lnTo>
                  <a:lnTo>
                    <a:pt x="4021" y="4516"/>
                  </a:lnTo>
                  <a:lnTo>
                    <a:pt x="4024" y="4413"/>
                  </a:lnTo>
                  <a:lnTo>
                    <a:pt x="4031" y="4312"/>
                  </a:lnTo>
                  <a:lnTo>
                    <a:pt x="4044" y="4210"/>
                  </a:lnTo>
                  <a:lnTo>
                    <a:pt x="4062" y="4112"/>
                  </a:lnTo>
                  <a:lnTo>
                    <a:pt x="4084" y="4015"/>
                  </a:lnTo>
                  <a:lnTo>
                    <a:pt x="4111" y="3919"/>
                  </a:lnTo>
                  <a:lnTo>
                    <a:pt x="4142" y="3826"/>
                  </a:lnTo>
                  <a:lnTo>
                    <a:pt x="4178" y="3735"/>
                  </a:lnTo>
                  <a:lnTo>
                    <a:pt x="4219" y="3646"/>
                  </a:lnTo>
                  <a:lnTo>
                    <a:pt x="4263" y="3560"/>
                  </a:lnTo>
                  <a:lnTo>
                    <a:pt x="4312" y="3476"/>
                  </a:lnTo>
                  <a:lnTo>
                    <a:pt x="4364" y="3394"/>
                  </a:lnTo>
                  <a:lnTo>
                    <a:pt x="4420" y="3315"/>
                  </a:lnTo>
                  <a:lnTo>
                    <a:pt x="4480" y="3240"/>
                  </a:lnTo>
                  <a:lnTo>
                    <a:pt x="4543" y="3166"/>
                  </a:lnTo>
                  <a:lnTo>
                    <a:pt x="4610" y="3097"/>
                  </a:lnTo>
                  <a:lnTo>
                    <a:pt x="4679" y="3031"/>
                  </a:lnTo>
                  <a:lnTo>
                    <a:pt x="4752" y="2968"/>
                  </a:lnTo>
                  <a:lnTo>
                    <a:pt x="4828" y="2908"/>
                  </a:lnTo>
                  <a:lnTo>
                    <a:pt x="4907" y="2852"/>
                  </a:lnTo>
                  <a:lnTo>
                    <a:pt x="4989" y="2800"/>
                  </a:lnTo>
                  <a:lnTo>
                    <a:pt x="5073" y="2751"/>
                  </a:lnTo>
                  <a:lnTo>
                    <a:pt x="5160" y="2707"/>
                  </a:lnTo>
                  <a:lnTo>
                    <a:pt x="5248" y="2667"/>
                  </a:lnTo>
                  <a:lnTo>
                    <a:pt x="5339" y="2631"/>
                  </a:lnTo>
                  <a:lnTo>
                    <a:pt x="5433" y="2599"/>
                  </a:lnTo>
                  <a:lnTo>
                    <a:pt x="5528" y="2572"/>
                  </a:lnTo>
                  <a:lnTo>
                    <a:pt x="5626" y="2550"/>
                  </a:lnTo>
                  <a:lnTo>
                    <a:pt x="5724" y="2532"/>
                  </a:lnTo>
                  <a:lnTo>
                    <a:pt x="5825" y="2519"/>
                  </a:lnTo>
                  <a:lnTo>
                    <a:pt x="5927" y="2512"/>
                  </a:lnTo>
                  <a:lnTo>
                    <a:pt x="6031" y="2509"/>
                  </a:lnTo>
                  <a:lnTo>
                    <a:pt x="6135" y="2512"/>
                  </a:lnTo>
                  <a:lnTo>
                    <a:pt x="6236" y="2519"/>
                  </a:lnTo>
                  <a:lnTo>
                    <a:pt x="6338" y="2532"/>
                  </a:lnTo>
                  <a:lnTo>
                    <a:pt x="6436" y="2550"/>
                  </a:lnTo>
                  <a:lnTo>
                    <a:pt x="6534" y="2572"/>
                  </a:lnTo>
                  <a:lnTo>
                    <a:pt x="6629" y="2599"/>
                  </a:lnTo>
                  <a:lnTo>
                    <a:pt x="6723" y="2631"/>
                  </a:lnTo>
                  <a:lnTo>
                    <a:pt x="6813" y="2667"/>
                  </a:lnTo>
                  <a:lnTo>
                    <a:pt x="6902" y="2707"/>
                  </a:lnTo>
                  <a:lnTo>
                    <a:pt x="6989" y="2751"/>
                  </a:lnTo>
                  <a:lnTo>
                    <a:pt x="7073" y="2800"/>
                  </a:lnTo>
                  <a:lnTo>
                    <a:pt x="7155" y="2852"/>
                  </a:lnTo>
                  <a:lnTo>
                    <a:pt x="7234" y="2908"/>
                  </a:lnTo>
                  <a:lnTo>
                    <a:pt x="7310" y="2968"/>
                  </a:lnTo>
                  <a:lnTo>
                    <a:pt x="7383" y="3031"/>
                  </a:lnTo>
                  <a:lnTo>
                    <a:pt x="7452" y="3097"/>
                  </a:lnTo>
                  <a:lnTo>
                    <a:pt x="7519" y="3166"/>
                  </a:lnTo>
                  <a:lnTo>
                    <a:pt x="7582" y="3240"/>
                  </a:lnTo>
                  <a:lnTo>
                    <a:pt x="7642" y="3315"/>
                  </a:lnTo>
                  <a:lnTo>
                    <a:pt x="7698" y="3394"/>
                  </a:lnTo>
                  <a:lnTo>
                    <a:pt x="7750" y="3476"/>
                  </a:lnTo>
                  <a:lnTo>
                    <a:pt x="7799" y="3560"/>
                  </a:lnTo>
                  <a:lnTo>
                    <a:pt x="7843" y="3646"/>
                  </a:lnTo>
                  <a:lnTo>
                    <a:pt x="7884" y="3735"/>
                  </a:lnTo>
                  <a:lnTo>
                    <a:pt x="7920" y="3826"/>
                  </a:lnTo>
                  <a:lnTo>
                    <a:pt x="7951" y="3919"/>
                  </a:lnTo>
                  <a:lnTo>
                    <a:pt x="7978" y="4015"/>
                  </a:lnTo>
                  <a:lnTo>
                    <a:pt x="8000" y="4112"/>
                  </a:lnTo>
                  <a:lnTo>
                    <a:pt x="8018" y="4210"/>
                  </a:lnTo>
                  <a:lnTo>
                    <a:pt x="8031" y="4312"/>
                  </a:lnTo>
                  <a:lnTo>
                    <a:pt x="8038" y="4413"/>
                  </a:lnTo>
                  <a:lnTo>
                    <a:pt x="8041" y="4516"/>
                  </a:lnTo>
                  <a:close/>
                  <a:moveTo>
                    <a:pt x="2513" y="4516"/>
                  </a:moveTo>
                  <a:lnTo>
                    <a:pt x="2517" y="4336"/>
                  </a:lnTo>
                  <a:lnTo>
                    <a:pt x="2531" y="4157"/>
                  </a:lnTo>
                  <a:lnTo>
                    <a:pt x="2553" y="3981"/>
                  </a:lnTo>
                  <a:lnTo>
                    <a:pt x="2584" y="3809"/>
                  </a:lnTo>
                  <a:lnTo>
                    <a:pt x="2623" y="3638"/>
                  </a:lnTo>
                  <a:lnTo>
                    <a:pt x="2671" y="3472"/>
                  </a:lnTo>
                  <a:lnTo>
                    <a:pt x="2726" y="3309"/>
                  </a:lnTo>
                  <a:lnTo>
                    <a:pt x="2789" y="3149"/>
                  </a:lnTo>
                  <a:lnTo>
                    <a:pt x="2860" y="2994"/>
                  </a:lnTo>
                  <a:lnTo>
                    <a:pt x="2937" y="2842"/>
                  </a:lnTo>
                  <a:lnTo>
                    <a:pt x="3023" y="2695"/>
                  </a:lnTo>
                  <a:lnTo>
                    <a:pt x="3114" y="2552"/>
                  </a:lnTo>
                  <a:lnTo>
                    <a:pt x="3212" y="2415"/>
                  </a:lnTo>
                  <a:lnTo>
                    <a:pt x="3316" y="2282"/>
                  </a:lnTo>
                  <a:lnTo>
                    <a:pt x="3427" y="2155"/>
                  </a:lnTo>
                  <a:lnTo>
                    <a:pt x="3543" y="2032"/>
                  </a:lnTo>
                  <a:lnTo>
                    <a:pt x="3666" y="1916"/>
                  </a:lnTo>
                  <a:lnTo>
                    <a:pt x="3793" y="1806"/>
                  </a:lnTo>
                  <a:lnTo>
                    <a:pt x="3926" y="1701"/>
                  </a:lnTo>
                  <a:lnTo>
                    <a:pt x="4064" y="1604"/>
                  </a:lnTo>
                  <a:lnTo>
                    <a:pt x="4207" y="1512"/>
                  </a:lnTo>
                  <a:lnTo>
                    <a:pt x="4354" y="1427"/>
                  </a:lnTo>
                  <a:lnTo>
                    <a:pt x="4505" y="1350"/>
                  </a:lnTo>
                  <a:lnTo>
                    <a:pt x="4662" y="1280"/>
                  </a:lnTo>
                  <a:lnTo>
                    <a:pt x="4821" y="1216"/>
                  </a:lnTo>
                  <a:lnTo>
                    <a:pt x="4985" y="1161"/>
                  </a:lnTo>
                  <a:lnTo>
                    <a:pt x="5151" y="1114"/>
                  </a:lnTo>
                  <a:lnTo>
                    <a:pt x="5322" y="1075"/>
                  </a:lnTo>
                  <a:lnTo>
                    <a:pt x="5495" y="1044"/>
                  </a:lnTo>
                  <a:lnTo>
                    <a:pt x="5671" y="1022"/>
                  </a:lnTo>
                  <a:lnTo>
                    <a:pt x="5850" y="1009"/>
                  </a:lnTo>
                  <a:lnTo>
                    <a:pt x="6031" y="1004"/>
                  </a:lnTo>
                  <a:lnTo>
                    <a:pt x="6212" y="1009"/>
                  </a:lnTo>
                  <a:lnTo>
                    <a:pt x="6391" y="1022"/>
                  </a:lnTo>
                  <a:lnTo>
                    <a:pt x="6567" y="1044"/>
                  </a:lnTo>
                  <a:lnTo>
                    <a:pt x="6740" y="1075"/>
                  </a:lnTo>
                  <a:lnTo>
                    <a:pt x="6911" y="1114"/>
                  </a:lnTo>
                  <a:lnTo>
                    <a:pt x="7077" y="1161"/>
                  </a:lnTo>
                  <a:lnTo>
                    <a:pt x="7240" y="1216"/>
                  </a:lnTo>
                  <a:lnTo>
                    <a:pt x="7400" y="1280"/>
                  </a:lnTo>
                  <a:lnTo>
                    <a:pt x="7556" y="1350"/>
                  </a:lnTo>
                  <a:lnTo>
                    <a:pt x="7708" y="1427"/>
                  </a:lnTo>
                  <a:lnTo>
                    <a:pt x="7855" y="1512"/>
                  </a:lnTo>
                  <a:lnTo>
                    <a:pt x="7998" y="1604"/>
                  </a:lnTo>
                  <a:lnTo>
                    <a:pt x="8136" y="1701"/>
                  </a:lnTo>
                  <a:lnTo>
                    <a:pt x="8269" y="1806"/>
                  </a:lnTo>
                  <a:lnTo>
                    <a:pt x="8396" y="1916"/>
                  </a:lnTo>
                  <a:lnTo>
                    <a:pt x="8519" y="2032"/>
                  </a:lnTo>
                  <a:lnTo>
                    <a:pt x="8635" y="2155"/>
                  </a:lnTo>
                  <a:lnTo>
                    <a:pt x="8746" y="2282"/>
                  </a:lnTo>
                  <a:lnTo>
                    <a:pt x="8850" y="2415"/>
                  </a:lnTo>
                  <a:lnTo>
                    <a:pt x="8948" y="2552"/>
                  </a:lnTo>
                  <a:lnTo>
                    <a:pt x="9039" y="2695"/>
                  </a:lnTo>
                  <a:lnTo>
                    <a:pt x="9125" y="2842"/>
                  </a:lnTo>
                  <a:lnTo>
                    <a:pt x="9202" y="2994"/>
                  </a:lnTo>
                  <a:lnTo>
                    <a:pt x="9273" y="3149"/>
                  </a:lnTo>
                  <a:lnTo>
                    <a:pt x="9336" y="3309"/>
                  </a:lnTo>
                  <a:lnTo>
                    <a:pt x="9391" y="3472"/>
                  </a:lnTo>
                  <a:lnTo>
                    <a:pt x="9439" y="3638"/>
                  </a:lnTo>
                  <a:lnTo>
                    <a:pt x="9478" y="3809"/>
                  </a:lnTo>
                  <a:lnTo>
                    <a:pt x="9509" y="3981"/>
                  </a:lnTo>
                  <a:lnTo>
                    <a:pt x="9531" y="4157"/>
                  </a:lnTo>
                  <a:lnTo>
                    <a:pt x="9544" y="4336"/>
                  </a:lnTo>
                  <a:lnTo>
                    <a:pt x="9549" y="4516"/>
                  </a:lnTo>
                  <a:lnTo>
                    <a:pt x="9549" y="6524"/>
                  </a:lnTo>
                  <a:lnTo>
                    <a:pt x="8544" y="6524"/>
                  </a:lnTo>
                  <a:lnTo>
                    <a:pt x="8544" y="4518"/>
                  </a:lnTo>
                  <a:lnTo>
                    <a:pt x="8541" y="4389"/>
                  </a:lnTo>
                  <a:lnTo>
                    <a:pt x="8531" y="4261"/>
                  </a:lnTo>
                  <a:lnTo>
                    <a:pt x="8515" y="4136"/>
                  </a:lnTo>
                  <a:lnTo>
                    <a:pt x="8493" y="4012"/>
                  </a:lnTo>
                  <a:lnTo>
                    <a:pt x="8465" y="3891"/>
                  </a:lnTo>
                  <a:lnTo>
                    <a:pt x="8431" y="3772"/>
                  </a:lnTo>
                  <a:lnTo>
                    <a:pt x="8391" y="3655"/>
                  </a:lnTo>
                  <a:lnTo>
                    <a:pt x="8347" y="3541"/>
                  </a:lnTo>
                  <a:lnTo>
                    <a:pt x="8297" y="3430"/>
                  </a:lnTo>
                  <a:lnTo>
                    <a:pt x="8240" y="3322"/>
                  </a:lnTo>
                  <a:lnTo>
                    <a:pt x="8180" y="3217"/>
                  </a:lnTo>
                  <a:lnTo>
                    <a:pt x="8115" y="3115"/>
                  </a:lnTo>
                  <a:lnTo>
                    <a:pt x="8044" y="3017"/>
                  </a:lnTo>
                  <a:lnTo>
                    <a:pt x="7970" y="2922"/>
                  </a:lnTo>
                  <a:lnTo>
                    <a:pt x="7892" y="2830"/>
                  </a:lnTo>
                  <a:lnTo>
                    <a:pt x="7808" y="2744"/>
                  </a:lnTo>
                  <a:lnTo>
                    <a:pt x="7721" y="2661"/>
                  </a:lnTo>
                  <a:lnTo>
                    <a:pt x="7629" y="2581"/>
                  </a:lnTo>
                  <a:lnTo>
                    <a:pt x="7535" y="2507"/>
                  </a:lnTo>
                  <a:lnTo>
                    <a:pt x="7436" y="2437"/>
                  </a:lnTo>
                  <a:lnTo>
                    <a:pt x="7334" y="2372"/>
                  </a:lnTo>
                  <a:lnTo>
                    <a:pt x="7229" y="2311"/>
                  </a:lnTo>
                  <a:lnTo>
                    <a:pt x="7121" y="2256"/>
                  </a:lnTo>
                  <a:lnTo>
                    <a:pt x="7009" y="2206"/>
                  </a:lnTo>
                  <a:lnTo>
                    <a:pt x="6895" y="2161"/>
                  </a:lnTo>
                  <a:lnTo>
                    <a:pt x="6779" y="2122"/>
                  </a:lnTo>
                  <a:lnTo>
                    <a:pt x="6659" y="2088"/>
                  </a:lnTo>
                  <a:lnTo>
                    <a:pt x="6538" y="2059"/>
                  </a:lnTo>
                  <a:lnTo>
                    <a:pt x="6414" y="2037"/>
                  </a:lnTo>
                  <a:lnTo>
                    <a:pt x="6288" y="2021"/>
                  </a:lnTo>
                  <a:lnTo>
                    <a:pt x="6161" y="2012"/>
                  </a:lnTo>
                  <a:lnTo>
                    <a:pt x="6031" y="2009"/>
                  </a:lnTo>
                  <a:lnTo>
                    <a:pt x="5901" y="2012"/>
                  </a:lnTo>
                  <a:lnTo>
                    <a:pt x="5774" y="2021"/>
                  </a:lnTo>
                  <a:lnTo>
                    <a:pt x="5648" y="2037"/>
                  </a:lnTo>
                  <a:lnTo>
                    <a:pt x="5524" y="2059"/>
                  </a:lnTo>
                  <a:lnTo>
                    <a:pt x="5403" y="2088"/>
                  </a:lnTo>
                  <a:lnTo>
                    <a:pt x="5283" y="2122"/>
                  </a:lnTo>
                  <a:lnTo>
                    <a:pt x="5167" y="2161"/>
                  </a:lnTo>
                  <a:lnTo>
                    <a:pt x="5053" y="2206"/>
                  </a:lnTo>
                  <a:lnTo>
                    <a:pt x="4941" y="2256"/>
                  </a:lnTo>
                  <a:lnTo>
                    <a:pt x="4833" y="2311"/>
                  </a:lnTo>
                  <a:lnTo>
                    <a:pt x="4727" y="2372"/>
                  </a:lnTo>
                  <a:lnTo>
                    <a:pt x="4626" y="2437"/>
                  </a:lnTo>
                  <a:lnTo>
                    <a:pt x="4527" y="2507"/>
                  </a:lnTo>
                  <a:lnTo>
                    <a:pt x="4433" y="2581"/>
                  </a:lnTo>
                  <a:lnTo>
                    <a:pt x="4341" y="2661"/>
                  </a:lnTo>
                  <a:lnTo>
                    <a:pt x="4254" y="2744"/>
                  </a:lnTo>
                  <a:lnTo>
                    <a:pt x="4170" y="2830"/>
                  </a:lnTo>
                  <a:lnTo>
                    <a:pt x="4092" y="2922"/>
                  </a:lnTo>
                  <a:lnTo>
                    <a:pt x="4017" y="3017"/>
                  </a:lnTo>
                  <a:lnTo>
                    <a:pt x="3947" y="3115"/>
                  </a:lnTo>
                  <a:lnTo>
                    <a:pt x="3882" y="3217"/>
                  </a:lnTo>
                  <a:lnTo>
                    <a:pt x="3822" y="3322"/>
                  </a:lnTo>
                  <a:lnTo>
                    <a:pt x="3765" y="3430"/>
                  </a:lnTo>
                  <a:lnTo>
                    <a:pt x="3715" y="3541"/>
                  </a:lnTo>
                  <a:lnTo>
                    <a:pt x="3671" y="3655"/>
                  </a:lnTo>
                  <a:lnTo>
                    <a:pt x="3631" y="3772"/>
                  </a:lnTo>
                  <a:lnTo>
                    <a:pt x="3597" y="3891"/>
                  </a:lnTo>
                  <a:lnTo>
                    <a:pt x="3569" y="4012"/>
                  </a:lnTo>
                  <a:lnTo>
                    <a:pt x="3547" y="4136"/>
                  </a:lnTo>
                  <a:lnTo>
                    <a:pt x="3531" y="4261"/>
                  </a:lnTo>
                  <a:lnTo>
                    <a:pt x="3521" y="4389"/>
                  </a:lnTo>
                  <a:lnTo>
                    <a:pt x="3518" y="4518"/>
                  </a:lnTo>
                  <a:lnTo>
                    <a:pt x="3518" y="6524"/>
                  </a:lnTo>
                  <a:lnTo>
                    <a:pt x="2513" y="6524"/>
                  </a:lnTo>
                  <a:lnTo>
                    <a:pt x="2513" y="4516"/>
                  </a:lnTo>
                  <a:close/>
                  <a:moveTo>
                    <a:pt x="10554" y="6524"/>
                  </a:moveTo>
                  <a:lnTo>
                    <a:pt x="10554" y="4516"/>
                  </a:lnTo>
                  <a:lnTo>
                    <a:pt x="10548" y="4283"/>
                  </a:lnTo>
                  <a:lnTo>
                    <a:pt x="10531" y="4055"/>
                  </a:lnTo>
                  <a:lnTo>
                    <a:pt x="10502" y="3829"/>
                  </a:lnTo>
                  <a:lnTo>
                    <a:pt x="10463" y="3606"/>
                  </a:lnTo>
                  <a:lnTo>
                    <a:pt x="10412" y="3387"/>
                  </a:lnTo>
                  <a:lnTo>
                    <a:pt x="10351" y="3173"/>
                  </a:lnTo>
                  <a:lnTo>
                    <a:pt x="10280" y="2964"/>
                  </a:lnTo>
                  <a:lnTo>
                    <a:pt x="10198" y="2758"/>
                  </a:lnTo>
                  <a:lnTo>
                    <a:pt x="10108" y="2558"/>
                  </a:lnTo>
                  <a:lnTo>
                    <a:pt x="10008" y="2364"/>
                  </a:lnTo>
                  <a:lnTo>
                    <a:pt x="9900" y="2175"/>
                  </a:lnTo>
                  <a:lnTo>
                    <a:pt x="9782" y="1991"/>
                  </a:lnTo>
                  <a:lnTo>
                    <a:pt x="9656" y="1815"/>
                  </a:lnTo>
                  <a:lnTo>
                    <a:pt x="9521" y="1643"/>
                  </a:lnTo>
                  <a:lnTo>
                    <a:pt x="9379" y="1479"/>
                  </a:lnTo>
                  <a:lnTo>
                    <a:pt x="9229" y="1323"/>
                  </a:lnTo>
                  <a:lnTo>
                    <a:pt x="9073" y="1173"/>
                  </a:lnTo>
                  <a:lnTo>
                    <a:pt x="8908" y="1032"/>
                  </a:lnTo>
                  <a:lnTo>
                    <a:pt x="8737" y="897"/>
                  </a:lnTo>
                  <a:lnTo>
                    <a:pt x="8560" y="771"/>
                  </a:lnTo>
                  <a:lnTo>
                    <a:pt x="8376" y="653"/>
                  </a:lnTo>
                  <a:lnTo>
                    <a:pt x="8187" y="545"/>
                  </a:lnTo>
                  <a:lnTo>
                    <a:pt x="7992" y="446"/>
                  </a:lnTo>
                  <a:lnTo>
                    <a:pt x="7792" y="355"/>
                  </a:lnTo>
                  <a:lnTo>
                    <a:pt x="7586" y="274"/>
                  </a:lnTo>
                  <a:lnTo>
                    <a:pt x="7376" y="203"/>
                  </a:lnTo>
                  <a:lnTo>
                    <a:pt x="7162" y="143"/>
                  </a:lnTo>
                  <a:lnTo>
                    <a:pt x="6943" y="91"/>
                  </a:lnTo>
                  <a:lnTo>
                    <a:pt x="6720" y="52"/>
                  </a:lnTo>
                  <a:lnTo>
                    <a:pt x="6493" y="23"/>
                  </a:lnTo>
                  <a:lnTo>
                    <a:pt x="6264" y="6"/>
                  </a:lnTo>
                  <a:lnTo>
                    <a:pt x="6031" y="0"/>
                  </a:lnTo>
                  <a:lnTo>
                    <a:pt x="5798" y="6"/>
                  </a:lnTo>
                  <a:lnTo>
                    <a:pt x="5569" y="23"/>
                  </a:lnTo>
                  <a:lnTo>
                    <a:pt x="5342" y="52"/>
                  </a:lnTo>
                  <a:lnTo>
                    <a:pt x="5119" y="91"/>
                  </a:lnTo>
                  <a:lnTo>
                    <a:pt x="4900" y="143"/>
                  </a:lnTo>
                  <a:lnTo>
                    <a:pt x="4686" y="203"/>
                  </a:lnTo>
                  <a:lnTo>
                    <a:pt x="4476" y="274"/>
                  </a:lnTo>
                  <a:lnTo>
                    <a:pt x="4270" y="355"/>
                  </a:lnTo>
                  <a:lnTo>
                    <a:pt x="4070" y="446"/>
                  </a:lnTo>
                  <a:lnTo>
                    <a:pt x="3875" y="545"/>
                  </a:lnTo>
                  <a:lnTo>
                    <a:pt x="3685" y="653"/>
                  </a:lnTo>
                  <a:lnTo>
                    <a:pt x="3502" y="771"/>
                  </a:lnTo>
                  <a:lnTo>
                    <a:pt x="3324" y="897"/>
                  </a:lnTo>
                  <a:lnTo>
                    <a:pt x="3153" y="1032"/>
                  </a:lnTo>
                  <a:lnTo>
                    <a:pt x="2989" y="1173"/>
                  </a:lnTo>
                  <a:lnTo>
                    <a:pt x="2833" y="1323"/>
                  </a:lnTo>
                  <a:lnTo>
                    <a:pt x="2683" y="1479"/>
                  </a:lnTo>
                  <a:lnTo>
                    <a:pt x="2540" y="1643"/>
                  </a:lnTo>
                  <a:lnTo>
                    <a:pt x="2406" y="1815"/>
                  </a:lnTo>
                  <a:lnTo>
                    <a:pt x="2280" y="1991"/>
                  </a:lnTo>
                  <a:lnTo>
                    <a:pt x="2162" y="2175"/>
                  </a:lnTo>
                  <a:lnTo>
                    <a:pt x="2054" y="2364"/>
                  </a:lnTo>
                  <a:lnTo>
                    <a:pt x="1954" y="2558"/>
                  </a:lnTo>
                  <a:lnTo>
                    <a:pt x="1864" y="2758"/>
                  </a:lnTo>
                  <a:lnTo>
                    <a:pt x="1782" y="2964"/>
                  </a:lnTo>
                  <a:lnTo>
                    <a:pt x="1711" y="3173"/>
                  </a:lnTo>
                  <a:lnTo>
                    <a:pt x="1650" y="3387"/>
                  </a:lnTo>
                  <a:lnTo>
                    <a:pt x="1599" y="3606"/>
                  </a:lnTo>
                  <a:lnTo>
                    <a:pt x="1560" y="3829"/>
                  </a:lnTo>
                  <a:lnTo>
                    <a:pt x="1531" y="4055"/>
                  </a:lnTo>
                  <a:lnTo>
                    <a:pt x="1514" y="4283"/>
                  </a:lnTo>
                  <a:lnTo>
                    <a:pt x="1508" y="4516"/>
                  </a:lnTo>
                  <a:lnTo>
                    <a:pt x="1508" y="6524"/>
                  </a:lnTo>
                  <a:lnTo>
                    <a:pt x="1430" y="6526"/>
                  </a:lnTo>
                  <a:lnTo>
                    <a:pt x="1354" y="6532"/>
                  </a:lnTo>
                  <a:lnTo>
                    <a:pt x="1278" y="6541"/>
                  </a:lnTo>
                  <a:lnTo>
                    <a:pt x="1204" y="6555"/>
                  </a:lnTo>
                  <a:lnTo>
                    <a:pt x="1131" y="6571"/>
                  </a:lnTo>
                  <a:lnTo>
                    <a:pt x="1059" y="6592"/>
                  </a:lnTo>
                  <a:lnTo>
                    <a:pt x="989" y="6615"/>
                  </a:lnTo>
                  <a:lnTo>
                    <a:pt x="921" y="6642"/>
                  </a:lnTo>
                  <a:lnTo>
                    <a:pt x="854" y="6672"/>
                  </a:lnTo>
                  <a:lnTo>
                    <a:pt x="789" y="6705"/>
                  </a:lnTo>
                  <a:lnTo>
                    <a:pt x="726" y="6741"/>
                  </a:lnTo>
                  <a:lnTo>
                    <a:pt x="664" y="6780"/>
                  </a:lnTo>
                  <a:lnTo>
                    <a:pt x="605" y="6823"/>
                  </a:lnTo>
                  <a:lnTo>
                    <a:pt x="549" y="6868"/>
                  </a:lnTo>
                  <a:lnTo>
                    <a:pt x="494" y="6915"/>
                  </a:lnTo>
                  <a:lnTo>
                    <a:pt x="441" y="6964"/>
                  </a:lnTo>
                  <a:lnTo>
                    <a:pt x="392" y="7016"/>
                  </a:lnTo>
                  <a:lnTo>
                    <a:pt x="344" y="7072"/>
                  </a:lnTo>
                  <a:lnTo>
                    <a:pt x="300" y="7129"/>
                  </a:lnTo>
                  <a:lnTo>
                    <a:pt x="257" y="7187"/>
                  </a:lnTo>
                  <a:lnTo>
                    <a:pt x="218" y="7248"/>
                  </a:lnTo>
                  <a:lnTo>
                    <a:pt x="182" y="7311"/>
                  </a:lnTo>
                  <a:lnTo>
                    <a:pt x="149" y="7377"/>
                  </a:lnTo>
                  <a:lnTo>
                    <a:pt x="119" y="7443"/>
                  </a:lnTo>
                  <a:lnTo>
                    <a:pt x="91" y="7511"/>
                  </a:lnTo>
                  <a:lnTo>
                    <a:pt x="67" y="7581"/>
                  </a:lnTo>
                  <a:lnTo>
                    <a:pt x="47" y="7653"/>
                  </a:lnTo>
                  <a:lnTo>
                    <a:pt x="30" y="7726"/>
                  </a:lnTo>
                  <a:lnTo>
                    <a:pt x="17" y="7800"/>
                  </a:lnTo>
                  <a:lnTo>
                    <a:pt x="8" y="7875"/>
                  </a:lnTo>
                  <a:lnTo>
                    <a:pt x="2" y="7952"/>
                  </a:lnTo>
                  <a:lnTo>
                    <a:pt x="0" y="8029"/>
                  </a:lnTo>
                  <a:lnTo>
                    <a:pt x="0" y="9534"/>
                  </a:lnTo>
                  <a:lnTo>
                    <a:pt x="0" y="10036"/>
                  </a:lnTo>
                  <a:lnTo>
                    <a:pt x="0" y="11040"/>
                  </a:lnTo>
                  <a:lnTo>
                    <a:pt x="0" y="11542"/>
                  </a:lnTo>
                  <a:lnTo>
                    <a:pt x="6" y="11775"/>
                  </a:lnTo>
                  <a:lnTo>
                    <a:pt x="23" y="12003"/>
                  </a:lnTo>
                  <a:lnTo>
                    <a:pt x="52" y="12229"/>
                  </a:lnTo>
                  <a:lnTo>
                    <a:pt x="91" y="12452"/>
                  </a:lnTo>
                  <a:lnTo>
                    <a:pt x="143" y="12671"/>
                  </a:lnTo>
                  <a:lnTo>
                    <a:pt x="203" y="12885"/>
                  </a:lnTo>
                  <a:lnTo>
                    <a:pt x="274" y="13094"/>
                  </a:lnTo>
                  <a:lnTo>
                    <a:pt x="356" y="13300"/>
                  </a:lnTo>
                  <a:lnTo>
                    <a:pt x="446" y="13500"/>
                  </a:lnTo>
                  <a:lnTo>
                    <a:pt x="546" y="13694"/>
                  </a:lnTo>
                  <a:lnTo>
                    <a:pt x="654" y="13884"/>
                  </a:lnTo>
                  <a:lnTo>
                    <a:pt x="772" y="14067"/>
                  </a:lnTo>
                  <a:lnTo>
                    <a:pt x="899" y="14243"/>
                  </a:lnTo>
                  <a:lnTo>
                    <a:pt x="1032" y="14415"/>
                  </a:lnTo>
                  <a:lnTo>
                    <a:pt x="1175" y="14579"/>
                  </a:lnTo>
                  <a:lnTo>
                    <a:pt x="1325" y="14735"/>
                  </a:lnTo>
                  <a:lnTo>
                    <a:pt x="1482" y="14885"/>
                  </a:lnTo>
                  <a:lnTo>
                    <a:pt x="1646" y="15027"/>
                  </a:lnTo>
                  <a:lnTo>
                    <a:pt x="1817" y="15161"/>
                  </a:lnTo>
                  <a:lnTo>
                    <a:pt x="1994" y="15287"/>
                  </a:lnTo>
                  <a:lnTo>
                    <a:pt x="2177" y="15405"/>
                  </a:lnTo>
                  <a:lnTo>
                    <a:pt x="2367" y="15513"/>
                  </a:lnTo>
                  <a:lnTo>
                    <a:pt x="2562" y="15612"/>
                  </a:lnTo>
                  <a:lnTo>
                    <a:pt x="2762" y="15703"/>
                  </a:lnTo>
                  <a:lnTo>
                    <a:pt x="2968" y="15784"/>
                  </a:lnTo>
                  <a:lnTo>
                    <a:pt x="3178" y="15855"/>
                  </a:lnTo>
                  <a:lnTo>
                    <a:pt x="3392" y="15915"/>
                  </a:lnTo>
                  <a:lnTo>
                    <a:pt x="3612" y="15967"/>
                  </a:lnTo>
                  <a:lnTo>
                    <a:pt x="3835" y="16006"/>
                  </a:lnTo>
                  <a:lnTo>
                    <a:pt x="4061" y="16035"/>
                  </a:lnTo>
                  <a:lnTo>
                    <a:pt x="4290" y="16052"/>
                  </a:lnTo>
                  <a:lnTo>
                    <a:pt x="4523" y="16058"/>
                  </a:lnTo>
                  <a:lnTo>
                    <a:pt x="7539" y="16058"/>
                  </a:lnTo>
                  <a:lnTo>
                    <a:pt x="7771" y="16052"/>
                  </a:lnTo>
                  <a:lnTo>
                    <a:pt x="8001" y="16035"/>
                  </a:lnTo>
                  <a:lnTo>
                    <a:pt x="8227" y="16006"/>
                  </a:lnTo>
                  <a:lnTo>
                    <a:pt x="8450" y="15967"/>
                  </a:lnTo>
                  <a:lnTo>
                    <a:pt x="8670" y="15915"/>
                  </a:lnTo>
                  <a:lnTo>
                    <a:pt x="8884" y="15855"/>
                  </a:lnTo>
                  <a:lnTo>
                    <a:pt x="9094" y="15784"/>
                  </a:lnTo>
                  <a:lnTo>
                    <a:pt x="9300" y="15703"/>
                  </a:lnTo>
                  <a:lnTo>
                    <a:pt x="9500" y="15612"/>
                  </a:lnTo>
                  <a:lnTo>
                    <a:pt x="9695" y="15513"/>
                  </a:lnTo>
                  <a:lnTo>
                    <a:pt x="9884" y="15405"/>
                  </a:lnTo>
                  <a:lnTo>
                    <a:pt x="10068" y="15287"/>
                  </a:lnTo>
                  <a:lnTo>
                    <a:pt x="10245" y="15161"/>
                  </a:lnTo>
                  <a:lnTo>
                    <a:pt x="10416" y="15027"/>
                  </a:lnTo>
                  <a:lnTo>
                    <a:pt x="10580" y="14885"/>
                  </a:lnTo>
                  <a:lnTo>
                    <a:pt x="10737" y="14735"/>
                  </a:lnTo>
                  <a:lnTo>
                    <a:pt x="10887" y="14579"/>
                  </a:lnTo>
                  <a:lnTo>
                    <a:pt x="11029" y="14415"/>
                  </a:lnTo>
                  <a:lnTo>
                    <a:pt x="11163" y="14243"/>
                  </a:lnTo>
                  <a:lnTo>
                    <a:pt x="11290" y="14067"/>
                  </a:lnTo>
                  <a:lnTo>
                    <a:pt x="11408" y="13884"/>
                  </a:lnTo>
                  <a:lnTo>
                    <a:pt x="11516" y="13694"/>
                  </a:lnTo>
                  <a:lnTo>
                    <a:pt x="11616" y="13500"/>
                  </a:lnTo>
                  <a:lnTo>
                    <a:pt x="11706" y="13300"/>
                  </a:lnTo>
                  <a:lnTo>
                    <a:pt x="11788" y="13094"/>
                  </a:lnTo>
                  <a:lnTo>
                    <a:pt x="11859" y="12885"/>
                  </a:lnTo>
                  <a:lnTo>
                    <a:pt x="11919" y="12671"/>
                  </a:lnTo>
                  <a:lnTo>
                    <a:pt x="11971" y="12452"/>
                  </a:lnTo>
                  <a:lnTo>
                    <a:pt x="12010" y="12229"/>
                  </a:lnTo>
                  <a:lnTo>
                    <a:pt x="12039" y="12003"/>
                  </a:lnTo>
                  <a:lnTo>
                    <a:pt x="12056" y="11775"/>
                  </a:lnTo>
                  <a:lnTo>
                    <a:pt x="12062" y="11542"/>
                  </a:lnTo>
                  <a:lnTo>
                    <a:pt x="12062" y="11040"/>
                  </a:lnTo>
                  <a:lnTo>
                    <a:pt x="12062" y="10036"/>
                  </a:lnTo>
                  <a:lnTo>
                    <a:pt x="12062" y="9534"/>
                  </a:lnTo>
                  <a:lnTo>
                    <a:pt x="12062" y="8029"/>
                  </a:lnTo>
                  <a:lnTo>
                    <a:pt x="12060" y="7952"/>
                  </a:lnTo>
                  <a:lnTo>
                    <a:pt x="12054" y="7875"/>
                  </a:lnTo>
                  <a:lnTo>
                    <a:pt x="12045" y="7800"/>
                  </a:lnTo>
                  <a:lnTo>
                    <a:pt x="12032" y="7726"/>
                  </a:lnTo>
                  <a:lnTo>
                    <a:pt x="12015" y="7653"/>
                  </a:lnTo>
                  <a:lnTo>
                    <a:pt x="11995" y="7581"/>
                  </a:lnTo>
                  <a:lnTo>
                    <a:pt x="11971" y="7511"/>
                  </a:lnTo>
                  <a:lnTo>
                    <a:pt x="11943" y="7443"/>
                  </a:lnTo>
                  <a:lnTo>
                    <a:pt x="11913" y="7377"/>
                  </a:lnTo>
                  <a:lnTo>
                    <a:pt x="11880" y="7311"/>
                  </a:lnTo>
                  <a:lnTo>
                    <a:pt x="11844" y="7248"/>
                  </a:lnTo>
                  <a:lnTo>
                    <a:pt x="11805" y="7187"/>
                  </a:lnTo>
                  <a:lnTo>
                    <a:pt x="11762" y="7129"/>
                  </a:lnTo>
                  <a:lnTo>
                    <a:pt x="11717" y="7072"/>
                  </a:lnTo>
                  <a:lnTo>
                    <a:pt x="11670" y="7016"/>
                  </a:lnTo>
                  <a:lnTo>
                    <a:pt x="11621" y="6964"/>
                  </a:lnTo>
                  <a:lnTo>
                    <a:pt x="11568" y="6915"/>
                  </a:lnTo>
                  <a:lnTo>
                    <a:pt x="11513" y="6868"/>
                  </a:lnTo>
                  <a:lnTo>
                    <a:pt x="11456" y="6823"/>
                  </a:lnTo>
                  <a:lnTo>
                    <a:pt x="11398" y="6780"/>
                  </a:lnTo>
                  <a:lnTo>
                    <a:pt x="11336" y="6741"/>
                  </a:lnTo>
                  <a:lnTo>
                    <a:pt x="11273" y="6705"/>
                  </a:lnTo>
                  <a:lnTo>
                    <a:pt x="11208" y="6672"/>
                  </a:lnTo>
                  <a:lnTo>
                    <a:pt x="11141" y="6642"/>
                  </a:lnTo>
                  <a:lnTo>
                    <a:pt x="11073" y="6615"/>
                  </a:lnTo>
                  <a:lnTo>
                    <a:pt x="11003" y="6592"/>
                  </a:lnTo>
                  <a:lnTo>
                    <a:pt x="10931" y="6571"/>
                  </a:lnTo>
                  <a:lnTo>
                    <a:pt x="10858" y="6555"/>
                  </a:lnTo>
                  <a:lnTo>
                    <a:pt x="10783" y="6541"/>
                  </a:lnTo>
                  <a:lnTo>
                    <a:pt x="10708" y="6532"/>
                  </a:lnTo>
                  <a:lnTo>
                    <a:pt x="10632" y="6526"/>
                  </a:lnTo>
                  <a:lnTo>
                    <a:pt x="10554" y="65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06" name="îSḻîḍè">
              <a:extLst>
                <a:ext uri="{FF2B5EF4-FFF2-40B4-BE49-F238E27FC236}">
                  <a16:creationId xmlns:a16="http://schemas.microsoft.com/office/drawing/2014/main" id="{E1489EE1-268D-4FA2-B4E3-795290052747}"/>
                </a:ext>
              </a:extLst>
            </p:cNvPr>
            <p:cNvSpPr/>
            <p:nvPr/>
          </p:nvSpPr>
          <p:spPr bwMode="auto">
            <a:xfrm>
              <a:off x="8934872" y="653080"/>
              <a:ext cx="76139" cy="114208"/>
            </a:xfrm>
            <a:custGeom>
              <a:avLst/>
              <a:gdLst>
                <a:gd name="T0" fmla="*/ 902 w 2010"/>
                <a:gd name="T1" fmla="*/ 5 h 3011"/>
                <a:gd name="T2" fmla="*/ 754 w 2010"/>
                <a:gd name="T3" fmla="*/ 33 h 3011"/>
                <a:gd name="T4" fmla="*/ 614 w 2010"/>
                <a:gd name="T5" fmla="*/ 80 h 3011"/>
                <a:gd name="T6" fmla="*/ 484 w 2010"/>
                <a:gd name="T7" fmla="*/ 146 h 3011"/>
                <a:gd name="T8" fmla="*/ 366 w 2010"/>
                <a:gd name="T9" fmla="*/ 229 h 3011"/>
                <a:gd name="T10" fmla="*/ 261 w 2010"/>
                <a:gd name="T11" fmla="*/ 330 h 3011"/>
                <a:gd name="T12" fmla="*/ 172 w 2010"/>
                <a:gd name="T13" fmla="*/ 443 h 3011"/>
                <a:gd name="T14" fmla="*/ 99 w 2010"/>
                <a:gd name="T15" fmla="*/ 569 h 3011"/>
                <a:gd name="T16" fmla="*/ 45 w 2010"/>
                <a:gd name="T17" fmla="*/ 706 h 3011"/>
                <a:gd name="T18" fmla="*/ 11 w 2010"/>
                <a:gd name="T19" fmla="*/ 852 h 3011"/>
                <a:gd name="T20" fmla="*/ 0 w 2010"/>
                <a:gd name="T21" fmla="*/ 1004 h 3011"/>
                <a:gd name="T22" fmla="*/ 4 w 2010"/>
                <a:gd name="T23" fmla="*/ 1096 h 3011"/>
                <a:gd name="T24" fmla="*/ 16 w 2010"/>
                <a:gd name="T25" fmla="*/ 1202 h 3011"/>
                <a:gd name="T26" fmla="*/ 44 w 2010"/>
                <a:gd name="T27" fmla="*/ 1358 h 3011"/>
                <a:gd name="T28" fmla="*/ 104 w 2010"/>
                <a:gd name="T29" fmla="*/ 1617 h 3011"/>
                <a:gd name="T30" fmla="*/ 183 w 2010"/>
                <a:gd name="T31" fmla="*/ 1892 h 3011"/>
                <a:gd name="T32" fmla="*/ 272 w 2010"/>
                <a:gd name="T33" fmla="*/ 2168 h 3011"/>
                <a:gd name="T34" fmla="*/ 361 w 2010"/>
                <a:gd name="T35" fmla="*/ 2414 h 3011"/>
                <a:gd name="T36" fmla="*/ 417 w 2010"/>
                <a:gd name="T37" fmla="*/ 2545 h 3011"/>
                <a:gd name="T38" fmla="*/ 462 w 2010"/>
                <a:gd name="T39" fmla="*/ 2636 h 3011"/>
                <a:gd name="T40" fmla="*/ 511 w 2010"/>
                <a:gd name="T41" fmla="*/ 2719 h 3011"/>
                <a:gd name="T42" fmla="*/ 567 w 2010"/>
                <a:gd name="T43" fmla="*/ 2795 h 3011"/>
                <a:gd name="T44" fmla="*/ 626 w 2010"/>
                <a:gd name="T45" fmla="*/ 2860 h 3011"/>
                <a:gd name="T46" fmla="*/ 693 w 2010"/>
                <a:gd name="T47" fmla="*/ 2916 h 3011"/>
                <a:gd name="T48" fmla="*/ 767 w 2010"/>
                <a:gd name="T49" fmla="*/ 2959 h 3011"/>
                <a:gd name="T50" fmla="*/ 849 w 2010"/>
                <a:gd name="T51" fmla="*/ 2990 h 3011"/>
                <a:gd name="T52" fmla="*/ 940 w 2010"/>
                <a:gd name="T53" fmla="*/ 3007 h 3011"/>
                <a:gd name="T54" fmla="*/ 1041 w 2010"/>
                <a:gd name="T55" fmla="*/ 3010 h 3011"/>
                <a:gd name="T56" fmla="*/ 1141 w 2010"/>
                <a:gd name="T57" fmla="*/ 2997 h 3011"/>
                <a:gd name="T58" fmla="*/ 1229 w 2010"/>
                <a:gd name="T59" fmla="*/ 2971 h 3011"/>
                <a:gd name="T60" fmla="*/ 1307 w 2010"/>
                <a:gd name="T61" fmla="*/ 2932 h 3011"/>
                <a:gd name="T62" fmla="*/ 1375 w 2010"/>
                <a:gd name="T63" fmla="*/ 2881 h 3011"/>
                <a:gd name="T64" fmla="*/ 1436 w 2010"/>
                <a:gd name="T65" fmla="*/ 2820 h 3011"/>
                <a:gd name="T66" fmla="*/ 1489 w 2010"/>
                <a:gd name="T67" fmla="*/ 2747 h 3011"/>
                <a:gd name="T68" fmla="*/ 1538 w 2010"/>
                <a:gd name="T69" fmla="*/ 2667 h 3011"/>
                <a:gd name="T70" fmla="*/ 1582 w 2010"/>
                <a:gd name="T71" fmla="*/ 2580 h 3011"/>
                <a:gd name="T72" fmla="*/ 1623 w 2010"/>
                <a:gd name="T73" fmla="*/ 2484 h 3011"/>
                <a:gd name="T74" fmla="*/ 1708 w 2010"/>
                <a:gd name="T75" fmla="*/ 2263 h 3011"/>
                <a:gd name="T76" fmla="*/ 1799 w 2010"/>
                <a:gd name="T77" fmla="*/ 1990 h 3011"/>
                <a:gd name="T78" fmla="*/ 1883 w 2010"/>
                <a:gd name="T79" fmla="*/ 1711 h 3011"/>
                <a:gd name="T80" fmla="*/ 1949 w 2010"/>
                <a:gd name="T81" fmla="*/ 1444 h 3011"/>
                <a:gd name="T82" fmla="*/ 1988 w 2010"/>
                <a:gd name="T83" fmla="*/ 1240 h 3011"/>
                <a:gd name="T84" fmla="*/ 2003 w 2010"/>
                <a:gd name="T85" fmla="*/ 1132 h 3011"/>
                <a:gd name="T86" fmla="*/ 2009 w 2010"/>
                <a:gd name="T87" fmla="*/ 1033 h 3011"/>
                <a:gd name="T88" fmla="*/ 2005 w 2010"/>
                <a:gd name="T89" fmla="*/ 902 h 3011"/>
                <a:gd name="T90" fmla="*/ 1978 w 2010"/>
                <a:gd name="T91" fmla="*/ 753 h 3011"/>
                <a:gd name="T92" fmla="*/ 1931 w 2010"/>
                <a:gd name="T93" fmla="*/ 614 h 3011"/>
                <a:gd name="T94" fmla="*/ 1864 w 2010"/>
                <a:gd name="T95" fmla="*/ 484 h 3011"/>
                <a:gd name="T96" fmla="*/ 1780 w 2010"/>
                <a:gd name="T97" fmla="*/ 366 h 3011"/>
                <a:gd name="T98" fmla="*/ 1680 w 2010"/>
                <a:gd name="T99" fmla="*/ 261 h 3011"/>
                <a:gd name="T100" fmla="*/ 1567 w 2010"/>
                <a:gd name="T101" fmla="*/ 172 h 3011"/>
                <a:gd name="T102" fmla="*/ 1440 w 2010"/>
                <a:gd name="T103" fmla="*/ 100 h 3011"/>
                <a:gd name="T104" fmla="*/ 1304 w 2010"/>
                <a:gd name="T105" fmla="*/ 46 h 3011"/>
                <a:gd name="T106" fmla="*/ 1158 w 2010"/>
                <a:gd name="T107" fmla="*/ 11 h 3011"/>
                <a:gd name="T108" fmla="*/ 1005 w 2010"/>
                <a:gd name="T109" fmla="*/ 0 h 30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10" h="3011">
                  <a:moveTo>
                    <a:pt x="1005" y="0"/>
                  </a:moveTo>
                  <a:lnTo>
                    <a:pt x="953" y="1"/>
                  </a:lnTo>
                  <a:lnTo>
                    <a:pt x="902" y="5"/>
                  </a:lnTo>
                  <a:lnTo>
                    <a:pt x="852" y="11"/>
                  </a:lnTo>
                  <a:lnTo>
                    <a:pt x="803" y="21"/>
                  </a:lnTo>
                  <a:lnTo>
                    <a:pt x="754" y="33"/>
                  </a:lnTo>
                  <a:lnTo>
                    <a:pt x="706" y="46"/>
                  </a:lnTo>
                  <a:lnTo>
                    <a:pt x="659" y="62"/>
                  </a:lnTo>
                  <a:lnTo>
                    <a:pt x="614" y="80"/>
                  </a:lnTo>
                  <a:lnTo>
                    <a:pt x="570" y="100"/>
                  </a:lnTo>
                  <a:lnTo>
                    <a:pt x="526" y="122"/>
                  </a:lnTo>
                  <a:lnTo>
                    <a:pt x="484" y="146"/>
                  </a:lnTo>
                  <a:lnTo>
                    <a:pt x="443" y="172"/>
                  </a:lnTo>
                  <a:lnTo>
                    <a:pt x="404" y="200"/>
                  </a:lnTo>
                  <a:lnTo>
                    <a:pt x="366" y="229"/>
                  </a:lnTo>
                  <a:lnTo>
                    <a:pt x="330" y="261"/>
                  </a:lnTo>
                  <a:lnTo>
                    <a:pt x="294" y="294"/>
                  </a:lnTo>
                  <a:lnTo>
                    <a:pt x="261" y="330"/>
                  </a:lnTo>
                  <a:lnTo>
                    <a:pt x="229" y="366"/>
                  </a:lnTo>
                  <a:lnTo>
                    <a:pt x="200" y="404"/>
                  </a:lnTo>
                  <a:lnTo>
                    <a:pt x="172" y="443"/>
                  </a:lnTo>
                  <a:lnTo>
                    <a:pt x="146" y="484"/>
                  </a:lnTo>
                  <a:lnTo>
                    <a:pt x="121" y="526"/>
                  </a:lnTo>
                  <a:lnTo>
                    <a:pt x="99" y="569"/>
                  </a:lnTo>
                  <a:lnTo>
                    <a:pt x="79" y="614"/>
                  </a:lnTo>
                  <a:lnTo>
                    <a:pt x="61" y="659"/>
                  </a:lnTo>
                  <a:lnTo>
                    <a:pt x="45" y="706"/>
                  </a:lnTo>
                  <a:lnTo>
                    <a:pt x="31" y="753"/>
                  </a:lnTo>
                  <a:lnTo>
                    <a:pt x="20" y="802"/>
                  </a:lnTo>
                  <a:lnTo>
                    <a:pt x="11" y="852"/>
                  </a:lnTo>
                  <a:lnTo>
                    <a:pt x="5" y="902"/>
                  </a:lnTo>
                  <a:lnTo>
                    <a:pt x="1" y="953"/>
                  </a:lnTo>
                  <a:lnTo>
                    <a:pt x="0" y="1004"/>
                  </a:lnTo>
                  <a:lnTo>
                    <a:pt x="0" y="1033"/>
                  </a:lnTo>
                  <a:lnTo>
                    <a:pt x="2" y="1064"/>
                  </a:lnTo>
                  <a:lnTo>
                    <a:pt x="4" y="1096"/>
                  </a:lnTo>
                  <a:lnTo>
                    <a:pt x="7" y="1131"/>
                  </a:lnTo>
                  <a:lnTo>
                    <a:pt x="12" y="1166"/>
                  </a:lnTo>
                  <a:lnTo>
                    <a:pt x="16" y="1202"/>
                  </a:lnTo>
                  <a:lnTo>
                    <a:pt x="22" y="1239"/>
                  </a:lnTo>
                  <a:lnTo>
                    <a:pt x="29" y="1278"/>
                  </a:lnTo>
                  <a:lnTo>
                    <a:pt x="44" y="1358"/>
                  </a:lnTo>
                  <a:lnTo>
                    <a:pt x="61" y="1442"/>
                  </a:lnTo>
                  <a:lnTo>
                    <a:pt x="82" y="1528"/>
                  </a:lnTo>
                  <a:lnTo>
                    <a:pt x="104" y="1617"/>
                  </a:lnTo>
                  <a:lnTo>
                    <a:pt x="128" y="1708"/>
                  </a:lnTo>
                  <a:lnTo>
                    <a:pt x="156" y="1800"/>
                  </a:lnTo>
                  <a:lnTo>
                    <a:pt x="183" y="1892"/>
                  </a:lnTo>
                  <a:lnTo>
                    <a:pt x="212" y="1986"/>
                  </a:lnTo>
                  <a:lnTo>
                    <a:pt x="242" y="2078"/>
                  </a:lnTo>
                  <a:lnTo>
                    <a:pt x="272" y="2168"/>
                  </a:lnTo>
                  <a:lnTo>
                    <a:pt x="303" y="2258"/>
                  </a:lnTo>
                  <a:lnTo>
                    <a:pt x="335" y="2345"/>
                  </a:lnTo>
                  <a:lnTo>
                    <a:pt x="361" y="2414"/>
                  </a:lnTo>
                  <a:lnTo>
                    <a:pt x="388" y="2480"/>
                  </a:lnTo>
                  <a:lnTo>
                    <a:pt x="402" y="2513"/>
                  </a:lnTo>
                  <a:lnTo>
                    <a:pt x="417" y="2545"/>
                  </a:lnTo>
                  <a:lnTo>
                    <a:pt x="431" y="2576"/>
                  </a:lnTo>
                  <a:lnTo>
                    <a:pt x="446" y="2606"/>
                  </a:lnTo>
                  <a:lnTo>
                    <a:pt x="462" y="2636"/>
                  </a:lnTo>
                  <a:lnTo>
                    <a:pt x="478" y="2664"/>
                  </a:lnTo>
                  <a:lnTo>
                    <a:pt x="494" y="2692"/>
                  </a:lnTo>
                  <a:lnTo>
                    <a:pt x="511" y="2719"/>
                  </a:lnTo>
                  <a:lnTo>
                    <a:pt x="530" y="2745"/>
                  </a:lnTo>
                  <a:lnTo>
                    <a:pt x="548" y="2770"/>
                  </a:lnTo>
                  <a:lnTo>
                    <a:pt x="567" y="2795"/>
                  </a:lnTo>
                  <a:lnTo>
                    <a:pt x="586" y="2818"/>
                  </a:lnTo>
                  <a:lnTo>
                    <a:pt x="606" y="2840"/>
                  </a:lnTo>
                  <a:lnTo>
                    <a:pt x="626" y="2860"/>
                  </a:lnTo>
                  <a:lnTo>
                    <a:pt x="648" y="2880"/>
                  </a:lnTo>
                  <a:lnTo>
                    <a:pt x="670" y="2898"/>
                  </a:lnTo>
                  <a:lnTo>
                    <a:pt x="693" y="2916"/>
                  </a:lnTo>
                  <a:lnTo>
                    <a:pt x="717" y="2931"/>
                  </a:lnTo>
                  <a:lnTo>
                    <a:pt x="742" y="2946"/>
                  </a:lnTo>
                  <a:lnTo>
                    <a:pt x="767" y="2959"/>
                  </a:lnTo>
                  <a:lnTo>
                    <a:pt x="793" y="2971"/>
                  </a:lnTo>
                  <a:lnTo>
                    <a:pt x="821" y="2981"/>
                  </a:lnTo>
                  <a:lnTo>
                    <a:pt x="849" y="2990"/>
                  </a:lnTo>
                  <a:lnTo>
                    <a:pt x="878" y="2997"/>
                  </a:lnTo>
                  <a:lnTo>
                    <a:pt x="909" y="3003"/>
                  </a:lnTo>
                  <a:lnTo>
                    <a:pt x="940" y="3007"/>
                  </a:lnTo>
                  <a:lnTo>
                    <a:pt x="972" y="3010"/>
                  </a:lnTo>
                  <a:lnTo>
                    <a:pt x="1005" y="3011"/>
                  </a:lnTo>
                  <a:lnTo>
                    <a:pt x="1041" y="3010"/>
                  </a:lnTo>
                  <a:lnTo>
                    <a:pt x="1075" y="3007"/>
                  </a:lnTo>
                  <a:lnTo>
                    <a:pt x="1109" y="3003"/>
                  </a:lnTo>
                  <a:lnTo>
                    <a:pt x="1141" y="2997"/>
                  </a:lnTo>
                  <a:lnTo>
                    <a:pt x="1172" y="2990"/>
                  </a:lnTo>
                  <a:lnTo>
                    <a:pt x="1201" y="2981"/>
                  </a:lnTo>
                  <a:lnTo>
                    <a:pt x="1229" y="2971"/>
                  </a:lnTo>
                  <a:lnTo>
                    <a:pt x="1256" y="2960"/>
                  </a:lnTo>
                  <a:lnTo>
                    <a:pt x="1281" y="2947"/>
                  </a:lnTo>
                  <a:lnTo>
                    <a:pt x="1307" y="2932"/>
                  </a:lnTo>
                  <a:lnTo>
                    <a:pt x="1331" y="2916"/>
                  </a:lnTo>
                  <a:lnTo>
                    <a:pt x="1354" y="2899"/>
                  </a:lnTo>
                  <a:lnTo>
                    <a:pt x="1375" y="2881"/>
                  </a:lnTo>
                  <a:lnTo>
                    <a:pt x="1396" y="2862"/>
                  </a:lnTo>
                  <a:lnTo>
                    <a:pt x="1416" y="2841"/>
                  </a:lnTo>
                  <a:lnTo>
                    <a:pt x="1436" y="2820"/>
                  </a:lnTo>
                  <a:lnTo>
                    <a:pt x="1454" y="2797"/>
                  </a:lnTo>
                  <a:lnTo>
                    <a:pt x="1472" y="2772"/>
                  </a:lnTo>
                  <a:lnTo>
                    <a:pt x="1489" y="2747"/>
                  </a:lnTo>
                  <a:lnTo>
                    <a:pt x="1507" y="2722"/>
                  </a:lnTo>
                  <a:lnTo>
                    <a:pt x="1523" y="2695"/>
                  </a:lnTo>
                  <a:lnTo>
                    <a:pt x="1538" y="2667"/>
                  </a:lnTo>
                  <a:lnTo>
                    <a:pt x="1554" y="2639"/>
                  </a:lnTo>
                  <a:lnTo>
                    <a:pt x="1568" y="2610"/>
                  </a:lnTo>
                  <a:lnTo>
                    <a:pt x="1582" y="2580"/>
                  </a:lnTo>
                  <a:lnTo>
                    <a:pt x="1596" y="2549"/>
                  </a:lnTo>
                  <a:lnTo>
                    <a:pt x="1610" y="2517"/>
                  </a:lnTo>
                  <a:lnTo>
                    <a:pt x="1623" y="2484"/>
                  </a:lnTo>
                  <a:lnTo>
                    <a:pt x="1649" y="2418"/>
                  </a:lnTo>
                  <a:lnTo>
                    <a:pt x="1675" y="2350"/>
                  </a:lnTo>
                  <a:lnTo>
                    <a:pt x="1708" y="2263"/>
                  </a:lnTo>
                  <a:lnTo>
                    <a:pt x="1739" y="2173"/>
                  </a:lnTo>
                  <a:lnTo>
                    <a:pt x="1769" y="2082"/>
                  </a:lnTo>
                  <a:lnTo>
                    <a:pt x="1799" y="1990"/>
                  </a:lnTo>
                  <a:lnTo>
                    <a:pt x="1828" y="1896"/>
                  </a:lnTo>
                  <a:lnTo>
                    <a:pt x="1856" y="1803"/>
                  </a:lnTo>
                  <a:lnTo>
                    <a:pt x="1883" y="1711"/>
                  </a:lnTo>
                  <a:lnTo>
                    <a:pt x="1907" y="1620"/>
                  </a:lnTo>
                  <a:lnTo>
                    <a:pt x="1929" y="1531"/>
                  </a:lnTo>
                  <a:lnTo>
                    <a:pt x="1949" y="1444"/>
                  </a:lnTo>
                  <a:lnTo>
                    <a:pt x="1967" y="1359"/>
                  </a:lnTo>
                  <a:lnTo>
                    <a:pt x="1982" y="1279"/>
                  </a:lnTo>
                  <a:lnTo>
                    <a:pt x="1988" y="1240"/>
                  </a:lnTo>
                  <a:lnTo>
                    <a:pt x="1994" y="1203"/>
                  </a:lnTo>
                  <a:lnTo>
                    <a:pt x="1998" y="1167"/>
                  </a:lnTo>
                  <a:lnTo>
                    <a:pt x="2003" y="1132"/>
                  </a:lnTo>
                  <a:lnTo>
                    <a:pt x="2006" y="1097"/>
                  </a:lnTo>
                  <a:lnTo>
                    <a:pt x="2008" y="1064"/>
                  </a:lnTo>
                  <a:lnTo>
                    <a:pt x="2009" y="1033"/>
                  </a:lnTo>
                  <a:lnTo>
                    <a:pt x="2010" y="1004"/>
                  </a:lnTo>
                  <a:lnTo>
                    <a:pt x="2009" y="953"/>
                  </a:lnTo>
                  <a:lnTo>
                    <a:pt x="2005" y="902"/>
                  </a:lnTo>
                  <a:lnTo>
                    <a:pt x="1998" y="852"/>
                  </a:lnTo>
                  <a:lnTo>
                    <a:pt x="1990" y="802"/>
                  </a:lnTo>
                  <a:lnTo>
                    <a:pt x="1978" y="753"/>
                  </a:lnTo>
                  <a:lnTo>
                    <a:pt x="1965" y="706"/>
                  </a:lnTo>
                  <a:lnTo>
                    <a:pt x="1949" y="659"/>
                  </a:lnTo>
                  <a:lnTo>
                    <a:pt x="1931" y="614"/>
                  </a:lnTo>
                  <a:lnTo>
                    <a:pt x="1911" y="569"/>
                  </a:lnTo>
                  <a:lnTo>
                    <a:pt x="1889" y="526"/>
                  </a:lnTo>
                  <a:lnTo>
                    <a:pt x="1864" y="484"/>
                  </a:lnTo>
                  <a:lnTo>
                    <a:pt x="1838" y="443"/>
                  </a:lnTo>
                  <a:lnTo>
                    <a:pt x="1810" y="404"/>
                  </a:lnTo>
                  <a:lnTo>
                    <a:pt x="1780" y="366"/>
                  </a:lnTo>
                  <a:lnTo>
                    <a:pt x="1749" y="330"/>
                  </a:lnTo>
                  <a:lnTo>
                    <a:pt x="1716" y="294"/>
                  </a:lnTo>
                  <a:lnTo>
                    <a:pt x="1680" y="261"/>
                  </a:lnTo>
                  <a:lnTo>
                    <a:pt x="1644" y="229"/>
                  </a:lnTo>
                  <a:lnTo>
                    <a:pt x="1606" y="200"/>
                  </a:lnTo>
                  <a:lnTo>
                    <a:pt x="1567" y="172"/>
                  </a:lnTo>
                  <a:lnTo>
                    <a:pt x="1526" y="146"/>
                  </a:lnTo>
                  <a:lnTo>
                    <a:pt x="1484" y="122"/>
                  </a:lnTo>
                  <a:lnTo>
                    <a:pt x="1440" y="100"/>
                  </a:lnTo>
                  <a:lnTo>
                    <a:pt x="1396" y="80"/>
                  </a:lnTo>
                  <a:lnTo>
                    <a:pt x="1351" y="62"/>
                  </a:lnTo>
                  <a:lnTo>
                    <a:pt x="1304" y="46"/>
                  </a:lnTo>
                  <a:lnTo>
                    <a:pt x="1256" y="33"/>
                  </a:lnTo>
                  <a:lnTo>
                    <a:pt x="1207" y="21"/>
                  </a:lnTo>
                  <a:lnTo>
                    <a:pt x="1158" y="11"/>
                  </a:lnTo>
                  <a:lnTo>
                    <a:pt x="1108" y="5"/>
                  </a:lnTo>
                  <a:lnTo>
                    <a:pt x="1056" y="1"/>
                  </a:lnTo>
                  <a:lnTo>
                    <a:pt x="10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07" name="íṣļiďê">
              <a:extLst>
                <a:ext uri="{FF2B5EF4-FFF2-40B4-BE49-F238E27FC236}">
                  <a16:creationId xmlns:a16="http://schemas.microsoft.com/office/drawing/2014/main" id="{33581BC7-00E1-4047-BB01-4045E18BC7DE}"/>
                </a:ext>
              </a:extLst>
            </p:cNvPr>
            <p:cNvSpPr/>
            <p:nvPr/>
          </p:nvSpPr>
          <p:spPr bwMode="auto">
            <a:xfrm>
              <a:off x="8676037" y="1371719"/>
              <a:ext cx="171982" cy="249634"/>
            </a:xfrm>
            <a:custGeom>
              <a:avLst/>
              <a:gdLst>
                <a:gd name="T0" fmla="*/ 1009 w 11063"/>
                <a:gd name="T1" fmla="*/ 1454 h 16058"/>
                <a:gd name="T2" fmla="*/ 1036 w 11063"/>
                <a:gd name="T3" fmla="*/ 1334 h 16058"/>
                <a:gd name="T4" fmla="*/ 1091 w 11063"/>
                <a:gd name="T5" fmla="*/ 1225 h 16058"/>
                <a:gd name="T6" fmla="*/ 1171 w 11063"/>
                <a:gd name="T7" fmla="*/ 1134 h 16058"/>
                <a:gd name="T8" fmla="*/ 1268 w 11063"/>
                <a:gd name="T9" fmla="*/ 1065 h 16058"/>
                <a:gd name="T10" fmla="*/ 1383 w 11063"/>
                <a:gd name="T11" fmla="*/ 1020 h 16058"/>
                <a:gd name="T12" fmla="*/ 1509 w 11063"/>
                <a:gd name="T13" fmla="*/ 1004 h 16058"/>
                <a:gd name="T14" fmla="*/ 9655 w 11063"/>
                <a:gd name="T15" fmla="*/ 1014 h 16058"/>
                <a:gd name="T16" fmla="*/ 9772 w 11063"/>
                <a:gd name="T17" fmla="*/ 1053 h 16058"/>
                <a:gd name="T18" fmla="*/ 9874 w 11063"/>
                <a:gd name="T19" fmla="*/ 1118 h 16058"/>
                <a:gd name="T20" fmla="*/ 9957 w 11063"/>
                <a:gd name="T21" fmla="*/ 1205 h 16058"/>
                <a:gd name="T22" fmla="*/ 10018 w 11063"/>
                <a:gd name="T23" fmla="*/ 1310 h 16058"/>
                <a:gd name="T24" fmla="*/ 10051 w 11063"/>
                <a:gd name="T25" fmla="*/ 1429 h 16058"/>
                <a:gd name="T26" fmla="*/ 10057 w 11063"/>
                <a:gd name="T27" fmla="*/ 13044 h 16058"/>
                <a:gd name="T28" fmla="*/ 10057 w 11063"/>
                <a:gd name="T29" fmla="*/ 14553 h 16058"/>
                <a:gd name="T30" fmla="*/ 10041 w 11063"/>
                <a:gd name="T31" fmla="*/ 14677 h 16058"/>
                <a:gd name="T32" fmla="*/ 9996 w 11063"/>
                <a:gd name="T33" fmla="*/ 14791 h 16058"/>
                <a:gd name="T34" fmla="*/ 9927 w 11063"/>
                <a:gd name="T35" fmla="*/ 14890 h 16058"/>
                <a:gd name="T36" fmla="*/ 9835 w 11063"/>
                <a:gd name="T37" fmla="*/ 14968 h 16058"/>
                <a:gd name="T38" fmla="*/ 9727 w 11063"/>
                <a:gd name="T39" fmla="*/ 15023 h 16058"/>
                <a:gd name="T40" fmla="*/ 9606 w 11063"/>
                <a:gd name="T41" fmla="*/ 15051 h 16058"/>
                <a:gd name="T42" fmla="*/ 1457 w 11063"/>
                <a:gd name="T43" fmla="*/ 15051 h 16058"/>
                <a:gd name="T44" fmla="*/ 1336 w 11063"/>
                <a:gd name="T45" fmla="*/ 15024 h 16058"/>
                <a:gd name="T46" fmla="*/ 1227 w 11063"/>
                <a:gd name="T47" fmla="*/ 14969 h 16058"/>
                <a:gd name="T48" fmla="*/ 1136 w 11063"/>
                <a:gd name="T49" fmla="*/ 14890 h 16058"/>
                <a:gd name="T50" fmla="*/ 1066 w 11063"/>
                <a:gd name="T51" fmla="*/ 14791 h 16058"/>
                <a:gd name="T52" fmla="*/ 1022 w 11063"/>
                <a:gd name="T53" fmla="*/ 14678 h 16058"/>
                <a:gd name="T54" fmla="*/ 1006 w 11063"/>
                <a:gd name="T55" fmla="*/ 14553 h 16058"/>
                <a:gd name="T56" fmla="*/ 1509 w 11063"/>
                <a:gd name="T57" fmla="*/ 1 h 16058"/>
                <a:gd name="T58" fmla="*/ 1131 w 11063"/>
                <a:gd name="T59" fmla="*/ 48 h 16058"/>
                <a:gd name="T60" fmla="*/ 789 w 11063"/>
                <a:gd name="T61" fmla="*/ 183 h 16058"/>
                <a:gd name="T62" fmla="*/ 494 w 11063"/>
                <a:gd name="T63" fmla="*/ 391 h 16058"/>
                <a:gd name="T64" fmla="*/ 257 w 11063"/>
                <a:gd name="T65" fmla="*/ 664 h 16058"/>
                <a:gd name="T66" fmla="*/ 92 w 11063"/>
                <a:gd name="T67" fmla="*/ 989 h 16058"/>
                <a:gd name="T68" fmla="*/ 8 w 11063"/>
                <a:gd name="T69" fmla="*/ 1352 h 16058"/>
                <a:gd name="T70" fmla="*/ 8 w 11063"/>
                <a:gd name="T71" fmla="*/ 14706 h 16058"/>
                <a:gd name="T72" fmla="*/ 92 w 11063"/>
                <a:gd name="T73" fmla="*/ 15070 h 16058"/>
                <a:gd name="T74" fmla="*/ 257 w 11063"/>
                <a:gd name="T75" fmla="*/ 15395 h 16058"/>
                <a:gd name="T76" fmla="*/ 494 w 11063"/>
                <a:gd name="T77" fmla="*/ 15667 h 16058"/>
                <a:gd name="T78" fmla="*/ 789 w 11063"/>
                <a:gd name="T79" fmla="*/ 15876 h 16058"/>
                <a:gd name="T80" fmla="*/ 1131 w 11063"/>
                <a:gd name="T81" fmla="*/ 16011 h 16058"/>
                <a:gd name="T82" fmla="*/ 1509 w 11063"/>
                <a:gd name="T83" fmla="*/ 16058 h 16058"/>
                <a:gd name="T84" fmla="*/ 9858 w 11063"/>
                <a:gd name="T85" fmla="*/ 16027 h 16058"/>
                <a:gd name="T86" fmla="*/ 10208 w 11063"/>
                <a:gd name="T87" fmla="*/ 15909 h 16058"/>
                <a:gd name="T88" fmla="*/ 10514 w 11063"/>
                <a:gd name="T89" fmla="*/ 15714 h 16058"/>
                <a:gd name="T90" fmla="*/ 10763 w 11063"/>
                <a:gd name="T91" fmla="*/ 15453 h 16058"/>
                <a:gd name="T92" fmla="*/ 10944 w 11063"/>
                <a:gd name="T93" fmla="*/ 15138 h 16058"/>
                <a:gd name="T94" fmla="*/ 11046 w 11063"/>
                <a:gd name="T95" fmla="*/ 14781 h 16058"/>
                <a:gd name="T96" fmla="*/ 11061 w 11063"/>
                <a:gd name="T97" fmla="*/ 1428 h 16058"/>
                <a:gd name="T98" fmla="*/ 10996 w 11063"/>
                <a:gd name="T99" fmla="*/ 1058 h 16058"/>
                <a:gd name="T100" fmla="*/ 10845 w 11063"/>
                <a:gd name="T101" fmla="*/ 725 h 16058"/>
                <a:gd name="T102" fmla="*/ 10620 w 11063"/>
                <a:gd name="T103" fmla="*/ 441 h 16058"/>
                <a:gd name="T104" fmla="*/ 10337 w 11063"/>
                <a:gd name="T105" fmla="*/ 218 h 16058"/>
                <a:gd name="T106" fmla="*/ 10003 w 11063"/>
                <a:gd name="T107" fmla="*/ 67 h 16058"/>
                <a:gd name="T108" fmla="*/ 9632 w 11063"/>
                <a:gd name="T109" fmla="*/ 2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063" h="16058">
                  <a:moveTo>
                    <a:pt x="10057" y="2509"/>
                  </a:moveTo>
                  <a:lnTo>
                    <a:pt x="1006" y="2510"/>
                  </a:lnTo>
                  <a:lnTo>
                    <a:pt x="1006" y="1505"/>
                  </a:lnTo>
                  <a:lnTo>
                    <a:pt x="1007" y="1480"/>
                  </a:lnTo>
                  <a:lnTo>
                    <a:pt x="1009" y="1454"/>
                  </a:lnTo>
                  <a:lnTo>
                    <a:pt x="1012" y="1429"/>
                  </a:lnTo>
                  <a:lnTo>
                    <a:pt x="1016" y="1405"/>
                  </a:lnTo>
                  <a:lnTo>
                    <a:pt x="1022" y="1381"/>
                  </a:lnTo>
                  <a:lnTo>
                    <a:pt x="1028" y="1357"/>
                  </a:lnTo>
                  <a:lnTo>
                    <a:pt x="1036" y="1334"/>
                  </a:lnTo>
                  <a:lnTo>
                    <a:pt x="1045" y="1311"/>
                  </a:lnTo>
                  <a:lnTo>
                    <a:pt x="1055" y="1289"/>
                  </a:lnTo>
                  <a:lnTo>
                    <a:pt x="1066" y="1267"/>
                  </a:lnTo>
                  <a:lnTo>
                    <a:pt x="1078" y="1245"/>
                  </a:lnTo>
                  <a:lnTo>
                    <a:pt x="1091" y="1225"/>
                  </a:lnTo>
                  <a:lnTo>
                    <a:pt x="1105" y="1205"/>
                  </a:lnTo>
                  <a:lnTo>
                    <a:pt x="1120" y="1186"/>
                  </a:lnTo>
                  <a:lnTo>
                    <a:pt x="1136" y="1168"/>
                  </a:lnTo>
                  <a:lnTo>
                    <a:pt x="1153" y="1151"/>
                  </a:lnTo>
                  <a:lnTo>
                    <a:pt x="1171" y="1134"/>
                  </a:lnTo>
                  <a:lnTo>
                    <a:pt x="1189" y="1119"/>
                  </a:lnTo>
                  <a:lnTo>
                    <a:pt x="1208" y="1104"/>
                  </a:lnTo>
                  <a:lnTo>
                    <a:pt x="1227" y="1090"/>
                  </a:lnTo>
                  <a:lnTo>
                    <a:pt x="1248" y="1077"/>
                  </a:lnTo>
                  <a:lnTo>
                    <a:pt x="1268" y="1065"/>
                  </a:lnTo>
                  <a:lnTo>
                    <a:pt x="1290" y="1054"/>
                  </a:lnTo>
                  <a:lnTo>
                    <a:pt x="1312" y="1044"/>
                  </a:lnTo>
                  <a:lnTo>
                    <a:pt x="1336" y="1035"/>
                  </a:lnTo>
                  <a:lnTo>
                    <a:pt x="1359" y="1027"/>
                  </a:lnTo>
                  <a:lnTo>
                    <a:pt x="1383" y="1020"/>
                  </a:lnTo>
                  <a:lnTo>
                    <a:pt x="1407" y="1015"/>
                  </a:lnTo>
                  <a:lnTo>
                    <a:pt x="1432" y="1010"/>
                  </a:lnTo>
                  <a:lnTo>
                    <a:pt x="1457" y="1007"/>
                  </a:lnTo>
                  <a:lnTo>
                    <a:pt x="1482" y="1005"/>
                  </a:lnTo>
                  <a:lnTo>
                    <a:pt x="1509" y="1004"/>
                  </a:lnTo>
                  <a:lnTo>
                    <a:pt x="9554" y="1004"/>
                  </a:lnTo>
                  <a:lnTo>
                    <a:pt x="9581" y="1005"/>
                  </a:lnTo>
                  <a:lnTo>
                    <a:pt x="9606" y="1007"/>
                  </a:lnTo>
                  <a:lnTo>
                    <a:pt x="9631" y="1010"/>
                  </a:lnTo>
                  <a:lnTo>
                    <a:pt x="9655" y="1014"/>
                  </a:lnTo>
                  <a:lnTo>
                    <a:pt x="9680" y="1020"/>
                  </a:lnTo>
                  <a:lnTo>
                    <a:pt x="9703" y="1027"/>
                  </a:lnTo>
                  <a:lnTo>
                    <a:pt x="9727" y="1034"/>
                  </a:lnTo>
                  <a:lnTo>
                    <a:pt x="9750" y="1043"/>
                  </a:lnTo>
                  <a:lnTo>
                    <a:pt x="9772" y="1053"/>
                  </a:lnTo>
                  <a:lnTo>
                    <a:pt x="9794" y="1064"/>
                  </a:lnTo>
                  <a:lnTo>
                    <a:pt x="9815" y="1076"/>
                  </a:lnTo>
                  <a:lnTo>
                    <a:pt x="9835" y="1089"/>
                  </a:lnTo>
                  <a:lnTo>
                    <a:pt x="9855" y="1103"/>
                  </a:lnTo>
                  <a:lnTo>
                    <a:pt x="9874" y="1118"/>
                  </a:lnTo>
                  <a:lnTo>
                    <a:pt x="9892" y="1134"/>
                  </a:lnTo>
                  <a:lnTo>
                    <a:pt x="9909" y="1151"/>
                  </a:lnTo>
                  <a:lnTo>
                    <a:pt x="9927" y="1168"/>
                  </a:lnTo>
                  <a:lnTo>
                    <a:pt x="9943" y="1186"/>
                  </a:lnTo>
                  <a:lnTo>
                    <a:pt x="9957" y="1205"/>
                  </a:lnTo>
                  <a:lnTo>
                    <a:pt x="9971" y="1225"/>
                  </a:lnTo>
                  <a:lnTo>
                    <a:pt x="9984" y="1245"/>
                  </a:lnTo>
                  <a:lnTo>
                    <a:pt x="9996" y="1267"/>
                  </a:lnTo>
                  <a:lnTo>
                    <a:pt x="10008" y="1288"/>
                  </a:lnTo>
                  <a:lnTo>
                    <a:pt x="10018" y="1310"/>
                  </a:lnTo>
                  <a:lnTo>
                    <a:pt x="10026" y="1333"/>
                  </a:lnTo>
                  <a:lnTo>
                    <a:pt x="10034" y="1356"/>
                  </a:lnTo>
                  <a:lnTo>
                    <a:pt x="10041" y="1380"/>
                  </a:lnTo>
                  <a:lnTo>
                    <a:pt x="10047" y="1404"/>
                  </a:lnTo>
                  <a:lnTo>
                    <a:pt x="10051" y="1429"/>
                  </a:lnTo>
                  <a:lnTo>
                    <a:pt x="10054" y="1454"/>
                  </a:lnTo>
                  <a:lnTo>
                    <a:pt x="10056" y="1479"/>
                  </a:lnTo>
                  <a:lnTo>
                    <a:pt x="10057" y="1505"/>
                  </a:lnTo>
                  <a:lnTo>
                    <a:pt x="10057" y="2509"/>
                  </a:lnTo>
                  <a:close/>
                  <a:moveTo>
                    <a:pt x="10057" y="13044"/>
                  </a:moveTo>
                  <a:lnTo>
                    <a:pt x="1006" y="13045"/>
                  </a:lnTo>
                  <a:lnTo>
                    <a:pt x="1006" y="3011"/>
                  </a:lnTo>
                  <a:lnTo>
                    <a:pt x="10057" y="3011"/>
                  </a:lnTo>
                  <a:lnTo>
                    <a:pt x="10057" y="13044"/>
                  </a:lnTo>
                  <a:close/>
                  <a:moveTo>
                    <a:pt x="10057" y="14553"/>
                  </a:moveTo>
                  <a:lnTo>
                    <a:pt x="10056" y="14578"/>
                  </a:lnTo>
                  <a:lnTo>
                    <a:pt x="10054" y="14604"/>
                  </a:lnTo>
                  <a:lnTo>
                    <a:pt x="10051" y="14629"/>
                  </a:lnTo>
                  <a:lnTo>
                    <a:pt x="10047" y="14653"/>
                  </a:lnTo>
                  <a:lnTo>
                    <a:pt x="10041" y="14677"/>
                  </a:lnTo>
                  <a:lnTo>
                    <a:pt x="10034" y="14701"/>
                  </a:lnTo>
                  <a:lnTo>
                    <a:pt x="10026" y="14724"/>
                  </a:lnTo>
                  <a:lnTo>
                    <a:pt x="10018" y="14747"/>
                  </a:lnTo>
                  <a:lnTo>
                    <a:pt x="10008" y="14769"/>
                  </a:lnTo>
                  <a:lnTo>
                    <a:pt x="9996" y="14791"/>
                  </a:lnTo>
                  <a:lnTo>
                    <a:pt x="9984" y="14813"/>
                  </a:lnTo>
                  <a:lnTo>
                    <a:pt x="9971" y="14833"/>
                  </a:lnTo>
                  <a:lnTo>
                    <a:pt x="9957" y="14853"/>
                  </a:lnTo>
                  <a:lnTo>
                    <a:pt x="9943" y="14872"/>
                  </a:lnTo>
                  <a:lnTo>
                    <a:pt x="9927" y="14890"/>
                  </a:lnTo>
                  <a:lnTo>
                    <a:pt x="9909" y="14907"/>
                  </a:lnTo>
                  <a:lnTo>
                    <a:pt x="9892" y="14924"/>
                  </a:lnTo>
                  <a:lnTo>
                    <a:pt x="9874" y="14939"/>
                  </a:lnTo>
                  <a:lnTo>
                    <a:pt x="9855" y="14954"/>
                  </a:lnTo>
                  <a:lnTo>
                    <a:pt x="9835" y="14968"/>
                  </a:lnTo>
                  <a:lnTo>
                    <a:pt x="9815" y="14981"/>
                  </a:lnTo>
                  <a:lnTo>
                    <a:pt x="9794" y="14993"/>
                  </a:lnTo>
                  <a:lnTo>
                    <a:pt x="9772" y="15004"/>
                  </a:lnTo>
                  <a:lnTo>
                    <a:pt x="9750" y="15014"/>
                  </a:lnTo>
                  <a:lnTo>
                    <a:pt x="9727" y="15023"/>
                  </a:lnTo>
                  <a:lnTo>
                    <a:pt x="9703" y="15031"/>
                  </a:lnTo>
                  <a:lnTo>
                    <a:pt x="9680" y="15038"/>
                  </a:lnTo>
                  <a:lnTo>
                    <a:pt x="9655" y="15043"/>
                  </a:lnTo>
                  <a:lnTo>
                    <a:pt x="9631" y="15048"/>
                  </a:lnTo>
                  <a:lnTo>
                    <a:pt x="9606" y="15051"/>
                  </a:lnTo>
                  <a:lnTo>
                    <a:pt x="9581" y="15053"/>
                  </a:lnTo>
                  <a:lnTo>
                    <a:pt x="9554" y="15054"/>
                  </a:lnTo>
                  <a:lnTo>
                    <a:pt x="1509" y="15054"/>
                  </a:lnTo>
                  <a:lnTo>
                    <a:pt x="1482" y="15053"/>
                  </a:lnTo>
                  <a:lnTo>
                    <a:pt x="1457" y="15051"/>
                  </a:lnTo>
                  <a:lnTo>
                    <a:pt x="1432" y="15048"/>
                  </a:lnTo>
                  <a:lnTo>
                    <a:pt x="1407" y="15044"/>
                  </a:lnTo>
                  <a:lnTo>
                    <a:pt x="1383" y="15038"/>
                  </a:lnTo>
                  <a:lnTo>
                    <a:pt x="1359" y="15031"/>
                  </a:lnTo>
                  <a:lnTo>
                    <a:pt x="1336" y="15024"/>
                  </a:lnTo>
                  <a:lnTo>
                    <a:pt x="1312" y="15015"/>
                  </a:lnTo>
                  <a:lnTo>
                    <a:pt x="1290" y="15005"/>
                  </a:lnTo>
                  <a:lnTo>
                    <a:pt x="1268" y="14994"/>
                  </a:lnTo>
                  <a:lnTo>
                    <a:pt x="1248" y="14982"/>
                  </a:lnTo>
                  <a:lnTo>
                    <a:pt x="1227" y="14969"/>
                  </a:lnTo>
                  <a:lnTo>
                    <a:pt x="1208" y="14955"/>
                  </a:lnTo>
                  <a:lnTo>
                    <a:pt x="1189" y="14940"/>
                  </a:lnTo>
                  <a:lnTo>
                    <a:pt x="1171" y="14924"/>
                  </a:lnTo>
                  <a:lnTo>
                    <a:pt x="1153" y="14907"/>
                  </a:lnTo>
                  <a:lnTo>
                    <a:pt x="1136" y="14890"/>
                  </a:lnTo>
                  <a:lnTo>
                    <a:pt x="1120" y="14872"/>
                  </a:lnTo>
                  <a:lnTo>
                    <a:pt x="1105" y="14853"/>
                  </a:lnTo>
                  <a:lnTo>
                    <a:pt x="1091" y="14833"/>
                  </a:lnTo>
                  <a:lnTo>
                    <a:pt x="1078" y="14813"/>
                  </a:lnTo>
                  <a:lnTo>
                    <a:pt x="1066" y="14791"/>
                  </a:lnTo>
                  <a:lnTo>
                    <a:pt x="1055" y="14770"/>
                  </a:lnTo>
                  <a:lnTo>
                    <a:pt x="1045" y="14748"/>
                  </a:lnTo>
                  <a:lnTo>
                    <a:pt x="1036" y="14725"/>
                  </a:lnTo>
                  <a:lnTo>
                    <a:pt x="1028" y="14702"/>
                  </a:lnTo>
                  <a:lnTo>
                    <a:pt x="1022" y="14678"/>
                  </a:lnTo>
                  <a:lnTo>
                    <a:pt x="1016" y="14654"/>
                  </a:lnTo>
                  <a:lnTo>
                    <a:pt x="1012" y="14629"/>
                  </a:lnTo>
                  <a:lnTo>
                    <a:pt x="1009" y="14604"/>
                  </a:lnTo>
                  <a:lnTo>
                    <a:pt x="1007" y="14579"/>
                  </a:lnTo>
                  <a:lnTo>
                    <a:pt x="1006" y="14553"/>
                  </a:lnTo>
                  <a:lnTo>
                    <a:pt x="1006" y="13547"/>
                  </a:lnTo>
                  <a:lnTo>
                    <a:pt x="10057" y="13546"/>
                  </a:lnTo>
                  <a:lnTo>
                    <a:pt x="10057" y="14553"/>
                  </a:lnTo>
                  <a:close/>
                  <a:moveTo>
                    <a:pt x="9554" y="0"/>
                  </a:moveTo>
                  <a:lnTo>
                    <a:pt x="1509" y="1"/>
                  </a:lnTo>
                  <a:lnTo>
                    <a:pt x="1431" y="3"/>
                  </a:lnTo>
                  <a:lnTo>
                    <a:pt x="1354" y="8"/>
                  </a:lnTo>
                  <a:lnTo>
                    <a:pt x="1278" y="18"/>
                  </a:lnTo>
                  <a:lnTo>
                    <a:pt x="1204" y="31"/>
                  </a:lnTo>
                  <a:lnTo>
                    <a:pt x="1131" y="48"/>
                  </a:lnTo>
                  <a:lnTo>
                    <a:pt x="1060" y="68"/>
                  </a:lnTo>
                  <a:lnTo>
                    <a:pt x="990" y="92"/>
                  </a:lnTo>
                  <a:lnTo>
                    <a:pt x="921" y="118"/>
                  </a:lnTo>
                  <a:lnTo>
                    <a:pt x="854" y="149"/>
                  </a:lnTo>
                  <a:lnTo>
                    <a:pt x="789" y="183"/>
                  </a:lnTo>
                  <a:lnTo>
                    <a:pt x="726" y="219"/>
                  </a:lnTo>
                  <a:lnTo>
                    <a:pt x="665" y="258"/>
                  </a:lnTo>
                  <a:lnTo>
                    <a:pt x="605" y="300"/>
                  </a:lnTo>
                  <a:lnTo>
                    <a:pt x="549" y="344"/>
                  </a:lnTo>
                  <a:lnTo>
                    <a:pt x="494" y="391"/>
                  </a:lnTo>
                  <a:lnTo>
                    <a:pt x="442" y="442"/>
                  </a:lnTo>
                  <a:lnTo>
                    <a:pt x="391" y="494"/>
                  </a:lnTo>
                  <a:lnTo>
                    <a:pt x="344" y="548"/>
                  </a:lnTo>
                  <a:lnTo>
                    <a:pt x="300" y="605"/>
                  </a:lnTo>
                  <a:lnTo>
                    <a:pt x="257" y="664"/>
                  </a:lnTo>
                  <a:lnTo>
                    <a:pt x="218" y="726"/>
                  </a:lnTo>
                  <a:lnTo>
                    <a:pt x="182" y="789"/>
                  </a:lnTo>
                  <a:lnTo>
                    <a:pt x="149" y="853"/>
                  </a:lnTo>
                  <a:lnTo>
                    <a:pt x="119" y="920"/>
                  </a:lnTo>
                  <a:lnTo>
                    <a:pt x="92" y="989"/>
                  </a:lnTo>
                  <a:lnTo>
                    <a:pt x="67" y="1058"/>
                  </a:lnTo>
                  <a:lnTo>
                    <a:pt x="47" y="1130"/>
                  </a:lnTo>
                  <a:lnTo>
                    <a:pt x="30" y="1202"/>
                  </a:lnTo>
                  <a:lnTo>
                    <a:pt x="17" y="1277"/>
                  </a:lnTo>
                  <a:lnTo>
                    <a:pt x="8" y="1352"/>
                  </a:lnTo>
                  <a:lnTo>
                    <a:pt x="2" y="1428"/>
                  </a:lnTo>
                  <a:lnTo>
                    <a:pt x="0" y="1505"/>
                  </a:lnTo>
                  <a:lnTo>
                    <a:pt x="0" y="14553"/>
                  </a:lnTo>
                  <a:lnTo>
                    <a:pt x="2" y="14630"/>
                  </a:lnTo>
                  <a:lnTo>
                    <a:pt x="8" y="14706"/>
                  </a:lnTo>
                  <a:lnTo>
                    <a:pt x="17" y="14781"/>
                  </a:lnTo>
                  <a:lnTo>
                    <a:pt x="30" y="14856"/>
                  </a:lnTo>
                  <a:lnTo>
                    <a:pt x="47" y="14929"/>
                  </a:lnTo>
                  <a:lnTo>
                    <a:pt x="67" y="15000"/>
                  </a:lnTo>
                  <a:lnTo>
                    <a:pt x="92" y="15070"/>
                  </a:lnTo>
                  <a:lnTo>
                    <a:pt x="119" y="15139"/>
                  </a:lnTo>
                  <a:lnTo>
                    <a:pt x="149" y="15205"/>
                  </a:lnTo>
                  <a:lnTo>
                    <a:pt x="182" y="15270"/>
                  </a:lnTo>
                  <a:lnTo>
                    <a:pt x="218" y="15333"/>
                  </a:lnTo>
                  <a:lnTo>
                    <a:pt x="257" y="15395"/>
                  </a:lnTo>
                  <a:lnTo>
                    <a:pt x="300" y="15453"/>
                  </a:lnTo>
                  <a:lnTo>
                    <a:pt x="344" y="15510"/>
                  </a:lnTo>
                  <a:lnTo>
                    <a:pt x="391" y="15565"/>
                  </a:lnTo>
                  <a:lnTo>
                    <a:pt x="442" y="15617"/>
                  </a:lnTo>
                  <a:lnTo>
                    <a:pt x="494" y="15667"/>
                  </a:lnTo>
                  <a:lnTo>
                    <a:pt x="549" y="15714"/>
                  </a:lnTo>
                  <a:lnTo>
                    <a:pt x="605" y="15759"/>
                  </a:lnTo>
                  <a:lnTo>
                    <a:pt x="665" y="15801"/>
                  </a:lnTo>
                  <a:lnTo>
                    <a:pt x="726" y="15840"/>
                  </a:lnTo>
                  <a:lnTo>
                    <a:pt x="789" y="15876"/>
                  </a:lnTo>
                  <a:lnTo>
                    <a:pt x="854" y="15909"/>
                  </a:lnTo>
                  <a:lnTo>
                    <a:pt x="921" y="15940"/>
                  </a:lnTo>
                  <a:lnTo>
                    <a:pt x="990" y="15967"/>
                  </a:lnTo>
                  <a:lnTo>
                    <a:pt x="1060" y="15991"/>
                  </a:lnTo>
                  <a:lnTo>
                    <a:pt x="1131" y="16011"/>
                  </a:lnTo>
                  <a:lnTo>
                    <a:pt x="1204" y="16028"/>
                  </a:lnTo>
                  <a:lnTo>
                    <a:pt x="1278" y="16041"/>
                  </a:lnTo>
                  <a:lnTo>
                    <a:pt x="1354" y="16050"/>
                  </a:lnTo>
                  <a:lnTo>
                    <a:pt x="1431" y="16056"/>
                  </a:lnTo>
                  <a:lnTo>
                    <a:pt x="1509" y="16058"/>
                  </a:lnTo>
                  <a:lnTo>
                    <a:pt x="9554" y="16057"/>
                  </a:lnTo>
                  <a:lnTo>
                    <a:pt x="9632" y="16055"/>
                  </a:lnTo>
                  <a:lnTo>
                    <a:pt x="9708" y="16050"/>
                  </a:lnTo>
                  <a:lnTo>
                    <a:pt x="9784" y="16040"/>
                  </a:lnTo>
                  <a:lnTo>
                    <a:pt x="9858" y="16027"/>
                  </a:lnTo>
                  <a:lnTo>
                    <a:pt x="9932" y="16010"/>
                  </a:lnTo>
                  <a:lnTo>
                    <a:pt x="10003" y="15990"/>
                  </a:lnTo>
                  <a:lnTo>
                    <a:pt x="10073" y="15966"/>
                  </a:lnTo>
                  <a:lnTo>
                    <a:pt x="10142" y="15940"/>
                  </a:lnTo>
                  <a:lnTo>
                    <a:pt x="10208" y="15909"/>
                  </a:lnTo>
                  <a:lnTo>
                    <a:pt x="10274" y="15875"/>
                  </a:lnTo>
                  <a:lnTo>
                    <a:pt x="10337" y="15839"/>
                  </a:lnTo>
                  <a:lnTo>
                    <a:pt x="10397" y="15800"/>
                  </a:lnTo>
                  <a:lnTo>
                    <a:pt x="10457" y="15758"/>
                  </a:lnTo>
                  <a:lnTo>
                    <a:pt x="10514" y="15714"/>
                  </a:lnTo>
                  <a:lnTo>
                    <a:pt x="10568" y="15667"/>
                  </a:lnTo>
                  <a:lnTo>
                    <a:pt x="10620" y="15616"/>
                  </a:lnTo>
                  <a:lnTo>
                    <a:pt x="10671" y="15564"/>
                  </a:lnTo>
                  <a:lnTo>
                    <a:pt x="10718" y="15510"/>
                  </a:lnTo>
                  <a:lnTo>
                    <a:pt x="10763" y="15453"/>
                  </a:lnTo>
                  <a:lnTo>
                    <a:pt x="10806" y="15394"/>
                  </a:lnTo>
                  <a:lnTo>
                    <a:pt x="10845" y="15332"/>
                  </a:lnTo>
                  <a:lnTo>
                    <a:pt x="10881" y="15269"/>
                  </a:lnTo>
                  <a:lnTo>
                    <a:pt x="10914" y="15205"/>
                  </a:lnTo>
                  <a:lnTo>
                    <a:pt x="10944" y="15138"/>
                  </a:lnTo>
                  <a:lnTo>
                    <a:pt x="10971" y="15069"/>
                  </a:lnTo>
                  <a:lnTo>
                    <a:pt x="10996" y="15000"/>
                  </a:lnTo>
                  <a:lnTo>
                    <a:pt x="11016" y="14928"/>
                  </a:lnTo>
                  <a:lnTo>
                    <a:pt x="11032" y="14856"/>
                  </a:lnTo>
                  <a:lnTo>
                    <a:pt x="11046" y="14781"/>
                  </a:lnTo>
                  <a:lnTo>
                    <a:pt x="11055" y="14706"/>
                  </a:lnTo>
                  <a:lnTo>
                    <a:pt x="11061" y="14630"/>
                  </a:lnTo>
                  <a:lnTo>
                    <a:pt x="11063" y="14553"/>
                  </a:lnTo>
                  <a:lnTo>
                    <a:pt x="11063" y="1505"/>
                  </a:lnTo>
                  <a:lnTo>
                    <a:pt x="11061" y="1428"/>
                  </a:lnTo>
                  <a:lnTo>
                    <a:pt x="11055" y="1352"/>
                  </a:lnTo>
                  <a:lnTo>
                    <a:pt x="11046" y="1277"/>
                  </a:lnTo>
                  <a:lnTo>
                    <a:pt x="11032" y="1202"/>
                  </a:lnTo>
                  <a:lnTo>
                    <a:pt x="11016" y="1129"/>
                  </a:lnTo>
                  <a:lnTo>
                    <a:pt x="10996" y="1058"/>
                  </a:lnTo>
                  <a:lnTo>
                    <a:pt x="10971" y="988"/>
                  </a:lnTo>
                  <a:lnTo>
                    <a:pt x="10944" y="919"/>
                  </a:lnTo>
                  <a:lnTo>
                    <a:pt x="10914" y="853"/>
                  </a:lnTo>
                  <a:lnTo>
                    <a:pt x="10881" y="788"/>
                  </a:lnTo>
                  <a:lnTo>
                    <a:pt x="10845" y="725"/>
                  </a:lnTo>
                  <a:lnTo>
                    <a:pt x="10806" y="663"/>
                  </a:lnTo>
                  <a:lnTo>
                    <a:pt x="10763" y="605"/>
                  </a:lnTo>
                  <a:lnTo>
                    <a:pt x="10718" y="548"/>
                  </a:lnTo>
                  <a:lnTo>
                    <a:pt x="10671" y="493"/>
                  </a:lnTo>
                  <a:lnTo>
                    <a:pt x="10620" y="441"/>
                  </a:lnTo>
                  <a:lnTo>
                    <a:pt x="10568" y="391"/>
                  </a:lnTo>
                  <a:lnTo>
                    <a:pt x="10514" y="344"/>
                  </a:lnTo>
                  <a:lnTo>
                    <a:pt x="10457" y="299"/>
                  </a:lnTo>
                  <a:lnTo>
                    <a:pt x="10397" y="257"/>
                  </a:lnTo>
                  <a:lnTo>
                    <a:pt x="10337" y="218"/>
                  </a:lnTo>
                  <a:lnTo>
                    <a:pt x="10274" y="182"/>
                  </a:lnTo>
                  <a:lnTo>
                    <a:pt x="10208" y="149"/>
                  </a:lnTo>
                  <a:lnTo>
                    <a:pt x="10142" y="118"/>
                  </a:lnTo>
                  <a:lnTo>
                    <a:pt x="10073" y="91"/>
                  </a:lnTo>
                  <a:lnTo>
                    <a:pt x="10003" y="67"/>
                  </a:lnTo>
                  <a:lnTo>
                    <a:pt x="9932" y="47"/>
                  </a:lnTo>
                  <a:lnTo>
                    <a:pt x="9858" y="30"/>
                  </a:lnTo>
                  <a:lnTo>
                    <a:pt x="9784" y="17"/>
                  </a:lnTo>
                  <a:lnTo>
                    <a:pt x="9708" y="8"/>
                  </a:lnTo>
                  <a:lnTo>
                    <a:pt x="9632" y="2"/>
                  </a:lnTo>
                  <a:lnTo>
                    <a:pt x="955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08" name="íṥľïďê">
              <a:extLst>
                <a:ext uri="{FF2B5EF4-FFF2-40B4-BE49-F238E27FC236}">
                  <a16:creationId xmlns:a16="http://schemas.microsoft.com/office/drawing/2014/main" id="{B0DA0330-DA0E-4E31-B79C-A71937F7DD60}"/>
                </a:ext>
              </a:extLst>
            </p:cNvPr>
            <p:cNvSpPr/>
            <p:nvPr/>
          </p:nvSpPr>
          <p:spPr bwMode="auto">
            <a:xfrm>
              <a:off x="8746210" y="1395302"/>
              <a:ext cx="31635" cy="7478"/>
            </a:xfrm>
            <a:custGeom>
              <a:avLst/>
              <a:gdLst>
                <a:gd name="T0" fmla="*/ 2010 w 2011"/>
                <a:gd name="T1" fmla="*/ 276 h 502"/>
                <a:gd name="T2" fmla="*/ 2003 w 2011"/>
                <a:gd name="T3" fmla="*/ 314 h 502"/>
                <a:gd name="T4" fmla="*/ 1991 w 2011"/>
                <a:gd name="T5" fmla="*/ 349 h 502"/>
                <a:gd name="T6" fmla="*/ 1975 w 2011"/>
                <a:gd name="T7" fmla="*/ 382 h 502"/>
                <a:gd name="T8" fmla="*/ 1954 w 2011"/>
                <a:gd name="T9" fmla="*/ 411 h 502"/>
                <a:gd name="T10" fmla="*/ 1929 w 2011"/>
                <a:gd name="T11" fmla="*/ 437 h 502"/>
                <a:gd name="T12" fmla="*/ 1900 w 2011"/>
                <a:gd name="T13" fmla="*/ 459 h 502"/>
                <a:gd name="T14" fmla="*/ 1868 w 2011"/>
                <a:gd name="T15" fmla="*/ 477 h 502"/>
                <a:gd name="T16" fmla="*/ 1834 w 2011"/>
                <a:gd name="T17" fmla="*/ 491 h 502"/>
                <a:gd name="T18" fmla="*/ 1798 w 2011"/>
                <a:gd name="T19" fmla="*/ 499 h 502"/>
                <a:gd name="T20" fmla="*/ 1760 w 2011"/>
                <a:gd name="T21" fmla="*/ 502 h 502"/>
                <a:gd name="T22" fmla="*/ 225 w 2011"/>
                <a:gd name="T23" fmla="*/ 501 h 502"/>
                <a:gd name="T24" fmla="*/ 188 w 2011"/>
                <a:gd name="T25" fmla="*/ 494 h 502"/>
                <a:gd name="T26" fmla="*/ 153 w 2011"/>
                <a:gd name="T27" fmla="*/ 482 h 502"/>
                <a:gd name="T28" fmla="*/ 120 w 2011"/>
                <a:gd name="T29" fmla="*/ 466 h 502"/>
                <a:gd name="T30" fmla="*/ 91 w 2011"/>
                <a:gd name="T31" fmla="*/ 445 h 502"/>
                <a:gd name="T32" fmla="*/ 65 w 2011"/>
                <a:gd name="T33" fmla="*/ 420 h 502"/>
                <a:gd name="T34" fmla="*/ 43 w 2011"/>
                <a:gd name="T35" fmla="*/ 392 h 502"/>
                <a:gd name="T36" fmla="*/ 25 w 2011"/>
                <a:gd name="T37" fmla="*/ 360 h 502"/>
                <a:gd name="T38" fmla="*/ 11 w 2011"/>
                <a:gd name="T39" fmla="*/ 326 h 502"/>
                <a:gd name="T40" fmla="*/ 3 w 2011"/>
                <a:gd name="T41" fmla="*/ 289 h 502"/>
                <a:gd name="T42" fmla="*/ 0 w 2011"/>
                <a:gd name="T43" fmla="*/ 251 h 502"/>
                <a:gd name="T44" fmla="*/ 3 w 2011"/>
                <a:gd name="T45" fmla="*/ 213 h 502"/>
                <a:gd name="T46" fmla="*/ 11 w 2011"/>
                <a:gd name="T47" fmla="*/ 177 h 502"/>
                <a:gd name="T48" fmla="*/ 25 w 2011"/>
                <a:gd name="T49" fmla="*/ 143 h 502"/>
                <a:gd name="T50" fmla="*/ 43 w 2011"/>
                <a:gd name="T51" fmla="*/ 111 h 502"/>
                <a:gd name="T52" fmla="*/ 65 w 2011"/>
                <a:gd name="T53" fmla="*/ 83 h 502"/>
                <a:gd name="T54" fmla="*/ 91 w 2011"/>
                <a:gd name="T55" fmla="*/ 58 h 502"/>
                <a:gd name="T56" fmla="*/ 120 w 2011"/>
                <a:gd name="T57" fmla="*/ 37 h 502"/>
                <a:gd name="T58" fmla="*/ 153 w 2011"/>
                <a:gd name="T59" fmla="*/ 21 h 502"/>
                <a:gd name="T60" fmla="*/ 188 w 2011"/>
                <a:gd name="T61" fmla="*/ 8 h 502"/>
                <a:gd name="T62" fmla="*/ 225 w 2011"/>
                <a:gd name="T63" fmla="*/ 1 h 502"/>
                <a:gd name="T64" fmla="*/ 1760 w 2011"/>
                <a:gd name="T65" fmla="*/ 0 h 502"/>
                <a:gd name="T66" fmla="*/ 1798 w 2011"/>
                <a:gd name="T67" fmla="*/ 3 h 502"/>
                <a:gd name="T68" fmla="*/ 1834 w 2011"/>
                <a:gd name="T69" fmla="*/ 11 h 502"/>
                <a:gd name="T70" fmla="*/ 1868 w 2011"/>
                <a:gd name="T71" fmla="*/ 26 h 502"/>
                <a:gd name="T72" fmla="*/ 1900 w 2011"/>
                <a:gd name="T73" fmla="*/ 44 h 502"/>
                <a:gd name="T74" fmla="*/ 1929 w 2011"/>
                <a:gd name="T75" fmla="*/ 66 h 502"/>
                <a:gd name="T76" fmla="*/ 1954 w 2011"/>
                <a:gd name="T77" fmla="*/ 92 h 502"/>
                <a:gd name="T78" fmla="*/ 1975 w 2011"/>
                <a:gd name="T79" fmla="*/ 121 h 502"/>
                <a:gd name="T80" fmla="*/ 1991 w 2011"/>
                <a:gd name="T81" fmla="*/ 154 h 502"/>
                <a:gd name="T82" fmla="*/ 2003 w 2011"/>
                <a:gd name="T83" fmla="*/ 189 h 502"/>
                <a:gd name="T84" fmla="*/ 2010 w 2011"/>
                <a:gd name="T85" fmla="*/ 225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11" h="502">
                  <a:moveTo>
                    <a:pt x="2011" y="251"/>
                  </a:moveTo>
                  <a:lnTo>
                    <a:pt x="2011" y="264"/>
                  </a:lnTo>
                  <a:lnTo>
                    <a:pt x="2010" y="276"/>
                  </a:lnTo>
                  <a:lnTo>
                    <a:pt x="2008" y="289"/>
                  </a:lnTo>
                  <a:lnTo>
                    <a:pt x="2006" y="302"/>
                  </a:lnTo>
                  <a:lnTo>
                    <a:pt x="2003" y="314"/>
                  </a:lnTo>
                  <a:lnTo>
                    <a:pt x="2000" y="326"/>
                  </a:lnTo>
                  <a:lnTo>
                    <a:pt x="1996" y="338"/>
                  </a:lnTo>
                  <a:lnTo>
                    <a:pt x="1991" y="349"/>
                  </a:lnTo>
                  <a:lnTo>
                    <a:pt x="1986" y="360"/>
                  </a:lnTo>
                  <a:lnTo>
                    <a:pt x="1981" y="371"/>
                  </a:lnTo>
                  <a:lnTo>
                    <a:pt x="1975" y="382"/>
                  </a:lnTo>
                  <a:lnTo>
                    <a:pt x="1968" y="392"/>
                  </a:lnTo>
                  <a:lnTo>
                    <a:pt x="1961" y="402"/>
                  </a:lnTo>
                  <a:lnTo>
                    <a:pt x="1954" y="411"/>
                  </a:lnTo>
                  <a:lnTo>
                    <a:pt x="1946" y="420"/>
                  </a:lnTo>
                  <a:lnTo>
                    <a:pt x="1938" y="429"/>
                  </a:lnTo>
                  <a:lnTo>
                    <a:pt x="1929" y="437"/>
                  </a:lnTo>
                  <a:lnTo>
                    <a:pt x="1920" y="445"/>
                  </a:lnTo>
                  <a:lnTo>
                    <a:pt x="1910" y="452"/>
                  </a:lnTo>
                  <a:lnTo>
                    <a:pt x="1900" y="459"/>
                  </a:lnTo>
                  <a:lnTo>
                    <a:pt x="1890" y="466"/>
                  </a:lnTo>
                  <a:lnTo>
                    <a:pt x="1879" y="472"/>
                  </a:lnTo>
                  <a:lnTo>
                    <a:pt x="1868" y="477"/>
                  </a:lnTo>
                  <a:lnTo>
                    <a:pt x="1857" y="482"/>
                  </a:lnTo>
                  <a:lnTo>
                    <a:pt x="1846" y="487"/>
                  </a:lnTo>
                  <a:lnTo>
                    <a:pt x="1834" y="491"/>
                  </a:lnTo>
                  <a:lnTo>
                    <a:pt x="1822" y="494"/>
                  </a:lnTo>
                  <a:lnTo>
                    <a:pt x="1810" y="497"/>
                  </a:lnTo>
                  <a:lnTo>
                    <a:pt x="1798" y="499"/>
                  </a:lnTo>
                  <a:lnTo>
                    <a:pt x="1785" y="501"/>
                  </a:lnTo>
                  <a:lnTo>
                    <a:pt x="1773" y="502"/>
                  </a:lnTo>
                  <a:lnTo>
                    <a:pt x="1760" y="502"/>
                  </a:lnTo>
                  <a:lnTo>
                    <a:pt x="251" y="502"/>
                  </a:lnTo>
                  <a:lnTo>
                    <a:pt x="238" y="502"/>
                  </a:lnTo>
                  <a:lnTo>
                    <a:pt x="225" y="501"/>
                  </a:lnTo>
                  <a:lnTo>
                    <a:pt x="213" y="499"/>
                  </a:lnTo>
                  <a:lnTo>
                    <a:pt x="200" y="497"/>
                  </a:lnTo>
                  <a:lnTo>
                    <a:pt x="188" y="494"/>
                  </a:lnTo>
                  <a:lnTo>
                    <a:pt x="176" y="491"/>
                  </a:lnTo>
                  <a:lnTo>
                    <a:pt x="165" y="487"/>
                  </a:lnTo>
                  <a:lnTo>
                    <a:pt x="153" y="482"/>
                  </a:lnTo>
                  <a:lnTo>
                    <a:pt x="142" y="477"/>
                  </a:lnTo>
                  <a:lnTo>
                    <a:pt x="132" y="472"/>
                  </a:lnTo>
                  <a:lnTo>
                    <a:pt x="120" y="466"/>
                  </a:lnTo>
                  <a:lnTo>
                    <a:pt x="110" y="459"/>
                  </a:lnTo>
                  <a:lnTo>
                    <a:pt x="100" y="452"/>
                  </a:lnTo>
                  <a:lnTo>
                    <a:pt x="91" y="445"/>
                  </a:lnTo>
                  <a:lnTo>
                    <a:pt x="82" y="437"/>
                  </a:lnTo>
                  <a:lnTo>
                    <a:pt x="73" y="429"/>
                  </a:lnTo>
                  <a:lnTo>
                    <a:pt x="65" y="420"/>
                  </a:lnTo>
                  <a:lnTo>
                    <a:pt x="57" y="411"/>
                  </a:lnTo>
                  <a:lnTo>
                    <a:pt x="49" y="402"/>
                  </a:lnTo>
                  <a:lnTo>
                    <a:pt x="43" y="392"/>
                  </a:lnTo>
                  <a:lnTo>
                    <a:pt x="36" y="382"/>
                  </a:lnTo>
                  <a:lnTo>
                    <a:pt x="30" y="371"/>
                  </a:lnTo>
                  <a:lnTo>
                    <a:pt x="25" y="360"/>
                  </a:lnTo>
                  <a:lnTo>
                    <a:pt x="20" y="349"/>
                  </a:lnTo>
                  <a:lnTo>
                    <a:pt x="15" y="338"/>
                  </a:lnTo>
                  <a:lnTo>
                    <a:pt x="11" y="326"/>
                  </a:lnTo>
                  <a:lnTo>
                    <a:pt x="8" y="314"/>
                  </a:lnTo>
                  <a:lnTo>
                    <a:pt x="5" y="302"/>
                  </a:lnTo>
                  <a:lnTo>
                    <a:pt x="3" y="289"/>
                  </a:lnTo>
                  <a:lnTo>
                    <a:pt x="1" y="276"/>
                  </a:lnTo>
                  <a:lnTo>
                    <a:pt x="0" y="264"/>
                  </a:lnTo>
                  <a:lnTo>
                    <a:pt x="0" y="251"/>
                  </a:lnTo>
                  <a:lnTo>
                    <a:pt x="0" y="238"/>
                  </a:lnTo>
                  <a:lnTo>
                    <a:pt x="1" y="225"/>
                  </a:lnTo>
                  <a:lnTo>
                    <a:pt x="3" y="213"/>
                  </a:lnTo>
                  <a:lnTo>
                    <a:pt x="5" y="201"/>
                  </a:lnTo>
                  <a:lnTo>
                    <a:pt x="8" y="189"/>
                  </a:lnTo>
                  <a:lnTo>
                    <a:pt x="11" y="177"/>
                  </a:lnTo>
                  <a:lnTo>
                    <a:pt x="15" y="165"/>
                  </a:lnTo>
                  <a:lnTo>
                    <a:pt x="20" y="154"/>
                  </a:lnTo>
                  <a:lnTo>
                    <a:pt x="25" y="143"/>
                  </a:lnTo>
                  <a:lnTo>
                    <a:pt x="30" y="132"/>
                  </a:lnTo>
                  <a:lnTo>
                    <a:pt x="36" y="121"/>
                  </a:lnTo>
                  <a:lnTo>
                    <a:pt x="43" y="111"/>
                  </a:lnTo>
                  <a:lnTo>
                    <a:pt x="49" y="101"/>
                  </a:lnTo>
                  <a:lnTo>
                    <a:pt x="57" y="92"/>
                  </a:lnTo>
                  <a:lnTo>
                    <a:pt x="65" y="83"/>
                  </a:lnTo>
                  <a:lnTo>
                    <a:pt x="73" y="74"/>
                  </a:lnTo>
                  <a:lnTo>
                    <a:pt x="82" y="66"/>
                  </a:lnTo>
                  <a:lnTo>
                    <a:pt x="91" y="58"/>
                  </a:lnTo>
                  <a:lnTo>
                    <a:pt x="100" y="51"/>
                  </a:lnTo>
                  <a:lnTo>
                    <a:pt x="110" y="44"/>
                  </a:lnTo>
                  <a:lnTo>
                    <a:pt x="120" y="37"/>
                  </a:lnTo>
                  <a:lnTo>
                    <a:pt x="132" y="31"/>
                  </a:lnTo>
                  <a:lnTo>
                    <a:pt x="142" y="26"/>
                  </a:lnTo>
                  <a:lnTo>
                    <a:pt x="153" y="21"/>
                  </a:lnTo>
                  <a:lnTo>
                    <a:pt x="165" y="15"/>
                  </a:lnTo>
                  <a:lnTo>
                    <a:pt x="176" y="11"/>
                  </a:lnTo>
                  <a:lnTo>
                    <a:pt x="188" y="8"/>
                  </a:lnTo>
                  <a:lnTo>
                    <a:pt x="200" y="5"/>
                  </a:lnTo>
                  <a:lnTo>
                    <a:pt x="213" y="3"/>
                  </a:lnTo>
                  <a:lnTo>
                    <a:pt x="225" y="1"/>
                  </a:lnTo>
                  <a:lnTo>
                    <a:pt x="238" y="0"/>
                  </a:lnTo>
                  <a:lnTo>
                    <a:pt x="251" y="0"/>
                  </a:lnTo>
                  <a:lnTo>
                    <a:pt x="1760" y="0"/>
                  </a:lnTo>
                  <a:lnTo>
                    <a:pt x="1773" y="0"/>
                  </a:lnTo>
                  <a:lnTo>
                    <a:pt x="1785" y="1"/>
                  </a:lnTo>
                  <a:lnTo>
                    <a:pt x="1798" y="3"/>
                  </a:lnTo>
                  <a:lnTo>
                    <a:pt x="1810" y="5"/>
                  </a:lnTo>
                  <a:lnTo>
                    <a:pt x="1822" y="8"/>
                  </a:lnTo>
                  <a:lnTo>
                    <a:pt x="1834" y="11"/>
                  </a:lnTo>
                  <a:lnTo>
                    <a:pt x="1846" y="15"/>
                  </a:lnTo>
                  <a:lnTo>
                    <a:pt x="1857" y="21"/>
                  </a:lnTo>
                  <a:lnTo>
                    <a:pt x="1868" y="26"/>
                  </a:lnTo>
                  <a:lnTo>
                    <a:pt x="1879" y="31"/>
                  </a:lnTo>
                  <a:lnTo>
                    <a:pt x="1890" y="37"/>
                  </a:lnTo>
                  <a:lnTo>
                    <a:pt x="1900" y="44"/>
                  </a:lnTo>
                  <a:lnTo>
                    <a:pt x="1910" y="51"/>
                  </a:lnTo>
                  <a:lnTo>
                    <a:pt x="1920" y="58"/>
                  </a:lnTo>
                  <a:lnTo>
                    <a:pt x="1929" y="66"/>
                  </a:lnTo>
                  <a:lnTo>
                    <a:pt x="1938" y="74"/>
                  </a:lnTo>
                  <a:lnTo>
                    <a:pt x="1946" y="83"/>
                  </a:lnTo>
                  <a:lnTo>
                    <a:pt x="1954" y="92"/>
                  </a:lnTo>
                  <a:lnTo>
                    <a:pt x="1961" y="101"/>
                  </a:lnTo>
                  <a:lnTo>
                    <a:pt x="1968" y="111"/>
                  </a:lnTo>
                  <a:lnTo>
                    <a:pt x="1975" y="121"/>
                  </a:lnTo>
                  <a:lnTo>
                    <a:pt x="1981" y="132"/>
                  </a:lnTo>
                  <a:lnTo>
                    <a:pt x="1986" y="143"/>
                  </a:lnTo>
                  <a:lnTo>
                    <a:pt x="1991" y="154"/>
                  </a:lnTo>
                  <a:lnTo>
                    <a:pt x="1996" y="165"/>
                  </a:lnTo>
                  <a:lnTo>
                    <a:pt x="2000" y="177"/>
                  </a:lnTo>
                  <a:lnTo>
                    <a:pt x="2003" y="189"/>
                  </a:lnTo>
                  <a:lnTo>
                    <a:pt x="2006" y="201"/>
                  </a:lnTo>
                  <a:lnTo>
                    <a:pt x="2008" y="213"/>
                  </a:lnTo>
                  <a:lnTo>
                    <a:pt x="2010" y="225"/>
                  </a:lnTo>
                  <a:lnTo>
                    <a:pt x="2011" y="238"/>
                  </a:lnTo>
                  <a:lnTo>
                    <a:pt x="2011" y="2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09" name="îŝḻïḍê">
              <a:extLst>
                <a:ext uri="{FF2B5EF4-FFF2-40B4-BE49-F238E27FC236}">
                  <a16:creationId xmlns:a16="http://schemas.microsoft.com/office/drawing/2014/main" id="{A1AACE87-1148-4C46-8300-48B8C22777F7}"/>
                </a:ext>
              </a:extLst>
            </p:cNvPr>
            <p:cNvSpPr/>
            <p:nvPr/>
          </p:nvSpPr>
          <p:spPr bwMode="auto">
            <a:xfrm>
              <a:off x="8754263" y="1590293"/>
              <a:ext cx="15530" cy="7478"/>
            </a:xfrm>
            <a:custGeom>
              <a:avLst/>
              <a:gdLst>
                <a:gd name="T0" fmla="*/ 1004 w 1005"/>
                <a:gd name="T1" fmla="*/ 277 h 503"/>
                <a:gd name="T2" fmla="*/ 997 w 1005"/>
                <a:gd name="T3" fmla="*/ 314 h 503"/>
                <a:gd name="T4" fmla="*/ 985 w 1005"/>
                <a:gd name="T5" fmla="*/ 349 h 503"/>
                <a:gd name="T6" fmla="*/ 969 w 1005"/>
                <a:gd name="T7" fmla="*/ 381 h 503"/>
                <a:gd name="T8" fmla="*/ 948 w 1005"/>
                <a:gd name="T9" fmla="*/ 411 h 503"/>
                <a:gd name="T10" fmla="*/ 923 w 1005"/>
                <a:gd name="T11" fmla="*/ 437 h 503"/>
                <a:gd name="T12" fmla="*/ 894 w 1005"/>
                <a:gd name="T13" fmla="*/ 459 h 503"/>
                <a:gd name="T14" fmla="*/ 863 w 1005"/>
                <a:gd name="T15" fmla="*/ 477 h 503"/>
                <a:gd name="T16" fmla="*/ 828 w 1005"/>
                <a:gd name="T17" fmla="*/ 491 h 503"/>
                <a:gd name="T18" fmla="*/ 792 w 1005"/>
                <a:gd name="T19" fmla="*/ 500 h 503"/>
                <a:gd name="T20" fmla="*/ 754 w 1005"/>
                <a:gd name="T21" fmla="*/ 503 h 503"/>
                <a:gd name="T22" fmla="*/ 225 w 1005"/>
                <a:gd name="T23" fmla="*/ 501 h 503"/>
                <a:gd name="T24" fmla="*/ 188 w 1005"/>
                <a:gd name="T25" fmla="*/ 495 h 503"/>
                <a:gd name="T26" fmla="*/ 153 w 1005"/>
                <a:gd name="T27" fmla="*/ 482 h 503"/>
                <a:gd name="T28" fmla="*/ 120 w 1005"/>
                <a:gd name="T29" fmla="*/ 465 h 503"/>
                <a:gd name="T30" fmla="*/ 91 w 1005"/>
                <a:gd name="T31" fmla="*/ 444 h 503"/>
                <a:gd name="T32" fmla="*/ 65 w 1005"/>
                <a:gd name="T33" fmla="*/ 420 h 503"/>
                <a:gd name="T34" fmla="*/ 43 w 1005"/>
                <a:gd name="T35" fmla="*/ 391 h 503"/>
                <a:gd name="T36" fmla="*/ 25 w 1005"/>
                <a:gd name="T37" fmla="*/ 360 h 503"/>
                <a:gd name="T38" fmla="*/ 11 w 1005"/>
                <a:gd name="T39" fmla="*/ 326 h 503"/>
                <a:gd name="T40" fmla="*/ 3 w 1005"/>
                <a:gd name="T41" fmla="*/ 290 h 503"/>
                <a:gd name="T42" fmla="*/ 0 w 1005"/>
                <a:gd name="T43" fmla="*/ 252 h 503"/>
                <a:gd name="T44" fmla="*/ 3 w 1005"/>
                <a:gd name="T45" fmla="*/ 214 h 503"/>
                <a:gd name="T46" fmla="*/ 11 w 1005"/>
                <a:gd name="T47" fmla="*/ 176 h 503"/>
                <a:gd name="T48" fmla="*/ 25 w 1005"/>
                <a:gd name="T49" fmla="*/ 142 h 503"/>
                <a:gd name="T50" fmla="*/ 43 w 1005"/>
                <a:gd name="T51" fmla="*/ 111 h 503"/>
                <a:gd name="T52" fmla="*/ 65 w 1005"/>
                <a:gd name="T53" fmla="*/ 82 h 503"/>
                <a:gd name="T54" fmla="*/ 91 w 1005"/>
                <a:gd name="T55" fmla="*/ 58 h 503"/>
                <a:gd name="T56" fmla="*/ 120 w 1005"/>
                <a:gd name="T57" fmla="*/ 37 h 503"/>
                <a:gd name="T58" fmla="*/ 153 w 1005"/>
                <a:gd name="T59" fmla="*/ 20 h 503"/>
                <a:gd name="T60" fmla="*/ 188 w 1005"/>
                <a:gd name="T61" fmla="*/ 8 h 503"/>
                <a:gd name="T62" fmla="*/ 225 w 1005"/>
                <a:gd name="T63" fmla="*/ 2 h 503"/>
                <a:gd name="T64" fmla="*/ 754 w 1005"/>
                <a:gd name="T65" fmla="*/ 0 h 503"/>
                <a:gd name="T66" fmla="*/ 792 w 1005"/>
                <a:gd name="T67" fmla="*/ 3 h 503"/>
                <a:gd name="T68" fmla="*/ 828 w 1005"/>
                <a:gd name="T69" fmla="*/ 12 h 503"/>
                <a:gd name="T70" fmla="*/ 863 w 1005"/>
                <a:gd name="T71" fmla="*/ 25 h 503"/>
                <a:gd name="T72" fmla="*/ 894 w 1005"/>
                <a:gd name="T73" fmla="*/ 43 h 503"/>
                <a:gd name="T74" fmla="*/ 923 w 1005"/>
                <a:gd name="T75" fmla="*/ 65 h 503"/>
                <a:gd name="T76" fmla="*/ 948 w 1005"/>
                <a:gd name="T77" fmla="*/ 92 h 503"/>
                <a:gd name="T78" fmla="*/ 969 w 1005"/>
                <a:gd name="T79" fmla="*/ 121 h 503"/>
                <a:gd name="T80" fmla="*/ 985 w 1005"/>
                <a:gd name="T81" fmla="*/ 153 h 503"/>
                <a:gd name="T82" fmla="*/ 997 w 1005"/>
                <a:gd name="T83" fmla="*/ 188 h 503"/>
                <a:gd name="T84" fmla="*/ 1004 w 1005"/>
                <a:gd name="T85" fmla="*/ 226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5" h="503">
                  <a:moveTo>
                    <a:pt x="1005" y="252"/>
                  </a:moveTo>
                  <a:lnTo>
                    <a:pt x="1005" y="264"/>
                  </a:lnTo>
                  <a:lnTo>
                    <a:pt x="1004" y="277"/>
                  </a:lnTo>
                  <a:lnTo>
                    <a:pt x="1002" y="290"/>
                  </a:lnTo>
                  <a:lnTo>
                    <a:pt x="1000" y="302"/>
                  </a:lnTo>
                  <a:lnTo>
                    <a:pt x="997" y="314"/>
                  </a:lnTo>
                  <a:lnTo>
                    <a:pt x="994" y="326"/>
                  </a:lnTo>
                  <a:lnTo>
                    <a:pt x="990" y="337"/>
                  </a:lnTo>
                  <a:lnTo>
                    <a:pt x="985" y="349"/>
                  </a:lnTo>
                  <a:lnTo>
                    <a:pt x="980" y="360"/>
                  </a:lnTo>
                  <a:lnTo>
                    <a:pt x="975" y="371"/>
                  </a:lnTo>
                  <a:lnTo>
                    <a:pt x="969" y="381"/>
                  </a:lnTo>
                  <a:lnTo>
                    <a:pt x="962" y="391"/>
                  </a:lnTo>
                  <a:lnTo>
                    <a:pt x="955" y="401"/>
                  </a:lnTo>
                  <a:lnTo>
                    <a:pt x="948" y="411"/>
                  </a:lnTo>
                  <a:lnTo>
                    <a:pt x="940" y="420"/>
                  </a:lnTo>
                  <a:lnTo>
                    <a:pt x="932" y="428"/>
                  </a:lnTo>
                  <a:lnTo>
                    <a:pt x="923" y="437"/>
                  </a:lnTo>
                  <a:lnTo>
                    <a:pt x="914" y="444"/>
                  </a:lnTo>
                  <a:lnTo>
                    <a:pt x="904" y="452"/>
                  </a:lnTo>
                  <a:lnTo>
                    <a:pt x="894" y="459"/>
                  </a:lnTo>
                  <a:lnTo>
                    <a:pt x="884" y="465"/>
                  </a:lnTo>
                  <a:lnTo>
                    <a:pt x="874" y="471"/>
                  </a:lnTo>
                  <a:lnTo>
                    <a:pt x="863" y="477"/>
                  </a:lnTo>
                  <a:lnTo>
                    <a:pt x="851" y="482"/>
                  </a:lnTo>
                  <a:lnTo>
                    <a:pt x="840" y="486"/>
                  </a:lnTo>
                  <a:lnTo>
                    <a:pt x="828" y="491"/>
                  </a:lnTo>
                  <a:lnTo>
                    <a:pt x="816" y="495"/>
                  </a:lnTo>
                  <a:lnTo>
                    <a:pt x="804" y="497"/>
                  </a:lnTo>
                  <a:lnTo>
                    <a:pt x="792" y="500"/>
                  </a:lnTo>
                  <a:lnTo>
                    <a:pt x="779" y="501"/>
                  </a:lnTo>
                  <a:lnTo>
                    <a:pt x="767" y="502"/>
                  </a:lnTo>
                  <a:lnTo>
                    <a:pt x="754" y="503"/>
                  </a:lnTo>
                  <a:lnTo>
                    <a:pt x="251" y="503"/>
                  </a:lnTo>
                  <a:lnTo>
                    <a:pt x="238" y="502"/>
                  </a:lnTo>
                  <a:lnTo>
                    <a:pt x="225" y="501"/>
                  </a:lnTo>
                  <a:lnTo>
                    <a:pt x="213" y="500"/>
                  </a:lnTo>
                  <a:lnTo>
                    <a:pt x="200" y="497"/>
                  </a:lnTo>
                  <a:lnTo>
                    <a:pt x="188" y="495"/>
                  </a:lnTo>
                  <a:lnTo>
                    <a:pt x="176" y="491"/>
                  </a:lnTo>
                  <a:lnTo>
                    <a:pt x="165" y="486"/>
                  </a:lnTo>
                  <a:lnTo>
                    <a:pt x="153" y="482"/>
                  </a:lnTo>
                  <a:lnTo>
                    <a:pt x="141" y="477"/>
                  </a:lnTo>
                  <a:lnTo>
                    <a:pt x="131" y="471"/>
                  </a:lnTo>
                  <a:lnTo>
                    <a:pt x="120" y="465"/>
                  </a:lnTo>
                  <a:lnTo>
                    <a:pt x="110" y="459"/>
                  </a:lnTo>
                  <a:lnTo>
                    <a:pt x="100" y="452"/>
                  </a:lnTo>
                  <a:lnTo>
                    <a:pt x="91" y="444"/>
                  </a:lnTo>
                  <a:lnTo>
                    <a:pt x="82" y="437"/>
                  </a:lnTo>
                  <a:lnTo>
                    <a:pt x="73" y="428"/>
                  </a:lnTo>
                  <a:lnTo>
                    <a:pt x="65" y="420"/>
                  </a:lnTo>
                  <a:lnTo>
                    <a:pt x="57" y="411"/>
                  </a:lnTo>
                  <a:lnTo>
                    <a:pt x="49" y="401"/>
                  </a:lnTo>
                  <a:lnTo>
                    <a:pt x="43" y="391"/>
                  </a:lnTo>
                  <a:lnTo>
                    <a:pt x="36" y="381"/>
                  </a:lnTo>
                  <a:lnTo>
                    <a:pt x="30" y="371"/>
                  </a:lnTo>
                  <a:lnTo>
                    <a:pt x="25" y="360"/>
                  </a:lnTo>
                  <a:lnTo>
                    <a:pt x="20" y="349"/>
                  </a:lnTo>
                  <a:lnTo>
                    <a:pt x="15" y="337"/>
                  </a:lnTo>
                  <a:lnTo>
                    <a:pt x="11" y="326"/>
                  </a:lnTo>
                  <a:lnTo>
                    <a:pt x="8" y="314"/>
                  </a:lnTo>
                  <a:lnTo>
                    <a:pt x="5" y="302"/>
                  </a:lnTo>
                  <a:lnTo>
                    <a:pt x="3" y="290"/>
                  </a:lnTo>
                  <a:lnTo>
                    <a:pt x="1" y="277"/>
                  </a:lnTo>
                  <a:lnTo>
                    <a:pt x="0" y="264"/>
                  </a:lnTo>
                  <a:lnTo>
                    <a:pt x="0" y="252"/>
                  </a:lnTo>
                  <a:lnTo>
                    <a:pt x="0" y="239"/>
                  </a:lnTo>
                  <a:lnTo>
                    <a:pt x="1" y="226"/>
                  </a:lnTo>
                  <a:lnTo>
                    <a:pt x="3" y="214"/>
                  </a:lnTo>
                  <a:lnTo>
                    <a:pt x="5" y="200"/>
                  </a:lnTo>
                  <a:lnTo>
                    <a:pt x="8" y="188"/>
                  </a:lnTo>
                  <a:lnTo>
                    <a:pt x="11" y="176"/>
                  </a:lnTo>
                  <a:lnTo>
                    <a:pt x="15" y="165"/>
                  </a:lnTo>
                  <a:lnTo>
                    <a:pt x="20" y="153"/>
                  </a:lnTo>
                  <a:lnTo>
                    <a:pt x="25" y="142"/>
                  </a:lnTo>
                  <a:lnTo>
                    <a:pt x="30" y="131"/>
                  </a:lnTo>
                  <a:lnTo>
                    <a:pt x="36" y="121"/>
                  </a:lnTo>
                  <a:lnTo>
                    <a:pt x="43" y="111"/>
                  </a:lnTo>
                  <a:lnTo>
                    <a:pt x="49" y="101"/>
                  </a:lnTo>
                  <a:lnTo>
                    <a:pt x="57" y="92"/>
                  </a:lnTo>
                  <a:lnTo>
                    <a:pt x="65" y="82"/>
                  </a:lnTo>
                  <a:lnTo>
                    <a:pt x="73" y="74"/>
                  </a:lnTo>
                  <a:lnTo>
                    <a:pt x="82" y="65"/>
                  </a:lnTo>
                  <a:lnTo>
                    <a:pt x="91" y="58"/>
                  </a:lnTo>
                  <a:lnTo>
                    <a:pt x="100" y="50"/>
                  </a:lnTo>
                  <a:lnTo>
                    <a:pt x="110" y="43"/>
                  </a:lnTo>
                  <a:lnTo>
                    <a:pt x="120" y="37"/>
                  </a:lnTo>
                  <a:lnTo>
                    <a:pt x="131" y="31"/>
                  </a:lnTo>
                  <a:lnTo>
                    <a:pt x="141" y="25"/>
                  </a:lnTo>
                  <a:lnTo>
                    <a:pt x="153" y="20"/>
                  </a:lnTo>
                  <a:lnTo>
                    <a:pt x="165" y="16"/>
                  </a:lnTo>
                  <a:lnTo>
                    <a:pt x="176" y="12"/>
                  </a:lnTo>
                  <a:lnTo>
                    <a:pt x="188" y="8"/>
                  </a:lnTo>
                  <a:lnTo>
                    <a:pt x="200" y="6"/>
                  </a:lnTo>
                  <a:lnTo>
                    <a:pt x="213" y="3"/>
                  </a:lnTo>
                  <a:lnTo>
                    <a:pt x="225" y="2"/>
                  </a:lnTo>
                  <a:lnTo>
                    <a:pt x="238" y="1"/>
                  </a:lnTo>
                  <a:lnTo>
                    <a:pt x="251" y="0"/>
                  </a:lnTo>
                  <a:lnTo>
                    <a:pt x="754" y="0"/>
                  </a:lnTo>
                  <a:lnTo>
                    <a:pt x="767" y="1"/>
                  </a:lnTo>
                  <a:lnTo>
                    <a:pt x="779" y="2"/>
                  </a:lnTo>
                  <a:lnTo>
                    <a:pt x="792" y="3"/>
                  </a:lnTo>
                  <a:lnTo>
                    <a:pt x="804" y="6"/>
                  </a:lnTo>
                  <a:lnTo>
                    <a:pt x="816" y="8"/>
                  </a:lnTo>
                  <a:lnTo>
                    <a:pt x="828" y="12"/>
                  </a:lnTo>
                  <a:lnTo>
                    <a:pt x="840" y="16"/>
                  </a:lnTo>
                  <a:lnTo>
                    <a:pt x="851" y="20"/>
                  </a:lnTo>
                  <a:lnTo>
                    <a:pt x="863" y="25"/>
                  </a:lnTo>
                  <a:lnTo>
                    <a:pt x="874" y="31"/>
                  </a:lnTo>
                  <a:lnTo>
                    <a:pt x="884" y="37"/>
                  </a:lnTo>
                  <a:lnTo>
                    <a:pt x="894" y="43"/>
                  </a:lnTo>
                  <a:lnTo>
                    <a:pt x="904" y="50"/>
                  </a:lnTo>
                  <a:lnTo>
                    <a:pt x="914" y="58"/>
                  </a:lnTo>
                  <a:lnTo>
                    <a:pt x="923" y="65"/>
                  </a:lnTo>
                  <a:lnTo>
                    <a:pt x="932" y="74"/>
                  </a:lnTo>
                  <a:lnTo>
                    <a:pt x="940" y="82"/>
                  </a:lnTo>
                  <a:lnTo>
                    <a:pt x="948" y="92"/>
                  </a:lnTo>
                  <a:lnTo>
                    <a:pt x="955" y="101"/>
                  </a:lnTo>
                  <a:lnTo>
                    <a:pt x="962" y="111"/>
                  </a:lnTo>
                  <a:lnTo>
                    <a:pt x="969" y="121"/>
                  </a:lnTo>
                  <a:lnTo>
                    <a:pt x="975" y="131"/>
                  </a:lnTo>
                  <a:lnTo>
                    <a:pt x="980" y="142"/>
                  </a:lnTo>
                  <a:lnTo>
                    <a:pt x="985" y="153"/>
                  </a:lnTo>
                  <a:lnTo>
                    <a:pt x="990" y="165"/>
                  </a:lnTo>
                  <a:lnTo>
                    <a:pt x="994" y="176"/>
                  </a:lnTo>
                  <a:lnTo>
                    <a:pt x="997" y="188"/>
                  </a:lnTo>
                  <a:lnTo>
                    <a:pt x="1000" y="200"/>
                  </a:lnTo>
                  <a:lnTo>
                    <a:pt x="1002" y="214"/>
                  </a:lnTo>
                  <a:lnTo>
                    <a:pt x="1004" y="226"/>
                  </a:lnTo>
                  <a:lnTo>
                    <a:pt x="1005" y="239"/>
                  </a:lnTo>
                  <a:lnTo>
                    <a:pt x="1005" y="2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10" name="íṩľïdé">
              <a:extLst>
                <a:ext uri="{FF2B5EF4-FFF2-40B4-BE49-F238E27FC236}">
                  <a16:creationId xmlns:a16="http://schemas.microsoft.com/office/drawing/2014/main" id="{EEDA9D39-E623-4F43-BCF9-CEC7BCD5503C}"/>
                </a:ext>
              </a:extLst>
            </p:cNvPr>
            <p:cNvSpPr/>
            <p:nvPr/>
          </p:nvSpPr>
          <p:spPr bwMode="auto">
            <a:xfrm>
              <a:off x="8621930" y="931816"/>
              <a:ext cx="400967" cy="400967"/>
            </a:xfrm>
            <a:custGeom>
              <a:avLst/>
              <a:gdLst>
                <a:gd name="T0" fmla="*/ 11128 w 16095"/>
                <a:gd name="T1" fmla="*/ 11977 h 16095"/>
                <a:gd name="T2" fmla="*/ 11777 w 16095"/>
                <a:gd name="T3" fmla="*/ 9543 h 16095"/>
                <a:gd name="T4" fmla="*/ 13241 w 16095"/>
                <a:gd name="T5" fmla="*/ 8457 h 16095"/>
                <a:gd name="T6" fmla="*/ 13492 w 16095"/>
                <a:gd name="T7" fmla="*/ 6286 h 16095"/>
                <a:gd name="T8" fmla="*/ 12358 w 16095"/>
                <a:gd name="T9" fmla="*/ 4722 h 16095"/>
                <a:gd name="T10" fmla="*/ 10731 w 16095"/>
                <a:gd name="T11" fmla="*/ 2943 h 16095"/>
                <a:gd name="T12" fmla="*/ 12110 w 16095"/>
                <a:gd name="T13" fmla="*/ 1109 h 16095"/>
                <a:gd name="T14" fmla="*/ 14079 w 16095"/>
                <a:gd name="T15" fmla="*/ 2205 h 16095"/>
                <a:gd name="T16" fmla="*/ 15086 w 16095"/>
                <a:gd name="T17" fmla="*/ 6731 h 16095"/>
                <a:gd name="T18" fmla="*/ 14265 w 16095"/>
                <a:gd name="T19" fmla="*/ 11509 h 16095"/>
                <a:gd name="T20" fmla="*/ 6539 w 16095"/>
                <a:gd name="T21" fmla="*/ 8550 h 16095"/>
                <a:gd name="T22" fmla="*/ 5762 w 16095"/>
                <a:gd name="T23" fmla="*/ 8001 h 16095"/>
                <a:gd name="T24" fmla="*/ 5553 w 16095"/>
                <a:gd name="T25" fmla="*/ 6738 h 16095"/>
                <a:gd name="T26" fmla="*/ 6059 w 16095"/>
                <a:gd name="T27" fmla="*/ 5715 h 16095"/>
                <a:gd name="T28" fmla="*/ 7265 w 16095"/>
                <a:gd name="T29" fmla="*/ 5480 h 16095"/>
                <a:gd name="T30" fmla="*/ 8743 w 16095"/>
                <a:gd name="T31" fmla="*/ 4899 h 16095"/>
                <a:gd name="T32" fmla="*/ 9075 w 16095"/>
                <a:gd name="T33" fmla="*/ 6240 h 16095"/>
                <a:gd name="T34" fmla="*/ 9198 w 16095"/>
                <a:gd name="T35" fmla="*/ 9111 h 16095"/>
                <a:gd name="T36" fmla="*/ 8106 w 16095"/>
                <a:gd name="T37" fmla="*/ 8857 h 16095"/>
                <a:gd name="T38" fmla="*/ 6033 w 16095"/>
                <a:gd name="T39" fmla="*/ 15089 h 16095"/>
                <a:gd name="T40" fmla="*/ 3950 w 16095"/>
                <a:gd name="T41" fmla="*/ 10033 h 16095"/>
                <a:gd name="T42" fmla="*/ 4102 w 16095"/>
                <a:gd name="T43" fmla="*/ 9562 h 16095"/>
                <a:gd name="T44" fmla="*/ 5530 w 16095"/>
                <a:gd name="T45" fmla="*/ 13580 h 16095"/>
                <a:gd name="T46" fmla="*/ 5719 w 16095"/>
                <a:gd name="T47" fmla="*/ 14249 h 16095"/>
                <a:gd name="T48" fmla="*/ 1011 w 16095"/>
                <a:gd name="T49" fmla="*/ 6888 h 16095"/>
                <a:gd name="T50" fmla="*/ 1450 w 16095"/>
                <a:gd name="T51" fmla="*/ 5790 h 16095"/>
                <a:gd name="T52" fmla="*/ 5402 w 16095"/>
                <a:gd name="T53" fmla="*/ 5717 h 16095"/>
                <a:gd name="T54" fmla="*/ 5075 w 16095"/>
                <a:gd name="T55" fmla="*/ 6548 h 16095"/>
                <a:gd name="T56" fmla="*/ 5075 w 16095"/>
                <a:gd name="T57" fmla="*/ 7536 h 16095"/>
                <a:gd name="T58" fmla="*/ 5402 w 16095"/>
                <a:gd name="T59" fmla="*/ 8367 h 16095"/>
                <a:gd name="T60" fmla="*/ 1450 w 16095"/>
                <a:gd name="T61" fmla="*/ 8293 h 16095"/>
                <a:gd name="T62" fmla="*/ 1011 w 16095"/>
                <a:gd name="T63" fmla="*/ 7196 h 16095"/>
                <a:gd name="T64" fmla="*/ 10133 w 16095"/>
                <a:gd name="T65" fmla="*/ 5623 h 16095"/>
                <a:gd name="T66" fmla="*/ 12279 w 16095"/>
                <a:gd name="T67" fmla="*/ 5974 h 16095"/>
                <a:gd name="T68" fmla="*/ 12569 w 16095"/>
                <a:gd name="T69" fmla="*/ 7196 h 16095"/>
                <a:gd name="T70" fmla="*/ 12131 w 16095"/>
                <a:gd name="T71" fmla="*/ 8293 h 16095"/>
                <a:gd name="T72" fmla="*/ 10100 w 16095"/>
                <a:gd name="T73" fmla="*/ 8092 h 16095"/>
                <a:gd name="T74" fmla="*/ 12017 w 16095"/>
                <a:gd name="T75" fmla="*/ 72 h 16095"/>
                <a:gd name="T76" fmla="*/ 10628 w 16095"/>
                <a:gd name="T77" fmla="*/ 1060 h 16095"/>
                <a:gd name="T78" fmla="*/ 9332 w 16095"/>
                <a:gd name="T79" fmla="*/ 3046 h 16095"/>
                <a:gd name="T80" fmla="*/ 7289 w 16095"/>
                <a:gd name="T81" fmla="*/ 4450 h 16095"/>
                <a:gd name="T82" fmla="*/ 1045 w 16095"/>
                <a:gd name="T83" fmla="*/ 4826 h 16095"/>
                <a:gd name="T84" fmla="*/ 40 w 16095"/>
                <a:gd name="T85" fmla="*/ 6529 h 16095"/>
                <a:gd name="T86" fmla="*/ 454 w 16095"/>
                <a:gd name="T87" fmla="*/ 8650 h 16095"/>
                <a:gd name="T88" fmla="*/ 2012 w 16095"/>
                <a:gd name="T89" fmla="*/ 9556 h 16095"/>
                <a:gd name="T90" fmla="*/ 2785 w 16095"/>
                <a:gd name="T91" fmla="*/ 9924 h 16095"/>
                <a:gd name="T92" fmla="*/ 3026 w 16095"/>
                <a:gd name="T93" fmla="*/ 15242 h 16095"/>
                <a:gd name="T94" fmla="*/ 3500 w 16095"/>
                <a:gd name="T95" fmla="*/ 15949 h 16095"/>
                <a:gd name="T96" fmla="*/ 6332 w 16095"/>
                <a:gd name="T97" fmla="*/ 16050 h 16095"/>
                <a:gd name="T98" fmla="*/ 6960 w 16095"/>
                <a:gd name="T99" fmla="*/ 15480 h 16095"/>
                <a:gd name="T100" fmla="*/ 6942 w 16095"/>
                <a:gd name="T101" fmla="*/ 14220 h 16095"/>
                <a:gd name="T102" fmla="*/ 6548 w 16095"/>
                <a:gd name="T103" fmla="*/ 13658 h 16095"/>
                <a:gd name="T104" fmla="*/ 6615 w 16095"/>
                <a:gd name="T105" fmla="*/ 9807 h 16095"/>
                <a:gd name="T106" fmla="*/ 6860 w 16095"/>
                <a:gd name="T107" fmla="*/ 9606 h 16095"/>
                <a:gd name="T108" fmla="*/ 8713 w 16095"/>
                <a:gd name="T109" fmla="*/ 10411 h 16095"/>
                <a:gd name="T110" fmla="*/ 10205 w 16095"/>
                <a:gd name="T111" fmla="*/ 12386 h 16095"/>
                <a:gd name="T112" fmla="*/ 11427 w 16095"/>
                <a:gd name="T113" fmla="*/ 13755 h 16095"/>
                <a:gd name="T114" fmla="*/ 13576 w 16095"/>
                <a:gd name="T115" fmla="*/ 13838 h 16095"/>
                <a:gd name="T116" fmla="*/ 15810 w 16095"/>
                <a:gd name="T117" fmla="*/ 9925 h 16095"/>
                <a:gd name="T118" fmla="*/ 15810 w 16095"/>
                <a:gd name="T119" fmla="*/ 4159 h 16095"/>
                <a:gd name="T120" fmla="*/ 13576 w 16095"/>
                <a:gd name="T121" fmla="*/ 245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095" h="16095">
                  <a:moveTo>
                    <a:pt x="12574" y="13077"/>
                  </a:moveTo>
                  <a:lnTo>
                    <a:pt x="12480" y="13073"/>
                  </a:lnTo>
                  <a:lnTo>
                    <a:pt x="12386" y="13060"/>
                  </a:lnTo>
                  <a:lnTo>
                    <a:pt x="12293" y="13040"/>
                  </a:lnTo>
                  <a:lnTo>
                    <a:pt x="12201" y="13011"/>
                  </a:lnTo>
                  <a:lnTo>
                    <a:pt x="12110" y="12975"/>
                  </a:lnTo>
                  <a:lnTo>
                    <a:pt x="12021" y="12930"/>
                  </a:lnTo>
                  <a:lnTo>
                    <a:pt x="11932" y="12878"/>
                  </a:lnTo>
                  <a:lnTo>
                    <a:pt x="11845" y="12819"/>
                  </a:lnTo>
                  <a:lnTo>
                    <a:pt x="11759" y="12752"/>
                  </a:lnTo>
                  <a:lnTo>
                    <a:pt x="11675" y="12679"/>
                  </a:lnTo>
                  <a:lnTo>
                    <a:pt x="11591" y="12598"/>
                  </a:lnTo>
                  <a:lnTo>
                    <a:pt x="11510" y="12511"/>
                  </a:lnTo>
                  <a:lnTo>
                    <a:pt x="11430" y="12416"/>
                  </a:lnTo>
                  <a:lnTo>
                    <a:pt x="11352" y="12316"/>
                  </a:lnTo>
                  <a:lnTo>
                    <a:pt x="11276" y="12209"/>
                  </a:lnTo>
                  <a:lnTo>
                    <a:pt x="11201" y="12095"/>
                  </a:lnTo>
                  <a:lnTo>
                    <a:pt x="11128" y="11977"/>
                  </a:lnTo>
                  <a:lnTo>
                    <a:pt x="11056" y="11851"/>
                  </a:lnTo>
                  <a:lnTo>
                    <a:pt x="10988" y="11720"/>
                  </a:lnTo>
                  <a:lnTo>
                    <a:pt x="10920" y="11583"/>
                  </a:lnTo>
                  <a:lnTo>
                    <a:pt x="10855" y="11441"/>
                  </a:lnTo>
                  <a:lnTo>
                    <a:pt x="10792" y="11294"/>
                  </a:lnTo>
                  <a:lnTo>
                    <a:pt x="10731" y="11141"/>
                  </a:lnTo>
                  <a:lnTo>
                    <a:pt x="10672" y="10983"/>
                  </a:lnTo>
                  <a:lnTo>
                    <a:pt x="10616" y="10820"/>
                  </a:lnTo>
                  <a:lnTo>
                    <a:pt x="10561" y="10653"/>
                  </a:lnTo>
                  <a:lnTo>
                    <a:pt x="10510" y="10481"/>
                  </a:lnTo>
                  <a:lnTo>
                    <a:pt x="10461" y="10304"/>
                  </a:lnTo>
                  <a:lnTo>
                    <a:pt x="10414" y="10123"/>
                  </a:lnTo>
                  <a:lnTo>
                    <a:pt x="10370" y="9939"/>
                  </a:lnTo>
                  <a:lnTo>
                    <a:pt x="10329" y="9750"/>
                  </a:lnTo>
                  <a:lnTo>
                    <a:pt x="10291" y="9556"/>
                  </a:lnTo>
                  <a:lnTo>
                    <a:pt x="11568" y="9556"/>
                  </a:lnTo>
                  <a:lnTo>
                    <a:pt x="11673" y="9553"/>
                  </a:lnTo>
                  <a:lnTo>
                    <a:pt x="11777" y="9543"/>
                  </a:lnTo>
                  <a:lnTo>
                    <a:pt x="11878" y="9528"/>
                  </a:lnTo>
                  <a:lnTo>
                    <a:pt x="11979" y="9506"/>
                  </a:lnTo>
                  <a:lnTo>
                    <a:pt x="12076" y="9479"/>
                  </a:lnTo>
                  <a:lnTo>
                    <a:pt x="12173" y="9445"/>
                  </a:lnTo>
                  <a:lnTo>
                    <a:pt x="12266" y="9407"/>
                  </a:lnTo>
                  <a:lnTo>
                    <a:pt x="12358" y="9362"/>
                  </a:lnTo>
                  <a:lnTo>
                    <a:pt x="12447" y="9312"/>
                  </a:lnTo>
                  <a:lnTo>
                    <a:pt x="12535" y="9258"/>
                  </a:lnTo>
                  <a:lnTo>
                    <a:pt x="12618" y="9197"/>
                  </a:lnTo>
                  <a:lnTo>
                    <a:pt x="12700" y="9133"/>
                  </a:lnTo>
                  <a:lnTo>
                    <a:pt x="12779" y="9063"/>
                  </a:lnTo>
                  <a:lnTo>
                    <a:pt x="12855" y="8989"/>
                  </a:lnTo>
                  <a:lnTo>
                    <a:pt x="12927" y="8911"/>
                  </a:lnTo>
                  <a:lnTo>
                    <a:pt x="12997" y="8828"/>
                  </a:lnTo>
                  <a:lnTo>
                    <a:pt x="13063" y="8742"/>
                  </a:lnTo>
                  <a:lnTo>
                    <a:pt x="13126" y="8650"/>
                  </a:lnTo>
                  <a:lnTo>
                    <a:pt x="13186" y="8555"/>
                  </a:lnTo>
                  <a:lnTo>
                    <a:pt x="13241" y="8457"/>
                  </a:lnTo>
                  <a:lnTo>
                    <a:pt x="13292" y="8355"/>
                  </a:lnTo>
                  <a:lnTo>
                    <a:pt x="13341" y="8250"/>
                  </a:lnTo>
                  <a:lnTo>
                    <a:pt x="13385" y="8141"/>
                  </a:lnTo>
                  <a:lnTo>
                    <a:pt x="13424" y="8029"/>
                  </a:lnTo>
                  <a:lnTo>
                    <a:pt x="13460" y="7915"/>
                  </a:lnTo>
                  <a:lnTo>
                    <a:pt x="13492" y="7798"/>
                  </a:lnTo>
                  <a:lnTo>
                    <a:pt x="13518" y="7677"/>
                  </a:lnTo>
                  <a:lnTo>
                    <a:pt x="13540" y="7555"/>
                  </a:lnTo>
                  <a:lnTo>
                    <a:pt x="13557" y="7430"/>
                  </a:lnTo>
                  <a:lnTo>
                    <a:pt x="13570" y="7302"/>
                  </a:lnTo>
                  <a:lnTo>
                    <a:pt x="13577" y="7173"/>
                  </a:lnTo>
                  <a:lnTo>
                    <a:pt x="13580" y="7042"/>
                  </a:lnTo>
                  <a:lnTo>
                    <a:pt x="13577" y="6911"/>
                  </a:lnTo>
                  <a:lnTo>
                    <a:pt x="13570" y="6781"/>
                  </a:lnTo>
                  <a:lnTo>
                    <a:pt x="13557" y="6653"/>
                  </a:lnTo>
                  <a:lnTo>
                    <a:pt x="13540" y="6529"/>
                  </a:lnTo>
                  <a:lnTo>
                    <a:pt x="13518" y="6406"/>
                  </a:lnTo>
                  <a:lnTo>
                    <a:pt x="13492" y="6286"/>
                  </a:lnTo>
                  <a:lnTo>
                    <a:pt x="13460" y="6168"/>
                  </a:lnTo>
                  <a:lnTo>
                    <a:pt x="13424" y="6054"/>
                  </a:lnTo>
                  <a:lnTo>
                    <a:pt x="13385" y="5942"/>
                  </a:lnTo>
                  <a:lnTo>
                    <a:pt x="13341" y="5833"/>
                  </a:lnTo>
                  <a:lnTo>
                    <a:pt x="13292" y="5728"/>
                  </a:lnTo>
                  <a:lnTo>
                    <a:pt x="13241" y="5626"/>
                  </a:lnTo>
                  <a:lnTo>
                    <a:pt x="13186" y="5528"/>
                  </a:lnTo>
                  <a:lnTo>
                    <a:pt x="13126" y="5433"/>
                  </a:lnTo>
                  <a:lnTo>
                    <a:pt x="13063" y="5343"/>
                  </a:lnTo>
                  <a:lnTo>
                    <a:pt x="12997" y="5255"/>
                  </a:lnTo>
                  <a:lnTo>
                    <a:pt x="12927" y="5173"/>
                  </a:lnTo>
                  <a:lnTo>
                    <a:pt x="12855" y="5094"/>
                  </a:lnTo>
                  <a:lnTo>
                    <a:pt x="12779" y="5020"/>
                  </a:lnTo>
                  <a:lnTo>
                    <a:pt x="12700" y="4950"/>
                  </a:lnTo>
                  <a:lnTo>
                    <a:pt x="12618" y="4886"/>
                  </a:lnTo>
                  <a:lnTo>
                    <a:pt x="12535" y="4826"/>
                  </a:lnTo>
                  <a:lnTo>
                    <a:pt x="12447" y="4771"/>
                  </a:lnTo>
                  <a:lnTo>
                    <a:pt x="12358" y="4722"/>
                  </a:lnTo>
                  <a:lnTo>
                    <a:pt x="12266" y="4677"/>
                  </a:lnTo>
                  <a:lnTo>
                    <a:pt x="12173" y="4638"/>
                  </a:lnTo>
                  <a:lnTo>
                    <a:pt x="12076" y="4604"/>
                  </a:lnTo>
                  <a:lnTo>
                    <a:pt x="11979" y="4577"/>
                  </a:lnTo>
                  <a:lnTo>
                    <a:pt x="11878" y="4555"/>
                  </a:lnTo>
                  <a:lnTo>
                    <a:pt x="11777" y="4540"/>
                  </a:lnTo>
                  <a:lnTo>
                    <a:pt x="11673" y="4530"/>
                  </a:lnTo>
                  <a:lnTo>
                    <a:pt x="11568" y="4527"/>
                  </a:lnTo>
                  <a:lnTo>
                    <a:pt x="10291" y="4527"/>
                  </a:lnTo>
                  <a:lnTo>
                    <a:pt x="10329" y="4334"/>
                  </a:lnTo>
                  <a:lnTo>
                    <a:pt x="10370" y="4145"/>
                  </a:lnTo>
                  <a:lnTo>
                    <a:pt x="10414" y="3960"/>
                  </a:lnTo>
                  <a:lnTo>
                    <a:pt x="10461" y="3779"/>
                  </a:lnTo>
                  <a:lnTo>
                    <a:pt x="10510" y="3603"/>
                  </a:lnTo>
                  <a:lnTo>
                    <a:pt x="10561" y="3431"/>
                  </a:lnTo>
                  <a:lnTo>
                    <a:pt x="10616" y="3263"/>
                  </a:lnTo>
                  <a:lnTo>
                    <a:pt x="10672" y="3101"/>
                  </a:lnTo>
                  <a:lnTo>
                    <a:pt x="10731" y="2943"/>
                  </a:lnTo>
                  <a:lnTo>
                    <a:pt x="10792" y="2790"/>
                  </a:lnTo>
                  <a:lnTo>
                    <a:pt x="10855" y="2643"/>
                  </a:lnTo>
                  <a:lnTo>
                    <a:pt x="10920" y="2501"/>
                  </a:lnTo>
                  <a:lnTo>
                    <a:pt x="10988" y="2364"/>
                  </a:lnTo>
                  <a:lnTo>
                    <a:pt x="11056" y="2232"/>
                  </a:lnTo>
                  <a:lnTo>
                    <a:pt x="11128" y="2107"/>
                  </a:lnTo>
                  <a:lnTo>
                    <a:pt x="11201" y="1988"/>
                  </a:lnTo>
                  <a:lnTo>
                    <a:pt x="11276" y="1874"/>
                  </a:lnTo>
                  <a:lnTo>
                    <a:pt x="11352" y="1767"/>
                  </a:lnTo>
                  <a:lnTo>
                    <a:pt x="11430" y="1667"/>
                  </a:lnTo>
                  <a:lnTo>
                    <a:pt x="11510" y="1572"/>
                  </a:lnTo>
                  <a:lnTo>
                    <a:pt x="11591" y="1485"/>
                  </a:lnTo>
                  <a:lnTo>
                    <a:pt x="11675" y="1404"/>
                  </a:lnTo>
                  <a:lnTo>
                    <a:pt x="11759" y="1331"/>
                  </a:lnTo>
                  <a:lnTo>
                    <a:pt x="11845" y="1264"/>
                  </a:lnTo>
                  <a:lnTo>
                    <a:pt x="11932" y="1205"/>
                  </a:lnTo>
                  <a:lnTo>
                    <a:pt x="12021" y="1153"/>
                  </a:lnTo>
                  <a:lnTo>
                    <a:pt x="12110" y="1109"/>
                  </a:lnTo>
                  <a:lnTo>
                    <a:pt x="12201" y="1072"/>
                  </a:lnTo>
                  <a:lnTo>
                    <a:pt x="12293" y="1043"/>
                  </a:lnTo>
                  <a:lnTo>
                    <a:pt x="12386" y="1023"/>
                  </a:lnTo>
                  <a:lnTo>
                    <a:pt x="12480" y="1010"/>
                  </a:lnTo>
                  <a:lnTo>
                    <a:pt x="12574" y="1006"/>
                  </a:lnTo>
                  <a:lnTo>
                    <a:pt x="12704" y="1014"/>
                  </a:lnTo>
                  <a:lnTo>
                    <a:pt x="12832" y="1037"/>
                  </a:lnTo>
                  <a:lnTo>
                    <a:pt x="12957" y="1075"/>
                  </a:lnTo>
                  <a:lnTo>
                    <a:pt x="13081" y="1129"/>
                  </a:lnTo>
                  <a:lnTo>
                    <a:pt x="13203" y="1196"/>
                  </a:lnTo>
                  <a:lnTo>
                    <a:pt x="13323" y="1278"/>
                  </a:lnTo>
                  <a:lnTo>
                    <a:pt x="13439" y="1372"/>
                  </a:lnTo>
                  <a:lnTo>
                    <a:pt x="13553" y="1480"/>
                  </a:lnTo>
                  <a:lnTo>
                    <a:pt x="13665" y="1601"/>
                  </a:lnTo>
                  <a:lnTo>
                    <a:pt x="13773" y="1734"/>
                  </a:lnTo>
                  <a:lnTo>
                    <a:pt x="13878" y="1880"/>
                  </a:lnTo>
                  <a:lnTo>
                    <a:pt x="13981" y="2037"/>
                  </a:lnTo>
                  <a:lnTo>
                    <a:pt x="14079" y="2205"/>
                  </a:lnTo>
                  <a:lnTo>
                    <a:pt x="14174" y="2384"/>
                  </a:lnTo>
                  <a:lnTo>
                    <a:pt x="14265" y="2574"/>
                  </a:lnTo>
                  <a:lnTo>
                    <a:pt x="14353" y="2773"/>
                  </a:lnTo>
                  <a:lnTo>
                    <a:pt x="14436" y="2984"/>
                  </a:lnTo>
                  <a:lnTo>
                    <a:pt x="14515" y="3202"/>
                  </a:lnTo>
                  <a:lnTo>
                    <a:pt x="14589" y="3430"/>
                  </a:lnTo>
                  <a:lnTo>
                    <a:pt x="14660" y="3667"/>
                  </a:lnTo>
                  <a:lnTo>
                    <a:pt x="14725" y="3912"/>
                  </a:lnTo>
                  <a:lnTo>
                    <a:pt x="14785" y="4165"/>
                  </a:lnTo>
                  <a:lnTo>
                    <a:pt x="14841" y="4425"/>
                  </a:lnTo>
                  <a:lnTo>
                    <a:pt x="14892" y="4693"/>
                  </a:lnTo>
                  <a:lnTo>
                    <a:pt x="14936" y="4966"/>
                  </a:lnTo>
                  <a:lnTo>
                    <a:pt x="14976" y="5247"/>
                  </a:lnTo>
                  <a:lnTo>
                    <a:pt x="15010" y="5534"/>
                  </a:lnTo>
                  <a:lnTo>
                    <a:pt x="15038" y="5825"/>
                  </a:lnTo>
                  <a:lnTo>
                    <a:pt x="15060" y="6122"/>
                  </a:lnTo>
                  <a:lnTo>
                    <a:pt x="15076" y="6425"/>
                  </a:lnTo>
                  <a:lnTo>
                    <a:pt x="15086" y="6731"/>
                  </a:lnTo>
                  <a:lnTo>
                    <a:pt x="15089" y="7042"/>
                  </a:lnTo>
                  <a:lnTo>
                    <a:pt x="15086" y="7352"/>
                  </a:lnTo>
                  <a:lnTo>
                    <a:pt x="15076" y="7658"/>
                  </a:lnTo>
                  <a:lnTo>
                    <a:pt x="15060" y="7961"/>
                  </a:lnTo>
                  <a:lnTo>
                    <a:pt x="15038" y="8258"/>
                  </a:lnTo>
                  <a:lnTo>
                    <a:pt x="15010" y="8549"/>
                  </a:lnTo>
                  <a:lnTo>
                    <a:pt x="14976" y="8836"/>
                  </a:lnTo>
                  <a:lnTo>
                    <a:pt x="14936" y="9117"/>
                  </a:lnTo>
                  <a:lnTo>
                    <a:pt x="14892" y="9390"/>
                  </a:lnTo>
                  <a:lnTo>
                    <a:pt x="14841" y="9658"/>
                  </a:lnTo>
                  <a:lnTo>
                    <a:pt x="14785" y="9919"/>
                  </a:lnTo>
                  <a:lnTo>
                    <a:pt x="14725" y="10171"/>
                  </a:lnTo>
                  <a:lnTo>
                    <a:pt x="14660" y="10416"/>
                  </a:lnTo>
                  <a:lnTo>
                    <a:pt x="14589" y="10653"/>
                  </a:lnTo>
                  <a:lnTo>
                    <a:pt x="14515" y="10880"/>
                  </a:lnTo>
                  <a:lnTo>
                    <a:pt x="14436" y="11100"/>
                  </a:lnTo>
                  <a:lnTo>
                    <a:pt x="14353" y="11310"/>
                  </a:lnTo>
                  <a:lnTo>
                    <a:pt x="14265" y="11509"/>
                  </a:lnTo>
                  <a:lnTo>
                    <a:pt x="14174" y="11699"/>
                  </a:lnTo>
                  <a:lnTo>
                    <a:pt x="14079" y="11878"/>
                  </a:lnTo>
                  <a:lnTo>
                    <a:pt x="13981" y="12046"/>
                  </a:lnTo>
                  <a:lnTo>
                    <a:pt x="13878" y="12203"/>
                  </a:lnTo>
                  <a:lnTo>
                    <a:pt x="13773" y="12349"/>
                  </a:lnTo>
                  <a:lnTo>
                    <a:pt x="13665" y="12482"/>
                  </a:lnTo>
                  <a:lnTo>
                    <a:pt x="13553" y="12602"/>
                  </a:lnTo>
                  <a:lnTo>
                    <a:pt x="13439" y="12711"/>
                  </a:lnTo>
                  <a:lnTo>
                    <a:pt x="13323" y="12806"/>
                  </a:lnTo>
                  <a:lnTo>
                    <a:pt x="13203" y="12887"/>
                  </a:lnTo>
                  <a:lnTo>
                    <a:pt x="13081" y="12954"/>
                  </a:lnTo>
                  <a:lnTo>
                    <a:pt x="12957" y="13008"/>
                  </a:lnTo>
                  <a:lnTo>
                    <a:pt x="12832" y="13046"/>
                  </a:lnTo>
                  <a:lnTo>
                    <a:pt x="12704" y="13069"/>
                  </a:lnTo>
                  <a:lnTo>
                    <a:pt x="12574" y="13077"/>
                  </a:lnTo>
                  <a:close/>
                  <a:moveTo>
                    <a:pt x="6652" y="8557"/>
                  </a:moveTo>
                  <a:lnTo>
                    <a:pt x="6539" y="8557"/>
                  </a:lnTo>
                  <a:lnTo>
                    <a:pt x="6539" y="8550"/>
                  </a:lnTo>
                  <a:lnTo>
                    <a:pt x="6487" y="8548"/>
                  </a:lnTo>
                  <a:lnTo>
                    <a:pt x="6436" y="8542"/>
                  </a:lnTo>
                  <a:lnTo>
                    <a:pt x="6386" y="8533"/>
                  </a:lnTo>
                  <a:lnTo>
                    <a:pt x="6335" y="8520"/>
                  </a:lnTo>
                  <a:lnTo>
                    <a:pt x="6287" y="8503"/>
                  </a:lnTo>
                  <a:lnTo>
                    <a:pt x="6240" y="8483"/>
                  </a:lnTo>
                  <a:lnTo>
                    <a:pt x="6193" y="8459"/>
                  </a:lnTo>
                  <a:lnTo>
                    <a:pt x="6147" y="8432"/>
                  </a:lnTo>
                  <a:lnTo>
                    <a:pt x="6102" y="8402"/>
                  </a:lnTo>
                  <a:lnTo>
                    <a:pt x="6059" y="8368"/>
                  </a:lnTo>
                  <a:lnTo>
                    <a:pt x="6017" y="8332"/>
                  </a:lnTo>
                  <a:lnTo>
                    <a:pt x="5976" y="8293"/>
                  </a:lnTo>
                  <a:lnTo>
                    <a:pt x="5937" y="8251"/>
                  </a:lnTo>
                  <a:lnTo>
                    <a:pt x="5899" y="8206"/>
                  </a:lnTo>
                  <a:lnTo>
                    <a:pt x="5863" y="8158"/>
                  </a:lnTo>
                  <a:lnTo>
                    <a:pt x="5827" y="8109"/>
                  </a:lnTo>
                  <a:lnTo>
                    <a:pt x="5794" y="8057"/>
                  </a:lnTo>
                  <a:lnTo>
                    <a:pt x="5762" y="8001"/>
                  </a:lnTo>
                  <a:lnTo>
                    <a:pt x="5733" y="7945"/>
                  </a:lnTo>
                  <a:lnTo>
                    <a:pt x="5705" y="7886"/>
                  </a:lnTo>
                  <a:lnTo>
                    <a:pt x="5679" y="7824"/>
                  </a:lnTo>
                  <a:lnTo>
                    <a:pt x="5654" y="7761"/>
                  </a:lnTo>
                  <a:lnTo>
                    <a:pt x="5632" y="7696"/>
                  </a:lnTo>
                  <a:lnTo>
                    <a:pt x="5611" y="7629"/>
                  </a:lnTo>
                  <a:lnTo>
                    <a:pt x="5594" y="7561"/>
                  </a:lnTo>
                  <a:lnTo>
                    <a:pt x="5578" y="7490"/>
                  </a:lnTo>
                  <a:lnTo>
                    <a:pt x="5564" y="7419"/>
                  </a:lnTo>
                  <a:lnTo>
                    <a:pt x="5553" y="7345"/>
                  </a:lnTo>
                  <a:lnTo>
                    <a:pt x="5544" y="7272"/>
                  </a:lnTo>
                  <a:lnTo>
                    <a:pt x="5538" y="7196"/>
                  </a:lnTo>
                  <a:lnTo>
                    <a:pt x="5534" y="7119"/>
                  </a:lnTo>
                  <a:lnTo>
                    <a:pt x="5533" y="7042"/>
                  </a:lnTo>
                  <a:lnTo>
                    <a:pt x="5534" y="6964"/>
                  </a:lnTo>
                  <a:lnTo>
                    <a:pt x="5538" y="6888"/>
                  </a:lnTo>
                  <a:lnTo>
                    <a:pt x="5544" y="6812"/>
                  </a:lnTo>
                  <a:lnTo>
                    <a:pt x="5553" y="6738"/>
                  </a:lnTo>
                  <a:lnTo>
                    <a:pt x="5564" y="6664"/>
                  </a:lnTo>
                  <a:lnTo>
                    <a:pt x="5578" y="6593"/>
                  </a:lnTo>
                  <a:lnTo>
                    <a:pt x="5594" y="6522"/>
                  </a:lnTo>
                  <a:lnTo>
                    <a:pt x="5611" y="6454"/>
                  </a:lnTo>
                  <a:lnTo>
                    <a:pt x="5632" y="6388"/>
                  </a:lnTo>
                  <a:lnTo>
                    <a:pt x="5654" y="6322"/>
                  </a:lnTo>
                  <a:lnTo>
                    <a:pt x="5679" y="6259"/>
                  </a:lnTo>
                  <a:lnTo>
                    <a:pt x="5705" y="6199"/>
                  </a:lnTo>
                  <a:lnTo>
                    <a:pt x="5733" y="6139"/>
                  </a:lnTo>
                  <a:lnTo>
                    <a:pt x="5762" y="6082"/>
                  </a:lnTo>
                  <a:lnTo>
                    <a:pt x="5794" y="6028"/>
                  </a:lnTo>
                  <a:lnTo>
                    <a:pt x="5827" y="5974"/>
                  </a:lnTo>
                  <a:lnTo>
                    <a:pt x="5863" y="5925"/>
                  </a:lnTo>
                  <a:lnTo>
                    <a:pt x="5899" y="5878"/>
                  </a:lnTo>
                  <a:lnTo>
                    <a:pt x="5937" y="5832"/>
                  </a:lnTo>
                  <a:lnTo>
                    <a:pt x="5976" y="5790"/>
                  </a:lnTo>
                  <a:lnTo>
                    <a:pt x="6017" y="5751"/>
                  </a:lnTo>
                  <a:lnTo>
                    <a:pt x="6059" y="5715"/>
                  </a:lnTo>
                  <a:lnTo>
                    <a:pt x="6102" y="5682"/>
                  </a:lnTo>
                  <a:lnTo>
                    <a:pt x="6147" y="5651"/>
                  </a:lnTo>
                  <a:lnTo>
                    <a:pt x="6193" y="5624"/>
                  </a:lnTo>
                  <a:lnTo>
                    <a:pt x="6240" y="5600"/>
                  </a:lnTo>
                  <a:lnTo>
                    <a:pt x="6287" y="5580"/>
                  </a:lnTo>
                  <a:lnTo>
                    <a:pt x="6335" y="5563"/>
                  </a:lnTo>
                  <a:lnTo>
                    <a:pt x="6386" y="5550"/>
                  </a:lnTo>
                  <a:lnTo>
                    <a:pt x="6436" y="5541"/>
                  </a:lnTo>
                  <a:lnTo>
                    <a:pt x="6487" y="5535"/>
                  </a:lnTo>
                  <a:lnTo>
                    <a:pt x="6539" y="5533"/>
                  </a:lnTo>
                  <a:lnTo>
                    <a:pt x="6652" y="5533"/>
                  </a:lnTo>
                  <a:lnTo>
                    <a:pt x="6741" y="5532"/>
                  </a:lnTo>
                  <a:lnTo>
                    <a:pt x="6829" y="5529"/>
                  </a:lnTo>
                  <a:lnTo>
                    <a:pt x="6917" y="5523"/>
                  </a:lnTo>
                  <a:lnTo>
                    <a:pt x="7004" y="5516"/>
                  </a:lnTo>
                  <a:lnTo>
                    <a:pt x="7092" y="5505"/>
                  </a:lnTo>
                  <a:lnTo>
                    <a:pt x="7178" y="5493"/>
                  </a:lnTo>
                  <a:lnTo>
                    <a:pt x="7265" y="5480"/>
                  </a:lnTo>
                  <a:lnTo>
                    <a:pt x="7351" y="5464"/>
                  </a:lnTo>
                  <a:lnTo>
                    <a:pt x="7437" y="5446"/>
                  </a:lnTo>
                  <a:lnTo>
                    <a:pt x="7522" y="5426"/>
                  </a:lnTo>
                  <a:lnTo>
                    <a:pt x="7607" y="5405"/>
                  </a:lnTo>
                  <a:lnTo>
                    <a:pt x="7691" y="5381"/>
                  </a:lnTo>
                  <a:lnTo>
                    <a:pt x="7775" y="5355"/>
                  </a:lnTo>
                  <a:lnTo>
                    <a:pt x="7858" y="5327"/>
                  </a:lnTo>
                  <a:lnTo>
                    <a:pt x="7941" y="5297"/>
                  </a:lnTo>
                  <a:lnTo>
                    <a:pt x="8023" y="5266"/>
                  </a:lnTo>
                  <a:lnTo>
                    <a:pt x="8106" y="5232"/>
                  </a:lnTo>
                  <a:lnTo>
                    <a:pt x="8187" y="5197"/>
                  </a:lnTo>
                  <a:lnTo>
                    <a:pt x="8268" y="5159"/>
                  </a:lnTo>
                  <a:lnTo>
                    <a:pt x="8348" y="5121"/>
                  </a:lnTo>
                  <a:lnTo>
                    <a:pt x="8429" y="5080"/>
                  </a:lnTo>
                  <a:lnTo>
                    <a:pt x="8508" y="5038"/>
                  </a:lnTo>
                  <a:lnTo>
                    <a:pt x="8587" y="4993"/>
                  </a:lnTo>
                  <a:lnTo>
                    <a:pt x="8665" y="4947"/>
                  </a:lnTo>
                  <a:lnTo>
                    <a:pt x="8743" y="4899"/>
                  </a:lnTo>
                  <a:lnTo>
                    <a:pt x="8820" y="4850"/>
                  </a:lnTo>
                  <a:lnTo>
                    <a:pt x="8897" y="4798"/>
                  </a:lnTo>
                  <a:lnTo>
                    <a:pt x="8973" y="4745"/>
                  </a:lnTo>
                  <a:lnTo>
                    <a:pt x="9048" y="4691"/>
                  </a:lnTo>
                  <a:lnTo>
                    <a:pt x="9123" y="4634"/>
                  </a:lnTo>
                  <a:lnTo>
                    <a:pt x="9197" y="4577"/>
                  </a:lnTo>
                  <a:lnTo>
                    <a:pt x="9271" y="4518"/>
                  </a:lnTo>
                  <a:lnTo>
                    <a:pt x="9245" y="4670"/>
                  </a:lnTo>
                  <a:lnTo>
                    <a:pt x="9220" y="4823"/>
                  </a:lnTo>
                  <a:lnTo>
                    <a:pt x="9197" y="4977"/>
                  </a:lnTo>
                  <a:lnTo>
                    <a:pt x="9176" y="5133"/>
                  </a:lnTo>
                  <a:lnTo>
                    <a:pt x="9156" y="5289"/>
                  </a:lnTo>
                  <a:lnTo>
                    <a:pt x="9139" y="5446"/>
                  </a:lnTo>
                  <a:lnTo>
                    <a:pt x="9123" y="5604"/>
                  </a:lnTo>
                  <a:lnTo>
                    <a:pt x="9108" y="5762"/>
                  </a:lnTo>
                  <a:lnTo>
                    <a:pt x="9096" y="5921"/>
                  </a:lnTo>
                  <a:lnTo>
                    <a:pt x="9085" y="6080"/>
                  </a:lnTo>
                  <a:lnTo>
                    <a:pt x="9075" y="6240"/>
                  </a:lnTo>
                  <a:lnTo>
                    <a:pt x="9068" y="6400"/>
                  </a:lnTo>
                  <a:lnTo>
                    <a:pt x="9061" y="6560"/>
                  </a:lnTo>
                  <a:lnTo>
                    <a:pt x="9056" y="6721"/>
                  </a:lnTo>
                  <a:lnTo>
                    <a:pt x="9054" y="6881"/>
                  </a:lnTo>
                  <a:lnTo>
                    <a:pt x="9053" y="7042"/>
                  </a:lnTo>
                  <a:lnTo>
                    <a:pt x="9054" y="7203"/>
                  </a:lnTo>
                  <a:lnTo>
                    <a:pt x="9056" y="7363"/>
                  </a:lnTo>
                  <a:lnTo>
                    <a:pt x="9061" y="7524"/>
                  </a:lnTo>
                  <a:lnTo>
                    <a:pt x="9068" y="7685"/>
                  </a:lnTo>
                  <a:lnTo>
                    <a:pt x="9075" y="7846"/>
                  </a:lnTo>
                  <a:lnTo>
                    <a:pt x="9085" y="8006"/>
                  </a:lnTo>
                  <a:lnTo>
                    <a:pt x="9096" y="8166"/>
                  </a:lnTo>
                  <a:lnTo>
                    <a:pt x="9108" y="8325"/>
                  </a:lnTo>
                  <a:lnTo>
                    <a:pt x="9123" y="8484"/>
                  </a:lnTo>
                  <a:lnTo>
                    <a:pt x="9139" y="8642"/>
                  </a:lnTo>
                  <a:lnTo>
                    <a:pt x="9157" y="8799"/>
                  </a:lnTo>
                  <a:lnTo>
                    <a:pt x="9176" y="8956"/>
                  </a:lnTo>
                  <a:lnTo>
                    <a:pt x="9198" y="9111"/>
                  </a:lnTo>
                  <a:lnTo>
                    <a:pt x="9220" y="9266"/>
                  </a:lnTo>
                  <a:lnTo>
                    <a:pt x="9246" y="9420"/>
                  </a:lnTo>
                  <a:lnTo>
                    <a:pt x="9272" y="9571"/>
                  </a:lnTo>
                  <a:lnTo>
                    <a:pt x="9198" y="9512"/>
                  </a:lnTo>
                  <a:lnTo>
                    <a:pt x="9124" y="9455"/>
                  </a:lnTo>
                  <a:lnTo>
                    <a:pt x="9049" y="9398"/>
                  </a:lnTo>
                  <a:lnTo>
                    <a:pt x="8974" y="9344"/>
                  </a:lnTo>
                  <a:lnTo>
                    <a:pt x="8898" y="9291"/>
                  </a:lnTo>
                  <a:lnTo>
                    <a:pt x="8821" y="9240"/>
                  </a:lnTo>
                  <a:lnTo>
                    <a:pt x="8744" y="9190"/>
                  </a:lnTo>
                  <a:lnTo>
                    <a:pt x="8666" y="9142"/>
                  </a:lnTo>
                  <a:lnTo>
                    <a:pt x="8588" y="9097"/>
                  </a:lnTo>
                  <a:lnTo>
                    <a:pt x="8508" y="9051"/>
                  </a:lnTo>
                  <a:lnTo>
                    <a:pt x="8429" y="9009"/>
                  </a:lnTo>
                  <a:lnTo>
                    <a:pt x="8349" y="8968"/>
                  </a:lnTo>
                  <a:lnTo>
                    <a:pt x="8269" y="8930"/>
                  </a:lnTo>
                  <a:lnTo>
                    <a:pt x="8187" y="8892"/>
                  </a:lnTo>
                  <a:lnTo>
                    <a:pt x="8106" y="8857"/>
                  </a:lnTo>
                  <a:lnTo>
                    <a:pt x="8024" y="8823"/>
                  </a:lnTo>
                  <a:lnTo>
                    <a:pt x="7942" y="8792"/>
                  </a:lnTo>
                  <a:lnTo>
                    <a:pt x="7858" y="8762"/>
                  </a:lnTo>
                  <a:lnTo>
                    <a:pt x="7775" y="8735"/>
                  </a:lnTo>
                  <a:lnTo>
                    <a:pt x="7691" y="8708"/>
                  </a:lnTo>
                  <a:lnTo>
                    <a:pt x="7607" y="8684"/>
                  </a:lnTo>
                  <a:lnTo>
                    <a:pt x="7522" y="8662"/>
                  </a:lnTo>
                  <a:lnTo>
                    <a:pt x="7437" y="8643"/>
                  </a:lnTo>
                  <a:lnTo>
                    <a:pt x="7351" y="8625"/>
                  </a:lnTo>
                  <a:lnTo>
                    <a:pt x="7265" y="8609"/>
                  </a:lnTo>
                  <a:lnTo>
                    <a:pt x="7178" y="8595"/>
                  </a:lnTo>
                  <a:lnTo>
                    <a:pt x="7092" y="8584"/>
                  </a:lnTo>
                  <a:lnTo>
                    <a:pt x="7004" y="8574"/>
                  </a:lnTo>
                  <a:lnTo>
                    <a:pt x="6917" y="8567"/>
                  </a:lnTo>
                  <a:lnTo>
                    <a:pt x="6829" y="8561"/>
                  </a:lnTo>
                  <a:lnTo>
                    <a:pt x="6741" y="8558"/>
                  </a:lnTo>
                  <a:lnTo>
                    <a:pt x="6652" y="8557"/>
                  </a:lnTo>
                  <a:close/>
                  <a:moveTo>
                    <a:pt x="6033" y="15089"/>
                  </a:moveTo>
                  <a:lnTo>
                    <a:pt x="4021" y="15089"/>
                  </a:lnTo>
                  <a:lnTo>
                    <a:pt x="4021" y="10562"/>
                  </a:lnTo>
                  <a:lnTo>
                    <a:pt x="4021" y="10528"/>
                  </a:lnTo>
                  <a:lnTo>
                    <a:pt x="4020" y="10494"/>
                  </a:lnTo>
                  <a:lnTo>
                    <a:pt x="4018" y="10460"/>
                  </a:lnTo>
                  <a:lnTo>
                    <a:pt x="4016" y="10426"/>
                  </a:lnTo>
                  <a:lnTo>
                    <a:pt x="4014" y="10392"/>
                  </a:lnTo>
                  <a:lnTo>
                    <a:pt x="4011" y="10359"/>
                  </a:lnTo>
                  <a:lnTo>
                    <a:pt x="4007" y="10325"/>
                  </a:lnTo>
                  <a:lnTo>
                    <a:pt x="4003" y="10292"/>
                  </a:lnTo>
                  <a:lnTo>
                    <a:pt x="3998" y="10260"/>
                  </a:lnTo>
                  <a:lnTo>
                    <a:pt x="3993" y="10226"/>
                  </a:lnTo>
                  <a:lnTo>
                    <a:pt x="3987" y="10193"/>
                  </a:lnTo>
                  <a:lnTo>
                    <a:pt x="3980" y="10161"/>
                  </a:lnTo>
                  <a:lnTo>
                    <a:pt x="3973" y="10129"/>
                  </a:lnTo>
                  <a:lnTo>
                    <a:pt x="3966" y="10097"/>
                  </a:lnTo>
                  <a:lnTo>
                    <a:pt x="3958" y="10064"/>
                  </a:lnTo>
                  <a:lnTo>
                    <a:pt x="3950" y="10033"/>
                  </a:lnTo>
                  <a:lnTo>
                    <a:pt x="3941" y="10002"/>
                  </a:lnTo>
                  <a:lnTo>
                    <a:pt x="3932" y="9970"/>
                  </a:lnTo>
                  <a:lnTo>
                    <a:pt x="3922" y="9940"/>
                  </a:lnTo>
                  <a:lnTo>
                    <a:pt x="3912" y="9908"/>
                  </a:lnTo>
                  <a:lnTo>
                    <a:pt x="3901" y="9877"/>
                  </a:lnTo>
                  <a:lnTo>
                    <a:pt x="3890" y="9847"/>
                  </a:lnTo>
                  <a:lnTo>
                    <a:pt x="3878" y="9817"/>
                  </a:lnTo>
                  <a:lnTo>
                    <a:pt x="3866" y="9787"/>
                  </a:lnTo>
                  <a:lnTo>
                    <a:pt x="3853" y="9758"/>
                  </a:lnTo>
                  <a:lnTo>
                    <a:pt x="3840" y="9728"/>
                  </a:lnTo>
                  <a:lnTo>
                    <a:pt x="3826" y="9698"/>
                  </a:lnTo>
                  <a:lnTo>
                    <a:pt x="3811" y="9670"/>
                  </a:lnTo>
                  <a:lnTo>
                    <a:pt x="3797" y="9641"/>
                  </a:lnTo>
                  <a:lnTo>
                    <a:pt x="3782" y="9613"/>
                  </a:lnTo>
                  <a:lnTo>
                    <a:pt x="3766" y="9585"/>
                  </a:lnTo>
                  <a:lnTo>
                    <a:pt x="3750" y="9556"/>
                  </a:lnTo>
                  <a:lnTo>
                    <a:pt x="4102" y="9556"/>
                  </a:lnTo>
                  <a:lnTo>
                    <a:pt x="4102" y="9562"/>
                  </a:lnTo>
                  <a:lnTo>
                    <a:pt x="5615" y="9562"/>
                  </a:lnTo>
                  <a:lnTo>
                    <a:pt x="5605" y="9592"/>
                  </a:lnTo>
                  <a:lnTo>
                    <a:pt x="5596" y="9622"/>
                  </a:lnTo>
                  <a:lnTo>
                    <a:pt x="5587" y="9651"/>
                  </a:lnTo>
                  <a:lnTo>
                    <a:pt x="5579" y="9681"/>
                  </a:lnTo>
                  <a:lnTo>
                    <a:pt x="5572" y="9711"/>
                  </a:lnTo>
                  <a:lnTo>
                    <a:pt x="5565" y="9743"/>
                  </a:lnTo>
                  <a:lnTo>
                    <a:pt x="5558" y="9773"/>
                  </a:lnTo>
                  <a:lnTo>
                    <a:pt x="5552" y="9804"/>
                  </a:lnTo>
                  <a:lnTo>
                    <a:pt x="5547" y="9835"/>
                  </a:lnTo>
                  <a:lnTo>
                    <a:pt x="5543" y="9866"/>
                  </a:lnTo>
                  <a:lnTo>
                    <a:pt x="5539" y="9897"/>
                  </a:lnTo>
                  <a:lnTo>
                    <a:pt x="5536" y="9930"/>
                  </a:lnTo>
                  <a:lnTo>
                    <a:pt x="5533" y="9962"/>
                  </a:lnTo>
                  <a:lnTo>
                    <a:pt x="5531" y="9994"/>
                  </a:lnTo>
                  <a:lnTo>
                    <a:pt x="5530" y="10026"/>
                  </a:lnTo>
                  <a:lnTo>
                    <a:pt x="5530" y="10059"/>
                  </a:lnTo>
                  <a:lnTo>
                    <a:pt x="5530" y="13580"/>
                  </a:lnTo>
                  <a:lnTo>
                    <a:pt x="5531" y="13625"/>
                  </a:lnTo>
                  <a:lnTo>
                    <a:pt x="5533" y="13669"/>
                  </a:lnTo>
                  <a:lnTo>
                    <a:pt x="5537" y="13712"/>
                  </a:lnTo>
                  <a:lnTo>
                    <a:pt x="5542" y="13754"/>
                  </a:lnTo>
                  <a:lnTo>
                    <a:pt x="5548" y="13795"/>
                  </a:lnTo>
                  <a:lnTo>
                    <a:pt x="5556" y="13836"/>
                  </a:lnTo>
                  <a:lnTo>
                    <a:pt x="5565" y="13875"/>
                  </a:lnTo>
                  <a:lnTo>
                    <a:pt x="5575" y="13913"/>
                  </a:lnTo>
                  <a:lnTo>
                    <a:pt x="5585" y="13951"/>
                  </a:lnTo>
                  <a:lnTo>
                    <a:pt x="5597" y="13988"/>
                  </a:lnTo>
                  <a:lnTo>
                    <a:pt x="5610" y="14024"/>
                  </a:lnTo>
                  <a:lnTo>
                    <a:pt x="5624" y="14058"/>
                  </a:lnTo>
                  <a:lnTo>
                    <a:pt x="5638" y="14092"/>
                  </a:lnTo>
                  <a:lnTo>
                    <a:pt x="5653" y="14125"/>
                  </a:lnTo>
                  <a:lnTo>
                    <a:pt x="5669" y="14158"/>
                  </a:lnTo>
                  <a:lnTo>
                    <a:pt x="5686" y="14189"/>
                  </a:lnTo>
                  <a:lnTo>
                    <a:pt x="5702" y="14220"/>
                  </a:lnTo>
                  <a:lnTo>
                    <a:pt x="5719" y="14249"/>
                  </a:lnTo>
                  <a:lnTo>
                    <a:pt x="5737" y="14278"/>
                  </a:lnTo>
                  <a:lnTo>
                    <a:pt x="5754" y="14306"/>
                  </a:lnTo>
                  <a:lnTo>
                    <a:pt x="5772" y="14334"/>
                  </a:lnTo>
                  <a:lnTo>
                    <a:pt x="5790" y="14360"/>
                  </a:lnTo>
                  <a:lnTo>
                    <a:pt x="5808" y="14385"/>
                  </a:lnTo>
                  <a:lnTo>
                    <a:pt x="5826" y="14410"/>
                  </a:lnTo>
                  <a:lnTo>
                    <a:pt x="5863" y="14457"/>
                  </a:lnTo>
                  <a:lnTo>
                    <a:pt x="5897" y="14501"/>
                  </a:lnTo>
                  <a:lnTo>
                    <a:pt x="5931" y="14542"/>
                  </a:lnTo>
                  <a:lnTo>
                    <a:pt x="5962" y="14579"/>
                  </a:lnTo>
                  <a:lnTo>
                    <a:pt x="5979" y="14599"/>
                  </a:lnTo>
                  <a:lnTo>
                    <a:pt x="5997" y="14620"/>
                  </a:lnTo>
                  <a:lnTo>
                    <a:pt x="6016" y="14641"/>
                  </a:lnTo>
                  <a:lnTo>
                    <a:pt x="6033" y="14663"/>
                  </a:lnTo>
                  <a:lnTo>
                    <a:pt x="6033" y="15089"/>
                  </a:lnTo>
                  <a:close/>
                  <a:moveTo>
                    <a:pt x="1006" y="7042"/>
                  </a:moveTo>
                  <a:lnTo>
                    <a:pt x="1007" y="6964"/>
                  </a:lnTo>
                  <a:lnTo>
                    <a:pt x="1011" y="6888"/>
                  </a:lnTo>
                  <a:lnTo>
                    <a:pt x="1017" y="6812"/>
                  </a:lnTo>
                  <a:lnTo>
                    <a:pt x="1026" y="6738"/>
                  </a:lnTo>
                  <a:lnTo>
                    <a:pt x="1037" y="6664"/>
                  </a:lnTo>
                  <a:lnTo>
                    <a:pt x="1051" y="6593"/>
                  </a:lnTo>
                  <a:lnTo>
                    <a:pt x="1067" y="6522"/>
                  </a:lnTo>
                  <a:lnTo>
                    <a:pt x="1085" y="6454"/>
                  </a:lnTo>
                  <a:lnTo>
                    <a:pt x="1106" y="6388"/>
                  </a:lnTo>
                  <a:lnTo>
                    <a:pt x="1128" y="6322"/>
                  </a:lnTo>
                  <a:lnTo>
                    <a:pt x="1152" y="6259"/>
                  </a:lnTo>
                  <a:lnTo>
                    <a:pt x="1178" y="6199"/>
                  </a:lnTo>
                  <a:lnTo>
                    <a:pt x="1206" y="6139"/>
                  </a:lnTo>
                  <a:lnTo>
                    <a:pt x="1235" y="6082"/>
                  </a:lnTo>
                  <a:lnTo>
                    <a:pt x="1267" y="6028"/>
                  </a:lnTo>
                  <a:lnTo>
                    <a:pt x="1301" y="5974"/>
                  </a:lnTo>
                  <a:lnTo>
                    <a:pt x="1336" y="5925"/>
                  </a:lnTo>
                  <a:lnTo>
                    <a:pt x="1372" y="5878"/>
                  </a:lnTo>
                  <a:lnTo>
                    <a:pt x="1410" y="5832"/>
                  </a:lnTo>
                  <a:lnTo>
                    <a:pt x="1450" y="5790"/>
                  </a:lnTo>
                  <a:lnTo>
                    <a:pt x="1490" y="5751"/>
                  </a:lnTo>
                  <a:lnTo>
                    <a:pt x="1532" y="5715"/>
                  </a:lnTo>
                  <a:lnTo>
                    <a:pt x="1575" y="5682"/>
                  </a:lnTo>
                  <a:lnTo>
                    <a:pt x="1621" y="5651"/>
                  </a:lnTo>
                  <a:lnTo>
                    <a:pt x="1666" y="5624"/>
                  </a:lnTo>
                  <a:lnTo>
                    <a:pt x="1713" y="5600"/>
                  </a:lnTo>
                  <a:lnTo>
                    <a:pt x="1760" y="5580"/>
                  </a:lnTo>
                  <a:lnTo>
                    <a:pt x="1809" y="5563"/>
                  </a:lnTo>
                  <a:lnTo>
                    <a:pt x="1859" y="5550"/>
                  </a:lnTo>
                  <a:lnTo>
                    <a:pt x="1909" y="5541"/>
                  </a:lnTo>
                  <a:lnTo>
                    <a:pt x="1960" y="5535"/>
                  </a:lnTo>
                  <a:lnTo>
                    <a:pt x="2012" y="5533"/>
                  </a:lnTo>
                  <a:lnTo>
                    <a:pt x="5540" y="5533"/>
                  </a:lnTo>
                  <a:lnTo>
                    <a:pt x="5511" y="5568"/>
                  </a:lnTo>
                  <a:lnTo>
                    <a:pt x="5482" y="5603"/>
                  </a:lnTo>
                  <a:lnTo>
                    <a:pt x="5455" y="5640"/>
                  </a:lnTo>
                  <a:lnTo>
                    <a:pt x="5428" y="5678"/>
                  </a:lnTo>
                  <a:lnTo>
                    <a:pt x="5402" y="5717"/>
                  </a:lnTo>
                  <a:lnTo>
                    <a:pt x="5377" y="5756"/>
                  </a:lnTo>
                  <a:lnTo>
                    <a:pt x="5352" y="5796"/>
                  </a:lnTo>
                  <a:lnTo>
                    <a:pt x="5328" y="5837"/>
                  </a:lnTo>
                  <a:lnTo>
                    <a:pt x="5305" y="5880"/>
                  </a:lnTo>
                  <a:lnTo>
                    <a:pt x="5283" y="5922"/>
                  </a:lnTo>
                  <a:lnTo>
                    <a:pt x="5262" y="5966"/>
                  </a:lnTo>
                  <a:lnTo>
                    <a:pt x="5241" y="6010"/>
                  </a:lnTo>
                  <a:lnTo>
                    <a:pt x="5222" y="6056"/>
                  </a:lnTo>
                  <a:lnTo>
                    <a:pt x="5203" y="6102"/>
                  </a:lnTo>
                  <a:lnTo>
                    <a:pt x="5185" y="6148"/>
                  </a:lnTo>
                  <a:lnTo>
                    <a:pt x="5168" y="6196"/>
                  </a:lnTo>
                  <a:lnTo>
                    <a:pt x="5151" y="6244"/>
                  </a:lnTo>
                  <a:lnTo>
                    <a:pt x="5136" y="6293"/>
                  </a:lnTo>
                  <a:lnTo>
                    <a:pt x="5122" y="6342"/>
                  </a:lnTo>
                  <a:lnTo>
                    <a:pt x="5109" y="6393"/>
                  </a:lnTo>
                  <a:lnTo>
                    <a:pt x="5096" y="6444"/>
                  </a:lnTo>
                  <a:lnTo>
                    <a:pt x="5085" y="6495"/>
                  </a:lnTo>
                  <a:lnTo>
                    <a:pt x="5075" y="6548"/>
                  </a:lnTo>
                  <a:lnTo>
                    <a:pt x="5066" y="6600"/>
                  </a:lnTo>
                  <a:lnTo>
                    <a:pt x="5057" y="6653"/>
                  </a:lnTo>
                  <a:lnTo>
                    <a:pt x="5050" y="6708"/>
                  </a:lnTo>
                  <a:lnTo>
                    <a:pt x="5044" y="6762"/>
                  </a:lnTo>
                  <a:lnTo>
                    <a:pt x="5039" y="6816"/>
                  </a:lnTo>
                  <a:lnTo>
                    <a:pt x="5035" y="6873"/>
                  </a:lnTo>
                  <a:lnTo>
                    <a:pt x="5032" y="6928"/>
                  </a:lnTo>
                  <a:lnTo>
                    <a:pt x="5031" y="6984"/>
                  </a:lnTo>
                  <a:lnTo>
                    <a:pt x="5030" y="7042"/>
                  </a:lnTo>
                  <a:lnTo>
                    <a:pt x="5031" y="7099"/>
                  </a:lnTo>
                  <a:lnTo>
                    <a:pt x="5032" y="7155"/>
                  </a:lnTo>
                  <a:lnTo>
                    <a:pt x="5035" y="7212"/>
                  </a:lnTo>
                  <a:lnTo>
                    <a:pt x="5039" y="7267"/>
                  </a:lnTo>
                  <a:lnTo>
                    <a:pt x="5044" y="7322"/>
                  </a:lnTo>
                  <a:lnTo>
                    <a:pt x="5050" y="7377"/>
                  </a:lnTo>
                  <a:lnTo>
                    <a:pt x="5057" y="7431"/>
                  </a:lnTo>
                  <a:lnTo>
                    <a:pt x="5066" y="7484"/>
                  </a:lnTo>
                  <a:lnTo>
                    <a:pt x="5075" y="7536"/>
                  </a:lnTo>
                  <a:lnTo>
                    <a:pt x="5085" y="7589"/>
                  </a:lnTo>
                  <a:lnTo>
                    <a:pt x="5096" y="7640"/>
                  </a:lnTo>
                  <a:lnTo>
                    <a:pt x="5109" y="7691"/>
                  </a:lnTo>
                  <a:lnTo>
                    <a:pt x="5122" y="7742"/>
                  </a:lnTo>
                  <a:lnTo>
                    <a:pt x="5136" y="7791"/>
                  </a:lnTo>
                  <a:lnTo>
                    <a:pt x="5151" y="7840"/>
                  </a:lnTo>
                  <a:lnTo>
                    <a:pt x="5168" y="7888"/>
                  </a:lnTo>
                  <a:lnTo>
                    <a:pt x="5185" y="7936"/>
                  </a:lnTo>
                  <a:lnTo>
                    <a:pt x="5203" y="7982"/>
                  </a:lnTo>
                  <a:lnTo>
                    <a:pt x="5222" y="8028"/>
                  </a:lnTo>
                  <a:lnTo>
                    <a:pt x="5241" y="8074"/>
                  </a:lnTo>
                  <a:lnTo>
                    <a:pt x="5262" y="8118"/>
                  </a:lnTo>
                  <a:lnTo>
                    <a:pt x="5283" y="8161"/>
                  </a:lnTo>
                  <a:lnTo>
                    <a:pt x="5305" y="8204"/>
                  </a:lnTo>
                  <a:lnTo>
                    <a:pt x="5328" y="8247"/>
                  </a:lnTo>
                  <a:lnTo>
                    <a:pt x="5352" y="8288"/>
                  </a:lnTo>
                  <a:lnTo>
                    <a:pt x="5377" y="8328"/>
                  </a:lnTo>
                  <a:lnTo>
                    <a:pt x="5402" y="8367"/>
                  </a:lnTo>
                  <a:lnTo>
                    <a:pt x="5428" y="8406"/>
                  </a:lnTo>
                  <a:lnTo>
                    <a:pt x="5455" y="8443"/>
                  </a:lnTo>
                  <a:lnTo>
                    <a:pt x="5482" y="8480"/>
                  </a:lnTo>
                  <a:lnTo>
                    <a:pt x="5511" y="8515"/>
                  </a:lnTo>
                  <a:lnTo>
                    <a:pt x="5540" y="8550"/>
                  </a:lnTo>
                  <a:lnTo>
                    <a:pt x="2012" y="8550"/>
                  </a:lnTo>
                  <a:lnTo>
                    <a:pt x="1960" y="8548"/>
                  </a:lnTo>
                  <a:lnTo>
                    <a:pt x="1909" y="8542"/>
                  </a:lnTo>
                  <a:lnTo>
                    <a:pt x="1859" y="8533"/>
                  </a:lnTo>
                  <a:lnTo>
                    <a:pt x="1809" y="8520"/>
                  </a:lnTo>
                  <a:lnTo>
                    <a:pt x="1760" y="8503"/>
                  </a:lnTo>
                  <a:lnTo>
                    <a:pt x="1713" y="8483"/>
                  </a:lnTo>
                  <a:lnTo>
                    <a:pt x="1666" y="8459"/>
                  </a:lnTo>
                  <a:lnTo>
                    <a:pt x="1621" y="8432"/>
                  </a:lnTo>
                  <a:lnTo>
                    <a:pt x="1575" y="8402"/>
                  </a:lnTo>
                  <a:lnTo>
                    <a:pt x="1532" y="8368"/>
                  </a:lnTo>
                  <a:lnTo>
                    <a:pt x="1490" y="8332"/>
                  </a:lnTo>
                  <a:lnTo>
                    <a:pt x="1450" y="8293"/>
                  </a:lnTo>
                  <a:lnTo>
                    <a:pt x="1410" y="8251"/>
                  </a:lnTo>
                  <a:lnTo>
                    <a:pt x="1372" y="8206"/>
                  </a:lnTo>
                  <a:lnTo>
                    <a:pt x="1336" y="8158"/>
                  </a:lnTo>
                  <a:lnTo>
                    <a:pt x="1301" y="8109"/>
                  </a:lnTo>
                  <a:lnTo>
                    <a:pt x="1267" y="8057"/>
                  </a:lnTo>
                  <a:lnTo>
                    <a:pt x="1235" y="8001"/>
                  </a:lnTo>
                  <a:lnTo>
                    <a:pt x="1206" y="7945"/>
                  </a:lnTo>
                  <a:lnTo>
                    <a:pt x="1178" y="7886"/>
                  </a:lnTo>
                  <a:lnTo>
                    <a:pt x="1152" y="7824"/>
                  </a:lnTo>
                  <a:lnTo>
                    <a:pt x="1128" y="7761"/>
                  </a:lnTo>
                  <a:lnTo>
                    <a:pt x="1106" y="7696"/>
                  </a:lnTo>
                  <a:lnTo>
                    <a:pt x="1085" y="7629"/>
                  </a:lnTo>
                  <a:lnTo>
                    <a:pt x="1067" y="7561"/>
                  </a:lnTo>
                  <a:lnTo>
                    <a:pt x="1051" y="7490"/>
                  </a:lnTo>
                  <a:lnTo>
                    <a:pt x="1037" y="7419"/>
                  </a:lnTo>
                  <a:lnTo>
                    <a:pt x="1026" y="7345"/>
                  </a:lnTo>
                  <a:lnTo>
                    <a:pt x="1017" y="7272"/>
                  </a:lnTo>
                  <a:lnTo>
                    <a:pt x="1011" y="7196"/>
                  </a:lnTo>
                  <a:lnTo>
                    <a:pt x="1007" y="7119"/>
                  </a:lnTo>
                  <a:lnTo>
                    <a:pt x="1006" y="7042"/>
                  </a:lnTo>
                  <a:close/>
                  <a:moveTo>
                    <a:pt x="10059" y="7042"/>
                  </a:moveTo>
                  <a:lnTo>
                    <a:pt x="10059" y="6944"/>
                  </a:lnTo>
                  <a:lnTo>
                    <a:pt x="10060" y="6846"/>
                  </a:lnTo>
                  <a:lnTo>
                    <a:pt x="10062" y="6750"/>
                  </a:lnTo>
                  <a:lnTo>
                    <a:pt x="10064" y="6653"/>
                  </a:lnTo>
                  <a:lnTo>
                    <a:pt x="10068" y="6558"/>
                  </a:lnTo>
                  <a:lnTo>
                    <a:pt x="10071" y="6462"/>
                  </a:lnTo>
                  <a:lnTo>
                    <a:pt x="10076" y="6368"/>
                  </a:lnTo>
                  <a:lnTo>
                    <a:pt x="10082" y="6273"/>
                  </a:lnTo>
                  <a:lnTo>
                    <a:pt x="10087" y="6178"/>
                  </a:lnTo>
                  <a:lnTo>
                    <a:pt x="10093" y="6085"/>
                  </a:lnTo>
                  <a:lnTo>
                    <a:pt x="10100" y="5991"/>
                  </a:lnTo>
                  <a:lnTo>
                    <a:pt x="10107" y="5899"/>
                  </a:lnTo>
                  <a:lnTo>
                    <a:pt x="10115" y="5806"/>
                  </a:lnTo>
                  <a:lnTo>
                    <a:pt x="10124" y="5715"/>
                  </a:lnTo>
                  <a:lnTo>
                    <a:pt x="10133" y="5623"/>
                  </a:lnTo>
                  <a:lnTo>
                    <a:pt x="10142" y="5533"/>
                  </a:lnTo>
                  <a:lnTo>
                    <a:pt x="11568" y="5533"/>
                  </a:lnTo>
                  <a:lnTo>
                    <a:pt x="11620" y="5535"/>
                  </a:lnTo>
                  <a:lnTo>
                    <a:pt x="11671" y="5541"/>
                  </a:lnTo>
                  <a:lnTo>
                    <a:pt x="11721" y="5550"/>
                  </a:lnTo>
                  <a:lnTo>
                    <a:pt x="11770" y="5563"/>
                  </a:lnTo>
                  <a:lnTo>
                    <a:pt x="11820" y="5580"/>
                  </a:lnTo>
                  <a:lnTo>
                    <a:pt x="11867" y="5600"/>
                  </a:lnTo>
                  <a:lnTo>
                    <a:pt x="11914" y="5624"/>
                  </a:lnTo>
                  <a:lnTo>
                    <a:pt x="11960" y="5651"/>
                  </a:lnTo>
                  <a:lnTo>
                    <a:pt x="12004" y="5682"/>
                  </a:lnTo>
                  <a:lnTo>
                    <a:pt x="12047" y="5715"/>
                  </a:lnTo>
                  <a:lnTo>
                    <a:pt x="12089" y="5751"/>
                  </a:lnTo>
                  <a:lnTo>
                    <a:pt x="12131" y="5790"/>
                  </a:lnTo>
                  <a:lnTo>
                    <a:pt x="12170" y="5832"/>
                  </a:lnTo>
                  <a:lnTo>
                    <a:pt x="12208" y="5878"/>
                  </a:lnTo>
                  <a:lnTo>
                    <a:pt x="12244" y="5925"/>
                  </a:lnTo>
                  <a:lnTo>
                    <a:pt x="12279" y="5974"/>
                  </a:lnTo>
                  <a:lnTo>
                    <a:pt x="12313" y="6028"/>
                  </a:lnTo>
                  <a:lnTo>
                    <a:pt x="12344" y="6082"/>
                  </a:lnTo>
                  <a:lnTo>
                    <a:pt x="12374" y="6139"/>
                  </a:lnTo>
                  <a:lnTo>
                    <a:pt x="12402" y="6199"/>
                  </a:lnTo>
                  <a:lnTo>
                    <a:pt x="12428" y="6259"/>
                  </a:lnTo>
                  <a:lnTo>
                    <a:pt x="12453" y="6322"/>
                  </a:lnTo>
                  <a:lnTo>
                    <a:pt x="12475" y="6388"/>
                  </a:lnTo>
                  <a:lnTo>
                    <a:pt x="12495" y="6454"/>
                  </a:lnTo>
                  <a:lnTo>
                    <a:pt x="12513" y="6522"/>
                  </a:lnTo>
                  <a:lnTo>
                    <a:pt x="12529" y="6593"/>
                  </a:lnTo>
                  <a:lnTo>
                    <a:pt x="12542" y="6664"/>
                  </a:lnTo>
                  <a:lnTo>
                    <a:pt x="12554" y="6738"/>
                  </a:lnTo>
                  <a:lnTo>
                    <a:pt x="12562" y="6812"/>
                  </a:lnTo>
                  <a:lnTo>
                    <a:pt x="12569" y="6888"/>
                  </a:lnTo>
                  <a:lnTo>
                    <a:pt x="12573" y="6964"/>
                  </a:lnTo>
                  <a:lnTo>
                    <a:pt x="12574" y="7042"/>
                  </a:lnTo>
                  <a:lnTo>
                    <a:pt x="12573" y="7119"/>
                  </a:lnTo>
                  <a:lnTo>
                    <a:pt x="12569" y="7196"/>
                  </a:lnTo>
                  <a:lnTo>
                    <a:pt x="12562" y="7272"/>
                  </a:lnTo>
                  <a:lnTo>
                    <a:pt x="12554" y="7345"/>
                  </a:lnTo>
                  <a:lnTo>
                    <a:pt x="12542" y="7419"/>
                  </a:lnTo>
                  <a:lnTo>
                    <a:pt x="12529" y="7490"/>
                  </a:lnTo>
                  <a:lnTo>
                    <a:pt x="12513" y="7561"/>
                  </a:lnTo>
                  <a:lnTo>
                    <a:pt x="12495" y="7629"/>
                  </a:lnTo>
                  <a:lnTo>
                    <a:pt x="12475" y="7696"/>
                  </a:lnTo>
                  <a:lnTo>
                    <a:pt x="12453" y="7761"/>
                  </a:lnTo>
                  <a:lnTo>
                    <a:pt x="12428" y="7824"/>
                  </a:lnTo>
                  <a:lnTo>
                    <a:pt x="12402" y="7886"/>
                  </a:lnTo>
                  <a:lnTo>
                    <a:pt x="12374" y="7945"/>
                  </a:lnTo>
                  <a:lnTo>
                    <a:pt x="12344" y="8001"/>
                  </a:lnTo>
                  <a:lnTo>
                    <a:pt x="12313" y="8057"/>
                  </a:lnTo>
                  <a:lnTo>
                    <a:pt x="12279" y="8109"/>
                  </a:lnTo>
                  <a:lnTo>
                    <a:pt x="12244" y="8158"/>
                  </a:lnTo>
                  <a:lnTo>
                    <a:pt x="12208" y="8206"/>
                  </a:lnTo>
                  <a:lnTo>
                    <a:pt x="12170" y="8251"/>
                  </a:lnTo>
                  <a:lnTo>
                    <a:pt x="12131" y="8293"/>
                  </a:lnTo>
                  <a:lnTo>
                    <a:pt x="12089" y="8332"/>
                  </a:lnTo>
                  <a:lnTo>
                    <a:pt x="12047" y="8368"/>
                  </a:lnTo>
                  <a:lnTo>
                    <a:pt x="12004" y="8402"/>
                  </a:lnTo>
                  <a:lnTo>
                    <a:pt x="11960" y="8432"/>
                  </a:lnTo>
                  <a:lnTo>
                    <a:pt x="11914" y="8459"/>
                  </a:lnTo>
                  <a:lnTo>
                    <a:pt x="11867" y="8483"/>
                  </a:lnTo>
                  <a:lnTo>
                    <a:pt x="11820" y="8503"/>
                  </a:lnTo>
                  <a:lnTo>
                    <a:pt x="11770" y="8520"/>
                  </a:lnTo>
                  <a:lnTo>
                    <a:pt x="11721" y="8533"/>
                  </a:lnTo>
                  <a:lnTo>
                    <a:pt x="11671" y="8542"/>
                  </a:lnTo>
                  <a:lnTo>
                    <a:pt x="11620" y="8548"/>
                  </a:lnTo>
                  <a:lnTo>
                    <a:pt x="11568" y="8550"/>
                  </a:lnTo>
                  <a:lnTo>
                    <a:pt x="10142" y="8550"/>
                  </a:lnTo>
                  <a:lnTo>
                    <a:pt x="10133" y="8460"/>
                  </a:lnTo>
                  <a:lnTo>
                    <a:pt x="10124" y="8368"/>
                  </a:lnTo>
                  <a:lnTo>
                    <a:pt x="10115" y="8277"/>
                  </a:lnTo>
                  <a:lnTo>
                    <a:pt x="10107" y="8184"/>
                  </a:lnTo>
                  <a:lnTo>
                    <a:pt x="10100" y="8092"/>
                  </a:lnTo>
                  <a:lnTo>
                    <a:pt x="10093" y="7998"/>
                  </a:lnTo>
                  <a:lnTo>
                    <a:pt x="10087" y="7905"/>
                  </a:lnTo>
                  <a:lnTo>
                    <a:pt x="10082" y="7811"/>
                  </a:lnTo>
                  <a:lnTo>
                    <a:pt x="10076" y="7717"/>
                  </a:lnTo>
                  <a:lnTo>
                    <a:pt x="10071" y="7621"/>
                  </a:lnTo>
                  <a:lnTo>
                    <a:pt x="10068" y="7525"/>
                  </a:lnTo>
                  <a:lnTo>
                    <a:pt x="10064" y="7430"/>
                  </a:lnTo>
                  <a:lnTo>
                    <a:pt x="10062" y="7333"/>
                  </a:lnTo>
                  <a:lnTo>
                    <a:pt x="10060" y="7237"/>
                  </a:lnTo>
                  <a:lnTo>
                    <a:pt x="10059" y="7139"/>
                  </a:lnTo>
                  <a:lnTo>
                    <a:pt x="10059" y="7042"/>
                  </a:lnTo>
                  <a:close/>
                  <a:moveTo>
                    <a:pt x="12574" y="0"/>
                  </a:moveTo>
                  <a:lnTo>
                    <a:pt x="12478" y="2"/>
                  </a:lnTo>
                  <a:lnTo>
                    <a:pt x="12383" y="8"/>
                  </a:lnTo>
                  <a:lnTo>
                    <a:pt x="12290" y="18"/>
                  </a:lnTo>
                  <a:lnTo>
                    <a:pt x="12197" y="32"/>
                  </a:lnTo>
                  <a:lnTo>
                    <a:pt x="12106" y="50"/>
                  </a:lnTo>
                  <a:lnTo>
                    <a:pt x="12017" y="72"/>
                  </a:lnTo>
                  <a:lnTo>
                    <a:pt x="11928" y="99"/>
                  </a:lnTo>
                  <a:lnTo>
                    <a:pt x="11841" y="128"/>
                  </a:lnTo>
                  <a:lnTo>
                    <a:pt x="11755" y="161"/>
                  </a:lnTo>
                  <a:lnTo>
                    <a:pt x="11671" y="198"/>
                  </a:lnTo>
                  <a:lnTo>
                    <a:pt x="11588" y="238"/>
                  </a:lnTo>
                  <a:lnTo>
                    <a:pt x="11506" y="282"/>
                  </a:lnTo>
                  <a:lnTo>
                    <a:pt x="11425" y="329"/>
                  </a:lnTo>
                  <a:lnTo>
                    <a:pt x="11347" y="380"/>
                  </a:lnTo>
                  <a:lnTo>
                    <a:pt x="11269" y="435"/>
                  </a:lnTo>
                  <a:lnTo>
                    <a:pt x="11192" y="491"/>
                  </a:lnTo>
                  <a:lnTo>
                    <a:pt x="11117" y="552"/>
                  </a:lnTo>
                  <a:lnTo>
                    <a:pt x="11043" y="616"/>
                  </a:lnTo>
                  <a:lnTo>
                    <a:pt x="10971" y="682"/>
                  </a:lnTo>
                  <a:lnTo>
                    <a:pt x="10899" y="752"/>
                  </a:lnTo>
                  <a:lnTo>
                    <a:pt x="10829" y="825"/>
                  </a:lnTo>
                  <a:lnTo>
                    <a:pt x="10761" y="900"/>
                  </a:lnTo>
                  <a:lnTo>
                    <a:pt x="10693" y="979"/>
                  </a:lnTo>
                  <a:lnTo>
                    <a:pt x="10628" y="1060"/>
                  </a:lnTo>
                  <a:lnTo>
                    <a:pt x="10562" y="1144"/>
                  </a:lnTo>
                  <a:lnTo>
                    <a:pt x="10500" y="1230"/>
                  </a:lnTo>
                  <a:lnTo>
                    <a:pt x="10438" y="1320"/>
                  </a:lnTo>
                  <a:lnTo>
                    <a:pt x="10377" y="1412"/>
                  </a:lnTo>
                  <a:lnTo>
                    <a:pt x="10318" y="1506"/>
                  </a:lnTo>
                  <a:lnTo>
                    <a:pt x="10260" y="1602"/>
                  </a:lnTo>
                  <a:lnTo>
                    <a:pt x="10203" y="1702"/>
                  </a:lnTo>
                  <a:lnTo>
                    <a:pt x="10148" y="1804"/>
                  </a:lnTo>
                  <a:lnTo>
                    <a:pt x="10137" y="1798"/>
                  </a:lnTo>
                  <a:lnTo>
                    <a:pt x="10056" y="1952"/>
                  </a:lnTo>
                  <a:lnTo>
                    <a:pt x="9974" y="2101"/>
                  </a:lnTo>
                  <a:lnTo>
                    <a:pt x="9888" y="2247"/>
                  </a:lnTo>
                  <a:lnTo>
                    <a:pt x="9801" y="2390"/>
                  </a:lnTo>
                  <a:lnTo>
                    <a:pt x="9711" y="2529"/>
                  </a:lnTo>
                  <a:lnTo>
                    <a:pt x="9620" y="2665"/>
                  </a:lnTo>
                  <a:lnTo>
                    <a:pt x="9525" y="2796"/>
                  </a:lnTo>
                  <a:lnTo>
                    <a:pt x="9430" y="2923"/>
                  </a:lnTo>
                  <a:lnTo>
                    <a:pt x="9332" y="3046"/>
                  </a:lnTo>
                  <a:lnTo>
                    <a:pt x="9231" y="3165"/>
                  </a:lnTo>
                  <a:lnTo>
                    <a:pt x="9130" y="3279"/>
                  </a:lnTo>
                  <a:lnTo>
                    <a:pt x="9026" y="3389"/>
                  </a:lnTo>
                  <a:lnTo>
                    <a:pt x="8921" y="3495"/>
                  </a:lnTo>
                  <a:lnTo>
                    <a:pt x="8814" y="3595"/>
                  </a:lnTo>
                  <a:lnTo>
                    <a:pt x="8705" y="3692"/>
                  </a:lnTo>
                  <a:lnTo>
                    <a:pt x="8595" y="3783"/>
                  </a:lnTo>
                  <a:lnTo>
                    <a:pt x="8483" y="3870"/>
                  </a:lnTo>
                  <a:lnTo>
                    <a:pt x="8369" y="3951"/>
                  </a:lnTo>
                  <a:lnTo>
                    <a:pt x="8255" y="4029"/>
                  </a:lnTo>
                  <a:lnTo>
                    <a:pt x="8138" y="4100"/>
                  </a:lnTo>
                  <a:lnTo>
                    <a:pt x="8020" y="4167"/>
                  </a:lnTo>
                  <a:lnTo>
                    <a:pt x="7902" y="4227"/>
                  </a:lnTo>
                  <a:lnTo>
                    <a:pt x="7781" y="4283"/>
                  </a:lnTo>
                  <a:lnTo>
                    <a:pt x="7659" y="4334"/>
                  </a:lnTo>
                  <a:lnTo>
                    <a:pt x="7537" y="4378"/>
                  </a:lnTo>
                  <a:lnTo>
                    <a:pt x="7414" y="4417"/>
                  </a:lnTo>
                  <a:lnTo>
                    <a:pt x="7289" y="4450"/>
                  </a:lnTo>
                  <a:lnTo>
                    <a:pt x="7163" y="4477"/>
                  </a:lnTo>
                  <a:lnTo>
                    <a:pt x="7037" y="4499"/>
                  </a:lnTo>
                  <a:lnTo>
                    <a:pt x="6909" y="4515"/>
                  </a:lnTo>
                  <a:lnTo>
                    <a:pt x="6781" y="4524"/>
                  </a:lnTo>
                  <a:lnTo>
                    <a:pt x="6652" y="4527"/>
                  </a:lnTo>
                  <a:lnTo>
                    <a:pt x="6318" y="4527"/>
                  </a:lnTo>
                  <a:lnTo>
                    <a:pt x="4102" y="4527"/>
                  </a:lnTo>
                  <a:lnTo>
                    <a:pt x="2012" y="4527"/>
                  </a:lnTo>
                  <a:lnTo>
                    <a:pt x="1907" y="4530"/>
                  </a:lnTo>
                  <a:lnTo>
                    <a:pt x="1804" y="4540"/>
                  </a:lnTo>
                  <a:lnTo>
                    <a:pt x="1701" y="4555"/>
                  </a:lnTo>
                  <a:lnTo>
                    <a:pt x="1601" y="4577"/>
                  </a:lnTo>
                  <a:lnTo>
                    <a:pt x="1503" y="4604"/>
                  </a:lnTo>
                  <a:lnTo>
                    <a:pt x="1407" y="4638"/>
                  </a:lnTo>
                  <a:lnTo>
                    <a:pt x="1313" y="4677"/>
                  </a:lnTo>
                  <a:lnTo>
                    <a:pt x="1221" y="4722"/>
                  </a:lnTo>
                  <a:lnTo>
                    <a:pt x="1132" y="4771"/>
                  </a:lnTo>
                  <a:lnTo>
                    <a:pt x="1045" y="4826"/>
                  </a:lnTo>
                  <a:lnTo>
                    <a:pt x="961" y="4886"/>
                  </a:lnTo>
                  <a:lnTo>
                    <a:pt x="879" y="4950"/>
                  </a:lnTo>
                  <a:lnTo>
                    <a:pt x="801" y="5020"/>
                  </a:lnTo>
                  <a:lnTo>
                    <a:pt x="725" y="5094"/>
                  </a:lnTo>
                  <a:lnTo>
                    <a:pt x="652" y="5173"/>
                  </a:lnTo>
                  <a:lnTo>
                    <a:pt x="582" y="5255"/>
                  </a:lnTo>
                  <a:lnTo>
                    <a:pt x="516" y="5343"/>
                  </a:lnTo>
                  <a:lnTo>
                    <a:pt x="454" y="5433"/>
                  </a:lnTo>
                  <a:lnTo>
                    <a:pt x="394" y="5528"/>
                  </a:lnTo>
                  <a:lnTo>
                    <a:pt x="339" y="5626"/>
                  </a:lnTo>
                  <a:lnTo>
                    <a:pt x="288" y="5728"/>
                  </a:lnTo>
                  <a:lnTo>
                    <a:pt x="239" y="5833"/>
                  </a:lnTo>
                  <a:lnTo>
                    <a:pt x="195" y="5942"/>
                  </a:lnTo>
                  <a:lnTo>
                    <a:pt x="156" y="6054"/>
                  </a:lnTo>
                  <a:lnTo>
                    <a:pt x="120" y="6168"/>
                  </a:lnTo>
                  <a:lnTo>
                    <a:pt x="89" y="6286"/>
                  </a:lnTo>
                  <a:lnTo>
                    <a:pt x="62" y="6406"/>
                  </a:lnTo>
                  <a:lnTo>
                    <a:pt x="40" y="6529"/>
                  </a:lnTo>
                  <a:lnTo>
                    <a:pt x="23" y="6653"/>
                  </a:lnTo>
                  <a:lnTo>
                    <a:pt x="10" y="6781"/>
                  </a:lnTo>
                  <a:lnTo>
                    <a:pt x="3" y="6911"/>
                  </a:lnTo>
                  <a:lnTo>
                    <a:pt x="0" y="7042"/>
                  </a:lnTo>
                  <a:lnTo>
                    <a:pt x="3" y="7173"/>
                  </a:lnTo>
                  <a:lnTo>
                    <a:pt x="10" y="7302"/>
                  </a:lnTo>
                  <a:lnTo>
                    <a:pt x="23" y="7430"/>
                  </a:lnTo>
                  <a:lnTo>
                    <a:pt x="40" y="7555"/>
                  </a:lnTo>
                  <a:lnTo>
                    <a:pt x="62" y="7677"/>
                  </a:lnTo>
                  <a:lnTo>
                    <a:pt x="89" y="7798"/>
                  </a:lnTo>
                  <a:lnTo>
                    <a:pt x="120" y="7915"/>
                  </a:lnTo>
                  <a:lnTo>
                    <a:pt x="156" y="8029"/>
                  </a:lnTo>
                  <a:lnTo>
                    <a:pt x="195" y="8141"/>
                  </a:lnTo>
                  <a:lnTo>
                    <a:pt x="239" y="8250"/>
                  </a:lnTo>
                  <a:lnTo>
                    <a:pt x="288" y="8355"/>
                  </a:lnTo>
                  <a:lnTo>
                    <a:pt x="339" y="8457"/>
                  </a:lnTo>
                  <a:lnTo>
                    <a:pt x="394" y="8555"/>
                  </a:lnTo>
                  <a:lnTo>
                    <a:pt x="454" y="8650"/>
                  </a:lnTo>
                  <a:lnTo>
                    <a:pt x="516" y="8742"/>
                  </a:lnTo>
                  <a:lnTo>
                    <a:pt x="582" y="8828"/>
                  </a:lnTo>
                  <a:lnTo>
                    <a:pt x="652" y="8911"/>
                  </a:lnTo>
                  <a:lnTo>
                    <a:pt x="725" y="8989"/>
                  </a:lnTo>
                  <a:lnTo>
                    <a:pt x="801" y="9063"/>
                  </a:lnTo>
                  <a:lnTo>
                    <a:pt x="879" y="9133"/>
                  </a:lnTo>
                  <a:lnTo>
                    <a:pt x="961" y="9197"/>
                  </a:lnTo>
                  <a:lnTo>
                    <a:pt x="1045" y="9258"/>
                  </a:lnTo>
                  <a:lnTo>
                    <a:pt x="1132" y="9312"/>
                  </a:lnTo>
                  <a:lnTo>
                    <a:pt x="1221" y="9362"/>
                  </a:lnTo>
                  <a:lnTo>
                    <a:pt x="1313" y="9407"/>
                  </a:lnTo>
                  <a:lnTo>
                    <a:pt x="1407" y="9445"/>
                  </a:lnTo>
                  <a:lnTo>
                    <a:pt x="1503" y="9479"/>
                  </a:lnTo>
                  <a:lnTo>
                    <a:pt x="1601" y="9506"/>
                  </a:lnTo>
                  <a:lnTo>
                    <a:pt x="1701" y="9528"/>
                  </a:lnTo>
                  <a:lnTo>
                    <a:pt x="1804" y="9543"/>
                  </a:lnTo>
                  <a:lnTo>
                    <a:pt x="1907" y="9553"/>
                  </a:lnTo>
                  <a:lnTo>
                    <a:pt x="2012" y="9556"/>
                  </a:lnTo>
                  <a:lnTo>
                    <a:pt x="2063" y="9557"/>
                  </a:lnTo>
                  <a:lnTo>
                    <a:pt x="2114" y="9561"/>
                  </a:lnTo>
                  <a:lnTo>
                    <a:pt x="2165" y="9568"/>
                  </a:lnTo>
                  <a:lnTo>
                    <a:pt x="2214" y="9578"/>
                  </a:lnTo>
                  <a:lnTo>
                    <a:pt x="2262" y="9589"/>
                  </a:lnTo>
                  <a:lnTo>
                    <a:pt x="2311" y="9603"/>
                  </a:lnTo>
                  <a:lnTo>
                    <a:pt x="2357" y="9618"/>
                  </a:lnTo>
                  <a:lnTo>
                    <a:pt x="2402" y="9636"/>
                  </a:lnTo>
                  <a:lnTo>
                    <a:pt x="2446" y="9656"/>
                  </a:lnTo>
                  <a:lnTo>
                    <a:pt x="2490" y="9679"/>
                  </a:lnTo>
                  <a:lnTo>
                    <a:pt x="2532" y="9703"/>
                  </a:lnTo>
                  <a:lnTo>
                    <a:pt x="2573" y="9729"/>
                  </a:lnTo>
                  <a:lnTo>
                    <a:pt x="2612" y="9758"/>
                  </a:lnTo>
                  <a:lnTo>
                    <a:pt x="2650" y="9787"/>
                  </a:lnTo>
                  <a:lnTo>
                    <a:pt x="2686" y="9819"/>
                  </a:lnTo>
                  <a:lnTo>
                    <a:pt x="2721" y="9852"/>
                  </a:lnTo>
                  <a:lnTo>
                    <a:pt x="2754" y="9886"/>
                  </a:lnTo>
                  <a:lnTo>
                    <a:pt x="2785" y="9924"/>
                  </a:lnTo>
                  <a:lnTo>
                    <a:pt x="2816" y="9961"/>
                  </a:lnTo>
                  <a:lnTo>
                    <a:pt x="2844" y="10000"/>
                  </a:lnTo>
                  <a:lnTo>
                    <a:pt x="2870" y="10041"/>
                  </a:lnTo>
                  <a:lnTo>
                    <a:pt x="2894" y="10084"/>
                  </a:lnTo>
                  <a:lnTo>
                    <a:pt x="2916" y="10127"/>
                  </a:lnTo>
                  <a:lnTo>
                    <a:pt x="2936" y="10171"/>
                  </a:lnTo>
                  <a:lnTo>
                    <a:pt x="2953" y="10216"/>
                  </a:lnTo>
                  <a:lnTo>
                    <a:pt x="2970" y="10264"/>
                  </a:lnTo>
                  <a:lnTo>
                    <a:pt x="2984" y="10311"/>
                  </a:lnTo>
                  <a:lnTo>
                    <a:pt x="2995" y="10360"/>
                  </a:lnTo>
                  <a:lnTo>
                    <a:pt x="3003" y="10409"/>
                  </a:lnTo>
                  <a:lnTo>
                    <a:pt x="3010" y="10460"/>
                  </a:lnTo>
                  <a:lnTo>
                    <a:pt x="3014" y="10510"/>
                  </a:lnTo>
                  <a:lnTo>
                    <a:pt x="3015" y="10562"/>
                  </a:lnTo>
                  <a:lnTo>
                    <a:pt x="3015" y="15089"/>
                  </a:lnTo>
                  <a:lnTo>
                    <a:pt x="3016" y="15140"/>
                  </a:lnTo>
                  <a:lnTo>
                    <a:pt x="3020" y="15192"/>
                  </a:lnTo>
                  <a:lnTo>
                    <a:pt x="3026" y="15242"/>
                  </a:lnTo>
                  <a:lnTo>
                    <a:pt x="3035" y="15292"/>
                  </a:lnTo>
                  <a:lnTo>
                    <a:pt x="3046" y="15341"/>
                  </a:lnTo>
                  <a:lnTo>
                    <a:pt x="3060" y="15388"/>
                  </a:lnTo>
                  <a:lnTo>
                    <a:pt x="3076" y="15435"/>
                  </a:lnTo>
                  <a:lnTo>
                    <a:pt x="3094" y="15480"/>
                  </a:lnTo>
                  <a:lnTo>
                    <a:pt x="3114" y="15526"/>
                  </a:lnTo>
                  <a:lnTo>
                    <a:pt x="3137" y="15569"/>
                  </a:lnTo>
                  <a:lnTo>
                    <a:pt x="3161" y="15611"/>
                  </a:lnTo>
                  <a:lnTo>
                    <a:pt x="3187" y="15651"/>
                  </a:lnTo>
                  <a:lnTo>
                    <a:pt x="3215" y="15691"/>
                  </a:lnTo>
                  <a:lnTo>
                    <a:pt x="3245" y="15729"/>
                  </a:lnTo>
                  <a:lnTo>
                    <a:pt x="3276" y="15765"/>
                  </a:lnTo>
                  <a:lnTo>
                    <a:pt x="3310" y="15800"/>
                  </a:lnTo>
                  <a:lnTo>
                    <a:pt x="3345" y="15833"/>
                  </a:lnTo>
                  <a:lnTo>
                    <a:pt x="3381" y="15866"/>
                  </a:lnTo>
                  <a:lnTo>
                    <a:pt x="3419" y="15895"/>
                  </a:lnTo>
                  <a:lnTo>
                    <a:pt x="3458" y="15923"/>
                  </a:lnTo>
                  <a:lnTo>
                    <a:pt x="3500" y="15949"/>
                  </a:lnTo>
                  <a:lnTo>
                    <a:pt x="3542" y="15973"/>
                  </a:lnTo>
                  <a:lnTo>
                    <a:pt x="3585" y="15995"/>
                  </a:lnTo>
                  <a:lnTo>
                    <a:pt x="3629" y="16016"/>
                  </a:lnTo>
                  <a:lnTo>
                    <a:pt x="3675" y="16034"/>
                  </a:lnTo>
                  <a:lnTo>
                    <a:pt x="3722" y="16050"/>
                  </a:lnTo>
                  <a:lnTo>
                    <a:pt x="3769" y="16064"/>
                  </a:lnTo>
                  <a:lnTo>
                    <a:pt x="3819" y="16075"/>
                  </a:lnTo>
                  <a:lnTo>
                    <a:pt x="3868" y="16083"/>
                  </a:lnTo>
                  <a:lnTo>
                    <a:pt x="3918" y="16090"/>
                  </a:lnTo>
                  <a:lnTo>
                    <a:pt x="3969" y="16094"/>
                  </a:lnTo>
                  <a:lnTo>
                    <a:pt x="4021" y="16095"/>
                  </a:lnTo>
                  <a:lnTo>
                    <a:pt x="6033" y="16095"/>
                  </a:lnTo>
                  <a:lnTo>
                    <a:pt x="6085" y="16094"/>
                  </a:lnTo>
                  <a:lnTo>
                    <a:pt x="6135" y="16090"/>
                  </a:lnTo>
                  <a:lnTo>
                    <a:pt x="6186" y="16083"/>
                  </a:lnTo>
                  <a:lnTo>
                    <a:pt x="6236" y="16075"/>
                  </a:lnTo>
                  <a:lnTo>
                    <a:pt x="6284" y="16064"/>
                  </a:lnTo>
                  <a:lnTo>
                    <a:pt x="6332" y="16050"/>
                  </a:lnTo>
                  <a:lnTo>
                    <a:pt x="6379" y="16034"/>
                  </a:lnTo>
                  <a:lnTo>
                    <a:pt x="6425" y="16016"/>
                  </a:lnTo>
                  <a:lnTo>
                    <a:pt x="6469" y="15995"/>
                  </a:lnTo>
                  <a:lnTo>
                    <a:pt x="6512" y="15973"/>
                  </a:lnTo>
                  <a:lnTo>
                    <a:pt x="6555" y="15949"/>
                  </a:lnTo>
                  <a:lnTo>
                    <a:pt x="6595" y="15923"/>
                  </a:lnTo>
                  <a:lnTo>
                    <a:pt x="6635" y="15895"/>
                  </a:lnTo>
                  <a:lnTo>
                    <a:pt x="6672" y="15866"/>
                  </a:lnTo>
                  <a:lnTo>
                    <a:pt x="6710" y="15833"/>
                  </a:lnTo>
                  <a:lnTo>
                    <a:pt x="6744" y="15800"/>
                  </a:lnTo>
                  <a:lnTo>
                    <a:pt x="6778" y="15765"/>
                  </a:lnTo>
                  <a:lnTo>
                    <a:pt x="6809" y="15729"/>
                  </a:lnTo>
                  <a:lnTo>
                    <a:pt x="6839" y="15691"/>
                  </a:lnTo>
                  <a:lnTo>
                    <a:pt x="6867" y="15651"/>
                  </a:lnTo>
                  <a:lnTo>
                    <a:pt x="6893" y="15611"/>
                  </a:lnTo>
                  <a:lnTo>
                    <a:pt x="6917" y="15569"/>
                  </a:lnTo>
                  <a:lnTo>
                    <a:pt x="6940" y="15526"/>
                  </a:lnTo>
                  <a:lnTo>
                    <a:pt x="6960" y="15480"/>
                  </a:lnTo>
                  <a:lnTo>
                    <a:pt x="6977" y="15435"/>
                  </a:lnTo>
                  <a:lnTo>
                    <a:pt x="6993" y="15388"/>
                  </a:lnTo>
                  <a:lnTo>
                    <a:pt x="7007" y="15341"/>
                  </a:lnTo>
                  <a:lnTo>
                    <a:pt x="7018" y="15292"/>
                  </a:lnTo>
                  <a:lnTo>
                    <a:pt x="7027" y="15242"/>
                  </a:lnTo>
                  <a:lnTo>
                    <a:pt x="7034" y="15192"/>
                  </a:lnTo>
                  <a:lnTo>
                    <a:pt x="7038" y="15140"/>
                  </a:lnTo>
                  <a:lnTo>
                    <a:pt x="7039" y="15089"/>
                  </a:lnTo>
                  <a:lnTo>
                    <a:pt x="7039" y="14586"/>
                  </a:lnTo>
                  <a:lnTo>
                    <a:pt x="7038" y="14540"/>
                  </a:lnTo>
                  <a:lnTo>
                    <a:pt x="7033" y="14495"/>
                  </a:lnTo>
                  <a:lnTo>
                    <a:pt x="7026" y="14451"/>
                  </a:lnTo>
                  <a:lnTo>
                    <a:pt x="7017" y="14410"/>
                  </a:lnTo>
                  <a:lnTo>
                    <a:pt x="7005" y="14370"/>
                  </a:lnTo>
                  <a:lnTo>
                    <a:pt x="6992" y="14331"/>
                  </a:lnTo>
                  <a:lnTo>
                    <a:pt x="6977" y="14292"/>
                  </a:lnTo>
                  <a:lnTo>
                    <a:pt x="6960" y="14256"/>
                  </a:lnTo>
                  <a:lnTo>
                    <a:pt x="6942" y="14220"/>
                  </a:lnTo>
                  <a:lnTo>
                    <a:pt x="6922" y="14186"/>
                  </a:lnTo>
                  <a:lnTo>
                    <a:pt x="6901" y="14153"/>
                  </a:lnTo>
                  <a:lnTo>
                    <a:pt x="6880" y="14120"/>
                  </a:lnTo>
                  <a:lnTo>
                    <a:pt x="6857" y="14088"/>
                  </a:lnTo>
                  <a:lnTo>
                    <a:pt x="6834" y="14058"/>
                  </a:lnTo>
                  <a:lnTo>
                    <a:pt x="6810" y="14028"/>
                  </a:lnTo>
                  <a:lnTo>
                    <a:pt x="6787" y="13999"/>
                  </a:lnTo>
                  <a:lnTo>
                    <a:pt x="6740" y="13942"/>
                  </a:lnTo>
                  <a:lnTo>
                    <a:pt x="6695" y="13888"/>
                  </a:lnTo>
                  <a:lnTo>
                    <a:pt x="6673" y="13862"/>
                  </a:lnTo>
                  <a:lnTo>
                    <a:pt x="6652" y="13836"/>
                  </a:lnTo>
                  <a:lnTo>
                    <a:pt x="6632" y="13810"/>
                  </a:lnTo>
                  <a:lnTo>
                    <a:pt x="6614" y="13784"/>
                  </a:lnTo>
                  <a:lnTo>
                    <a:pt x="6597" y="13758"/>
                  </a:lnTo>
                  <a:lnTo>
                    <a:pt x="6582" y="13733"/>
                  </a:lnTo>
                  <a:lnTo>
                    <a:pt x="6569" y="13708"/>
                  </a:lnTo>
                  <a:lnTo>
                    <a:pt x="6558" y="13683"/>
                  </a:lnTo>
                  <a:lnTo>
                    <a:pt x="6548" y="13658"/>
                  </a:lnTo>
                  <a:lnTo>
                    <a:pt x="6542" y="13631"/>
                  </a:lnTo>
                  <a:lnTo>
                    <a:pt x="6537" y="13606"/>
                  </a:lnTo>
                  <a:lnTo>
                    <a:pt x="6536" y="13580"/>
                  </a:lnTo>
                  <a:lnTo>
                    <a:pt x="6536" y="10059"/>
                  </a:lnTo>
                  <a:lnTo>
                    <a:pt x="6537" y="10051"/>
                  </a:lnTo>
                  <a:lnTo>
                    <a:pt x="6540" y="10043"/>
                  </a:lnTo>
                  <a:lnTo>
                    <a:pt x="6543" y="10036"/>
                  </a:lnTo>
                  <a:lnTo>
                    <a:pt x="6545" y="10028"/>
                  </a:lnTo>
                  <a:lnTo>
                    <a:pt x="6547" y="10001"/>
                  </a:lnTo>
                  <a:lnTo>
                    <a:pt x="6551" y="9975"/>
                  </a:lnTo>
                  <a:lnTo>
                    <a:pt x="6556" y="9950"/>
                  </a:lnTo>
                  <a:lnTo>
                    <a:pt x="6563" y="9925"/>
                  </a:lnTo>
                  <a:lnTo>
                    <a:pt x="6571" y="9899"/>
                  </a:lnTo>
                  <a:lnTo>
                    <a:pt x="6580" y="9875"/>
                  </a:lnTo>
                  <a:lnTo>
                    <a:pt x="6590" y="9852"/>
                  </a:lnTo>
                  <a:lnTo>
                    <a:pt x="6601" y="9829"/>
                  </a:lnTo>
                  <a:lnTo>
                    <a:pt x="6608" y="9818"/>
                  </a:lnTo>
                  <a:lnTo>
                    <a:pt x="6615" y="9807"/>
                  </a:lnTo>
                  <a:lnTo>
                    <a:pt x="6623" y="9796"/>
                  </a:lnTo>
                  <a:lnTo>
                    <a:pt x="6631" y="9785"/>
                  </a:lnTo>
                  <a:lnTo>
                    <a:pt x="6646" y="9764"/>
                  </a:lnTo>
                  <a:lnTo>
                    <a:pt x="6663" y="9743"/>
                  </a:lnTo>
                  <a:lnTo>
                    <a:pt x="6680" y="9722"/>
                  </a:lnTo>
                  <a:lnTo>
                    <a:pt x="6699" y="9703"/>
                  </a:lnTo>
                  <a:lnTo>
                    <a:pt x="6719" y="9685"/>
                  </a:lnTo>
                  <a:lnTo>
                    <a:pt x="6739" y="9669"/>
                  </a:lnTo>
                  <a:lnTo>
                    <a:pt x="6760" y="9653"/>
                  </a:lnTo>
                  <a:lnTo>
                    <a:pt x="6783" y="9638"/>
                  </a:lnTo>
                  <a:lnTo>
                    <a:pt x="6787" y="9634"/>
                  </a:lnTo>
                  <a:lnTo>
                    <a:pt x="6790" y="9631"/>
                  </a:lnTo>
                  <a:lnTo>
                    <a:pt x="6793" y="9630"/>
                  </a:lnTo>
                  <a:lnTo>
                    <a:pt x="6796" y="9629"/>
                  </a:lnTo>
                  <a:lnTo>
                    <a:pt x="6811" y="9622"/>
                  </a:lnTo>
                  <a:lnTo>
                    <a:pt x="6827" y="9615"/>
                  </a:lnTo>
                  <a:lnTo>
                    <a:pt x="6844" y="9610"/>
                  </a:lnTo>
                  <a:lnTo>
                    <a:pt x="6860" y="9606"/>
                  </a:lnTo>
                  <a:lnTo>
                    <a:pt x="6895" y="9598"/>
                  </a:lnTo>
                  <a:lnTo>
                    <a:pt x="6929" y="9589"/>
                  </a:lnTo>
                  <a:lnTo>
                    <a:pt x="7048" y="9604"/>
                  </a:lnTo>
                  <a:lnTo>
                    <a:pt x="7166" y="9624"/>
                  </a:lnTo>
                  <a:lnTo>
                    <a:pt x="7283" y="9650"/>
                  </a:lnTo>
                  <a:lnTo>
                    <a:pt x="7400" y="9680"/>
                  </a:lnTo>
                  <a:lnTo>
                    <a:pt x="7514" y="9715"/>
                  </a:lnTo>
                  <a:lnTo>
                    <a:pt x="7629" y="9756"/>
                  </a:lnTo>
                  <a:lnTo>
                    <a:pt x="7743" y="9801"/>
                  </a:lnTo>
                  <a:lnTo>
                    <a:pt x="7855" y="9851"/>
                  </a:lnTo>
                  <a:lnTo>
                    <a:pt x="7967" y="9905"/>
                  </a:lnTo>
                  <a:lnTo>
                    <a:pt x="8077" y="9964"/>
                  </a:lnTo>
                  <a:lnTo>
                    <a:pt x="8186" y="10028"/>
                  </a:lnTo>
                  <a:lnTo>
                    <a:pt x="8294" y="10096"/>
                  </a:lnTo>
                  <a:lnTo>
                    <a:pt x="8401" y="10169"/>
                  </a:lnTo>
                  <a:lnTo>
                    <a:pt x="8506" y="10245"/>
                  </a:lnTo>
                  <a:lnTo>
                    <a:pt x="8611" y="10327"/>
                  </a:lnTo>
                  <a:lnTo>
                    <a:pt x="8713" y="10411"/>
                  </a:lnTo>
                  <a:lnTo>
                    <a:pt x="8815" y="10501"/>
                  </a:lnTo>
                  <a:lnTo>
                    <a:pt x="8915" y="10595"/>
                  </a:lnTo>
                  <a:lnTo>
                    <a:pt x="9013" y="10692"/>
                  </a:lnTo>
                  <a:lnTo>
                    <a:pt x="9110" y="10794"/>
                  </a:lnTo>
                  <a:lnTo>
                    <a:pt x="9205" y="10898"/>
                  </a:lnTo>
                  <a:lnTo>
                    <a:pt x="9299" y="11008"/>
                  </a:lnTo>
                  <a:lnTo>
                    <a:pt x="9391" y="11121"/>
                  </a:lnTo>
                  <a:lnTo>
                    <a:pt x="9481" y="11237"/>
                  </a:lnTo>
                  <a:lnTo>
                    <a:pt x="9570" y="11357"/>
                  </a:lnTo>
                  <a:lnTo>
                    <a:pt x="9657" y="11481"/>
                  </a:lnTo>
                  <a:lnTo>
                    <a:pt x="9741" y="11608"/>
                  </a:lnTo>
                  <a:lnTo>
                    <a:pt x="9825" y="11737"/>
                  </a:lnTo>
                  <a:lnTo>
                    <a:pt x="9905" y="11871"/>
                  </a:lnTo>
                  <a:lnTo>
                    <a:pt x="9985" y="12008"/>
                  </a:lnTo>
                  <a:lnTo>
                    <a:pt x="10061" y="12149"/>
                  </a:lnTo>
                  <a:lnTo>
                    <a:pt x="10137" y="12292"/>
                  </a:lnTo>
                  <a:lnTo>
                    <a:pt x="10150" y="12286"/>
                  </a:lnTo>
                  <a:lnTo>
                    <a:pt x="10205" y="12386"/>
                  </a:lnTo>
                  <a:lnTo>
                    <a:pt x="10262" y="12486"/>
                  </a:lnTo>
                  <a:lnTo>
                    <a:pt x="10320" y="12581"/>
                  </a:lnTo>
                  <a:lnTo>
                    <a:pt x="10379" y="12676"/>
                  </a:lnTo>
                  <a:lnTo>
                    <a:pt x="10440" y="12767"/>
                  </a:lnTo>
                  <a:lnTo>
                    <a:pt x="10502" y="12856"/>
                  </a:lnTo>
                  <a:lnTo>
                    <a:pt x="10565" y="12942"/>
                  </a:lnTo>
                  <a:lnTo>
                    <a:pt x="10630" y="13026"/>
                  </a:lnTo>
                  <a:lnTo>
                    <a:pt x="10696" y="13107"/>
                  </a:lnTo>
                  <a:lnTo>
                    <a:pt x="10763" y="13186"/>
                  </a:lnTo>
                  <a:lnTo>
                    <a:pt x="10832" y="13261"/>
                  </a:lnTo>
                  <a:lnTo>
                    <a:pt x="10901" y="13334"/>
                  </a:lnTo>
                  <a:lnTo>
                    <a:pt x="10973" y="13403"/>
                  </a:lnTo>
                  <a:lnTo>
                    <a:pt x="11045" y="13470"/>
                  </a:lnTo>
                  <a:lnTo>
                    <a:pt x="11119" y="13533"/>
                  </a:lnTo>
                  <a:lnTo>
                    <a:pt x="11194" y="13593"/>
                  </a:lnTo>
                  <a:lnTo>
                    <a:pt x="11271" y="13651"/>
                  </a:lnTo>
                  <a:lnTo>
                    <a:pt x="11348" y="13704"/>
                  </a:lnTo>
                  <a:lnTo>
                    <a:pt x="11427" y="13755"/>
                  </a:lnTo>
                  <a:lnTo>
                    <a:pt x="11508" y="13801"/>
                  </a:lnTo>
                  <a:lnTo>
                    <a:pt x="11589" y="13846"/>
                  </a:lnTo>
                  <a:lnTo>
                    <a:pt x="11672" y="13886"/>
                  </a:lnTo>
                  <a:lnTo>
                    <a:pt x="11756" y="13922"/>
                  </a:lnTo>
                  <a:lnTo>
                    <a:pt x="11842" y="13955"/>
                  </a:lnTo>
                  <a:lnTo>
                    <a:pt x="11929" y="13986"/>
                  </a:lnTo>
                  <a:lnTo>
                    <a:pt x="12017" y="14011"/>
                  </a:lnTo>
                  <a:lnTo>
                    <a:pt x="12106" y="14033"/>
                  </a:lnTo>
                  <a:lnTo>
                    <a:pt x="12198" y="14051"/>
                  </a:lnTo>
                  <a:lnTo>
                    <a:pt x="12290" y="14065"/>
                  </a:lnTo>
                  <a:lnTo>
                    <a:pt x="12383" y="14075"/>
                  </a:lnTo>
                  <a:lnTo>
                    <a:pt x="12478" y="14081"/>
                  </a:lnTo>
                  <a:lnTo>
                    <a:pt x="12574" y="14083"/>
                  </a:lnTo>
                  <a:lnTo>
                    <a:pt x="12787" y="14073"/>
                  </a:lnTo>
                  <a:lnTo>
                    <a:pt x="12995" y="14043"/>
                  </a:lnTo>
                  <a:lnTo>
                    <a:pt x="13195" y="13993"/>
                  </a:lnTo>
                  <a:lnTo>
                    <a:pt x="13389" y="13924"/>
                  </a:lnTo>
                  <a:lnTo>
                    <a:pt x="13576" y="13838"/>
                  </a:lnTo>
                  <a:lnTo>
                    <a:pt x="13757" y="13733"/>
                  </a:lnTo>
                  <a:lnTo>
                    <a:pt x="13932" y="13612"/>
                  </a:lnTo>
                  <a:lnTo>
                    <a:pt x="14099" y="13475"/>
                  </a:lnTo>
                  <a:lnTo>
                    <a:pt x="14260" y="13323"/>
                  </a:lnTo>
                  <a:lnTo>
                    <a:pt x="14415" y="13155"/>
                  </a:lnTo>
                  <a:lnTo>
                    <a:pt x="14563" y="12973"/>
                  </a:lnTo>
                  <a:lnTo>
                    <a:pt x="14704" y="12777"/>
                  </a:lnTo>
                  <a:lnTo>
                    <a:pt x="14839" y="12569"/>
                  </a:lnTo>
                  <a:lnTo>
                    <a:pt x="14966" y="12349"/>
                  </a:lnTo>
                  <a:lnTo>
                    <a:pt x="15087" y="12118"/>
                  </a:lnTo>
                  <a:lnTo>
                    <a:pt x="15202" y="11874"/>
                  </a:lnTo>
                  <a:lnTo>
                    <a:pt x="15309" y="11622"/>
                  </a:lnTo>
                  <a:lnTo>
                    <a:pt x="15410" y="11359"/>
                  </a:lnTo>
                  <a:lnTo>
                    <a:pt x="15504" y="11087"/>
                  </a:lnTo>
                  <a:lnTo>
                    <a:pt x="15590" y="10807"/>
                  </a:lnTo>
                  <a:lnTo>
                    <a:pt x="15670" y="10520"/>
                  </a:lnTo>
                  <a:lnTo>
                    <a:pt x="15744" y="10225"/>
                  </a:lnTo>
                  <a:lnTo>
                    <a:pt x="15810" y="9925"/>
                  </a:lnTo>
                  <a:lnTo>
                    <a:pt x="15870" y="9618"/>
                  </a:lnTo>
                  <a:lnTo>
                    <a:pt x="15923" y="9307"/>
                  </a:lnTo>
                  <a:lnTo>
                    <a:pt x="15968" y="8991"/>
                  </a:lnTo>
                  <a:lnTo>
                    <a:pt x="16006" y="8671"/>
                  </a:lnTo>
                  <a:lnTo>
                    <a:pt x="16039" y="8349"/>
                  </a:lnTo>
                  <a:lnTo>
                    <a:pt x="16063" y="8024"/>
                  </a:lnTo>
                  <a:lnTo>
                    <a:pt x="16081" y="7697"/>
                  </a:lnTo>
                  <a:lnTo>
                    <a:pt x="16091" y="7369"/>
                  </a:lnTo>
                  <a:lnTo>
                    <a:pt x="16095" y="7042"/>
                  </a:lnTo>
                  <a:lnTo>
                    <a:pt x="16091" y="6714"/>
                  </a:lnTo>
                  <a:lnTo>
                    <a:pt x="16081" y="6386"/>
                  </a:lnTo>
                  <a:lnTo>
                    <a:pt x="16063" y="6060"/>
                  </a:lnTo>
                  <a:lnTo>
                    <a:pt x="16039" y="5735"/>
                  </a:lnTo>
                  <a:lnTo>
                    <a:pt x="16006" y="5412"/>
                  </a:lnTo>
                  <a:lnTo>
                    <a:pt x="15968" y="5092"/>
                  </a:lnTo>
                  <a:lnTo>
                    <a:pt x="15923" y="4776"/>
                  </a:lnTo>
                  <a:lnTo>
                    <a:pt x="15870" y="4465"/>
                  </a:lnTo>
                  <a:lnTo>
                    <a:pt x="15810" y="4159"/>
                  </a:lnTo>
                  <a:lnTo>
                    <a:pt x="15744" y="3858"/>
                  </a:lnTo>
                  <a:lnTo>
                    <a:pt x="15670" y="3563"/>
                  </a:lnTo>
                  <a:lnTo>
                    <a:pt x="15590" y="3276"/>
                  </a:lnTo>
                  <a:lnTo>
                    <a:pt x="15504" y="2996"/>
                  </a:lnTo>
                  <a:lnTo>
                    <a:pt x="15410" y="2724"/>
                  </a:lnTo>
                  <a:lnTo>
                    <a:pt x="15309" y="2462"/>
                  </a:lnTo>
                  <a:lnTo>
                    <a:pt x="15202" y="2209"/>
                  </a:lnTo>
                  <a:lnTo>
                    <a:pt x="15087" y="1966"/>
                  </a:lnTo>
                  <a:lnTo>
                    <a:pt x="14966" y="1734"/>
                  </a:lnTo>
                  <a:lnTo>
                    <a:pt x="14839" y="1514"/>
                  </a:lnTo>
                  <a:lnTo>
                    <a:pt x="14704" y="1306"/>
                  </a:lnTo>
                  <a:lnTo>
                    <a:pt x="14563" y="1111"/>
                  </a:lnTo>
                  <a:lnTo>
                    <a:pt x="14415" y="928"/>
                  </a:lnTo>
                  <a:lnTo>
                    <a:pt x="14260" y="760"/>
                  </a:lnTo>
                  <a:lnTo>
                    <a:pt x="14099" y="609"/>
                  </a:lnTo>
                  <a:lnTo>
                    <a:pt x="13932" y="471"/>
                  </a:lnTo>
                  <a:lnTo>
                    <a:pt x="13757" y="350"/>
                  </a:lnTo>
                  <a:lnTo>
                    <a:pt x="13576" y="245"/>
                  </a:lnTo>
                  <a:lnTo>
                    <a:pt x="13389" y="159"/>
                  </a:lnTo>
                  <a:lnTo>
                    <a:pt x="13195" y="91"/>
                  </a:lnTo>
                  <a:lnTo>
                    <a:pt x="12995" y="40"/>
                  </a:lnTo>
                  <a:lnTo>
                    <a:pt x="12787" y="10"/>
                  </a:lnTo>
                  <a:lnTo>
                    <a:pt x="1257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11" name="ísļïḑé">
              <a:extLst>
                <a:ext uri="{FF2B5EF4-FFF2-40B4-BE49-F238E27FC236}">
                  <a16:creationId xmlns:a16="http://schemas.microsoft.com/office/drawing/2014/main" id="{1CE96EEC-12F9-4F4E-BF0F-2D303A22BADD}"/>
                </a:ext>
              </a:extLst>
            </p:cNvPr>
            <p:cNvSpPr/>
            <p:nvPr/>
          </p:nvSpPr>
          <p:spPr bwMode="auto">
            <a:xfrm>
              <a:off x="8465445" y="447647"/>
              <a:ext cx="231062" cy="231062"/>
            </a:xfrm>
            <a:custGeom>
              <a:avLst/>
              <a:gdLst>
                <a:gd name="T0" fmla="*/ 15044 w 16095"/>
                <a:gd name="T1" fmla="*/ 14382 h 16095"/>
                <a:gd name="T2" fmla="*/ 14889 w 16095"/>
                <a:gd name="T3" fmla="*/ 14685 h 16095"/>
                <a:gd name="T4" fmla="*/ 14645 w 16095"/>
                <a:gd name="T5" fmla="*/ 14917 h 16095"/>
                <a:gd name="T6" fmla="*/ 14335 w 16095"/>
                <a:gd name="T7" fmla="*/ 15057 h 16095"/>
                <a:gd name="T8" fmla="*/ 1961 w 16095"/>
                <a:gd name="T9" fmla="*/ 15088 h 16095"/>
                <a:gd name="T10" fmla="*/ 1621 w 16095"/>
                <a:gd name="T11" fmla="*/ 15010 h 16095"/>
                <a:gd name="T12" fmla="*/ 1336 w 16095"/>
                <a:gd name="T13" fmla="*/ 14828 h 16095"/>
                <a:gd name="T14" fmla="*/ 1128 w 16095"/>
                <a:gd name="T15" fmla="*/ 14562 h 16095"/>
                <a:gd name="T16" fmla="*/ 1017 w 16095"/>
                <a:gd name="T17" fmla="*/ 14236 h 16095"/>
                <a:gd name="T18" fmla="*/ 1012 w 16095"/>
                <a:gd name="T19" fmla="*/ 3947 h 16095"/>
                <a:gd name="T20" fmla="*/ 1066 w 16095"/>
                <a:gd name="T21" fmla="*/ 3784 h 16095"/>
                <a:gd name="T22" fmla="*/ 1171 w 16095"/>
                <a:gd name="T23" fmla="*/ 3652 h 16095"/>
                <a:gd name="T24" fmla="*/ 1313 w 16095"/>
                <a:gd name="T25" fmla="*/ 3560 h 16095"/>
                <a:gd name="T26" fmla="*/ 1483 w 16095"/>
                <a:gd name="T27" fmla="*/ 3522 h 16095"/>
                <a:gd name="T28" fmla="*/ 2022 w 16095"/>
                <a:gd name="T29" fmla="*/ 13682 h 16095"/>
                <a:gd name="T30" fmla="*/ 2084 w 16095"/>
                <a:gd name="T31" fmla="*/ 13841 h 16095"/>
                <a:gd name="T32" fmla="*/ 2195 w 16095"/>
                <a:gd name="T33" fmla="*/ 13968 h 16095"/>
                <a:gd name="T34" fmla="*/ 2342 w 16095"/>
                <a:gd name="T35" fmla="*/ 14053 h 16095"/>
                <a:gd name="T36" fmla="*/ 2515 w 16095"/>
                <a:gd name="T37" fmla="*/ 14083 h 16095"/>
                <a:gd name="T38" fmla="*/ 2688 w 16095"/>
                <a:gd name="T39" fmla="*/ 14053 h 16095"/>
                <a:gd name="T40" fmla="*/ 2835 w 16095"/>
                <a:gd name="T41" fmla="*/ 13968 h 16095"/>
                <a:gd name="T42" fmla="*/ 2945 w 16095"/>
                <a:gd name="T43" fmla="*/ 13841 h 16095"/>
                <a:gd name="T44" fmla="*/ 3008 w 16095"/>
                <a:gd name="T45" fmla="*/ 13682 h 16095"/>
                <a:gd name="T46" fmla="*/ 3021 w 16095"/>
                <a:gd name="T47" fmla="*/ 1458 h 16095"/>
                <a:gd name="T48" fmla="*/ 3067 w 16095"/>
                <a:gd name="T49" fmla="*/ 1291 h 16095"/>
                <a:gd name="T50" fmla="*/ 3166 w 16095"/>
                <a:gd name="T51" fmla="*/ 1154 h 16095"/>
                <a:gd name="T52" fmla="*/ 3302 w 16095"/>
                <a:gd name="T53" fmla="*/ 1055 h 16095"/>
                <a:gd name="T54" fmla="*/ 3469 w 16095"/>
                <a:gd name="T55" fmla="*/ 1009 h 16095"/>
                <a:gd name="T56" fmla="*/ 14688 w 16095"/>
                <a:gd name="T57" fmla="*/ 1016 h 16095"/>
                <a:gd name="T58" fmla="*/ 14847 w 16095"/>
                <a:gd name="T59" fmla="*/ 1079 h 16095"/>
                <a:gd name="T60" fmla="*/ 14974 w 16095"/>
                <a:gd name="T61" fmla="*/ 1189 h 16095"/>
                <a:gd name="T62" fmla="*/ 15059 w 16095"/>
                <a:gd name="T63" fmla="*/ 1336 h 16095"/>
                <a:gd name="T64" fmla="*/ 15089 w 16095"/>
                <a:gd name="T65" fmla="*/ 1509 h 16095"/>
                <a:gd name="T66" fmla="*/ 3217 w 16095"/>
                <a:gd name="T67" fmla="*/ 30 h 16095"/>
                <a:gd name="T68" fmla="*/ 2738 w 16095"/>
                <a:gd name="T69" fmla="*/ 218 h 16095"/>
                <a:gd name="T70" fmla="*/ 2356 w 16095"/>
                <a:gd name="T71" fmla="*/ 549 h 16095"/>
                <a:gd name="T72" fmla="*/ 2103 w 16095"/>
                <a:gd name="T73" fmla="*/ 990 h 16095"/>
                <a:gd name="T74" fmla="*/ 2012 w 16095"/>
                <a:gd name="T75" fmla="*/ 1509 h 16095"/>
                <a:gd name="T76" fmla="*/ 1132 w 16095"/>
                <a:gd name="T77" fmla="*/ 2562 h 16095"/>
                <a:gd name="T78" fmla="*/ 665 w 16095"/>
                <a:gd name="T79" fmla="*/ 2772 h 16095"/>
                <a:gd name="T80" fmla="*/ 300 w 16095"/>
                <a:gd name="T81" fmla="*/ 3120 h 16095"/>
                <a:gd name="T82" fmla="*/ 67 w 16095"/>
                <a:gd name="T83" fmla="*/ 3575 h 16095"/>
                <a:gd name="T84" fmla="*/ 0 w 16095"/>
                <a:gd name="T85" fmla="*/ 14083 h 16095"/>
                <a:gd name="T86" fmla="*/ 122 w 16095"/>
                <a:gd name="T87" fmla="*/ 14775 h 16095"/>
                <a:gd name="T88" fmla="*/ 460 w 16095"/>
                <a:gd name="T89" fmla="*/ 15363 h 16095"/>
                <a:gd name="T90" fmla="*/ 969 w 16095"/>
                <a:gd name="T91" fmla="*/ 15803 h 16095"/>
                <a:gd name="T92" fmla="*/ 1606 w 16095"/>
                <a:gd name="T93" fmla="*/ 16054 h 16095"/>
                <a:gd name="T94" fmla="*/ 14289 w 16095"/>
                <a:gd name="T95" fmla="*/ 16085 h 16095"/>
                <a:gd name="T96" fmla="*/ 14955 w 16095"/>
                <a:gd name="T97" fmla="*/ 15897 h 16095"/>
                <a:gd name="T98" fmla="*/ 15506 w 16095"/>
                <a:gd name="T99" fmla="*/ 15506 h 16095"/>
                <a:gd name="T100" fmla="*/ 15897 w 16095"/>
                <a:gd name="T101" fmla="*/ 14955 h 16095"/>
                <a:gd name="T102" fmla="*/ 16085 w 16095"/>
                <a:gd name="T103" fmla="*/ 14289 h 16095"/>
                <a:gd name="T104" fmla="*/ 16065 w 16095"/>
                <a:gd name="T105" fmla="*/ 1204 h 16095"/>
                <a:gd name="T106" fmla="*/ 15877 w 16095"/>
                <a:gd name="T107" fmla="*/ 726 h 16095"/>
                <a:gd name="T108" fmla="*/ 15546 w 16095"/>
                <a:gd name="T109" fmla="*/ 344 h 16095"/>
                <a:gd name="T110" fmla="*/ 15105 w 16095"/>
                <a:gd name="T111" fmla="*/ 92 h 16095"/>
                <a:gd name="T112" fmla="*/ 14586 w 16095"/>
                <a:gd name="T113" fmla="*/ 0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6095">
                  <a:moveTo>
                    <a:pt x="15089" y="14083"/>
                  </a:moveTo>
                  <a:lnTo>
                    <a:pt x="15088" y="14134"/>
                  </a:lnTo>
                  <a:lnTo>
                    <a:pt x="15084" y="14186"/>
                  </a:lnTo>
                  <a:lnTo>
                    <a:pt x="15077" y="14236"/>
                  </a:lnTo>
                  <a:lnTo>
                    <a:pt x="15069" y="14285"/>
                  </a:lnTo>
                  <a:lnTo>
                    <a:pt x="15057" y="14334"/>
                  </a:lnTo>
                  <a:lnTo>
                    <a:pt x="15044" y="14382"/>
                  </a:lnTo>
                  <a:lnTo>
                    <a:pt x="15028" y="14428"/>
                  </a:lnTo>
                  <a:lnTo>
                    <a:pt x="15010" y="14474"/>
                  </a:lnTo>
                  <a:lnTo>
                    <a:pt x="14989" y="14519"/>
                  </a:lnTo>
                  <a:lnTo>
                    <a:pt x="14967" y="14562"/>
                  </a:lnTo>
                  <a:lnTo>
                    <a:pt x="14943" y="14604"/>
                  </a:lnTo>
                  <a:lnTo>
                    <a:pt x="14917" y="14645"/>
                  </a:lnTo>
                  <a:lnTo>
                    <a:pt x="14889" y="14685"/>
                  </a:lnTo>
                  <a:lnTo>
                    <a:pt x="14859" y="14723"/>
                  </a:lnTo>
                  <a:lnTo>
                    <a:pt x="14828" y="14759"/>
                  </a:lnTo>
                  <a:lnTo>
                    <a:pt x="14794" y="14794"/>
                  </a:lnTo>
                  <a:lnTo>
                    <a:pt x="14759" y="14828"/>
                  </a:lnTo>
                  <a:lnTo>
                    <a:pt x="14723" y="14859"/>
                  </a:lnTo>
                  <a:lnTo>
                    <a:pt x="14685" y="14889"/>
                  </a:lnTo>
                  <a:lnTo>
                    <a:pt x="14645" y="14917"/>
                  </a:lnTo>
                  <a:lnTo>
                    <a:pt x="14604" y="14943"/>
                  </a:lnTo>
                  <a:lnTo>
                    <a:pt x="14562" y="14967"/>
                  </a:lnTo>
                  <a:lnTo>
                    <a:pt x="14519" y="14989"/>
                  </a:lnTo>
                  <a:lnTo>
                    <a:pt x="14474" y="15010"/>
                  </a:lnTo>
                  <a:lnTo>
                    <a:pt x="14429" y="15028"/>
                  </a:lnTo>
                  <a:lnTo>
                    <a:pt x="14382" y="15044"/>
                  </a:lnTo>
                  <a:lnTo>
                    <a:pt x="14335" y="15057"/>
                  </a:lnTo>
                  <a:lnTo>
                    <a:pt x="14285" y="15069"/>
                  </a:lnTo>
                  <a:lnTo>
                    <a:pt x="14236" y="15077"/>
                  </a:lnTo>
                  <a:lnTo>
                    <a:pt x="14186" y="15084"/>
                  </a:lnTo>
                  <a:lnTo>
                    <a:pt x="14134" y="15088"/>
                  </a:lnTo>
                  <a:lnTo>
                    <a:pt x="14083" y="15089"/>
                  </a:lnTo>
                  <a:lnTo>
                    <a:pt x="2012" y="15089"/>
                  </a:lnTo>
                  <a:lnTo>
                    <a:pt x="1961" y="15088"/>
                  </a:lnTo>
                  <a:lnTo>
                    <a:pt x="1909" y="15084"/>
                  </a:lnTo>
                  <a:lnTo>
                    <a:pt x="1859" y="15077"/>
                  </a:lnTo>
                  <a:lnTo>
                    <a:pt x="1810" y="15069"/>
                  </a:lnTo>
                  <a:lnTo>
                    <a:pt x="1760" y="15057"/>
                  </a:lnTo>
                  <a:lnTo>
                    <a:pt x="1713" y="15044"/>
                  </a:lnTo>
                  <a:lnTo>
                    <a:pt x="1666" y="15028"/>
                  </a:lnTo>
                  <a:lnTo>
                    <a:pt x="1621" y="15010"/>
                  </a:lnTo>
                  <a:lnTo>
                    <a:pt x="1576" y="14989"/>
                  </a:lnTo>
                  <a:lnTo>
                    <a:pt x="1533" y="14967"/>
                  </a:lnTo>
                  <a:lnTo>
                    <a:pt x="1491" y="14943"/>
                  </a:lnTo>
                  <a:lnTo>
                    <a:pt x="1450" y="14917"/>
                  </a:lnTo>
                  <a:lnTo>
                    <a:pt x="1410" y="14889"/>
                  </a:lnTo>
                  <a:lnTo>
                    <a:pt x="1372" y="14859"/>
                  </a:lnTo>
                  <a:lnTo>
                    <a:pt x="1336" y="14828"/>
                  </a:lnTo>
                  <a:lnTo>
                    <a:pt x="1301" y="14794"/>
                  </a:lnTo>
                  <a:lnTo>
                    <a:pt x="1267" y="14759"/>
                  </a:lnTo>
                  <a:lnTo>
                    <a:pt x="1236" y="14723"/>
                  </a:lnTo>
                  <a:lnTo>
                    <a:pt x="1206" y="14685"/>
                  </a:lnTo>
                  <a:lnTo>
                    <a:pt x="1178" y="14645"/>
                  </a:lnTo>
                  <a:lnTo>
                    <a:pt x="1152" y="14604"/>
                  </a:lnTo>
                  <a:lnTo>
                    <a:pt x="1128" y="14562"/>
                  </a:lnTo>
                  <a:lnTo>
                    <a:pt x="1106" y="14519"/>
                  </a:lnTo>
                  <a:lnTo>
                    <a:pt x="1085" y="14474"/>
                  </a:lnTo>
                  <a:lnTo>
                    <a:pt x="1067" y="14428"/>
                  </a:lnTo>
                  <a:lnTo>
                    <a:pt x="1051" y="14382"/>
                  </a:lnTo>
                  <a:lnTo>
                    <a:pt x="1037" y="14334"/>
                  </a:lnTo>
                  <a:lnTo>
                    <a:pt x="1026" y="14285"/>
                  </a:lnTo>
                  <a:lnTo>
                    <a:pt x="1017" y="14236"/>
                  </a:lnTo>
                  <a:lnTo>
                    <a:pt x="1011" y="14186"/>
                  </a:lnTo>
                  <a:lnTo>
                    <a:pt x="1007" y="14134"/>
                  </a:lnTo>
                  <a:lnTo>
                    <a:pt x="1006" y="14083"/>
                  </a:lnTo>
                  <a:lnTo>
                    <a:pt x="1006" y="4024"/>
                  </a:lnTo>
                  <a:lnTo>
                    <a:pt x="1007" y="3998"/>
                  </a:lnTo>
                  <a:lnTo>
                    <a:pt x="1009" y="3972"/>
                  </a:lnTo>
                  <a:lnTo>
                    <a:pt x="1012" y="3947"/>
                  </a:lnTo>
                  <a:lnTo>
                    <a:pt x="1016" y="3922"/>
                  </a:lnTo>
                  <a:lnTo>
                    <a:pt x="1022" y="3898"/>
                  </a:lnTo>
                  <a:lnTo>
                    <a:pt x="1028" y="3874"/>
                  </a:lnTo>
                  <a:lnTo>
                    <a:pt x="1036" y="3851"/>
                  </a:lnTo>
                  <a:lnTo>
                    <a:pt x="1045" y="3828"/>
                  </a:lnTo>
                  <a:lnTo>
                    <a:pt x="1055" y="3805"/>
                  </a:lnTo>
                  <a:lnTo>
                    <a:pt x="1066" y="3784"/>
                  </a:lnTo>
                  <a:lnTo>
                    <a:pt x="1078" y="3763"/>
                  </a:lnTo>
                  <a:lnTo>
                    <a:pt x="1091" y="3743"/>
                  </a:lnTo>
                  <a:lnTo>
                    <a:pt x="1106" y="3723"/>
                  </a:lnTo>
                  <a:lnTo>
                    <a:pt x="1121" y="3704"/>
                  </a:lnTo>
                  <a:lnTo>
                    <a:pt x="1137" y="3686"/>
                  </a:lnTo>
                  <a:lnTo>
                    <a:pt x="1153" y="3669"/>
                  </a:lnTo>
                  <a:lnTo>
                    <a:pt x="1171" y="3652"/>
                  </a:lnTo>
                  <a:lnTo>
                    <a:pt x="1189" y="3635"/>
                  </a:lnTo>
                  <a:lnTo>
                    <a:pt x="1208" y="3620"/>
                  </a:lnTo>
                  <a:lnTo>
                    <a:pt x="1227" y="3606"/>
                  </a:lnTo>
                  <a:lnTo>
                    <a:pt x="1248" y="3593"/>
                  </a:lnTo>
                  <a:lnTo>
                    <a:pt x="1269" y="3581"/>
                  </a:lnTo>
                  <a:lnTo>
                    <a:pt x="1291" y="3570"/>
                  </a:lnTo>
                  <a:lnTo>
                    <a:pt x="1313" y="3560"/>
                  </a:lnTo>
                  <a:lnTo>
                    <a:pt x="1336" y="3551"/>
                  </a:lnTo>
                  <a:lnTo>
                    <a:pt x="1359" y="3544"/>
                  </a:lnTo>
                  <a:lnTo>
                    <a:pt x="1383" y="3537"/>
                  </a:lnTo>
                  <a:lnTo>
                    <a:pt x="1407" y="3531"/>
                  </a:lnTo>
                  <a:lnTo>
                    <a:pt x="1432" y="3527"/>
                  </a:lnTo>
                  <a:lnTo>
                    <a:pt x="1458" y="3524"/>
                  </a:lnTo>
                  <a:lnTo>
                    <a:pt x="1483" y="3522"/>
                  </a:lnTo>
                  <a:lnTo>
                    <a:pt x="1509" y="3521"/>
                  </a:lnTo>
                  <a:lnTo>
                    <a:pt x="2012" y="3521"/>
                  </a:lnTo>
                  <a:lnTo>
                    <a:pt x="2012" y="13580"/>
                  </a:lnTo>
                  <a:lnTo>
                    <a:pt x="2013" y="13606"/>
                  </a:lnTo>
                  <a:lnTo>
                    <a:pt x="2015" y="13631"/>
                  </a:lnTo>
                  <a:lnTo>
                    <a:pt x="2018" y="13657"/>
                  </a:lnTo>
                  <a:lnTo>
                    <a:pt x="2022" y="13682"/>
                  </a:lnTo>
                  <a:lnTo>
                    <a:pt x="2028" y="13706"/>
                  </a:lnTo>
                  <a:lnTo>
                    <a:pt x="2034" y="13730"/>
                  </a:lnTo>
                  <a:lnTo>
                    <a:pt x="2042" y="13753"/>
                  </a:lnTo>
                  <a:lnTo>
                    <a:pt x="2051" y="13776"/>
                  </a:lnTo>
                  <a:lnTo>
                    <a:pt x="2061" y="13798"/>
                  </a:lnTo>
                  <a:lnTo>
                    <a:pt x="2072" y="13821"/>
                  </a:lnTo>
                  <a:lnTo>
                    <a:pt x="2084" y="13841"/>
                  </a:lnTo>
                  <a:lnTo>
                    <a:pt x="2097" y="13862"/>
                  </a:lnTo>
                  <a:lnTo>
                    <a:pt x="2111" y="13881"/>
                  </a:lnTo>
                  <a:lnTo>
                    <a:pt x="2127" y="13900"/>
                  </a:lnTo>
                  <a:lnTo>
                    <a:pt x="2143" y="13918"/>
                  </a:lnTo>
                  <a:lnTo>
                    <a:pt x="2159" y="13936"/>
                  </a:lnTo>
                  <a:lnTo>
                    <a:pt x="2177" y="13952"/>
                  </a:lnTo>
                  <a:lnTo>
                    <a:pt x="2195" y="13968"/>
                  </a:lnTo>
                  <a:lnTo>
                    <a:pt x="2214" y="13984"/>
                  </a:lnTo>
                  <a:lnTo>
                    <a:pt x="2233" y="13998"/>
                  </a:lnTo>
                  <a:lnTo>
                    <a:pt x="2254" y="14011"/>
                  </a:lnTo>
                  <a:lnTo>
                    <a:pt x="2275" y="14023"/>
                  </a:lnTo>
                  <a:lnTo>
                    <a:pt x="2297" y="14034"/>
                  </a:lnTo>
                  <a:lnTo>
                    <a:pt x="2319" y="14044"/>
                  </a:lnTo>
                  <a:lnTo>
                    <a:pt x="2342" y="14053"/>
                  </a:lnTo>
                  <a:lnTo>
                    <a:pt x="2365" y="14061"/>
                  </a:lnTo>
                  <a:lnTo>
                    <a:pt x="2389" y="14067"/>
                  </a:lnTo>
                  <a:lnTo>
                    <a:pt x="2413" y="14073"/>
                  </a:lnTo>
                  <a:lnTo>
                    <a:pt x="2438" y="14077"/>
                  </a:lnTo>
                  <a:lnTo>
                    <a:pt x="2464" y="14080"/>
                  </a:lnTo>
                  <a:lnTo>
                    <a:pt x="2489" y="14082"/>
                  </a:lnTo>
                  <a:lnTo>
                    <a:pt x="2515" y="14083"/>
                  </a:lnTo>
                  <a:lnTo>
                    <a:pt x="2541" y="14082"/>
                  </a:lnTo>
                  <a:lnTo>
                    <a:pt x="2566" y="14080"/>
                  </a:lnTo>
                  <a:lnTo>
                    <a:pt x="2591" y="14077"/>
                  </a:lnTo>
                  <a:lnTo>
                    <a:pt x="2616" y="14073"/>
                  </a:lnTo>
                  <a:lnTo>
                    <a:pt x="2641" y="14067"/>
                  </a:lnTo>
                  <a:lnTo>
                    <a:pt x="2665" y="14061"/>
                  </a:lnTo>
                  <a:lnTo>
                    <a:pt x="2688" y="14053"/>
                  </a:lnTo>
                  <a:lnTo>
                    <a:pt x="2711" y="14044"/>
                  </a:lnTo>
                  <a:lnTo>
                    <a:pt x="2733" y="14034"/>
                  </a:lnTo>
                  <a:lnTo>
                    <a:pt x="2755" y="14023"/>
                  </a:lnTo>
                  <a:lnTo>
                    <a:pt x="2775" y="14011"/>
                  </a:lnTo>
                  <a:lnTo>
                    <a:pt x="2797" y="13998"/>
                  </a:lnTo>
                  <a:lnTo>
                    <a:pt x="2816" y="13984"/>
                  </a:lnTo>
                  <a:lnTo>
                    <a:pt x="2835" y="13968"/>
                  </a:lnTo>
                  <a:lnTo>
                    <a:pt x="2853" y="13952"/>
                  </a:lnTo>
                  <a:lnTo>
                    <a:pt x="2871" y="13936"/>
                  </a:lnTo>
                  <a:lnTo>
                    <a:pt x="2887" y="13918"/>
                  </a:lnTo>
                  <a:lnTo>
                    <a:pt x="2903" y="13900"/>
                  </a:lnTo>
                  <a:lnTo>
                    <a:pt x="2918" y="13881"/>
                  </a:lnTo>
                  <a:lnTo>
                    <a:pt x="2932" y="13862"/>
                  </a:lnTo>
                  <a:lnTo>
                    <a:pt x="2945" y="13841"/>
                  </a:lnTo>
                  <a:lnTo>
                    <a:pt x="2957" y="13821"/>
                  </a:lnTo>
                  <a:lnTo>
                    <a:pt x="2969" y="13798"/>
                  </a:lnTo>
                  <a:lnTo>
                    <a:pt x="2979" y="13776"/>
                  </a:lnTo>
                  <a:lnTo>
                    <a:pt x="2988" y="13753"/>
                  </a:lnTo>
                  <a:lnTo>
                    <a:pt x="2996" y="13730"/>
                  </a:lnTo>
                  <a:lnTo>
                    <a:pt x="3002" y="13706"/>
                  </a:lnTo>
                  <a:lnTo>
                    <a:pt x="3008" y="13682"/>
                  </a:lnTo>
                  <a:lnTo>
                    <a:pt x="3012" y="13657"/>
                  </a:lnTo>
                  <a:lnTo>
                    <a:pt x="3015" y="13631"/>
                  </a:lnTo>
                  <a:lnTo>
                    <a:pt x="3017" y="13606"/>
                  </a:lnTo>
                  <a:lnTo>
                    <a:pt x="3018" y="13580"/>
                  </a:lnTo>
                  <a:lnTo>
                    <a:pt x="3018" y="1509"/>
                  </a:lnTo>
                  <a:lnTo>
                    <a:pt x="3019" y="1483"/>
                  </a:lnTo>
                  <a:lnTo>
                    <a:pt x="3021" y="1458"/>
                  </a:lnTo>
                  <a:lnTo>
                    <a:pt x="3024" y="1432"/>
                  </a:lnTo>
                  <a:lnTo>
                    <a:pt x="3028" y="1407"/>
                  </a:lnTo>
                  <a:lnTo>
                    <a:pt x="3034" y="1383"/>
                  </a:lnTo>
                  <a:lnTo>
                    <a:pt x="3041" y="1359"/>
                  </a:lnTo>
                  <a:lnTo>
                    <a:pt x="3048" y="1336"/>
                  </a:lnTo>
                  <a:lnTo>
                    <a:pt x="3057" y="1313"/>
                  </a:lnTo>
                  <a:lnTo>
                    <a:pt x="3067" y="1291"/>
                  </a:lnTo>
                  <a:lnTo>
                    <a:pt x="3078" y="1269"/>
                  </a:lnTo>
                  <a:lnTo>
                    <a:pt x="3090" y="1248"/>
                  </a:lnTo>
                  <a:lnTo>
                    <a:pt x="3103" y="1227"/>
                  </a:lnTo>
                  <a:lnTo>
                    <a:pt x="3117" y="1208"/>
                  </a:lnTo>
                  <a:lnTo>
                    <a:pt x="3132" y="1189"/>
                  </a:lnTo>
                  <a:lnTo>
                    <a:pt x="3149" y="1171"/>
                  </a:lnTo>
                  <a:lnTo>
                    <a:pt x="3166" y="1154"/>
                  </a:lnTo>
                  <a:lnTo>
                    <a:pt x="3183" y="1137"/>
                  </a:lnTo>
                  <a:lnTo>
                    <a:pt x="3201" y="1121"/>
                  </a:lnTo>
                  <a:lnTo>
                    <a:pt x="3220" y="1106"/>
                  </a:lnTo>
                  <a:lnTo>
                    <a:pt x="3240" y="1092"/>
                  </a:lnTo>
                  <a:lnTo>
                    <a:pt x="3260" y="1079"/>
                  </a:lnTo>
                  <a:lnTo>
                    <a:pt x="3281" y="1066"/>
                  </a:lnTo>
                  <a:lnTo>
                    <a:pt x="3302" y="1055"/>
                  </a:lnTo>
                  <a:lnTo>
                    <a:pt x="3325" y="1045"/>
                  </a:lnTo>
                  <a:lnTo>
                    <a:pt x="3348" y="1036"/>
                  </a:lnTo>
                  <a:lnTo>
                    <a:pt x="3371" y="1029"/>
                  </a:lnTo>
                  <a:lnTo>
                    <a:pt x="3395" y="1022"/>
                  </a:lnTo>
                  <a:lnTo>
                    <a:pt x="3419" y="1016"/>
                  </a:lnTo>
                  <a:lnTo>
                    <a:pt x="3444" y="1012"/>
                  </a:lnTo>
                  <a:lnTo>
                    <a:pt x="3469" y="1009"/>
                  </a:lnTo>
                  <a:lnTo>
                    <a:pt x="3495" y="1007"/>
                  </a:lnTo>
                  <a:lnTo>
                    <a:pt x="3521" y="1006"/>
                  </a:lnTo>
                  <a:lnTo>
                    <a:pt x="14586" y="1006"/>
                  </a:lnTo>
                  <a:lnTo>
                    <a:pt x="14612" y="1007"/>
                  </a:lnTo>
                  <a:lnTo>
                    <a:pt x="14637" y="1009"/>
                  </a:lnTo>
                  <a:lnTo>
                    <a:pt x="14663" y="1012"/>
                  </a:lnTo>
                  <a:lnTo>
                    <a:pt x="14688" y="1016"/>
                  </a:lnTo>
                  <a:lnTo>
                    <a:pt x="14712" y="1022"/>
                  </a:lnTo>
                  <a:lnTo>
                    <a:pt x="14736" y="1029"/>
                  </a:lnTo>
                  <a:lnTo>
                    <a:pt x="14759" y="1036"/>
                  </a:lnTo>
                  <a:lnTo>
                    <a:pt x="14782" y="1045"/>
                  </a:lnTo>
                  <a:lnTo>
                    <a:pt x="14804" y="1055"/>
                  </a:lnTo>
                  <a:lnTo>
                    <a:pt x="14826" y="1066"/>
                  </a:lnTo>
                  <a:lnTo>
                    <a:pt x="14847" y="1079"/>
                  </a:lnTo>
                  <a:lnTo>
                    <a:pt x="14867" y="1092"/>
                  </a:lnTo>
                  <a:lnTo>
                    <a:pt x="14887" y="1106"/>
                  </a:lnTo>
                  <a:lnTo>
                    <a:pt x="14906" y="1121"/>
                  </a:lnTo>
                  <a:lnTo>
                    <a:pt x="14924" y="1137"/>
                  </a:lnTo>
                  <a:lnTo>
                    <a:pt x="14942" y="1154"/>
                  </a:lnTo>
                  <a:lnTo>
                    <a:pt x="14958" y="1171"/>
                  </a:lnTo>
                  <a:lnTo>
                    <a:pt x="14974" y="1189"/>
                  </a:lnTo>
                  <a:lnTo>
                    <a:pt x="14989" y="1208"/>
                  </a:lnTo>
                  <a:lnTo>
                    <a:pt x="15004" y="1227"/>
                  </a:lnTo>
                  <a:lnTo>
                    <a:pt x="15017" y="1248"/>
                  </a:lnTo>
                  <a:lnTo>
                    <a:pt x="15029" y="1269"/>
                  </a:lnTo>
                  <a:lnTo>
                    <a:pt x="15040" y="1291"/>
                  </a:lnTo>
                  <a:lnTo>
                    <a:pt x="15050" y="1313"/>
                  </a:lnTo>
                  <a:lnTo>
                    <a:pt x="15059" y="1336"/>
                  </a:lnTo>
                  <a:lnTo>
                    <a:pt x="15066" y="1359"/>
                  </a:lnTo>
                  <a:lnTo>
                    <a:pt x="15073" y="1383"/>
                  </a:lnTo>
                  <a:lnTo>
                    <a:pt x="15079" y="1407"/>
                  </a:lnTo>
                  <a:lnTo>
                    <a:pt x="15083" y="1432"/>
                  </a:lnTo>
                  <a:lnTo>
                    <a:pt x="15086" y="1458"/>
                  </a:lnTo>
                  <a:lnTo>
                    <a:pt x="15088" y="1483"/>
                  </a:lnTo>
                  <a:lnTo>
                    <a:pt x="15089" y="1509"/>
                  </a:lnTo>
                  <a:lnTo>
                    <a:pt x="15089" y="14083"/>
                  </a:lnTo>
                  <a:close/>
                  <a:moveTo>
                    <a:pt x="14586" y="0"/>
                  </a:moveTo>
                  <a:lnTo>
                    <a:pt x="3521" y="0"/>
                  </a:lnTo>
                  <a:lnTo>
                    <a:pt x="3443" y="2"/>
                  </a:lnTo>
                  <a:lnTo>
                    <a:pt x="3367" y="8"/>
                  </a:lnTo>
                  <a:lnTo>
                    <a:pt x="3291" y="17"/>
                  </a:lnTo>
                  <a:lnTo>
                    <a:pt x="3217" y="30"/>
                  </a:lnTo>
                  <a:lnTo>
                    <a:pt x="3144" y="47"/>
                  </a:lnTo>
                  <a:lnTo>
                    <a:pt x="3072" y="67"/>
                  </a:lnTo>
                  <a:lnTo>
                    <a:pt x="3002" y="92"/>
                  </a:lnTo>
                  <a:lnTo>
                    <a:pt x="2933" y="119"/>
                  </a:lnTo>
                  <a:lnTo>
                    <a:pt x="2867" y="149"/>
                  </a:lnTo>
                  <a:lnTo>
                    <a:pt x="2802" y="182"/>
                  </a:lnTo>
                  <a:lnTo>
                    <a:pt x="2738" y="218"/>
                  </a:lnTo>
                  <a:lnTo>
                    <a:pt x="2677" y="258"/>
                  </a:lnTo>
                  <a:lnTo>
                    <a:pt x="2617" y="300"/>
                  </a:lnTo>
                  <a:lnTo>
                    <a:pt x="2561" y="344"/>
                  </a:lnTo>
                  <a:lnTo>
                    <a:pt x="2506" y="391"/>
                  </a:lnTo>
                  <a:lnTo>
                    <a:pt x="2453" y="442"/>
                  </a:lnTo>
                  <a:lnTo>
                    <a:pt x="2404" y="494"/>
                  </a:lnTo>
                  <a:lnTo>
                    <a:pt x="2356" y="549"/>
                  </a:lnTo>
                  <a:lnTo>
                    <a:pt x="2312" y="606"/>
                  </a:lnTo>
                  <a:lnTo>
                    <a:pt x="2269" y="665"/>
                  </a:lnTo>
                  <a:lnTo>
                    <a:pt x="2230" y="726"/>
                  </a:lnTo>
                  <a:lnTo>
                    <a:pt x="2194" y="790"/>
                  </a:lnTo>
                  <a:lnTo>
                    <a:pt x="2161" y="854"/>
                  </a:lnTo>
                  <a:lnTo>
                    <a:pt x="2131" y="921"/>
                  </a:lnTo>
                  <a:lnTo>
                    <a:pt x="2103" y="990"/>
                  </a:lnTo>
                  <a:lnTo>
                    <a:pt x="2079" y="1060"/>
                  </a:lnTo>
                  <a:lnTo>
                    <a:pt x="2059" y="1132"/>
                  </a:lnTo>
                  <a:lnTo>
                    <a:pt x="2042" y="1204"/>
                  </a:lnTo>
                  <a:lnTo>
                    <a:pt x="2029" y="1279"/>
                  </a:lnTo>
                  <a:lnTo>
                    <a:pt x="2020" y="1354"/>
                  </a:lnTo>
                  <a:lnTo>
                    <a:pt x="2014" y="1431"/>
                  </a:lnTo>
                  <a:lnTo>
                    <a:pt x="2012" y="1509"/>
                  </a:lnTo>
                  <a:lnTo>
                    <a:pt x="2012" y="2515"/>
                  </a:lnTo>
                  <a:lnTo>
                    <a:pt x="1509" y="2515"/>
                  </a:lnTo>
                  <a:lnTo>
                    <a:pt x="1431" y="2517"/>
                  </a:lnTo>
                  <a:lnTo>
                    <a:pt x="1355" y="2523"/>
                  </a:lnTo>
                  <a:lnTo>
                    <a:pt x="1280" y="2532"/>
                  </a:lnTo>
                  <a:lnTo>
                    <a:pt x="1205" y="2545"/>
                  </a:lnTo>
                  <a:lnTo>
                    <a:pt x="1132" y="2562"/>
                  </a:lnTo>
                  <a:lnTo>
                    <a:pt x="1060" y="2582"/>
                  </a:lnTo>
                  <a:lnTo>
                    <a:pt x="990" y="2606"/>
                  </a:lnTo>
                  <a:lnTo>
                    <a:pt x="921" y="2634"/>
                  </a:lnTo>
                  <a:lnTo>
                    <a:pt x="855" y="2664"/>
                  </a:lnTo>
                  <a:lnTo>
                    <a:pt x="790" y="2697"/>
                  </a:lnTo>
                  <a:lnTo>
                    <a:pt x="726" y="2733"/>
                  </a:lnTo>
                  <a:lnTo>
                    <a:pt x="665" y="2772"/>
                  </a:lnTo>
                  <a:lnTo>
                    <a:pt x="607" y="2815"/>
                  </a:lnTo>
                  <a:lnTo>
                    <a:pt x="549" y="2859"/>
                  </a:lnTo>
                  <a:lnTo>
                    <a:pt x="494" y="2907"/>
                  </a:lnTo>
                  <a:lnTo>
                    <a:pt x="442" y="2956"/>
                  </a:lnTo>
                  <a:lnTo>
                    <a:pt x="392" y="3009"/>
                  </a:lnTo>
                  <a:lnTo>
                    <a:pt x="345" y="3064"/>
                  </a:lnTo>
                  <a:lnTo>
                    <a:pt x="300" y="3120"/>
                  </a:lnTo>
                  <a:lnTo>
                    <a:pt x="258" y="3180"/>
                  </a:lnTo>
                  <a:lnTo>
                    <a:pt x="218" y="3241"/>
                  </a:lnTo>
                  <a:lnTo>
                    <a:pt x="182" y="3305"/>
                  </a:lnTo>
                  <a:lnTo>
                    <a:pt x="149" y="3369"/>
                  </a:lnTo>
                  <a:lnTo>
                    <a:pt x="119" y="3436"/>
                  </a:lnTo>
                  <a:lnTo>
                    <a:pt x="92" y="3505"/>
                  </a:lnTo>
                  <a:lnTo>
                    <a:pt x="67" y="3575"/>
                  </a:lnTo>
                  <a:lnTo>
                    <a:pt x="47" y="3647"/>
                  </a:lnTo>
                  <a:lnTo>
                    <a:pt x="30" y="3720"/>
                  </a:lnTo>
                  <a:lnTo>
                    <a:pt x="17" y="3793"/>
                  </a:lnTo>
                  <a:lnTo>
                    <a:pt x="8" y="3869"/>
                  </a:lnTo>
                  <a:lnTo>
                    <a:pt x="2" y="3946"/>
                  </a:lnTo>
                  <a:lnTo>
                    <a:pt x="0" y="4024"/>
                  </a:lnTo>
                  <a:lnTo>
                    <a:pt x="0" y="14083"/>
                  </a:lnTo>
                  <a:lnTo>
                    <a:pt x="3" y="14187"/>
                  </a:lnTo>
                  <a:lnTo>
                    <a:pt x="10" y="14289"/>
                  </a:lnTo>
                  <a:lnTo>
                    <a:pt x="23" y="14390"/>
                  </a:lnTo>
                  <a:lnTo>
                    <a:pt x="41" y="14489"/>
                  </a:lnTo>
                  <a:lnTo>
                    <a:pt x="63" y="14586"/>
                  </a:lnTo>
                  <a:lnTo>
                    <a:pt x="91" y="14682"/>
                  </a:lnTo>
                  <a:lnTo>
                    <a:pt x="122" y="14775"/>
                  </a:lnTo>
                  <a:lnTo>
                    <a:pt x="158" y="14867"/>
                  </a:lnTo>
                  <a:lnTo>
                    <a:pt x="198" y="14955"/>
                  </a:lnTo>
                  <a:lnTo>
                    <a:pt x="242" y="15042"/>
                  </a:lnTo>
                  <a:lnTo>
                    <a:pt x="292" y="15126"/>
                  </a:lnTo>
                  <a:lnTo>
                    <a:pt x="344" y="15208"/>
                  </a:lnTo>
                  <a:lnTo>
                    <a:pt x="399" y="15287"/>
                  </a:lnTo>
                  <a:lnTo>
                    <a:pt x="460" y="15363"/>
                  </a:lnTo>
                  <a:lnTo>
                    <a:pt x="523" y="15436"/>
                  </a:lnTo>
                  <a:lnTo>
                    <a:pt x="589" y="15506"/>
                  </a:lnTo>
                  <a:lnTo>
                    <a:pt x="659" y="15572"/>
                  </a:lnTo>
                  <a:lnTo>
                    <a:pt x="732" y="15635"/>
                  </a:lnTo>
                  <a:lnTo>
                    <a:pt x="808" y="15696"/>
                  </a:lnTo>
                  <a:lnTo>
                    <a:pt x="887" y="15751"/>
                  </a:lnTo>
                  <a:lnTo>
                    <a:pt x="969" y="15803"/>
                  </a:lnTo>
                  <a:lnTo>
                    <a:pt x="1053" y="15853"/>
                  </a:lnTo>
                  <a:lnTo>
                    <a:pt x="1140" y="15897"/>
                  </a:lnTo>
                  <a:lnTo>
                    <a:pt x="1228" y="15937"/>
                  </a:lnTo>
                  <a:lnTo>
                    <a:pt x="1320" y="15973"/>
                  </a:lnTo>
                  <a:lnTo>
                    <a:pt x="1413" y="16004"/>
                  </a:lnTo>
                  <a:lnTo>
                    <a:pt x="1509" y="16032"/>
                  </a:lnTo>
                  <a:lnTo>
                    <a:pt x="1606" y="16054"/>
                  </a:lnTo>
                  <a:lnTo>
                    <a:pt x="1705" y="16072"/>
                  </a:lnTo>
                  <a:lnTo>
                    <a:pt x="1806" y="16085"/>
                  </a:lnTo>
                  <a:lnTo>
                    <a:pt x="1908" y="16092"/>
                  </a:lnTo>
                  <a:lnTo>
                    <a:pt x="2012" y="16095"/>
                  </a:lnTo>
                  <a:lnTo>
                    <a:pt x="14083" y="16095"/>
                  </a:lnTo>
                  <a:lnTo>
                    <a:pt x="14187" y="16092"/>
                  </a:lnTo>
                  <a:lnTo>
                    <a:pt x="14289" y="16085"/>
                  </a:lnTo>
                  <a:lnTo>
                    <a:pt x="14390" y="16072"/>
                  </a:lnTo>
                  <a:lnTo>
                    <a:pt x="14489" y="16054"/>
                  </a:lnTo>
                  <a:lnTo>
                    <a:pt x="14586" y="16032"/>
                  </a:lnTo>
                  <a:lnTo>
                    <a:pt x="14682" y="16004"/>
                  </a:lnTo>
                  <a:lnTo>
                    <a:pt x="14775" y="15973"/>
                  </a:lnTo>
                  <a:lnTo>
                    <a:pt x="14867" y="15937"/>
                  </a:lnTo>
                  <a:lnTo>
                    <a:pt x="14955" y="15897"/>
                  </a:lnTo>
                  <a:lnTo>
                    <a:pt x="15042" y="15853"/>
                  </a:lnTo>
                  <a:lnTo>
                    <a:pt x="15126" y="15803"/>
                  </a:lnTo>
                  <a:lnTo>
                    <a:pt x="15208" y="15751"/>
                  </a:lnTo>
                  <a:lnTo>
                    <a:pt x="15287" y="15696"/>
                  </a:lnTo>
                  <a:lnTo>
                    <a:pt x="15363" y="15635"/>
                  </a:lnTo>
                  <a:lnTo>
                    <a:pt x="15436" y="15572"/>
                  </a:lnTo>
                  <a:lnTo>
                    <a:pt x="15506" y="15506"/>
                  </a:lnTo>
                  <a:lnTo>
                    <a:pt x="15572" y="15436"/>
                  </a:lnTo>
                  <a:lnTo>
                    <a:pt x="15635" y="15363"/>
                  </a:lnTo>
                  <a:lnTo>
                    <a:pt x="15696" y="15287"/>
                  </a:lnTo>
                  <a:lnTo>
                    <a:pt x="15751" y="15208"/>
                  </a:lnTo>
                  <a:lnTo>
                    <a:pt x="15803" y="15126"/>
                  </a:lnTo>
                  <a:lnTo>
                    <a:pt x="15853" y="15042"/>
                  </a:lnTo>
                  <a:lnTo>
                    <a:pt x="15897" y="14955"/>
                  </a:lnTo>
                  <a:lnTo>
                    <a:pt x="15937" y="14867"/>
                  </a:lnTo>
                  <a:lnTo>
                    <a:pt x="15973" y="14775"/>
                  </a:lnTo>
                  <a:lnTo>
                    <a:pt x="16004" y="14682"/>
                  </a:lnTo>
                  <a:lnTo>
                    <a:pt x="16032" y="14586"/>
                  </a:lnTo>
                  <a:lnTo>
                    <a:pt x="16054" y="14489"/>
                  </a:lnTo>
                  <a:lnTo>
                    <a:pt x="16072" y="14390"/>
                  </a:lnTo>
                  <a:lnTo>
                    <a:pt x="16085" y="14289"/>
                  </a:lnTo>
                  <a:lnTo>
                    <a:pt x="16092" y="14187"/>
                  </a:lnTo>
                  <a:lnTo>
                    <a:pt x="16095" y="14083"/>
                  </a:lnTo>
                  <a:lnTo>
                    <a:pt x="16095" y="1509"/>
                  </a:lnTo>
                  <a:lnTo>
                    <a:pt x="16093" y="1431"/>
                  </a:lnTo>
                  <a:lnTo>
                    <a:pt x="16087" y="1354"/>
                  </a:lnTo>
                  <a:lnTo>
                    <a:pt x="16078" y="1279"/>
                  </a:lnTo>
                  <a:lnTo>
                    <a:pt x="16065" y="1204"/>
                  </a:lnTo>
                  <a:lnTo>
                    <a:pt x="16048" y="1132"/>
                  </a:lnTo>
                  <a:lnTo>
                    <a:pt x="16028" y="1060"/>
                  </a:lnTo>
                  <a:lnTo>
                    <a:pt x="16003" y="990"/>
                  </a:lnTo>
                  <a:lnTo>
                    <a:pt x="15976" y="921"/>
                  </a:lnTo>
                  <a:lnTo>
                    <a:pt x="15946" y="854"/>
                  </a:lnTo>
                  <a:lnTo>
                    <a:pt x="15913" y="790"/>
                  </a:lnTo>
                  <a:lnTo>
                    <a:pt x="15877" y="726"/>
                  </a:lnTo>
                  <a:lnTo>
                    <a:pt x="15837" y="665"/>
                  </a:lnTo>
                  <a:lnTo>
                    <a:pt x="15795" y="606"/>
                  </a:lnTo>
                  <a:lnTo>
                    <a:pt x="15750" y="549"/>
                  </a:lnTo>
                  <a:lnTo>
                    <a:pt x="15703" y="494"/>
                  </a:lnTo>
                  <a:lnTo>
                    <a:pt x="15653" y="442"/>
                  </a:lnTo>
                  <a:lnTo>
                    <a:pt x="15601" y="391"/>
                  </a:lnTo>
                  <a:lnTo>
                    <a:pt x="15546" y="344"/>
                  </a:lnTo>
                  <a:lnTo>
                    <a:pt x="15488" y="300"/>
                  </a:lnTo>
                  <a:lnTo>
                    <a:pt x="15430" y="258"/>
                  </a:lnTo>
                  <a:lnTo>
                    <a:pt x="15369" y="218"/>
                  </a:lnTo>
                  <a:lnTo>
                    <a:pt x="15305" y="182"/>
                  </a:lnTo>
                  <a:lnTo>
                    <a:pt x="15240" y="149"/>
                  </a:lnTo>
                  <a:lnTo>
                    <a:pt x="15174" y="119"/>
                  </a:lnTo>
                  <a:lnTo>
                    <a:pt x="15105" y="92"/>
                  </a:lnTo>
                  <a:lnTo>
                    <a:pt x="15035" y="67"/>
                  </a:lnTo>
                  <a:lnTo>
                    <a:pt x="14963" y="47"/>
                  </a:lnTo>
                  <a:lnTo>
                    <a:pt x="14890" y="30"/>
                  </a:lnTo>
                  <a:lnTo>
                    <a:pt x="14815" y="17"/>
                  </a:lnTo>
                  <a:lnTo>
                    <a:pt x="14740" y="8"/>
                  </a:lnTo>
                  <a:lnTo>
                    <a:pt x="14664" y="2"/>
                  </a:lnTo>
                  <a:lnTo>
                    <a:pt x="1458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12" name="işḻîḑe">
              <a:extLst>
                <a:ext uri="{FF2B5EF4-FFF2-40B4-BE49-F238E27FC236}">
                  <a16:creationId xmlns:a16="http://schemas.microsoft.com/office/drawing/2014/main" id="{79984BA3-E7BA-4AB5-8CBD-56782CBD2B8F}"/>
                </a:ext>
              </a:extLst>
            </p:cNvPr>
            <p:cNvSpPr/>
            <p:nvPr/>
          </p:nvSpPr>
          <p:spPr bwMode="auto">
            <a:xfrm>
              <a:off x="8602489" y="534229"/>
              <a:ext cx="65335" cy="7436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1 h 503"/>
                <a:gd name="T8" fmla="*/ 4427 w 4527"/>
                <a:gd name="T9" fmla="*/ 452 h 503"/>
                <a:gd name="T10" fmla="*/ 4454 w 4527"/>
                <a:gd name="T11" fmla="*/ 428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1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0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1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89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1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5 h 503"/>
                <a:gd name="T80" fmla="*/ 154 w 4527"/>
                <a:gd name="T81" fmla="*/ 482 h 503"/>
                <a:gd name="T82" fmla="*/ 190 w 4527"/>
                <a:gd name="T83" fmla="*/ 495 h 503"/>
                <a:gd name="T84" fmla="*/ 227 w 4527"/>
                <a:gd name="T85" fmla="*/ 50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1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1"/>
                  </a:lnTo>
                  <a:lnTo>
                    <a:pt x="4362" y="488"/>
                  </a:lnTo>
                  <a:lnTo>
                    <a:pt x="4374" y="482"/>
                  </a:lnTo>
                  <a:lnTo>
                    <a:pt x="4385" y="477"/>
                  </a:lnTo>
                  <a:lnTo>
                    <a:pt x="4396" y="471"/>
                  </a:lnTo>
                  <a:lnTo>
                    <a:pt x="4406" y="465"/>
                  </a:lnTo>
                  <a:lnTo>
                    <a:pt x="4416" y="459"/>
                  </a:lnTo>
                  <a:lnTo>
                    <a:pt x="4427" y="452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8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1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3"/>
                  </a:lnTo>
                  <a:lnTo>
                    <a:pt x="4522" y="301"/>
                  </a:lnTo>
                  <a:lnTo>
                    <a:pt x="4525" y="289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1"/>
                  </a:lnTo>
                  <a:lnTo>
                    <a:pt x="4497" y="131"/>
                  </a:lnTo>
                  <a:lnTo>
                    <a:pt x="4491" y="120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0"/>
                  </a:lnTo>
                  <a:lnTo>
                    <a:pt x="32" y="131"/>
                  </a:lnTo>
                  <a:lnTo>
                    <a:pt x="26" y="141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89"/>
                  </a:lnTo>
                  <a:lnTo>
                    <a:pt x="6" y="301"/>
                  </a:lnTo>
                  <a:lnTo>
                    <a:pt x="8" y="313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1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8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2"/>
                  </a:lnTo>
                  <a:lnTo>
                    <a:pt x="112" y="459"/>
                  </a:lnTo>
                  <a:lnTo>
                    <a:pt x="122" y="465"/>
                  </a:lnTo>
                  <a:lnTo>
                    <a:pt x="132" y="471"/>
                  </a:lnTo>
                  <a:lnTo>
                    <a:pt x="143" y="477"/>
                  </a:lnTo>
                  <a:lnTo>
                    <a:pt x="154" y="482"/>
                  </a:lnTo>
                  <a:lnTo>
                    <a:pt x="166" y="488"/>
                  </a:lnTo>
                  <a:lnTo>
                    <a:pt x="177" y="491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1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13" name="ïSľiḍe">
              <a:extLst>
                <a:ext uri="{FF2B5EF4-FFF2-40B4-BE49-F238E27FC236}">
                  <a16:creationId xmlns:a16="http://schemas.microsoft.com/office/drawing/2014/main" id="{04F4F3C9-9B5B-449A-8F87-4DE569876989}"/>
                </a:ext>
              </a:extLst>
            </p:cNvPr>
            <p:cNvSpPr/>
            <p:nvPr/>
          </p:nvSpPr>
          <p:spPr bwMode="auto">
            <a:xfrm>
              <a:off x="8602489" y="512451"/>
              <a:ext cx="65335" cy="7436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3 h 503"/>
                <a:gd name="T8" fmla="*/ 4427 w 4527"/>
                <a:gd name="T9" fmla="*/ 452 h 503"/>
                <a:gd name="T10" fmla="*/ 4454 w 4527"/>
                <a:gd name="T11" fmla="*/ 429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2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0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2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89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2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6 h 503"/>
                <a:gd name="T80" fmla="*/ 154 w 4527"/>
                <a:gd name="T81" fmla="*/ 483 h 503"/>
                <a:gd name="T82" fmla="*/ 190 w 4527"/>
                <a:gd name="T83" fmla="*/ 495 h 503"/>
                <a:gd name="T84" fmla="*/ 227 w 4527"/>
                <a:gd name="T85" fmla="*/ 50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1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1"/>
                  </a:lnTo>
                  <a:lnTo>
                    <a:pt x="4362" y="488"/>
                  </a:lnTo>
                  <a:lnTo>
                    <a:pt x="4374" y="483"/>
                  </a:lnTo>
                  <a:lnTo>
                    <a:pt x="4385" y="478"/>
                  </a:lnTo>
                  <a:lnTo>
                    <a:pt x="4396" y="473"/>
                  </a:lnTo>
                  <a:lnTo>
                    <a:pt x="4406" y="466"/>
                  </a:lnTo>
                  <a:lnTo>
                    <a:pt x="4416" y="459"/>
                  </a:lnTo>
                  <a:lnTo>
                    <a:pt x="4427" y="452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9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2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4"/>
                  </a:lnTo>
                  <a:lnTo>
                    <a:pt x="4522" y="302"/>
                  </a:lnTo>
                  <a:lnTo>
                    <a:pt x="4525" y="289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2"/>
                  </a:lnTo>
                  <a:lnTo>
                    <a:pt x="4497" y="132"/>
                  </a:lnTo>
                  <a:lnTo>
                    <a:pt x="4491" y="120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0"/>
                  </a:lnTo>
                  <a:lnTo>
                    <a:pt x="32" y="132"/>
                  </a:lnTo>
                  <a:lnTo>
                    <a:pt x="26" y="142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89"/>
                  </a:lnTo>
                  <a:lnTo>
                    <a:pt x="6" y="302"/>
                  </a:lnTo>
                  <a:lnTo>
                    <a:pt x="8" y="314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2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9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2"/>
                  </a:lnTo>
                  <a:lnTo>
                    <a:pt x="112" y="459"/>
                  </a:lnTo>
                  <a:lnTo>
                    <a:pt x="122" y="466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6" y="488"/>
                  </a:lnTo>
                  <a:lnTo>
                    <a:pt x="177" y="491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1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14" name="iṡlíḋé">
              <a:extLst>
                <a:ext uri="{FF2B5EF4-FFF2-40B4-BE49-F238E27FC236}">
                  <a16:creationId xmlns:a16="http://schemas.microsoft.com/office/drawing/2014/main" id="{B56DDDD8-552D-4776-9CB9-E0AC0B195FE9}"/>
                </a:ext>
              </a:extLst>
            </p:cNvPr>
            <p:cNvSpPr/>
            <p:nvPr/>
          </p:nvSpPr>
          <p:spPr bwMode="auto">
            <a:xfrm>
              <a:off x="8602489" y="491203"/>
              <a:ext cx="65335" cy="6905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3 h 503"/>
                <a:gd name="T8" fmla="*/ 4427 w 4527"/>
                <a:gd name="T9" fmla="*/ 453 h 503"/>
                <a:gd name="T10" fmla="*/ 4454 w 4527"/>
                <a:gd name="T11" fmla="*/ 428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2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1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2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90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2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7 h 503"/>
                <a:gd name="T80" fmla="*/ 154 w 4527"/>
                <a:gd name="T81" fmla="*/ 483 h 503"/>
                <a:gd name="T82" fmla="*/ 190 w 4527"/>
                <a:gd name="T83" fmla="*/ 495 h 503"/>
                <a:gd name="T84" fmla="*/ 227 w 4527"/>
                <a:gd name="T85" fmla="*/ 50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2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2"/>
                  </a:lnTo>
                  <a:lnTo>
                    <a:pt x="4362" y="488"/>
                  </a:lnTo>
                  <a:lnTo>
                    <a:pt x="4374" y="483"/>
                  </a:lnTo>
                  <a:lnTo>
                    <a:pt x="4385" y="478"/>
                  </a:lnTo>
                  <a:lnTo>
                    <a:pt x="4396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8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2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4"/>
                  </a:lnTo>
                  <a:lnTo>
                    <a:pt x="4522" y="302"/>
                  </a:lnTo>
                  <a:lnTo>
                    <a:pt x="4525" y="290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2"/>
                  </a:lnTo>
                  <a:lnTo>
                    <a:pt x="4497" y="132"/>
                  </a:lnTo>
                  <a:lnTo>
                    <a:pt x="4491" y="121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1"/>
                  </a:lnTo>
                  <a:lnTo>
                    <a:pt x="32" y="132"/>
                  </a:lnTo>
                  <a:lnTo>
                    <a:pt x="26" y="142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90"/>
                  </a:lnTo>
                  <a:lnTo>
                    <a:pt x="6" y="302"/>
                  </a:lnTo>
                  <a:lnTo>
                    <a:pt x="8" y="314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2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8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3"/>
                  </a:lnTo>
                  <a:lnTo>
                    <a:pt x="112" y="460"/>
                  </a:lnTo>
                  <a:lnTo>
                    <a:pt x="122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6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15" name="îṧḷïdê">
              <a:extLst>
                <a:ext uri="{FF2B5EF4-FFF2-40B4-BE49-F238E27FC236}">
                  <a16:creationId xmlns:a16="http://schemas.microsoft.com/office/drawing/2014/main" id="{02C9821D-5E9A-49D0-A8F2-9FAC826F26DA}"/>
                </a:ext>
              </a:extLst>
            </p:cNvPr>
            <p:cNvSpPr/>
            <p:nvPr/>
          </p:nvSpPr>
          <p:spPr bwMode="auto">
            <a:xfrm>
              <a:off x="8523343" y="642589"/>
              <a:ext cx="64804" cy="7436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0 h 503"/>
                <a:gd name="T8" fmla="*/ 100 w 4526"/>
                <a:gd name="T9" fmla="*/ 50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1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50 h 503"/>
                <a:gd name="T28" fmla="*/ 36 w 4526"/>
                <a:gd name="T29" fmla="*/ 382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2 h 503"/>
                <a:gd name="T58" fmla="*/ 4501 w 4526"/>
                <a:gd name="T59" fmla="*/ 361 h 503"/>
                <a:gd name="T60" fmla="*/ 4515 w 4526"/>
                <a:gd name="T61" fmla="*/ 327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3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6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3"/>
                  </a:lnTo>
                  <a:lnTo>
                    <a:pt x="100" y="50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7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4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4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2"/>
                  </a:lnTo>
                  <a:lnTo>
                    <a:pt x="4490" y="382"/>
                  </a:lnTo>
                  <a:lnTo>
                    <a:pt x="4496" y="371"/>
                  </a:lnTo>
                  <a:lnTo>
                    <a:pt x="4501" y="361"/>
                  </a:lnTo>
                  <a:lnTo>
                    <a:pt x="4506" y="350"/>
                  </a:lnTo>
                  <a:lnTo>
                    <a:pt x="4511" y="338"/>
                  </a:lnTo>
                  <a:lnTo>
                    <a:pt x="4515" y="327"/>
                  </a:lnTo>
                  <a:lnTo>
                    <a:pt x="4518" y="315"/>
                  </a:lnTo>
                  <a:lnTo>
                    <a:pt x="4521" y="303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3"/>
                  </a:lnTo>
                  <a:lnTo>
                    <a:pt x="4521" y="201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0"/>
                  </a:lnTo>
                  <a:lnTo>
                    <a:pt x="4416" y="43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16" name="iṣļïḓé">
              <a:extLst>
                <a:ext uri="{FF2B5EF4-FFF2-40B4-BE49-F238E27FC236}">
                  <a16:creationId xmlns:a16="http://schemas.microsoft.com/office/drawing/2014/main" id="{61CB01BB-A847-411D-938F-8442A7A587E5}"/>
                </a:ext>
              </a:extLst>
            </p:cNvPr>
            <p:cNvSpPr/>
            <p:nvPr/>
          </p:nvSpPr>
          <p:spPr bwMode="auto">
            <a:xfrm>
              <a:off x="8523343" y="620811"/>
              <a:ext cx="64804" cy="7436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0 h 503"/>
                <a:gd name="T8" fmla="*/ 100 w 4526"/>
                <a:gd name="T9" fmla="*/ 51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1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49 h 503"/>
                <a:gd name="T28" fmla="*/ 36 w 4526"/>
                <a:gd name="T29" fmla="*/ 383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3 h 503"/>
                <a:gd name="T58" fmla="*/ 4501 w 4526"/>
                <a:gd name="T59" fmla="*/ 361 h 503"/>
                <a:gd name="T60" fmla="*/ 4515 w 4526"/>
                <a:gd name="T61" fmla="*/ 326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4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6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3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3"/>
                  </a:lnTo>
                  <a:lnTo>
                    <a:pt x="4490" y="383"/>
                  </a:lnTo>
                  <a:lnTo>
                    <a:pt x="4496" y="371"/>
                  </a:lnTo>
                  <a:lnTo>
                    <a:pt x="4501" y="361"/>
                  </a:lnTo>
                  <a:lnTo>
                    <a:pt x="4506" y="349"/>
                  </a:lnTo>
                  <a:lnTo>
                    <a:pt x="4511" y="338"/>
                  </a:lnTo>
                  <a:lnTo>
                    <a:pt x="4515" y="326"/>
                  </a:lnTo>
                  <a:lnTo>
                    <a:pt x="4518" y="315"/>
                  </a:lnTo>
                  <a:lnTo>
                    <a:pt x="4521" y="302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4"/>
                  </a:lnTo>
                  <a:lnTo>
                    <a:pt x="4521" y="201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1"/>
                  </a:lnTo>
                  <a:lnTo>
                    <a:pt x="4416" y="44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17" name="íŝ1ïḑê">
              <a:extLst>
                <a:ext uri="{FF2B5EF4-FFF2-40B4-BE49-F238E27FC236}">
                  <a16:creationId xmlns:a16="http://schemas.microsoft.com/office/drawing/2014/main" id="{73EC36CD-F5B9-4632-AF51-4B6C8476FE7A}"/>
                </a:ext>
              </a:extLst>
            </p:cNvPr>
            <p:cNvSpPr/>
            <p:nvPr/>
          </p:nvSpPr>
          <p:spPr bwMode="auto">
            <a:xfrm>
              <a:off x="8523343" y="599564"/>
              <a:ext cx="64804" cy="6905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1 h 503"/>
                <a:gd name="T8" fmla="*/ 100 w 4526"/>
                <a:gd name="T9" fmla="*/ 51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2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50 h 503"/>
                <a:gd name="T28" fmla="*/ 36 w 4526"/>
                <a:gd name="T29" fmla="*/ 383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3 h 503"/>
                <a:gd name="T58" fmla="*/ 4501 w 4526"/>
                <a:gd name="T59" fmla="*/ 361 h 503"/>
                <a:gd name="T60" fmla="*/ 4515 w 4526"/>
                <a:gd name="T61" fmla="*/ 326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4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7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0" y="37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1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3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3"/>
                  </a:lnTo>
                  <a:lnTo>
                    <a:pt x="4490" y="383"/>
                  </a:lnTo>
                  <a:lnTo>
                    <a:pt x="4496" y="372"/>
                  </a:lnTo>
                  <a:lnTo>
                    <a:pt x="4501" y="361"/>
                  </a:lnTo>
                  <a:lnTo>
                    <a:pt x="4506" y="350"/>
                  </a:lnTo>
                  <a:lnTo>
                    <a:pt x="4511" y="338"/>
                  </a:lnTo>
                  <a:lnTo>
                    <a:pt x="4515" y="326"/>
                  </a:lnTo>
                  <a:lnTo>
                    <a:pt x="4518" y="315"/>
                  </a:lnTo>
                  <a:lnTo>
                    <a:pt x="4521" y="302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4"/>
                  </a:lnTo>
                  <a:lnTo>
                    <a:pt x="4521" y="202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1"/>
                  </a:lnTo>
                  <a:lnTo>
                    <a:pt x="4416" y="44"/>
                  </a:lnTo>
                  <a:lnTo>
                    <a:pt x="4406" y="37"/>
                  </a:lnTo>
                  <a:lnTo>
                    <a:pt x="4395" y="31"/>
                  </a:lnTo>
                  <a:lnTo>
                    <a:pt x="4384" y="26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18" name="ïş1ïdè">
              <a:extLst>
                <a:ext uri="{FF2B5EF4-FFF2-40B4-BE49-F238E27FC236}">
                  <a16:creationId xmlns:a16="http://schemas.microsoft.com/office/drawing/2014/main" id="{83F34FCD-A7A7-49F0-B8B4-38ADB93AF437}"/>
                </a:ext>
              </a:extLst>
            </p:cNvPr>
            <p:cNvSpPr/>
            <p:nvPr/>
          </p:nvSpPr>
          <p:spPr bwMode="auto">
            <a:xfrm>
              <a:off x="8602489" y="642589"/>
              <a:ext cx="65335" cy="7436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0 h 503"/>
                <a:gd name="T8" fmla="*/ 102 w 4527"/>
                <a:gd name="T9" fmla="*/ 50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1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50 h 503"/>
                <a:gd name="T28" fmla="*/ 37 w 4527"/>
                <a:gd name="T29" fmla="*/ 382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2 h 503"/>
                <a:gd name="T58" fmla="*/ 4502 w 4527"/>
                <a:gd name="T59" fmla="*/ 361 h 503"/>
                <a:gd name="T60" fmla="*/ 4516 w 4527"/>
                <a:gd name="T61" fmla="*/ 327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3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6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3"/>
                  </a:lnTo>
                  <a:lnTo>
                    <a:pt x="102" y="50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7"/>
                  </a:lnTo>
                  <a:lnTo>
                    <a:pt x="15" y="338"/>
                  </a:lnTo>
                  <a:lnTo>
                    <a:pt x="21" y="350"/>
                  </a:lnTo>
                  <a:lnTo>
                    <a:pt x="26" y="361"/>
                  </a:lnTo>
                  <a:lnTo>
                    <a:pt x="31" y="371"/>
                  </a:lnTo>
                  <a:lnTo>
                    <a:pt x="37" y="382"/>
                  </a:lnTo>
                  <a:lnTo>
                    <a:pt x="44" y="392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4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4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2"/>
                  </a:lnTo>
                  <a:lnTo>
                    <a:pt x="4491" y="382"/>
                  </a:lnTo>
                  <a:lnTo>
                    <a:pt x="4497" y="371"/>
                  </a:lnTo>
                  <a:lnTo>
                    <a:pt x="4502" y="361"/>
                  </a:lnTo>
                  <a:lnTo>
                    <a:pt x="4507" y="350"/>
                  </a:lnTo>
                  <a:lnTo>
                    <a:pt x="4512" y="338"/>
                  </a:lnTo>
                  <a:lnTo>
                    <a:pt x="4516" y="327"/>
                  </a:lnTo>
                  <a:lnTo>
                    <a:pt x="4519" y="315"/>
                  </a:lnTo>
                  <a:lnTo>
                    <a:pt x="4522" y="303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3"/>
                  </a:lnTo>
                  <a:lnTo>
                    <a:pt x="4522" y="201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0"/>
                  </a:lnTo>
                  <a:lnTo>
                    <a:pt x="4416" y="43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19" name="îś1iḓé">
              <a:extLst>
                <a:ext uri="{FF2B5EF4-FFF2-40B4-BE49-F238E27FC236}">
                  <a16:creationId xmlns:a16="http://schemas.microsoft.com/office/drawing/2014/main" id="{7123F099-5019-4A70-AFD4-40AA26E69CCA}"/>
                </a:ext>
              </a:extLst>
            </p:cNvPr>
            <p:cNvSpPr/>
            <p:nvPr/>
          </p:nvSpPr>
          <p:spPr bwMode="auto">
            <a:xfrm>
              <a:off x="8602489" y="620811"/>
              <a:ext cx="65335" cy="7436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0 h 503"/>
                <a:gd name="T8" fmla="*/ 102 w 4527"/>
                <a:gd name="T9" fmla="*/ 51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1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49 h 503"/>
                <a:gd name="T28" fmla="*/ 37 w 4527"/>
                <a:gd name="T29" fmla="*/ 383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3 h 503"/>
                <a:gd name="T58" fmla="*/ 4502 w 4527"/>
                <a:gd name="T59" fmla="*/ 361 h 503"/>
                <a:gd name="T60" fmla="*/ 4516 w 4527"/>
                <a:gd name="T61" fmla="*/ 326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4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6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4"/>
                  </a:lnTo>
                  <a:lnTo>
                    <a:pt x="102" y="51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1" y="349"/>
                  </a:lnTo>
                  <a:lnTo>
                    <a:pt x="26" y="361"/>
                  </a:lnTo>
                  <a:lnTo>
                    <a:pt x="31" y="371"/>
                  </a:lnTo>
                  <a:lnTo>
                    <a:pt x="37" y="383"/>
                  </a:lnTo>
                  <a:lnTo>
                    <a:pt x="44" y="393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3"/>
                  </a:lnTo>
                  <a:lnTo>
                    <a:pt x="4491" y="383"/>
                  </a:lnTo>
                  <a:lnTo>
                    <a:pt x="4497" y="371"/>
                  </a:lnTo>
                  <a:lnTo>
                    <a:pt x="4502" y="361"/>
                  </a:lnTo>
                  <a:lnTo>
                    <a:pt x="4507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19" y="315"/>
                  </a:lnTo>
                  <a:lnTo>
                    <a:pt x="4522" y="302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4"/>
                  </a:lnTo>
                  <a:lnTo>
                    <a:pt x="4522" y="201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1"/>
                  </a:lnTo>
                  <a:lnTo>
                    <a:pt x="4416" y="44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20" name="íšḻïdé">
              <a:extLst>
                <a:ext uri="{FF2B5EF4-FFF2-40B4-BE49-F238E27FC236}">
                  <a16:creationId xmlns:a16="http://schemas.microsoft.com/office/drawing/2014/main" id="{BCB533E0-91FF-46A9-88E3-D11CF42D5966}"/>
                </a:ext>
              </a:extLst>
            </p:cNvPr>
            <p:cNvSpPr/>
            <p:nvPr/>
          </p:nvSpPr>
          <p:spPr bwMode="auto">
            <a:xfrm>
              <a:off x="8602489" y="599564"/>
              <a:ext cx="65335" cy="6905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1 h 503"/>
                <a:gd name="T8" fmla="*/ 102 w 4527"/>
                <a:gd name="T9" fmla="*/ 51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2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50 h 503"/>
                <a:gd name="T28" fmla="*/ 37 w 4527"/>
                <a:gd name="T29" fmla="*/ 383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3 h 503"/>
                <a:gd name="T58" fmla="*/ 4502 w 4527"/>
                <a:gd name="T59" fmla="*/ 361 h 503"/>
                <a:gd name="T60" fmla="*/ 4516 w 4527"/>
                <a:gd name="T61" fmla="*/ 326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4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7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1" y="37"/>
                  </a:lnTo>
                  <a:lnTo>
                    <a:pt x="111" y="44"/>
                  </a:lnTo>
                  <a:lnTo>
                    <a:pt x="102" y="51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1" y="350"/>
                  </a:lnTo>
                  <a:lnTo>
                    <a:pt x="26" y="361"/>
                  </a:lnTo>
                  <a:lnTo>
                    <a:pt x="31" y="372"/>
                  </a:lnTo>
                  <a:lnTo>
                    <a:pt x="37" y="383"/>
                  </a:lnTo>
                  <a:lnTo>
                    <a:pt x="44" y="393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3"/>
                  </a:lnTo>
                  <a:lnTo>
                    <a:pt x="4491" y="383"/>
                  </a:lnTo>
                  <a:lnTo>
                    <a:pt x="4497" y="372"/>
                  </a:lnTo>
                  <a:lnTo>
                    <a:pt x="4502" y="361"/>
                  </a:lnTo>
                  <a:lnTo>
                    <a:pt x="4507" y="350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19" y="315"/>
                  </a:lnTo>
                  <a:lnTo>
                    <a:pt x="4522" y="302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4"/>
                  </a:lnTo>
                  <a:lnTo>
                    <a:pt x="4522" y="202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1"/>
                  </a:lnTo>
                  <a:lnTo>
                    <a:pt x="4416" y="44"/>
                  </a:lnTo>
                  <a:lnTo>
                    <a:pt x="4406" y="37"/>
                  </a:lnTo>
                  <a:lnTo>
                    <a:pt x="4395" y="31"/>
                  </a:lnTo>
                  <a:lnTo>
                    <a:pt x="4384" y="26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21" name="ïśḻiḓe">
              <a:extLst>
                <a:ext uri="{FF2B5EF4-FFF2-40B4-BE49-F238E27FC236}">
                  <a16:creationId xmlns:a16="http://schemas.microsoft.com/office/drawing/2014/main" id="{2B100234-E43B-4853-9C47-9CE612E5E891}"/>
                </a:ext>
              </a:extLst>
            </p:cNvPr>
            <p:cNvSpPr/>
            <p:nvPr/>
          </p:nvSpPr>
          <p:spPr bwMode="auto">
            <a:xfrm>
              <a:off x="8523343" y="556007"/>
              <a:ext cx="144480" cy="7436"/>
            </a:xfrm>
            <a:custGeom>
              <a:avLst/>
              <a:gdLst>
                <a:gd name="T0" fmla="*/ 238 w 10059"/>
                <a:gd name="T1" fmla="*/ 1 h 503"/>
                <a:gd name="T2" fmla="*/ 201 w 10059"/>
                <a:gd name="T3" fmla="*/ 5 h 503"/>
                <a:gd name="T4" fmla="*/ 165 w 10059"/>
                <a:gd name="T5" fmla="*/ 15 h 503"/>
                <a:gd name="T6" fmla="*/ 132 w 10059"/>
                <a:gd name="T7" fmla="*/ 30 h 503"/>
                <a:gd name="T8" fmla="*/ 100 w 10059"/>
                <a:gd name="T9" fmla="*/ 50 h 503"/>
                <a:gd name="T10" fmla="*/ 73 w 10059"/>
                <a:gd name="T11" fmla="*/ 73 h 503"/>
                <a:gd name="T12" fmla="*/ 50 w 10059"/>
                <a:gd name="T13" fmla="*/ 101 h 503"/>
                <a:gd name="T14" fmla="*/ 30 w 10059"/>
                <a:gd name="T15" fmla="*/ 131 h 503"/>
                <a:gd name="T16" fmla="*/ 15 w 10059"/>
                <a:gd name="T17" fmla="*/ 165 h 503"/>
                <a:gd name="T18" fmla="*/ 5 w 10059"/>
                <a:gd name="T19" fmla="*/ 201 h 503"/>
                <a:gd name="T20" fmla="*/ 0 w 10059"/>
                <a:gd name="T21" fmla="*/ 238 h 503"/>
                <a:gd name="T22" fmla="*/ 1 w 10059"/>
                <a:gd name="T23" fmla="*/ 277 h 503"/>
                <a:gd name="T24" fmla="*/ 8 w 10059"/>
                <a:gd name="T25" fmla="*/ 314 h 503"/>
                <a:gd name="T26" fmla="*/ 20 w 10059"/>
                <a:gd name="T27" fmla="*/ 349 h 503"/>
                <a:gd name="T28" fmla="*/ 36 w 10059"/>
                <a:gd name="T29" fmla="*/ 382 h 503"/>
                <a:gd name="T30" fmla="*/ 57 w 10059"/>
                <a:gd name="T31" fmla="*/ 411 h 503"/>
                <a:gd name="T32" fmla="*/ 82 w 10059"/>
                <a:gd name="T33" fmla="*/ 437 h 503"/>
                <a:gd name="T34" fmla="*/ 110 w 10059"/>
                <a:gd name="T35" fmla="*/ 460 h 503"/>
                <a:gd name="T36" fmla="*/ 143 w 10059"/>
                <a:gd name="T37" fmla="*/ 478 h 503"/>
                <a:gd name="T38" fmla="*/ 177 w 10059"/>
                <a:gd name="T39" fmla="*/ 491 h 503"/>
                <a:gd name="T40" fmla="*/ 213 w 10059"/>
                <a:gd name="T41" fmla="*/ 499 h 503"/>
                <a:gd name="T42" fmla="*/ 251 w 10059"/>
                <a:gd name="T43" fmla="*/ 503 h 503"/>
                <a:gd name="T44" fmla="*/ 9834 w 10059"/>
                <a:gd name="T45" fmla="*/ 502 h 503"/>
                <a:gd name="T46" fmla="*/ 9870 w 10059"/>
                <a:gd name="T47" fmla="*/ 494 h 503"/>
                <a:gd name="T48" fmla="*/ 9905 w 10059"/>
                <a:gd name="T49" fmla="*/ 483 h 503"/>
                <a:gd name="T50" fmla="*/ 9938 w 10059"/>
                <a:gd name="T51" fmla="*/ 466 h 503"/>
                <a:gd name="T52" fmla="*/ 9968 w 10059"/>
                <a:gd name="T53" fmla="*/ 445 h 503"/>
                <a:gd name="T54" fmla="*/ 9994 w 10059"/>
                <a:gd name="T55" fmla="*/ 420 h 503"/>
                <a:gd name="T56" fmla="*/ 10016 w 10059"/>
                <a:gd name="T57" fmla="*/ 392 h 503"/>
                <a:gd name="T58" fmla="*/ 10034 w 10059"/>
                <a:gd name="T59" fmla="*/ 361 h 503"/>
                <a:gd name="T60" fmla="*/ 10048 w 10059"/>
                <a:gd name="T61" fmla="*/ 326 h 503"/>
                <a:gd name="T62" fmla="*/ 10056 w 10059"/>
                <a:gd name="T63" fmla="*/ 289 h 503"/>
                <a:gd name="T64" fmla="*/ 10059 w 10059"/>
                <a:gd name="T65" fmla="*/ 251 h 503"/>
                <a:gd name="T66" fmla="*/ 10056 w 10059"/>
                <a:gd name="T67" fmla="*/ 213 h 503"/>
                <a:gd name="T68" fmla="*/ 10048 w 10059"/>
                <a:gd name="T69" fmla="*/ 177 h 503"/>
                <a:gd name="T70" fmla="*/ 10034 w 10059"/>
                <a:gd name="T71" fmla="*/ 142 h 503"/>
                <a:gd name="T72" fmla="*/ 10016 w 10059"/>
                <a:gd name="T73" fmla="*/ 110 h 503"/>
                <a:gd name="T74" fmla="*/ 9994 w 10059"/>
                <a:gd name="T75" fmla="*/ 82 h 503"/>
                <a:gd name="T76" fmla="*/ 9968 w 10059"/>
                <a:gd name="T77" fmla="*/ 57 h 503"/>
                <a:gd name="T78" fmla="*/ 9938 w 10059"/>
                <a:gd name="T79" fmla="*/ 36 h 503"/>
                <a:gd name="T80" fmla="*/ 9905 w 10059"/>
                <a:gd name="T81" fmla="*/ 20 h 503"/>
                <a:gd name="T82" fmla="*/ 9870 w 10059"/>
                <a:gd name="T83" fmla="*/ 8 h 503"/>
                <a:gd name="T84" fmla="*/ 9834 w 10059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59" h="503">
                  <a:moveTo>
                    <a:pt x="9808" y="0"/>
                  </a:moveTo>
                  <a:lnTo>
                    <a:pt x="251" y="0"/>
                  </a:lnTo>
                  <a:lnTo>
                    <a:pt x="238" y="1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3"/>
                  </a:lnTo>
                  <a:lnTo>
                    <a:pt x="100" y="50"/>
                  </a:lnTo>
                  <a:lnTo>
                    <a:pt x="91" y="57"/>
                  </a:lnTo>
                  <a:lnTo>
                    <a:pt x="82" y="65"/>
                  </a:lnTo>
                  <a:lnTo>
                    <a:pt x="73" y="73"/>
                  </a:lnTo>
                  <a:lnTo>
                    <a:pt x="65" y="82"/>
                  </a:lnTo>
                  <a:lnTo>
                    <a:pt x="57" y="91"/>
                  </a:lnTo>
                  <a:lnTo>
                    <a:pt x="50" y="101"/>
                  </a:lnTo>
                  <a:lnTo>
                    <a:pt x="43" y="110"/>
                  </a:lnTo>
                  <a:lnTo>
                    <a:pt x="36" y="121"/>
                  </a:lnTo>
                  <a:lnTo>
                    <a:pt x="30" y="131"/>
                  </a:lnTo>
                  <a:lnTo>
                    <a:pt x="25" y="142"/>
                  </a:lnTo>
                  <a:lnTo>
                    <a:pt x="20" y="153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6"/>
                  </a:lnTo>
                  <a:lnTo>
                    <a:pt x="0" y="238"/>
                  </a:lnTo>
                  <a:lnTo>
                    <a:pt x="0" y="251"/>
                  </a:lnTo>
                  <a:lnTo>
                    <a:pt x="0" y="264"/>
                  </a:lnTo>
                  <a:lnTo>
                    <a:pt x="1" y="277"/>
                  </a:lnTo>
                  <a:lnTo>
                    <a:pt x="3" y="289"/>
                  </a:lnTo>
                  <a:lnTo>
                    <a:pt x="5" y="302"/>
                  </a:lnTo>
                  <a:lnTo>
                    <a:pt x="8" y="314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2"/>
                  </a:lnTo>
                  <a:lnTo>
                    <a:pt x="57" y="411"/>
                  </a:lnTo>
                  <a:lnTo>
                    <a:pt x="65" y="420"/>
                  </a:lnTo>
                  <a:lnTo>
                    <a:pt x="73" y="429"/>
                  </a:lnTo>
                  <a:lnTo>
                    <a:pt x="82" y="437"/>
                  </a:lnTo>
                  <a:lnTo>
                    <a:pt x="91" y="445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6"/>
                  </a:lnTo>
                  <a:lnTo>
                    <a:pt x="132" y="472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7"/>
                  </a:lnTo>
                  <a:lnTo>
                    <a:pt x="177" y="491"/>
                  </a:lnTo>
                  <a:lnTo>
                    <a:pt x="189" y="494"/>
                  </a:lnTo>
                  <a:lnTo>
                    <a:pt x="201" y="497"/>
                  </a:lnTo>
                  <a:lnTo>
                    <a:pt x="213" y="499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9808" y="503"/>
                  </a:lnTo>
                  <a:lnTo>
                    <a:pt x="9821" y="503"/>
                  </a:lnTo>
                  <a:lnTo>
                    <a:pt x="9834" y="502"/>
                  </a:lnTo>
                  <a:lnTo>
                    <a:pt x="9846" y="499"/>
                  </a:lnTo>
                  <a:lnTo>
                    <a:pt x="9858" y="497"/>
                  </a:lnTo>
                  <a:lnTo>
                    <a:pt x="9870" y="494"/>
                  </a:lnTo>
                  <a:lnTo>
                    <a:pt x="9882" y="491"/>
                  </a:lnTo>
                  <a:lnTo>
                    <a:pt x="9894" y="487"/>
                  </a:lnTo>
                  <a:lnTo>
                    <a:pt x="9905" y="483"/>
                  </a:lnTo>
                  <a:lnTo>
                    <a:pt x="9916" y="478"/>
                  </a:lnTo>
                  <a:lnTo>
                    <a:pt x="9927" y="472"/>
                  </a:lnTo>
                  <a:lnTo>
                    <a:pt x="9938" y="466"/>
                  </a:lnTo>
                  <a:lnTo>
                    <a:pt x="9948" y="460"/>
                  </a:lnTo>
                  <a:lnTo>
                    <a:pt x="9959" y="453"/>
                  </a:lnTo>
                  <a:lnTo>
                    <a:pt x="9968" y="445"/>
                  </a:lnTo>
                  <a:lnTo>
                    <a:pt x="9977" y="437"/>
                  </a:lnTo>
                  <a:lnTo>
                    <a:pt x="9986" y="429"/>
                  </a:lnTo>
                  <a:lnTo>
                    <a:pt x="9994" y="420"/>
                  </a:lnTo>
                  <a:lnTo>
                    <a:pt x="10002" y="411"/>
                  </a:lnTo>
                  <a:lnTo>
                    <a:pt x="10009" y="402"/>
                  </a:lnTo>
                  <a:lnTo>
                    <a:pt x="10016" y="392"/>
                  </a:lnTo>
                  <a:lnTo>
                    <a:pt x="10023" y="382"/>
                  </a:lnTo>
                  <a:lnTo>
                    <a:pt x="10029" y="371"/>
                  </a:lnTo>
                  <a:lnTo>
                    <a:pt x="10034" y="361"/>
                  </a:lnTo>
                  <a:lnTo>
                    <a:pt x="10039" y="349"/>
                  </a:lnTo>
                  <a:lnTo>
                    <a:pt x="10044" y="338"/>
                  </a:lnTo>
                  <a:lnTo>
                    <a:pt x="10048" y="326"/>
                  </a:lnTo>
                  <a:lnTo>
                    <a:pt x="10051" y="314"/>
                  </a:lnTo>
                  <a:lnTo>
                    <a:pt x="10054" y="302"/>
                  </a:lnTo>
                  <a:lnTo>
                    <a:pt x="10056" y="289"/>
                  </a:lnTo>
                  <a:lnTo>
                    <a:pt x="10058" y="277"/>
                  </a:lnTo>
                  <a:lnTo>
                    <a:pt x="10059" y="264"/>
                  </a:lnTo>
                  <a:lnTo>
                    <a:pt x="10059" y="251"/>
                  </a:lnTo>
                  <a:lnTo>
                    <a:pt x="10059" y="238"/>
                  </a:lnTo>
                  <a:lnTo>
                    <a:pt x="10058" y="226"/>
                  </a:lnTo>
                  <a:lnTo>
                    <a:pt x="10056" y="213"/>
                  </a:lnTo>
                  <a:lnTo>
                    <a:pt x="10054" y="201"/>
                  </a:lnTo>
                  <a:lnTo>
                    <a:pt x="10051" y="189"/>
                  </a:lnTo>
                  <a:lnTo>
                    <a:pt x="10048" y="177"/>
                  </a:lnTo>
                  <a:lnTo>
                    <a:pt x="10044" y="165"/>
                  </a:lnTo>
                  <a:lnTo>
                    <a:pt x="10039" y="153"/>
                  </a:lnTo>
                  <a:lnTo>
                    <a:pt x="10034" y="142"/>
                  </a:lnTo>
                  <a:lnTo>
                    <a:pt x="10029" y="131"/>
                  </a:lnTo>
                  <a:lnTo>
                    <a:pt x="10023" y="121"/>
                  </a:lnTo>
                  <a:lnTo>
                    <a:pt x="10016" y="110"/>
                  </a:lnTo>
                  <a:lnTo>
                    <a:pt x="10009" y="101"/>
                  </a:lnTo>
                  <a:lnTo>
                    <a:pt x="10002" y="91"/>
                  </a:lnTo>
                  <a:lnTo>
                    <a:pt x="9994" y="82"/>
                  </a:lnTo>
                  <a:lnTo>
                    <a:pt x="9986" y="73"/>
                  </a:lnTo>
                  <a:lnTo>
                    <a:pt x="9977" y="65"/>
                  </a:lnTo>
                  <a:lnTo>
                    <a:pt x="9968" y="57"/>
                  </a:lnTo>
                  <a:lnTo>
                    <a:pt x="9959" y="50"/>
                  </a:lnTo>
                  <a:lnTo>
                    <a:pt x="9948" y="43"/>
                  </a:lnTo>
                  <a:lnTo>
                    <a:pt x="9938" y="36"/>
                  </a:lnTo>
                  <a:lnTo>
                    <a:pt x="9927" y="30"/>
                  </a:lnTo>
                  <a:lnTo>
                    <a:pt x="9916" y="25"/>
                  </a:lnTo>
                  <a:lnTo>
                    <a:pt x="9905" y="20"/>
                  </a:lnTo>
                  <a:lnTo>
                    <a:pt x="9894" y="15"/>
                  </a:lnTo>
                  <a:lnTo>
                    <a:pt x="9882" y="11"/>
                  </a:lnTo>
                  <a:lnTo>
                    <a:pt x="9870" y="8"/>
                  </a:lnTo>
                  <a:lnTo>
                    <a:pt x="9858" y="5"/>
                  </a:lnTo>
                  <a:lnTo>
                    <a:pt x="9846" y="3"/>
                  </a:lnTo>
                  <a:lnTo>
                    <a:pt x="9834" y="1"/>
                  </a:lnTo>
                  <a:lnTo>
                    <a:pt x="9821" y="1"/>
                  </a:lnTo>
                  <a:lnTo>
                    <a:pt x="980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22" name="íṧlîḓé">
              <a:extLst>
                <a:ext uri="{FF2B5EF4-FFF2-40B4-BE49-F238E27FC236}">
                  <a16:creationId xmlns:a16="http://schemas.microsoft.com/office/drawing/2014/main" id="{85F1F9E3-CAF6-4674-A2EE-AFAB9828A82C}"/>
                </a:ext>
              </a:extLst>
            </p:cNvPr>
            <p:cNvSpPr/>
            <p:nvPr/>
          </p:nvSpPr>
          <p:spPr bwMode="auto">
            <a:xfrm>
              <a:off x="8523343" y="577785"/>
              <a:ext cx="144480" cy="6905"/>
            </a:xfrm>
            <a:custGeom>
              <a:avLst/>
              <a:gdLst>
                <a:gd name="T0" fmla="*/ 238 w 10059"/>
                <a:gd name="T1" fmla="*/ 0 h 503"/>
                <a:gd name="T2" fmla="*/ 201 w 10059"/>
                <a:gd name="T3" fmla="*/ 5 h 503"/>
                <a:gd name="T4" fmla="*/ 165 w 10059"/>
                <a:gd name="T5" fmla="*/ 16 h 503"/>
                <a:gd name="T6" fmla="*/ 132 w 10059"/>
                <a:gd name="T7" fmla="*/ 31 h 503"/>
                <a:gd name="T8" fmla="*/ 100 w 10059"/>
                <a:gd name="T9" fmla="*/ 51 h 503"/>
                <a:gd name="T10" fmla="*/ 73 w 10059"/>
                <a:gd name="T11" fmla="*/ 74 h 503"/>
                <a:gd name="T12" fmla="*/ 50 w 10059"/>
                <a:gd name="T13" fmla="*/ 102 h 503"/>
                <a:gd name="T14" fmla="*/ 30 w 10059"/>
                <a:gd name="T15" fmla="*/ 132 h 503"/>
                <a:gd name="T16" fmla="*/ 15 w 10059"/>
                <a:gd name="T17" fmla="*/ 165 h 503"/>
                <a:gd name="T18" fmla="*/ 5 w 10059"/>
                <a:gd name="T19" fmla="*/ 202 h 503"/>
                <a:gd name="T20" fmla="*/ 0 w 10059"/>
                <a:gd name="T21" fmla="*/ 239 h 503"/>
                <a:gd name="T22" fmla="*/ 1 w 10059"/>
                <a:gd name="T23" fmla="*/ 278 h 503"/>
                <a:gd name="T24" fmla="*/ 8 w 10059"/>
                <a:gd name="T25" fmla="*/ 315 h 503"/>
                <a:gd name="T26" fmla="*/ 20 w 10059"/>
                <a:gd name="T27" fmla="*/ 350 h 503"/>
                <a:gd name="T28" fmla="*/ 36 w 10059"/>
                <a:gd name="T29" fmla="*/ 383 h 503"/>
                <a:gd name="T30" fmla="*/ 57 w 10059"/>
                <a:gd name="T31" fmla="*/ 412 h 503"/>
                <a:gd name="T32" fmla="*/ 82 w 10059"/>
                <a:gd name="T33" fmla="*/ 438 h 503"/>
                <a:gd name="T34" fmla="*/ 110 w 10059"/>
                <a:gd name="T35" fmla="*/ 460 h 503"/>
                <a:gd name="T36" fmla="*/ 143 w 10059"/>
                <a:gd name="T37" fmla="*/ 478 h 503"/>
                <a:gd name="T38" fmla="*/ 177 w 10059"/>
                <a:gd name="T39" fmla="*/ 492 h 503"/>
                <a:gd name="T40" fmla="*/ 213 w 10059"/>
                <a:gd name="T41" fmla="*/ 500 h 503"/>
                <a:gd name="T42" fmla="*/ 251 w 10059"/>
                <a:gd name="T43" fmla="*/ 503 h 503"/>
                <a:gd name="T44" fmla="*/ 9834 w 10059"/>
                <a:gd name="T45" fmla="*/ 502 h 503"/>
                <a:gd name="T46" fmla="*/ 9870 w 10059"/>
                <a:gd name="T47" fmla="*/ 495 h 503"/>
                <a:gd name="T48" fmla="*/ 9905 w 10059"/>
                <a:gd name="T49" fmla="*/ 483 h 503"/>
                <a:gd name="T50" fmla="*/ 9938 w 10059"/>
                <a:gd name="T51" fmla="*/ 467 h 503"/>
                <a:gd name="T52" fmla="*/ 9968 w 10059"/>
                <a:gd name="T53" fmla="*/ 446 h 503"/>
                <a:gd name="T54" fmla="*/ 9994 w 10059"/>
                <a:gd name="T55" fmla="*/ 421 h 503"/>
                <a:gd name="T56" fmla="*/ 10016 w 10059"/>
                <a:gd name="T57" fmla="*/ 393 h 503"/>
                <a:gd name="T58" fmla="*/ 10034 w 10059"/>
                <a:gd name="T59" fmla="*/ 362 h 503"/>
                <a:gd name="T60" fmla="*/ 10048 w 10059"/>
                <a:gd name="T61" fmla="*/ 326 h 503"/>
                <a:gd name="T62" fmla="*/ 10056 w 10059"/>
                <a:gd name="T63" fmla="*/ 290 h 503"/>
                <a:gd name="T64" fmla="*/ 10059 w 10059"/>
                <a:gd name="T65" fmla="*/ 252 h 503"/>
                <a:gd name="T66" fmla="*/ 10056 w 10059"/>
                <a:gd name="T67" fmla="*/ 214 h 503"/>
                <a:gd name="T68" fmla="*/ 10048 w 10059"/>
                <a:gd name="T69" fmla="*/ 177 h 503"/>
                <a:gd name="T70" fmla="*/ 10034 w 10059"/>
                <a:gd name="T71" fmla="*/ 143 h 503"/>
                <a:gd name="T72" fmla="*/ 10016 w 10059"/>
                <a:gd name="T73" fmla="*/ 112 h 503"/>
                <a:gd name="T74" fmla="*/ 9994 w 10059"/>
                <a:gd name="T75" fmla="*/ 83 h 503"/>
                <a:gd name="T76" fmla="*/ 9968 w 10059"/>
                <a:gd name="T77" fmla="*/ 58 h 503"/>
                <a:gd name="T78" fmla="*/ 9938 w 10059"/>
                <a:gd name="T79" fmla="*/ 37 h 503"/>
                <a:gd name="T80" fmla="*/ 9905 w 10059"/>
                <a:gd name="T81" fmla="*/ 21 h 503"/>
                <a:gd name="T82" fmla="*/ 9870 w 10059"/>
                <a:gd name="T83" fmla="*/ 8 h 503"/>
                <a:gd name="T84" fmla="*/ 9834 w 10059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59" h="503">
                  <a:moveTo>
                    <a:pt x="9808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2"/>
                  </a:lnTo>
                  <a:lnTo>
                    <a:pt x="165" y="16"/>
                  </a:lnTo>
                  <a:lnTo>
                    <a:pt x="154" y="21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0" y="37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2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90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2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4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9808" y="503"/>
                  </a:lnTo>
                  <a:lnTo>
                    <a:pt x="9821" y="503"/>
                  </a:lnTo>
                  <a:lnTo>
                    <a:pt x="9834" y="502"/>
                  </a:lnTo>
                  <a:lnTo>
                    <a:pt x="9846" y="500"/>
                  </a:lnTo>
                  <a:lnTo>
                    <a:pt x="9858" y="498"/>
                  </a:lnTo>
                  <a:lnTo>
                    <a:pt x="9870" y="495"/>
                  </a:lnTo>
                  <a:lnTo>
                    <a:pt x="9882" y="492"/>
                  </a:lnTo>
                  <a:lnTo>
                    <a:pt x="9894" y="488"/>
                  </a:lnTo>
                  <a:lnTo>
                    <a:pt x="9905" y="483"/>
                  </a:lnTo>
                  <a:lnTo>
                    <a:pt x="9916" y="478"/>
                  </a:lnTo>
                  <a:lnTo>
                    <a:pt x="9927" y="473"/>
                  </a:lnTo>
                  <a:lnTo>
                    <a:pt x="9938" y="467"/>
                  </a:lnTo>
                  <a:lnTo>
                    <a:pt x="9948" y="460"/>
                  </a:lnTo>
                  <a:lnTo>
                    <a:pt x="9959" y="454"/>
                  </a:lnTo>
                  <a:lnTo>
                    <a:pt x="9968" y="446"/>
                  </a:lnTo>
                  <a:lnTo>
                    <a:pt x="9977" y="438"/>
                  </a:lnTo>
                  <a:lnTo>
                    <a:pt x="9986" y="430"/>
                  </a:lnTo>
                  <a:lnTo>
                    <a:pt x="9994" y="421"/>
                  </a:lnTo>
                  <a:lnTo>
                    <a:pt x="10002" y="412"/>
                  </a:lnTo>
                  <a:lnTo>
                    <a:pt x="10009" y="403"/>
                  </a:lnTo>
                  <a:lnTo>
                    <a:pt x="10016" y="393"/>
                  </a:lnTo>
                  <a:lnTo>
                    <a:pt x="10023" y="383"/>
                  </a:lnTo>
                  <a:lnTo>
                    <a:pt x="10029" y="372"/>
                  </a:lnTo>
                  <a:lnTo>
                    <a:pt x="10034" y="362"/>
                  </a:lnTo>
                  <a:lnTo>
                    <a:pt x="10039" y="350"/>
                  </a:lnTo>
                  <a:lnTo>
                    <a:pt x="10044" y="338"/>
                  </a:lnTo>
                  <a:lnTo>
                    <a:pt x="10048" y="326"/>
                  </a:lnTo>
                  <a:lnTo>
                    <a:pt x="10051" y="315"/>
                  </a:lnTo>
                  <a:lnTo>
                    <a:pt x="10054" y="302"/>
                  </a:lnTo>
                  <a:lnTo>
                    <a:pt x="10056" y="290"/>
                  </a:lnTo>
                  <a:lnTo>
                    <a:pt x="10058" y="278"/>
                  </a:lnTo>
                  <a:lnTo>
                    <a:pt x="10059" y="265"/>
                  </a:lnTo>
                  <a:lnTo>
                    <a:pt x="10059" y="252"/>
                  </a:lnTo>
                  <a:lnTo>
                    <a:pt x="10059" y="239"/>
                  </a:lnTo>
                  <a:lnTo>
                    <a:pt x="10058" y="227"/>
                  </a:lnTo>
                  <a:lnTo>
                    <a:pt x="10056" y="214"/>
                  </a:lnTo>
                  <a:lnTo>
                    <a:pt x="10054" y="202"/>
                  </a:lnTo>
                  <a:lnTo>
                    <a:pt x="10051" y="190"/>
                  </a:lnTo>
                  <a:lnTo>
                    <a:pt x="10048" y="177"/>
                  </a:lnTo>
                  <a:lnTo>
                    <a:pt x="10044" y="165"/>
                  </a:lnTo>
                  <a:lnTo>
                    <a:pt x="10039" y="154"/>
                  </a:lnTo>
                  <a:lnTo>
                    <a:pt x="10034" y="143"/>
                  </a:lnTo>
                  <a:lnTo>
                    <a:pt x="10029" y="132"/>
                  </a:lnTo>
                  <a:lnTo>
                    <a:pt x="10023" y="122"/>
                  </a:lnTo>
                  <a:lnTo>
                    <a:pt x="10016" y="112"/>
                  </a:lnTo>
                  <a:lnTo>
                    <a:pt x="10009" y="102"/>
                  </a:lnTo>
                  <a:lnTo>
                    <a:pt x="10002" y="92"/>
                  </a:lnTo>
                  <a:lnTo>
                    <a:pt x="9994" y="83"/>
                  </a:lnTo>
                  <a:lnTo>
                    <a:pt x="9986" y="74"/>
                  </a:lnTo>
                  <a:lnTo>
                    <a:pt x="9977" y="66"/>
                  </a:lnTo>
                  <a:lnTo>
                    <a:pt x="9968" y="58"/>
                  </a:lnTo>
                  <a:lnTo>
                    <a:pt x="9959" y="51"/>
                  </a:lnTo>
                  <a:lnTo>
                    <a:pt x="9948" y="44"/>
                  </a:lnTo>
                  <a:lnTo>
                    <a:pt x="9938" y="37"/>
                  </a:lnTo>
                  <a:lnTo>
                    <a:pt x="9927" y="31"/>
                  </a:lnTo>
                  <a:lnTo>
                    <a:pt x="9916" y="26"/>
                  </a:lnTo>
                  <a:lnTo>
                    <a:pt x="9905" y="21"/>
                  </a:lnTo>
                  <a:lnTo>
                    <a:pt x="9894" y="16"/>
                  </a:lnTo>
                  <a:lnTo>
                    <a:pt x="9882" y="12"/>
                  </a:lnTo>
                  <a:lnTo>
                    <a:pt x="9870" y="8"/>
                  </a:lnTo>
                  <a:lnTo>
                    <a:pt x="9858" y="5"/>
                  </a:lnTo>
                  <a:lnTo>
                    <a:pt x="9846" y="3"/>
                  </a:lnTo>
                  <a:lnTo>
                    <a:pt x="9834" y="1"/>
                  </a:lnTo>
                  <a:lnTo>
                    <a:pt x="9821" y="0"/>
                  </a:lnTo>
                  <a:lnTo>
                    <a:pt x="980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23" name="i$ḷíḍè">
              <a:extLst>
                <a:ext uri="{FF2B5EF4-FFF2-40B4-BE49-F238E27FC236}">
                  <a16:creationId xmlns:a16="http://schemas.microsoft.com/office/drawing/2014/main" id="{3364D549-5641-441B-8D1B-89FEAD7712C6}"/>
                </a:ext>
              </a:extLst>
            </p:cNvPr>
            <p:cNvSpPr/>
            <p:nvPr/>
          </p:nvSpPr>
          <p:spPr bwMode="auto">
            <a:xfrm>
              <a:off x="8523343" y="476331"/>
              <a:ext cx="64804" cy="65335"/>
            </a:xfrm>
            <a:custGeom>
              <a:avLst/>
              <a:gdLst>
                <a:gd name="T0" fmla="*/ 3521 w 4526"/>
                <a:gd name="T1" fmla="*/ 3519 h 4525"/>
                <a:gd name="T2" fmla="*/ 503 w 4526"/>
                <a:gd name="T3" fmla="*/ 4525 h 4525"/>
                <a:gd name="T4" fmla="*/ 4075 w 4526"/>
                <a:gd name="T5" fmla="*/ 4522 h 4525"/>
                <a:gd name="T6" fmla="*/ 4149 w 4526"/>
                <a:gd name="T7" fmla="*/ 4508 h 4525"/>
                <a:gd name="T8" fmla="*/ 4220 w 4526"/>
                <a:gd name="T9" fmla="*/ 4485 h 4525"/>
                <a:gd name="T10" fmla="*/ 4284 w 4526"/>
                <a:gd name="T11" fmla="*/ 4452 h 4525"/>
                <a:gd name="T12" fmla="*/ 4343 w 4526"/>
                <a:gd name="T13" fmla="*/ 4410 h 4525"/>
                <a:gd name="T14" fmla="*/ 4396 w 4526"/>
                <a:gd name="T15" fmla="*/ 4360 h 4525"/>
                <a:gd name="T16" fmla="*/ 4441 w 4526"/>
                <a:gd name="T17" fmla="*/ 4302 h 4525"/>
                <a:gd name="T18" fmla="*/ 4477 w 4526"/>
                <a:gd name="T19" fmla="*/ 4240 h 4525"/>
                <a:gd name="T20" fmla="*/ 4504 w 4526"/>
                <a:gd name="T21" fmla="*/ 4172 h 4525"/>
                <a:gd name="T22" fmla="*/ 4520 w 4526"/>
                <a:gd name="T23" fmla="*/ 4098 h 4525"/>
                <a:gd name="T24" fmla="*/ 4526 w 4526"/>
                <a:gd name="T25" fmla="*/ 4022 h 4525"/>
                <a:gd name="T26" fmla="*/ 4523 w 4526"/>
                <a:gd name="T27" fmla="*/ 452 h 4525"/>
                <a:gd name="T28" fmla="*/ 4510 w 4526"/>
                <a:gd name="T29" fmla="*/ 377 h 4525"/>
                <a:gd name="T30" fmla="*/ 4487 w 4526"/>
                <a:gd name="T31" fmla="*/ 308 h 4525"/>
                <a:gd name="T32" fmla="*/ 4454 w 4526"/>
                <a:gd name="T33" fmla="*/ 242 h 4525"/>
                <a:gd name="T34" fmla="*/ 4412 w 4526"/>
                <a:gd name="T35" fmla="*/ 183 h 4525"/>
                <a:gd name="T36" fmla="*/ 4361 w 4526"/>
                <a:gd name="T37" fmla="*/ 131 h 4525"/>
                <a:gd name="T38" fmla="*/ 4305 w 4526"/>
                <a:gd name="T39" fmla="*/ 85 h 4525"/>
                <a:gd name="T40" fmla="*/ 4242 w 4526"/>
                <a:gd name="T41" fmla="*/ 49 h 4525"/>
                <a:gd name="T42" fmla="*/ 4173 w 4526"/>
                <a:gd name="T43" fmla="*/ 22 h 4525"/>
                <a:gd name="T44" fmla="*/ 4100 w 4526"/>
                <a:gd name="T45" fmla="*/ 6 h 4525"/>
                <a:gd name="T46" fmla="*/ 4024 w 4526"/>
                <a:gd name="T47" fmla="*/ 0 h 4525"/>
                <a:gd name="T48" fmla="*/ 451 w 4526"/>
                <a:gd name="T49" fmla="*/ 3 h 4525"/>
                <a:gd name="T50" fmla="*/ 377 w 4526"/>
                <a:gd name="T51" fmla="*/ 16 h 4525"/>
                <a:gd name="T52" fmla="*/ 307 w 4526"/>
                <a:gd name="T53" fmla="*/ 39 h 4525"/>
                <a:gd name="T54" fmla="*/ 242 w 4526"/>
                <a:gd name="T55" fmla="*/ 72 h 4525"/>
                <a:gd name="T56" fmla="*/ 183 w 4526"/>
                <a:gd name="T57" fmla="*/ 115 h 4525"/>
                <a:gd name="T58" fmla="*/ 131 w 4526"/>
                <a:gd name="T59" fmla="*/ 165 h 4525"/>
                <a:gd name="T60" fmla="*/ 85 w 4526"/>
                <a:gd name="T61" fmla="*/ 222 h 4525"/>
                <a:gd name="T62" fmla="*/ 49 w 4526"/>
                <a:gd name="T63" fmla="*/ 285 h 4525"/>
                <a:gd name="T64" fmla="*/ 22 w 4526"/>
                <a:gd name="T65" fmla="*/ 353 h 4525"/>
                <a:gd name="T66" fmla="*/ 6 w 4526"/>
                <a:gd name="T67" fmla="*/ 426 h 4525"/>
                <a:gd name="T68" fmla="*/ 0 w 4526"/>
                <a:gd name="T69" fmla="*/ 503 h 4525"/>
                <a:gd name="T70" fmla="*/ 3 w 4526"/>
                <a:gd name="T71" fmla="*/ 4073 h 4525"/>
                <a:gd name="T72" fmla="*/ 16 w 4526"/>
                <a:gd name="T73" fmla="*/ 4147 h 4525"/>
                <a:gd name="T74" fmla="*/ 39 w 4526"/>
                <a:gd name="T75" fmla="*/ 4218 h 4525"/>
                <a:gd name="T76" fmla="*/ 72 w 4526"/>
                <a:gd name="T77" fmla="*/ 4282 h 4525"/>
                <a:gd name="T78" fmla="*/ 114 w 4526"/>
                <a:gd name="T79" fmla="*/ 4342 h 4525"/>
                <a:gd name="T80" fmla="*/ 165 w 4526"/>
                <a:gd name="T81" fmla="*/ 4394 h 4525"/>
                <a:gd name="T82" fmla="*/ 221 w 4526"/>
                <a:gd name="T83" fmla="*/ 4439 h 4525"/>
                <a:gd name="T84" fmla="*/ 284 w 4526"/>
                <a:gd name="T85" fmla="*/ 4475 h 4525"/>
                <a:gd name="T86" fmla="*/ 353 w 4526"/>
                <a:gd name="T87" fmla="*/ 4501 h 4525"/>
                <a:gd name="T88" fmla="*/ 426 w 4526"/>
                <a:gd name="T89" fmla="*/ 4519 h 4525"/>
                <a:gd name="T90" fmla="*/ 503 w 4526"/>
                <a:gd name="T91" fmla="*/ 4525 h 4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526" h="4525">
                  <a:moveTo>
                    <a:pt x="1006" y="1004"/>
                  </a:moveTo>
                  <a:lnTo>
                    <a:pt x="3521" y="1004"/>
                  </a:lnTo>
                  <a:lnTo>
                    <a:pt x="3521" y="3519"/>
                  </a:lnTo>
                  <a:lnTo>
                    <a:pt x="1006" y="3519"/>
                  </a:lnTo>
                  <a:lnTo>
                    <a:pt x="1006" y="1004"/>
                  </a:lnTo>
                  <a:close/>
                  <a:moveTo>
                    <a:pt x="503" y="4525"/>
                  </a:moveTo>
                  <a:lnTo>
                    <a:pt x="4024" y="4525"/>
                  </a:lnTo>
                  <a:lnTo>
                    <a:pt x="4050" y="4524"/>
                  </a:lnTo>
                  <a:lnTo>
                    <a:pt x="4075" y="4522"/>
                  </a:lnTo>
                  <a:lnTo>
                    <a:pt x="4100" y="4519"/>
                  </a:lnTo>
                  <a:lnTo>
                    <a:pt x="4125" y="4515"/>
                  </a:lnTo>
                  <a:lnTo>
                    <a:pt x="4149" y="4508"/>
                  </a:lnTo>
                  <a:lnTo>
                    <a:pt x="4173" y="4501"/>
                  </a:lnTo>
                  <a:lnTo>
                    <a:pt x="4197" y="4494"/>
                  </a:lnTo>
                  <a:lnTo>
                    <a:pt x="4220" y="4485"/>
                  </a:lnTo>
                  <a:lnTo>
                    <a:pt x="4242" y="4475"/>
                  </a:lnTo>
                  <a:lnTo>
                    <a:pt x="4263" y="4464"/>
                  </a:lnTo>
                  <a:lnTo>
                    <a:pt x="4284" y="4452"/>
                  </a:lnTo>
                  <a:lnTo>
                    <a:pt x="4305" y="4439"/>
                  </a:lnTo>
                  <a:lnTo>
                    <a:pt x="4324" y="4425"/>
                  </a:lnTo>
                  <a:lnTo>
                    <a:pt x="4343" y="4410"/>
                  </a:lnTo>
                  <a:lnTo>
                    <a:pt x="4361" y="4394"/>
                  </a:lnTo>
                  <a:lnTo>
                    <a:pt x="4380" y="4378"/>
                  </a:lnTo>
                  <a:lnTo>
                    <a:pt x="4396" y="4360"/>
                  </a:lnTo>
                  <a:lnTo>
                    <a:pt x="4412" y="4342"/>
                  </a:lnTo>
                  <a:lnTo>
                    <a:pt x="4427" y="4322"/>
                  </a:lnTo>
                  <a:lnTo>
                    <a:pt x="4441" y="4302"/>
                  </a:lnTo>
                  <a:lnTo>
                    <a:pt x="4454" y="4282"/>
                  </a:lnTo>
                  <a:lnTo>
                    <a:pt x="4466" y="4261"/>
                  </a:lnTo>
                  <a:lnTo>
                    <a:pt x="4477" y="4240"/>
                  </a:lnTo>
                  <a:lnTo>
                    <a:pt x="4487" y="4218"/>
                  </a:lnTo>
                  <a:lnTo>
                    <a:pt x="4496" y="4195"/>
                  </a:lnTo>
                  <a:lnTo>
                    <a:pt x="4504" y="4172"/>
                  </a:lnTo>
                  <a:lnTo>
                    <a:pt x="4510" y="4147"/>
                  </a:lnTo>
                  <a:lnTo>
                    <a:pt x="4516" y="4123"/>
                  </a:lnTo>
                  <a:lnTo>
                    <a:pt x="4520" y="4098"/>
                  </a:lnTo>
                  <a:lnTo>
                    <a:pt x="4523" y="4073"/>
                  </a:lnTo>
                  <a:lnTo>
                    <a:pt x="4525" y="4048"/>
                  </a:lnTo>
                  <a:lnTo>
                    <a:pt x="4526" y="4022"/>
                  </a:lnTo>
                  <a:lnTo>
                    <a:pt x="4526" y="503"/>
                  </a:lnTo>
                  <a:lnTo>
                    <a:pt x="4525" y="477"/>
                  </a:lnTo>
                  <a:lnTo>
                    <a:pt x="4523" y="452"/>
                  </a:lnTo>
                  <a:lnTo>
                    <a:pt x="4520" y="426"/>
                  </a:lnTo>
                  <a:lnTo>
                    <a:pt x="4516" y="401"/>
                  </a:lnTo>
                  <a:lnTo>
                    <a:pt x="4510" y="377"/>
                  </a:lnTo>
                  <a:lnTo>
                    <a:pt x="4504" y="353"/>
                  </a:lnTo>
                  <a:lnTo>
                    <a:pt x="4496" y="330"/>
                  </a:lnTo>
                  <a:lnTo>
                    <a:pt x="4487" y="308"/>
                  </a:lnTo>
                  <a:lnTo>
                    <a:pt x="4477" y="285"/>
                  </a:lnTo>
                  <a:lnTo>
                    <a:pt x="4466" y="263"/>
                  </a:lnTo>
                  <a:lnTo>
                    <a:pt x="4454" y="242"/>
                  </a:lnTo>
                  <a:lnTo>
                    <a:pt x="4441" y="222"/>
                  </a:lnTo>
                  <a:lnTo>
                    <a:pt x="4427" y="202"/>
                  </a:lnTo>
                  <a:lnTo>
                    <a:pt x="4412" y="183"/>
                  </a:lnTo>
                  <a:lnTo>
                    <a:pt x="4396" y="165"/>
                  </a:lnTo>
                  <a:lnTo>
                    <a:pt x="4380" y="148"/>
                  </a:lnTo>
                  <a:lnTo>
                    <a:pt x="4361" y="131"/>
                  </a:lnTo>
                  <a:lnTo>
                    <a:pt x="4343" y="115"/>
                  </a:lnTo>
                  <a:lnTo>
                    <a:pt x="4324" y="99"/>
                  </a:lnTo>
                  <a:lnTo>
                    <a:pt x="4305" y="85"/>
                  </a:lnTo>
                  <a:lnTo>
                    <a:pt x="4284" y="72"/>
                  </a:lnTo>
                  <a:lnTo>
                    <a:pt x="4263" y="60"/>
                  </a:lnTo>
                  <a:lnTo>
                    <a:pt x="4242" y="49"/>
                  </a:lnTo>
                  <a:lnTo>
                    <a:pt x="4220" y="39"/>
                  </a:lnTo>
                  <a:lnTo>
                    <a:pt x="4197" y="30"/>
                  </a:lnTo>
                  <a:lnTo>
                    <a:pt x="4173" y="22"/>
                  </a:lnTo>
                  <a:lnTo>
                    <a:pt x="4149" y="16"/>
                  </a:lnTo>
                  <a:lnTo>
                    <a:pt x="4125" y="10"/>
                  </a:lnTo>
                  <a:lnTo>
                    <a:pt x="4100" y="6"/>
                  </a:lnTo>
                  <a:lnTo>
                    <a:pt x="4075" y="3"/>
                  </a:lnTo>
                  <a:lnTo>
                    <a:pt x="4050" y="1"/>
                  </a:lnTo>
                  <a:lnTo>
                    <a:pt x="4024" y="0"/>
                  </a:lnTo>
                  <a:lnTo>
                    <a:pt x="503" y="0"/>
                  </a:lnTo>
                  <a:lnTo>
                    <a:pt x="477" y="1"/>
                  </a:lnTo>
                  <a:lnTo>
                    <a:pt x="451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4" y="49"/>
                  </a:lnTo>
                  <a:lnTo>
                    <a:pt x="262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8"/>
                  </a:lnTo>
                  <a:lnTo>
                    <a:pt x="131" y="165"/>
                  </a:lnTo>
                  <a:lnTo>
                    <a:pt x="114" y="183"/>
                  </a:lnTo>
                  <a:lnTo>
                    <a:pt x="99" y="202"/>
                  </a:lnTo>
                  <a:lnTo>
                    <a:pt x="85" y="222"/>
                  </a:lnTo>
                  <a:lnTo>
                    <a:pt x="72" y="242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8"/>
                  </a:lnTo>
                  <a:lnTo>
                    <a:pt x="30" y="330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0" y="4022"/>
                  </a:lnTo>
                  <a:lnTo>
                    <a:pt x="1" y="4048"/>
                  </a:lnTo>
                  <a:lnTo>
                    <a:pt x="3" y="4073"/>
                  </a:lnTo>
                  <a:lnTo>
                    <a:pt x="6" y="4098"/>
                  </a:lnTo>
                  <a:lnTo>
                    <a:pt x="10" y="4123"/>
                  </a:lnTo>
                  <a:lnTo>
                    <a:pt x="16" y="4147"/>
                  </a:lnTo>
                  <a:lnTo>
                    <a:pt x="22" y="4172"/>
                  </a:lnTo>
                  <a:lnTo>
                    <a:pt x="30" y="4195"/>
                  </a:lnTo>
                  <a:lnTo>
                    <a:pt x="39" y="4218"/>
                  </a:lnTo>
                  <a:lnTo>
                    <a:pt x="49" y="4240"/>
                  </a:lnTo>
                  <a:lnTo>
                    <a:pt x="60" y="4261"/>
                  </a:lnTo>
                  <a:lnTo>
                    <a:pt x="72" y="4282"/>
                  </a:lnTo>
                  <a:lnTo>
                    <a:pt x="85" y="4302"/>
                  </a:lnTo>
                  <a:lnTo>
                    <a:pt x="99" y="4322"/>
                  </a:lnTo>
                  <a:lnTo>
                    <a:pt x="114" y="4342"/>
                  </a:lnTo>
                  <a:lnTo>
                    <a:pt x="131" y="4360"/>
                  </a:lnTo>
                  <a:lnTo>
                    <a:pt x="147" y="4378"/>
                  </a:lnTo>
                  <a:lnTo>
                    <a:pt x="165" y="4394"/>
                  </a:lnTo>
                  <a:lnTo>
                    <a:pt x="183" y="4410"/>
                  </a:lnTo>
                  <a:lnTo>
                    <a:pt x="202" y="4425"/>
                  </a:lnTo>
                  <a:lnTo>
                    <a:pt x="221" y="4439"/>
                  </a:lnTo>
                  <a:lnTo>
                    <a:pt x="242" y="4452"/>
                  </a:lnTo>
                  <a:lnTo>
                    <a:pt x="262" y="4464"/>
                  </a:lnTo>
                  <a:lnTo>
                    <a:pt x="284" y="4475"/>
                  </a:lnTo>
                  <a:lnTo>
                    <a:pt x="307" y="4485"/>
                  </a:lnTo>
                  <a:lnTo>
                    <a:pt x="330" y="4494"/>
                  </a:lnTo>
                  <a:lnTo>
                    <a:pt x="353" y="4501"/>
                  </a:lnTo>
                  <a:lnTo>
                    <a:pt x="377" y="4508"/>
                  </a:lnTo>
                  <a:lnTo>
                    <a:pt x="401" y="4515"/>
                  </a:lnTo>
                  <a:lnTo>
                    <a:pt x="426" y="4519"/>
                  </a:lnTo>
                  <a:lnTo>
                    <a:pt x="451" y="4522"/>
                  </a:lnTo>
                  <a:lnTo>
                    <a:pt x="477" y="4524"/>
                  </a:lnTo>
                  <a:lnTo>
                    <a:pt x="503" y="45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24" name="îšḷíḍê">
              <a:extLst>
                <a:ext uri="{FF2B5EF4-FFF2-40B4-BE49-F238E27FC236}">
                  <a16:creationId xmlns:a16="http://schemas.microsoft.com/office/drawing/2014/main" id="{2D53E16C-81B4-4D8E-8E34-1D0385D65DDD}"/>
                </a:ext>
              </a:extLst>
            </p:cNvPr>
            <p:cNvSpPr/>
            <p:nvPr/>
          </p:nvSpPr>
          <p:spPr bwMode="auto">
            <a:xfrm>
              <a:off x="8019354" y="1171459"/>
              <a:ext cx="613338" cy="401842"/>
            </a:xfrm>
            <a:custGeom>
              <a:avLst/>
              <a:gdLst>
                <a:gd name="T0" fmla="*/ 8477 w 16095"/>
                <a:gd name="T1" fmla="*/ 6935 h 10545"/>
                <a:gd name="T2" fmla="*/ 8249 w 16095"/>
                <a:gd name="T3" fmla="*/ 7011 h 10545"/>
                <a:gd name="T4" fmla="*/ 8006 w 16095"/>
                <a:gd name="T5" fmla="*/ 7030 h 10545"/>
                <a:gd name="T6" fmla="*/ 7768 w 16095"/>
                <a:gd name="T7" fmla="*/ 6992 h 10545"/>
                <a:gd name="T8" fmla="*/ 7547 w 16095"/>
                <a:gd name="T9" fmla="*/ 6897 h 10545"/>
                <a:gd name="T10" fmla="*/ 1006 w 16095"/>
                <a:gd name="T11" fmla="*/ 2010 h 10545"/>
                <a:gd name="T12" fmla="*/ 1038 w 16095"/>
                <a:gd name="T13" fmla="*/ 1758 h 10545"/>
                <a:gd name="T14" fmla="*/ 1152 w 16095"/>
                <a:gd name="T15" fmla="*/ 1488 h 10545"/>
                <a:gd name="T16" fmla="*/ 1336 w 16095"/>
                <a:gd name="T17" fmla="*/ 1265 h 10545"/>
                <a:gd name="T18" fmla="*/ 1576 w 16095"/>
                <a:gd name="T19" fmla="*/ 1104 h 10545"/>
                <a:gd name="T20" fmla="*/ 1859 w 16095"/>
                <a:gd name="T21" fmla="*/ 1016 h 10545"/>
                <a:gd name="T22" fmla="*/ 14186 w 16095"/>
                <a:gd name="T23" fmla="*/ 1009 h 10545"/>
                <a:gd name="T24" fmla="*/ 14474 w 16095"/>
                <a:gd name="T25" fmla="*/ 1084 h 10545"/>
                <a:gd name="T26" fmla="*/ 14723 w 16095"/>
                <a:gd name="T27" fmla="*/ 1234 h 10545"/>
                <a:gd name="T28" fmla="*/ 14917 w 16095"/>
                <a:gd name="T29" fmla="*/ 1447 h 10545"/>
                <a:gd name="T30" fmla="*/ 15044 w 16095"/>
                <a:gd name="T31" fmla="*/ 1710 h 10545"/>
                <a:gd name="T32" fmla="*/ 15089 w 16095"/>
                <a:gd name="T33" fmla="*/ 2009 h 10545"/>
                <a:gd name="T34" fmla="*/ 15089 w 16095"/>
                <a:gd name="T35" fmla="*/ 8535 h 10545"/>
                <a:gd name="T36" fmla="*/ 15044 w 16095"/>
                <a:gd name="T37" fmla="*/ 8835 h 10545"/>
                <a:gd name="T38" fmla="*/ 14917 w 16095"/>
                <a:gd name="T39" fmla="*/ 9097 h 10545"/>
                <a:gd name="T40" fmla="*/ 14723 w 16095"/>
                <a:gd name="T41" fmla="*/ 9311 h 10545"/>
                <a:gd name="T42" fmla="*/ 14474 w 16095"/>
                <a:gd name="T43" fmla="*/ 9461 h 10545"/>
                <a:gd name="T44" fmla="*/ 14186 w 16095"/>
                <a:gd name="T45" fmla="*/ 9535 h 10545"/>
                <a:gd name="T46" fmla="*/ 1859 w 16095"/>
                <a:gd name="T47" fmla="*/ 9529 h 10545"/>
                <a:gd name="T48" fmla="*/ 1576 w 16095"/>
                <a:gd name="T49" fmla="*/ 9441 h 10545"/>
                <a:gd name="T50" fmla="*/ 1336 w 16095"/>
                <a:gd name="T51" fmla="*/ 9280 h 10545"/>
                <a:gd name="T52" fmla="*/ 1152 w 16095"/>
                <a:gd name="T53" fmla="*/ 9057 h 10545"/>
                <a:gd name="T54" fmla="*/ 1038 w 16095"/>
                <a:gd name="T55" fmla="*/ 8786 h 10545"/>
                <a:gd name="T56" fmla="*/ 4945 w 16095"/>
                <a:gd name="T57" fmla="*/ 5587 h 10545"/>
                <a:gd name="T58" fmla="*/ 7271 w 16095"/>
                <a:gd name="T59" fmla="*/ 7318 h 10545"/>
                <a:gd name="T60" fmla="*/ 7435 w 16095"/>
                <a:gd name="T61" fmla="*/ 7403 h 10545"/>
                <a:gd name="T62" fmla="*/ 7605 w 16095"/>
                <a:gd name="T63" fmla="*/ 7466 h 10545"/>
                <a:gd name="T64" fmla="*/ 7780 w 16095"/>
                <a:gd name="T65" fmla="*/ 7509 h 10545"/>
                <a:gd name="T66" fmla="*/ 7958 w 16095"/>
                <a:gd name="T67" fmla="*/ 7530 h 10545"/>
                <a:gd name="T68" fmla="*/ 8137 w 16095"/>
                <a:gd name="T69" fmla="*/ 7530 h 10545"/>
                <a:gd name="T70" fmla="*/ 8315 w 16095"/>
                <a:gd name="T71" fmla="*/ 7509 h 10545"/>
                <a:gd name="T72" fmla="*/ 8490 w 16095"/>
                <a:gd name="T73" fmla="*/ 7466 h 10545"/>
                <a:gd name="T74" fmla="*/ 8660 w 16095"/>
                <a:gd name="T75" fmla="*/ 7403 h 10545"/>
                <a:gd name="T76" fmla="*/ 8823 w 16095"/>
                <a:gd name="T77" fmla="*/ 7318 h 10545"/>
                <a:gd name="T78" fmla="*/ 11150 w 16095"/>
                <a:gd name="T79" fmla="*/ 5587 h 10545"/>
                <a:gd name="T80" fmla="*/ 14083 w 16095"/>
                <a:gd name="T81" fmla="*/ 0 h 10545"/>
                <a:gd name="T82" fmla="*/ 1509 w 16095"/>
                <a:gd name="T83" fmla="*/ 63 h 10545"/>
                <a:gd name="T84" fmla="*/ 969 w 16095"/>
                <a:gd name="T85" fmla="*/ 291 h 10545"/>
                <a:gd name="T86" fmla="*/ 523 w 16095"/>
                <a:gd name="T87" fmla="*/ 658 h 10545"/>
                <a:gd name="T88" fmla="*/ 198 w 16095"/>
                <a:gd name="T89" fmla="*/ 1138 h 10545"/>
                <a:gd name="T90" fmla="*/ 23 w 16095"/>
                <a:gd name="T91" fmla="*/ 1702 h 10545"/>
                <a:gd name="T92" fmla="*/ 10 w 16095"/>
                <a:gd name="T93" fmla="*/ 8741 h 10545"/>
                <a:gd name="T94" fmla="*/ 158 w 16095"/>
                <a:gd name="T95" fmla="*/ 9318 h 10545"/>
                <a:gd name="T96" fmla="*/ 460 w 16095"/>
                <a:gd name="T97" fmla="*/ 9814 h 10545"/>
                <a:gd name="T98" fmla="*/ 887 w 16095"/>
                <a:gd name="T99" fmla="*/ 10202 h 10545"/>
                <a:gd name="T100" fmla="*/ 1413 w 16095"/>
                <a:gd name="T101" fmla="*/ 10455 h 10545"/>
                <a:gd name="T102" fmla="*/ 2012 w 16095"/>
                <a:gd name="T103" fmla="*/ 10545 h 10545"/>
                <a:gd name="T104" fmla="*/ 14586 w 16095"/>
                <a:gd name="T105" fmla="*/ 10482 h 10545"/>
                <a:gd name="T106" fmla="*/ 15126 w 16095"/>
                <a:gd name="T107" fmla="*/ 10254 h 10545"/>
                <a:gd name="T108" fmla="*/ 15572 w 16095"/>
                <a:gd name="T109" fmla="*/ 9886 h 10545"/>
                <a:gd name="T110" fmla="*/ 15897 w 16095"/>
                <a:gd name="T111" fmla="*/ 9407 h 10545"/>
                <a:gd name="T112" fmla="*/ 16072 w 16095"/>
                <a:gd name="T113" fmla="*/ 8842 h 10545"/>
                <a:gd name="T114" fmla="*/ 16085 w 16095"/>
                <a:gd name="T115" fmla="*/ 1803 h 10545"/>
                <a:gd name="T116" fmla="*/ 15937 w 16095"/>
                <a:gd name="T117" fmla="*/ 1227 h 10545"/>
                <a:gd name="T118" fmla="*/ 15635 w 16095"/>
                <a:gd name="T119" fmla="*/ 731 h 10545"/>
                <a:gd name="T120" fmla="*/ 15208 w 16095"/>
                <a:gd name="T121" fmla="*/ 343 h 10545"/>
                <a:gd name="T122" fmla="*/ 14682 w 16095"/>
                <a:gd name="T123" fmla="*/ 90 h 10545"/>
                <a:gd name="T124" fmla="*/ 14083 w 16095"/>
                <a:gd name="T125" fmla="*/ 0 h 10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95" h="10545">
                  <a:moveTo>
                    <a:pt x="8651" y="6830"/>
                  </a:moveTo>
                  <a:lnTo>
                    <a:pt x="8618" y="6853"/>
                  </a:lnTo>
                  <a:lnTo>
                    <a:pt x="8584" y="6876"/>
                  </a:lnTo>
                  <a:lnTo>
                    <a:pt x="8548" y="6897"/>
                  </a:lnTo>
                  <a:lnTo>
                    <a:pt x="8513" y="6917"/>
                  </a:lnTo>
                  <a:lnTo>
                    <a:pt x="8477" y="6935"/>
                  </a:lnTo>
                  <a:lnTo>
                    <a:pt x="8441" y="6951"/>
                  </a:lnTo>
                  <a:lnTo>
                    <a:pt x="8404" y="6966"/>
                  </a:lnTo>
                  <a:lnTo>
                    <a:pt x="8365" y="6980"/>
                  </a:lnTo>
                  <a:lnTo>
                    <a:pt x="8327" y="6992"/>
                  </a:lnTo>
                  <a:lnTo>
                    <a:pt x="8288" y="7002"/>
                  </a:lnTo>
                  <a:lnTo>
                    <a:pt x="8249" y="7011"/>
                  </a:lnTo>
                  <a:lnTo>
                    <a:pt x="8209" y="7018"/>
                  </a:lnTo>
                  <a:lnTo>
                    <a:pt x="8169" y="7023"/>
                  </a:lnTo>
                  <a:lnTo>
                    <a:pt x="8129" y="7027"/>
                  </a:lnTo>
                  <a:lnTo>
                    <a:pt x="8089" y="7030"/>
                  </a:lnTo>
                  <a:lnTo>
                    <a:pt x="8048" y="7031"/>
                  </a:lnTo>
                  <a:lnTo>
                    <a:pt x="8006" y="7030"/>
                  </a:lnTo>
                  <a:lnTo>
                    <a:pt x="7966" y="7027"/>
                  </a:lnTo>
                  <a:lnTo>
                    <a:pt x="7926" y="7023"/>
                  </a:lnTo>
                  <a:lnTo>
                    <a:pt x="7886" y="7018"/>
                  </a:lnTo>
                  <a:lnTo>
                    <a:pt x="7845" y="7011"/>
                  </a:lnTo>
                  <a:lnTo>
                    <a:pt x="7806" y="7002"/>
                  </a:lnTo>
                  <a:lnTo>
                    <a:pt x="7768" y="6992"/>
                  </a:lnTo>
                  <a:lnTo>
                    <a:pt x="7730" y="6980"/>
                  </a:lnTo>
                  <a:lnTo>
                    <a:pt x="7691" y="6966"/>
                  </a:lnTo>
                  <a:lnTo>
                    <a:pt x="7654" y="6951"/>
                  </a:lnTo>
                  <a:lnTo>
                    <a:pt x="7618" y="6935"/>
                  </a:lnTo>
                  <a:lnTo>
                    <a:pt x="7582" y="6917"/>
                  </a:lnTo>
                  <a:lnTo>
                    <a:pt x="7547" y="6897"/>
                  </a:lnTo>
                  <a:lnTo>
                    <a:pt x="7511" y="6876"/>
                  </a:lnTo>
                  <a:lnTo>
                    <a:pt x="7477" y="6853"/>
                  </a:lnTo>
                  <a:lnTo>
                    <a:pt x="7444" y="6830"/>
                  </a:lnTo>
                  <a:lnTo>
                    <a:pt x="5364" y="5273"/>
                  </a:lnTo>
                  <a:lnTo>
                    <a:pt x="4945" y="4958"/>
                  </a:lnTo>
                  <a:lnTo>
                    <a:pt x="1006" y="2010"/>
                  </a:lnTo>
                  <a:lnTo>
                    <a:pt x="1006" y="2009"/>
                  </a:lnTo>
                  <a:lnTo>
                    <a:pt x="1007" y="1957"/>
                  </a:lnTo>
                  <a:lnTo>
                    <a:pt x="1011" y="1906"/>
                  </a:lnTo>
                  <a:lnTo>
                    <a:pt x="1018" y="1856"/>
                  </a:lnTo>
                  <a:lnTo>
                    <a:pt x="1026" y="1807"/>
                  </a:lnTo>
                  <a:lnTo>
                    <a:pt x="1038" y="1758"/>
                  </a:lnTo>
                  <a:lnTo>
                    <a:pt x="1051" y="1710"/>
                  </a:lnTo>
                  <a:lnTo>
                    <a:pt x="1067" y="1663"/>
                  </a:lnTo>
                  <a:lnTo>
                    <a:pt x="1085" y="1618"/>
                  </a:lnTo>
                  <a:lnTo>
                    <a:pt x="1106" y="1574"/>
                  </a:lnTo>
                  <a:lnTo>
                    <a:pt x="1128" y="1531"/>
                  </a:lnTo>
                  <a:lnTo>
                    <a:pt x="1152" y="1488"/>
                  </a:lnTo>
                  <a:lnTo>
                    <a:pt x="1178" y="1447"/>
                  </a:lnTo>
                  <a:lnTo>
                    <a:pt x="1206" y="1408"/>
                  </a:lnTo>
                  <a:lnTo>
                    <a:pt x="1236" y="1370"/>
                  </a:lnTo>
                  <a:lnTo>
                    <a:pt x="1267" y="1334"/>
                  </a:lnTo>
                  <a:lnTo>
                    <a:pt x="1301" y="1299"/>
                  </a:lnTo>
                  <a:lnTo>
                    <a:pt x="1336" y="1265"/>
                  </a:lnTo>
                  <a:lnTo>
                    <a:pt x="1372" y="1234"/>
                  </a:lnTo>
                  <a:lnTo>
                    <a:pt x="1410" y="1204"/>
                  </a:lnTo>
                  <a:lnTo>
                    <a:pt x="1450" y="1176"/>
                  </a:lnTo>
                  <a:lnTo>
                    <a:pt x="1491" y="1150"/>
                  </a:lnTo>
                  <a:lnTo>
                    <a:pt x="1533" y="1126"/>
                  </a:lnTo>
                  <a:lnTo>
                    <a:pt x="1576" y="1104"/>
                  </a:lnTo>
                  <a:lnTo>
                    <a:pt x="1621" y="1084"/>
                  </a:lnTo>
                  <a:lnTo>
                    <a:pt x="1666" y="1066"/>
                  </a:lnTo>
                  <a:lnTo>
                    <a:pt x="1713" y="1049"/>
                  </a:lnTo>
                  <a:lnTo>
                    <a:pt x="1760" y="1036"/>
                  </a:lnTo>
                  <a:lnTo>
                    <a:pt x="1810" y="1024"/>
                  </a:lnTo>
                  <a:lnTo>
                    <a:pt x="1859" y="1016"/>
                  </a:lnTo>
                  <a:lnTo>
                    <a:pt x="1909" y="1009"/>
                  </a:lnTo>
                  <a:lnTo>
                    <a:pt x="1961" y="1005"/>
                  </a:lnTo>
                  <a:lnTo>
                    <a:pt x="2012" y="1004"/>
                  </a:lnTo>
                  <a:lnTo>
                    <a:pt x="14083" y="1004"/>
                  </a:lnTo>
                  <a:lnTo>
                    <a:pt x="14134" y="1005"/>
                  </a:lnTo>
                  <a:lnTo>
                    <a:pt x="14186" y="1009"/>
                  </a:lnTo>
                  <a:lnTo>
                    <a:pt x="14236" y="1016"/>
                  </a:lnTo>
                  <a:lnTo>
                    <a:pt x="14285" y="1024"/>
                  </a:lnTo>
                  <a:lnTo>
                    <a:pt x="14335" y="1036"/>
                  </a:lnTo>
                  <a:lnTo>
                    <a:pt x="14382" y="1049"/>
                  </a:lnTo>
                  <a:lnTo>
                    <a:pt x="14428" y="1066"/>
                  </a:lnTo>
                  <a:lnTo>
                    <a:pt x="14474" y="1084"/>
                  </a:lnTo>
                  <a:lnTo>
                    <a:pt x="14519" y="1104"/>
                  </a:lnTo>
                  <a:lnTo>
                    <a:pt x="14562" y="1126"/>
                  </a:lnTo>
                  <a:lnTo>
                    <a:pt x="14604" y="1150"/>
                  </a:lnTo>
                  <a:lnTo>
                    <a:pt x="14645" y="1176"/>
                  </a:lnTo>
                  <a:lnTo>
                    <a:pt x="14685" y="1204"/>
                  </a:lnTo>
                  <a:lnTo>
                    <a:pt x="14723" y="1234"/>
                  </a:lnTo>
                  <a:lnTo>
                    <a:pt x="14759" y="1265"/>
                  </a:lnTo>
                  <a:lnTo>
                    <a:pt x="14794" y="1299"/>
                  </a:lnTo>
                  <a:lnTo>
                    <a:pt x="14828" y="1334"/>
                  </a:lnTo>
                  <a:lnTo>
                    <a:pt x="14859" y="1370"/>
                  </a:lnTo>
                  <a:lnTo>
                    <a:pt x="14889" y="1408"/>
                  </a:lnTo>
                  <a:lnTo>
                    <a:pt x="14917" y="1447"/>
                  </a:lnTo>
                  <a:lnTo>
                    <a:pt x="14943" y="1488"/>
                  </a:lnTo>
                  <a:lnTo>
                    <a:pt x="14967" y="1531"/>
                  </a:lnTo>
                  <a:lnTo>
                    <a:pt x="14989" y="1574"/>
                  </a:lnTo>
                  <a:lnTo>
                    <a:pt x="15010" y="1618"/>
                  </a:lnTo>
                  <a:lnTo>
                    <a:pt x="15028" y="1663"/>
                  </a:lnTo>
                  <a:lnTo>
                    <a:pt x="15044" y="1710"/>
                  </a:lnTo>
                  <a:lnTo>
                    <a:pt x="15058" y="1758"/>
                  </a:lnTo>
                  <a:lnTo>
                    <a:pt x="15069" y="1807"/>
                  </a:lnTo>
                  <a:lnTo>
                    <a:pt x="15078" y="1856"/>
                  </a:lnTo>
                  <a:lnTo>
                    <a:pt x="15084" y="1906"/>
                  </a:lnTo>
                  <a:lnTo>
                    <a:pt x="15088" y="1957"/>
                  </a:lnTo>
                  <a:lnTo>
                    <a:pt x="15089" y="2009"/>
                  </a:lnTo>
                  <a:lnTo>
                    <a:pt x="8651" y="6830"/>
                  </a:lnTo>
                  <a:close/>
                  <a:moveTo>
                    <a:pt x="15089" y="7908"/>
                  </a:moveTo>
                  <a:lnTo>
                    <a:pt x="11569" y="5273"/>
                  </a:lnTo>
                  <a:lnTo>
                    <a:pt x="15089" y="2636"/>
                  </a:lnTo>
                  <a:lnTo>
                    <a:pt x="15089" y="7908"/>
                  </a:lnTo>
                  <a:close/>
                  <a:moveTo>
                    <a:pt x="15089" y="8535"/>
                  </a:moveTo>
                  <a:lnTo>
                    <a:pt x="15088" y="8588"/>
                  </a:lnTo>
                  <a:lnTo>
                    <a:pt x="15084" y="8639"/>
                  </a:lnTo>
                  <a:lnTo>
                    <a:pt x="15078" y="8689"/>
                  </a:lnTo>
                  <a:lnTo>
                    <a:pt x="15069" y="8738"/>
                  </a:lnTo>
                  <a:lnTo>
                    <a:pt x="15058" y="8786"/>
                  </a:lnTo>
                  <a:lnTo>
                    <a:pt x="15044" y="8835"/>
                  </a:lnTo>
                  <a:lnTo>
                    <a:pt x="15028" y="8881"/>
                  </a:lnTo>
                  <a:lnTo>
                    <a:pt x="15010" y="8927"/>
                  </a:lnTo>
                  <a:lnTo>
                    <a:pt x="14989" y="8971"/>
                  </a:lnTo>
                  <a:lnTo>
                    <a:pt x="14967" y="9014"/>
                  </a:lnTo>
                  <a:lnTo>
                    <a:pt x="14943" y="9057"/>
                  </a:lnTo>
                  <a:lnTo>
                    <a:pt x="14917" y="9097"/>
                  </a:lnTo>
                  <a:lnTo>
                    <a:pt x="14889" y="9137"/>
                  </a:lnTo>
                  <a:lnTo>
                    <a:pt x="14859" y="9174"/>
                  </a:lnTo>
                  <a:lnTo>
                    <a:pt x="14828" y="9211"/>
                  </a:lnTo>
                  <a:lnTo>
                    <a:pt x="14794" y="9246"/>
                  </a:lnTo>
                  <a:lnTo>
                    <a:pt x="14759" y="9280"/>
                  </a:lnTo>
                  <a:lnTo>
                    <a:pt x="14723" y="9311"/>
                  </a:lnTo>
                  <a:lnTo>
                    <a:pt x="14685" y="9341"/>
                  </a:lnTo>
                  <a:lnTo>
                    <a:pt x="14645" y="9369"/>
                  </a:lnTo>
                  <a:lnTo>
                    <a:pt x="14604" y="9395"/>
                  </a:lnTo>
                  <a:lnTo>
                    <a:pt x="14562" y="9419"/>
                  </a:lnTo>
                  <a:lnTo>
                    <a:pt x="14519" y="9441"/>
                  </a:lnTo>
                  <a:lnTo>
                    <a:pt x="14474" y="9461"/>
                  </a:lnTo>
                  <a:lnTo>
                    <a:pt x="14428" y="9479"/>
                  </a:lnTo>
                  <a:lnTo>
                    <a:pt x="14382" y="9496"/>
                  </a:lnTo>
                  <a:lnTo>
                    <a:pt x="14335" y="9509"/>
                  </a:lnTo>
                  <a:lnTo>
                    <a:pt x="14285" y="9520"/>
                  </a:lnTo>
                  <a:lnTo>
                    <a:pt x="14236" y="9529"/>
                  </a:lnTo>
                  <a:lnTo>
                    <a:pt x="14186" y="9535"/>
                  </a:lnTo>
                  <a:lnTo>
                    <a:pt x="14134" y="9539"/>
                  </a:lnTo>
                  <a:lnTo>
                    <a:pt x="14083" y="9540"/>
                  </a:lnTo>
                  <a:lnTo>
                    <a:pt x="2012" y="9540"/>
                  </a:lnTo>
                  <a:lnTo>
                    <a:pt x="1961" y="9539"/>
                  </a:lnTo>
                  <a:lnTo>
                    <a:pt x="1909" y="9535"/>
                  </a:lnTo>
                  <a:lnTo>
                    <a:pt x="1859" y="9529"/>
                  </a:lnTo>
                  <a:lnTo>
                    <a:pt x="1810" y="9520"/>
                  </a:lnTo>
                  <a:lnTo>
                    <a:pt x="1760" y="9509"/>
                  </a:lnTo>
                  <a:lnTo>
                    <a:pt x="1713" y="9496"/>
                  </a:lnTo>
                  <a:lnTo>
                    <a:pt x="1666" y="9479"/>
                  </a:lnTo>
                  <a:lnTo>
                    <a:pt x="1621" y="9461"/>
                  </a:lnTo>
                  <a:lnTo>
                    <a:pt x="1576" y="9441"/>
                  </a:lnTo>
                  <a:lnTo>
                    <a:pt x="1533" y="9419"/>
                  </a:lnTo>
                  <a:lnTo>
                    <a:pt x="1491" y="9395"/>
                  </a:lnTo>
                  <a:lnTo>
                    <a:pt x="1450" y="9369"/>
                  </a:lnTo>
                  <a:lnTo>
                    <a:pt x="1410" y="9341"/>
                  </a:lnTo>
                  <a:lnTo>
                    <a:pt x="1372" y="9311"/>
                  </a:lnTo>
                  <a:lnTo>
                    <a:pt x="1336" y="9280"/>
                  </a:lnTo>
                  <a:lnTo>
                    <a:pt x="1301" y="9246"/>
                  </a:lnTo>
                  <a:lnTo>
                    <a:pt x="1267" y="9211"/>
                  </a:lnTo>
                  <a:lnTo>
                    <a:pt x="1236" y="9174"/>
                  </a:lnTo>
                  <a:lnTo>
                    <a:pt x="1206" y="9137"/>
                  </a:lnTo>
                  <a:lnTo>
                    <a:pt x="1178" y="9097"/>
                  </a:lnTo>
                  <a:lnTo>
                    <a:pt x="1152" y="9057"/>
                  </a:lnTo>
                  <a:lnTo>
                    <a:pt x="1128" y="9014"/>
                  </a:lnTo>
                  <a:lnTo>
                    <a:pt x="1106" y="8971"/>
                  </a:lnTo>
                  <a:lnTo>
                    <a:pt x="1085" y="8927"/>
                  </a:lnTo>
                  <a:lnTo>
                    <a:pt x="1067" y="8881"/>
                  </a:lnTo>
                  <a:lnTo>
                    <a:pt x="1051" y="8835"/>
                  </a:lnTo>
                  <a:lnTo>
                    <a:pt x="1038" y="8786"/>
                  </a:lnTo>
                  <a:lnTo>
                    <a:pt x="1026" y="8738"/>
                  </a:lnTo>
                  <a:lnTo>
                    <a:pt x="1018" y="8689"/>
                  </a:lnTo>
                  <a:lnTo>
                    <a:pt x="1011" y="8639"/>
                  </a:lnTo>
                  <a:lnTo>
                    <a:pt x="1007" y="8588"/>
                  </a:lnTo>
                  <a:lnTo>
                    <a:pt x="1006" y="8535"/>
                  </a:lnTo>
                  <a:lnTo>
                    <a:pt x="4945" y="5587"/>
                  </a:lnTo>
                  <a:lnTo>
                    <a:pt x="7142" y="7232"/>
                  </a:lnTo>
                  <a:lnTo>
                    <a:pt x="7167" y="7250"/>
                  </a:lnTo>
                  <a:lnTo>
                    <a:pt x="7193" y="7268"/>
                  </a:lnTo>
                  <a:lnTo>
                    <a:pt x="7219" y="7285"/>
                  </a:lnTo>
                  <a:lnTo>
                    <a:pt x="7245" y="7302"/>
                  </a:lnTo>
                  <a:lnTo>
                    <a:pt x="7271" y="7318"/>
                  </a:lnTo>
                  <a:lnTo>
                    <a:pt x="7298" y="7333"/>
                  </a:lnTo>
                  <a:lnTo>
                    <a:pt x="7325" y="7348"/>
                  </a:lnTo>
                  <a:lnTo>
                    <a:pt x="7352" y="7363"/>
                  </a:lnTo>
                  <a:lnTo>
                    <a:pt x="7380" y="7376"/>
                  </a:lnTo>
                  <a:lnTo>
                    <a:pt x="7407" y="7391"/>
                  </a:lnTo>
                  <a:lnTo>
                    <a:pt x="7435" y="7403"/>
                  </a:lnTo>
                  <a:lnTo>
                    <a:pt x="7462" y="7415"/>
                  </a:lnTo>
                  <a:lnTo>
                    <a:pt x="7490" y="7427"/>
                  </a:lnTo>
                  <a:lnTo>
                    <a:pt x="7518" y="7437"/>
                  </a:lnTo>
                  <a:lnTo>
                    <a:pt x="7548" y="7448"/>
                  </a:lnTo>
                  <a:lnTo>
                    <a:pt x="7576" y="7457"/>
                  </a:lnTo>
                  <a:lnTo>
                    <a:pt x="7605" y="7466"/>
                  </a:lnTo>
                  <a:lnTo>
                    <a:pt x="7633" y="7475"/>
                  </a:lnTo>
                  <a:lnTo>
                    <a:pt x="7662" y="7483"/>
                  </a:lnTo>
                  <a:lnTo>
                    <a:pt x="7691" y="7490"/>
                  </a:lnTo>
                  <a:lnTo>
                    <a:pt x="7721" y="7497"/>
                  </a:lnTo>
                  <a:lnTo>
                    <a:pt x="7750" y="7503"/>
                  </a:lnTo>
                  <a:lnTo>
                    <a:pt x="7780" y="7509"/>
                  </a:lnTo>
                  <a:lnTo>
                    <a:pt x="7809" y="7514"/>
                  </a:lnTo>
                  <a:lnTo>
                    <a:pt x="7839" y="7518"/>
                  </a:lnTo>
                  <a:lnTo>
                    <a:pt x="7868" y="7522"/>
                  </a:lnTo>
                  <a:lnTo>
                    <a:pt x="7899" y="7525"/>
                  </a:lnTo>
                  <a:lnTo>
                    <a:pt x="7928" y="7528"/>
                  </a:lnTo>
                  <a:lnTo>
                    <a:pt x="7958" y="7530"/>
                  </a:lnTo>
                  <a:lnTo>
                    <a:pt x="7988" y="7531"/>
                  </a:lnTo>
                  <a:lnTo>
                    <a:pt x="8017" y="7532"/>
                  </a:lnTo>
                  <a:lnTo>
                    <a:pt x="8048" y="7532"/>
                  </a:lnTo>
                  <a:lnTo>
                    <a:pt x="8078" y="7532"/>
                  </a:lnTo>
                  <a:lnTo>
                    <a:pt x="8107" y="7531"/>
                  </a:lnTo>
                  <a:lnTo>
                    <a:pt x="8137" y="7530"/>
                  </a:lnTo>
                  <a:lnTo>
                    <a:pt x="8167" y="7528"/>
                  </a:lnTo>
                  <a:lnTo>
                    <a:pt x="8196" y="7525"/>
                  </a:lnTo>
                  <a:lnTo>
                    <a:pt x="8227" y="7522"/>
                  </a:lnTo>
                  <a:lnTo>
                    <a:pt x="8256" y="7518"/>
                  </a:lnTo>
                  <a:lnTo>
                    <a:pt x="8286" y="7514"/>
                  </a:lnTo>
                  <a:lnTo>
                    <a:pt x="8315" y="7509"/>
                  </a:lnTo>
                  <a:lnTo>
                    <a:pt x="8344" y="7503"/>
                  </a:lnTo>
                  <a:lnTo>
                    <a:pt x="8374" y="7497"/>
                  </a:lnTo>
                  <a:lnTo>
                    <a:pt x="8404" y="7490"/>
                  </a:lnTo>
                  <a:lnTo>
                    <a:pt x="8433" y="7483"/>
                  </a:lnTo>
                  <a:lnTo>
                    <a:pt x="8461" y="7475"/>
                  </a:lnTo>
                  <a:lnTo>
                    <a:pt x="8490" y="7466"/>
                  </a:lnTo>
                  <a:lnTo>
                    <a:pt x="8519" y="7457"/>
                  </a:lnTo>
                  <a:lnTo>
                    <a:pt x="8547" y="7448"/>
                  </a:lnTo>
                  <a:lnTo>
                    <a:pt x="8576" y="7437"/>
                  </a:lnTo>
                  <a:lnTo>
                    <a:pt x="8605" y="7427"/>
                  </a:lnTo>
                  <a:lnTo>
                    <a:pt x="8632" y="7415"/>
                  </a:lnTo>
                  <a:lnTo>
                    <a:pt x="8660" y="7403"/>
                  </a:lnTo>
                  <a:lnTo>
                    <a:pt x="8688" y="7391"/>
                  </a:lnTo>
                  <a:lnTo>
                    <a:pt x="8715" y="7376"/>
                  </a:lnTo>
                  <a:lnTo>
                    <a:pt x="8743" y="7363"/>
                  </a:lnTo>
                  <a:lnTo>
                    <a:pt x="8770" y="7348"/>
                  </a:lnTo>
                  <a:lnTo>
                    <a:pt x="8797" y="7333"/>
                  </a:lnTo>
                  <a:lnTo>
                    <a:pt x="8823" y="7318"/>
                  </a:lnTo>
                  <a:lnTo>
                    <a:pt x="8850" y="7302"/>
                  </a:lnTo>
                  <a:lnTo>
                    <a:pt x="8876" y="7285"/>
                  </a:lnTo>
                  <a:lnTo>
                    <a:pt x="8902" y="7268"/>
                  </a:lnTo>
                  <a:lnTo>
                    <a:pt x="8928" y="7250"/>
                  </a:lnTo>
                  <a:lnTo>
                    <a:pt x="8953" y="7232"/>
                  </a:lnTo>
                  <a:lnTo>
                    <a:pt x="11150" y="5587"/>
                  </a:lnTo>
                  <a:lnTo>
                    <a:pt x="15089" y="8535"/>
                  </a:lnTo>
                  <a:close/>
                  <a:moveTo>
                    <a:pt x="1006" y="2636"/>
                  </a:moveTo>
                  <a:lnTo>
                    <a:pt x="4527" y="5273"/>
                  </a:lnTo>
                  <a:lnTo>
                    <a:pt x="1006" y="7908"/>
                  </a:lnTo>
                  <a:lnTo>
                    <a:pt x="1006" y="2636"/>
                  </a:lnTo>
                  <a:close/>
                  <a:moveTo>
                    <a:pt x="14083" y="0"/>
                  </a:moveTo>
                  <a:lnTo>
                    <a:pt x="2012" y="0"/>
                  </a:lnTo>
                  <a:lnTo>
                    <a:pt x="1908" y="3"/>
                  </a:lnTo>
                  <a:lnTo>
                    <a:pt x="1806" y="10"/>
                  </a:lnTo>
                  <a:lnTo>
                    <a:pt x="1705" y="23"/>
                  </a:lnTo>
                  <a:lnTo>
                    <a:pt x="1606" y="41"/>
                  </a:lnTo>
                  <a:lnTo>
                    <a:pt x="1509" y="63"/>
                  </a:lnTo>
                  <a:lnTo>
                    <a:pt x="1413" y="90"/>
                  </a:lnTo>
                  <a:lnTo>
                    <a:pt x="1320" y="122"/>
                  </a:lnTo>
                  <a:lnTo>
                    <a:pt x="1229" y="158"/>
                  </a:lnTo>
                  <a:lnTo>
                    <a:pt x="1140" y="198"/>
                  </a:lnTo>
                  <a:lnTo>
                    <a:pt x="1053" y="242"/>
                  </a:lnTo>
                  <a:lnTo>
                    <a:pt x="969" y="291"/>
                  </a:lnTo>
                  <a:lnTo>
                    <a:pt x="887" y="343"/>
                  </a:lnTo>
                  <a:lnTo>
                    <a:pt x="808" y="399"/>
                  </a:lnTo>
                  <a:lnTo>
                    <a:pt x="732" y="459"/>
                  </a:lnTo>
                  <a:lnTo>
                    <a:pt x="659" y="522"/>
                  </a:lnTo>
                  <a:lnTo>
                    <a:pt x="589" y="589"/>
                  </a:lnTo>
                  <a:lnTo>
                    <a:pt x="523" y="658"/>
                  </a:lnTo>
                  <a:lnTo>
                    <a:pt x="460" y="731"/>
                  </a:lnTo>
                  <a:lnTo>
                    <a:pt x="399" y="806"/>
                  </a:lnTo>
                  <a:lnTo>
                    <a:pt x="344" y="886"/>
                  </a:lnTo>
                  <a:lnTo>
                    <a:pt x="292" y="967"/>
                  </a:lnTo>
                  <a:lnTo>
                    <a:pt x="242" y="1051"/>
                  </a:lnTo>
                  <a:lnTo>
                    <a:pt x="198" y="1138"/>
                  </a:lnTo>
                  <a:lnTo>
                    <a:pt x="158" y="1227"/>
                  </a:lnTo>
                  <a:lnTo>
                    <a:pt x="122" y="1318"/>
                  </a:lnTo>
                  <a:lnTo>
                    <a:pt x="91" y="1411"/>
                  </a:lnTo>
                  <a:lnTo>
                    <a:pt x="63" y="1506"/>
                  </a:lnTo>
                  <a:lnTo>
                    <a:pt x="41" y="1604"/>
                  </a:lnTo>
                  <a:lnTo>
                    <a:pt x="23" y="1702"/>
                  </a:lnTo>
                  <a:lnTo>
                    <a:pt x="10" y="1803"/>
                  </a:lnTo>
                  <a:lnTo>
                    <a:pt x="3" y="1905"/>
                  </a:lnTo>
                  <a:lnTo>
                    <a:pt x="0" y="2009"/>
                  </a:lnTo>
                  <a:lnTo>
                    <a:pt x="0" y="8535"/>
                  </a:lnTo>
                  <a:lnTo>
                    <a:pt x="3" y="8639"/>
                  </a:lnTo>
                  <a:lnTo>
                    <a:pt x="10" y="8741"/>
                  </a:lnTo>
                  <a:lnTo>
                    <a:pt x="23" y="8842"/>
                  </a:lnTo>
                  <a:lnTo>
                    <a:pt x="41" y="8941"/>
                  </a:lnTo>
                  <a:lnTo>
                    <a:pt x="63" y="9038"/>
                  </a:lnTo>
                  <a:lnTo>
                    <a:pt x="91" y="9133"/>
                  </a:lnTo>
                  <a:lnTo>
                    <a:pt x="122" y="9226"/>
                  </a:lnTo>
                  <a:lnTo>
                    <a:pt x="158" y="9318"/>
                  </a:lnTo>
                  <a:lnTo>
                    <a:pt x="198" y="9407"/>
                  </a:lnTo>
                  <a:lnTo>
                    <a:pt x="242" y="9494"/>
                  </a:lnTo>
                  <a:lnTo>
                    <a:pt x="292" y="9578"/>
                  </a:lnTo>
                  <a:lnTo>
                    <a:pt x="344" y="9659"/>
                  </a:lnTo>
                  <a:lnTo>
                    <a:pt x="399" y="9738"/>
                  </a:lnTo>
                  <a:lnTo>
                    <a:pt x="460" y="9814"/>
                  </a:lnTo>
                  <a:lnTo>
                    <a:pt x="523" y="9886"/>
                  </a:lnTo>
                  <a:lnTo>
                    <a:pt x="589" y="9956"/>
                  </a:lnTo>
                  <a:lnTo>
                    <a:pt x="659" y="10023"/>
                  </a:lnTo>
                  <a:lnTo>
                    <a:pt x="732" y="10086"/>
                  </a:lnTo>
                  <a:lnTo>
                    <a:pt x="808" y="10145"/>
                  </a:lnTo>
                  <a:lnTo>
                    <a:pt x="887" y="10202"/>
                  </a:lnTo>
                  <a:lnTo>
                    <a:pt x="969" y="10254"/>
                  </a:lnTo>
                  <a:lnTo>
                    <a:pt x="1053" y="10303"/>
                  </a:lnTo>
                  <a:lnTo>
                    <a:pt x="1140" y="10347"/>
                  </a:lnTo>
                  <a:lnTo>
                    <a:pt x="1229" y="10387"/>
                  </a:lnTo>
                  <a:lnTo>
                    <a:pt x="1320" y="10423"/>
                  </a:lnTo>
                  <a:lnTo>
                    <a:pt x="1413" y="10455"/>
                  </a:lnTo>
                  <a:lnTo>
                    <a:pt x="1509" y="10482"/>
                  </a:lnTo>
                  <a:lnTo>
                    <a:pt x="1606" y="10504"/>
                  </a:lnTo>
                  <a:lnTo>
                    <a:pt x="1705" y="10522"/>
                  </a:lnTo>
                  <a:lnTo>
                    <a:pt x="1806" y="10535"/>
                  </a:lnTo>
                  <a:lnTo>
                    <a:pt x="1908" y="10542"/>
                  </a:lnTo>
                  <a:lnTo>
                    <a:pt x="2012" y="10545"/>
                  </a:lnTo>
                  <a:lnTo>
                    <a:pt x="14083" y="10545"/>
                  </a:lnTo>
                  <a:lnTo>
                    <a:pt x="14187" y="10542"/>
                  </a:lnTo>
                  <a:lnTo>
                    <a:pt x="14289" y="10535"/>
                  </a:lnTo>
                  <a:lnTo>
                    <a:pt x="14390" y="10522"/>
                  </a:lnTo>
                  <a:lnTo>
                    <a:pt x="14489" y="10504"/>
                  </a:lnTo>
                  <a:lnTo>
                    <a:pt x="14586" y="10482"/>
                  </a:lnTo>
                  <a:lnTo>
                    <a:pt x="14682" y="10455"/>
                  </a:lnTo>
                  <a:lnTo>
                    <a:pt x="14775" y="10423"/>
                  </a:lnTo>
                  <a:lnTo>
                    <a:pt x="14867" y="10387"/>
                  </a:lnTo>
                  <a:lnTo>
                    <a:pt x="14955" y="10347"/>
                  </a:lnTo>
                  <a:lnTo>
                    <a:pt x="15042" y="10303"/>
                  </a:lnTo>
                  <a:lnTo>
                    <a:pt x="15126" y="10254"/>
                  </a:lnTo>
                  <a:lnTo>
                    <a:pt x="15208" y="10202"/>
                  </a:lnTo>
                  <a:lnTo>
                    <a:pt x="15287" y="10145"/>
                  </a:lnTo>
                  <a:lnTo>
                    <a:pt x="15363" y="10086"/>
                  </a:lnTo>
                  <a:lnTo>
                    <a:pt x="15436" y="10023"/>
                  </a:lnTo>
                  <a:lnTo>
                    <a:pt x="15506" y="9956"/>
                  </a:lnTo>
                  <a:lnTo>
                    <a:pt x="15572" y="9886"/>
                  </a:lnTo>
                  <a:lnTo>
                    <a:pt x="15635" y="9814"/>
                  </a:lnTo>
                  <a:lnTo>
                    <a:pt x="15696" y="9738"/>
                  </a:lnTo>
                  <a:lnTo>
                    <a:pt x="15751" y="9659"/>
                  </a:lnTo>
                  <a:lnTo>
                    <a:pt x="15803" y="9578"/>
                  </a:lnTo>
                  <a:lnTo>
                    <a:pt x="15853" y="9494"/>
                  </a:lnTo>
                  <a:lnTo>
                    <a:pt x="15897" y="9407"/>
                  </a:lnTo>
                  <a:lnTo>
                    <a:pt x="15937" y="9318"/>
                  </a:lnTo>
                  <a:lnTo>
                    <a:pt x="15973" y="9226"/>
                  </a:lnTo>
                  <a:lnTo>
                    <a:pt x="16004" y="9133"/>
                  </a:lnTo>
                  <a:lnTo>
                    <a:pt x="16032" y="9038"/>
                  </a:lnTo>
                  <a:lnTo>
                    <a:pt x="16054" y="8941"/>
                  </a:lnTo>
                  <a:lnTo>
                    <a:pt x="16072" y="8842"/>
                  </a:lnTo>
                  <a:lnTo>
                    <a:pt x="16085" y="8741"/>
                  </a:lnTo>
                  <a:lnTo>
                    <a:pt x="16092" y="8639"/>
                  </a:lnTo>
                  <a:lnTo>
                    <a:pt x="16095" y="8535"/>
                  </a:lnTo>
                  <a:lnTo>
                    <a:pt x="16095" y="2009"/>
                  </a:lnTo>
                  <a:lnTo>
                    <a:pt x="16092" y="1905"/>
                  </a:lnTo>
                  <a:lnTo>
                    <a:pt x="16085" y="1803"/>
                  </a:lnTo>
                  <a:lnTo>
                    <a:pt x="16072" y="1702"/>
                  </a:lnTo>
                  <a:lnTo>
                    <a:pt x="16054" y="1604"/>
                  </a:lnTo>
                  <a:lnTo>
                    <a:pt x="16032" y="1506"/>
                  </a:lnTo>
                  <a:lnTo>
                    <a:pt x="16004" y="1411"/>
                  </a:lnTo>
                  <a:lnTo>
                    <a:pt x="15973" y="1318"/>
                  </a:lnTo>
                  <a:lnTo>
                    <a:pt x="15937" y="1227"/>
                  </a:lnTo>
                  <a:lnTo>
                    <a:pt x="15897" y="1138"/>
                  </a:lnTo>
                  <a:lnTo>
                    <a:pt x="15853" y="1051"/>
                  </a:lnTo>
                  <a:lnTo>
                    <a:pt x="15803" y="967"/>
                  </a:lnTo>
                  <a:lnTo>
                    <a:pt x="15751" y="886"/>
                  </a:lnTo>
                  <a:lnTo>
                    <a:pt x="15696" y="806"/>
                  </a:lnTo>
                  <a:lnTo>
                    <a:pt x="15635" y="731"/>
                  </a:lnTo>
                  <a:lnTo>
                    <a:pt x="15572" y="658"/>
                  </a:lnTo>
                  <a:lnTo>
                    <a:pt x="15506" y="589"/>
                  </a:lnTo>
                  <a:lnTo>
                    <a:pt x="15436" y="522"/>
                  </a:lnTo>
                  <a:lnTo>
                    <a:pt x="15363" y="459"/>
                  </a:lnTo>
                  <a:lnTo>
                    <a:pt x="15287" y="399"/>
                  </a:lnTo>
                  <a:lnTo>
                    <a:pt x="15208" y="343"/>
                  </a:lnTo>
                  <a:lnTo>
                    <a:pt x="15126" y="291"/>
                  </a:lnTo>
                  <a:lnTo>
                    <a:pt x="15042" y="242"/>
                  </a:lnTo>
                  <a:lnTo>
                    <a:pt x="14955" y="198"/>
                  </a:lnTo>
                  <a:lnTo>
                    <a:pt x="14867" y="158"/>
                  </a:lnTo>
                  <a:lnTo>
                    <a:pt x="14775" y="122"/>
                  </a:lnTo>
                  <a:lnTo>
                    <a:pt x="14682" y="90"/>
                  </a:lnTo>
                  <a:lnTo>
                    <a:pt x="14586" y="63"/>
                  </a:lnTo>
                  <a:lnTo>
                    <a:pt x="14489" y="41"/>
                  </a:lnTo>
                  <a:lnTo>
                    <a:pt x="14390" y="23"/>
                  </a:lnTo>
                  <a:lnTo>
                    <a:pt x="14289" y="10"/>
                  </a:lnTo>
                  <a:lnTo>
                    <a:pt x="14187" y="3"/>
                  </a:lnTo>
                  <a:lnTo>
                    <a:pt x="1408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25" name="ïşḻïḑê">
              <a:extLst>
                <a:ext uri="{FF2B5EF4-FFF2-40B4-BE49-F238E27FC236}">
                  <a16:creationId xmlns:a16="http://schemas.microsoft.com/office/drawing/2014/main" id="{6D52CAB6-964F-4656-A4E8-B7F8B9D8BB8B}"/>
                </a:ext>
              </a:extLst>
            </p:cNvPr>
            <p:cNvSpPr/>
            <p:nvPr/>
          </p:nvSpPr>
          <p:spPr bwMode="auto">
            <a:xfrm>
              <a:off x="7397054" y="36320"/>
              <a:ext cx="614748" cy="613337"/>
            </a:xfrm>
            <a:custGeom>
              <a:avLst/>
              <a:gdLst>
                <a:gd name="T0" fmla="*/ 14736 w 16132"/>
                <a:gd name="T1" fmla="*/ 7927 h 16095"/>
                <a:gd name="T2" fmla="*/ 12966 w 16132"/>
                <a:gd name="T3" fmla="*/ 8091 h 16095"/>
                <a:gd name="T4" fmla="*/ 12858 w 16132"/>
                <a:gd name="T5" fmla="*/ 8337 h 16095"/>
                <a:gd name="T6" fmla="*/ 13033 w 16132"/>
                <a:gd name="T7" fmla="*/ 8539 h 16095"/>
                <a:gd name="T8" fmla="*/ 14789 w 16132"/>
                <a:gd name="T9" fmla="*/ 8901 h 16095"/>
                <a:gd name="T10" fmla="*/ 14828 w 16132"/>
                <a:gd name="T11" fmla="*/ 9762 h 16095"/>
                <a:gd name="T12" fmla="*/ 13953 w 16132"/>
                <a:gd name="T13" fmla="*/ 10554 h 16095"/>
                <a:gd name="T14" fmla="*/ 12394 w 16132"/>
                <a:gd name="T15" fmla="*/ 10673 h 16095"/>
                <a:gd name="T16" fmla="*/ 12387 w 16132"/>
                <a:gd name="T17" fmla="*/ 10945 h 16095"/>
                <a:gd name="T18" fmla="*/ 13673 w 16132"/>
                <a:gd name="T19" fmla="*/ 11067 h 16095"/>
                <a:gd name="T20" fmla="*/ 14319 w 16132"/>
                <a:gd name="T21" fmla="*/ 11774 h 16095"/>
                <a:gd name="T22" fmla="*/ 13891 w 16132"/>
                <a:gd name="T23" fmla="*/ 12812 h 16095"/>
                <a:gd name="T24" fmla="*/ 12009 w 16132"/>
                <a:gd name="T25" fmla="*/ 13092 h 16095"/>
                <a:gd name="T26" fmla="*/ 11846 w 16132"/>
                <a:gd name="T27" fmla="*/ 13303 h 16095"/>
                <a:gd name="T28" fmla="*/ 11966 w 16132"/>
                <a:gd name="T29" fmla="*/ 13544 h 16095"/>
                <a:gd name="T30" fmla="*/ 13288 w 16132"/>
                <a:gd name="T31" fmla="*/ 13730 h 16095"/>
                <a:gd name="T32" fmla="*/ 13358 w 16132"/>
                <a:gd name="T33" fmla="*/ 14429 h 16095"/>
                <a:gd name="T34" fmla="*/ 12917 w 16132"/>
                <a:gd name="T35" fmla="*/ 14986 h 16095"/>
                <a:gd name="T36" fmla="*/ 8700 w 16132"/>
                <a:gd name="T37" fmla="*/ 15051 h 16095"/>
                <a:gd name="T38" fmla="*/ 5570 w 16132"/>
                <a:gd name="T39" fmla="*/ 14483 h 16095"/>
                <a:gd name="T40" fmla="*/ 4191 w 16132"/>
                <a:gd name="T41" fmla="*/ 14088 h 16095"/>
                <a:gd name="T42" fmla="*/ 4067 w 16132"/>
                <a:gd name="T43" fmla="*/ 6631 h 16095"/>
                <a:gd name="T44" fmla="*/ 4433 w 16132"/>
                <a:gd name="T45" fmla="*/ 6297 h 16095"/>
                <a:gd name="T46" fmla="*/ 7138 w 16132"/>
                <a:gd name="T47" fmla="*/ 3681 h 16095"/>
                <a:gd name="T48" fmla="*/ 7616 w 16132"/>
                <a:gd name="T49" fmla="*/ 1286 h 16095"/>
                <a:gd name="T50" fmla="*/ 8117 w 16132"/>
                <a:gd name="T51" fmla="*/ 1009 h 16095"/>
                <a:gd name="T52" fmla="*/ 9386 w 16132"/>
                <a:gd name="T53" fmla="*/ 2464 h 16095"/>
                <a:gd name="T54" fmla="*/ 9452 w 16132"/>
                <a:gd name="T55" fmla="*/ 4763 h 16095"/>
                <a:gd name="T56" fmla="*/ 12897 w 16132"/>
                <a:gd name="T57" fmla="*/ 6065 h 16095"/>
                <a:gd name="T58" fmla="*/ 14749 w 16132"/>
                <a:gd name="T59" fmla="*/ 6317 h 16095"/>
                <a:gd name="T60" fmla="*/ 15121 w 16132"/>
                <a:gd name="T61" fmla="*/ 6923 h 16095"/>
                <a:gd name="T62" fmla="*/ 3443 w 16132"/>
                <a:gd name="T63" fmla="*/ 14868 h 16095"/>
                <a:gd name="T64" fmla="*/ 1461 w 16132"/>
                <a:gd name="T65" fmla="*/ 15086 h 16095"/>
                <a:gd name="T66" fmla="*/ 1038 w 16132"/>
                <a:gd name="T67" fmla="*/ 14759 h 16095"/>
                <a:gd name="T68" fmla="*/ 1139 w 16132"/>
                <a:gd name="T69" fmla="*/ 6201 h 16095"/>
                <a:gd name="T70" fmla="*/ 3151 w 16132"/>
                <a:gd name="T71" fmla="*/ 6052 h 16095"/>
                <a:gd name="T72" fmla="*/ 3519 w 16132"/>
                <a:gd name="T73" fmla="*/ 6437 h 16095"/>
                <a:gd name="T74" fmla="*/ 12860 w 16132"/>
                <a:gd name="T75" fmla="*/ 5106 h 16095"/>
                <a:gd name="T76" fmla="*/ 10549 w 16132"/>
                <a:gd name="T77" fmla="*/ 3394 h 16095"/>
                <a:gd name="T78" fmla="*/ 9053 w 16132"/>
                <a:gd name="T79" fmla="*/ 347 h 16095"/>
                <a:gd name="T80" fmla="*/ 7112 w 16132"/>
                <a:gd name="T81" fmla="*/ 342 h 16095"/>
                <a:gd name="T82" fmla="*/ 6522 w 16132"/>
                <a:gd name="T83" fmla="*/ 2020 h 16095"/>
                <a:gd name="T84" fmla="*/ 5109 w 16132"/>
                <a:gd name="T85" fmla="*/ 4776 h 16095"/>
                <a:gd name="T86" fmla="*/ 3758 w 16132"/>
                <a:gd name="T87" fmla="*/ 5238 h 16095"/>
                <a:gd name="T88" fmla="*/ 1512 w 16132"/>
                <a:gd name="T89" fmla="*/ 5030 h 16095"/>
                <a:gd name="T90" fmla="*/ 149 w 16132"/>
                <a:gd name="T91" fmla="*/ 5885 h 16095"/>
                <a:gd name="T92" fmla="*/ 300 w 16132"/>
                <a:gd name="T93" fmla="*/ 15488 h 16095"/>
                <a:gd name="T94" fmla="*/ 3191 w 16132"/>
                <a:gd name="T95" fmla="*/ 16086 h 16095"/>
                <a:gd name="T96" fmla="*/ 4206 w 16132"/>
                <a:gd name="T97" fmla="*/ 15494 h 16095"/>
                <a:gd name="T98" fmla="*/ 5348 w 16132"/>
                <a:gd name="T99" fmla="*/ 15463 h 16095"/>
                <a:gd name="T100" fmla="*/ 8325 w 16132"/>
                <a:gd name="T101" fmla="*/ 16027 h 16095"/>
                <a:gd name="T102" fmla="*/ 13194 w 16132"/>
                <a:gd name="T103" fmla="*/ 15959 h 16095"/>
                <a:gd name="T104" fmla="*/ 14200 w 16132"/>
                <a:gd name="T105" fmla="*/ 15031 h 16095"/>
                <a:gd name="T106" fmla="*/ 14426 w 16132"/>
                <a:gd name="T107" fmla="*/ 13944 h 16095"/>
                <a:gd name="T108" fmla="*/ 14933 w 16132"/>
                <a:gd name="T109" fmla="*/ 13091 h 16095"/>
                <a:gd name="T110" fmla="*/ 15321 w 16132"/>
                <a:gd name="T111" fmla="*/ 11883 h 16095"/>
                <a:gd name="T112" fmla="*/ 15240 w 16132"/>
                <a:gd name="T113" fmla="*/ 11003 h 16095"/>
                <a:gd name="T114" fmla="*/ 15776 w 16132"/>
                <a:gd name="T115" fmla="*/ 10098 h 16095"/>
                <a:gd name="T116" fmla="*/ 15890 w 16132"/>
                <a:gd name="T117" fmla="*/ 9058 h 16095"/>
                <a:gd name="T118" fmla="*/ 15834 w 16132"/>
                <a:gd name="T119" fmla="*/ 8258 h 16095"/>
                <a:gd name="T120" fmla="*/ 16112 w 16132"/>
                <a:gd name="T121" fmla="*/ 7457 h 16095"/>
                <a:gd name="T122" fmla="*/ 15972 w 16132"/>
                <a:gd name="T123" fmla="*/ 6305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32" h="16095">
                  <a:moveTo>
                    <a:pt x="15113" y="7310"/>
                  </a:moveTo>
                  <a:lnTo>
                    <a:pt x="15112" y="7334"/>
                  </a:lnTo>
                  <a:lnTo>
                    <a:pt x="15110" y="7359"/>
                  </a:lnTo>
                  <a:lnTo>
                    <a:pt x="15107" y="7387"/>
                  </a:lnTo>
                  <a:lnTo>
                    <a:pt x="15103" y="7414"/>
                  </a:lnTo>
                  <a:lnTo>
                    <a:pt x="15099" y="7442"/>
                  </a:lnTo>
                  <a:lnTo>
                    <a:pt x="15092" y="7471"/>
                  </a:lnTo>
                  <a:lnTo>
                    <a:pt x="15085" y="7500"/>
                  </a:lnTo>
                  <a:lnTo>
                    <a:pt x="15076" y="7530"/>
                  </a:lnTo>
                  <a:lnTo>
                    <a:pt x="15066" y="7561"/>
                  </a:lnTo>
                  <a:lnTo>
                    <a:pt x="15054" y="7592"/>
                  </a:lnTo>
                  <a:lnTo>
                    <a:pt x="15041" y="7622"/>
                  </a:lnTo>
                  <a:lnTo>
                    <a:pt x="15025" y="7653"/>
                  </a:lnTo>
                  <a:lnTo>
                    <a:pt x="15008" y="7683"/>
                  </a:lnTo>
                  <a:lnTo>
                    <a:pt x="14988" y="7714"/>
                  </a:lnTo>
                  <a:lnTo>
                    <a:pt x="14965" y="7743"/>
                  </a:lnTo>
                  <a:lnTo>
                    <a:pt x="14941" y="7772"/>
                  </a:lnTo>
                  <a:lnTo>
                    <a:pt x="14914" y="7800"/>
                  </a:lnTo>
                  <a:lnTo>
                    <a:pt x="14884" y="7828"/>
                  </a:lnTo>
                  <a:lnTo>
                    <a:pt x="14852" y="7854"/>
                  </a:lnTo>
                  <a:lnTo>
                    <a:pt x="14816" y="7880"/>
                  </a:lnTo>
                  <a:lnTo>
                    <a:pt x="14777" y="7904"/>
                  </a:lnTo>
                  <a:lnTo>
                    <a:pt x="14736" y="7927"/>
                  </a:lnTo>
                  <a:lnTo>
                    <a:pt x="14690" y="7948"/>
                  </a:lnTo>
                  <a:lnTo>
                    <a:pt x="14642" y="7967"/>
                  </a:lnTo>
                  <a:lnTo>
                    <a:pt x="14589" y="7985"/>
                  </a:lnTo>
                  <a:lnTo>
                    <a:pt x="14534" y="8000"/>
                  </a:lnTo>
                  <a:lnTo>
                    <a:pt x="14474" y="8014"/>
                  </a:lnTo>
                  <a:lnTo>
                    <a:pt x="14411" y="8026"/>
                  </a:lnTo>
                  <a:lnTo>
                    <a:pt x="14343" y="8035"/>
                  </a:lnTo>
                  <a:lnTo>
                    <a:pt x="14272" y="8041"/>
                  </a:lnTo>
                  <a:lnTo>
                    <a:pt x="14196" y="8046"/>
                  </a:lnTo>
                  <a:lnTo>
                    <a:pt x="14116" y="8048"/>
                  </a:lnTo>
                  <a:lnTo>
                    <a:pt x="13107" y="8048"/>
                  </a:lnTo>
                  <a:lnTo>
                    <a:pt x="13094" y="8048"/>
                  </a:lnTo>
                  <a:lnTo>
                    <a:pt x="13081" y="8049"/>
                  </a:lnTo>
                  <a:lnTo>
                    <a:pt x="13069" y="8051"/>
                  </a:lnTo>
                  <a:lnTo>
                    <a:pt x="13057" y="8053"/>
                  </a:lnTo>
                  <a:lnTo>
                    <a:pt x="13044" y="8056"/>
                  </a:lnTo>
                  <a:lnTo>
                    <a:pt x="13033" y="8059"/>
                  </a:lnTo>
                  <a:lnTo>
                    <a:pt x="13021" y="8063"/>
                  </a:lnTo>
                  <a:lnTo>
                    <a:pt x="13009" y="8068"/>
                  </a:lnTo>
                  <a:lnTo>
                    <a:pt x="12998" y="8073"/>
                  </a:lnTo>
                  <a:lnTo>
                    <a:pt x="12987" y="8078"/>
                  </a:lnTo>
                  <a:lnTo>
                    <a:pt x="12976" y="8084"/>
                  </a:lnTo>
                  <a:lnTo>
                    <a:pt x="12966" y="8091"/>
                  </a:lnTo>
                  <a:lnTo>
                    <a:pt x="12956" y="8098"/>
                  </a:lnTo>
                  <a:lnTo>
                    <a:pt x="12947" y="8105"/>
                  </a:lnTo>
                  <a:lnTo>
                    <a:pt x="12938" y="8113"/>
                  </a:lnTo>
                  <a:lnTo>
                    <a:pt x="12929" y="8121"/>
                  </a:lnTo>
                  <a:lnTo>
                    <a:pt x="12921" y="8130"/>
                  </a:lnTo>
                  <a:lnTo>
                    <a:pt x="12913" y="8139"/>
                  </a:lnTo>
                  <a:lnTo>
                    <a:pt x="12906" y="8148"/>
                  </a:lnTo>
                  <a:lnTo>
                    <a:pt x="12899" y="8158"/>
                  </a:lnTo>
                  <a:lnTo>
                    <a:pt x="12891" y="8168"/>
                  </a:lnTo>
                  <a:lnTo>
                    <a:pt x="12885" y="8179"/>
                  </a:lnTo>
                  <a:lnTo>
                    <a:pt x="12880" y="8189"/>
                  </a:lnTo>
                  <a:lnTo>
                    <a:pt x="12875" y="8200"/>
                  </a:lnTo>
                  <a:lnTo>
                    <a:pt x="12870" y="8212"/>
                  </a:lnTo>
                  <a:lnTo>
                    <a:pt x="12866" y="8224"/>
                  </a:lnTo>
                  <a:lnTo>
                    <a:pt x="12863" y="8236"/>
                  </a:lnTo>
                  <a:lnTo>
                    <a:pt x="12860" y="8248"/>
                  </a:lnTo>
                  <a:lnTo>
                    <a:pt x="12858" y="8261"/>
                  </a:lnTo>
                  <a:lnTo>
                    <a:pt x="12856" y="8273"/>
                  </a:lnTo>
                  <a:lnTo>
                    <a:pt x="12855" y="8286"/>
                  </a:lnTo>
                  <a:lnTo>
                    <a:pt x="12855" y="8299"/>
                  </a:lnTo>
                  <a:lnTo>
                    <a:pt x="12855" y="8312"/>
                  </a:lnTo>
                  <a:lnTo>
                    <a:pt x="12856" y="8324"/>
                  </a:lnTo>
                  <a:lnTo>
                    <a:pt x="12858" y="8337"/>
                  </a:lnTo>
                  <a:lnTo>
                    <a:pt x="12860" y="8349"/>
                  </a:lnTo>
                  <a:lnTo>
                    <a:pt x="12863" y="8361"/>
                  </a:lnTo>
                  <a:lnTo>
                    <a:pt x="12866" y="8373"/>
                  </a:lnTo>
                  <a:lnTo>
                    <a:pt x="12870" y="8385"/>
                  </a:lnTo>
                  <a:lnTo>
                    <a:pt x="12875" y="8397"/>
                  </a:lnTo>
                  <a:lnTo>
                    <a:pt x="12880" y="8408"/>
                  </a:lnTo>
                  <a:lnTo>
                    <a:pt x="12885" y="8419"/>
                  </a:lnTo>
                  <a:lnTo>
                    <a:pt x="12891" y="8430"/>
                  </a:lnTo>
                  <a:lnTo>
                    <a:pt x="12899" y="8440"/>
                  </a:lnTo>
                  <a:lnTo>
                    <a:pt x="12906" y="8450"/>
                  </a:lnTo>
                  <a:lnTo>
                    <a:pt x="12913" y="8459"/>
                  </a:lnTo>
                  <a:lnTo>
                    <a:pt x="12921" y="8468"/>
                  </a:lnTo>
                  <a:lnTo>
                    <a:pt x="12929" y="8477"/>
                  </a:lnTo>
                  <a:lnTo>
                    <a:pt x="12938" y="8485"/>
                  </a:lnTo>
                  <a:lnTo>
                    <a:pt x="12947" y="8493"/>
                  </a:lnTo>
                  <a:lnTo>
                    <a:pt x="12956" y="8500"/>
                  </a:lnTo>
                  <a:lnTo>
                    <a:pt x="12966" y="8507"/>
                  </a:lnTo>
                  <a:lnTo>
                    <a:pt x="12976" y="8514"/>
                  </a:lnTo>
                  <a:lnTo>
                    <a:pt x="12987" y="8520"/>
                  </a:lnTo>
                  <a:lnTo>
                    <a:pt x="12998" y="8525"/>
                  </a:lnTo>
                  <a:lnTo>
                    <a:pt x="13009" y="8530"/>
                  </a:lnTo>
                  <a:lnTo>
                    <a:pt x="13021" y="8535"/>
                  </a:lnTo>
                  <a:lnTo>
                    <a:pt x="13033" y="8539"/>
                  </a:lnTo>
                  <a:lnTo>
                    <a:pt x="13044" y="8542"/>
                  </a:lnTo>
                  <a:lnTo>
                    <a:pt x="13057" y="8545"/>
                  </a:lnTo>
                  <a:lnTo>
                    <a:pt x="13069" y="8547"/>
                  </a:lnTo>
                  <a:lnTo>
                    <a:pt x="13081" y="8549"/>
                  </a:lnTo>
                  <a:lnTo>
                    <a:pt x="13094" y="8550"/>
                  </a:lnTo>
                  <a:lnTo>
                    <a:pt x="13107" y="8550"/>
                  </a:lnTo>
                  <a:lnTo>
                    <a:pt x="14084" y="8550"/>
                  </a:lnTo>
                  <a:lnTo>
                    <a:pt x="14153" y="8552"/>
                  </a:lnTo>
                  <a:lnTo>
                    <a:pt x="14218" y="8558"/>
                  </a:lnTo>
                  <a:lnTo>
                    <a:pt x="14280" y="8567"/>
                  </a:lnTo>
                  <a:lnTo>
                    <a:pt x="14338" y="8578"/>
                  </a:lnTo>
                  <a:lnTo>
                    <a:pt x="14393" y="8593"/>
                  </a:lnTo>
                  <a:lnTo>
                    <a:pt x="14443" y="8610"/>
                  </a:lnTo>
                  <a:lnTo>
                    <a:pt x="14492" y="8630"/>
                  </a:lnTo>
                  <a:lnTo>
                    <a:pt x="14536" y="8653"/>
                  </a:lnTo>
                  <a:lnTo>
                    <a:pt x="14577" y="8678"/>
                  </a:lnTo>
                  <a:lnTo>
                    <a:pt x="14617" y="8704"/>
                  </a:lnTo>
                  <a:lnTo>
                    <a:pt x="14652" y="8734"/>
                  </a:lnTo>
                  <a:lnTo>
                    <a:pt x="14684" y="8765"/>
                  </a:lnTo>
                  <a:lnTo>
                    <a:pt x="14714" y="8797"/>
                  </a:lnTo>
                  <a:lnTo>
                    <a:pt x="14742" y="8830"/>
                  </a:lnTo>
                  <a:lnTo>
                    <a:pt x="14767" y="8865"/>
                  </a:lnTo>
                  <a:lnTo>
                    <a:pt x="14789" y="8901"/>
                  </a:lnTo>
                  <a:lnTo>
                    <a:pt x="14809" y="8938"/>
                  </a:lnTo>
                  <a:lnTo>
                    <a:pt x="14827" y="8975"/>
                  </a:lnTo>
                  <a:lnTo>
                    <a:pt x="14842" y="9013"/>
                  </a:lnTo>
                  <a:lnTo>
                    <a:pt x="14857" y="9051"/>
                  </a:lnTo>
                  <a:lnTo>
                    <a:pt x="14868" y="9091"/>
                  </a:lnTo>
                  <a:lnTo>
                    <a:pt x="14878" y="9129"/>
                  </a:lnTo>
                  <a:lnTo>
                    <a:pt x="14886" y="9167"/>
                  </a:lnTo>
                  <a:lnTo>
                    <a:pt x="14892" y="9205"/>
                  </a:lnTo>
                  <a:lnTo>
                    <a:pt x="14896" y="9244"/>
                  </a:lnTo>
                  <a:lnTo>
                    <a:pt x="14899" y="9280"/>
                  </a:lnTo>
                  <a:lnTo>
                    <a:pt x="14901" y="9316"/>
                  </a:lnTo>
                  <a:lnTo>
                    <a:pt x="14901" y="9351"/>
                  </a:lnTo>
                  <a:lnTo>
                    <a:pt x="14900" y="9385"/>
                  </a:lnTo>
                  <a:lnTo>
                    <a:pt x="14898" y="9418"/>
                  </a:lnTo>
                  <a:lnTo>
                    <a:pt x="14895" y="9449"/>
                  </a:lnTo>
                  <a:lnTo>
                    <a:pt x="14891" y="9478"/>
                  </a:lnTo>
                  <a:lnTo>
                    <a:pt x="14885" y="9514"/>
                  </a:lnTo>
                  <a:lnTo>
                    <a:pt x="14878" y="9551"/>
                  </a:lnTo>
                  <a:lnTo>
                    <a:pt x="14870" y="9592"/>
                  </a:lnTo>
                  <a:lnTo>
                    <a:pt x="14862" y="9632"/>
                  </a:lnTo>
                  <a:lnTo>
                    <a:pt x="14852" y="9674"/>
                  </a:lnTo>
                  <a:lnTo>
                    <a:pt x="14840" y="9717"/>
                  </a:lnTo>
                  <a:lnTo>
                    <a:pt x="14828" y="9762"/>
                  </a:lnTo>
                  <a:lnTo>
                    <a:pt x="14814" y="9806"/>
                  </a:lnTo>
                  <a:lnTo>
                    <a:pt x="14799" y="9850"/>
                  </a:lnTo>
                  <a:lnTo>
                    <a:pt x="14782" y="9895"/>
                  </a:lnTo>
                  <a:lnTo>
                    <a:pt x="14764" y="9941"/>
                  </a:lnTo>
                  <a:lnTo>
                    <a:pt x="14744" y="9986"/>
                  </a:lnTo>
                  <a:lnTo>
                    <a:pt x="14721" y="10030"/>
                  </a:lnTo>
                  <a:lnTo>
                    <a:pt x="14697" y="10074"/>
                  </a:lnTo>
                  <a:lnTo>
                    <a:pt x="14671" y="10118"/>
                  </a:lnTo>
                  <a:lnTo>
                    <a:pt x="14642" y="10161"/>
                  </a:lnTo>
                  <a:lnTo>
                    <a:pt x="14612" y="10202"/>
                  </a:lnTo>
                  <a:lnTo>
                    <a:pt x="14578" y="10242"/>
                  </a:lnTo>
                  <a:lnTo>
                    <a:pt x="14542" y="10281"/>
                  </a:lnTo>
                  <a:lnTo>
                    <a:pt x="14504" y="10318"/>
                  </a:lnTo>
                  <a:lnTo>
                    <a:pt x="14462" y="10353"/>
                  </a:lnTo>
                  <a:lnTo>
                    <a:pt x="14419" y="10386"/>
                  </a:lnTo>
                  <a:lnTo>
                    <a:pt x="14372" y="10417"/>
                  </a:lnTo>
                  <a:lnTo>
                    <a:pt x="14322" y="10446"/>
                  </a:lnTo>
                  <a:lnTo>
                    <a:pt x="14269" y="10472"/>
                  </a:lnTo>
                  <a:lnTo>
                    <a:pt x="14212" y="10494"/>
                  </a:lnTo>
                  <a:lnTo>
                    <a:pt x="14153" y="10514"/>
                  </a:lnTo>
                  <a:lnTo>
                    <a:pt x="14089" y="10531"/>
                  </a:lnTo>
                  <a:lnTo>
                    <a:pt x="14023" y="10544"/>
                  </a:lnTo>
                  <a:lnTo>
                    <a:pt x="13953" y="10554"/>
                  </a:lnTo>
                  <a:lnTo>
                    <a:pt x="13879" y="10560"/>
                  </a:lnTo>
                  <a:lnTo>
                    <a:pt x="13801" y="10562"/>
                  </a:lnTo>
                  <a:lnTo>
                    <a:pt x="12603" y="10562"/>
                  </a:lnTo>
                  <a:lnTo>
                    <a:pt x="12590" y="10562"/>
                  </a:lnTo>
                  <a:lnTo>
                    <a:pt x="12577" y="10563"/>
                  </a:lnTo>
                  <a:lnTo>
                    <a:pt x="12565" y="10565"/>
                  </a:lnTo>
                  <a:lnTo>
                    <a:pt x="12553" y="10567"/>
                  </a:lnTo>
                  <a:lnTo>
                    <a:pt x="12540" y="10570"/>
                  </a:lnTo>
                  <a:lnTo>
                    <a:pt x="12529" y="10573"/>
                  </a:lnTo>
                  <a:lnTo>
                    <a:pt x="12516" y="10577"/>
                  </a:lnTo>
                  <a:lnTo>
                    <a:pt x="12505" y="10582"/>
                  </a:lnTo>
                  <a:lnTo>
                    <a:pt x="12494" y="10587"/>
                  </a:lnTo>
                  <a:lnTo>
                    <a:pt x="12483" y="10593"/>
                  </a:lnTo>
                  <a:lnTo>
                    <a:pt x="12472" y="10599"/>
                  </a:lnTo>
                  <a:lnTo>
                    <a:pt x="12462" y="10606"/>
                  </a:lnTo>
                  <a:lnTo>
                    <a:pt x="12452" y="10612"/>
                  </a:lnTo>
                  <a:lnTo>
                    <a:pt x="12443" y="10620"/>
                  </a:lnTo>
                  <a:lnTo>
                    <a:pt x="12434" y="10628"/>
                  </a:lnTo>
                  <a:lnTo>
                    <a:pt x="12425" y="10636"/>
                  </a:lnTo>
                  <a:lnTo>
                    <a:pt x="12417" y="10645"/>
                  </a:lnTo>
                  <a:lnTo>
                    <a:pt x="12409" y="10654"/>
                  </a:lnTo>
                  <a:lnTo>
                    <a:pt x="12401" y="10663"/>
                  </a:lnTo>
                  <a:lnTo>
                    <a:pt x="12394" y="10673"/>
                  </a:lnTo>
                  <a:lnTo>
                    <a:pt x="12387" y="10683"/>
                  </a:lnTo>
                  <a:lnTo>
                    <a:pt x="12381" y="10694"/>
                  </a:lnTo>
                  <a:lnTo>
                    <a:pt x="12376" y="10704"/>
                  </a:lnTo>
                  <a:lnTo>
                    <a:pt x="12371" y="10715"/>
                  </a:lnTo>
                  <a:lnTo>
                    <a:pt x="12366" y="10727"/>
                  </a:lnTo>
                  <a:lnTo>
                    <a:pt x="12362" y="10738"/>
                  </a:lnTo>
                  <a:lnTo>
                    <a:pt x="12359" y="10750"/>
                  </a:lnTo>
                  <a:lnTo>
                    <a:pt x="12356" y="10763"/>
                  </a:lnTo>
                  <a:lnTo>
                    <a:pt x="12354" y="10776"/>
                  </a:lnTo>
                  <a:lnTo>
                    <a:pt x="12352" y="10788"/>
                  </a:lnTo>
                  <a:lnTo>
                    <a:pt x="12351" y="10801"/>
                  </a:lnTo>
                  <a:lnTo>
                    <a:pt x="12351" y="10814"/>
                  </a:lnTo>
                  <a:lnTo>
                    <a:pt x="12351" y="10827"/>
                  </a:lnTo>
                  <a:lnTo>
                    <a:pt x="12352" y="10839"/>
                  </a:lnTo>
                  <a:lnTo>
                    <a:pt x="12354" y="10852"/>
                  </a:lnTo>
                  <a:lnTo>
                    <a:pt x="12356" y="10864"/>
                  </a:lnTo>
                  <a:lnTo>
                    <a:pt x="12359" y="10876"/>
                  </a:lnTo>
                  <a:lnTo>
                    <a:pt x="12362" y="10888"/>
                  </a:lnTo>
                  <a:lnTo>
                    <a:pt x="12366" y="10900"/>
                  </a:lnTo>
                  <a:lnTo>
                    <a:pt x="12371" y="10911"/>
                  </a:lnTo>
                  <a:lnTo>
                    <a:pt x="12376" y="10922"/>
                  </a:lnTo>
                  <a:lnTo>
                    <a:pt x="12381" y="10934"/>
                  </a:lnTo>
                  <a:lnTo>
                    <a:pt x="12387" y="10945"/>
                  </a:lnTo>
                  <a:lnTo>
                    <a:pt x="12394" y="10955"/>
                  </a:lnTo>
                  <a:lnTo>
                    <a:pt x="12401" y="10964"/>
                  </a:lnTo>
                  <a:lnTo>
                    <a:pt x="12409" y="10974"/>
                  </a:lnTo>
                  <a:lnTo>
                    <a:pt x="12417" y="10983"/>
                  </a:lnTo>
                  <a:lnTo>
                    <a:pt x="12425" y="10992"/>
                  </a:lnTo>
                  <a:lnTo>
                    <a:pt x="12434" y="11000"/>
                  </a:lnTo>
                  <a:lnTo>
                    <a:pt x="12443" y="11008"/>
                  </a:lnTo>
                  <a:lnTo>
                    <a:pt x="12452" y="11015"/>
                  </a:lnTo>
                  <a:lnTo>
                    <a:pt x="12462" y="11022"/>
                  </a:lnTo>
                  <a:lnTo>
                    <a:pt x="12472" y="11029"/>
                  </a:lnTo>
                  <a:lnTo>
                    <a:pt x="12483" y="11035"/>
                  </a:lnTo>
                  <a:lnTo>
                    <a:pt x="12494" y="11040"/>
                  </a:lnTo>
                  <a:lnTo>
                    <a:pt x="12505" y="11045"/>
                  </a:lnTo>
                  <a:lnTo>
                    <a:pt x="12516" y="11050"/>
                  </a:lnTo>
                  <a:lnTo>
                    <a:pt x="12529" y="11054"/>
                  </a:lnTo>
                  <a:lnTo>
                    <a:pt x="12540" y="11057"/>
                  </a:lnTo>
                  <a:lnTo>
                    <a:pt x="12553" y="11060"/>
                  </a:lnTo>
                  <a:lnTo>
                    <a:pt x="12565" y="11062"/>
                  </a:lnTo>
                  <a:lnTo>
                    <a:pt x="12577" y="11064"/>
                  </a:lnTo>
                  <a:lnTo>
                    <a:pt x="12590" y="11065"/>
                  </a:lnTo>
                  <a:lnTo>
                    <a:pt x="12603" y="11065"/>
                  </a:lnTo>
                  <a:lnTo>
                    <a:pt x="13595" y="11065"/>
                  </a:lnTo>
                  <a:lnTo>
                    <a:pt x="13673" y="11067"/>
                  </a:lnTo>
                  <a:lnTo>
                    <a:pt x="13744" y="11072"/>
                  </a:lnTo>
                  <a:lnTo>
                    <a:pt x="13811" y="11081"/>
                  </a:lnTo>
                  <a:lnTo>
                    <a:pt x="13874" y="11093"/>
                  </a:lnTo>
                  <a:lnTo>
                    <a:pt x="13930" y="11110"/>
                  </a:lnTo>
                  <a:lnTo>
                    <a:pt x="13982" y="11128"/>
                  </a:lnTo>
                  <a:lnTo>
                    <a:pt x="14031" y="11149"/>
                  </a:lnTo>
                  <a:lnTo>
                    <a:pt x="14074" y="11173"/>
                  </a:lnTo>
                  <a:lnTo>
                    <a:pt x="14113" y="11199"/>
                  </a:lnTo>
                  <a:lnTo>
                    <a:pt x="14149" y="11227"/>
                  </a:lnTo>
                  <a:lnTo>
                    <a:pt x="14181" y="11257"/>
                  </a:lnTo>
                  <a:lnTo>
                    <a:pt x="14209" y="11291"/>
                  </a:lnTo>
                  <a:lnTo>
                    <a:pt x="14233" y="11325"/>
                  </a:lnTo>
                  <a:lnTo>
                    <a:pt x="14255" y="11361"/>
                  </a:lnTo>
                  <a:lnTo>
                    <a:pt x="14273" y="11398"/>
                  </a:lnTo>
                  <a:lnTo>
                    <a:pt x="14288" y="11438"/>
                  </a:lnTo>
                  <a:lnTo>
                    <a:pt x="14300" y="11477"/>
                  </a:lnTo>
                  <a:lnTo>
                    <a:pt x="14309" y="11518"/>
                  </a:lnTo>
                  <a:lnTo>
                    <a:pt x="14316" y="11560"/>
                  </a:lnTo>
                  <a:lnTo>
                    <a:pt x="14321" y="11602"/>
                  </a:lnTo>
                  <a:lnTo>
                    <a:pt x="14323" y="11645"/>
                  </a:lnTo>
                  <a:lnTo>
                    <a:pt x="14323" y="11688"/>
                  </a:lnTo>
                  <a:lnTo>
                    <a:pt x="14322" y="11731"/>
                  </a:lnTo>
                  <a:lnTo>
                    <a:pt x="14319" y="11774"/>
                  </a:lnTo>
                  <a:lnTo>
                    <a:pt x="14314" y="11818"/>
                  </a:lnTo>
                  <a:lnTo>
                    <a:pt x="14308" y="11860"/>
                  </a:lnTo>
                  <a:lnTo>
                    <a:pt x="14300" y="11902"/>
                  </a:lnTo>
                  <a:lnTo>
                    <a:pt x="14292" y="11943"/>
                  </a:lnTo>
                  <a:lnTo>
                    <a:pt x="14282" y="11984"/>
                  </a:lnTo>
                  <a:lnTo>
                    <a:pt x="14272" y="12024"/>
                  </a:lnTo>
                  <a:lnTo>
                    <a:pt x="14261" y="12062"/>
                  </a:lnTo>
                  <a:lnTo>
                    <a:pt x="14250" y="12098"/>
                  </a:lnTo>
                  <a:lnTo>
                    <a:pt x="14220" y="12193"/>
                  </a:lnTo>
                  <a:lnTo>
                    <a:pt x="14190" y="12287"/>
                  </a:lnTo>
                  <a:lnTo>
                    <a:pt x="14175" y="12333"/>
                  </a:lnTo>
                  <a:lnTo>
                    <a:pt x="14159" y="12377"/>
                  </a:lnTo>
                  <a:lnTo>
                    <a:pt x="14143" y="12422"/>
                  </a:lnTo>
                  <a:lnTo>
                    <a:pt x="14125" y="12466"/>
                  </a:lnTo>
                  <a:lnTo>
                    <a:pt x="14105" y="12509"/>
                  </a:lnTo>
                  <a:lnTo>
                    <a:pt x="14086" y="12551"/>
                  </a:lnTo>
                  <a:lnTo>
                    <a:pt x="14064" y="12591"/>
                  </a:lnTo>
                  <a:lnTo>
                    <a:pt x="14041" y="12632"/>
                  </a:lnTo>
                  <a:lnTo>
                    <a:pt x="14016" y="12670"/>
                  </a:lnTo>
                  <a:lnTo>
                    <a:pt x="13987" y="12707"/>
                  </a:lnTo>
                  <a:lnTo>
                    <a:pt x="13958" y="12743"/>
                  </a:lnTo>
                  <a:lnTo>
                    <a:pt x="13926" y="12778"/>
                  </a:lnTo>
                  <a:lnTo>
                    <a:pt x="13891" y="12812"/>
                  </a:lnTo>
                  <a:lnTo>
                    <a:pt x="13853" y="12843"/>
                  </a:lnTo>
                  <a:lnTo>
                    <a:pt x="13812" y="12873"/>
                  </a:lnTo>
                  <a:lnTo>
                    <a:pt x="13769" y="12901"/>
                  </a:lnTo>
                  <a:lnTo>
                    <a:pt x="13721" y="12928"/>
                  </a:lnTo>
                  <a:lnTo>
                    <a:pt x="13670" y="12952"/>
                  </a:lnTo>
                  <a:lnTo>
                    <a:pt x="13615" y="12976"/>
                  </a:lnTo>
                  <a:lnTo>
                    <a:pt x="13556" y="12996"/>
                  </a:lnTo>
                  <a:lnTo>
                    <a:pt x="13493" y="13014"/>
                  </a:lnTo>
                  <a:lnTo>
                    <a:pt x="13426" y="13030"/>
                  </a:lnTo>
                  <a:lnTo>
                    <a:pt x="13354" y="13044"/>
                  </a:lnTo>
                  <a:lnTo>
                    <a:pt x="13277" y="13056"/>
                  </a:lnTo>
                  <a:lnTo>
                    <a:pt x="13195" y="13065"/>
                  </a:lnTo>
                  <a:lnTo>
                    <a:pt x="13108" y="13072"/>
                  </a:lnTo>
                  <a:lnTo>
                    <a:pt x="13017" y="13076"/>
                  </a:lnTo>
                  <a:lnTo>
                    <a:pt x="12919" y="13077"/>
                  </a:lnTo>
                  <a:lnTo>
                    <a:pt x="12097" y="13077"/>
                  </a:lnTo>
                  <a:lnTo>
                    <a:pt x="12084" y="13077"/>
                  </a:lnTo>
                  <a:lnTo>
                    <a:pt x="12071" y="13078"/>
                  </a:lnTo>
                  <a:lnTo>
                    <a:pt x="12058" y="13080"/>
                  </a:lnTo>
                  <a:lnTo>
                    <a:pt x="12046" y="13082"/>
                  </a:lnTo>
                  <a:lnTo>
                    <a:pt x="12033" y="13085"/>
                  </a:lnTo>
                  <a:lnTo>
                    <a:pt x="12021" y="13088"/>
                  </a:lnTo>
                  <a:lnTo>
                    <a:pt x="12009" y="13092"/>
                  </a:lnTo>
                  <a:lnTo>
                    <a:pt x="11998" y="13097"/>
                  </a:lnTo>
                  <a:lnTo>
                    <a:pt x="11987" y="13102"/>
                  </a:lnTo>
                  <a:lnTo>
                    <a:pt x="11976" y="13107"/>
                  </a:lnTo>
                  <a:lnTo>
                    <a:pt x="11966" y="13113"/>
                  </a:lnTo>
                  <a:lnTo>
                    <a:pt x="11956" y="13120"/>
                  </a:lnTo>
                  <a:lnTo>
                    <a:pt x="11946" y="13127"/>
                  </a:lnTo>
                  <a:lnTo>
                    <a:pt x="11936" y="13135"/>
                  </a:lnTo>
                  <a:lnTo>
                    <a:pt x="11927" y="13143"/>
                  </a:lnTo>
                  <a:lnTo>
                    <a:pt x="11919" y="13151"/>
                  </a:lnTo>
                  <a:lnTo>
                    <a:pt x="11909" y="13160"/>
                  </a:lnTo>
                  <a:lnTo>
                    <a:pt x="11901" y="13169"/>
                  </a:lnTo>
                  <a:lnTo>
                    <a:pt x="11894" y="13178"/>
                  </a:lnTo>
                  <a:lnTo>
                    <a:pt x="11887" y="13188"/>
                  </a:lnTo>
                  <a:lnTo>
                    <a:pt x="11881" y="13198"/>
                  </a:lnTo>
                  <a:lnTo>
                    <a:pt x="11875" y="13209"/>
                  </a:lnTo>
                  <a:lnTo>
                    <a:pt x="11869" y="13219"/>
                  </a:lnTo>
                  <a:lnTo>
                    <a:pt x="11864" y="13230"/>
                  </a:lnTo>
                  <a:lnTo>
                    <a:pt x="11860" y="13242"/>
                  </a:lnTo>
                  <a:lnTo>
                    <a:pt x="11856" y="13253"/>
                  </a:lnTo>
                  <a:lnTo>
                    <a:pt x="11852" y="13265"/>
                  </a:lnTo>
                  <a:lnTo>
                    <a:pt x="11850" y="13277"/>
                  </a:lnTo>
                  <a:lnTo>
                    <a:pt x="11847" y="13290"/>
                  </a:lnTo>
                  <a:lnTo>
                    <a:pt x="11846" y="13303"/>
                  </a:lnTo>
                  <a:lnTo>
                    <a:pt x="11845" y="13316"/>
                  </a:lnTo>
                  <a:lnTo>
                    <a:pt x="11845" y="13329"/>
                  </a:lnTo>
                  <a:lnTo>
                    <a:pt x="11845" y="13342"/>
                  </a:lnTo>
                  <a:lnTo>
                    <a:pt x="11846" y="13354"/>
                  </a:lnTo>
                  <a:lnTo>
                    <a:pt x="11847" y="13367"/>
                  </a:lnTo>
                  <a:lnTo>
                    <a:pt x="11850" y="13379"/>
                  </a:lnTo>
                  <a:lnTo>
                    <a:pt x="11852" y="13391"/>
                  </a:lnTo>
                  <a:lnTo>
                    <a:pt x="11856" y="13403"/>
                  </a:lnTo>
                  <a:lnTo>
                    <a:pt x="11860" y="13415"/>
                  </a:lnTo>
                  <a:lnTo>
                    <a:pt x="11864" y="13426"/>
                  </a:lnTo>
                  <a:lnTo>
                    <a:pt x="11869" y="13437"/>
                  </a:lnTo>
                  <a:lnTo>
                    <a:pt x="11875" y="13448"/>
                  </a:lnTo>
                  <a:lnTo>
                    <a:pt x="11881" y="13458"/>
                  </a:lnTo>
                  <a:lnTo>
                    <a:pt x="11887" y="13468"/>
                  </a:lnTo>
                  <a:lnTo>
                    <a:pt x="11894" y="13479"/>
                  </a:lnTo>
                  <a:lnTo>
                    <a:pt x="11901" y="13489"/>
                  </a:lnTo>
                  <a:lnTo>
                    <a:pt x="11909" y="13498"/>
                  </a:lnTo>
                  <a:lnTo>
                    <a:pt x="11919" y="13507"/>
                  </a:lnTo>
                  <a:lnTo>
                    <a:pt x="11927" y="13515"/>
                  </a:lnTo>
                  <a:lnTo>
                    <a:pt x="11936" y="13523"/>
                  </a:lnTo>
                  <a:lnTo>
                    <a:pt x="11946" y="13530"/>
                  </a:lnTo>
                  <a:lnTo>
                    <a:pt x="11956" y="13537"/>
                  </a:lnTo>
                  <a:lnTo>
                    <a:pt x="11966" y="13544"/>
                  </a:lnTo>
                  <a:lnTo>
                    <a:pt x="11976" y="13550"/>
                  </a:lnTo>
                  <a:lnTo>
                    <a:pt x="11987" y="13555"/>
                  </a:lnTo>
                  <a:lnTo>
                    <a:pt x="11998" y="13560"/>
                  </a:lnTo>
                  <a:lnTo>
                    <a:pt x="12009" y="13565"/>
                  </a:lnTo>
                  <a:lnTo>
                    <a:pt x="12021" y="13569"/>
                  </a:lnTo>
                  <a:lnTo>
                    <a:pt x="12033" y="13572"/>
                  </a:lnTo>
                  <a:lnTo>
                    <a:pt x="12046" y="13575"/>
                  </a:lnTo>
                  <a:lnTo>
                    <a:pt x="12058" y="13577"/>
                  </a:lnTo>
                  <a:lnTo>
                    <a:pt x="12071" y="13579"/>
                  </a:lnTo>
                  <a:lnTo>
                    <a:pt x="12084" y="13580"/>
                  </a:lnTo>
                  <a:lnTo>
                    <a:pt x="12097" y="13580"/>
                  </a:lnTo>
                  <a:lnTo>
                    <a:pt x="12886" y="13580"/>
                  </a:lnTo>
                  <a:lnTo>
                    <a:pt x="12937" y="13581"/>
                  </a:lnTo>
                  <a:lnTo>
                    <a:pt x="12984" y="13586"/>
                  </a:lnTo>
                  <a:lnTo>
                    <a:pt x="13029" y="13593"/>
                  </a:lnTo>
                  <a:lnTo>
                    <a:pt x="13070" y="13603"/>
                  </a:lnTo>
                  <a:lnTo>
                    <a:pt x="13108" y="13615"/>
                  </a:lnTo>
                  <a:lnTo>
                    <a:pt x="13145" y="13629"/>
                  </a:lnTo>
                  <a:lnTo>
                    <a:pt x="13178" y="13646"/>
                  </a:lnTo>
                  <a:lnTo>
                    <a:pt x="13209" y="13665"/>
                  </a:lnTo>
                  <a:lnTo>
                    <a:pt x="13237" y="13685"/>
                  </a:lnTo>
                  <a:lnTo>
                    <a:pt x="13264" y="13707"/>
                  </a:lnTo>
                  <a:lnTo>
                    <a:pt x="13288" y="13730"/>
                  </a:lnTo>
                  <a:lnTo>
                    <a:pt x="13309" y="13754"/>
                  </a:lnTo>
                  <a:lnTo>
                    <a:pt x="13328" y="13780"/>
                  </a:lnTo>
                  <a:lnTo>
                    <a:pt x="13346" y="13807"/>
                  </a:lnTo>
                  <a:lnTo>
                    <a:pt x="13361" y="13836"/>
                  </a:lnTo>
                  <a:lnTo>
                    <a:pt x="13375" y="13864"/>
                  </a:lnTo>
                  <a:lnTo>
                    <a:pt x="13388" y="13893"/>
                  </a:lnTo>
                  <a:lnTo>
                    <a:pt x="13398" y="13922"/>
                  </a:lnTo>
                  <a:lnTo>
                    <a:pt x="13406" y="13952"/>
                  </a:lnTo>
                  <a:lnTo>
                    <a:pt x="13413" y="13982"/>
                  </a:lnTo>
                  <a:lnTo>
                    <a:pt x="13419" y="14011"/>
                  </a:lnTo>
                  <a:lnTo>
                    <a:pt x="13423" y="14041"/>
                  </a:lnTo>
                  <a:lnTo>
                    <a:pt x="13426" y="14070"/>
                  </a:lnTo>
                  <a:lnTo>
                    <a:pt x="13427" y="14098"/>
                  </a:lnTo>
                  <a:lnTo>
                    <a:pt x="13428" y="14126"/>
                  </a:lnTo>
                  <a:lnTo>
                    <a:pt x="13427" y="14153"/>
                  </a:lnTo>
                  <a:lnTo>
                    <a:pt x="13426" y="14179"/>
                  </a:lnTo>
                  <a:lnTo>
                    <a:pt x="13424" y="14204"/>
                  </a:lnTo>
                  <a:lnTo>
                    <a:pt x="13420" y="14227"/>
                  </a:lnTo>
                  <a:lnTo>
                    <a:pt x="13417" y="14249"/>
                  </a:lnTo>
                  <a:lnTo>
                    <a:pt x="13412" y="14269"/>
                  </a:lnTo>
                  <a:lnTo>
                    <a:pt x="13407" y="14287"/>
                  </a:lnTo>
                  <a:lnTo>
                    <a:pt x="13383" y="14361"/>
                  </a:lnTo>
                  <a:lnTo>
                    <a:pt x="13358" y="14429"/>
                  </a:lnTo>
                  <a:lnTo>
                    <a:pt x="13335" y="14490"/>
                  </a:lnTo>
                  <a:lnTo>
                    <a:pt x="13314" y="14543"/>
                  </a:lnTo>
                  <a:lnTo>
                    <a:pt x="13296" y="14586"/>
                  </a:lnTo>
                  <a:lnTo>
                    <a:pt x="13281" y="14619"/>
                  </a:lnTo>
                  <a:lnTo>
                    <a:pt x="13271" y="14640"/>
                  </a:lnTo>
                  <a:lnTo>
                    <a:pt x="13266" y="14649"/>
                  </a:lnTo>
                  <a:lnTo>
                    <a:pt x="13251" y="14676"/>
                  </a:lnTo>
                  <a:lnTo>
                    <a:pt x="13236" y="14700"/>
                  </a:lnTo>
                  <a:lnTo>
                    <a:pt x="13220" y="14724"/>
                  </a:lnTo>
                  <a:lnTo>
                    <a:pt x="13204" y="14747"/>
                  </a:lnTo>
                  <a:lnTo>
                    <a:pt x="13187" y="14770"/>
                  </a:lnTo>
                  <a:lnTo>
                    <a:pt x="13169" y="14792"/>
                  </a:lnTo>
                  <a:lnTo>
                    <a:pt x="13151" y="14813"/>
                  </a:lnTo>
                  <a:lnTo>
                    <a:pt x="13131" y="14835"/>
                  </a:lnTo>
                  <a:lnTo>
                    <a:pt x="13111" y="14854"/>
                  </a:lnTo>
                  <a:lnTo>
                    <a:pt x="13090" y="14873"/>
                  </a:lnTo>
                  <a:lnTo>
                    <a:pt x="13068" y="14892"/>
                  </a:lnTo>
                  <a:lnTo>
                    <a:pt x="13046" y="14909"/>
                  </a:lnTo>
                  <a:lnTo>
                    <a:pt x="13022" y="14926"/>
                  </a:lnTo>
                  <a:lnTo>
                    <a:pt x="12997" y="14942"/>
                  </a:lnTo>
                  <a:lnTo>
                    <a:pt x="12971" y="14957"/>
                  </a:lnTo>
                  <a:lnTo>
                    <a:pt x="12945" y="14972"/>
                  </a:lnTo>
                  <a:lnTo>
                    <a:pt x="12917" y="14986"/>
                  </a:lnTo>
                  <a:lnTo>
                    <a:pt x="12888" y="14999"/>
                  </a:lnTo>
                  <a:lnTo>
                    <a:pt x="12858" y="15011"/>
                  </a:lnTo>
                  <a:lnTo>
                    <a:pt x="12827" y="15023"/>
                  </a:lnTo>
                  <a:lnTo>
                    <a:pt x="12795" y="15033"/>
                  </a:lnTo>
                  <a:lnTo>
                    <a:pt x="12760" y="15043"/>
                  </a:lnTo>
                  <a:lnTo>
                    <a:pt x="12726" y="15051"/>
                  </a:lnTo>
                  <a:lnTo>
                    <a:pt x="12690" y="15059"/>
                  </a:lnTo>
                  <a:lnTo>
                    <a:pt x="12653" y="15066"/>
                  </a:lnTo>
                  <a:lnTo>
                    <a:pt x="12613" y="15072"/>
                  </a:lnTo>
                  <a:lnTo>
                    <a:pt x="12573" y="15077"/>
                  </a:lnTo>
                  <a:lnTo>
                    <a:pt x="12531" y="15081"/>
                  </a:lnTo>
                  <a:lnTo>
                    <a:pt x="12487" y="15085"/>
                  </a:lnTo>
                  <a:lnTo>
                    <a:pt x="12443" y="15087"/>
                  </a:lnTo>
                  <a:lnTo>
                    <a:pt x="12396" y="15088"/>
                  </a:lnTo>
                  <a:lnTo>
                    <a:pt x="12349" y="15089"/>
                  </a:lnTo>
                  <a:lnTo>
                    <a:pt x="9592" y="15089"/>
                  </a:lnTo>
                  <a:lnTo>
                    <a:pt x="9463" y="15088"/>
                  </a:lnTo>
                  <a:lnTo>
                    <a:pt x="9333" y="15085"/>
                  </a:lnTo>
                  <a:lnTo>
                    <a:pt x="9205" y="15081"/>
                  </a:lnTo>
                  <a:lnTo>
                    <a:pt x="9077" y="15076"/>
                  </a:lnTo>
                  <a:lnTo>
                    <a:pt x="8950" y="15069"/>
                  </a:lnTo>
                  <a:lnTo>
                    <a:pt x="8824" y="15060"/>
                  </a:lnTo>
                  <a:lnTo>
                    <a:pt x="8700" y="15051"/>
                  </a:lnTo>
                  <a:lnTo>
                    <a:pt x="8577" y="15040"/>
                  </a:lnTo>
                  <a:lnTo>
                    <a:pt x="8457" y="15029"/>
                  </a:lnTo>
                  <a:lnTo>
                    <a:pt x="8338" y="15016"/>
                  </a:lnTo>
                  <a:lnTo>
                    <a:pt x="8223" y="15004"/>
                  </a:lnTo>
                  <a:lnTo>
                    <a:pt x="8110" y="14989"/>
                  </a:lnTo>
                  <a:lnTo>
                    <a:pt x="7999" y="14975"/>
                  </a:lnTo>
                  <a:lnTo>
                    <a:pt x="7893" y="14961"/>
                  </a:lnTo>
                  <a:lnTo>
                    <a:pt x="7790" y="14946"/>
                  </a:lnTo>
                  <a:lnTo>
                    <a:pt x="7690" y="14931"/>
                  </a:lnTo>
                  <a:lnTo>
                    <a:pt x="7594" y="14916"/>
                  </a:lnTo>
                  <a:lnTo>
                    <a:pt x="7503" y="14902"/>
                  </a:lnTo>
                  <a:lnTo>
                    <a:pt x="7416" y="14887"/>
                  </a:lnTo>
                  <a:lnTo>
                    <a:pt x="7334" y="14873"/>
                  </a:lnTo>
                  <a:lnTo>
                    <a:pt x="7184" y="14846"/>
                  </a:lnTo>
                  <a:lnTo>
                    <a:pt x="7056" y="14821"/>
                  </a:lnTo>
                  <a:lnTo>
                    <a:pt x="6952" y="14800"/>
                  </a:lnTo>
                  <a:lnTo>
                    <a:pt x="6873" y="14784"/>
                  </a:lnTo>
                  <a:lnTo>
                    <a:pt x="6822" y="14772"/>
                  </a:lnTo>
                  <a:lnTo>
                    <a:pt x="6800" y="14767"/>
                  </a:lnTo>
                  <a:lnTo>
                    <a:pt x="6430" y="14683"/>
                  </a:lnTo>
                  <a:lnTo>
                    <a:pt x="6103" y="14607"/>
                  </a:lnTo>
                  <a:lnTo>
                    <a:pt x="5818" y="14541"/>
                  </a:lnTo>
                  <a:lnTo>
                    <a:pt x="5570" y="14483"/>
                  </a:lnTo>
                  <a:lnTo>
                    <a:pt x="5356" y="14433"/>
                  </a:lnTo>
                  <a:lnTo>
                    <a:pt x="5174" y="14390"/>
                  </a:lnTo>
                  <a:lnTo>
                    <a:pt x="5022" y="14354"/>
                  </a:lnTo>
                  <a:lnTo>
                    <a:pt x="4895" y="14324"/>
                  </a:lnTo>
                  <a:lnTo>
                    <a:pt x="4791" y="14298"/>
                  </a:lnTo>
                  <a:lnTo>
                    <a:pt x="4709" y="14277"/>
                  </a:lnTo>
                  <a:lnTo>
                    <a:pt x="4642" y="14260"/>
                  </a:lnTo>
                  <a:lnTo>
                    <a:pt x="4590" y="14247"/>
                  </a:lnTo>
                  <a:lnTo>
                    <a:pt x="4548" y="14236"/>
                  </a:lnTo>
                  <a:lnTo>
                    <a:pt x="4516" y="14227"/>
                  </a:lnTo>
                  <a:lnTo>
                    <a:pt x="4489" y="14219"/>
                  </a:lnTo>
                  <a:lnTo>
                    <a:pt x="4464" y="14212"/>
                  </a:lnTo>
                  <a:lnTo>
                    <a:pt x="4445" y="14208"/>
                  </a:lnTo>
                  <a:lnTo>
                    <a:pt x="4397" y="14195"/>
                  </a:lnTo>
                  <a:lnTo>
                    <a:pt x="4365" y="14184"/>
                  </a:lnTo>
                  <a:lnTo>
                    <a:pt x="4328" y="14170"/>
                  </a:lnTo>
                  <a:lnTo>
                    <a:pt x="4309" y="14161"/>
                  </a:lnTo>
                  <a:lnTo>
                    <a:pt x="4290" y="14152"/>
                  </a:lnTo>
                  <a:lnTo>
                    <a:pt x="4270" y="14141"/>
                  </a:lnTo>
                  <a:lnTo>
                    <a:pt x="4250" y="14129"/>
                  </a:lnTo>
                  <a:lnTo>
                    <a:pt x="4231" y="14117"/>
                  </a:lnTo>
                  <a:lnTo>
                    <a:pt x="4210" y="14103"/>
                  </a:lnTo>
                  <a:lnTo>
                    <a:pt x="4191" y="14088"/>
                  </a:lnTo>
                  <a:lnTo>
                    <a:pt x="4172" y="14072"/>
                  </a:lnTo>
                  <a:lnTo>
                    <a:pt x="4154" y="14055"/>
                  </a:lnTo>
                  <a:lnTo>
                    <a:pt x="4136" y="14036"/>
                  </a:lnTo>
                  <a:lnTo>
                    <a:pt x="4119" y="14016"/>
                  </a:lnTo>
                  <a:lnTo>
                    <a:pt x="4104" y="13995"/>
                  </a:lnTo>
                  <a:lnTo>
                    <a:pt x="4089" y="13971"/>
                  </a:lnTo>
                  <a:lnTo>
                    <a:pt x="4076" y="13947"/>
                  </a:lnTo>
                  <a:lnTo>
                    <a:pt x="4065" y="13921"/>
                  </a:lnTo>
                  <a:lnTo>
                    <a:pt x="4055" y="13894"/>
                  </a:lnTo>
                  <a:lnTo>
                    <a:pt x="4047" y="13866"/>
                  </a:lnTo>
                  <a:lnTo>
                    <a:pt x="4042" y="13835"/>
                  </a:lnTo>
                  <a:lnTo>
                    <a:pt x="4038" y="13802"/>
                  </a:lnTo>
                  <a:lnTo>
                    <a:pt x="4037" y="13768"/>
                  </a:lnTo>
                  <a:lnTo>
                    <a:pt x="4033" y="6821"/>
                  </a:lnTo>
                  <a:lnTo>
                    <a:pt x="4033" y="6800"/>
                  </a:lnTo>
                  <a:lnTo>
                    <a:pt x="4035" y="6778"/>
                  </a:lnTo>
                  <a:lnTo>
                    <a:pt x="4037" y="6756"/>
                  </a:lnTo>
                  <a:lnTo>
                    <a:pt x="4040" y="6735"/>
                  </a:lnTo>
                  <a:lnTo>
                    <a:pt x="4044" y="6714"/>
                  </a:lnTo>
                  <a:lnTo>
                    <a:pt x="4048" y="6693"/>
                  </a:lnTo>
                  <a:lnTo>
                    <a:pt x="4054" y="6671"/>
                  </a:lnTo>
                  <a:lnTo>
                    <a:pt x="4060" y="6651"/>
                  </a:lnTo>
                  <a:lnTo>
                    <a:pt x="4067" y="6631"/>
                  </a:lnTo>
                  <a:lnTo>
                    <a:pt x="4075" y="6611"/>
                  </a:lnTo>
                  <a:lnTo>
                    <a:pt x="4084" y="6592"/>
                  </a:lnTo>
                  <a:lnTo>
                    <a:pt x="4093" y="6573"/>
                  </a:lnTo>
                  <a:lnTo>
                    <a:pt x="4105" y="6554"/>
                  </a:lnTo>
                  <a:lnTo>
                    <a:pt x="4115" y="6536"/>
                  </a:lnTo>
                  <a:lnTo>
                    <a:pt x="4127" y="6517"/>
                  </a:lnTo>
                  <a:lnTo>
                    <a:pt x="4140" y="6499"/>
                  </a:lnTo>
                  <a:lnTo>
                    <a:pt x="4153" y="6482"/>
                  </a:lnTo>
                  <a:lnTo>
                    <a:pt x="4167" y="6466"/>
                  </a:lnTo>
                  <a:lnTo>
                    <a:pt x="4181" y="6450"/>
                  </a:lnTo>
                  <a:lnTo>
                    <a:pt x="4197" y="6435"/>
                  </a:lnTo>
                  <a:lnTo>
                    <a:pt x="4213" y="6420"/>
                  </a:lnTo>
                  <a:lnTo>
                    <a:pt x="4230" y="6405"/>
                  </a:lnTo>
                  <a:lnTo>
                    <a:pt x="4248" y="6392"/>
                  </a:lnTo>
                  <a:lnTo>
                    <a:pt x="4266" y="6379"/>
                  </a:lnTo>
                  <a:lnTo>
                    <a:pt x="4284" y="6366"/>
                  </a:lnTo>
                  <a:lnTo>
                    <a:pt x="4303" y="6354"/>
                  </a:lnTo>
                  <a:lnTo>
                    <a:pt x="4323" y="6342"/>
                  </a:lnTo>
                  <a:lnTo>
                    <a:pt x="4345" y="6332"/>
                  </a:lnTo>
                  <a:lnTo>
                    <a:pt x="4366" y="6322"/>
                  </a:lnTo>
                  <a:lnTo>
                    <a:pt x="4388" y="6313"/>
                  </a:lnTo>
                  <a:lnTo>
                    <a:pt x="4410" y="6305"/>
                  </a:lnTo>
                  <a:lnTo>
                    <a:pt x="4433" y="6297"/>
                  </a:lnTo>
                  <a:lnTo>
                    <a:pt x="4458" y="6288"/>
                  </a:lnTo>
                  <a:lnTo>
                    <a:pt x="4486" y="6279"/>
                  </a:lnTo>
                  <a:lnTo>
                    <a:pt x="4513" y="6270"/>
                  </a:lnTo>
                  <a:lnTo>
                    <a:pt x="4537" y="6260"/>
                  </a:lnTo>
                  <a:lnTo>
                    <a:pt x="4749" y="6167"/>
                  </a:lnTo>
                  <a:lnTo>
                    <a:pt x="4951" y="6069"/>
                  </a:lnTo>
                  <a:lnTo>
                    <a:pt x="5143" y="5963"/>
                  </a:lnTo>
                  <a:lnTo>
                    <a:pt x="5328" y="5853"/>
                  </a:lnTo>
                  <a:lnTo>
                    <a:pt x="5503" y="5737"/>
                  </a:lnTo>
                  <a:lnTo>
                    <a:pt x="5669" y="5615"/>
                  </a:lnTo>
                  <a:lnTo>
                    <a:pt x="5829" y="5488"/>
                  </a:lnTo>
                  <a:lnTo>
                    <a:pt x="5979" y="5357"/>
                  </a:lnTo>
                  <a:lnTo>
                    <a:pt x="6121" y="5222"/>
                  </a:lnTo>
                  <a:lnTo>
                    <a:pt x="6255" y="5082"/>
                  </a:lnTo>
                  <a:lnTo>
                    <a:pt x="6382" y="4938"/>
                  </a:lnTo>
                  <a:lnTo>
                    <a:pt x="6501" y="4790"/>
                  </a:lnTo>
                  <a:lnTo>
                    <a:pt x="6613" y="4639"/>
                  </a:lnTo>
                  <a:lnTo>
                    <a:pt x="6717" y="4485"/>
                  </a:lnTo>
                  <a:lnTo>
                    <a:pt x="6815" y="4330"/>
                  </a:lnTo>
                  <a:lnTo>
                    <a:pt x="6906" y="4170"/>
                  </a:lnTo>
                  <a:lnTo>
                    <a:pt x="6989" y="4009"/>
                  </a:lnTo>
                  <a:lnTo>
                    <a:pt x="7067" y="3846"/>
                  </a:lnTo>
                  <a:lnTo>
                    <a:pt x="7138" y="3681"/>
                  </a:lnTo>
                  <a:lnTo>
                    <a:pt x="7203" y="3514"/>
                  </a:lnTo>
                  <a:lnTo>
                    <a:pt x="7262" y="3347"/>
                  </a:lnTo>
                  <a:lnTo>
                    <a:pt x="7315" y="3179"/>
                  </a:lnTo>
                  <a:lnTo>
                    <a:pt x="7362" y="3010"/>
                  </a:lnTo>
                  <a:lnTo>
                    <a:pt x="7405" y="2840"/>
                  </a:lnTo>
                  <a:lnTo>
                    <a:pt x="7441" y="2671"/>
                  </a:lnTo>
                  <a:lnTo>
                    <a:pt x="7472" y="2502"/>
                  </a:lnTo>
                  <a:lnTo>
                    <a:pt x="7498" y="2334"/>
                  </a:lnTo>
                  <a:lnTo>
                    <a:pt x="7521" y="2166"/>
                  </a:lnTo>
                  <a:lnTo>
                    <a:pt x="7538" y="2000"/>
                  </a:lnTo>
                  <a:lnTo>
                    <a:pt x="7550" y="1834"/>
                  </a:lnTo>
                  <a:lnTo>
                    <a:pt x="7558" y="1671"/>
                  </a:lnTo>
                  <a:lnTo>
                    <a:pt x="7562" y="1509"/>
                  </a:lnTo>
                  <a:lnTo>
                    <a:pt x="7563" y="1486"/>
                  </a:lnTo>
                  <a:lnTo>
                    <a:pt x="7565" y="1464"/>
                  </a:lnTo>
                  <a:lnTo>
                    <a:pt x="7568" y="1441"/>
                  </a:lnTo>
                  <a:lnTo>
                    <a:pt x="7571" y="1418"/>
                  </a:lnTo>
                  <a:lnTo>
                    <a:pt x="7576" y="1395"/>
                  </a:lnTo>
                  <a:lnTo>
                    <a:pt x="7582" y="1373"/>
                  </a:lnTo>
                  <a:lnTo>
                    <a:pt x="7589" y="1351"/>
                  </a:lnTo>
                  <a:lnTo>
                    <a:pt x="7597" y="1329"/>
                  </a:lnTo>
                  <a:lnTo>
                    <a:pt x="7606" y="1307"/>
                  </a:lnTo>
                  <a:lnTo>
                    <a:pt x="7616" y="1286"/>
                  </a:lnTo>
                  <a:lnTo>
                    <a:pt x="7627" y="1264"/>
                  </a:lnTo>
                  <a:lnTo>
                    <a:pt x="7640" y="1244"/>
                  </a:lnTo>
                  <a:lnTo>
                    <a:pt x="7653" y="1223"/>
                  </a:lnTo>
                  <a:lnTo>
                    <a:pt x="7667" y="1204"/>
                  </a:lnTo>
                  <a:lnTo>
                    <a:pt x="7681" y="1185"/>
                  </a:lnTo>
                  <a:lnTo>
                    <a:pt x="7697" y="1167"/>
                  </a:lnTo>
                  <a:lnTo>
                    <a:pt x="7713" y="1150"/>
                  </a:lnTo>
                  <a:lnTo>
                    <a:pt x="7731" y="1133"/>
                  </a:lnTo>
                  <a:lnTo>
                    <a:pt x="7749" y="1117"/>
                  </a:lnTo>
                  <a:lnTo>
                    <a:pt x="7769" y="1102"/>
                  </a:lnTo>
                  <a:lnTo>
                    <a:pt x="7789" y="1087"/>
                  </a:lnTo>
                  <a:lnTo>
                    <a:pt x="7810" y="1074"/>
                  </a:lnTo>
                  <a:lnTo>
                    <a:pt x="7832" y="1061"/>
                  </a:lnTo>
                  <a:lnTo>
                    <a:pt x="7854" y="1050"/>
                  </a:lnTo>
                  <a:lnTo>
                    <a:pt x="7878" y="1040"/>
                  </a:lnTo>
                  <a:lnTo>
                    <a:pt x="7903" y="1032"/>
                  </a:lnTo>
                  <a:lnTo>
                    <a:pt x="7928" y="1024"/>
                  </a:lnTo>
                  <a:lnTo>
                    <a:pt x="7954" y="1018"/>
                  </a:lnTo>
                  <a:lnTo>
                    <a:pt x="7980" y="1013"/>
                  </a:lnTo>
                  <a:lnTo>
                    <a:pt x="8009" y="1009"/>
                  </a:lnTo>
                  <a:lnTo>
                    <a:pt x="8037" y="1007"/>
                  </a:lnTo>
                  <a:lnTo>
                    <a:pt x="8066" y="1006"/>
                  </a:lnTo>
                  <a:lnTo>
                    <a:pt x="8117" y="1009"/>
                  </a:lnTo>
                  <a:lnTo>
                    <a:pt x="8171" y="1018"/>
                  </a:lnTo>
                  <a:lnTo>
                    <a:pt x="8225" y="1033"/>
                  </a:lnTo>
                  <a:lnTo>
                    <a:pt x="8283" y="1054"/>
                  </a:lnTo>
                  <a:lnTo>
                    <a:pt x="8340" y="1081"/>
                  </a:lnTo>
                  <a:lnTo>
                    <a:pt x="8400" y="1114"/>
                  </a:lnTo>
                  <a:lnTo>
                    <a:pt x="8460" y="1151"/>
                  </a:lnTo>
                  <a:lnTo>
                    <a:pt x="8522" y="1193"/>
                  </a:lnTo>
                  <a:lnTo>
                    <a:pt x="8583" y="1241"/>
                  </a:lnTo>
                  <a:lnTo>
                    <a:pt x="8645" y="1294"/>
                  </a:lnTo>
                  <a:lnTo>
                    <a:pt x="8706" y="1351"/>
                  </a:lnTo>
                  <a:lnTo>
                    <a:pt x="8767" y="1413"/>
                  </a:lnTo>
                  <a:lnTo>
                    <a:pt x="8827" y="1480"/>
                  </a:lnTo>
                  <a:lnTo>
                    <a:pt x="8888" y="1550"/>
                  </a:lnTo>
                  <a:lnTo>
                    <a:pt x="8946" y="1626"/>
                  </a:lnTo>
                  <a:lnTo>
                    <a:pt x="9004" y="1705"/>
                  </a:lnTo>
                  <a:lnTo>
                    <a:pt x="9059" y="1788"/>
                  </a:lnTo>
                  <a:lnTo>
                    <a:pt x="9114" y="1874"/>
                  </a:lnTo>
                  <a:lnTo>
                    <a:pt x="9165" y="1965"/>
                  </a:lnTo>
                  <a:lnTo>
                    <a:pt x="9215" y="2058"/>
                  </a:lnTo>
                  <a:lnTo>
                    <a:pt x="9262" y="2155"/>
                  </a:lnTo>
                  <a:lnTo>
                    <a:pt x="9306" y="2255"/>
                  </a:lnTo>
                  <a:lnTo>
                    <a:pt x="9347" y="2358"/>
                  </a:lnTo>
                  <a:lnTo>
                    <a:pt x="9386" y="2464"/>
                  </a:lnTo>
                  <a:lnTo>
                    <a:pt x="9420" y="2572"/>
                  </a:lnTo>
                  <a:lnTo>
                    <a:pt x="9450" y="2683"/>
                  </a:lnTo>
                  <a:lnTo>
                    <a:pt x="9478" y="2797"/>
                  </a:lnTo>
                  <a:lnTo>
                    <a:pt x="9500" y="2912"/>
                  </a:lnTo>
                  <a:lnTo>
                    <a:pt x="9517" y="3030"/>
                  </a:lnTo>
                  <a:lnTo>
                    <a:pt x="9530" y="3150"/>
                  </a:lnTo>
                  <a:lnTo>
                    <a:pt x="9538" y="3271"/>
                  </a:lnTo>
                  <a:lnTo>
                    <a:pt x="9541" y="3394"/>
                  </a:lnTo>
                  <a:lnTo>
                    <a:pt x="9540" y="3606"/>
                  </a:lnTo>
                  <a:lnTo>
                    <a:pt x="9538" y="3799"/>
                  </a:lnTo>
                  <a:lnTo>
                    <a:pt x="9536" y="3889"/>
                  </a:lnTo>
                  <a:lnTo>
                    <a:pt x="9534" y="3974"/>
                  </a:lnTo>
                  <a:lnTo>
                    <a:pt x="9531" y="4056"/>
                  </a:lnTo>
                  <a:lnTo>
                    <a:pt x="9527" y="4135"/>
                  </a:lnTo>
                  <a:lnTo>
                    <a:pt x="9523" y="4211"/>
                  </a:lnTo>
                  <a:lnTo>
                    <a:pt x="9517" y="4284"/>
                  </a:lnTo>
                  <a:lnTo>
                    <a:pt x="9511" y="4357"/>
                  </a:lnTo>
                  <a:lnTo>
                    <a:pt x="9504" y="4426"/>
                  </a:lnTo>
                  <a:lnTo>
                    <a:pt x="9496" y="4495"/>
                  </a:lnTo>
                  <a:lnTo>
                    <a:pt x="9487" y="4562"/>
                  </a:lnTo>
                  <a:lnTo>
                    <a:pt x="9477" y="4629"/>
                  </a:lnTo>
                  <a:lnTo>
                    <a:pt x="9464" y="4696"/>
                  </a:lnTo>
                  <a:lnTo>
                    <a:pt x="9452" y="4763"/>
                  </a:lnTo>
                  <a:lnTo>
                    <a:pt x="9438" y="4831"/>
                  </a:lnTo>
                  <a:lnTo>
                    <a:pt x="9423" y="4899"/>
                  </a:lnTo>
                  <a:lnTo>
                    <a:pt x="9406" y="4968"/>
                  </a:lnTo>
                  <a:lnTo>
                    <a:pt x="9388" y="5040"/>
                  </a:lnTo>
                  <a:lnTo>
                    <a:pt x="9369" y="5112"/>
                  </a:lnTo>
                  <a:lnTo>
                    <a:pt x="9347" y="5188"/>
                  </a:lnTo>
                  <a:lnTo>
                    <a:pt x="9324" y="5266"/>
                  </a:lnTo>
                  <a:lnTo>
                    <a:pt x="9299" y="5348"/>
                  </a:lnTo>
                  <a:lnTo>
                    <a:pt x="9273" y="5432"/>
                  </a:lnTo>
                  <a:lnTo>
                    <a:pt x="9245" y="5522"/>
                  </a:lnTo>
                  <a:lnTo>
                    <a:pt x="9214" y="5614"/>
                  </a:lnTo>
                  <a:lnTo>
                    <a:pt x="9149" y="5814"/>
                  </a:lnTo>
                  <a:lnTo>
                    <a:pt x="9074" y="6036"/>
                  </a:lnTo>
                  <a:lnTo>
                    <a:pt x="9962" y="6037"/>
                  </a:lnTo>
                  <a:lnTo>
                    <a:pt x="10738" y="6039"/>
                  </a:lnTo>
                  <a:lnTo>
                    <a:pt x="11087" y="6041"/>
                  </a:lnTo>
                  <a:lnTo>
                    <a:pt x="11411" y="6043"/>
                  </a:lnTo>
                  <a:lnTo>
                    <a:pt x="11712" y="6046"/>
                  </a:lnTo>
                  <a:lnTo>
                    <a:pt x="11990" y="6049"/>
                  </a:lnTo>
                  <a:lnTo>
                    <a:pt x="12247" y="6052"/>
                  </a:lnTo>
                  <a:lnTo>
                    <a:pt x="12483" y="6056"/>
                  </a:lnTo>
                  <a:lnTo>
                    <a:pt x="12699" y="6060"/>
                  </a:lnTo>
                  <a:lnTo>
                    <a:pt x="12897" y="6065"/>
                  </a:lnTo>
                  <a:lnTo>
                    <a:pt x="13077" y="6070"/>
                  </a:lnTo>
                  <a:lnTo>
                    <a:pt x="13241" y="6075"/>
                  </a:lnTo>
                  <a:lnTo>
                    <a:pt x="13390" y="6080"/>
                  </a:lnTo>
                  <a:lnTo>
                    <a:pt x="13524" y="6086"/>
                  </a:lnTo>
                  <a:lnTo>
                    <a:pt x="13644" y="6092"/>
                  </a:lnTo>
                  <a:lnTo>
                    <a:pt x="13752" y="6099"/>
                  </a:lnTo>
                  <a:lnTo>
                    <a:pt x="13848" y="6106"/>
                  </a:lnTo>
                  <a:lnTo>
                    <a:pt x="13934" y="6113"/>
                  </a:lnTo>
                  <a:lnTo>
                    <a:pt x="14011" y="6121"/>
                  </a:lnTo>
                  <a:lnTo>
                    <a:pt x="14079" y="6129"/>
                  </a:lnTo>
                  <a:lnTo>
                    <a:pt x="14140" y="6137"/>
                  </a:lnTo>
                  <a:lnTo>
                    <a:pt x="14195" y="6145"/>
                  </a:lnTo>
                  <a:lnTo>
                    <a:pt x="14245" y="6154"/>
                  </a:lnTo>
                  <a:lnTo>
                    <a:pt x="14289" y="6163"/>
                  </a:lnTo>
                  <a:lnTo>
                    <a:pt x="14330" y="6172"/>
                  </a:lnTo>
                  <a:lnTo>
                    <a:pt x="14371" y="6182"/>
                  </a:lnTo>
                  <a:lnTo>
                    <a:pt x="14446" y="6203"/>
                  </a:lnTo>
                  <a:lnTo>
                    <a:pt x="14526" y="6224"/>
                  </a:lnTo>
                  <a:lnTo>
                    <a:pt x="14575" y="6240"/>
                  </a:lnTo>
                  <a:lnTo>
                    <a:pt x="14623" y="6257"/>
                  </a:lnTo>
                  <a:lnTo>
                    <a:pt x="14668" y="6276"/>
                  </a:lnTo>
                  <a:lnTo>
                    <a:pt x="14709" y="6296"/>
                  </a:lnTo>
                  <a:lnTo>
                    <a:pt x="14749" y="6317"/>
                  </a:lnTo>
                  <a:lnTo>
                    <a:pt x="14785" y="6340"/>
                  </a:lnTo>
                  <a:lnTo>
                    <a:pt x="14819" y="6364"/>
                  </a:lnTo>
                  <a:lnTo>
                    <a:pt x="14852" y="6389"/>
                  </a:lnTo>
                  <a:lnTo>
                    <a:pt x="14881" y="6414"/>
                  </a:lnTo>
                  <a:lnTo>
                    <a:pt x="14909" y="6441"/>
                  </a:lnTo>
                  <a:lnTo>
                    <a:pt x="14934" y="6468"/>
                  </a:lnTo>
                  <a:lnTo>
                    <a:pt x="14957" y="6495"/>
                  </a:lnTo>
                  <a:lnTo>
                    <a:pt x="14979" y="6524"/>
                  </a:lnTo>
                  <a:lnTo>
                    <a:pt x="14998" y="6552"/>
                  </a:lnTo>
                  <a:lnTo>
                    <a:pt x="15016" y="6581"/>
                  </a:lnTo>
                  <a:lnTo>
                    <a:pt x="15031" y="6609"/>
                  </a:lnTo>
                  <a:lnTo>
                    <a:pt x="15046" y="6638"/>
                  </a:lnTo>
                  <a:lnTo>
                    <a:pt x="15058" y="6666"/>
                  </a:lnTo>
                  <a:lnTo>
                    <a:pt x="15070" y="6695"/>
                  </a:lnTo>
                  <a:lnTo>
                    <a:pt x="15079" y="6723"/>
                  </a:lnTo>
                  <a:lnTo>
                    <a:pt x="15088" y="6751"/>
                  </a:lnTo>
                  <a:lnTo>
                    <a:pt x="15097" y="6778"/>
                  </a:lnTo>
                  <a:lnTo>
                    <a:pt x="15103" y="6804"/>
                  </a:lnTo>
                  <a:lnTo>
                    <a:pt x="15108" y="6829"/>
                  </a:lnTo>
                  <a:lnTo>
                    <a:pt x="15113" y="6854"/>
                  </a:lnTo>
                  <a:lnTo>
                    <a:pt x="15116" y="6879"/>
                  </a:lnTo>
                  <a:lnTo>
                    <a:pt x="15119" y="6901"/>
                  </a:lnTo>
                  <a:lnTo>
                    <a:pt x="15121" y="6923"/>
                  </a:lnTo>
                  <a:lnTo>
                    <a:pt x="15123" y="6961"/>
                  </a:lnTo>
                  <a:lnTo>
                    <a:pt x="15124" y="6994"/>
                  </a:lnTo>
                  <a:lnTo>
                    <a:pt x="15124" y="7051"/>
                  </a:lnTo>
                  <a:lnTo>
                    <a:pt x="15123" y="7093"/>
                  </a:lnTo>
                  <a:lnTo>
                    <a:pt x="15122" y="7126"/>
                  </a:lnTo>
                  <a:lnTo>
                    <a:pt x="15121" y="7153"/>
                  </a:lnTo>
                  <a:lnTo>
                    <a:pt x="15119" y="7181"/>
                  </a:lnTo>
                  <a:lnTo>
                    <a:pt x="15117" y="7215"/>
                  </a:lnTo>
                  <a:lnTo>
                    <a:pt x="15115" y="7256"/>
                  </a:lnTo>
                  <a:lnTo>
                    <a:pt x="15113" y="7310"/>
                  </a:lnTo>
                  <a:close/>
                  <a:moveTo>
                    <a:pt x="3529" y="14586"/>
                  </a:moveTo>
                  <a:lnTo>
                    <a:pt x="3528" y="14612"/>
                  </a:lnTo>
                  <a:lnTo>
                    <a:pt x="3526" y="14637"/>
                  </a:lnTo>
                  <a:lnTo>
                    <a:pt x="3523" y="14663"/>
                  </a:lnTo>
                  <a:lnTo>
                    <a:pt x="3519" y="14688"/>
                  </a:lnTo>
                  <a:lnTo>
                    <a:pt x="3513" y="14712"/>
                  </a:lnTo>
                  <a:lnTo>
                    <a:pt x="3507" y="14736"/>
                  </a:lnTo>
                  <a:lnTo>
                    <a:pt x="3499" y="14759"/>
                  </a:lnTo>
                  <a:lnTo>
                    <a:pt x="3490" y="14782"/>
                  </a:lnTo>
                  <a:lnTo>
                    <a:pt x="3479" y="14804"/>
                  </a:lnTo>
                  <a:lnTo>
                    <a:pt x="3468" y="14826"/>
                  </a:lnTo>
                  <a:lnTo>
                    <a:pt x="3456" y="14847"/>
                  </a:lnTo>
                  <a:lnTo>
                    <a:pt x="3443" y="14868"/>
                  </a:lnTo>
                  <a:lnTo>
                    <a:pt x="3429" y="14887"/>
                  </a:lnTo>
                  <a:lnTo>
                    <a:pt x="3414" y="14906"/>
                  </a:lnTo>
                  <a:lnTo>
                    <a:pt x="3398" y="14924"/>
                  </a:lnTo>
                  <a:lnTo>
                    <a:pt x="3382" y="14942"/>
                  </a:lnTo>
                  <a:lnTo>
                    <a:pt x="3364" y="14958"/>
                  </a:lnTo>
                  <a:lnTo>
                    <a:pt x="3345" y="14974"/>
                  </a:lnTo>
                  <a:lnTo>
                    <a:pt x="3326" y="14989"/>
                  </a:lnTo>
                  <a:lnTo>
                    <a:pt x="3307" y="15004"/>
                  </a:lnTo>
                  <a:lnTo>
                    <a:pt x="3286" y="15017"/>
                  </a:lnTo>
                  <a:lnTo>
                    <a:pt x="3265" y="15029"/>
                  </a:lnTo>
                  <a:lnTo>
                    <a:pt x="3244" y="15040"/>
                  </a:lnTo>
                  <a:lnTo>
                    <a:pt x="3221" y="15050"/>
                  </a:lnTo>
                  <a:lnTo>
                    <a:pt x="3198" y="15059"/>
                  </a:lnTo>
                  <a:lnTo>
                    <a:pt x="3175" y="15067"/>
                  </a:lnTo>
                  <a:lnTo>
                    <a:pt x="3151" y="15073"/>
                  </a:lnTo>
                  <a:lnTo>
                    <a:pt x="3127" y="15079"/>
                  </a:lnTo>
                  <a:lnTo>
                    <a:pt x="3101" y="15083"/>
                  </a:lnTo>
                  <a:lnTo>
                    <a:pt x="3076" y="15086"/>
                  </a:lnTo>
                  <a:lnTo>
                    <a:pt x="3051" y="15088"/>
                  </a:lnTo>
                  <a:lnTo>
                    <a:pt x="3025" y="15089"/>
                  </a:lnTo>
                  <a:lnTo>
                    <a:pt x="1512" y="15089"/>
                  </a:lnTo>
                  <a:lnTo>
                    <a:pt x="1486" y="15088"/>
                  </a:lnTo>
                  <a:lnTo>
                    <a:pt x="1461" y="15086"/>
                  </a:lnTo>
                  <a:lnTo>
                    <a:pt x="1436" y="15083"/>
                  </a:lnTo>
                  <a:lnTo>
                    <a:pt x="1411" y="15079"/>
                  </a:lnTo>
                  <a:lnTo>
                    <a:pt x="1386" y="15073"/>
                  </a:lnTo>
                  <a:lnTo>
                    <a:pt x="1362" y="15067"/>
                  </a:lnTo>
                  <a:lnTo>
                    <a:pt x="1339" y="15059"/>
                  </a:lnTo>
                  <a:lnTo>
                    <a:pt x="1316" y="15050"/>
                  </a:lnTo>
                  <a:lnTo>
                    <a:pt x="1294" y="15040"/>
                  </a:lnTo>
                  <a:lnTo>
                    <a:pt x="1272" y="15029"/>
                  </a:lnTo>
                  <a:lnTo>
                    <a:pt x="1251" y="15017"/>
                  </a:lnTo>
                  <a:lnTo>
                    <a:pt x="1230" y="15004"/>
                  </a:lnTo>
                  <a:lnTo>
                    <a:pt x="1211" y="14989"/>
                  </a:lnTo>
                  <a:lnTo>
                    <a:pt x="1192" y="14974"/>
                  </a:lnTo>
                  <a:lnTo>
                    <a:pt x="1174" y="14958"/>
                  </a:lnTo>
                  <a:lnTo>
                    <a:pt x="1155" y="14942"/>
                  </a:lnTo>
                  <a:lnTo>
                    <a:pt x="1139" y="14924"/>
                  </a:lnTo>
                  <a:lnTo>
                    <a:pt x="1123" y="14906"/>
                  </a:lnTo>
                  <a:lnTo>
                    <a:pt x="1108" y="14887"/>
                  </a:lnTo>
                  <a:lnTo>
                    <a:pt x="1094" y="14868"/>
                  </a:lnTo>
                  <a:lnTo>
                    <a:pt x="1081" y="14847"/>
                  </a:lnTo>
                  <a:lnTo>
                    <a:pt x="1069" y="14826"/>
                  </a:lnTo>
                  <a:lnTo>
                    <a:pt x="1058" y="14804"/>
                  </a:lnTo>
                  <a:lnTo>
                    <a:pt x="1048" y="14782"/>
                  </a:lnTo>
                  <a:lnTo>
                    <a:pt x="1038" y="14759"/>
                  </a:lnTo>
                  <a:lnTo>
                    <a:pt x="1030" y="14736"/>
                  </a:lnTo>
                  <a:lnTo>
                    <a:pt x="1024" y="14712"/>
                  </a:lnTo>
                  <a:lnTo>
                    <a:pt x="1018" y="14688"/>
                  </a:lnTo>
                  <a:lnTo>
                    <a:pt x="1014" y="14663"/>
                  </a:lnTo>
                  <a:lnTo>
                    <a:pt x="1011" y="14637"/>
                  </a:lnTo>
                  <a:lnTo>
                    <a:pt x="1009" y="14612"/>
                  </a:lnTo>
                  <a:lnTo>
                    <a:pt x="1008" y="14586"/>
                  </a:lnTo>
                  <a:lnTo>
                    <a:pt x="1008" y="6539"/>
                  </a:lnTo>
                  <a:lnTo>
                    <a:pt x="1009" y="6512"/>
                  </a:lnTo>
                  <a:lnTo>
                    <a:pt x="1011" y="6487"/>
                  </a:lnTo>
                  <a:lnTo>
                    <a:pt x="1014" y="6462"/>
                  </a:lnTo>
                  <a:lnTo>
                    <a:pt x="1018" y="6437"/>
                  </a:lnTo>
                  <a:lnTo>
                    <a:pt x="1024" y="6413"/>
                  </a:lnTo>
                  <a:lnTo>
                    <a:pt x="1030" y="6389"/>
                  </a:lnTo>
                  <a:lnTo>
                    <a:pt x="1038" y="6366"/>
                  </a:lnTo>
                  <a:lnTo>
                    <a:pt x="1048" y="6342"/>
                  </a:lnTo>
                  <a:lnTo>
                    <a:pt x="1058" y="6320"/>
                  </a:lnTo>
                  <a:lnTo>
                    <a:pt x="1069" y="6298"/>
                  </a:lnTo>
                  <a:lnTo>
                    <a:pt x="1081" y="6278"/>
                  </a:lnTo>
                  <a:lnTo>
                    <a:pt x="1094" y="6257"/>
                  </a:lnTo>
                  <a:lnTo>
                    <a:pt x="1108" y="6238"/>
                  </a:lnTo>
                  <a:lnTo>
                    <a:pt x="1123" y="6219"/>
                  </a:lnTo>
                  <a:lnTo>
                    <a:pt x="1139" y="6201"/>
                  </a:lnTo>
                  <a:lnTo>
                    <a:pt x="1155" y="6182"/>
                  </a:lnTo>
                  <a:lnTo>
                    <a:pt x="1174" y="6166"/>
                  </a:lnTo>
                  <a:lnTo>
                    <a:pt x="1192" y="6150"/>
                  </a:lnTo>
                  <a:lnTo>
                    <a:pt x="1211" y="6135"/>
                  </a:lnTo>
                  <a:lnTo>
                    <a:pt x="1230" y="6121"/>
                  </a:lnTo>
                  <a:lnTo>
                    <a:pt x="1251" y="6108"/>
                  </a:lnTo>
                  <a:lnTo>
                    <a:pt x="1272" y="6096"/>
                  </a:lnTo>
                  <a:lnTo>
                    <a:pt x="1294" y="6085"/>
                  </a:lnTo>
                  <a:lnTo>
                    <a:pt x="1316" y="6075"/>
                  </a:lnTo>
                  <a:lnTo>
                    <a:pt x="1339" y="6066"/>
                  </a:lnTo>
                  <a:lnTo>
                    <a:pt x="1362" y="6058"/>
                  </a:lnTo>
                  <a:lnTo>
                    <a:pt x="1386" y="6052"/>
                  </a:lnTo>
                  <a:lnTo>
                    <a:pt x="1411" y="6046"/>
                  </a:lnTo>
                  <a:lnTo>
                    <a:pt x="1436" y="6042"/>
                  </a:lnTo>
                  <a:lnTo>
                    <a:pt x="1461" y="6039"/>
                  </a:lnTo>
                  <a:lnTo>
                    <a:pt x="1486" y="6037"/>
                  </a:lnTo>
                  <a:lnTo>
                    <a:pt x="1512" y="6036"/>
                  </a:lnTo>
                  <a:lnTo>
                    <a:pt x="3025" y="6036"/>
                  </a:lnTo>
                  <a:lnTo>
                    <a:pt x="3051" y="6037"/>
                  </a:lnTo>
                  <a:lnTo>
                    <a:pt x="3076" y="6039"/>
                  </a:lnTo>
                  <a:lnTo>
                    <a:pt x="3101" y="6042"/>
                  </a:lnTo>
                  <a:lnTo>
                    <a:pt x="3127" y="6046"/>
                  </a:lnTo>
                  <a:lnTo>
                    <a:pt x="3151" y="6052"/>
                  </a:lnTo>
                  <a:lnTo>
                    <a:pt x="3175" y="6058"/>
                  </a:lnTo>
                  <a:lnTo>
                    <a:pt x="3198" y="6066"/>
                  </a:lnTo>
                  <a:lnTo>
                    <a:pt x="3221" y="6075"/>
                  </a:lnTo>
                  <a:lnTo>
                    <a:pt x="3244" y="6085"/>
                  </a:lnTo>
                  <a:lnTo>
                    <a:pt x="3265" y="6096"/>
                  </a:lnTo>
                  <a:lnTo>
                    <a:pt x="3286" y="6108"/>
                  </a:lnTo>
                  <a:lnTo>
                    <a:pt x="3307" y="6121"/>
                  </a:lnTo>
                  <a:lnTo>
                    <a:pt x="3326" y="6135"/>
                  </a:lnTo>
                  <a:lnTo>
                    <a:pt x="3345" y="6150"/>
                  </a:lnTo>
                  <a:lnTo>
                    <a:pt x="3364" y="6166"/>
                  </a:lnTo>
                  <a:lnTo>
                    <a:pt x="3382" y="6182"/>
                  </a:lnTo>
                  <a:lnTo>
                    <a:pt x="3398" y="6201"/>
                  </a:lnTo>
                  <a:lnTo>
                    <a:pt x="3414" y="6219"/>
                  </a:lnTo>
                  <a:lnTo>
                    <a:pt x="3429" y="6238"/>
                  </a:lnTo>
                  <a:lnTo>
                    <a:pt x="3443" y="6257"/>
                  </a:lnTo>
                  <a:lnTo>
                    <a:pt x="3456" y="6278"/>
                  </a:lnTo>
                  <a:lnTo>
                    <a:pt x="3468" y="6298"/>
                  </a:lnTo>
                  <a:lnTo>
                    <a:pt x="3479" y="6320"/>
                  </a:lnTo>
                  <a:lnTo>
                    <a:pt x="3490" y="6342"/>
                  </a:lnTo>
                  <a:lnTo>
                    <a:pt x="3499" y="6366"/>
                  </a:lnTo>
                  <a:lnTo>
                    <a:pt x="3507" y="6389"/>
                  </a:lnTo>
                  <a:lnTo>
                    <a:pt x="3513" y="6413"/>
                  </a:lnTo>
                  <a:lnTo>
                    <a:pt x="3519" y="6437"/>
                  </a:lnTo>
                  <a:lnTo>
                    <a:pt x="3523" y="6462"/>
                  </a:lnTo>
                  <a:lnTo>
                    <a:pt x="3526" y="6487"/>
                  </a:lnTo>
                  <a:lnTo>
                    <a:pt x="3528" y="6512"/>
                  </a:lnTo>
                  <a:lnTo>
                    <a:pt x="3529" y="6539"/>
                  </a:lnTo>
                  <a:lnTo>
                    <a:pt x="3529" y="14586"/>
                  </a:lnTo>
                  <a:close/>
                  <a:moveTo>
                    <a:pt x="14702" y="5267"/>
                  </a:moveTo>
                  <a:lnTo>
                    <a:pt x="14641" y="5252"/>
                  </a:lnTo>
                  <a:lnTo>
                    <a:pt x="14574" y="5238"/>
                  </a:lnTo>
                  <a:lnTo>
                    <a:pt x="14504" y="5225"/>
                  </a:lnTo>
                  <a:lnTo>
                    <a:pt x="14427" y="5213"/>
                  </a:lnTo>
                  <a:lnTo>
                    <a:pt x="14345" y="5201"/>
                  </a:lnTo>
                  <a:lnTo>
                    <a:pt x="14260" y="5190"/>
                  </a:lnTo>
                  <a:lnTo>
                    <a:pt x="14169" y="5181"/>
                  </a:lnTo>
                  <a:lnTo>
                    <a:pt x="14073" y="5171"/>
                  </a:lnTo>
                  <a:lnTo>
                    <a:pt x="13972" y="5162"/>
                  </a:lnTo>
                  <a:lnTo>
                    <a:pt x="13867" y="5154"/>
                  </a:lnTo>
                  <a:lnTo>
                    <a:pt x="13758" y="5146"/>
                  </a:lnTo>
                  <a:lnTo>
                    <a:pt x="13644" y="5139"/>
                  </a:lnTo>
                  <a:lnTo>
                    <a:pt x="13524" y="5133"/>
                  </a:lnTo>
                  <a:lnTo>
                    <a:pt x="13401" y="5127"/>
                  </a:lnTo>
                  <a:lnTo>
                    <a:pt x="13273" y="5121"/>
                  </a:lnTo>
                  <a:lnTo>
                    <a:pt x="13140" y="5116"/>
                  </a:lnTo>
                  <a:lnTo>
                    <a:pt x="12860" y="5106"/>
                  </a:lnTo>
                  <a:lnTo>
                    <a:pt x="12564" y="5098"/>
                  </a:lnTo>
                  <a:lnTo>
                    <a:pt x="12249" y="5090"/>
                  </a:lnTo>
                  <a:lnTo>
                    <a:pt x="11918" y="5082"/>
                  </a:lnTo>
                  <a:lnTo>
                    <a:pt x="11569" y="5074"/>
                  </a:lnTo>
                  <a:lnTo>
                    <a:pt x="11204" y="5066"/>
                  </a:lnTo>
                  <a:lnTo>
                    <a:pt x="10822" y="5057"/>
                  </a:lnTo>
                  <a:lnTo>
                    <a:pt x="10423" y="5047"/>
                  </a:lnTo>
                  <a:lnTo>
                    <a:pt x="10441" y="4958"/>
                  </a:lnTo>
                  <a:lnTo>
                    <a:pt x="10459" y="4871"/>
                  </a:lnTo>
                  <a:lnTo>
                    <a:pt x="10473" y="4783"/>
                  </a:lnTo>
                  <a:lnTo>
                    <a:pt x="10487" y="4696"/>
                  </a:lnTo>
                  <a:lnTo>
                    <a:pt x="10498" y="4606"/>
                  </a:lnTo>
                  <a:lnTo>
                    <a:pt x="10508" y="4516"/>
                  </a:lnTo>
                  <a:lnTo>
                    <a:pt x="10517" y="4422"/>
                  </a:lnTo>
                  <a:lnTo>
                    <a:pt x="10525" y="4327"/>
                  </a:lnTo>
                  <a:lnTo>
                    <a:pt x="10531" y="4228"/>
                  </a:lnTo>
                  <a:lnTo>
                    <a:pt x="10536" y="4124"/>
                  </a:lnTo>
                  <a:lnTo>
                    <a:pt x="10541" y="4017"/>
                  </a:lnTo>
                  <a:lnTo>
                    <a:pt x="10544" y="3905"/>
                  </a:lnTo>
                  <a:lnTo>
                    <a:pt x="10546" y="3786"/>
                  </a:lnTo>
                  <a:lnTo>
                    <a:pt x="10548" y="3663"/>
                  </a:lnTo>
                  <a:lnTo>
                    <a:pt x="10549" y="3532"/>
                  </a:lnTo>
                  <a:lnTo>
                    <a:pt x="10549" y="3394"/>
                  </a:lnTo>
                  <a:lnTo>
                    <a:pt x="10545" y="3225"/>
                  </a:lnTo>
                  <a:lnTo>
                    <a:pt x="10534" y="3058"/>
                  </a:lnTo>
                  <a:lnTo>
                    <a:pt x="10516" y="2893"/>
                  </a:lnTo>
                  <a:lnTo>
                    <a:pt x="10491" y="2730"/>
                  </a:lnTo>
                  <a:lnTo>
                    <a:pt x="10459" y="2569"/>
                  </a:lnTo>
                  <a:lnTo>
                    <a:pt x="10420" y="2410"/>
                  </a:lnTo>
                  <a:lnTo>
                    <a:pt x="10376" y="2255"/>
                  </a:lnTo>
                  <a:lnTo>
                    <a:pt x="10325" y="2102"/>
                  </a:lnTo>
                  <a:lnTo>
                    <a:pt x="10269" y="1953"/>
                  </a:lnTo>
                  <a:lnTo>
                    <a:pt x="10209" y="1807"/>
                  </a:lnTo>
                  <a:lnTo>
                    <a:pt x="10142" y="1665"/>
                  </a:lnTo>
                  <a:lnTo>
                    <a:pt x="10071" y="1527"/>
                  </a:lnTo>
                  <a:lnTo>
                    <a:pt x="9996" y="1393"/>
                  </a:lnTo>
                  <a:lnTo>
                    <a:pt x="9916" y="1264"/>
                  </a:lnTo>
                  <a:lnTo>
                    <a:pt x="9832" y="1140"/>
                  </a:lnTo>
                  <a:lnTo>
                    <a:pt x="9745" y="1020"/>
                  </a:lnTo>
                  <a:lnTo>
                    <a:pt x="9654" y="906"/>
                  </a:lnTo>
                  <a:lnTo>
                    <a:pt x="9560" y="798"/>
                  </a:lnTo>
                  <a:lnTo>
                    <a:pt x="9463" y="695"/>
                  </a:lnTo>
                  <a:lnTo>
                    <a:pt x="9365" y="599"/>
                  </a:lnTo>
                  <a:lnTo>
                    <a:pt x="9263" y="508"/>
                  </a:lnTo>
                  <a:lnTo>
                    <a:pt x="9159" y="423"/>
                  </a:lnTo>
                  <a:lnTo>
                    <a:pt x="9053" y="347"/>
                  </a:lnTo>
                  <a:lnTo>
                    <a:pt x="8946" y="277"/>
                  </a:lnTo>
                  <a:lnTo>
                    <a:pt x="8837" y="214"/>
                  </a:lnTo>
                  <a:lnTo>
                    <a:pt x="8728" y="159"/>
                  </a:lnTo>
                  <a:lnTo>
                    <a:pt x="8619" y="112"/>
                  </a:lnTo>
                  <a:lnTo>
                    <a:pt x="8508" y="71"/>
                  </a:lnTo>
                  <a:lnTo>
                    <a:pt x="8397" y="41"/>
                  </a:lnTo>
                  <a:lnTo>
                    <a:pt x="8286" y="18"/>
                  </a:lnTo>
                  <a:lnTo>
                    <a:pt x="8176" y="5"/>
                  </a:lnTo>
                  <a:lnTo>
                    <a:pt x="8066" y="0"/>
                  </a:lnTo>
                  <a:lnTo>
                    <a:pt x="7989" y="2"/>
                  </a:lnTo>
                  <a:lnTo>
                    <a:pt x="7914" y="8"/>
                  </a:lnTo>
                  <a:lnTo>
                    <a:pt x="7839" y="17"/>
                  </a:lnTo>
                  <a:lnTo>
                    <a:pt x="7766" y="30"/>
                  </a:lnTo>
                  <a:lnTo>
                    <a:pt x="7693" y="47"/>
                  </a:lnTo>
                  <a:lnTo>
                    <a:pt x="7621" y="67"/>
                  </a:lnTo>
                  <a:lnTo>
                    <a:pt x="7552" y="91"/>
                  </a:lnTo>
                  <a:lnTo>
                    <a:pt x="7484" y="118"/>
                  </a:lnTo>
                  <a:lnTo>
                    <a:pt x="7418" y="148"/>
                  </a:lnTo>
                  <a:lnTo>
                    <a:pt x="7353" y="181"/>
                  </a:lnTo>
                  <a:lnTo>
                    <a:pt x="7290" y="217"/>
                  </a:lnTo>
                  <a:lnTo>
                    <a:pt x="7229" y="256"/>
                  </a:lnTo>
                  <a:lnTo>
                    <a:pt x="7170" y="298"/>
                  </a:lnTo>
                  <a:lnTo>
                    <a:pt x="7112" y="342"/>
                  </a:lnTo>
                  <a:lnTo>
                    <a:pt x="7058" y="389"/>
                  </a:lnTo>
                  <a:lnTo>
                    <a:pt x="7005" y="439"/>
                  </a:lnTo>
                  <a:lnTo>
                    <a:pt x="6955" y="491"/>
                  </a:lnTo>
                  <a:lnTo>
                    <a:pt x="6908" y="545"/>
                  </a:lnTo>
                  <a:lnTo>
                    <a:pt x="6862" y="602"/>
                  </a:lnTo>
                  <a:lnTo>
                    <a:pt x="6820" y="661"/>
                  </a:lnTo>
                  <a:lnTo>
                    <a:pt x="6780" y="721"/>
                  </a:lnTo>
                  <a:lnTo>
                    <a:pt x="6743" y="784"/>
                  </a:lnTo>
                  <a:lnTo>
                    <a:pt x="6710" y="848"/>
                  </a:lnTo>
                  <a:lnTo>
                    <a:pt x="6679" y="914"/>
                  </a:lnTo>
                  <a:lnTo>
                    <a:pt x="6651" y="983"/>
                  </a:lnTo>
                  <a:lnTo>
                    <a:pt x="6626" y="1052"/>
                  </a:lnTo>
                  <a:lnTo>
                    <a:pt x="6605" y="1123"/>
                  </a:lnTo>
                  <a:lnTo>
                    <a:pt x="6588" y="1195"/>
                  </a:lnTo>
                  <a:lnTo>
                    <a:pt x="6574" y="1269"/>
                  </a:lnTo>
                  <a:lnTo>
                    <a:pt x="6564" y="1344"/>
                  </a:lnTo>
                  <a:lnTo>
                    <a:pt x="6557" y="1419"/>
                  </a:lnTo>
                  <a:lnTo>
                    <a:pt x="6554" y="1497"/>
                  </a:lnTo>
                  <a:lnTo>
                    <a:pt x="6552" y="1593"/>
                  </a:lnTo>
                  <a:lnTo>
                    <a:pt x="6548" y="1695"/>
                  </a:lnTo>
                  <a:lnTo>
                    <a:pt x="6542" y="1800"/>
                  </a:lnTo>
                  <a:lnTo>
                    <a:pt x="6533" y="1908"/>
                  </a:lnTo>
                  <a:lnTo>
                    <a:pt x="6522" y="2020"/>
                  </a:lnTo>
                  <a:lnTo>
                    <a:pt x="6508" y="2134"/>
                  </a:lnTo>
                  <a:lnTo>
                    <a:pt x="6492" y="2250"/>
                  </a:lnTo>
                  <a:lnTo>
                    <a:pt x="6472" y="2370"/>
                  </a:lnTo>
                  <a:lnTo>
                    <a:pt x="6449" y="2491"/>
                  </a:lnTo>
                  <a:lnTo>
                    <a:pt x="6422" y="2613"/>
                  </a:lnTo>
                  <a:lnTo>
                    <a:pt x="6391" y="2737"/>
                  </a:lnTo>
                  <a:lnTo>
                    <a:pt x="6357" y="2863"/>
                  </a:lnTo>
                  <a:lnTo>
                    <a:pt x="6318" y="2989"/>
                  </a:lnTo>
                  <a:lnTo>
                    <a:pt x="6275" y="3115"/>
                  </a:lnTo>
                  <a:lnTo>
                    <a:pt x="6228" y="3242"/>
                  </a:lnTo>
                  <a:lnTo>
                    <a:pt x="6176" y="3369"/>
                  </a:lnTo>
                  <a:lnTo>
                    <a:pt x="6118" y="3496"/>
                  </a:lnTo>
                  <a:lnTo>
                    <a:pt x="6057" y="3620"/>
                  </a:lnTo>
                  <a:lnTo>
                    <a:pt x="5989" y="3745"/>
                  </a:lnTo>
                  <a:lnTo>
                    <a:pt x="5915" y="3869"/>
                  </a:lnTo>
                  <a:lnTo>
                    <a:pt x="5837" y="3991"/>
                  </a:lnTo>
                  <a:lnTo>
                    <a:pt x="5752" y="4111"/>
                  </a:lnTo>
                  <a:lnTo>
                    <a:pt x="5661" y="4229"/>
                  </a:lnTo>
                  <a:lnTo>
                    <a:pt x="5565" y="4345"/>
                  </a:lnTo>
                  <a:lnTo>
                    <a:pt x="5461" y="4457"/>
                  </a:lnTo>
                  <a:lnTo>
                    <a:pt x="5351" y="4567"/>
                  </a:lnTo>
                  <a:lnTo>
                    <a:pt x="5233" y="4674"/>
                  </a:lnTo>
                  <a:lnTo>
                    <a:pt x="5109" y="4776"/>
                  </a:lnTo>
                  <a:lnTo>
                    <a:pt x="4978" y="4876"/>
                  </a:lnTo>
                  <a:lnTo>
                    <a:pt x="4839" y="4970"/>
                  </a:lnTo>
                  <a:lnTo>
                    <a:pt x="4691" y="5061"/>
                  </a:lnTo>
                  <a:lnTo>
                    <a:pt x="4537" y="5146"/>
                  </a:lnTo>
                  <a:lnTo>
                    <a:pt x="4481" y="5176"/>
                  </a:lnTo>
                  <a:lnTo>
                    <a:pt x="4409" y="5212"/>
                  </a:lnTo>
                  <a:lnTo>
                    <a:pt x="4328" y="5252"/>
                  </a:lnTo>
                  <a:lnTo>
                    <a:pt x="4245" y="5294"/>
                  </a:lnTo>
                  <a:lnTo>
                    <a:pt x="4164" y="5333"/>
                  </a:lnTo>
                  <a:lnTo>
                    <a:pt x="4093" y="5368"/>
                  </a:lnTo>
                  <a:lnTo>
                    <a:pt x="4039" y="5394"/>
                  </a:lnTo>
                  <a:lnTo>
                    <a:pt x="4007" y="5409"/>
                  </a:lnTo>
                  <a:lnTo>
                    <a:pt x="4033" y="5432"/>
                  </a:lnTo>
                  <a:lnTo>
                    <a:pt x="4008" y="5411"/>
                  </a:lnTo>
                  <a:lnTo>
                    <a:pt x="3983" y="5390"/>
                  </a:lnTo>
                  <a:lnTo>
                    <a:pt x="3956" y="5370"/>
                  </a:lnTo>
                  <a:lnTo>
                    <a:pt x="3929" y="5350"/>
                  </a:lnTo>
                  <a:lnTo>
                    <a:pt x="3902" y="5329"/>
                  </a:lnTo>
                  <a:lnTo>
                    <a:pt x="3874" y="5310"/>
                  </a:lnTo>
                  <a:lnTo>
                    <a:pt x="3845" y="5291"/>
                  </a:lnTo>
                  <a:lnTo>
                    <a:pt x="3817" y="5273"/>
                  </a:lnTo>
                  <a:lnTo>
                    <a:pt x="3787" y="5255"/>
                  </a:lnTo>
                  <a:lnTo>
                    <a:pt x="3758" y="5238"/>
                  </a:lnTo>
                  <a:lnTo>
                    <a:pt x="3728" y="5221"/>
                  </a:lnTo>
                  <a:lnTo>
                    <a:pt x="3697" y="5205"/>
                  </a:lnTo>
                  <a:lnTo>
                    <a:pt x="3666" y="5189"/>
                  </a:lnTo>
                  <a:lnTo>
                    <a:pt x="3635" y="5174"/>
                  </a:lnTo>
                  <a:lnTo>
                    <a:pt x="3603" y="5159"/>
                  </a:lnTo>
                  <a:lnTo>
                    <a:pt x="3571" y="5145"/>
                  </a:lnTo>
                  <a:lnTo>
                    <a:pt x="3539" y="5132"/>
                  </a:lnTo>
                  <a:lnTo>
                    <a:pt x="3506" y="5120"/>
                  </a:lnTo>
                  <a:lnTo>
                    <a:pt x="3472" y="5108"/>
                  </a:lnTo>
                  <a:lnTo>
                    <a:pt x="3439" y="5097"/>
                  </a:lnTo>
                  <a:lnTo>
                    <a:pt x="3406" y="5087"/>
                  </a:lnTo>
                  <a:lnTo>
                    <a:pt x="3373" y="5077"/>
                  </a:lnTo>
                  <a:lnTo>
                    <a:pt x="3338" y="5068"/>
                  </a:lnTo>
                  <a:lnTo>
                    <a:pt x="3304" y="5061"/>
                  </a:lnTo>
                  <a:lnTo>
                    <a:pt x="3270" y="5054"/>
                  </a:lnTo>
                  <a:lnTo>
                    <a:pt x="3235" y="5048"/>
                  </a:lnTo>
                  <a:lnTo>
                    <a:pt x="3200" y="5042"/>
                  </a:lnTo>
                  <a:lnTo>
                    <a:pt x="3165" y="5038"/>
                  </a:lnTo>
                  <a:lnTo>
                    <a:pt x="3131" y="5034"/>
                  </a:lnTo>
                  <a:lnTo>
                    <a:pt x="3095" y="5032"/>
                  </a:lnTo>
                  <a:lnTo>
                    <a:pt x="3060" y="5030"/>
                  </a:lnTo>
                  <a:lnTo>
                    <a:pt x="3025" y="5030"/>
                  </a:lnTo>
                  <a:lnTo>
                    <a:pt x="1512" y="5030"/>
                  </a:lnTo>
                  <a:lnTo>
                    <a:pt x="1435" y="5032"/>
                  </a:lnTo>
                  <a:lnTo>
                    <a:pt x="1358" y="5038"/>
                  </a:lnTo>
                  <a:lnTo>
                    <a:pt x="1282" y="5047"/>
                  </a:lnTo>
                  <a:lnTo>
                    <a:pt x="1208" y="5061"/>
                  </a:lnTo>
                  <a:lnTo>
                    <a:pt x="1135" y="5077"/>
                  </a:lnTo>
                  <a:lnTo>
                    <a:pt x="1063" y="5098"/>
                  </a:lnTo>
                  <a:lnTo>
                    <a:pt x="993" y="5121"/>
                  </a:lnTo>
                  <a:lnTo>
                    <a:pt x="925" y="5148"/>
                  </a:lnTo>
                  <a:lnTo>
                    <a:pt x="857" y="5179"/>
                  </a:lnTo>
                  <a:lnTo>
                    <a:pt x="792" y="5212"/>
                  </a:lnTo>
                  <a:lnTo>
                    <a:pt x="729" y="5248"/>
                  </a:lnTo>
                  <a:lnTo>
                    <a:pt x="667" y="5288"/>
                  </a:lnTo>
                  <a:lnTo>
                    <a:pt x="608" y="5329"/>
                  </a:lnTo>
                  <a:lnTo>
                    <a:pt x="551" y="5375"/>
                  </a:lnTo>
                  <a:lnTo>
                    <a:pt x="496" y="5422"/>
                  </a:lnTo>
                  <a:lnTo>
                    <a:pt x="444" y="5472"/>
                  </a:lnTo>
                  <a:lnTo>
                    <a:pt x="393" y="5525"/>
                  </a:lnTo>
                  <a:lnTo>
                    <a:pt x="346" y="5579"/>
                  </a:lnTo>
                  <a:lnTo>
                    <a:pt x="300" y="5636"/>
                  </a:lnTo>
                  <a:lnTo>
                    <a:pt x="259" y="5696"/>
                  </a:lnTo>
                  <a:lnTo>
                    <a:pt x="219" y="5757"/>
                  </a:lnTo>
                  <a:lnTo>
                    <a:pt x="182" y="5820"/>
                  </a:lnTo>
                  <a:lnTo>
                    <a:pt x="149" y="5885"/>
                  </a:lnTo>
                  <a:lnTo>
                    <a:pt x="119" y="5952"/>
                  </a:lnTo>
                  <a:lnTo>
                    <a:pt x="92" y="6021"/>
                  </a:lnTo>
                  <a:lnTo>
                    <a:pt x="69" y="6090"/>
                  </a:lnTo>
                  <a:lnTo>
                    <a:pt x="47" y="6162"/>
                  </a:lnTo>
                  <a:lnTo>
                    <a:pt x="31" y="6235"/>
                  </a:lnTo>
                  <a:lnTo>
                    <a:pt x="17" y="6309"/>
                  </a:lnTo>
                  <a:lnTo>
                    <a:pt x="8" y="6385"/>
                  </a:lnTo>
                  <a:lnTo>
                    <a:pt x="2" y="6461"/>
                  </a:lnTo>
                  <a:lnTo>
                    <a:pt x="0" y="6539"/>
                  </a:lnTo>
                  <a:lnTo>
                    <a:pt x="0" y="14586"/>
                  </a:lnTo>
                  <a:lnTo>
                    <a:pt x="2" y="14664"/>
                  </a:lnTo>
                  <a:lnTo>
                    <a:pt x="8" y="14740"/>
                  </a:lnTo>
                  <a:lnTo>
                    <a:pt x="17" y="14815"/>
                  </a:lnTo>
                  <a:lnTo>
                    <a:pt x="31" y="14890"/>
                  </a:lnTo>
                  <a:lnTo>
                    <a:pt x="47" y="14962"/>
                  </a:lnTo>
                  <a:lnTo>
                    <a:pt x="69" y="15034"/>
                  </a:lnTo>
                  <a:lnTo>
                    <a:pt x="92" y="15104"/>
                  </a:lnTo>
                  <a:lnTo>
                    <a:pt x="119" y="15173"/>
                  </a:lnTo>
                  <a:lnTo>
                    <a:pt x="149" y="15240"/>
                  </a:lnTo>
                  <a:lnTo>
                    <a:pt x="182" y="15304"/>
                  </a:lnTo>
                  <a:lnTo>
                    <a:pt x="219" y="15368"/>
                  </a:lnTo>
                  <a:lnTo>
                    <a:pt x="259" y="15429"/>
                  </a:lnTo>
                  <a:lnTo>
                    <a:pt x="300" y="15488"/>
                  </a:lnTo>
                  <a:lnTo>
                    <a:pt x="346" y="15545"/>
                  </a:lnTo>
                  <a:lnTo>
                    <a:pt x="393" y="15600"/>
                  </a:lnTo>
                  <a:lnTo>
                    <a:pt x="444" y="15652"/>
                  </a:lnTo>
                  <a:lnTo>
                    <a:pt x="496" y="15703"/>
                  </a:lnTo>
                  <a:lnTo>
                    <a:pt x="551" y="15750"/>
                  </a:lnTo>
                  <a:lnTo>
                    <a:pt x="608" y="15795"/>
                  </a:lnTo>
                  <a:lnTo>
                    <a:pt x="667" y="15836"/>
                  </a:lnTo>
                  <a:lnTo>
                    <a:pt x="729" y="15876"/>
                  </a:lnTo>
                  <a:lnTo>
                    <a:pt x="792" y="15913"/>
                  </a:lnTo>
                  <a:lnTo>
                    <a:pt x="857" y="15946"/>
                  </a:lnTo>
                  <a:lnTo>
                    <a:pt x="925" y="15976"/>
                  </a:lnTo>
                  <a:lnTo>
                    <a:pt x="993" y="16003"/>
                  </a:lnTo>
                  <a:lnTo>
                    <a:pt x="1063" y="16027"/>
                  </a:lnTo>
                  <a:lnTo>
                    <a:pt x="1135" y="16048"/>
                  </a:lnTo>
                  <a:lnTo>
                    <a:pt x="1208" y="16064"/>
                  </a:lnTo>
                  <a:lnTo>
                    <a:pt x="1282" y="16078"/>
                  </a:lnTo>
                  <a:lnTo>
                    <a:pt x="1358" y="16087"/>
                  </a:lnTo>
                  <a:lnTo>
                    <a:pt x="1435" y="16093"/>
                  </a:lnTo>
                  <a:lnTo>
                    <a:pt x="1512" y="16095"/>
                  </a:lnTo>
                  <a:lnTo>
                    <a:pt x="3025" y="16095"/>
                  </a:lnTo>
                  <a:lnTo>
                    <a:pt x="3080" y="16094"/>
                  </a:lnTo>
                  <a:lnTo>
                    <a:pt x="3136" y="16091"/>
                  </a:lnTo>
                  <a:lnTo>
                    <a:pt x="3191" y="16086"/>
                  </a:lnTo>
                  <a:lnTo>
                    <a:pt x="3245" y="16079"/>
                  </a:lnTo>
                  <a:lnTo>
                    <a:pt x="3298" y="16069"/>
                  </a:lnTo>
                  <a:lnTo>
                    <a:pt x="3351" y="16058"/>
                  </a:lnTo>
                  <a:lnTo>
                    <a:pt x="3403" y="16046"/>
                  </a:lnTo>
                  <a:lnTo>
                    <a:pt x="3454" y="16031"/>
                  </a:lnTo>
                  <a:lnTo>
                    <a:pt x="3505" y="16015"/>
                  </a:lnTo>
                  <a:lnTo>
                    <a:pt x="3554" y="15995"/>
                  </a:lnTo>
                  <a:lnTo>
                    <a:pt x="3602" y="15975"/>
                  </a:lnTo>
                  <a:lnTo>
                    <a:pt x="3650" y="15954"/>
                  </a:lnTo>
                  <a:lnTo>
                    <a:pt x="3697" y="15930"/>
                  </a:lnTo>
                  <a:lnTo>
                    <a:pt x="3743" y="15906"/>
                  </a:lnTo>
                  <a:lnTo>
                    <a:pt x="3787" y="15879"/>
                  </a:lnTo>
                  <a:lnTo>
                    <a:pt x="3831" y="15851"/>
                  </a:lnTo>
                  <a:lnTo>
                    <a:pt x="3874" y="15821"/>
                  </a:lnTo>
                  <a:lnTo>
                    <a:pt x="3916" y="15790"/>
                  </a:lnTo>
                  <a:lnTo>
                    <a:pt x="3956" y="15758"/>
                  </a:lnTo>
                  <a:lnTo>
                    <a:pt x="3996" y="15724"/>
                  </a:lnTo>
                  <a:lnTo>
                    <a:pt x="4034" y="15689"/>
                  </a:lnTo>
                  <a:lnTo>
                    <a:pt x="4071" y="15652"/>
                  </a:lnTo>
                  <a:lnTo>
                    <a:pt x="4107" y="15615"/>
                  </a:lnTo>
                  <a:lnTo>
                    <a:pt x="4142" y="15576"/>
                  </a:lnTo>
                  <a:lnTo>
                    <a:pt x="4175" y="15536"/>
                  </a:lnTo>
                  <a:lnTo>
                    <a:pt x="4206" y="15494"/>
                  </a:lnTo>
                  <a:lnTo>
                    <a:pt x="4238" y="15452"/>
                  </a:lnTo>
                  <a:lnTo>
                    <a:pt x="4267" y="15409"/>
                  </a:lnTo>
                  <a:lnTo>
                    <a:pt x="4294" y="15365"/>
                  </a:lnTo>
                  <a:lnTo>
                    <a:pt x="4321" y="15319"/>
                  </a:lnTo>
                  <a:lnTo>
                    <a:pt x="4347" y="15273"/>
                  </a:lnTo>
                  <a:lnTo>
                    <a:pt x="4370" y="15226"/>
                  </a:lnTo>
                  <a:lnTo>
                    <a:pt x="4381" y="15230"/>
                  </a:lnTo>
                  <a:lnTo>
                    <a:pt x="4393" y="15233"/>
                  </a:lnTo>
                  <a:lnTo>
                    <a:pt x="4420" y="15239"/>
                  </a:lnTo>
                  <a:lnTo>
                    <a:pt x="4448" y="15247"/>
                  </a:lnTo>
                  <a:lnTo>
                    <a:pt x="4480" y="15255"/>
                  </a:lnTo>
                  <a:lnTo>
                    <a:pt x="4514" y="15264"/>
                  </a:lnTo>
                  <a:lnTo>
                    <a:pt x="4525" y="15266"/>
                  </a:lnTo>
                  <a:lnTo>
                    <a:pt x="4537" y="15270"/>
                  </a:lnTo>
                  <a:lnTo>
                    <a:pt x="4595" y="15284"/>
                  </a:lnTo>
                  <a:lnTo>
                    <a:pt x="4659" y="15299"/>
                  </a:lnTo>
                  <a:lnTo>
                    <a:pt x="4732" y="15317"/>
                  </a:lnTo>
                  <a:lnTo>
                    <a:pt x="4811" y="15337"/>
                  </a:lnTo>
                  <a:lnTo>
                    <a:pt x="4899" y="15358"/>
                  </a:lnTo>
                  <a:lnTo>
                    <a:pt x="4997" y="15381"/>
                  </a:lnTo>
                  <a:lnTo>
                    <a:pt x="5104" y="15406"/>
                  </a:lnTo>
                  <a:lnTo>
                    <a:pt x="5221" y="15433"/>
                  </a:lnTo>
                  <a:lnTo>
                    <a:pt x="5348" y="15463"/>
                  </a:lnTo>
                  <a:lnTo>
                    <a:pt x="5486" y="15495"/>
                  </a:lnTo>
                  <a:lnTo>
                    <a:pt x="5636" y="15531"/>
                  </a:lnTo>
                  <a:lnTo>
                    <a:pt x="5798" y="15569"/>
                  </a:lnTo>
                  <a:lnTo>
                    <a:pt x="5974" y="15609"/>
                  </a:lnTo>
                  <a:lnTo>
                    <a:pt x="6162" y="15652"/>
                  </a:lnTo>
                  <a:lnTo>
                    <a:pt x="6365" y="15700"/>
                  </a:lnTo>
                  <a:lnTo>
                    <a:pt x="6581" y="15749"/>
                  </a:lnTo>
                  <a:lnTo>
                    <a:pt x="6642" y="15762"/>
                  </a:lnTo>
                  <a:lnTo>
                    <a:pt x="6727" y="15780"/>
                  </a:lnTo>
                  <a:lnTo>
                    <a:pt x="6834" y="15802"/>
                  </a:lnTo>
                  <a:lnTo>
                    <a:pt x="6963" y="15827"/>
                  </a:lnTo>
                  <a:lnTo>
                    <a:pt x="7111" y="15855"/>
                  </a:lnTo>
                  <a:lnTo>
                    <a:pt x="7278" y="15884"/>
                  </a:lnTo>
                  <a:lnTo>
                    <a:pt x="7366" y="15899"/>
                  </a:lnTo>
                  <a:lnTo>
                    <a:pt x="7460" y="15914"/>
                  </a:lnTo>
                  <a:lnTo>
                    <a:pt x="7557" y="15929"/>
                  </a:lnTo>
                  <a:lnTo>
                    <a:pt x="7658" y="15944"/>
                  </a:lnTo>
                  <a:lnTo>
                    <a:pt x="7762" y="15958"/>
                  </a:lnTo>
                  <a:lnTo>
                    <a:pt x="7868" y="15973"/>
                  </a:lnTo>
                  <a:lnTo>
                    <a:pt x="7978" y="15987"/>
                  </a:lnTo>
                  <a:lnTo>
                    <a:pt x="8091" y="16000"/>
                  </a:lnTo>
                  <a:lnTo>
                    <a:pt x="8207" y="16015"/>
                  </a:lnTo>
                  <a:lnTo>
                    <a:pt x="8325" y="16027"/>
                  </a:lnTo>
                  <a:lnTo>
                    <a:pt x="8445" y="16039"/>
                  </a:lnTo>
                  <a:lnTo>
                    <a:pt x="8567" y="16049"/>
                  </a:lnTo>
                  <a:lnTo>
                    <a:pt x="8691" y="16059"/>
                  </a:lnTo>
                  <a:lnTo>
                    <a:pt x="8816" y="16068"/>
                  </a:lnTo>
                  <a:lnTo>
                    <a:pt x="8943" y="16076"/>
                  </a:lnTo>
                  <a:lnTo>
                    <a:pt x="9071" y="16083"/>
                  </a:lnTo>
                  <a:lnTo>
                    <a:pt x="9200" y="16088"/>
                  </a:lnTo>
                  <a:lnTo>
                    <a:pt x="9330" y="16092"/>
                  </a:lnTo>
                  <a:lnTo>
                    <a:pt x="9461" y="16094"/>
                  </a:lnTo>
                  <a:lnTo>
                    <a:pt x="9592" y="16095"/>
                  </a:lnTo>
                  <a:lnTo>
                    <a:pt x="12349" y="16095"/>
                  </a:lnTo>
                  <a:lnTo>
                    <a:pt x="12427" y="16094"/>
                  </a:lnTo>
                  <a:lnTo>
                    <a:pt x="12503" y="16091"/>
                  </a:lnTo>
                  <a:lnTo>
                    <a:pt x="12579" y="16087"/>
                  </a:lnTo>
                  <a:lnTo>
                    <a:pt x="12653" y="16080"/>
                  </a:lnTo>
                  <a:lnTo>
                    <a:pt x="12725" y="16071"/>
                  </a:lnTo>
                  <a:lnTo>
                    <a:pt x="12797" y="16061"/>
                  </a:lnTo>
                  <a:lnTo>
                    <a:pt x="12866" y="16049"/>
                  </a:lnTo>
                  <a:lnTo>
                    <a:pt x="12935" y="16035"/>
                  </a:lnTo>
                  <a:lnTo>
                    <a:pt x="13001" y="16019"/>
                  </a:lnTo>
                  <a:lnTo>
                    <a:pt x="13067" y="16000"/>
                  </a:lnTo>
                  <a:lnTo>
                    <a:pt x="13131" y="15980"/>
                  </a:lnTo>
                  <a:lnTo>
                    <a:pt x="13194" y="15959"/>
                  </a:lnTo>
                  <a:lnTo>
                    <a:pt x="13255" y="15935"/>
                  </a:lnTo>
                  <a:lnTo>
                    <a:pt x="13316" y="15910"/>
                  </a:lnTo>
                  <a:lnTo>
                    <a:pt x="13374" y="15882"/>
                  </a:lnTo>
                  <a:lnTo>
                    <a:pt x="13431" y="15853"/>
                  </a:lnTo>
                  <a:lnTo>
                    <a:pt x="13487" y="15821"/>
                  </a:lnTo>
                  <a:lnTo>
                    <a:pt x="13542" y="15788"/>
                  </a:lnTo>
                  <a:lnTo>
                    <a:pt x="13594" y="15753"/>
                  </a:lnTo>
                  <a:lnTo>
                    <a:pt x="13646" y="15717"/>
                  </a:lnTo>
                  <a:lnTo>
                    <a:pt x="13696" y="15678"/>
                  </a:lnTo>
                  <a:lnTo>
                    <a:pt x="13745" y="15637"/>
                  </a:lnTo>
                  <a:lnTo>
                    <a:pt x="13792" y="15594"/>
                  </a:lnTo>
                  <a:lnTo>
                    <a:pt x="13838" y="15550"/>
                  </a:lnTo>
                  <a:lnTo>
                    <a:pt x="13883" y="15504"/>
                  </a:lnTo>
                  <a:lnTo>
                    <a:pt x="13926" y="15455"/>
                  </a:lnTo>
                  <a:lnTo>
                    <a:pt x="13967" y="15405"/>
                  </a:lnTo>
                  <a:lnTo>
                    <a:pt x="14008" y="15353"/>
                  </a:lnTo>
                  <a:lnTo>
                    <a:pt x="14046" y="15298"/>
                  </a:lnTo>
                  <a:lnTo>
                    <a:pt x="14084" y="15243"/>
                  </a:lnTo>
                  <a:lnTo>
                    <a:pt x="14120" y="15185"/>
                  </a:lnTo>
                  <a:lnTo>
                    <a:pt x="14154" y="15125"/>
                  </a:lnTo>
                  <a:lnTo>
                    <a:pt x="14161" y="15112"/>
                  </a:lnTo>
                  <a:lnTo>
                    <a:pt x="14177" y="15080"/>
                  </a:lnTo>
                  <a:lnTo>
                    <a:pt x="14200" y="15031"/>
                  </a:lnTo>
                  <a:lnTo>
                    <a:pt x="14228" y="14965"/>
                  </a:lnTo>
                  <a:lnTo>
                    <a:pt x="14245" y="14928"/>
                  </a:lnTo>
                  <a:lnTo>
                    <a:pt x="14262" y="14887"/>
                  </a:lnTo>
                  <a:lnTo>
                    <a:pt x="14279" y="14843"/>
                  </a:lnTo>
                  <a:lnTo>
                    <a:pt x="14297" y="14796"/>
                  </a:lnTo>
                  <a:lnTo>
                    <a:pt x="14315" y="14746"/>
                  </a:lnTo>
                  <a:lnTo>
                    <a:pt x="14334" y="14695"/>
                  </a:lnTo>
                  <a:lnTo>
                    <a:pt x="14352" y="14640"/>
                  </a:lnTo>
                  <a:lnTo>
                    <a:pt x="14370" y="14584"/>
                  </a:lnTo>
                  <a:lnTo>
                    <a:pt x="14383" y="14540"/>
                  </a:lnTo>
                  <a:lnTo>
                    <a:pt x="14395" y="14494"/>
                  </a:lnTo>
                  <a:lnTo>
                    <a:pt x="14405" y="14445"/>
                  </a:lnTo>
                  <a:lnTo>
                    <a:pt x="14414" y="14395"/>
                  </a:lnTo>
                  <a:lnTo>
                    <a:pt x="14422" y="14344"/>
                  </a:lnTo>
                  <a:lnTo>
                    <a:pt x="14428" y="14290"/>
                  </a:lnTo>
                  <a:lnTo>
                    <a:pt x="14432" y="14235"/>
                  </a:lnTo>
                  <a:lnTo>
                    <a:pt x="14435" y="14179"/>
                  </a:lnTo>
                  <a:lnTo>
                    <a:pt x="14436" y="14121"/>
                  </a:lnTo>
                  <a:lnTo>
                    <a:pt x="14435" y="14063"/>
                  </a:lnTo>
                  <a:lnTo>
                    <a:pt x="14433" y="14034"/>
                  </a:lnTo>
                  <a:lnTo>
                    <a:pt x="14432" y="14004"/>
                  </a:lnTo>
                  <a:lnTo>
                    <a:pt x="14429" y="13974"/>
                  </a:lnTo>
                  <a:lnTo>
                    <a:pt x="14426" y="13944"/>
                  </a:lnTo>
                  <a:lnTo>
                    <a:pt x="14423" y="13914"/>
                  </a:lnTo>
                  <a:lnTo>
                    <a:pt x="14419" y="13883"/>
                  </a:lnTo>
                  <a:lnTo>
                    <a:pt x="14414" y="13853"/>
                  </a:lnTo>
                  <a:lnTo>
                    <a:pt x="14409" y="13823"/>
                  </a:lnTo>
                  <a:lnTo>
                    <a:pt x="14404" y="13791"/>
                  </a:lnTo>
                  <a:lnTo>
                    <a:pt x="14397" y="13760"/>
                  </a:lnTo>
                  <a:lnTo>
                    <a:pt x="14390" y="13730"/>
                  </a:lnTo>
                  <a:lnTo>
                    <a:pt x="14382" y="13699"/>
                  </a:lnTo>
                  <a:lnTo>
                    <a:pt x="14432" y="13664"/>
                  </a:lnTo>
                  <a:lnTo>
                    <a:pt x="14479" y="13627"/>
                  </a:lnTo>
                  <a:lnTo>
                    <a:pt x="14525" y="13589"/>
                  </a:lnTo>
                  <a:lnTo>
                    <a:pt x="14568" y="13551"/>
                  </a:lnTo>
                  <a:lnTo>
                    <a:pt x="14610" y="13513"/>
                  </a:lnTo>
                  <a:lnTo>
                    <a:pt x="14650" y="13473"/>
                  </a:lnTo>
                  <a:lnTo>
                    <a:pt x="14688" y="13432"/>
                  </a:lnTo>
                  <a:lnTo>
                    <a:pt x="14723" y="13391"/>
                  </a:lnTo>
                  <a:lnTo>
                    <a:pt x="14759" y="13349"/>
                  </a:lnTo>
                  <a:lnTo>
                    <a:pt x="14791" y="13307"/>
                  </a:lnTo>
                  <a:lnTo>
                    <a:pt x="14822" y="13264"/>
                  </a:lnTo>
                  <a:lnTo>
                    <a:pt x="14853" y="13222"/>
                  </a:lnTo>
                  <a:lnTo>
                    <a:pt x="14881" y="13179"/>
                  </a:lnTo>
                  <a:lnTo>
                    <a:pt x="14907" y="13135"/>
                  </a:lnTo>
                  <a:lnTo>
                    <a:pt x="14933" y="13091"/>
                  </a:lnTo>
                  <a:lnTo>
                    <a:pt x="14956" y="13048"/>
                  </a:lnTo>
                  <a:lnTo>
                    <a:pt x="14980" y="13005"/>
                  </a:lnTo>
                  <a:lnTo>
                    <a:pt x="15002" y="12962"/>
                  </a:lnTo>
                  <a:lnTo>
                    <a:pt x="15022" y="12917"/>
                  </a:lnTo>
                  <a:lnTo>
                    <a:pt x="15041" y="12875"/>
                  </a:lnTo>
                  <a:lnTo>
                    <a:pt x="15060" y="12832"/>
                  </a:lnTo>
                  <a:lnTo>
                    <a:pt x="15077" y="12789"/>
                  </a:lnTo>
                  <a:lnTo>
                    <a:pt x="15094" y="12747"/>
                  </a:lnTo>
                  <a:lnTo>
                    <a:pt x="15110" y="12706"/>
                  </a:lnTo>
                  <a:lnTo>
                    <a:pt x="15139" y="12626"/>
                  </a:lnTo>
                  <a:lnTo>
                    <a:pt x="15165" y="12547"/>
                  </a:lnTo>
                  <a:lnTo>
                    <a:pt x="15189" y="12473"/>
                  </a:lnTo>
                  <a:lnTo>
                    <a:pt x="15210" y="12401"/>
                  </a:lnTo>
                  <a:lnTo>
                    <a:pt x="15228" y="12346"/>
                  </a:lnTo>
                  <a:lnTo>
                    <a:pt x="15244" y="12291"/>
                  </a:lnTo>
                  <a:lnTo>
                    <a:pt x="15258" y="12237"/>
                  </a:lnTo>
                  <a:lnTo>
                    <a:pt x="15271" y="12184"/>
                  </a:lnTo>
                  <a:lnTo>
                    <a:pt x="15282" y="12132"/>
                  </a:lnTo>
                  <a:lnTo>
                    <a:pt x="15293" y="12080"/>
                  </a:lnTo>
                  <a:lnTo>
                    <a:pt x="15301" y="12029"/>
                  </a:lnTo>
                  <a:lnTo>
                    <a:pt x="15309" y="11980"/>
                  </a:lnTo>
                  <a:lnTo>
                    <a:pt x="15316" y="11930"/>
                  </a:lnTo>
                  <a:lnTo>
                    <a:pt x="15321" y="11883"/>
                  </a:lnTo>
                  <a:lnTo>
                    <a:pt x="15326" y="11836"/>
                  </a:lnTo>
                  <a:lnTo>
                    <a:pt x="15329" y="11790"/>
                  </a:lnTo>
                  <a:lnTo>
                    <a:pt x="15331" y="11743"/>
                  </a:lnTo>
                  <a:lnTo>
                    <a:pt x="15332" y="11699"/>
                  </a:lnTo>
                  <a:lnTo>
                    <a:pt x="15332" y="11655"/>
                  </a:lnTo>
                  <a:lnTo>
                    <a:pt x="15331" y="11612"/>
                  </a:lnTo>
                  <a:lnTo>
                    <a:pt x="15330" y="11569"/>
                  </a:lnTo>
                  <a:lnTo>
                    <a:pt x="15327" y="11528"/>
                  </a:lnTo>
                  <a:lnTo>
                    <a:pt x="15323" y="11488"/>
                  </a:lnTo>
                  <a:lnTo>
                    <a:pt x="15319" y="11448"/>
                  </a:lnTo>
                  <a:lnTo>
                    <a:pt x="15314" y="11408"/>
                  </a:lnTo>
                  <a:lnTo>
                    <a:pt x="15308" y="11370"/>
                  </a:lnTo>
                  <a:lnTo>
                    <a:pt x="15301" y="11333"/>
                  </a:lnTo>
                  <a:lnTo>
                    <a:pt x="15294" y="11296"/>
                  </a:lnTo>
                  <a:lnTo>
                    <a:pt x="15285" y="11260"/>
                  </a:lnTo>
                  <a:lnTo>
                    <a:pt x="15277" y="11225"/>
                  </a:lnTo>
                  <a:lnTo>
                    <a:pt x="15267" y="11191"/>
                  </a:lnTo>
                  <a:lnTo>
                    <a:pt x="15257" y="11157"/>
                  </a:lnTo>
                  <a:lnTo>
                    <a:pt x="15247" y="11124"/>
                  </a:lnTo>
                  <a:lnTo>
                    <a:pt x="15236" y="11092"/>
                  </a:lnTo>
                  <a:lnTo>
                    <a:pt x="15224" y="11060"/>
                  </a:lnTo>
                  <a:lnTo>
                    <a:pt x="15211" y="11030"/>
                  </a:lnTo>
                  <a:lnTo>
                    <a:pt x="15240" y="11003"/>
                  </a:lnTo>
                  <a:lnTo>
                    <a:pt x="15268" y="10975"/>
                  </a:lnTo>
                  <a:lnTo>
                    <a:pt x="15296" y="10946"/>
                  </a:lnTo>
                  <a:lnTo>
                    <a:pt x="15323" y="10915"/>
                  </a:lnTo>
                  <a:lnTo>
                    <a:pt x="15351" y="10884"/>
                  </a:lnTo>
                  <a:lnTo>
                    <a:pt x="15377" y="10852"/>
                  </a:lnTo>
                  <a:lnTo>
                    <a:pt x="15404" y="10820"/>
                  </a:lnTo>
                  <a:lnTo>
                    <a:pt x="15430" y="10786"/>
                  </a:lnTo>
                  <a:lnTo>
                    <a:pt x="15455" y="10750"/>
                  </a:lnTo>
                  <a:lnTo>
                    <a:pt x="15481" y="10715"/>
                  </a:lnTo>
                  <a:lnTo>
                    <a:pt x="15505" y="10678"/>
                  </a:lnTo>
                  <a:lnTo>
                    <a:pt x="15529" y="10640"/>
                  </a:lnTo>
                  <a:lnTo>
                    <a:pt x="15553" y="10601"/>
                  </a:lnTo>
                  <a:lnTo>
                    <a:pt x="15576" y="10560"/>
                  </a:lnTo>
                  <a:lnTo>
                    <a:pt x="15600" y="10519"/>
                  </a:lnTo>
                  <a:lnTo>
                    <a:pt x="15622" y="10477"/>
                  </a:lnTo>
                  <a:lnTo>
                    <a:pt x="15643" y="10434"/>
                  </a:lnTo>
                  <a:lnTo>
                    <a:pt x="15664" y="10389"/>
                  </a:lnTo>
                  <a:lnTo>
                    <a:pt x="15684" y="10344"/>
                  </a:lnTo>
                  <a:lnTo>
                    <a:pt x="15705" y="10297"/>
                  </a:lnTo>
                  <a:lnTo>
                    <a:pt x="15724" y="10248"/>
                  </a:lnTo>
                  <a:lnTo>
                    <a:pt x="15742" y="10199"/>
                  </a:lnTo>
                  <a:lnTo>
                    <a:pt x="15760" y="10149"/>
                  </a:lnTo>
                  <a:lnTo>
                    <a:pt x="15776" y="10098"/>
                  </a:lnTo>
                  <a:lnTo>
                    <a:pt x="15793" y="10044"/>
                  </a:lnTo>
                  <a:lnTo>
                    <a:pt x="15808" y="9991"/>
                  </a:lnTo>
                  <a:lnTo>
                    <a:pt x="15823" y="9936"/>
                  </a:lnTo>
                  <a:lnTo>
                    <a:pt x="15838" y="9878"/>
                  </a:lnTo>
                  <a:lnTo>
                    <a:pt x="15851" y="9821"/>
                  </a:lnTo>
                  <a:lnTo>
                    <a:pt x="15863" y="9762"/>
                  </a:lnTo>
                  <a:lnTo>
                    <a:pt x="15875" y="9701"/>
                  </a:lnTo>
                  <a:lnTo>
                    <a:pt x="15885" y="9639"/>
                  </a:lnTo>
                  <a:lnTo>
                    <a:pt x="15891" y="9600"/>
                  </a:lnTo>
                  <a:lnTo>
                    <a:pt x="15896" y="9561"/>
                  </a:lnTo>
                  <a:lnTo>
                    <a:pt x="15901" y="9522"/>
                  </a:lnTo>
                  <a:lnTo>
                    <a:pt x="15904" y="9483"/>
                  </a:lnTo>
                  <a:lnTo>
                    <a:pt x="15907" y="9445"/>
                  </a:lnTo>
                  <a:lnTo>
                    <a:pt x="15909" y="9406"/>
                  </a:lnTo>
                  <a:lnTo>
                    <a:pt x="15910" y="9366"/>
                  </a:lnTo>
                  <a:lnTo>
                    <a:pt x="15910" y="9328"/>
                  </a:lnTo>
                  <a:lnTo>
                    <a:pt x="15910" y="9289"/>
                  </a:lnTo>
                  <a:lnTo>
                    <a:pt x="15908" y="9251"/>
                  </a:lnTo>
                  <a:lnTo>
                    <a:pt x="15906" y="9211"/>
                  </a:lnTo>
                  <a:lnTo>
                    <a:pt x="15904" y="9173"/>
                  </a:lnTo>
                  <a:lnTo>
                    <a:pt x="15900" y="9135"/>
                  </a:lnTo>
                  <a:lnTo>
                    <a:pt x="15896" y="9097"/>
                  </a:lnTo>
                  <a:lnTo>
                    <a:pt x="15890" y="9058"/>
                  </a:lnTo>
                  <a:lnTo>
                    <a:pt x="15885" y="9020"/>
                  </a:lnTo>
                  <a:lnTo>
                    <a:pt x="15878" y="8982"/>
                  </a:lnTo>
                  <a:lnTo>
                    <a:pt x="15871" y="8945"/>
                  </a:lnTo>
                  <a:lnTo>
                    <a:pt x="15862" y="8907"/>
                  </a:lnTo>
                  <a:lnTo>
                    <a:pt x="15854" y="8870"/>
                  </a:lnTo>
                  <a:lnTo>
                    <a:pt x="15844" y="8833"/>
                  </a:lnTo>
                  <a:lnTo>
                    <a:pt x="15834" y="8796"/>
                  </a:lnTo>
                  <a:lnTo>
                    <a:pt x="15822" y="8760"/>
                  </a:lnTo>
                  <a:lnTo>
                    <a:pt x="15810" y="8723"/>
                  </a:lnTo>
                  <a:lnTo>
                    <a:pt x="15797" y="8687"/>
                  </a:lnTo>
                  <a:lnTo>
                    <a:pt x="15784" y="8652"/>
                  </a:lnTo>
                  <a:lnTo>
                    <a:pt x="15770" y="8617"/>
                  </a:lnTo>
                  <a:lnTo>
                    <a:pt x="15755" y="8582"/>
                  </a:lnTo>
                  <a:lnTo>
                    <a:pt x="15740" y="8547"/>
                  </a:lnTo>
                  <a:lnTo>
                    <a:pt x="15724" y="8513"/>
                  </a:lnTo>
                  <a:lnTo>
                    <a:pt x="15707" y="8479"/>
                  </a:lnTo>
                  <a:lnTo>
                    <a:pt x="15689" y="8446"/>
                  </a:lnTo>
                  <a:lnTo>
                    <a:pt x="15716" y="8416"/>
                  </a:lnTo>
                  <a:lnTo>
                    <a:pt x="15741" y="8384"/>
                  </a:lnTo>
                  <a:lnTo>
                    <a:pt x="15766" y="8353"/>
                  </a:lnTo>
                  <a:lnTo>
                    <a:pt x="15789" y="8322"/>
                  </a:lnTo>
                  <a:lnTo>
                    <a:pt x="15812" y="8290"/>
                  </a:lnTo>
                  <a:lnTo>
                    <a:pt x="15834" y="8258"/>
                  </a:lnTo>
                  <a:lnTo>
                    <a:pt x="15855" y="8226"/>
                  </a:lnTo>
                  <a:lnTo>
                    <a:pt x="15875" y="8192"/>
                  </a:lnTo>
                  <a:lnTo>
                    <a:pt x="15894" y="8159"/>
                  </a:lnTo>
                  <a:lnTo>
                    <a:pt x="15913" y="8125"/>
                  </a:lnTo>
                  <a:lnTo>
                    <a:pt x="15930" y="8092"/>
                  </a:lnTo>
                  <a:lnTo>
                    <a:pt x="15947" y="8058"/>
                  </a:lnTo>
                  <a:lnTo>
                    <a:pt x="15963" y="8022"/>
                  </a:lnTo>
                  <a:lnTo>
                    <a:pt x="15979" y="7988"/>
                  </a:lnTo>
                  <a:lnTo>
                    <a:pt x="15993" y="7953"/>
                  </a:lnTo>
                  <a:lnTo>
                    <a:pt x="16006" y="7918"/>
                  </a:lnTo>
                  <a:lnTo>
                    <a:pt x="16019" y="7884"/>
                  </a:lnTo>
                  <a:lnTo>
                    <a:pt x="16031" y="7847"/>
                  </a:lnTo>
                  <a:lnTo>
                    <a:pt x="16042" y="7812"/>
                  </a:lnTo>
                  <a:lnTo>
                    <a:pt x="16052" y="7777"/>
                  </a:lnTo>
                  <a:lnTo>
                    <a:pt x="16062" y="7742"/>
                  </a:lnTo>
                  <a:lnTo>
                    <a:pt x="16070" y="7705"/>
                  </a:lnTo>
                  <a:lnTo>
                    <a:pt x="16079" y="7670"/>
                  </a:lnTo>
                  <a:lnTo>
                    <a:pt x="16087" y="7634"/>
                  </a:lnTo>
                  <a:lnTo>
                    <a:pt x="16093" y="7599"/>
                  </a:lnTo>
                  <a:lnTo>
                    <a:pt x="16099" y="7564"/>
                  </a:lnTo>
                  <a:lnTo>
                    <a:pt x="16104" y="7527"/>
                  </a:lnTo>
                  <a:lnTo>
                    <a:pt x="16109" y="7492"/>
                  </a:lnTo>
                  <a:lnTo>
                    <a:pt x="16112" y="7457"/>
                  </a:lnTo>
                  <a:lnTo>
                    <a:pt x="16115" y="7422"/>
                  </a:lnTo>
                  <a:lnTo>
                    <a:pt x="16118" y="7387"/>
                  </a:lnTo>
                  <a:lnTo>
                    <a:pt x="16119" y="7351"/>
                  </a:lnTo>
                  <a:lnTo>
                    <a:pt x="16125" y="7246"/>
                  </a:lnTo>
                  <a:lnTo>
                    <a:pt x="16127" y="7223"/>
                  </a:lnTo>
                  <a:lnTo>
                    <a:pt x="16128" y="7199"/>
                  </a:lnTo>
                  <a:lnTo>
                    <a:pt x="16129" y="7175"/>
                  </a:lnTo>
                  <a:lnTo>
                    <a:pt x="16130" y="7149"/>
                  </a:lnTo>
                  <a:lnTo>
                    <a:pt x="16131" y="7120"/>
                  </a:lnTo>
                  <a:lnTo>
                    <a:pt x="16132" y="7086"/>
                  </a:lnTo>
                  <a:lnTo>
                    <a:pt x="16132" y="7044"/>
                  </a:lnTo>
                  <a:lnTo>
                    <a:pt x="16132" y="6994"/>
                  </a:lnTo>
                  <a:lnTo>
                    <a:pt x="16131" y="6934"/>
                  </a:lnTo>
                  <a:lnTo>
                    <a:pt x="16127" y="6874"/>
                  </a:lnTo>
                  <a:lnTo>
                    <a:pt x="16120" y="6811"/>
                  </a:lnTo>
                  <a:lnTo>
                    <a:pt x="16111" y="6749"/>
                  </a:lnTo>
                  <a:lnTo>
                    <a:pt x="16100" y="6686"/>
                  </a:lnTo>
                  <a:lnTo>
                    <a:pt x="16085" y="6623"/>
                  </a:lnTo>
                  <a:lnTo>
                    <a:pt x="16067" y="6560"/>
                  </a:lnTo>
                  <a:lnTo>
                    <a:pt x="16047" y="6495"/>
                  </a:lnTo>
                  <a:lnTo>
                    <a:pt x="16025" y="6432"/>
                  </a:lnTo>
                  <a:lnTo>
                    <a:pt x="16000" y="6369"/>
                  </a:lnTo>
                  <a:lnTo>
                    <a:pt x="15972" y="6305"/>
                  </a:lnTo>
                  <a:lnTo>
                    <a:pt x="15940" y="6243"/>
                  </a:lnTo>
                  <a:lnTo>
                    <a:pt x="15906" y="6180"/>
                  </a:lnTo>
                  <a:lnTo>
                    <a:pt x="15870" y="6119"/>
                  </a:lnTo>
                  <a:lnTo>
                    <a:pt x="15831" y="6058"/>
                  </a:lnTo>
                  <a:lnTo>
                    <a:pt x="15788" y="5997"/>
                  </a:lnTo>
                  <a:lnTo>
                    <a:pt x="15743" y="5939"/>
                  </a:lnTo>
                  <a:lnTo>
                    <a:pt x="15694" y="5881"/>
                  </a:lnTo>
                  <a:lnTo>
                    <a:pt x="15643" y="5824"/>
                  </a:lnTo>
                  <a:lnTo>
                    <a:pt x="15590" y="5770"/>
                  </a:lnTo>
                  <a:lnTo>
                    <a:pt x="15532" y="5716"/>
                  </a:lnTo>
                  <a:lnTo>
                    <a:pt x="15473" y="5664"/>
                  </a:lnTo>
                  <a:lnTo>
                    <a:pt x="15409" y="5614"/>
                  </a:lnTo>
                  <a:lnTo>
                    <a:pt x="15344" y="5566"/>
                  </a:lnTo>
                  <a:lnTo>
                    <a:pt x="15274" y="5521"/>
                  </a:lnTo>
                  <a:lnTo>
                    <a:pt x="15201" y="5476"/>
                  </a:lnTo>
                  <a:lnTo>
                    <a:pt x="15127" y="5435"/>
                  </a:lnTo>
                  <a:lnTo>
                    <a:pt x="15048" y="5396"/>
                  </a:lnTo>
                  <a:lnTo>
                    <a:pt x="14966" y="5360"/>
                  </a:lnTo>
                  <a:lnTo>
                    <a:pt x="14882" y="5325"/>
                  </a:lnTo>
                  <a:lnTo>
                    <a:pt x="14794" y="5295"/>
                  </a:lnTo>
                  <a:lnTo>
                    <a:pt x="14702" y="52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26" name="ïṩļídè">
              <a:extLst>
                <a:ext uri="{FF2B5EF4-FFF2-40B4-BE49-F238E27FC236}">
                  <a16:creationId xmlns:a16="http://schemas.microsoft.com/office/drawing/2014/main" id="{00D50E18-5D09-4E14-9761-D86EA94AE16B}"/>
                </a:ext>
              </a:extLst>
            </p:cNvPr>
            <p:cNvSpPr/>
            <p:nvPr/>
          </p:nvSpPr>
          <p:spPr bwMode="auto">
            <a:xfrm>
              <a:off x="7454863" y="534039"/>
              <a:ext cx="57809" cy="57808"/>
            </a:xfrm>
            <a:custGeom>
              <a:avLst/>
              <a:gdLst>
                <a:gd name="T0" fmla="*/ 706 w 1513"/>
                <a:gd name="T1" fmla="*/ 1001 h 1509"/>
                <a:gd name="T2" fmla="*/ 648 w 1513"/>
                <a:gd name="T3" fmla="*/ 981 h 1509"/>
                <a:gd name="T4" fmla="*/ 596 w 1513"/>
                <a:gd name="T5" fmla="*/ 949 h 1509"/>
                <a:gd name="T6" fmla="*/ 555 w 1513"/>
                <a:gd name="T7" fmla="*/ 905 h 1509"/>
                <a:gd name="T8" fmla="*/ 525 w 1513"/>
                <a:gd name="T9" fmla="*/ 852 h 1509"/>
                <a:gd name="T10" fmla="*/ 508 w 1513"/>
                <a:gd name="T11" fmla="*/ 793 h 1509"/>
                <a:gd name="T12" fmla="*/ 507 w 1513"/>
                <a:gd name="T13" fmla="*/ 728 h 1509"/>
                <a:gd name="T14" fmla="*/ 520 w 1513"/>
                <a:gd name="T15" fmla="*/ 668 h 1509"/>
                <a:gd name="T16" fmla="*/ 548 w 1513"/>
                <a:gd name="T17" fmla="*/ 614 h 1509"/>
                <a:gd name="T18" fmla="*/ 587 w 1513"/>
                <a:gd name="T19" fmla="*/ 569 h 1509"/>
                <a:gd name="T20" fmla="*/ 637 w 1513"/>
                <a:gd name="T21" fmla="*/ 533 h 1509"/>
                <a:gd name="T22" fmla="*/ 694 w 1513"/>
                <a:gd name="T23" fmla="*/ 511 h 1509"/>
                <a:gd name="T24" fmla="*/ 757 w 1513"/>
                <a:gd name="T25" fmla="*/ 503 h 1509"/>
                <a:gd name="T26" fmla="*/ 819 w 1513"/>
                <a:gd name="T27" fmla="*/ 511 h 1509"/>
                <a:gd name="T28" fmla="*/ 877 w 1513"/>
                <a:gd name="T29" fmla="*/ 533 h 1509"/>
                <a:gd name="T30" fmla="*/ 926 w 1513"/>
                <a:gd name="T31" fmla="*/ 569 h 1509"/>
                <a:gd name="T32" fmla="*/ 965 w 1513"/>
                <a:gd name="T33" fmla="*/ 614 h 1509"/>
                <a:gd name="T34" fmla="*/ 994 w 1513"/>
                <a:gd name="T35" fmla="*/ 668 h 1509"/>
                <a:gd name="T36" fmla="*/ 1008 w 1513"/>
                <a:gd name="T37" fmla="*/ 728 h 1509"/>
                <a:gd name="T38" fmla="*/ 1006 w 1513"/>
                <a:gd name="T39" fmla="*/ 793 h 1509"/>
                <a:gd name="T40" fmla="*/ 988 w 1513"/>
                <a:gd name="T41" fmla="*/ 852 h 1509"/>
                <a:gd name="T42" fmla="*/ 958 w 1513"/>
                <a:gd name="T43" fmla="*/ 905 h 1509"/>
                <a:gd name="T44" fmla="*/ 917 w 1513"/>
                <a:gd name="T45" fmla="*/ 949 h 1509"/>
                <a:gd name="T46" fmla="*/ 865 w 1513"/>
                <a:gd name="T47" fmla="*/ 981 h 1509"/>
                <a:gd name="T48" fmla="*/ 807 w 1513"/>
                <a:gd name="T49" fmla="*/ 1001 h 1509"/>
                <a:gd name="T50" fmla="*/ 757 w 1513"/>
                <a:gd name="T51" fmla="*/ 0 h 1509"/>
                <a:gd name="T52" fmla="*/ 568 w 1513"/>
                <a:gd name="T53" fmla="*/ 23 h 1509"/>
                <a:gd name="T54" fmla="*/ 397 w 1513"/>
                <a:gd name="T55" fmla="*/ 91 h 1509"/>
                <a:gd name="T56" fmla="*/ 248 w 1513"/>
                <a:gd name="T57" fmla="*/ 196 h 1509"/>
                <a:gd name="T58" fmla="*/ 129 w 1513"/>
                <a:gd name="T59" fmla="*/ 333 h 1509"/>
                <a:gd name="T60" fmla="*/ 47 w 1513"/>
                <a:gd name="T61" fmla="*/ 495 h 1509"/>
                <a:gd name="T62" fmla="*/ 4 w 1513"/>
                <a:gd name="T63" fmla="*/ 677 h 1509"/>
                <a:gd name="T64" fmla="*/ 9 w 1513"/>
                <a:gd name="T65" fmla="*/ 869 h 1509"/>
                <a:gd name="T66" fmla="*/ 60 w 1513"/>
                <a:gd name="T67" fmla="*/ 1048 h 1509"/>
                <a:gd name="T68" fmla="*/ 151 w 1513"/>
                <a:gd name="T69" fmla="*/ 1206 h 1509"/>
                <a:gd name="T70" fmla="*/ 276 w 1513"/>
                <a:gd name="T71" fmla="*/ 1337 h 1509"/>
                <a:gd name="T72" fmla="*/ 429 w 1513"/>
                <a:gd name="T73" fmla="*/ 1435 h 1509"/>
                <a:gd name="T74" fmla="*/ 604 w 1513"/>
                <a:gd name="T75" fmla="*/ 1494 h 1509"/>
                <a:gd name="T76" fmla="*/ 796 w 1513"/>
                <a:gd name="T77" fmla="*/ 1508 h 1509"/>
                <a:gd name="T78" fmla="*/ 981 w 1513"/>
                <a:gd name="T79" fmla="*/ 1475 h 1509"/>
                <a:gd name="T80" fmla="*/ 1149 w 1513"/>
                <a:gd name="T81" fmla="*/ 1399 h 1509"/>
                <a:gd name="T82" fmla="*/ 1291 w 1513"/>
                <a:gd name="T83" fmla="*/ 1288 h 1509"/>
                <a:gd name="T84" fmla="*/ 1404 w 1513"/>
                <a:gd name="T85" fmla="*/ 1146 h 1509"/>
                <a:gd name="T86" fmla="*/ 1478 w 1513"/>
                <a:gd name="T87" fmla="*/ 979 h 1509"/>
                <a:gd name="T88" fmla="*/ 1512 w 1513"/>
                <a:gd name="T89" fmla="*/ 793 h 1509"/>
                <a:gd name="T90" fmla="*/ 1498 w 1513"/>
                <a:gd name="T91" fmla="*/ 603 h 1509"/>
                <a:gd name="T92" fmla="*/ 1438 w 1513"/>
                <a:gd name="T93" fmla="*/ 428 h 1509"/>
                <a:gd name="T94" fmla="*/ 1340 w 1513"/>
                <a:gd name="T95" fmla="*/ 275 h 1509"/>
                <a:gd name="T96" fmla="*/ 1209 w 1513"/>
                <a:gd name="T97" fmla="*/ 150 h 1509"/>
                <a:gd name="T98" fmla="*/ 1051 w 1513"/>
                <a:gd name="T99" fmla="*/ 60 h 1509"/>
                <a:gd name="T100" fmla="*/ 872 w 1513"/>
                <a:gd name="T101" fmla="*/ 8 h 1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13" h="1509">
                  <a:moveTo>
                    <a:pt x="757" y="1006"/>
                  </a:moveTo>
                  <a:lnTo>
                    <a:pt x="743" y="1006"/>
                  </a:lnTo>
                  <a:lnTo>
                    <a:pt x="731" y="1005"/>
                  </a:lnTo>
                  <a:lnTo>
                    <a:pt x="718" y="1003"/>
                  </a:lnTo>
                  <a:lnTo>
                    <a:pt x="706" y="1001"/>
                  </a:lnTo>
                  <a:lnTo>
                    <a:pt x="694" y="998"/>
                  </a:lnTo>
                  <a:lnTo>
                    <a:pt x="682" y="995"/>
                  </a:lnTo>
                  <a:lnTo>
                    <a:pt x="670" y="991"/>
                  </a:lnTo>
                  <a:lnTo>
                    <a:pt x="659" y="986"/>
                  </a:lnTo>
                  <a:lnTo>
                    <a:pt x="648" y="981"/>
                  </a:lnTo>
                  <a:lnTo>
                    <a:pt x="637" y="976"/>
                  </a:lnTo>
                  <a:lnTo>
                    <a:pt x="626" y="970"/>
                  </a:lnTo>
                  <a:lnTo>
                    <a:pt x="616" y="963"/>
                  </a:lnTo>
                  <a:lnTo>
                    <a:pt x="606" y="956"/>
                  </a:lnTo>
                  <a:lnTo>
                    <a:pt x="596" y="949"/>
                  </a:lnTo>
                  <a:lnTo>
                    <a:pt x="587" y="941"/>
                  </a:lnTo>
                  <a:lnTo>
                    <a:pt x="579" y="932"/>
                  </a:lnTo>
                  <a:lnTo>
                    <a:pt x="570" y="924"/>
                  </a:lnTo>
                  <a:lnTo>
                    <a:pt x="563" y="915"/>
                  </a:lnTo>
                  <a:lnTo>
                    <a:pt x="555" y="905"/>
                  </a:lnTo>
                  <a:lnTo>
                    <a:pt x="548" y="894"/>
                  </a:lnTo>
                  <a:lnTo>
                    <a:pt x="542" y="884"/>
                  </a:lnTo>
                  <a:lnTo>
                    <a:pt x="536" y="874"/>
                  </a:lnTo>
                  <a:lnTo>
                    <a:pt x="530" y="863"/>
                  </a:lnTo>
                  <a:lnTo>
                    <a:pt x="525" y="852"/>
                  </a:lnTo>
                  <a:lnTo>
                    <a:pt x="520" y="841"/>
                  </a:lnTo>
                  <a:lnTo>
                    <a:pt x="517" y="829"/>
                  </a:lnTo>
                  <a:lnTo>
                    <a:pt x="513" y="817"/>
                  </a:lnTo>
                  <a:lnTo>
                    <a:pt x="510" y="805"/>
                  </a:lnTo>
                  <a:lnTo>
                    <a:pt x="508" y="793"/>
                  </a:lnTo>
                  <a:lnTo>
                    <a:pt x="507" y="780"/>
                  </a:lnTo>
                  <a:lnTo>
                    <a:pt x="506" y="768"/>
                  </a:lnTo>
                  <a:lnTo>
                    <a:pt x="505" y="755"/>
                  </a:lnTo>
                  <a:lnTo>
                    <a:pt x="506" y="742"/>
                  </a:lnTo>
                  <a:lnTo>
                    <a:pt x="507" y="728"/>
                  </a:lnTo>
                  <a:lnTo>
                    <a:pt x="508" y="716"/>
                  </a:lnTo>
                  <a:lnTo>
                    <a:pt x="510" y="704"/>
                  </a:lnTo>
                  <a:lnTo>
                    <a:pt x="513" y="692"/>
                  </a:lnTo>
                  <a:lnTo>
                    <a:pt x="517" y="680"/>
                  </a:lnTo>
                  <a:lnTo>
                    <a:pt x="520" y="668"/>
                  </a:lnTo>
                  <a:lnTo>
                    <a:pt x="525" y="657"/>
                  </a:lnTo>
                  <a:lnTo>
                    <a:pt x="530" y="646"/>
                  </a:lnTo>
                  <a:lnTo>
                    <a:pt x="536" y="635"/>
                  </a:lnTo>
                  <a:lnTo>
                    <a:pt x="542" y="624"/>
                  </a:lnTo>
                  <a:lnTo>
                    <a:pt x="548" y="614"/>
                  </a:lnTo>
                  <a:lnTo>
                    <a:pt x="555" y="605"/>
                  </a:lnTo>
                  <a:lnTo>
                    <a:pt x="563" y="595"/>
                  </a:lnTo>
                  <a:lnTo>
                    <a:pt x="570" y="586"/>
                  </a:lnTo>
                  <a:lnTo>
                    <a:pt x="579" y="577"/>
                  </a:lnTo>
                  <a:lnTo>
                    <a:pt x="587" y="569"/>
                  </a:lnTo>
                  <a:lnTo>
                    <a:pt x="596" y="560"/>
                  </a:lnTo>
                  <a:lnTo>
                    <a:pt x="606" y="553"/>
                  </a:lnTo>
                  <a:lnTo>
                    <a:pt x="616" y="546"/>
                  </a:lnTo>
                  <a:lnTo>
                    <a:pt x="626" y="539"/>
                  </a:lnTo>
                  <a:lnTo>
                    <a:pt x="637" y="533"/>
                  </a:lnTo>
                  <a:lnTo>
                    <a:pt x="648" y="528"/>
                  </a:lnTo>
                  <a:lnTo>
                    <a:pt x="659" y="523"/>
                  </a:lnTo>
                  <a:lnTo>
                    <a:pt x="670" y="518"/>
                  </a:lnTo>
                  <a:lnTo>
                    <a:pt x="682" y="514"/>
                  </a:lnTo>
                  <a:lnTo>
                    <a:pt x="694" y="511"/>
                  </a:lnTo>
                  <a:lnTo>
                    <a:pt x="706" y="508"/>
                  </a:lnTo>
                  <a:lnTo>
                    <a:pt x="718" y="506"/>
                  </a:lnTo>
                  <a:lnTo>
                    <a:pt x="731" y="504"/>
                  </a:lnTo>
                  <a:lnTo>
                    <a:pt x="743" y="503"/>
                  </a:lnTo>
                  <a:lnTo>
                    <a:pt x="757" y="503"/>
                  </a:lnTo>
                  <a:lnTo>
                    <a:pt x="770" y="503"/>
                  </a:lnTo>
                  <a:lnTo>
                    <a:pt x="783" y="504"/>
                  </a:lnTo>
                  <a:lnTo>
                    <a:pt x="795" y="506"/>
                  </a:lnTo>
                  <a:lnTo>
                    <a:pt x="807" y="508"/>
                  </a:lnTo>
                  <a:lnTo>
                    <a:pt x="819" y="511"/>
                  </a:lnTo>
                  <a:lnTo>
                    <a:pt x="831" y="514"/>
                  </a:lnTo>
                  <a:lnTo>
                    <a:pt x="843" y="518"/>
                  </a:lnTo>
                  <a:lnTo>
                    <a:pt x="854" y="523"/>
                  </a:lnTo>
                  <a:lnTo>
                    <a:pt x="865" y="528"/>
                  </a:lnTo>
                  <a:lnTo>
                    <a:pt x="877" y="533"/>
                  </a:lnTo>
                  <a:lnTo>
                    <a:pt x="888" y="539"/>
                  </a:lnTo>
                  <a:lnTo>
                    <a:pt x="898" y="546"/>
                  </a:lnTo>
                  <a:lnTo>
                    <a:pt x="908" y="553"/>
                  </a:lnTo>
                  <a:lnTo>
                    <a:pt x="917" y="560"/>
                  </a:lnTo>
                  <a:lnTo>
                    <a:pt x="926" y="569"/>
                  </a:lnTo>
                  <a:lnTo>
                    <a:pt x="935" y="577"/>
                  </a:lnTo>
                  <a:lnTo>
                    <a:pt x="943" y="586"/>
                  </a:lnTo>
                  <a:lnTo>
                    <a:pt x="951" y="595"/>
                  </a:lnTo>
                  <a:lnTo>
                    <a:pt x="958" y="605"/>
                  </a:lnTo>
                  <a:lnTo>
                    <a:pt x="965" y="614"/>
                  </a:lnTo>
                  <a:lnTo>
                    <a:pt x="972" y="624"/>
                  </a:lnTo>
                  <a:lnTo>
                    <a:pt x="978" y="635"/>
                  </a:lnTo>
                  <a:lnTo>
                    <a:pt x="983" y="646"/>
                  </a:lnTo>
                  <a:lnTo>
                    <a:pt x="988" y="657"/>
                  </a:lnTo>
                  <a:lnTo>
                    <a:pt x="994" y="668"/>
                  </a:lnTo>
                  <a:lnTo>
                    <a:pt x="998" y="680"/>
                  </a:lnTo>
                  <a:lnTo>
                    <a:pt x="1001" y="692"/>
                  </a:lnTo>
                  <a:lnTo>
                    <a:pt x="1004" y="704"/>
                  </a:lnTo>
                  <a:lnTo>
                    <a:pt x="1006" y="716"/>
                  </a:lnTo>
                  <a:lnTo>
                    <a:pt x="1008" y="728"/>
                  </a:lnTo>
                  <a:lnTo>
                    <a:pt x="1009" y="742"/>
                  </a:lnTo>
                  <a:lnTo>
                    <a:pt x="1009" y="755"/>
                  </a:lnTo>
                  <a:lnTo>
                    <a:pt x="1009" y="768"/>
                  </a:lnTo>
                  <a:lnTo>
                    <a:pt x="1008" y="780"/>
                  </a:lnTo>
                  <a:lnTo>
                    <a:pt x="1006" y="793"/>
                  </a:lnTo>
                  <a:lnTo>
                    <a:pt x="1004" y="805"/>
                  </a:lnTo>
                  <a:lnTo>
                    <a:pt x="1001" y="817"/>
                  </a:lnTo>
                  <a:lnTo>
                    <a:pt x="998" y="829"/>
                  </a:lnTo>
                  <a:lnTo>
                    <a:pt x="994" y="841"/>
                  </a:lnTo>
                  <a:lnTo>
                    <a:pt x="988" y="852"/>
                  </a:lnTo>
                  <a:lnTo>
                    <a:pt x="983" y="863"/>
                  </a:lnTo>
                  <a:lnTo>
                    <a:pt x="978" y="874"/>
                  </a:lnTo>
                  <a:lnTo>
                    <a:pt x="972" y="884"/>
                  </a:lnTo>
                  <a:lnTo>
                    <a:pt x="965" y="894"/>
                  </a:lnTo>
                  <a:lnTo>
                    <a:pt x="958" y="905"/>
                  </a:lnTo>
                  <a:lnTo>
                    <a:pt x="951" y="915"/>
                  </a:lnTo>
                  <a:lnTo>
                    <a:pt x="943" y="924"/>
                  </a:lnTo>
                  <a:lnTo>
                    <a:pt x="935" y="932"/>
                  </a:lnTo>
                  <a:lnTo>
                    <a:pt x="926" y="941"/>
                  </a:lnTo>
                  <a:lnTo>
                    <a:pt x="917" y="949"/>
                  </a:lnTo>
                  <a:lnTo>
                    <a:pt x="908" y="956"/>
                  </a:lnTo>
                  <a:lnTo>
                    <a:pt x="898" y="963"/>
                  </a:lnTo>
                  <a:lnTo>
                    <a:pt x="888" y="970"/>
                  </a:lnTo>
                  <a:lnTo>
                    <a:pt x="877" y="976"/>
                  </a:lnTo>
                  <a:lnTo>
                    <a:pt x="865" y="981"/>
                  </a:lnTo>
                  <a:lnTo>
                    <a:pt x="854" y="986"/>
                  </a:lnTo>
                  <a:lnTo>
                    <a:pt x="843" y="991"/>
                  </a:lnTo>
                  <a:lnTo>
                    <a:pt x="831" y="995"/>
                  </a:lnTo>
                  <a:lnTo>
                    <a:pt x="819" y="998"/>
                  </a:lnTo>
                  <a:lnTo>
                    <a:pt x="807" y="1001"/>
                  </a:lnTo>
                  <a:lnTo>
                    <a:pt x="795" y="1003"/>
                  </a:lnTo>
                  <a:lnTo>
                    <a:pt x="783" y="1005"/>
                  </a:lnTo>
                  <a:lnTo>
                    <a:pt x="770" y="1006"/>
                  </a:lnTo>
                  <a:lnTo>
                    <a:pt x="757" y="1006"/>
                  </a:lnTo>
                  <a:close/>
                  <a:moveTo>
                    <a:pt x="757" y="0"/>
                  </a:moveTo>
                  <a:lnTo>
                    <a:pt x="718" y="1"/>
                  </a:lnTo>
                  <a:lnTo>
                    <a:pt x="679" y="4"/>
                  </a:lnTo>
                  <a:lnTo>
                    <a:pt x="642" y="8"/>
                  </a:lnTo>
                  <a:lnTo>
                    <a:pt x="604" y="15"/>
                  </a:lnTo>
                  <a:lnTo>
                    <a:pt x="568" y="23"/>
                  </a:lnTo>
                  <a:lnTo>
                    <a:pt x="532" y="34"/>
                  </a:lnTo>
                  <a:lnTo>
                    <a:pt x="496" y="45"/>
                  </a:lnTo>
                  <a:lnTo>
                    <a:pt x="462" y="60"/>
                  </a:lnTo>
                  <a:lnTo>
                    <a:pt x="429" y="75"/>
                  </a:lnTo>
                  <a:lnTo>
                    <a:pt x="397" y="91"/>
                  </a:lnTo>
                  <a:lnTo>
                    <a:pt x="364" y="109"/>
                  </a:lnTo>
                  <a:lnTo>
                    <a:pt x="334" y="129"/>
                  </a:lnTo>
                  <a:lnTo>
                    <a:pt x="304" y="150"/>
                  </a:lnTo>
                  <a:lnTo>
                    <a:pt x="276" y="172"/>
                  </a:lnTo>
                  <a:lnTo>
                    <a:pt x="248" y="196"/>
                  </a:lnTo>
                  <a:lnTo>
                    <a:pt x="222" y="221"/>
                  </a:lnTo>
                  <a:lnTo>
                    <a:pt x="197" y="248"/>
                  </a:lnTo>
                  <a:lnTo>
                    <a:pt x="174" y="275"/>
                  </a:lnTo>
                  <a:lnTo>
                    <a:pt x="151" y="303"/>
                  </a:lnTo>
                  <a:lnTo>
                    <a:pt x="129" y="333"/>
                  </a:lnTo>
                  <a:lnTo>
                    <a:pt x="110" y="363"/>
                  </a:lnTo>
                  <a:lnTo>
                    <a:pt x="92" y="395"/>
                  </a:lnTo>
                  <a:lnTo>
                    <a:pt x="75" y="428"/>
                  </a:lnTo>
                  <a:lnTo>
                    <a:pt x="60" y="461"/>
                  </a:lnTo>
                  <a:lnTo>
                    <a:pt x="47" y="495"/>
                  </a:lnTo>
                  <a:lnTo>
                    <a:pt x="35" y="530"/>
                  </a:lnTo>
                  <a:lnTo>
                    <a:pt x="25" y="567"/>
                  </a:lnTo>
                  <a:lnTo>
                    <a:pt x="17" y="603"/>
                  </a:lnTo>
                  <a:lnTo>
                    <a:pt x="9" y="640"/>
                  </a:lnTo>
                  <a:lnTo>
                    <a:pt x="4" y="677"/>
                  </a:lnTo>
                  <a:lnTo>
                    <a:pt x="1" y="715"/>
                  </a:lnTo>
                  <a:lnTo>
                    <a:pt x="0" y="755"/>
                  </a:lnTo>
                  <a:lnTo>
                    <a:pt x="1" y="793"/>
                  </a:lnTo>
                  <a:lnTo>
                    <a:pt x="4" y="832"/>
                  </a:lnTo>
                  <a:lnTo>
                    <a:pt x="9" y="869"/>
                  </a:lnTo>
                  <a:lnTo>
                    <a:pt x="17" y="907"/>
                  </a:lnTo>
                  <a:lnTo>
                    <a:pt x="25" y="943"/>
                  </a:lnTo>
                  <a:lnTo>
                    <a:pt x="35" y="979"/>
                  </a:lnTo>
                  <a:lnTo>
                    <a:pt x="47" y="1014"/>
                  </a:lnTo>
                  <a:lnTo>
                    <a:pt x="60" y="1048"/>
                  </a:lnTo>
                  <a:lnTo>
                    <a:pt x="75" y="1082"/>
                  </a:lnTo>
                  <a:lnTo>
                    <a:pt x="92" y="1114"/>
                  </a:lnTo>
                  <a:lnTo>
                    <a:pt x="110" y="1146"/>
                  </a:lnTo>
                  <a:lnTo>
                    <a:pt x="129" y="1176"/>
                  </a:lnTo>
                  <a:lnTo>
                    <a:pt x="151" y="1206"/>
                  </a:lnTo>
                  <a:lnTo>
                    <a:pt x="174" y="1234"/>
                  </a:lnTo>
                  <a:lnTo>
                    <a:pt x="197" y="1262"/>
                  </a:lnTo>
                  <a:lnTo>
                    <a:pt x="222" y="1288"/>
                  </a:lnTo>
                  <a:lnTo>
                    <a:pt x="248" y="1313"/>
                  </a:lnTo>
                  <a:lnTo>
                    <a:pt x="276" y="1337"/>
                  </a:lnTo>
                  <a:lnTo>
                    <a:pt x="304" y="1359"/>
                  </a:lnTo>
                  <a:lnTo>
                    <a:pt x="334" y="1380"/>
                  </a:lnTo>
                  <a:lnTo>
                    <a:pt x="364" y="1399"/>
                  </a:lnTo>
                  <a:lnTo>
                    <a:pt x="397" y="1418"/>
                  </a:lnTo>
                  <a:lnTo>
                    <a:pt x="429" y="1435"/>
                  </a:lnTo>
                  <a:lnTo>
                    <a:pt x="462" y="1450"/>
                  </a:lnTo>
                  <a:lnTo>
                    <a:pt x="496" y="1463"/>
                  </a:lnTo>
                  <a:lnTo>
                    <a:pt x="532" y="1475"/>
                  </a:lnTo>
                  <a:lnTo>
                    <a:pt x="568" y="1485"/>
                  </a:lnTo>
                  <a:lnTo>
                    <a:pt x="604" y="1494"/>
                  </a:lnTo>
                  <a:lnTo>
                    <a:pt x="642" y="1500"/>
                  </a:lnTo>
                  <a:lnTo>
                    <a:pt x="679" y="1505"/>
                  </a:lnTo>
                  <a:lnTo>
                    <a:pt x="718" y="1508"/>
                  </a:lnTo>
                  <a:lnTo>
                    <a:pt x="757" y="1509"/>
                  </a:lnTo>
                  <a:lnTo>
                    <a:pt x="796" y="1508"/>
                  </a:lnTo>
                  <a:lnTo>
                    <a:pt x="834" y="1505"/>
                  </a:lnTo>
                  <a:lnTo>
                    <a:pt x="872" y="1500"/>
                  </a:lnTo>
                  <a:lnTo>
                    <a:pt x="909" y="1494"/>
                  </a:lnTo>
                  <a:lnTo>
                    <a:pt x="945" y="1485"/>
                  </a:lnTo>
                  <a:lnTo>
                    <a:pt x="981" y="1475"/>
                  </a:lnTo>
                  <a:lnTo>
                    <a:pt x="1017" y="1463"/>
                  </a:lnTo>
                  <a:lnTo>
                    <a:pt x="1051" y="1450"/>
                  </a:lnTo>
                  <a:lnTo>
                    <a:pt x="1084" y="1435"/>
                  </a:lnTo>
                  <a:lnTo>
                    <a:pt x="1118" y="1418"/>
                  </a:lnTo>
                  <a:lnTo>
                    <a:pt x="1149" y="1399"/>
                  </a:lnTo>
                  <a:lnTo>
                    <a:pt x="1179" y="1380"/>
                  </a:lnTo>
                  <a:lnTo>
                    <a:pt x="1209" y="1359"/>
                  </a:lnTo>
                  <a:lnTo>
                    <a:pt x="1237" y="1337"/>
                  </a:lnTo>
                  <a:lnTo>
                    <a:pt x="1265" y="1313"/>
                  </a:lnTo>
                  <a:lnTo>
                    <a:pt x="1291" y="1288"/>
                  </a:lnTo>
                  <a:lnTo>
                    <a:pt x="1316" y="1262"/>
                  </a:lnTo>
                  <a:lnTo>
                    <a:pt x="1340" y="1234"/>
                  </a:lnTo>
                  <a:lnTo>
                    <a:pt x="1363" y="1206"/>
                  </a:lnTo>
                  <a:lnTo>
                    <a:pt x="1384" y="1176"/>
                  </a:lnTo>
                  <a:lnTo>
                    <a:pt x="1404" y="1146"/>
                  </a:lnTo>
                  <a:lnTo>
                    <a:pt x="1422" y="1114"/>
                  </a:lnTo>
                  <a:lnTo>
                    <a:pt x="1438" y="1082"/>
                  </a:lnTo>
                  <a:lnTo>
                    <a:pt x="1453" y="1048"/>
                  </a:lnTo>
                  <a:lnTo>
                    <a:pt x="1467" y="1014"/>
                  </a:lnTo>
                  <a:lnTo>
                    <a:pt x="1478" y="979"/>
                  </a:lnTo>
                  <a:lnTo>
                    <a:pt x="1490" y="943"/>
                  </a:lnTo>
                  <a:lnTo>
                    <a:pt x="1498" y="907"/>
                  </a:lnTo>
                  <a:lnTo>
                    <a:pt x="1505" y="869"/>
                  </a:lnTo>
                  <a:lnTo>
                    <a:pt x="1509" y="832"/>
                  </a:lnTo>
                  <a:lnTo>
                    <a:pt x="1512" y="793"/>
                  </a:lnTo>
                  <a:lnTo>
                    <a:pt x="1513" y="755"/>
                  </a:lnTo>
                  <a:lnTo>
                    <a:pt x="1512" y="715"/>
                  </a:lnTo>
                  <a:lnTo>
                    <a:pt x="1509" y="677"/>
                  </a:lnTo>
                  <a:lnTo>
                    <a:pt x="1505" y="640"/>
                  </a:lnTo>
                  <a:lnTo>
                    <a:pt x="1498" y="603"/>
                  </a:lnTo>
                  <a:lnTo>
                    <a:pt x="1490" y="567"/>
                  </a:lnTo>
                  <a:lnTo>
                    <a:pt x="1478" y="530"/>
                  </a:lnTo>
                  <a:lnTo>
                    <a:pt x="1467" y="495"/>
                  </a:lnTo>
                  <a:lnTo>
                    <a:pt x="1453" y="461"/>
                  </a:lnTo>
                  <a:lnTo>
                    <a:pt x="1438" y="428"/>
                  </a:lnTo>
                  <a:lnTo>
                    <a:pt x="1422" y="395"/>
                  </a:lnTo>
                  <a:lnTo>
                    <a:pt x="1404" y="363"/>
                  </a:lnTo>
                  <a:lnTo>
                    <a:pt x="1384" y="333"/>
                  </a:lnTo>
                  <a:lnTo>
                    <a:pt x="1363" y="303"/>
                  </a:lnTo>
                  <a:lnTo>
                    <a:pt x="1340" y="275"/>
                  </a:lnTo>
                  <a:lnTo>
                    <a:pt x="1316" y="248"/>
                  </a:lnTo>
                  <a:lnTo>
                    <a:pt x="1291" y="221"/>
                  </a:lnTo>
                  <a:lnTo>
                    <a:pt x="1265" y="196"/>
                  </a:lnTo>
                  <a:lnTo>
                    <a:pt x="1237" y="172"/>
                  </a:lnTo>
                  <a:lnTo>
                    <a:pt x="1209" y="150"/>
                  </a:lnTo>
                  <a:lnTo>
                    <a:pt x="1179" y="129"/>
                  </a:lnTo>
                  <a:lnTo>
                    <a:pt x="1149" y="109"/>
                  </a:lnTo>
                  <a:lnTo>
                    <a:pt x="1118" y="91"/>
                  </a:lnTo>
                  <a:lnTo>
                    <a:pt x="1084" y="75"/>
                  </a:lnTo>
                  <a:lnTo>
                    <a:pt x="1051" y="60"/>
                  </a:lnTo>
                  <a:lnTo>
                    <a:pt x="1017" y="45"/>
                  </a:lnTo>
                  <a:lnTo>
                    <a:pt x="981" y="34"/>
                  </a:lnTo>
                  <a:lnTo>
                    <a:pt x="945" y="23"/>
                  </a:lnTo>
                  <a:lnTo>
                    <a:pt x="909" y="15"/>
                  </a:lnTo>
                  <a:lnTo>
                    <a:pt x="872" y="8"/>
                  </a:lnTo>
                  <a:lnTo>
                    <a:pt x="834" y="4"/>
                  </a:lnTo>
                  <a:lnTo>
                    <a:pt x="796" y="1"/>
                  </a:lnTo>
                  <a:lnTo>
                    <a:pt x="7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27" name="işliḍè">
              <a:extLst>
                <a:ext uri="{FF2B5EF4-FFF2-40B4-BE49-F238E27FC236}">
                  <a16:creationId xmlns:a16="http://schemas.microsoft.com/office/drawing/2014/main" id="{F912BDEA-269F-4C15-9EC0-E26472404726}"/>
                </a:ext>
              </a:extLst>
            </p:cNvPr>
            <p:cNvSpPr/>
            <p:nvPr/>
          </p:nvSpPr>
          <p:spPr bwMode="auto">
            <a:xfrm>
              <a:off x="7289667" y="698953"/>
              <a:ext cx="373600" cy="398323"/>
            </a:xfrm>
            <a:custGeom>
              <a:avLst/>
              <a:gdLst>
                <a:gd name="T0" fmla="*/ 14069 w 15096"/>
                <a:gd name="T1" fmla="*/ 14285 h 16095"/>
                <a:gd name="T2" fmla="*/ 13990 w 15096"/>
                <a:gd name="T3" fmla="*/ 14519 h 16095"/>
                <a:gd name="T4" fmla="*/ 13859 w 15096"/>
                <a:gd name="T5" fmla="*/ 14723 h 16095"/>
                <a:gd name="T6" fmla="*/ 13685 w 15096"/>
                <a:gd name="T7" fmla="*/ 14889 h 16095"/>
                <a:gd name="T8" fmla="*/ 13475 w 15096"/>
                <a:gd name="T9" fmla="*/ 15010 h 16095"/>
                <a:gd name="T10" fmla="*/ 13236 w 15096"/>
                <a:gd name="T11" fmla="*/ 15077 h 16095"/>
                <a:gd name="T12" fmla="*/ 1961 w 15096"/>
                <a:gd name="T13" fmla="*/ 15088 h 16095"/>
                <a:gd name="T14" fmla="*/ 1714 w 15096"/>
                <a:gd name="T15" fmla="*/ 15044 h 16095"/>
                <a:gd name="T16" fmla="*/ 1491 w 15096"/>
                <a:gd name="T17" fmla="*/ 14943 h 16095"/>
                <a:gd name="T18" fmla="*/ 1301 w 15096"/>
                <a:gd name="T19" fmla="*/ 14794 h 16095"/>
                <a:gd name="T20" fmla="*/ 1152 w 15096"/>
                <a:gd name="T21" fmla="*/ 14604 h 16095"/>
                <a:gd name="T22" fmla="*/ 1052 w 15096"/>
                <a:gd name="T23" fmla="*/ 14382 h 16095"/>
                <a:gd name="T24" fmla="*/ 1007 w 15096"/>
                <a:gd name="T25" fmla="*/ 14134 h 16095"/>
                <a:gd name="T26" fmla="*/ 1018 w 15096"/>
                <a:gd name="T27" fmla="*/ 1859 h 16095"/>
                <a:gd name="T28" fmla="*/ 1086 w 15096"/>
                <a:gd name="T29" fmla="*/ 1621 h 16095"/>
                <a:gd name="T30" fmla="*/ 1207 w 15096"/>
                <a:gd name="T31" fmla="*/ 1410 h 16095"/>
                <a:gd name="T32" fmla="*/ 1373 w 15096"/>
                <a:gd name="T33" fmla="*/ 1236 h 16095"/>
                <a:gd name="T34" fmla="*/ 1577 w 15096"/>
                <a:gd name="T35" fmla="*/ 1106 h 16095"/>
                <a:gd name="T36" fmla="*/ 1811 w 15096"/>
                <a:gd name="T37" fmla="*/ 1026 h 16095"/>
                <a:gd name="T38" fmla="*/ 13083 w 15096"/>
                <a:gd name="T39" fmla="*/ 1006 h 16095"/>
                <a:gd name="T40" fmla="*/ 13335 w 15096"/>
                <a:gd name="T41" fmla="*/ 1038 h 16095"/>
                <a:gd name="T42" fmla="*/ 13562 w 15096"/>
                <a:gd name="T43" fmla="*/ 1128 h 16095"/>
                <a:gd name="T44" fmla="*/ 13760 w 15096"/>
                <a:gd name="T45" fmla="*/ 1267 h 16095"/>
                <a:gd name="T46" fmla="*/ 13918 w 15096"/>
                <a:gd name="T47" fmla="*/ 1450 h 16095"/>
                <a:gd name="T48" fmla="*/ 14028 w 15096"/>
                <a:gd name="T49" fmla="*/ 1667 h 16095"/>
                <a:gd name="T50" fmla="*/ 14085 w 15096"/>
                <a:gd name="T51" fmla="*/ 1909 h 16095"/>
                <a:gd name="T52" fmla="*/ 2013 w 15096"/>
                <a:gd name="T53" fmla="*/ 0 h 16095"/>
                <a:gd name="T54" fmla="*/ 1510 w 15096"/>
                <a:gd name="T55" fmla="*/ 63 h 16095"/>
                <a:gd name="T56" fmla="*/ 1054 w 15096"/>
                <a:gd name="T57" fmla="*/ 242 h 16095"/>
                <a:gd name="T58" fmla="*/ 659 w 15096"/>
                <a:gd name="T59" fmla="*/ 523 h 16095"/>
                <a:gd name="T60" fmla="*/ 344 w 15096"/>
                <a:gd name="T61" fmla="*/ 887 h 16095"/>
                <a:gd name="T62" fmla="*/ 122 w 15096"/>
                <a:gd name="T63" fmla="*/ 1320 h 16095"/>
                <a:gd name="T64" fmla="*/ 10 w 15096"/>
                <a:gd name="T65" fmla="*/ 1807 h 16095"/>
                <a:gd name="T66" fmla="*/ 10 w 15096"/>
                <a:gd name="T67" fmla="*/ 14289 h 16095"/>
                <a:gd name="T68" fmla="*/ 122 w 15096"/>
                <a:gd name="T69" fmla="*/ 14775 h 16095"/>
                <a:gd name="T70" fmla="*/ 344 w 15096"/>
                <a:gd name="T71" fmla="*/ 15208 h 16095"/>
                <a:gd name="T72" fmla="*/ 659 w 15096"/>
                <a:gd name="T73" fmla="*/ 15572 h 16095"/>
                <a:gd name="T74" fmla="*/ 1054 w 15096"/>
                <a:gd name="T75" fmla="*/ 15853 h 16095"/>
                <a:gd name="T76" fmla="*/ 1510 w 15096"/>
                <a:gd name="T77" fmla="*/ 16032 h 16095"/>
                <a:gd name="T78" fmla="*/ 2013 w 15096"/>
                <a:gd name="T79" fmla="*/ 16095 h 16095"/>
                <a:gd name="T80" fmla="*/ 13489 w 15096"/>
                <a:gd name="T81" fmla="*/ 16054 h 16095"/>
                <a:gd name="T82" fmla="*/ 13956 w 15096"/>
                <a:gd name="T83" fmla="*/ 15897 h 16095"/>
                <a:gd name="T84" fmla="*/ 14363 w 15096"/>
                <a:gd name="T85" fmla="*/ 15635 h 16095"/>
                <a:gd name="T86" fmla="*/ 14696 w 15096"/>
                <a:gd name="T87" fmla="*/ 15287 h 16095"/>
                <a:gd name="T88" fmla="*/ 14938 w 15096"/>
                <a:gd name="T89" fmla="*/ 14867 h 16095"/>
                <a:gd name="T90" fmla="*/ 15073 w 15096"/>
                <a:gd name="T91" fmla="*/ 14390 h 16095"/>
                <a:gd name="T92" fmla="*/ 15093 w 15096"/>
                <a:gd name="T93" fmla="*/ 1908 h 16095"/>
                <a:gd name="T94" fmla="*/ 15005 w 15096"/>
                <a:gd name="T95" fmla="*/ 1413 h 16095"/>
                <a:gd name="T96" fmla="*/ 14804 w 15096"/>
                <a:gd name="T97" fmla="*/ 969 h 16095"/>
                <a:gd name="T98" fmla="*/ 14506 w 15096"/>
                <a:gd name="T99" fmla="*/ 589 h 16095"/>
                <a:gd name="T100" fmla="*/ 14127 w 15096"/>
                <a:gd name="T101" fmla="*/ 292 h 16095"/>
                <a:gd name="T102" fmla="*/ 13682 w 15096"/>
                <a:gd name="T103" fmla="*/ 91 h 16095"/>
                <a:gd name="T104" fmla="*/ 13187 w 15096"/>
                <a:gd name="T105" fmla="*/ 3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096" h="16095">
                  <a:moveTo>
                    <a:pt x="14090" y="14083"/>
                  </a:moveTo>
                  <a:lnTo>
                    <a:pt x="14089" y="14134"/>
                  </a:lnTo>
                  <a:lnTo>
                    <a:pt x="14085" y="14186"/>
                  </a:lnTo>
                  <a:lnTo>
                    <a:pt x="14079" y="14236"/>
                  </a:lnTo>
                  <a:lnTo>
                    <a:pt x="14069" y="14285"/>
                  </a:lnTo>
                  <a:lnTo>
                    <a:pt x="14058" y="14334"/>
                  </a:lnTo>
                  <a:lnTo>
                    <a:pt x="14044" y="14382"/>
                  </a:lnTo>
                  <a:lnTo>
                    <a:pt x="14028" y="14428"/>
                  </a:lnTo>
                  <a:lnTo>
                    <a:pt x="14010" y="14474"/>
                  </a:lnTo>
                  <a:lnTo>
                    <a:pt x="13990" y="14519"/>
                  </a:lnTo>
                  <a:lnTo>
                    <a:pt x="13968" y="14562"/>
                  </a:lnTo>
                  <a:lnTo>
                    <a:pt x="13944" y="14604"/>
                  </a:lnTo>
                  <a:lnTo>
                    <a:pt x="13918" y="14645"/>
                  </a:lnTo>
                  <a:lnTo>
                    <a:pt x="13889" y="14685"/>
                  </a:lnTo>
                  <a:lnTo>
                    <a:pt x="13859" y="14723"/>
                  </a:lnTo>
                  <a:lnTo>
                    <a:pt x="13828" y="14759"/>
                  </a:lnTo>
                  <a:lnTo>
                    <a:pt x="13795" y="14794"/>
                  </a:lnTo>
                  <a:lnTo>
                    <a:pt x="13760" y="14828"/>
                  </a:lnTo>
                  <a:lnTo>
                    <a:pt x="13723" y="14859"/>
                  </a:lnTo>
                  <a:lnTo>
                    <a:pt x="13685" y="14889"/>
                  </a:lnTo>
                  <a:lnTo>
                    <a:pt x="13646" y="14917"/>
                  </a:lnTo>
                  <a:lnTo>
                    <a:pt x="13605" y="14943"/>
                  </a:lnTo>
                  <a:lnTo>
                    <a:pt x="13562" y="14967"/>
                  </a:lnTo>
                  <a:lnTo>
                    <a:pt x="13519" y="14989"/>
                  </a:lnTo>
                  <a:lnTo>
                    <a:pt x="13475" y="15010"/>
                  </a:lnTo>
                  <a:lnTo>
                    <a:pt x="13428" y="15028"/>
                  </a:lnTo>
                  <a:lnTo>
                    <a:pt x="13382" y="15044"/>
                  </a:lnTo>
                  <a:lnTo>
                    <a:pt x="13335" y="15057"/>
                  </a:lnTo>
                  <a:lnTo>
                    <a:pt x="13285" y="15069"/>
                  </a:lnTo>
                  <a:lnTo>
                    <a:pt x="13236" y="15077"/>
                  </a:lnTo>
                  <a:lnTo>
                    <a:pt x="13186" y="15084"/>
                  </a:lnTo>
                  <a:lnTo>
                    <a:pt x="13135" y="15088"/>
                  </a:lnTo>
                  <a:lnTo>
                    <a:pt x="13083" y="15089"/>
                  </a:lnTo>
                  <a:lnTo>
                    <a:pt x="2013" y="15089"/>
                  </a:lnTo>
                  <a:lnTo>
                    <a:pt x="1961" y="15088"/>
                  </a:lnTo>
                  <a:lnTo>
                    <a:pt x="1910" y="15084"/>
                  </a:lnTo>
                  <a:lnTo>
                    <a:pt x="1860" y="15077"/>
                  </a:lnTo>
                  <a:lnTo>
                    <a:pt x="1811" y="15069"/>
                  </a:lnTo>
                  <a:lnTo>
                    <a:pt x="1761" y="15057"/>
                  </a:lnTo>
                  <a:lnTo>
                    <a:pt x="1714" y="15044"/>
                  </a:lnTo>
                  <a:lnTo>
                    <a:pt x="1667" y="15028"/>
                  </a:lnTo>
                  <a:lnTo>
                    <a:pt x="1621" y="15010"/>
                  </a:lnTo>
                  <a:lnTo>
                    <a:pt x="1577" y="14989"/>
                  </a:lnTo>
                  <a:lnTo>
                    <a:pt x="1534" y="14967"/>
                  </a:lnTo>
                  <a:lnTo>
                    <a:pt x="1491" y="14943"/>
                  </a:lnTo>
                  <a:lnTo>
                    <a:pt x="1450" y="14917"/>
                  </a:lnTo>
                  <a:lnTo>
                    <a:pt x="1411" y="14889"/>
                  </a:lnTo>
                  <a:lnTo>
                    <a:pt x="1373" y="14859"/>
                  </a:lnTo>
                  <a:lnTo>
                    <a:pt x="1336" y="14828"/>
                  </a:lnTo>
                  <a:lnTo>
                    <a:pt x="1301" y="14794"/>
                  </a:lnTo>
                  <a:lnTo>
                    <a:pt x="1268" y="14759"/>
                  </a:lnTo>
                  <a:lnTo>
                    <a:pt x="1237" y="14723"/>
                  </a:lnTo>
                  <a:lnTo>
                    <a:pt x="1207" y="14685"/>
                  </a:lnTo>
                  <a:lnTo>
                    <a:pt x="1178" y="14645"/>
                  </a:lnTo>
                  <a:lnTo>
                    <a:pt x="1152" y="14604"/>
                  </a:lnTo>
                  <a:lnTo>
                    <a:pt x="1128" y="14562"/>
                  </a:lnTo>
                  <a:lnTo>
                    <a:pt x="1106" y="14519"/>
                  </a:lnTo>
                  <a:lnTo>
                    <a:pt x="1086" y="14474"/>
                  </a:lnTo>
                  <a:lnTo>
                    <a:pt x="1068" y="14428"/>
                  </a:lnTo>
                  <a:lnTo>
                    <a:pt x="1052" y="14382"/>
                  </a:lnTo>
                  <a:lnTo>
                    <a:pt x="1039" y="14334"/>
                  </a:lnTo>
                  <a:lnTo>
                    <a:pt x="1027" y="14285"/>
                  </a:lnTo>
                  <a:lnTo>
                    <a:pt x="1018" y="14236"/>
                  </a:lnTo>
                  <a:lnTo>
                    <a:pt x="1011" y="14186"/>
                  </a:lnTo>
                  <a:lnTo>
                    <a:pt x="1007" y="14134"/>
                  </a:lnTo>
                  <a:lnTo>
                    <a:pt x="1006" y="14083"/>
                  </a:lnTo>
                  <a:lnTo>
                    <a:pt x="1006" y="2012"/>
                  </a:lnTo>
                  <a:lnTo>
                    <a:pt x="1007" y="1961"/>
                  </a:lnTo>
                  <a:lnTo>
                    <a:pt x="1011" y="1909"/>
                  </a:lnTo>
                  <a:lnTo>
                    <a:pt x="1018" y="1859"/>
                  </a:lnTo>
                  <a:lnTo>
                    <a:pt x="1027" y="1810"/>
                  </a:lnTo>
                  <a:lnTo>
                    <a:pt x="1039" y="1760"/>
                  </a:lnTo>
                  <a:lnTo>
                    <a:pt x="1052" y="1713"/>
                  </a:lnTo>
                  <a:lnTo>
                    <a:pt x="1068" y="1667"/>
                  </a:lnTo>
                  <a:lnTo>
                    <a:pt x="1086" y="1621"/>
                  </a:lnTo>
                  <a:lnTo>
                    <a:pt x="1106" y="1576"/>
                  </a:lnTo>
                  <a:lnTo>
                    <a:pt x="1128" y="1533"/>
                  </a:lnTo>
                  <a:lnTo>
                    <a:pt x="1152" y="1491"/>
                  </a:lnTo>
                  <a:lnTo>
                    <a:pt x="1178" y="1450"/>
                  </a:lnTo>
                  <a:lnTo>
                    <a:pt x="1207" y="1410"/>
                  </a:lnTo>
                  <a:lnTo>
                    <a:pt x="1237" y="1372"/>
                  </a:lnTo>
                  <a:lnTo>
                    <a:pt x="1268" y="1336"/>
                  </a:lnTo>
                  <a:lnTo>
                    <a:pt x="1301" y="1301"/>
                  </a:lnTo>
                  <a:lnTo>
                    <a:pt x="1336" y="1267"/>
                  </a:lnTo>
                  <a:lnTo>
                    <a:pt x="1373" y="1236"/>
                  </a:lnTo>
                  <a:lnTo>
                    <a:pt x="1411" y="1206"/>
                  </a:lnTo>
                  <a:lnTo>
                    <a:pt x="1450" y="1178"/>
                  </a:lnTo>
                  <a:lnTo>
                    <a:pt x="1491" y="1152"/>
                  </a:lnTo>
                  <a:lnTo>
                    <a:pt x="1534" y="1128"/>
                  </a:lnTo>
                  <a:lnTo>
                    <a:pt x="1577" y="1106"/>
                  </a:lnTo>
                  <a:lnTo>
                    <a:pt x="1621" y="1085"/>
                  </a:lnTo>
                  <a:lnTo>
                    <a:pt x="1667" y="1067"/>
                  </a:lnTo>
                  <a:lnTo>
                    <a:pt x="1714" y="1051"/>
                  </a:lnTo>
                  <a:lnTo>
                    <a:pt x="1761" y="1038"/>
                  </a:lnTo>
                  <a:lnTo>
                    <a:pt x="1811" y="1026"/>
                  </a:lnTo>
                  <a:lnTo>
                    <a:pt x="1860" y="1018"/>
                  </a:lnTo>
                  <a:lnTo>
                    <a:pt x="1910" y="1011"/>
                  </a:lnTo>
                  <a:lnTo>
                    <a:pt x="1961" y="1007"/>
                  </a:lnTo>
                  <a:lnTo>
                    <a:pt x="2013" y="1006"/>
                  </a:lnTo>
                  <a:lnTo>
                    <a:pt x="13083" y="1006"/>
                  </a:lnTo>
                  <a:lnTo>
                    <a:pt x="13135" y="1007"/>
                  </a:lnTo>
                  <a:lnTo>
                    <a:pt x="13186" y="1011"/>
                  </a:lnTo>
                  <a:lnTo>
                    <a:pt x="13236" y="1018"/>
                  </a:lnTo>
                  <a:lnTo>
                    <a:pt x="13285" y="1026"/>
                  </a:lnTo>
                  <a:lnTo>
                    <a:pt x="13335" y="1038"/>
                  </a:lnTo>
                  <a:lnTo>
                    <a:pt x="13382" y="1051"/>
                  </a:lnTo>
                  <a:lnTo>
                    <a:pt x="13428" y="1067"/>
                  </a:lnTo>
                  <a:lnTo>
                    <a:pt x="13475" y="1085"/>
                  </a:lnTo>
                  <a:lnTo>
                    <a:pt x="13519" y="1106"/>
                  </a:lnTo>
                  <a:lnTo>
                    <a:pt x="13562" y="1128"/>
                  </a:lnTo>
                  <a:lnTo>
                    <a:pt x="13605" y="1152"/>
                  </a:lnTo>
                  <a:lnTo>
                    <a:pt x="13646" y="1178"/>
                  </a:lnTo>
                  <a:lnTo>
                    <a:pt x="13685" y="1206"/>
                  </a:lnTo>
                  <a:lnTo>
                    <a:pt x="13723" y="1236"/>
                  </a:lnTo>
                  <a:lnTo>
                    <a:pt x="13760" y="1267"/>
                  </a:lnTo>
                  <a:lnTo>
                    <a:pt x="13795" y="1301"/>
                  </a:lnTo>
                  <a:lnTo>
                    <a:pt x="13828" y="1336"/>
                  </a:lnTo>
                  <a:lnTo>
                    <a:pt x="13859" y="1372"/>
                  </a:lnTo>
                  <a:lnTo>
                    <a:pt x="13889" y="1410"/>
                  </a:lnTo>
                  <a:lnTo>
                    <a:pt x="13918" y="1450"/>
                  </a:lnTo>
                  <a:lnTo>
                    <a:pt x="13944" y="1491"/>
                  </a:lnTo>
                  <a:lnTo>
                    <a:pt x="13968" y="1533"/>
                  </a:lnTo>
                  <a:lnTo>
                    <a:pt x="13990" y="1576"/>
                  </a:lnTo>
                  <a:lnTo>
                    <a:pt x="14010" y="1621"/>
                  </a:lnTo>
                  <a:lnTo>
                    <a:pt x="14028" y="1667"/>
                  </a:lnTo>
                  <a:lnTo>
                    <a:pt x="14044" y="1713"/>
                  </a:lnTo>
                  <a:lnTo>
                    <a:pt x="14058" y="1760"/>
                  </a:lnTo>
                  <a:lnTo>
                    <a:pt x="14069" y="1810"/>
                  </a:lnTo>
                  <a:lnTo>
                    <a:pt x="14079" y="1859"/>
                  </a:lnTo>
                  <a:lnTo>
                    <a:pt x="14085" y="1909"/>
                  </a:lnTo>
                  <a:lnTo>
                    <a:pt x="14089" y="1961"/>
                  </a:lnTo>
                  <a:lnTo>
                    <a:pt x="14090" y="2012"/>
                  </a:lnTo>
                  <a:lnTo>
                    <a:pt x="14090" y="14083"/>
                  </a:lnTo>
                  <a:close/>
                  <a:moveTo>
                    <a:pt x="13083" y="0"/>
                  </a:moveTo>
                  <a:lnTo>
                    <a:pt x="2013" y="0"/>
                  </a:lnTo>
                  <a:lnTo>
                    <a:pt x="1909" y="3"/>
                  </a:lnTo>
                  <a:lnTo>
                    <a:pt x="1806" y="10"/>
                  </a:lnTo>
                  <a:lnTo>
                    <a:pt x="1706" y="23"/>
                  </a:lnTo>
                  <a:lnTo>
                    <a:pt x="1607" y="41"/>
                  </a:lnTo>
                  <a:lnTo>
                    <a:pt x="1510" y="63"/>
                  </a:lnTo>
                  <a:lnTo>
                    <a:pt x="1414" y="91"/>
                  </a:lnTo>
                  <a:lnTo>
                    <a:pt x="1320" y="122"/>
                  </a:lnTo>
                  <a:lnTo>
                    <a:pt x="1229" y="158"/>
                  </a:lnTo>
                  <a:lnTo>
                    <a:pt x="1140" y="198"/>
                  </a:lnTo>
                  <a:lnTo>
                    <a:pt x="1054" y="242"/>
                  </a:lnTo>
                  <a:lnTo>
                    <a:pt x="969" y="292"/>
                  </a:lnTo>
                  <a:lnTo>
                    <a:pt x="888" y="344"/>
                  </a:lnTo>
                  <a:lnTo>
                    <a:pt x="808" y="399"/>
                  </a:lnTo>
                  <a:lnTo>
                    <a:pt x="733" y="460"/>
                  </a:lnTo>
                  <a:lnTo>
                    <a:pt x="659" y="523"/>
                  </a:lnTo>
                  <a:lnTo>
                    <a:pt x="590" y="589"/>
                  </a:lnTo>
                  <a:lnTo>
                    <a:pt x="523" y="659"/>
                  </a:lnTo>
                  <a:lnTo>
                    <a:pt x="460" y="732"/>
                  </a:lnTo>
                  <a:lnTo>
                    <a:pt x="400" y="808"/>
                  </a:lnTo>
                  <a:lnTo>
                    <a:pt x="344" y="887"/>
                  </a:lnTo>
                  <a:lnTo>
                    <a:pt x="292" y="969"/>
                  </a:lnTo>
                  <a:lnTo>
                    <a:pt x="243" y="1053"/>
                  </a:lnTo>
                  <a:lnTo>
                    <a:pt x="198" y="1140"/>
                  </a:lnTo>
                  <a:lnTo>
                    <a:pt x="158" y="1229"/>
                  </a:lnTo>
                  <a:lnTo>
                    <a:pt x="122" y="1320"/>
                  </a:lnTo>
                  <a:lnTo>
                    <a:pt x="91" y="1413"/>
                  </a:lnTo>
                  <a:lnTo>
                    <a:pt x="63" y="1509"/>
                  </a:lnTo>
                  <a:lnTo>
                    <a:pt x="41" y="1606"/>
                  </a:lnTo>
                  <a:lnTo>
                    <a:pt x="23" y="1705"/>
                  </a:lnTo>
                  <a:lnTo>
                    <a:pt x="10" y="1807"/>
                  </a:lnTo>
                  <a:lnTo>
                    <a:pt x="3" y="1908"/>
                  </a:lnTo>
                  <a:lnTo>
                    <a:pt x="0" y="2012"/>
                  </a:lnTo>
                  <a:lnTo>
                    <a:pt x="0" y="14083"/>
                  </a:lnTo>
                  <a:lnTo>
                    <a:pt x="3" y="14187"/>
                  </a:lnTo>
                  <a:lnTo>
                    <a:pt x="10" y="14289"/>
                  </a:lnTo>
                  <a:lnTo>
                    <a:pt x="23" y="14390"/>
                  </a:lnTo>
                  <a:lnTo>
                    <a:pt x="41" y="14489"/>
                  </a:lnTo>
                  <a:lnTo>
                    <a:pt x="63" y="14586"/>
                  </a:lnTo>
                  <a:lnTo>
                    <a:pt x="91" y="14682"/>
                  </a:lnTo>
                  <a:lnTo>
                    <a:pt x="122" y="14775"/>
                  </a:lnTo>
                  <a:lnTo>
                    <a:pt x="158" y="14867"/>
                  </a:lnTo>
                  <a:lnTo>
                    <a:pt x="198" y="14955"/>
                  </a:lnTo>
                  <a:lnTo>
                    <a:pt x="243" y="15042"/>
                  </a:lnTo>
                  <a:lnTo>
                    <a:pt x="292" y="15126"/>
                  </a:lnTo>
                  <a:lnTo>
                    <a:pt x="344" y="15208"/>
                  </a:lnTo>
                  <a:lnTo>
                    <a:pt x="400" y="15287"/>
                  </a:lnTo>
                  <a:lnTo>
                    <a:pt x="460" y="15363"/>
                  </a:lnTo>
                  <a:lnTo>
                    <a:pt x="523" y="15436"/>
                  </a:lnTo>
                  <a:lnTo>
                    <a:pt x="590" y="15506"/>
                  </a:lnTo>
                  <a:lnTo>
                    <a:pt x="659" y="15572"/>
                  </a:lnTo>
                  <a:lnTo>
                    <a:pt x="733" y="15635"/>
                  </a:lnTo>
                  <a:lnTo>
                    <a:pt x="808" y="15696"/>
                  </a:lnTo>
                  <a:lnTo>
                    <a:pt x="888" y="15751"/>
                  </a:lnTo>
                  <a:lnTo>
                    <a:pt x="969" y="15803"/>
                  </a:lnTo>
                  <a:lnTo>
                    <a:pt x="1054" y="15853"/>
                  </a:lnTo>
                  <a:lnTo>
                    <a:pt x="1140" y="15897"/>
                  </a:lnTo>
                  <a:lnTo>
                    <a:pt x="1229" y="15937"/>
                  </a:lnTo>
                  <a:lnTo>
                    <a:pt x="1320" y="15973"/>
                  </a:lnTo>
                  <a:lnTo>
                    <a:pt x="1414" y="16004"/>
                  </a:lnTo>
                  <a:lnTo>
                    <a:pt x="1510" y="16032"/>
                  </a:lnTo>
                  <a:lnTo>
                    <a:pt x="1607" y="16054"/>
                  </a:lnTo>
                  <a:lnTo>
                    <a:pt x="1706" y="16072"/>
                  </a:lnTo>
                  <a:lnTo>
                    <a:pt x="1806" y="16085"/>
                  </a:lnTo>
                  <a:lnTo>
                    <a:pt x="1909" y="16092"/>
                  </a:lnTo>
                  <a:lnTo>
                    <a:pt x="2013" y="16095"/>
                  </a:lnTo>
                  <a:lnTo>
                    <a:pt x="13083" y="16095"/>
                  </a:lnTo>
                  <a:lnTo>
                    <a:pt x="13187" y="16092"/>
                  </a:lnTo>
                  <a:lnTo>
                    <a:pt x="13289" y="16085"/>
                  </a:lnTo>
                  <a:lnTo>
                    <a:pt x="13390" y="16072"/>
                  </a:lnTo>
                  <a:lnTo>
                    <a:pt x="13489" y="16054"/>
                  </a:lnTo>
                  <a:lnTo>
                    <a:pt x="13586" y="16032"/>
                  </a:lnTo>
                  <a:lnTo>
                    <a:pt x="13682" y="16004"/>
                  </a:lnTo>
                  <a:lnTo>
                    <a:pt x="13776" y="15973"/>
                  </a:lnTo>
                  <a:lnTo>
                    <a:pt x="13866" y="15937"/>
                  </a:lnTo>
                  <a:lnTo>
                    <a:pt x="13956" y="15897"/>
                  </a:lnTo>
                  <a:lnTo>
                    <a:pt x="14042" y="15853"/>
                  </a:lnTo>
                  <a:lnTo>
                    <a:pt x="14127" y="15803"/>
                  </a:lnTo>
                  <a:lnTo>
                    <a:pt x="14208" y="15751"/>
                  </a:lnTo>
                  <a:lnTo>
                    <a:pt x="14288" y="15696"/>
                  </a:lnTo>
                  <a:lnTo>
                    <a:pt x="14363" y="15635"/>
                  </a:lnTo>
                  <a:lnTo>
                    <a:pt x="14437" y="15572"/>
                  </a:lnTo>
                  <a:lnTo>
                    <a:pt x="14506" y="15506"/>
                  </a:lnTo>
                  <a:lnTo>
                    <a:pt x="14573" y="15436"/>
                  </a:lnTo>
                  <a:lnTo>
                    <a:pt x="14636" y="15363"/>
                  </a:lnTo>
                  <a:lnTo>
                    <a:pt x="14696" y="15287"/>
                  </a:lnTo>
                  <a:lnTo>
                    <a:pt x="14752" y="15208"/>
                  </a:lnTo>
                  <a:lnTo>
                    <a:pt x="14804" y="15126"/>
                  </a:lnTo>
                  <a:lnTo>
                    <a:pt x="14853" y="15042"/>
                  </a:lnTo>
                  <a:lnTo>
                    <a:pt x="14898" y="14955"/>
                  </a:lnTo>
                  <a:lnTo>
                    <a:pt x="14938" y="14867"/>
                  </a:lnTo>
                  <a:lnTo>
                    <a:pt x="14974" y="14775"/>
                  </a:lnTo>
                  <a:lnTo>
                    <a:pt x="15005" y="14682"/>
                  </a:lnTo>
                  <a:lnTo>
                    <a:pt x="15033" y="14586"/>
                  </a:lnTo>
                  <a:lnTo>
                    <a:pt x="15055" y="14489"/>
                  </a:lnTo>
                  <a:lnTo>
                    <a:pt x="15073" y="14390"/>
                  </a:lnTo>
                  <a:lnTo>
                    <a:pt x="15086" y="14289"/>
                  </a:lnTo>
                  <a:lnTo>
                    <a:pt x="15093" y="14187"/>
                  </a:lnTo>
                  <a:lnTo>
                    <a:pt x="15096" y="14083"/>
                  </a:lnTo>
                  <a:lnTo>
                    <a:pt x="15096" y="2012"/>
                  </a:lnTo>
                  <a:lnTo>
                    <a:pt x="15093" y="1908"/>
                  </a:lnTo>
                  <a:lnTo>
                    <a:pt x="15086" y="1807"/>
                  </a:lnTo>
                  <a:lnTo>
                    <a:pt x="15073" y="1705"/>
                  </a:lnTo>
                  <a:lnTo>
                    <a:pt x="15055" y="1606"/>
                  </a:lnTo>
                  <a:lnTo>
                    <a:pt x="15033" y="1509"/>
                  </a:lnTo>
                  <a:lnTo>
                    <a:pt x="15005" y="1413"/>
                  </a:lnTo>
                  <a:lnTo>
                    <a:pt x="14974" y="1320"/>
                  </a:lnTo>
                  <a:lnTo>
                    <a:pt x="14938" y="1229"/>
                  </a:lnTo>
                  <a:lnTo>
                    <a:pt x="14898" y="1140"/>
                  </a:lnTo>
                  <a:lnTo>
                    <a:pt x="14853" y="1053"/>
                  </a:lnTo>
                  <a:lnTo>
                    <a:pt x="14804" y="969"/>
                  </a:lnTo>
                  <a:lnTo>
                    <a:pt x="14752" y="887"/>
                  </a:lnTo>
                  <a:lnTo>
                    <a:pt x="14696" y="808"/>
                  </a:lnTo>
                  <a:lnTo>
                    <a:pt x="14636" y="732"/>
                  </a:lnTo>
                  <a:lnTo>
                    <a:pt x="14573" y="659"/>
                  </a:lnTo>
                  <a:lnTo>
                    <a:pt x="14506" y="589"/>
                  </a:lnTo>
                  <a:lnTo>
                    <a:pt x="14437" y="523"/>
                  </a:lnTo>
                  <a:lnTo>
                    <a:pt x="14363" y="460"/>
                  </a:lnTo>
                  <a:lnTo>
                    <a:pt x="14288" y="399"/>
                  </a:lnTo>
                  <a:lnTo>
                    <a:pt x="14208" y="344"/>
                  </a:lnTo>
                  <a:lnTo>
                    <a:pt x="14127" y="292"/>
                  </a:lnTo>
                  <a:lnTo>
                    <a:pt x="14042" y="242"/>
                  </a:lnTo>
                  <a:lnTo>
                    <a:pt x="13956" y="198"/>
                  </a:lnTo>
                  <a:lnTo>
                    <a:pt x="13866" y="158"/>
                  </a:lnTo>
                  <a:lnTo>
                    <a:pt x="13776" y="122"/>
                  </a:lnTo>
                  <a:lnTo>
                    <a:pt x="13682" y="91"/>
                  </a:lnTo>
                  <a:lnTo>
                    <a:pt x="13586" y="63"/>
                  </a:lnTo>
                  <a:lnTo>
                    <a:pt x="13489" y="41"/>
                  </a:lnTo>
                  <a:lnTo>
                    <a:pt x="13390" y="23"/>
                  </a:lnTo>
                  <a:lnTo>
                    <a:pt x="13289" y="10"/>
                  </a:lnTo>
                  <a:lnTo>
                    <a:pt x="13187" y="3"/>
                  </a:lnTo>
                  <a:lnTo>
                    <a:pt x="1308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28" name="išļíďé">
              <a:extLst>
                <a:ext uri="{FF2B5EF4-FFF2-40B4-BE49-F238E27FC236}">
                  <a16:creationId xmlns:a16="http://schemas.microsoft.com/office/drawing/2014/main" id="{77A493EA-8635-4CEB-9A91-BDA31E42B676}"/>
                </a:ext>
              </a:extLst>
            </p:cNvPr>
            <p:cNvSpPr/>
            <p:nvPr/>
          </p:nvSpPr>
          <p:spPr bwMode="auto">
            <a:xfrm>
              <a:off x="7339114" y="748400"/>
              <a:ext cx="274706" cy="249066"/>
            </a:xfrm>
            <a:custGeom>
              <a:avLst/>
              <a:gdLst>
                <a:gd name="T0" fmla="*/ 10567 w 11070"/>
                <a:gd name="T1" fmla="*/ 8239 h 10059"/>
                <a:gd name="T2" fmla="*/ 2516 w 11070"/>
                <a:gd name="T3" fmla="*/ 3018 h 10059"/>
                <a:gd name="T4" fmla="*/ 503 w 11070"/>
                <a:gd name="T5" fmla="*/ 9556 h 10059"/>
                <a:gd name="T6" fmla="*/ 8932 w 11070"/>
                <a:gd name="T7" fmla="*/ 5703 h 10059"/>
                <a:gd name="T8" fmla="*/ 8852 w 11070"/>
                <a:gd name="T9" fmla="*/ 5630 h 10059"/>
                <a:gd name="T10" fmla="*/ 8762 w 11070"/>
                <a:gd name="T11" fmla="*/ 5577 h 10059"/>
                <a:gd name="T12" fmla="*/ 8661 w 11070"/>
                <a:gd name="T13" fmla="*/ 5544 h 10059"/>
                <a:gd name="T14" fmla="*/ 8554 w 11070"/>
                <a:gd name="T15" fmla="*/ 5533 h 10059"/>
                <a:gd name="T16" fmla="*/ 8448 w 11070"/>
                <a:gd name="T17" fmla="*/ 5544 h 10059"/>
                <a:gd name="T18" fmla="*/ 8347 w 11070"/>
                <a:gd name="T19" fmla="*/ 5577 h 10059"/>
                <a:gd name="T20" fmla="*/ 8256 w 11070"/>
                <a:gd name="T21" fmla="*/ 5630 h 10059"/>
                <a:gd name="T22" fmla="*/ 8177 w 11070"/>
                <a:gd name="T23" fmla="*/ 5703 h 10059"/>
                <a:gd name="T24" fmla="*/ 2856 w 11070"/>
                <a:gd name="T25" fmla="*/ 2646 h 10059"/>
                <a:gd name="T26" fmla="*/ 2769 w 11070"/>
                <a:gd name="T27" fmla="*/ 2583 h 10059"/>
                <a:gd name="T28" fmla="*/ 2674 w 11070"/>
                <a:gd name="T29" fmla="*/ 2540 h 10059"/>
                <a:gd name="T30" fmla="*/ 2570 w 11070"/>
                <a:gd name="T31" fmla="*/ 2518 h 10059"/>
                <a:gd name="T32" fmla="*/ 2462 w 11070"/>
                <a:gd name="T33" fmla="*/ 2518 h 10059"/>
                <a:gd name="T34" fmla="*/ 2358 w 11070"/>
                <a:gd name="T35" fmla="*/ 2540 h 10059"/>
                <a:gd name="T36" fmla="*/ 2262 w 11070"/>
                <a:gd name="T37" fmla="*/ 2583 h 10059"/>
                <a:gd name="T38" fmla="*/ 2177 w 11070"/>
                <a:gd name="T39" fmla="*/ 2646 h 10059"/>
                <a:gd name="T40" fmla="*/ 503 w 11070"/>
                <a:gd name="T41" fmla="*/ 503 h 10059"/>
                <a:gd name="T42" fmla="*/ 477 w 11070"/>
                <a:gd name="T43" fmla="*/ 1 h 10059"/>
                <a:gd name="T44" fmla="*/ 377 w 11070"/>
                <a:gd name="T45" fmla="*/ 16 h 10059"/>
                <a:gd name="T46" fmla="*/ 285 w 11070"/>
                <a:gd name="T47" fmla="*/ 49 h 10059"/>
                <a:gd name="T48" fmla="*/ 202 w 11070"/>
                <a:gd name="T49" fmla="*/ 99 h 10059"/>
                <a:gd name="T50" fmla="*/ 131 w 11070"/>
                <a:gd name="T51" fmla="*/ 165 h 10059"/>
                <a:gd name="T52" fmla="*/ 72 w 11070"/>
                <a:gd name="T53" fmla="*/ 242 h 10059"/>
                <a:gd name="T54" fmla="*/ 30 w 11070"/>
                <a:gd name="T55" fmla="*/ 330 h 10059"/>
                <a:gd name="T56" fmla="*/ 6 w 11070"/>
                <a:gd name="T57" fmla="*/ 426 h 10059"/>
                <a:gd name="T58" fmla="*/ 0 w 11070"/>
                <a:gd name="T59" fmla="*/ 9556 h 10059"/>
                <a:gd name="T60" fmla="*/ 10 w 11070"/>
                <a:gd name="T61" fmla="*/ 9658 h 10059"/>
                <a:gd name="T62" fmla="*/ 39 w 11070"/>
                <a:gd name="T63" fmla="*/ 9752 h 10059"/>
                <a:gd name="T64" fmla="*/ 85 w 11070"/>
                <a:gd name="T65" fmla="*/ 9838 h 10059"/>
                <a:gd name="T66" fmla="*/ 147 w 11070"/>
                <a:gd name="T67" fmla="*/ 9912 h 10059"/>
                <a:gd name="T68" fmla="*/ 221 w 11070"/>
                <a:gd name="T69" fmla="*/ 9974 h 10059"/>
                <a:gd name="T70" fmla="*/ 307 w 11070"/>
                <a:gd name="T71" fmla="*/ 10020 h 10059"/>
                <a:gd name="T72" fmla="*/ 401 w 11070"/>
                <a:gd name="T73" fmla="*/ 10049 h 10059"/>
                <a:gd name="T74" fmla="*/ 503 w 11070"/>
                <a:gd name="T75" fmla="*/ 10059 h 10059"/>
                <a:gd name="T76" fmla="*/ 10643 w 11070"/>
                <a:gd name="T77" fmla="*/ 10053 h 10059"/>
                <a:gd name="T78" fmla="*/ 10740 w 11070"/>
                <a:gd name="T79" fmla="*/ 10029 h 10059"/>
                <a:gd name="T80" fmla="*/ 10829 w 11070"/>
                <a:gd name="T81" fmla="*/ 9987 h 10059"/>
                <a:gd name="T82" fmla="*/ 10905 w 11070"/>
                <a:gd name="T83" fmla="*/ 9928 h 10059"/>
                <a:gd name="T84" fmla="*/ 10971 w 11070"/>
                <a:gd name="T85" fmla="*/ 9857 h 10059"/>
                <a:gd name="T86" fmla="*/ 11021 w 11070"/>
                <a:gd name="T87" fmla="*/ 9775 h 10059"/>
                <a:gd name="T88" fmla="*/ 11054 w 11070"/>
                <a:gd name="T89" fmla="*/ 9682 h 10059"/>
                <a:gd name="T90" fmla="*/ 11069 w 11070"/>
                <a:gd name="T91" fmla="*/ 9582 h 10059"/>
                <a:gd name="T92" fmla="*/ 11068 w 11070"/>
                <a:gd name="T93" fmla="*/ 452 h 10059"/>
                <a:gd name="T94" fmla="*/ 11048 w 11070"/>
                <a:gd name="T95" fmla="*/ 353 h 10059"/>
                <a:gd name="T96" fmla="*/ 11010 w 11070"/>
                <a:gd name="T97" fmla="*/ 263 h 10059"/>
                <a:gd name="T98" fmla="*/ 10955 w 11070"/>
                <a:gd name="T99" fmla="*/ 183 h 10059"/>
                <a:gd name="T100" fmla="*/ 10887 w 11070"/>
                <a:gd name="T101" fmla="*/ 115 h 10059"/>
                <a:gd name="T102" fmla="*/ 10808 w 11070"/>
                <a:gd name="T103" fmla="*/ 60 h 10059"/>
                <a:gd name="T104" fmla="*/ 10717 w 11070"/>
                <a:gd name="T105" fmla="*/ 22 h 10059"/>
                <a:gd name="T106" fmla="*/ 10618 w 11070"/>
                <a:gd name="T107" fmla="*/ 3 h 10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070" h="10059">
                  <a:moveTo>
                    <a:pt x="8928" y="9556"/>
                  </a:moveTo>
                  <a:lnTo>
                    <a:pt x="7203" y="7568"/>
                  </a:lnTo>
                  <a:lnTo>
                    <a:pt x="8554" y="6036"/>
                  </a:lnTo>
                  <a:lnTo>
                    <a:pt x="10567" y="8239"/>
                  </a:lnTo>
                  <a:lnTo>
                    <a:pt x="10567" y="9556"/>
                  </a:lnTo>
                  <a:lnTo>
                    <a:pt x="8928" y="9556"/>
                  </a:lnTo>
                  <a:close/>
                  <a:moveTo>
                    <a:pt x="503" y="5330"/>
                  </a:moveTo>
                  <a:lnTo>
                    <a:pt x="2516" y="3018"/>
                  </a:lnTo>
                  <a:lnTo>
                    <a:pt x="6575" y="7616"/>
                  </a:lnTo>
                  <a:lnTo>
                    <a:pt x="6866" y="7948"/>
                  </a:lnTo>
                  <a:lnTo>
                    <a:pt x="8256" y="9556"/>
                  </a:lnTo>
                  <a:lnTo>
                    <a:pt x="503" y="9556"/>
                  </a:lnTo>
                  <a:lnTo>
                    <a:pt x="503" y="5330"/>
                  </a:lnTo>
                  <a:close/>
                  <a:moveTo>
                    <a:pt x="10567" y="503"/>
                  </a:moveTo>
                  <a:lnTo>
                    <a:pt x="10567" y="7479"/>
                  </a:lnTo>
                  <a:lnTo>
                    <a:pt x="8932" y="5703"/>
                  </a:lnTo>
                  <a:lnTo>
                    <a:pt x="8913" y="5682"/>
                  </a:lnTo>
                  <a:lnTo>
                    <a:pt x="8894" y="5664"/>
                  </a:lnTo>
                  <a:lnTo>
                    <a:pt x="8873" y="5647"/>
                  </a:lnTo>
                  <a:lnTo>
                    <a:pt x="8852" y="5630"/>
                  </a:lnTo>
                  <a:lnTo>
                    <a:pt x="8831" y="5615"/>
                  </a:lnTo>
                  <a:lnTo>
                    <a:pt x="8808" y="5601"/>
                  </a:lnTo>
                  <a:lnTo>
                    <a:pt x="8785" y="5589"/>
                  </a:lnTo>
                  <a:lnTo>
                    <a:pt x="8762" y="5577"/>
                  </a:lnTo>
                  <a:lnTo>
                    <a:pt x="8736" y="5567"/>
                  </a:lnTo>
                  <a:lnTo>
                    <a:pt x="8712" y="5558"/>
                  </a:lnTo>
                  <a:lnTo>
                    <a:pt x="8686" y="5551"/>
                  </a:lnTo>
                  <a:lnTo>
                    <a:pt x="8661" y="5544"/>
                  </a:lnTo>
                  <a:lnTo>
                    <a:pt x="8635" y="5539"/>
                  </a:lnTo>
                  <a:lnTo>
                    <a:pt x="8608" y="5536"/>
                  </a:lnTo>
                  <a:lnTo>
                    <a:pt x="8581" y="5534"/>
                  </a:lnTo>
                  <a:lnTo>
                    <a:pt x="8554" y="5533"/>
                  </a:lnTo>
                  <a:lnTo>
                    <a:pt x="8527" y="5534"/>
                  </a:lnTo>
                  <a:lnTo>
                    <a:pt x="8501" y="5536"/>
                  </a:lnTo>
                  <a:lnTo>
                    <a:pt x="8474" y="5539"/>
                  </a:lnTo>
                  <a:lnTo>
                    <a:pt x="8448" y="5544"/>
                  </a:lnTo>
                  <a:lnTo>
                    <a:pt x="8422" y="5551"/>
                  </a:lnTo>
                  <a:lnTo>
                    <a:pt x="8396" y="5558"/>
                  </a:lnTo>
                  <a:lnTo>
                    <a:pt x="8372" y="5567"/>
                  </a:lnTo>
                  <a:lnTo>
                    <a:pt x="8347" y="5577"/>
                  </a:lnTo>
                  <a:lnTo>
                    <a:pt x="8324" y="5589"/>
                  </a:lnTo>
                  <a:lnTo>
                    <a:pt x="8301" y="5601"/>
                  </a:lnTo>
                  <a:lnTo>
                    <a:pt x="8277" y="5615"/>
                  </a:lnTo>
                  <a:lnTo>
                    <a:pt x="8256" y="5630"/>
                  </a:lnTo>
                  <a:lnTo>
                    <a:pt x="8235" y="5647"/>
                  </a:lnTo>
                  <a:lnTo>
                    <a:pt x="8215" y="5664"/>
                  </a:lnTo>
                  <a:lnTo>
                    <a:pt x="8195" y="5682"/>
                  </a:lnTo>
                  <a:lnTo>
                    <a:pt x="8177" y="5703"/>
                  </a:lnTo>
                  <a:lnTo>
                    <a:pt x="6867" y="7187"/>
                  </a:lnTo>
                  <a:lnTo>
                    <a:pt x="2893" y="2685"/>
                  </a:lnTo>
                  <a:lnTo>
                    <a:pt x="2875" y="2665"/>
                  </a:lnTo>
                  <a:lnTo>
                    <a:pt x="2856" y="2646"/>
                  </a:lnTo>
                  <a:lnTo>
                    <a:pt x="2835" y="2629"/>
                  </a:lnTo>
                  <a:lnTo>
                    <a:pt x="2814" y="2612"/>
                  </a:lnTo>
                  <a:lnTo>
                    <a:pt x="2793" y="2597"/>
                  </a:lnTo>
                  <a:lnTo>
                    <a:pt x="2769" y="2583"/>
                  </a:lnTo>
                  <a:lnTo>
                    <a:pt x="2746" y="2571"/>
                  </a:lnTo>
                  <a:lnTo>
                    <a:pt x="2723" y="2559"/>
                  </a:lnTo>
                  <a:lnTo>
                    <a:pt x="2698" y="2549"/>
                  </a:lnTo>
                  <a:lnTo>
                    <a:pt x="2674" y="2540"/>
                  </a:lnTo>
                  <a:lnTo>
                    <a:pt x="2648" y="2533"/>
                  </a:lnTo>
                  <a:lnTo>
                    <a:pt x="2622" y="2526"/>
                  </a:lnTo>
                  <a:lnTo>
                    <a:pt x="2596" y="2521"/>
                  </a:lnTo>
                  <a:lnTo>
                    <a:pt x="2570" y="2518"/>
                  </a:lnTo>
                  <a:lnTo>
                    <a:pt x="2543" y="2516"/>
                  </a:lnTo>
                  <a:lnTo>
                    <a:pt x="2516" y="2515"/>
                  </a:lnTo>
                  <a:lnTo>
                    <a:pt x="2489" y="2516"/>
                  </a:lnTo>
                  <a:lnTo>
                    <a:pt x="2462" y="2518"/>
                  </a:lnTo>
                  <a:lnTo>
                    <a:pt x="2435" y="2521"/>
                  </a:lnTo>
                  <a:lnTo>
                    <a:pt x="2409" y="2526"/>
                  </a:lnTo>
                  <a:lnTo>
                    <a:pt x="2384" y="2533"/>
                  </a:lnTo>
                  <a:lnTo>
                    <a:pt x="2358" y="2540"/>
                  </a:lnTo>
                  <a:lnTo>
                    <a:pt x="2334" y="2549"/>
                  </a:lnTo>
                  <a:lnTo>
                    <a:pt x="2308" y="2559"/>
                  </a:lnTo>
                  <a:lnTo>
                    <a:pt x="2285" y="2571"/>
                  </a:lnTo>
                  <a:lnTo>
                    <a:pt x="2262" y="2583"/>
                  </a:lnTo>
                  <a:lnTo>
                    <a:pt x="2239" y="2597"/>
                  </a:lnTo>
                  <a:lnTo>
                    <a:pt x="2218" y="2612"/>
                  </a:lnTo>
                  <a:lnTo>
                    <a:pt x="2197" y="2629"/>
                  </a:lnTo>
                  <a:lnTo>
                    <a:pt x="2177" y="2646"/>
                  </a:lnTo>
                  <a:lnTo>
                    <a:pt x="2157" y="2665"/>
                  </a:lnTo>
                  <a:lnTo>
                    <a:pt x="2138" y="2685"/>
                  </a:lnTo>
                  <a:lnTo>
                    <a:pt x="503" y="4570"/>
                  </a:lnTo>
                  <a:lnTo>
                    <a:pt x="503" y="503"/>
                  </a:lnTo>
                  <a:lnTo>
                    <a:pt x="10567" y="503"/>
                  </a:lnTo>
                  <a:close/>
                  <a:moveTo>
                    <a:pt x="10567" y="0"/>
                  </a:moveTo>
                  <a:lnTo>
                    <a:pt x="503" y="0"/>
                  </a:lnTo>
                  <a:lnTo>
                    <a:pt x="477" y="1"/>
                  </a:lnTo>
                  <a:lnTo>
                    <a:pt x="452" y="3"/>
                  </a:lnTo>
                  <a:lnTo>
                    <a:pt x="427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5" y="49"/>
                  </a:lnTo>
                  <a:lnTo>
                    <a:pt x="263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99" y="202"/>
                  </a:lnTo>
                  <a:lnTo>
                    <a:pt x="85" y="221"/>
                  </a:lnTo>
                  <a:lnTo>
                    <a:pt x="72" y="242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3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0" y="9556"/>
                  </a:lnTo>
                  <a:lnTo>
                    <a:pt x="1" y="9582"/>
                  </a:lnTo>
                  <a:lnTo>
                    <a:pt x="3" y="9608"/>
                  </a:lnTo>
                  <a:lnTo>
                    <a:pt x="6" y="9633"/>
                  </a:lnTo>
                  <a:lnTo>
                    <a:pt x="10" y="9658"/>
                  </a:lnTo>
                  <a:lnTo>
                    <a:pt x="16" y="9682"/>
                  </a:lnTo>
                  <a:lnTo>
                    <a:pt x="23" y="9706"/>
                  </a:lnTo>
                  <a:lnTo>
                    <a:pt x="30" y="9729"/>
                  </a:lnTo>
                  <a:lnTo>
                    <a:pt x="39" y="9752"/>
                  </a:lnTo>
                  <a:lnTo>
                    <a:pt x="49" y="9775"/>
                  </a:lnTo>
                  <a:lnTo>
                    <a:pt x="60" y="9797"/>
                  </a:lnTo>
                  <a:lnTo>
                    <a:pt x="72" y="9817"/>
                  </a:lnTo>
                  <a:lnTo>
                    <a:pt x="85" y="9838"/>
                  </a:lnTo>
                  <a:lnTo>
                    <a:pt x="99" y="9857"/>
                  </a:lnTo>
                  <a:lnTo>
                    <a:pt x="115" y="9876"/>
                  </a:lnTo>
                  <a:lnTo>
                    <a:pt x="131" y="9894"/>
                  </a:lnTo>
                  <a:lnTo>
                    <a:pt x="147" y="9912"/>
                  </a:lnTo>
                  <a:lnTo>
                    <a:pt x="165" y="9928"/>
                  </a:lnTo>
                  <a:lnTo>
                    <a:pt x="183" y="9945"/>
                  </a:lnTo>
                  <a:lnTo>
                    <a:pt x="202" y="9960"/>
                  </a:lnTo>
                  <a:lnTo>
                    <a:pt x="221" y="9974"/>
                  </a:lnTo>
                  <a:lnTo>
                    <a:pt x="242" y="9987"/>
                  </a:lnTo>
                  <a:lnTo>
                    <a:pt x="263" y="9999"/>
                  </a:lnTo>
                  <a:lnTo>
                    <a:pt x="285" y="10010"/>
                  </a:lnTo>
                  <a:lnTo>
                    <a:pt x="307" y="10020"/>
                  </a:lnTo>
                  <a:lnTo>
                    <a:pt x="330" y="10029"/>
                  </a:lnTo>
                  <a:lnTo>
                    <a:pt x="353" y="10037"/>
                  </a:lnTo>
                  <a:lnTo>
                    <a:pt x="377" y="10043"/>
                  </a:lnTo>
                  <a:lnTo>
                    <a:pt x="401" y="10049"/>
                  </a:lnTo>
                  <a:lnTo>
                    <a:pt x="427" y="10053"/>
                  </a:lnTo>
                  <a:lnTo>
                    <a:pt x="452" y="10056"/>
                  </a:lnTo>
                  <a:lnTo>
                    <a:pt x="477" y="10058"/>
                  </a:lnTo>
                  <a:lnTo>
                    <a:pt x="503" y="10059"/>
                  </a:lnTo>
                  <a:lnTo>
                    <a:pt x="10567" y="10059"/>
                  </a:lnTo>
                  <a:lnTo>
                    <a:pt x="10593" y="10058"/>
                  </a:lnTo>
                  <a:lnTo>
                    <a:pt x="10618" y="10056"/>
                  </a:lnTo>
                  <a:lnTo>
                    <a:pt x="10643" y="10053"/>
                  </a:lnTo>
                  <a:lnTo>
                    <a:pt x="10669" y="10049"/>
                  </a:lnTo>
                  <a:lnTo>
                    <a:pt x="10693" y="10043"/>
                  </a:lnTo>
                  <a:lnTo>
                    <a:pt x="10717" y="10037"/>
                  </a:lnTo>
                  <a:lnTo>
                    <a:pt x="10740" y="10029"/>
                  </a:lnTo>
                  <a:lnTo>
                    <a:pt x="10763" y="10020"/>
                  </a:lnTo>
                  <a:lnTo>
                    <a:pt x="10785" y="10010"/>
                  </a:lnTo>
                  <a:lnTo>
                    <a:pt x="10808" y="9999"/>
                  </a:lnTo>
                  <a:lnTo>
                    <a:pt x="10829" y="9987"/>
                  </a:lnTo>
                  <a:lnTo>
                    <a:pt x="10849" y="9974"/>
                  </a:lnTo>
                  <a:lnTo>
                    <a:pt x="10868" y="9960"/>
                  </a:lnTo>
                  <a:lnTo>
                    <a:pt x="10887" y="9945"/>
                  </a:lnTo>
                  <a:lnTo>
                    <a:pt x="10905" y="9928"/>
                  </a:lnTo>
                  <a:lnTo>
                    <a:pt x="10923" y="9912"/>
                  </a:lnTo>
                  <a:lnTo>
                    <a:pt x="10939" y="9894"/>
                  </a:lnTo>
                  <a:lnTo>
                    <a:pt x="10955" y="9876"/>
                  </a:lnTo>
                  <a:lnTo>
                    <a:pt x="10971" y="9857"/>
                  </a:lnTo>
                  <a:lnTo>
                    <a:pt x="10985" y="9838"/>
                  </a:lnTo>
                  <a:lnTo>
                    <a:pt x="10998" y="9817"/>
                  </a:lnTo>
                  <a:lnTo>
                    <a:pt x="11010" y="9797"/>
                  </a:lnTo>
                  <a:lnTo>
                    <a:pt x="11021" y="9775"/>
                  </a:lnTo>
                  <a:lnTo>
                    <a:pt x="11031" y="9752"/>
                  </a:lnTo>
                  <a:lnTo>
                    <a:pt x="11040" y="9729"/>
                  </a:lnTo>
                  <a:lnTo>
                    <a:pt x="11048" y="9706"/>
                  </a:lnTo>
                  <a:lnTo>
                    <a:pt x="11054" y="9682"/>
                  </a:lnTo>
                  <a:lnTo>
                    <a:pt x="11060" y="9658"/>
                  </a:lnTo>
                  <a:lnTo>
                    <a:pt x="11064" y="9633"/>
                  </a:lnTo>
                  <a:lnTo>
                    <a:pt x="11068" y="9608"/>
                  </a:lnTo>
                  <a:lnTo>
                    <a:pt x="11069" y="9582"/>
                  </a:lnTo>
                  <a:lnTo>
                    <a:pt x="11070" y="9556"/>
                  </a:lnTo>
                  <a:lnTo>
                    <a:pt x="11070" y="503"/>
                  </a:lnTo>
                  <a:lnTo>
                    <a:pt x="11069" y="477"/>
                  </a:lnTo>
                  <a:lnTo>
                    <a:pt x="11068" y="452"/>
                  </a:lnTo>
                  <a:lnTo>
                    <a:pt x="11064" y="426"/>
                  </a:lnTo>
                  <a:lnTo>
                    <a:pt x="11060" y="401"/>
                  </a:lnTo>
                  <a:lnTo>
                    <a:pt x="11054" y="377"/>
                  </a:lnTo>
                  <a:lnTo>
                    <a:pt x="11048" y="353"/>
                  </a:lnTo>
                  <a:lnTo>
                    <a:pt x="11040" y="330"/>
                  </a:lnTo>
                  <a:lnTo>
                    <a:pt x="11031" y="307"/>
                  </a:lnTo>
                  <a:lnTo>
                    <a:pt x="11021" y="285"/>
                  </a:lnTo>
                  <a:lnTo>
                    <a:pt x="11010" y="263"/>
                  </a:lnTo>
                  <a:lnTo>
                    <a:pt x="10998" y="242"/>
                  </a:lnTo>
                  <a:lnTo>
                    <a:pt x="10985" y="221"/>
                  </a:lnTo>
                  <a:lnTo>
                    <a:pt x="10971" y="202"/>
                  </a:lnTo>
                  <a:lnTo>
                    <a:pt x="10955" y="183"/>
                  </a:lnTo>
                  <a:lnTo>
                    <a:pt x="10939" y="165"/>
                  </a:lnTo>
                  <a:lnTo>
                    <a:pt x="10923" y="147"/>
                  </a:lnTo>
                  <a:lnTo>
                    <a:pt x="10905" y="131"/>
                  </a:lnTo>
                  <a:lnTo>
                    <a:pt x="10887" y="115"/>
                  </a:lnTo>
                  <a:lnTo>
                    <a:pt x="10868" y="99"/>
                  </a:lnTo>
                  <a:lnTo>
                    <a:pt x="10849" y="85"/>
                  </a:lnTo>
                  <a:lnTo>
                    <a:pt x="10829" y="72"/>
                  </a:lnTo>
                  <a:lnTo>
                    <a:pt x="10808" y="60"/>
                  </a:lnTo>
                  <a:lnTo>
                    <a:pt x="10785" y="49"/>
                  </a:lnTo>
                  <a:lnTo>
                    <a:pt x="10763" y="39"/>
                  </a:lnTo>
                  <a:lnTo>
                    <a:pt x="10740" y="30"/>
                  </a:lnTo>
                  <a:lnTo>
                    <a:pt x="10717" y="22"/>
                  </a:lnTo>
                  <a:lnTo>
                    <a:pt x="10693" y="16"/>
                  </a:lnTo>
                  <a:lnTo>
                    <a:pt x="10669" y="10"/>
                  </a:lnTo>
                  <a:lnTo>
                    <a:pt x="10643" y="6"/>
                  </a:lnTo>
                  <a:lnTo>
                    <a:pt x="10618" y="3"/>
                  </a:lnTo>
                  <a:lnTo>
                    <a:pt x="10593" y="1"/>
                  </a:lnTo>
                  <a:lnTo>
                    <a:pt x="105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29" name="ïşľîḍe">
              <a:extLst>
                <a:ext uri="{FF2B5EF4-FFF2-40B4-BE49-F238E27FC236}">
                  <a16:creationId xmlns:a16="http://schemas.microsoft.com/office/drawing/2014/main" id="{B10A5255-A4DE-41B8-A1B5-A7E4DA3441D0}"/>
                </a:ext>
              </a:extLst>
            </p:cNvPr>
            <p:cNvSpPr/>
            <p:nvPr/>
          </p:nvSpPr>
          <p:spPr bwMode="auto">
            <a:xfrm>
              <a:off x="7489287" y="785943"/>
              <a:ext cx="74171" cy="75086"/>
            </a:xfrm>
            <a:custGeom>
              <a:avLst/>
              <a:gdLst>
                <a:gd name="T0" fmla="*/ 1712 w 3019"/>
                <a:gd name="T1" fmla="*/ 523 h 3018"/>
                <a:gd name="T2" fmla="*/ 1946 w 3019"/>
                <a:gd name="T3" fmla="*/ 602 h 3018"/>
                <a:gd name="T4" fmla="*/ 2150 w 3019"/>
                <a:gd name="T5" fmla="*/ 732 h 3018"/>
                <a:gd name="T6" fmla="*/ 2316 w 3019"/>
                <a:gd name="T7" fmla="*/ 907 h 3018"/>
                <a:gd name="T8" fmla="*/ 2437 w 3019"/>
                <a:gd name="T9" fmla="*/ 1117 h 3018"/>
                <a:gd name="T10" fmla="*/ 2504 w 3019"/>
                <a:gd name="T11" fmla="*/ 1356 h 3018"/>
                <a:gd name="T12" fmla="*/ 2511 w 3019"/>
                <a:gd name="T13" fmla="*/ 1611 h 3018"/>
                <a:gd name="T14" fmla="*/ 2455 w 3019"/>
                <a:gd name="T15" fmla="*/ 1854 h 3018"/>
                <a:gd name="T16" fmla="*/ 2344 w 3019"/>
                <a:gd name="T17" fmla="*/ 2071 h 3018"/>
                <a:gd name="T18" fmla="*/ 2186 w 3019"/>
                <a:gd name="T19" fmla="*/ 2253 h 3018"/>
                <a:gd name="T20" fmla="*/ 1989 w 3019"/>
                <a:gd name="T21" fmla="*/ 2393 h 3018"/>
                <a:gd name="T22" fmla="*/ 1761 w 3019"/>
                <a:gd name="T23" fmla="*/ 2482 h 3018"/>
                <a:gd name="T24" fmla="*/ 1510 w 3019"/>
                <a:gd name="T25" fmla="*/ 2515 h 3018"/>
                <a:gd name="T26" fmla="*/ 1258 w 3019"/>
                <a:gd name="T27" fmla="*/ 2482 h 3018"/>
                <a:gd name="T28" fmla="*/ 1031 w 3019"/>
                <a:gd name="T29" fmla="*/ 2393 h 3018"/>
                <a:gd name="T30" fmla="*/ 833 w 3019"/>
                <a:gd name="T31" fmla="*/ 2253 h 3018"/>
                <a:gd name="T32" fmla="*/ 675 w 3019"/>
                <a:gd name="T33" fmla="*/ 2071 h 3018"/>
                <a:gd name="T34" fmla="*/ 565 w 3019"/>
                <a:gd name="T35" fmla="*/ 1854 h 3018"/>
                <a:gd name="T36" fmla="*/ 508 w 3019"/>
                <a:gd name="T37" fmla="*/ 1611 h 3018"/>
                <a:gd name="T38" fmla="*/ 514 w 3019"/>
                <a:gd name="T39" fmla="*/ 1356 h 3018"/>
                <a:gd name="T40" fmla="*/ 583 w 3019"/>
                <a:gd name="T41" fmla="*/ 1117 h 3018"/>
                <a:gd name="T42" fmla="*/ 704 w 3019"/>
                <a:gd name="T43" fmla="*/ 907 h 3018"/>
                <a:gd name="T44" fmla="*/ 870 w 3019"/>
                <a:gd name="T45" fmla="*/ 732 h 3018"/>
                <a:gd name="T46" fmla="*/ 1074 w 3019"/>
                <a:gd name="T47" fmla="*/ 602 h 3018"/>
                <a:gd name="T48" fmla="*/ 1308 w 3019"/>
                <a:gd name="T49" fmla="*/ 523 h 3018"/>
                <a:gd name="T50" fmla="*/ 1510 w 3019"/>
                <a:gd name="T51" fmla="*/ 3018 h 3018"/>
                <a:gd name="T52" fmla="*/ 1887 w 3019"/>
                <a:gd name="T53" fmla="*/ 2969 h 3018"/>
                <a:gd name="T54" fmla="*/ 2229 w 3019"/>
                <a:gd name="T55" fmla="*/ 2836 h 3018"/>
                <a:gd name="T56" fmla="*/ 2525 w 3019"/>
                <a:gd name="T57" fmla="*/ 2625 h 3018"/>
                <a:gd name="T58" fmla="*/ 2762 w 3019"/>
                <a:gd name="T59" fmla="*/ 2352 h 3018"/>
                <a:gd name="T60" fmla="*/ 2928 w 3019"/>
                <a:gd name="T61" fmla="*/ 2028 h 3018"/>
                <a:gd name="T62" fmla="*/ 3011 w 3019"/>
                <a:gd name="T63" fmla="*/ 1663 h 3018"/>
                <a:gd name="T64" fmla="*/ 3002 w 3019"/>
                <a:gd name="T65" fmla="*/ 1278 h 3018"/>
                <a:gd name="T66" fmla="*/ 2901 w 3019"/>
                <a:gd name="T67" fmla="*/ 921 h 3018"/>
                <a:gd name="T68" fmla="*/ 2719 w 3019"/>
                <a:gd name="T69" fmla="*/ 605 h 3018"/>
                <a:gd name="T70" fmla="*/ 2470 w 3019"/>
                <a:gd name="T71" fmla="*/ 344 h 3018"/>
                <a:gd name="T72" fmla="*/ 2164 w 3019"/>
                <a:gd name="T73" fmla="*/ 149 h 3018"/>
                <a:gd name="T74" fmla="*/ 1814 w 3019"/>
                <a:gd name="T75" fmla="*/ 30 h 3018"/>
                <a:gd name="T76" fmla="*/ 1432 w 3019"/>
                <a:gd name="T77" fmla="*/ 2 h 3018"/>
                <a:gd name="T78" fmla="*/ 1061 w 3019"/>
                <a:gd name="T79" fmla="*/ 67 h 3018"/>
                <a:gd name="T80" fmla="*/ 727 w 3019"/>
                <a:gd name="T81" fmla="*/ 218 h 3018"/>
                <a:gd name="T82" fmla="*/ 442 w 3019"/>
                <a:gd name="T83" fmla="*/ 441 h 3018"/>
                <a:gd name="T84" fmla="*/ 219 w 3019"/>
                <a:gd name="T85" fmla="*/ 726 h 3018"/>
                <a:gd name="T86" fmla="*/ 68 w 3019"/>
                <a:gd name="T87" fmla="*/ 1060 h 3018"/>
                <a:gd name="T88" fmla="*/ 2 w 3019"/>
                <a:gd name="T89" fmla="*/ 1431 h 3018"/>
                <a:gd name="T90" fmla="*/ 30 w 3019"/>
                <a:gd name="T91" fmla="*/ 1812 h 3018"/>
                <a:gd name="T92" fmla="*/ 149 w 3019"/>
                <a:gd name="T93" fmla="*/ 2163 h 3018"/>
                <a:gd name="T94" fmla="*/ 344 w 3019"/>
                <a:gd name="T95" fmla="*/ 2468 h 3018"/>
                <a:gd name="T96" fmla="*/ 606 w 3019"/>
                <a:gd name="T97" fmla="*/ 2718 h 3018"/>
                <a:gd name="T98" fmla="*/ 922 w 3019"/>
                <a:gd name="T99" fmla="*/ 2899 h 3018"/>
                <a:gd name="T100" fmla="*/ 1280 w 3019"/>
                <a:gd name="T101" fmla="*/ 2999 h 30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019" h="3018">
                  <a:moveTo>
                    <a:pt x="1510" y="503"/>
                  </a:moveTo>
                  <a:lnTo>
                    <a:pt x="1561" y="504"/>
                  </a:lnTo>
                  <a:lnTo>
                    <a:pt x="1612" y="508"/>
                  </a:lnTo>
                  <a:lnTo>
                    <a:pt x="1663" y="514"/>
                  </a:lnTo>
                  <a:lnTo>
                    <a:pt x="1712" y="523"/>
                  </a:lnTo>
                  <a:lnTo>
                    <a:pt x="1761" y="534"/>
                  </a:lnTo>
                  <a:lnTo>
                    <a:pt x="1809" y="548"/>
                  </a:lnTo>
                  <a:lnTo>
                    <a:pt x="1856" y="564"/>
                  </a:lnTo>
                  <a:lnTo>
                    <a:pt x="1901" y="581"/>
                  </a:lnTo>
                  <a:lnTo>
                    <a:pt x="1946" y="602"/>
                  </a:lnTo>
                  <a:lnTo>
                    <a:pt x="1989" y="624"/>
                  </a:lnTo>
                  <a:lnTo>
                    <a:pt x="2031" y="649"/>
                  </a:lnTo>
                  <a:lnTo>
                    <a:pt x="2072" y="675"/>
                  </a:lnTo>
                  <a:lnTo>
                    <a:pt x="2112" y="703"/>
                  </a:lnTo>
                  <a:lnTo>
                    <a:pt x="2150" y="732"/>
                  </a:lnTo>
                  <a:lnTo>
                    <a:pt x="2186" y="764"/>
                  </a:lnTo>
                  <a:lnTo>
                    <a:pt x="2221" y="797"/>
                  </a:lnTo>
                  <a:lnTo>
                    <a:pt x="2255" y="833"/>
                  </a:lnTo>
                  <a:lnTo>
                    <a:pt x="2286" y="869"/>
                  </a:lnTo>
                  <a:lnTo>
                    <a:pt x="2316" y="907"/>
                  </a:lnTo>
                  <a:lnTo>
                    <a:pt x="2344" y="946"/>
                  </a:lnTo>
                  <a:lnTo>
                    <a:pt x="2370" y="988"/>
                  </a:lnTo>
                  <a:lnTo>
                    <a:pt x="2394" y="1029"/>
                  </a:lnTo>
                  <a:lnTo>
                    <a:pt x="2417" y="1073"/>
                  </a:lnTo>
                  <a:lnTo>
                    <a:pt x="2437" y="1117"/>
                  </a:lnTo>
                  <a:lnTo>
                    <a:pt x="2455" y="1163"/>
                  </a:lnTo>
                  <a:lnTo>
                    <a:pt x="2471" y="1210"/>
                  </a:lnTo>
                  <a:lnTo>
                    <a:pt x="2484" y="1257"/>
                  </a:lnTo>
                  <a:lnTo>
                    <a:pt x="2496" y="1305"/>
                  </a:lnTo>
                  <a:lnTo>
                    <a:pt x="2504" y="1356"/>
                  </a:lnTo>
                  <a:lnTo>
                    <a:pt x="2511" y="1406"/>
                  </a:lnTo>
                  <a:lnTo>
                    <a:pt x="2515" y="1456"/>
                  </a:lnTo>
                  <a:lnTo>
                    <a:pt x="2516" y="1509"/>
                  </a:lnTo>
                  <a:lnTo>
                    <a:pt x="2515" y="1560"/>
                  </a:lnTo>
                  <a:lnTo>
                    <a:pt x="2511" y="1611"/>
                  </a:lnTo>
                  <a:lnTo>
                    <a:pt x="2504" y="1662"/>
                  </a:lnTo>
                  <a:lnTo>
                    <a:pt x="2496" y="1711"/>
                  </a:lnTo>
                  <a:lnTo>
                    <a:pt x="2484" y="1759"/>
                  </a:lnTo>
                  <a:lnTo>
                    <a:pt x="2471" y="1807"/>
                  </a:lnTo>
                  <a:lnTo>
                    <a:pt x="2455" y="1854"/>
                  </a:lnTo>
                  <a:lnTo>
                    <a:pt x="2437" y="1900"/>
                  </a:lnTo>
                  <a:lnTo>
                    <a:pt x="2417" y="1944"/>
                  </a:lnTo>
                  <a:lnTo>
                    <a:pt x="2394" y="1988"/>
                  </a:lnTo>
                  <a:lnTo>
                    <a:pt x="2370" y="2030"/>
                  </a:lnTo>
                  <a:lnTo>
                    <a:pt x="2344" y="2071"/>
                  </a:lnTo>
                  <a:lnTo>
                    <a:pt x="2316" y="2110"/>
                  </a:lnTo>
                  <a:lnTo>
                    <a:pt x="2286" y="2148"/>
                  </a:lnTo>
                  <a:lnTo>
                    <a:pt x="2255" y="2185"/>
                  </a:lnTo>
                  <a:lnTo>
                    <a:pt x="2221" y="2220"/>
                  </a:lnTo>
                  <a:lnTo>
                    <a:pt x="2186" y="2253"/>
                  </a:lnTo>
                  <a:lnTo>
                    <a:pt x="2150" y="2284"/>
                  </a:lnTo>
                  <a:lnTo>
                    <a:pt x="2112" y="2314"/>
                  </a:lnTo>
                  <a:lnTo>
                    <a:pt x="2072" y="2343"/>
                  </a:lnTo>
                  <a:lnTo>
                    <a:pt x="2031" y="2369"/>
                  </a:lnTo>
                  <a:lnTo>
                    <a:pt x="1989" y="2393"/>
                  </a:lnTo>
                  <a:lnTo>
                    <a:pt x="1946" y="2415"/>
                  </a:lnTo>
                  <a:lnTo>
                    <a:pt x="1901" y="2435"/>
                  </a:lnTo>
                  <a:lnTo>
                    <a:pt x="1856" y="2453"/>
                  </a:lnTo>
                  <a:lnTo>
                    <a:pt x="1809" y="2469"/>
                  </a:lnTo>
                  <a:lnTo>
                    <a:pt x="1761" y="2482"/>
                  </a:lnTo>
                  <a:lnTo>
                    <a:pt x="1712" y="2494"/>
                  </a:lnTo>
                  <a:lnTo>
                    <a:pt x="1663" y="2503"/>
                  </a:lnTo>
                  <a:lnTo>
                    <a:pt x="1612" y="2510"/>
                  </a:lnTo>
                  <a:lnTo>
                    <a:pt x="1561" y="2514"/>
                  </a:lnTo>
                  <a:lnTo>
                    <a:pt x="1510" y="2515"/>
                  </a:lnTo>
                  <a:lnTo>
                    <a:pt x="1458" y="2514"/>
                  </a:lnTo>
                  <a:lnTo>
                    <a:pt x="1407" y="2510"/>
                  </a:lnTo>
                  <a:lnTo>
                    <a:pt x="1357" y="2503"/>
                  </a:lnTo>
                  <a:lnTo>
                    <a:pt x="1308" y="2494"/>
                  </a:lnTo>
                  <a:lnTo>
                    <a:pt x="1258" y="2482"/>
                  </a:lnTo>
                  <a:lnTo>
                    <a:pt x="1211" y="2469"/>
                  </a:lnTo>
                  <a:lnTo>
                    <a:pt x="1165" y="2453"/>
                  </a:lnTo>
                  <a:lnTo>
                    <a:pt x="1118" y="2435"/>
                  </a:lnTo>
                  <a:lnTo>
                    <a:pt x="1074" y="2415"/>
                  </a:lnTo>
                  <a:lnTo>
                    <a:pt x="1031" y="2393"/>
                  </a:lnTo>
                  <a:lnTo>
                    <a:pt x="988" y="2369"/>
                  </a:lnTo>
                  <a:lnTo>
                    <a:pt x="947" y="2343"/>
                  </a:lnTo>
                  <a:lnTo>
                    <a:pt x="908" y="2314"/>
                  </a:lnTo>
                  <a:lnTo>
                    <a:pt x="870" y="2284"/>
                  </a:lnTo>
                  <a:lnTo>
                    <a:pt x="833" y="2253"/>
                  </a:lnTo>
                  <a:lnTo>
                    <a:pt x="798" y="2220"/>
                  </a:lnTo>
                  <a:lnTo>
                    <a:pt x="765" y="2185"/>
                  </a:lnTo>
                  <a:lnTo>
                    <a:pt x="734" y="2148"/>
                  </a:lnTo>
                  <a:lnTo>
                    <a:pt x="704" y="2110"/>
                  </a:lnTo>
                  <a:lnTo>
                    <a:pt x="675" y="2071"/>
                  </a:lnTo>
                  <a:lnTo>
                    <a:pt x="649" y="2030"/>
                  </a:lnTo>
                  <a:lnTo>
                    <a:pt x="625" y="1988"/>
                  </a:lnTo>
                  <a:lnTo>
                    <a:pt x="603" y="1944"/>
                  </a:lnTo>
                  <a:lnTo>
                    <a:pt x="583" y="1900"/>
                  </a:lnTo>
                  <a:lnTo>
                    <a:pt x="565" y="1854"/>
                  </a:lnTo>
                  <a:lnTo>
                    <a:pt x="549" y="1807"/>
                  </a:lnTo>
                  <a:lnTo>
                    <a:pt x="536" y="1759"/>
                  </a:lnTo>
                  <a:lnTo>
                    <a:pt x="524" y="1711"/>
                  </a:lnTo>
                  <a:lnTo>
                    <a:pt x="514" y="1662"/>
                  </a:lnTo>
                  <a:lnTo>
                    <a:pt x="508" y="1611"/>
                  </a:lnTo>
                  <a:lnTo>
                    <a:pt x="504" y="1560"/>
                  </a:lnTo>
                  <a:lnTo>
                    <a:pt x="503" y="1509"/>
                  </a:lnTo>
                  <a:lnTo>
                    <a:pt x="504" y="1456"/>
                  </a:lnTo>
                  <a:lnTo>
                    <a:pt x="508" y="1406"/>
                  </a:lnTo>
                  <a:lnTo>
                    <a:pt x="514" y="1356"/>
                  </a:lnTo>
                  <a:lnTo>
                    <a:pt x="524" y="1305"/>
                  </a:lnTo>
                  <a:lnTo>
                    <a:pt x="536" y="1257"/>
                  </a:lnTo>
                  <a:lnTo>
                    <a:pt x="549" y="1210"/>
                  </a:lnTo>
                  <a:lnTo>
                    <a:pt x="565" y="1163"/>
                  </a:lnTo>
                  <a:lnTo>
                    <a:pt x="583" y="1117"/>
                  </a:lnTo>
                  <a:lnTo>
                    <a:pt x="603" y="1073"/>
                  </a:lnTo>
                  <a:lnTo>
                    <a:pt x="625" y="1029"/>
                  </a:lnTo>
                  <a:lnTo>
                    <a:pt x="649" y="988"/>
                  </a:lnTo>
                  <a:lnTo>
                    <a:pt x="675" y="946"/>
                  </a:lnTo>
                  <a:lnTo>
                    <a:pt x="704" y="907"/>
                  </a:lnTo>
                  <a:lnTo>
                    <a:pt x="734" y="869"/>
                  </a:lnTo>
                  <a:lnTo>
                    <a:pt x="765" y="833"/>
                  </a:lnTo>
                  <a:lnTo>
                    <a:pt x="798" y="797"/>
                  </a:lnTo>
                  <a:lnTo>
                    <a:pt x="833" y="764"/>
                  </a:lnTo>
                  <a:lnTo>
                    <a:pt x="870" y="732"/>
                  </a:lnTo>
                  <a:lnTo>
                    <a:pt x="908" y="703"/>
                  </a:lnTo>
                  <a:lnTo>
                    <a:pt x="947" y="675"/>
                  </a:lnTo>
                  <a:lnTo>
                    <a:pt x="988" y="649"/>
                  </a:lnTo>
                  <a:lnTo>
                    <a:pt x="1031" y="624"/>
                  </a:lnTo>
                  <a:lnTo>
                    <a:pt x="1074" y="602"/>
                  </a:lnTo>
                  <a:lnTo>
                    <a:pt x="1118" y="581"/>
                  </a:lnTo>
                  <a:lnTo>
                    <a:pt x="1165" y="564"/>
                  </a:lnTo>
                  <a:lnTo>
                    <a:pt x="1211" y="548"/>
                  </a:lnTo>
                  <a:lnTo>
                    <a:pt x="1258" y="534"/>
                  </a:lnTo>
                  <a:lnTo>
                    <a:pt x="1308" y="523"/>
                  </a:lnTo>
                  <a:lnTo>
                    <a:pt x="1357" y="514"/>
                  </a:lnTo>
                  <a:lnTo>
                    <a:pt x="1407" y="508"/>
                  </a:lnTo>
                  <a:lnTo>
                    <a:pt x="1458" y="504"/>
                  </a:lnTo>
                  <a:lnTo>
                    <a:pt x="1510" y="503"/>
                  </a:lnTo>
                  <a:close/>
                  <a:moveTo>
                    <a:pt x="1510" y="3018"/>
                  </a:moveTo>
                  <a:lnTo>
                    <a:pt x="1587" y="3016"/>
                  </a:lnTo>
                  <a:lnTo>
                    <a:pt x="1664" y="3010"/>
                  </a:lnTo>
                  <a:lnTo>
                    <a:pt x="1739" y="2999"/>
                  </a:lnTo>
                  <a:lnTo>
                    <a:pt x="1814" y="2986"/>
                  </a:lnTo>
                  <a:lnTo>
                    <a:pt x="1887" y="2969"/>
                  </a:lnTo>
                  <a:lnTo>
                    <a:pt x="1959" y="2949"/>
                  </a:lnTo>
                  <a:lnTo>
                    <a:pt x="2029" y="2926"/>
                  </a:lnTo>
                  <a:lnTo>
                    <a:pt x="2098" y="2899"/>
                  </a:lnTo>
                  <a:lnTo>
                    <a:pt x="2164" y="2869"/>
                  </a:lnTo>
                  <a:lnTo>
                    <a:pt x="2229" y="2836"/>
                  </a:lnTo>
                  <a:lnTo>
                    <a:pt x="2293" y="2799"/>
                  </a:lnTo>
                  <a:lnTo>
                    <a:pt x="2354" y="2760"/>
                  </a:lnTo>
                  <a:lnTo>
                    <a:pt x="2413" y="2718"/>
                  </a:lnTo>
                  <a:lnTo>
                    <a:pt x="2470" y="2673"/>
                  </a:lnTo>
                  <a:lnTo>
                    <a:pt x="2525" y="2625"/>
                  </a:lnTo>
                  <a:lnTo>
                    <a:pt x="2578" y="2575"/>
                  </a:lnTo>
                  <a:lnTo>
                    <a:pt x="2627" y="2523"/>
                  </a:lnTo>
                  <a:lnTo>
                    <a:pt x="2675" y="2468"/>
                  </a:lnTo>
                  <a:lnTo>
                    <a:pt x="2719" y="2411"/>
                  </a:lnTo>
                  <a:lnTo>
                    <a:pt x="2762" y="2352"/>
                  </a:lnTo>
                  <a:lnTo>
                    <a:pt x="2801" y="2291"/>
                  </a:lnTo>
                  <a:lnTo>
                    <a:pt x="2837" y="2228"/>
                  </a:lnTo>
                  <a:lnTo>
                    <a:pt x="2870" y="2163"/>
                  </a:lnTo>
                  <a:lnTo>
                    <a:pt x="2901" y="2096"/>
                  </a:lnTo>
                  <a:lnTo>
                    <a:pt x="2928" y="2028"/>
                  </a:lnTo>
                  <a:lnTo>
                    <a:pt x="2952" y="1957"/>
                  </a:lnTo>
                  <a:lnTo>
                    <a:pt x="2972" y="1886"/>
                  </a:lnTo>
                  <a:lnTo>
                    <a:pt x="2989" y="1812"/>
                  </a:lnTo>
                  <a:lnTo>
                    <a:pt x="3002" y="1738"/>
                  </a:lnTo>
                  <a:lnTo>
                    <a:pt x="3011" y="1663"/>
                  </a:lnTo>
                  <a:lnTo>
                    <a:pt x="3017" y="1586"/>
                  </a:lnTo>
                  <a:lnTo>
                    <a:pt x="3019" y="1509"/>
                  </a:lnTo>
                  <a:lnTo>
                    <a:pt x="3017" y="1431"/>
                  </a:lnTo>
                  <a:lnTo>
                    <a:pt x="3011" y="1354"/>
                  </a:lnTo>
                  <a:lnTo>
                    <a:pt x="3002" y="1278"/>
                  </a:lnTo>
                  <a:lnTo>
                    <a:pt x="2989" y="1204"/>
                  </a:lnTo>
                  <a:lnTo>
                    <a:pt x="2972" y="1131"/>
                  </a:lnTo>
                  <a:lnTo>
                    <a:pt x="2952" y="1060"/>
                  </a:lnTo>
                  <a:lnTo>
                    <a:pt x="2928" y="990"/>
                  </a:lnTo>
                  <a:lnTo>
                    <a:pt x="2901" y="921"/>
                  </a:lnTo>
                  <a:lnTo>
                    <a:pt x="2870" y="854"/>
                  </a:lnTo>
                  <a:lnTo>
                    <a:pt x="2837" y="789"/>
                  </a:lnTo>
                  <a:lnTo>
                    <a:pt x="2801" y="726"/>
                  </a:lnTo>
                  <a:lnTo>
                    <a:pt x="2762" y="665"/>
                  </a:lnTo>
                  <a:lnTo>
                    <a:pt x="2719" y="605"/>
                  </a:lnTo>
                  <a:lnTo>
                    <a:pt x="2675" y="549"/>
                  </a:lnTo>
                  <a:lnTo>
                    <a:pt x="2627" y="494"/>
                  </a:lnTo>
                  <a:lnTo>
                    <a:pt x="2578" y="441"/>
                  </a:lnTo>
                  <a:lnTo>
                    <a:pt x="2525" y="391"/>
                  </a:lnTo>
                  <a:lnTo>
                    <a:pt x="2470" y="344"/>
                  </a:lnTo>
                  <a:lnTo>
                    <a:pt x="2413" y="300"/>
                  </a:lnTo>
                  <a:lnTo>
                    <a:pt x="2354" y="257"/>
                  </a:lnTo>
                  <a:lnTo>
                    <a:pt x="2293" y="218"/>
                  </a:lnTo>
                  <a:lnTo>
                    <a:pt x="2229" y="182"/>
                  </a:lnTo>
                  <a:lnTo>
                    <a:pt x="2164" y="149"/>
                  </a:lnTo>
                  <a:lnTo>
                    <a:pt x="2098" y="118"/>
                  </a:lnTo>
                  <a:lnTo>
                    <a:pt x="2029" y="91"/>
                  </a:lnTo>
                  <a:lnTo>
                    <a:pt x="1959" y="67"/>
                  </a:lnTo>
                  <a:lnTo>
                    <a:pt x="1887" y="47"/>
                  </a:lnTo>
                  <a:lnTo>
                    <a:pt x="1814" y="30"/>
                  </a:lnTo>
                  <a:lnTo>
                    <a:pt x="1739" y="17"/>
                  </a:lnTo>
                  <a:lnTo>
                    <a:pt x="1664" y="8"/>
                  </a:lnTo>
                  <a:lnTo>
                    <a:pt x="1587" y="2"/>
                  </a:lnTo>
                  <a:lnTo>
                    <a:pt x="1510" y="0"/>
                  </a:lnTo>
                  <a:lnTo>
                    <a:pt x="1432" y="2"/>
                  </a:lnTo>
                  <a:lnTo>
                    <a:pt x="1356" y="8"/>
                  </a:lnTo>
                  <a:lnTo>
                    <a:pt x="1280" y="17"/>
                  </a:lnTo>
                  <a:lnTo>
                    <a:pt x="1206" y="30"/>
                  </a:lnTo>
                  <a:lnTo>
                    <a:pt x="1132" y="47"/>
                  </a:lnTo>
                  <a:lnTo>
                    <a:pt x="1061" y="67"/>
                  </a:lnTo>
                  <a:lnTo>
                    <a:pt x="990" y="91"/>
                  </a:lnTo>
                  <a:lnTo>
                    <a:pt x="922" y="118"/>
                  </a:lnTo>
                  <a:lnTo>
                    <a:pt x="856" y="149"/>
                  </a:lnTo>
                  <a:lnTo>
                    <a:pt x="790" y="182"/>
                  </a:lnTo>
                  <a:lnTo>
                    <a:pt x="727" y="218"/>
                  </a:lnTo>
                  <a:lnTo>
                    <a:pt x="665" y="257"/>
                  </a:lnTo>
                  <a:lnTo>
                    <a:pt x="606" y="300"/>
                  </a:lnTo>
                  <a:lnTo>
                    <a:pt x="550" y="344"/>
                  </a:lnTo>
                  <a:lnTo>
                    <a:pt x="494" y="391"/>
                  </a:lnTo>
                  <a:lnTo>
                    <a:pt x="442" y="441"/>
                  </a:lnTo>
                  <a:lnTo>
                    <a:pt x="393" y="494"/>
                  </a:lnTo>
                  <a:lnTo>
                    <a:pt x="344" y="549"/>
                  </a:lnTo>
                  <a:lnTo>
                    <a:pt x="300" y="605"/>
                  </a:lnTo>
                  <a:lnTo>
                    <a:pt x="258" y="665"/>
                  </a:lnTo>
                  <a:lnTo>
                    <a:pt x="219" y="726"/>
                  </a:lnTo>
                  <a:lnTo>
                    <a:pt x="182" y="789"/>
                  </a:lnTo>
                  <a:lnTo>
                    <a:pt x="149" y="854"/>
                  </a:lnTo>
                  <a:lnTo>
                    <a:pt x="119" y="921"/>
                  </a:lnTo>
                  <a:lnTo>
                    <a:pt x="92" y="990"/>
                  </a:lnTo>
                  <a:lnTo>
                    <a:pt x="68" y="1060"/>
                  </a:lnTo>
                  <a:lnTo>
                    <a:pt x="48" y="1131"/>
                  </a:lnTo>
                  <a:lnTo>
                    <a:pt x="30" y="1204"/>
                  </a:lnTo>
                  <a:lnTo>
                    <a:pt x="17" y="1278"/>
                  </a:lnTo>
                  <a:lnTo>
                    <a:pt x="8" y="1354"/>
                  </a:lnTo>
                  <a:lnTo>
                    <a:pt x="2" y="1431"/>
                  </a:lnTo>
                  <a:lnTo>
                    <a:pt x="0" y="1509"/>
                  </a:lnTo>
                  <a:lnTo>
                    <a:pt x="2" y="1586"/>
                  </a:lnTo>
                  <a:lnTo>
                    <a:pt x="8" y="1663"/>
                  </a:lnTo>
                  <a:lnTo>
                    <a:pt x="17" y="1738"/>
                  </a:lnTo>
                  <a:lnTo>
                    <a:pt x="30" y="1812"/>
                  </a:lnTo>
                  <a:lnTo>
                    <a:pt x="48" y="1886"/>
                  </a:lnTo>
                  <a:lnTo>
                    <a:pt x="68" y="1957"/>
                  </a:lnTo>
                  <a:lnTo>
                    <a:pt x="92" y="2028"/>
                  </a:lnTo>
                  <a:lnTo>
                    <a:pt x="119" y="2096"/>
                  </a:lnTo>
                  <a:lnTo>
                    <a:pt x="149" y="2163"/>
                  </a:lnTo>
                  <a:lnTo>
                    <a:pt x="182" y="2228"/>
                  </a:lnTo>
                  <a:lnTo>
                    <a:pt x="219" y="2291"/>
                  </a:lnTo>
                  <a:lnTo>
                    <a:pt x="258" y="2352"/>
                  </a:lnTo>
                  <a:lnTo>
                    <a:pt x="300" y="2411"/>
                  </a:lnTo>
                  <a:lnTo>
                    <a:pt x="344" y="2468"/>
                  </a:lnTo>
                  <a:lnTo>
                    <a:pt x="393" y="2523"/>
                  </a:lnTo>
                  <a:lnTo>
                    <a:pt x="442" y="2575"/>
                  </a:lnTo>
                  <a:lnTo>
                    <a:pt x="494" y="2625"/>
                  </a:lnTo>
                  <a:lnTo>
                    <a:pt x="550" y="2673"/>
                  </a:lnTo>
                  <a:lnTo>
                    <a:pt x="606" y="2718"/>
                  </a:lnTo>
                  <a:lnTo>
                    <a:pt x="665" y="2760"/>
                  </a:lnTo>
                  <a:lnTo>
                    <a:pt x="727" y="2799"/>
                  </a:lnTo>
                  <a:lnTo>
                    <a:pt x="790" y="2836"/>
                  </a:lnTo>
                  <a:lnTo>
                    <a:pt x="856" y="2869"/>
                  </a:lnTo>
                  <a:lnTo>
                    <a:pt x="922" y="2899"/>
                  </a:lnTo>
                  <a:lnTo>
                    <a:pt x="990" y="2926"/>
                  </a:lnTo>
                  <a:lnTo>
                    <a:pt x="1061" y="2949"/>
                  </a:lnTo>
                  <a:lnTo>
                    <a:pt x="1132" y="2969"/>
                  </a:lnTo>
                  <a:lnTo>
                    <a:pt x="1206" y="2986"/>
                  </a:lnTo>
                  <a:lnTo>
                    <a:pt x="1280" y="2999"/>
                  </a:lnTo>
                  <a:lnTo>
                    <a:pt x="1356" y="3010"/>
                  </a:lnTo>
                  <a:lnTo>
                    <a:pt x="1432" y="3016"/>
                  </a:lnTo>
                  <a:lnTo>
                    <a:pt x="1510" y="30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30" name="ïṥḻidé">
              <a:extLst>
                <a:ext uri="{FF2B5EF4-FFF2-40B4-BE49-F238E27FC236}">
                  <a16:creationId xmlns:a16="http://schemas.microsoft.com/office/drawing/2014/main" id="{896CC727-72CD-4DE7-92CD-0845291A3E3E}"/>
                </a:ext>
              </a:extLst>
            </p:cNvPr>
            <p:cNvSpPr/>
            <p:nvPr/>
          </p:nvSpPr>
          <p:spPr bwMode="auto">
            <a:xfrm>
              <a:off x="7032024" y="43452"/>
              <a:ext cx="305223" cy="286279"/>
            </a:xfrm>
            <a:custGeom>
              <a:avLst/>
              <a:gdLst>
                <a:gd name="T0" fmla="*/ 12874 w 16095"/>
                <a:gd name="T1" fmla="*/ 4005 h 15096"/>
                <a:gd name="T2" fmla="*/ 12597 w 16095"/>
                <a:gd name="T3" fmla="*/ 3904 h 15096"/>
                <a:gd name="T4" fmla="*/ 12366 w 16095"/>
                <a:gd name="T5" fmla="*/ 3731 h 15096"/>
                <a:gd name="T6" fmla="*/ 12192 w 16095"/>
                <a:gd name="T7" fmla="*/ 3498 h 15096"/>
                <a:gd name="T8" fmla="*/ 12090 w 16095"/>
                <a:gd name="T9" fmla="*/ 3221 h 15096"/>
                <a:gd name="T10" fmla="*/ 12071 w 16095"/>
                <a:gd name="T11" fmla="*/ 1006 h 15096"/>
                <a:gd name="T12" fmla="*/ 15083 w 16095"/>
                <a:gd name="T13" fmla="*/ 13663 h 15096"/>
                <a:gd name="T14" fmla="*/ 15040 w 16095"/>
                <a:gd name="T15" fmla="*/ 13805 h 15096"/>
                <a:gd name="T16" fmla="*/ 14958 w 16095"/>
                <a:gd name="T17" fmla="*/ 13925 h 15096"/>
                <a:gd name="T18" fmla="*/ 14848 w 16095"/>
                <a:gd name="T19" fmla="*/ 14017 h 15096"/>
                <a:gd name="T20" fmla="*/ 14712 w 16095"/>
                <a:gd name="T21" fmla="*/ 14073 h 15096"/>
                <a:gd name="T22" fmla="*/ 1509 w 16095"/>
                <a:gd name="T23" fmla="*/ 14090 h 15096"/>
                <a:gd name="T24" fmla="*/ 1359 w 16095"/>
                <a:gd name="T25" fmla="*/ 14067 h 15096"/>
                <a:gd name="T26" fmla="*/ 1227 w 16095"/>
                <a:gd name="T27" fmla="*/ 14004 h 15096"/>
                <a:gd name="T28" fmla="*/ 1121 w 16095"/>
                <a:gd name="T29" fmla="*/ 13906 h 15096"/>
                <a:gd name="T30" fmla="*/ 1045 w 16095"/>
                <a:gd name="T31" fmla="*/ 13783 h 15096"/>
                <a:gd name="T32" fmla="*/ 1009 w 16095"/>
                <a:gd name="T33" fmla="*/ 13638 h 15096"/>
                <a:gd name="T34" fmla="*/ 1012 w 16095"/>
                <a:gd name="T35" fmla="*/ 1433 h 15096"/>
                <a:gd name="T36" fmla="*/ 1055 w 16095"/>
                <a:gd name="T37" fmla="*/ 1291 h 15096"/>
                <a:gd name="T38" fmla="*/ 1137 w 16095"/>
                <a:gd name="T39" fmla="*/ 1171 h 15096"/>
                <a:gd name="T40" fmla="*/ 1248 w 16095"/>
                <a:gd name="T41" fmla="*/ 1079 h 15096"/>
                <a:gd name="T42" fmla="*/ 1383 w 16095"/>
                <a:gd name="T43" fmla="*/ 1023 h 15096"/>
                <a:gd name="T44" fmla="*/ 11568 w 16095"/>
                <a:gd name="T45" fmla="*/ 1006 h 15096"/>
                <a:gd name="T46" fmla="*/ 11598 w 16095"/>
                <a:gd name="T47" fmla="*/ 3323 h 15096"/>
                <a:gd name="T48" fmla="*/ 11749 w 16095"/>
                <a:gd name="T49" fmla="*/ 3739 h 15096"/>
                <a:gd name="T50" fmla="*/ 12010 w 16095"/>
                <a:gd name="T51" fmla="*/ 4087 h 15096"/>
                <a:gd name="T52" fmla="*/ 12357 w 16095"/>
                <a:gd name="T53" fmla="*/ 4347 h 15096"/>
                <a:gd name="T54" fmla="*/ 12772 w 16095"/>
                <a:gd name="T55" fmla="*/ 4499 h 15096"/>
                <a:gd name="T56" fmla="*/ 15089 w 16095"/>
                <a:gd name="T57" fmla="*/ 4529 h 15096"/>
                <a:gd name="T58" fmla="*/ 12728 w 16095"/>
                <a:gd name="T59" fmla="*/ 244 h 15096"/>
                <a:gd name="T60" fmla="*/ 12608 w 16095"/>
                <a:gd name="T61" fmla="*/ 156 h 15096"/>
                <a:gd name="T62" fmla="*/ 12479 w 16095"/>
                <a:gd name="T63" fmla="*/ 87 h 15096"/>
                <a:gd name="T64" fmla="*/ 12340 w 16095"/>
                <a:gd name="T65" fmla="*/ 36 h 15096"/>
                <a:gd name="T66" fmla="*/ 12195 w 16095"/>
                <a:gd name="T67" fmla="*/ 8 h 15096"/>
                <a:gd name="T68" fmla="*/ 1509 w 16095"/>
                <a:gd name="T69" fmla="*/ 0 h 15096"/>
                <a:gd name="T70" fmla="*/ 1060 w 16095"/>
                <a:gd name="T71" fmla="*/ 68 h 15096"/>
                <a:gd name="T72" fmla="*/ 666 w 16095"/>
                <a:gd name="T73" fmla="*/ 259 h 15096"/>
                <a:gd name="T74" fmla="*/ 345 w 16095"/>
                <a:gd name="T75" fmla="*/ 549 h 15096"/>
                <a:gd name="T76" fmla="*/ 119 w 16095"/>
                <a:gd name="T77" fmla="*/ 923 h 15096"/>
                <a:gd name="T78" fmla="*/ 8 w 16095"/>
                <a:gd name="T79" fmla="*/ 1356 h 15096"/>
                <a:gd name="T80" fmla="*/ 17 w 16095"/>
                <a:gd name="T81" fmla="*/ 13816 h 15096"/>
                <a:gd name="T82" fmla="*/ 149 w 16095"/>
                <a:gd name="T83" fmla="*/ 14241 h 15096"/>
                <a:gd name="T84" fmla="*/ 392 w 16095"/>
                <a:gd name="T85" fmla="*/ 14601 h 15096"/>
                <a:gd name="T86" fmla="*/ 727 w 16095"/>
                <a:gd name="T87" fmla="*/ 14878 h 15096"/>
                <a:gd name="T88" fmla="*/ 1133 w 16095"/>
                <a:gd name="T89" fmla="*/ 15049 h 15096"/>
                <a:gd name="T90" fmla="*/ 14586 w 16095"/>
                <a:gd name="T91" fmla="*/ 15096 h 15096"/>
                <a:gd name="T92" fmla="*/ 15035 w 16095"/>
                <a:gd name="T93" fmla="*/ 15028 h 15096"/>
                <a:gd name="T94" fmla="*/ 15429 w 16095"/>
                <a:gd name="T95" fmla="*/ 14837 h 15096"/>
                <a:gd name="T96" fmla="*/ 15750 w 16095"/>
                <a:gd name="T97" fmla="*/ 14547 h 15096"/>
                <a:gd name="T98" fmla="*/ 15976 w 16095"/>
                <a:gd name="T99" fmla="*/ 14173 h 15096"/>
                <a:gd name="T100" fmla="*/ 16087 w 16095"/>
                <a:gd name="T101" fmla="*/ 13740 h 15096"/>
                <a:gd name="T102" fmla="*/ 16092 w 16095"/>
                <a:gd name="T103" fmla="*/ 3951 h 15096"/>
                <a:gd name="T104" fmla="*/ 16070 w 16095"/>
                <a:gd name="T105" fmla="*/ 3804 h 15096"/>
                <a:gd name="T106" fmla="*/ 16028 w 16095"/>
                <a:gd name="T107" fmla="*/ 3663 h 15096"/>
                <a:gd name="T108" fmla="*/ 15964 w 16095"/>
                <a:gd name="T109" fmla="*/ 3530 h 15096"/>
                <a:gd name="T110" fmla="*/ 15883 w 16095"/>
                <a:gd name="T111" fmla="*/ 3408 h 15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095" h="15096">
                  <a:moveTo>
                    <a:pt x="13579" y="4026"/>
                  </a:moveTo>
                  <a:lnTo>
                    <a:pt x="13076" y="4026"/>
                  </a:lnTo>
                  <a:lnTo>
                    <a:pt x="13025" y="4025"/>
                  </a:lnTo>
                  <a:lnTo>
                    <a:pt x="12974" y="4021"/>
                  </a:lnTo>
                  <a:lnTo>
                    <a:pt x="12923" y="4014"/>
                  </a:lnTo>
                  <a:lnTo>
                    <a:pt x="12874" y="4005"/>
                  </a:lnTo>
                  <a:lnTo>
                    <a:pt x="12826" y="3993"/>
                  </a:lnTo>
                  <a:lnTo>
                    <a:pt x="12777" y="3980"/>
                  </a:lnTo>
                  <a:lnTo>
                    <a:pt x="12731" y="3964"/>
                  </a:lnTo>
                  <a:lnTo>
                    <a:pt x="12685" y="3946"/>
                  </a:lnTo>
                  <a:lnTo>
                    <a:pt x="12641" y="3926"/>
                  </a:lnTo>
                  <a:lnTo>
                    <a:pt x="12597" y="3904"/>
                  </a:lnTo>
                  <a:lnTo>
                    <a:pt x="12555" y="3880"/>
                  </a:lnTo>
                  <a:lnTo>
                    <a:pt x="12515" y="3854"/>
                  </a:lnTo>
                  <a:lnTo>
                    <a:pt x="12475" y="3825"/>
                  </a:lnTo>
                  <a:lnTo>
                    <a:pt x="12437" y="3795"/>
                  </a:lnTo>
                  <a:lnTo>
                    <a:pt x="12400" y="3764"/>
                  </a:lnTo>
                  <a:lnTo>
                    <a:pt x="12366" y="3731"/>
                  </a:lnTo>
                  <a:lnTo>
                    <a:pt x="12332" y="3696"/>
                  </a:lnTo>
                  <a:lnTo>
                    <a:pt x="12301" y="3659"/>
                  </a:lnTo>
                  <a:lnTo>
                    <a:pt x="12270" y="3621"/>
                  </a:lnTo>
                  <a:lnTo>
                    <a:pt x="12242" y="3582"/>
                  </a:lnTo>
                  <a:lnTo>
                    <a:pt x="12216" y="3541"/>
                  </a:lnTo>
                  <a:lnTo>
                    <a:pt x="12192" y="3498"/>
                  </a:lnTo>
                  <a:lnTo>
                    <a:pt x="12170" y="3455"/>
                  </a:lnTo>
                  <a:lnTo>
                    <a:pt x="12150" y="3411"/>
                  </a:lnTo>
                  <a:lnTo>
                    <a:pt x="12132" y="3365"/>
                  </a:lnTo>
                  <a:lnTo>
                    <a:pt x="12116" y="3318"/>
                  </a:lnTo>
                  <a:lnTo>
                    <a:pt x="12102" y="3271"/>
                  </a:lnTo>
                  <a:lnTo>
                    <a:pt x="12090" y="3221"/>
                  </a:lnTo>
                  <a:lnTo>
                    <a:pt x="12082" y="3172"/>
                  </a:lnTo>
                  <a:lnTo>
                    <a:pt x="12075" y="3122"/>
                  </a:lnTo>
                  <a:lnTo>
                    <a:pt x="12071" y="3071"/>
                  </a:lnTo>
                  <a:lnTo>
                    <a:pt x="12070" y="3019"/>
                  </a:lnTo>
                  <a:lnTo>
                    <a:pt x="12071" y="3019"/>
                  </a:lnTo>
                  <a:lnTo>
                    <a:pt x="12071" y="1006"/>
                  </a:lnTo>
                  <a:lnTo>
                    <a:pt x="15089" y="4026"/>
                  </a:lnTo>
                  <a:lnTo>
                    <a:pt x="13579" y="4026"/>
                  </a:lnTo>
                  <a:close/>
                  <a:moveTo>
                    <a:pt x="15089" y="13586"/>
                  </a:moveTo>
                  <a:lnTo>
                    <a:pt x="15088" y="13613"/>
                  </a:lnTo>
                  <a:lnTo>
                    <a:pt x="15087" y="13638"/>
                  </a:lnTo>
                  <a:lnTo>
                    <a:pt x="15083" y="13663"/>
                  </a:lnTo>
                  <a:lnTo>
                    <a:pt x="15079" y="13688"/>
                  </a:lnTo>
                  <a:lnTo>
                    <a:pt x="15073" y="13712"/>
                  </a:lnTo>
                  <a:lnTo>
                    <a:pt x="15067" y="13736"/>
                  </a:lnTo>
                  <a:lnTo>
                    <a:pt x="15059" y="13760"/>
                  </a:lnTo>
                  <a:lnTo>
                    <a:pt x="15050" y="13783"/>
                  </a:lnTo>
                  <a:lnTo>
                    <a:pt x="15040" y="13805"/>
                  </a:lnTo>
                  <a:lnTo>
                    <a:pt x="15029" y="13827"/>
                  </a:lnTo>
                  <a:lnTo>
                    <a:pt x="15017" y="13847"/>
                  </a:lnTo>
                  <a:lnTo>
                    <a:pt x="15004" y="13868"/>
                  </a:lnTo>
                  <a:lnTo>
                    <a:pt x="14989" y="13887"/>
                  </a:lnTo>
                  <a:lnTo>
                    <a:pt x="14974" y="13906"/>
                  </a:lnTo>
                  <a:lnTo>
                    <a:pt x="14958" y="13925"/>
                  </a:lnTo>
                  <a:lnTo>
                    <a:pt x="14942" y="13943"/>
                  </a:lnTo>
                  <a:lnTo>
                    <a:pt x="14924" y="13959"/>
                  </a:lnTo>
                  <a:lnTo>
                    <a:pt x="14906" y="13975"/>
                  </a:lnTo>
                  <a:lnTo>
                    <a:pt x="14887" y="13990"/>
                  </a:lnTo>
                  <a:lnTo>
                    <a:pt x="14868" y="14004"/>
                  </a:lnTo>
                  <a:lnTo>
                    <a:pt x="14848" y="14017"/>
                  </a:lnTo>
                  <a:lnTo>
                    <a:pt x="14827" y="14029"/>
                  </a:lnTo>
                  <a:lnTo>
                    <a:pt x="14804" y="14040"/>
                  </a:lnTo>
                  <a:lnTo>
                    <a:pt x="14782" y="14050"/>
                  </a:lnTo>
                  <a:lnTo>
                    <a:pt x="14759" y="14059"/>
                  </a:lnTo>
                  <a:lnTo>
                    <a:pt x="14736" y="14067"/>
                  </a:lnTo>
                  <a:lnTo>
                    <a:pt x="14712" y="14073"/>
                  </a:lnTo>
                  <a:lnTo>
                    <a:pt x="14688" y="14080"/>
                  </a:lnTo>
                  <a:lnTo>
                    <a:pt x="14663" y="14084"/>
                  </a:lnTo>
                  <a:lnTo>
                    <a:pt x="14637" y="14087"/>
                  </a:lnTo>
                  <a:lnTo>
                    <a:pt x="14612" y="14089"/>
                  </a:lnTo>
                  <a:lnTo>
                    <a:pt x="14586" y="14090"/>
                  </a:lnTo>
                  <a:lnTo>
                    <a:pt x="1509" y="14090"/>
                  </a:lnTo>
                  <a:lnTo>
                    <a:pt x="1483" y="14089"/>
                  </a:lnTo>
                  <a:lnTo>
                    <a:pt x="1458" y="14087"/>
                  </a:lnTo>
                  <a:lnTo>
                    <a:pt x="1432" y="14084"/>
                  </a:lnTo>
                  <a:lnTo>
                    <a:pt x="1407" y="14080"/>
                  </a:lnTo>
                  <a:lnTo>
                    <a:pt x="1383" y="14073"/>
                  </a:lnTo>
                  <a:lnTo>
                    <a:pt x="1359" y="14067"/>
                  </a:lnTo>
                  <a:lnTo>
                    <a:pt x="1336" y="14059"/>
                  </a:lnTo>
                  <a:lnTo>
                    <a:pt x="1313" y="14050"/>
                  </a:lnTo>
                  <a:lnTo>
                    <a:pt x="1291" y="14040"/>
                  </a:lnTo>
                  <a:lnTo>
                    <a:pt x="1268" y="14029"/>
                  </a:lnTo>
                  <a:lnTo>
                    <a:pt x="1248" y="14017"/>
                  </a:lnTo>
                  <a:lnTo>
                    <a:pt x="1227" y="14004"/>
                  </a:lnTo>
                  <a:lnTo>
                    <a:pt x="1208" y="13990"/>
                  </a:lnTo>
                  <a:lnTo>
                    <a:pt x="1189" y="13975"/>
                  </a:lnTo>
                  <a:lnTo>
                    <a:pt x="1171" y="13959"/>
                  </a:lnTo>
                  <a:lnTo>
                    <a:pt x="1153" y="13943"/>
                  </a:lnTo>
                  <a:lnTo>
                    <a:pt x="1137" y="13925"/>
                  </a:lnTo>
                  <a:lnTo>
                    <a:pt x="1121" y="13906"/>
                  </a:lnTo>
                  <a:lnTo>
                    <a:pt x="1106" y="13887"/>
                  </a:lnTo>
                  <a:lnTo>
                    <a:pt x="1091" y="13868"/>
                  </a:lnTo>
                  <a:lnTo>
                    <a:pt x="1078" y="13847"/>
                  </a:lnTo>
                  <a:lnTo>
                    <a:pt x="1066" y="13827"/>
                  </a:lnTo>
                  <a:lnTo>
                    <a:pt x="1055" y="13805"/>
                  </a:lnTo>
                  <a:lnTo>
                    <a:pt x="1045" y="13783"/>
                  </a:lnTo>
                  <a:lnTo>
                    <a:pt x="1036" y="13760"/>
                  </a:lnTo>
                  <a:lnTo>
                    <a:pt x="1029" y="13736"/>
                  </a:lnTo>
                  <a:lnTo>
                    <a:pt x="1022" y="13712"/>
                  </a:lnTo>
                  <a:lnTo>
                    <a:pt x="1016" y="13688"/>
                  </a:lnTo>
                  <a:lnTo>
                    <a:pt x="1012" y="13663"/>
                  </a:lnTo>
                  <a:lnTo>
                    <a:pt x="1009" y="13638"/>
                  </a:lnTo>
                  <a:lnTo>
                    <a:pt x="1007" y="13613"/>
                  </a:lnTo>
                  <a:lnTo>
                    <a:pt x="1006" y="13586"/>
                  </a:lnTo>
                  <a:lnTo>
                    <a:pt x="1006" y="1510"/>
                  </a:lnTo>
                  <a:lnTo>
                    <a:pt x="1007" y="1483"/>
                  </a:lnTo>
                  <a:lnTo>
                    <a:pt x="1009" y="1458"/>
                  </a:lnTo>
                  <a:lnTo>
                    <a:pt x="1012" y="1433"/>
                  </a:lnTo>
                  <a:lnTo>
                    <a:pt x="1016" y="1408"/>
                  </a:lnTo>
                  <a:lnTo>
                    <a:pt x="1022" y="1384"/>
                  </a:lnTo>
                  <a:lnTo>
                    <a:pt x="1029" y="1360"/>
                  </a:lnTo>
                  <a:lnTo>
                    <a:pt x="1036" y="1336"/>
                  </a:lnTo>
                  <a:lnTo>
                    <a:pt x="1045" y="1313"/>
                  </a:lnTo>
                  <a:lnTo>
                    <a:pt x="1055" y="1291"/>
                  </a:lnTo>
                  <a:lnTo>
                    <a:pt x="1066" y="1270"/>
                  </a:lnTo>
                  <a:lnTo>
                    <a:pt x="1078" y="1249"/>
                  </a:lnTo>
                  <a:lnTo>
                    <a:pt x="1091" y="1228"/>
                  </a:lnTo>
                  <a:lnTo>
                    <a:pt x="1106" y="1209"/>
                  </a:lnTo>
                  <a:lnTo>
                    <a:pt x="1121" y="1190"/>
                  </a:lnTo>
                  <a:lnTo>
                    <a:pt x="1137" y="1171"/>
                  </a:lnTo>
                  <a:lnTo>
                    <a:pt x="1153" y="1153"/>
                  </a:lnTo>
                  <a:lnTo>
                    <a:pt x="1171" y="1137"/>
                  </a:lnTo>
                  <a:lnTo>
                    <a:pt x="1189" y="1121"/>
                  </a:lnTo>
                  <a:lnTo>
                    <a:pt x="1208" y="1106"/>
                  </a:lnTo>
                  <a:lnTo>
                    <a:pt x="1227" y="1092"/>
                  </a:lnTo>
                  <a:lnTo>
                    <a:pt x="1248" y="1079"/>
                  </a:lnTo>
                  <a:lnTo>
                    <a:pt x="1268" y="1067"/>
                  </a:lnTo>
                  <a:lnTo>
                    <a:pt x="1291" y="1056"/>
                  </a:lnTo>
                  <a:lnTo>
                    <a:pt x="1313" y="1046"/>
                  </a:lnTo>
                  <a:lnTo>
                    <a:pt x="1336" y="1037"/>
                  </a:lnTo>
                  <a:lnTo>
                    <a:pt x="1359" y="1030"/>
                  </a:lnTo>
                  <a:lnTo>
                    <a:pt x="1383" y="1023"/>
                  </a:lnTo>
                  <a:lnTo>
                    <a:pt x="1407" y="1016"/>
                  </a:lnTo>
                  <a:lnTo>
                    <a:pt x="1432" y="1012"/>
                  </a:lnTo>
                  <a:lnTo>
                    <a:pt x="1458" y="1009"/>
                  </a:lnTo>
                  <a:lnTo>
                    <a:pt x="1483" y="1007"/>
                  </a:lnTo>
                  <a:lnTo>
                    <a:pt x="1509" y="1006"/>
                  </a:lnTo>
                  <a:lnTo>
                    <a:pt x="11568" y="1006"/>
                  </a:lnTo>
                  <a:lnTo>
                    <a:pt x="11568" y="3019"/>
                  </a:lnTo>
                  <a:lnTo>
                    <a:pt x="11567" y="3019"/>
                  </a:lnTo>
                  <a:lnTo>
                    <a:pt x="11569" y="3097"/>
                  </a:lnTo>
                  <a:lnTo>
                    <a:pt x="11575" y="3173"/>
                  </a:lnTo>
                  <a:lnTo>
                    <a:pt x="11584" y="3249"/>
                  </a:lnTo>
                  <a:lnTo>
                    <a:pt x="11598" y="3323"/>
                  </a:lnTo>
                  <a:lnTo>
                    <a:pt x="11615" y="3397"/>
                  </a:lnTo>
                  <a:lnTo>
                    <a:pt x="11636" y="3468"/>
                  </a:lnTo>
                  <a:lnTo>
                    <a:pt x="11659" y="3539"/>
                  </a:lnTo>
                  <a:lnTo>
                    <a:pt x="11686" y="3607"/>
                  </a:lnTo>
                  <a:lnTo>
                    <a:pt x="11716" y="3673"/>
                  </a:lnTo>
                  <a:lnTo>
                    <a:pt x="11749" y="3739"/>
                  </a:lnTo>
                  <a:lnTo>
                    <a:pt x="11786" y="3802"/>
                  </a:lnTo>
                  <a:lnTo>
                    <a:pt x="11825" y="3864"/>
                  </a:lnTo>
                  <a:lnTo>
                    <a:pt x="11867" y="3922"/>
                  </a:lnTo>
                  <a:lnTo>
                    <a:pt x="11912" y="3979"/>
                  </a:lnTo>
                  <a:lnTo>
                    <a:pt x="11960" y="4035"/>
                  </a:lnTo>
                  <a:lnTo>
                    <a:pt x="12010" y="4087"/>
                  </a:lnTo>
                  <a:lnTo>
                    <a:pt x="12062" y="4136"/>
                  </a:lnTo>
                  <a:lnTo>
                    <a:pt x="12117" y="4184"/>
                  </a:lnTo>
                  <a:lnTo>
                    <a:pt x="12174" y="4229"/>
                  </a:lnTo>
                  <a:lnTo>
                    <a:pt x="12233" y="4271"/>
                  </a:lnTo>
                  <a:lnTo>
                    <a:pt x="12295" y="4310"/>
                  </a:lnTo>
                  <a:lnTo>
                    <a:pt x="12357" y="4347"/>
                  </a:lnTo>
                  <a:lnTo>
                    <a:pt x="12422" y="4380"/>
                  </a:lnTo>
                  <a:lnTo>
                    <a:pt x="12490" y="4410"/>
                  </a:lnTo>
                  <a:lnTo>
                    <a:pt x="12558" y="4437"/>
                  </a:lnTo>
                  <a:lnTo>
                    <a:pt x="12628" y="4461"/>
                  </a:lnTo>
                  <a:lnTo>
                    <a:pt x="12700" y="4481"/>
                  </a:lnTo>
                  <a:lnTo>
                    <a:pt x="12772" y="4499"/>
                  </a:lnTo>
                  <a:lnTo>
                    <a:pt x="12847" y="4512"/>
                  </a:lnTo>
                  <a:lnTo>
                    <a:pt x="12922" y="4521"/>
                  </a:lnTo>
                  <a:lnTo>
                    <a:pt x="12999" y="4527"/>
                  </a:lnTo>
                  <a:lnTo>
                    <a:pt x="13076" y="4529"/>
                  </a:lnTo>
                  <a:lnTo>
                    <a:pt x="13579" y="4529"/>
                  </a:lnTo>
                  <a:lnTo>
                    <a:pt x="15089" y="4529"/>
                  </a:lnTo>
                  <a:lnTo>
                    <a:pt x="15089" y="13586"/>
                  </a:lnTo>
                  <a:close/>
                  <a:moveTo>
                    <a:pt x="15800" y="3314"/>
                  </a:moveTo>
                  <a:lnTo>
                    <a:pt x="12782" y="295"/>
                  </a:lnTo>
                  <a:lnTo>
                    <a:pt x="12764" y="278"/>
                  </a:lnTo>
                  <a:lnTo>
                    <a:pt x="12746" y="261"/>
                  </a:lnTo>
                  <a:lnTo>
                    <a:pt x="12728" y="244"/>
                  </a:lnTo>
                  <a:lnTo>
                    <a:pt x="12709" y="228"/>
                  </a:lnTo>
                  <a:lnTo>
                    <a:pt x="12690" y="212"/>
                  </a:lnTo>
                  <a:lnTo>
                    <a:pt x="12670" y="197"/>
                  </a:lnTo>
                  <a:lnTo>
                    <a:pt x="12650" y="183"/>
                  </a:lnTo>
                  <a:lnTo>
                    <a:pt x="12630" y="169"/>
                  </a:lnTo>
                  <a:lnTo>
                    <a:pt x="12608" y="156"/>
                  </a:lnTo>
                  <a:lnTo>
                    <a:pt x="12587" y="143"/>
                  </a:lnTo>
                  <a:lnTo>
                    <a:pt x="12566" y="131"/>
                  </a:lnTo>
                  <a:lnTo>
                    <a:pt x="12545" y="119"/>
                  </a:lnTo>
                  <a:lnTo>
                    <a:pt x="12523" y="108"/>
                  </a:lnTo>
                  <a:lnTo>
                    <a:pt x="12501" y="97"/>
                  </a:lnTo>
                  <a:lnTo>
                    <a:pt x="12479" y="87"/>
                  </a:lnTo>
                  <a:lnTo>
                    <a:pt x="12457" y="76"/>
                  </a:lnTo>
                  <a:lnTo>
                    <a:pt x="12433" y="67"/>
                  </a:lnTo>
                  <a:lnTo>
                    <a:pt x="12410" y="59"/>
                  </a:lnTo>
                  <a:lnTo>
                    <a:pt x="12387" y="51"/>
                  </a:lnTo>
                  <a:lnTo>
                    <a:pt x="12364" y="43"/>
                  </a:lnTo>
                  <a:lnTo>
                    <a:pt x="12340" y="36"/>
                  </a:lnTo>
                  <a:lnTo>
                    <a:pt x="12317" y="30"/>
                  </a:lnTo>
                  <a:lnTo>
                    <a:pt x="12293" y="25"/>
                  </a:lnTo>
                  <a:lnTo>
                    <a:pt x="12268" y="19"/>
                  </a:lnTo>
                  <a:lnTo>
                    <a:pt x="12244" y="15"/>
                  </a:lnTo>
                  <a:lnTo>
                    <a:pt x="12220" y="11"/>
                  </a:lnTo>
                  <a:lnTo>
                    <a:pt x="12195" y="8"/>
                  </a:lnTo>
                  <a:lnTo>
                    <a:pt x="12171" y="5"/>
                  </a:lnTo>
                  <a:lnTo>
                    <a:pt x="12146" y="3"/>
                  </a:lnTo>
                  <a:lnTo>
                    <a:pt x="12122" y="1"/>
                  </a:lnTo>
                  <a:lnTo>
                    <a:pt x="12096" y="0"/>
                  </a:lnTo>
                  <a:lnTo>
                    <a:pt x="12071" y="0"/>
                  </a:lnTo>
                  <a:lnTo>
                    <a:pt x="1509" y="0"/>
                  </a:lnTo>
                  <a:lnTo>
                    <a:pt x="1431" y="2"/>
                  </a:lnTo>
                  <a:lnTo>
                    <a:pt x="1355" y="8"/>
                  </a:lnTo>
                  <a:lnTo>
                    <a:pt x="1280" y="17"/>
                  </a:lnTo>
                  <a:lnTo>
                    <a:pt x="1205" y="31"/>
                  </a:lnTo>
                  <a:lnTo>
                    <a:pt x="1133" y="47"/>
                  </a:lnTo>
                  <a:lnTo>
                    <a:pt x="1060" y="68"/>
                  </a:lnTo>
                  <a:lnTo>
                    <a:pt x="991" y="92"/>
                  </a:lnTo>
                  <a:lnTo>
                    <a:pt x="922" y="119"/>
                  </a:lnTo>
                  <a:lnTo>
                    <a:pt x="855" y="149"/>
                  </a:lnTo>
                  <a:lnTo>
                    <a:pt x="791" y="182"/>
                  </a:lnTo>
                  <a:lnTo>
                    <a:pt x="727" y="218"/>
                  </a:lnTo>
                  <a:lnTo>
                    <a:pt x="666" y="259"/>
                  </a:lnTo>
                  <a:lnTo>
                    <a:pt x="607" y="300"/>
                  </a:lnTo>
                  <a:lnTo>
                    <a:pt x="549" y="345"/>
                  </a:lnTo>
                  <a:lnTo>
                    <a:pt x="495" y="392"/>
                  </a:lnTo>
                  <a:lnTo>
                    <a:pt x="443" y="443"/>
                  </a:lnTo>
                  <a:lnTo>
                    <a:pt x="392" y="495"/>
                  </a:lnTo>
                  <a:lnTo>
                    <a:pt x="345" y="549"/>
                  </a:lnTo>
                  <a:lnTo>
                    <a:pt x="300" y="607"/>
                  </a:lnTo>
                  <a:lnTo>
                    <a:pt x="259" y="666"/>
                  </a:lnTo>
                  <a:lnTo>
                    <a:pt x="218" y="728"/>
                  </a:lnTo>
                  <a:lnTo>
                    <a:pt x="182" y="791"/>
                  </a:lnTo>
                  <a:lnTo>
                    <a:pt x="149" y="855"/>
                  </a:lnTo>
                  <a:lnTo>
                    <a:pt x="119" y="923"/>
                  </a:lnTo>
                  <a:lnTo>
                    <a:pt x="92" y="991"/>
                  </a:lnTo>
                  <a:lnTo>
                    <a:pt x="68" y="1061"/>
                  </a:lnTo>
                  <a:lnTo>
                    <a:pt x="47" y="1133"/>
                  </a:lnTo>
                  <a:lnTo>
                    <a:pt x="31" y="1206"/>
                  </a:lnTo>
                  <a:lnTo>
                    <a:pt x="17" y="1280"/>
                  </a:lnTo>
                  <a:lnTo>
                    <a:pt x="8" y="1356"/>
                  </a:lnTo>
                  <a:lnTo>
                    <a:pt x="2" y="1432"/>
                  </a:lnTo>
                  <a:lnTo>
                    <a:pt x="0" y="1510"/>
                  </a:lnTo>
                  <a:lnTo>
                    <a:pt x="0" y="13586"/>
                  </a:lnTo>
                  <a:lnTo>
                    <a:pt x="2" y="13664"/>
                  </a:lnTo>
                  <a:lnTo>
                    <a:pt x="8" y="13740"/>
                  </a:lnTo>
                  <a:lnTo>
                    <a:pt x="17" y="13816"/>
                  </a:lnTo>
                  <a:lnTo>
                    <a:pt x="31" y="13890"/>
                  </a:lnTo>
                  <a:lnTo>
                    <a:pt x="47" y="13963"/>
                  </a:lnTo>
                  <a:lnTo>
                    <a:pt x="68" y="14035"/>
                  </a:lnTo>
                  <a:lnTo>
                    <a:pt x="92" y="14105"/>
                  </a:lnTo>
                  <a:lnTo>
                    <a:pt x="119" y="14173"/>
                  </a:lnTo>
                  <a:lnTo>
                    <a:pt x="149" y="14241"/>
                  </a:lnTo>
                  <a:lnTo>
                    <a:pt x="182" y="14305"/>
                  </a:lnTo>
                  <a:lnTo>
                    <a:pt x="218" y="14368"/>
                  </a:lnTo>
                  <a:lnTo>
                    <a:pt x="259" y="14430"/>
                  </a:lnTo>
                  <a:lnTo>
                    <a:pt x="300" y="14489"/>
                  </a:lnTo>
                  <a:lnTo>
                    <a:pt x="345" y="14547"/>
                  </a:lnTo>
                  <a:lnTo>
                    <a:pt x="392" y="14601"/>
                  </a:lnTo>
                  <a:lnTo>
                    <a:pt x="443" y="14653"/>
                  </a:lnTo>
                  <a:lnTo>
                    <a:pt x="495" y="14704"/>
                  </a:lnTo>
                  <a:lnTo>
                    <a:pt x="549" y="14751"/>
                  </a:lnTo>
                  <a:lnTo>
                    <a:pt x="607" y="14796"/>
                  </a:lnTo>
                  <a:lnTo>
                    <a:pt x="666" y="14837"/>
                  </a:lnTo>
                  <a:lnTo>
                    <a:pt x="727" y="14878"/>
                  </a:lnTo>
                  <a:lnTo>
                    <a:pt x="791" y="14914"/>
                  </a:lnTo>
                  <a:lnTo>
                    <a:pt x="855" y="14947"/>
                  </a:lnTo>
                  <a:lnTo>
                    <a:pt x="922" y="14977"/>
                  </a:lnTo>
                  <a:lnTo>
                    <a:pt x="991" y="15004"/>
                  </a:lnTo>
                  <a:lnTo>
                    <a:pt x="1060" y="15028"/>
                  </a:lnTo>
                  <a:lnTo>
                    <a:pt x="1133" y="15049"/>
                  </a:lnTo>
                  <a:lnTo>
                    <a:pt x="1205" y="15065"/>
                  </a:lnTo>
                  <a:lnTo>
                    <a:pt x="1280" y="15079"/>
                  </a:lnTo>
                  <a:lnTo>
                    <a:pt x="1355" y="15088"/>
                  </a:lnTo>
                  <a:lnTo>
                    <a:pt x="1431" y="15094"/>
                  </a:lnTo>
                  <a:lnTo>
                    <a:pt x="1509" y="15096"/>
                  </a:lnTo>
                  <a:lnTo>
                    <a:pt x="14586" y="15096"/>
                  </a:lnTo>
                  <a:lnTo>
                    <a:pt x="14664" y="15094"/>
                  </a:lnTo>
                  <a:lnTo>
                    <a:pt x="14740" y="15088"/>
                  </a:lnTo>
                  <a:lnTo>
                    <a:pt x="14815" y="15079"/>
                  </a:lnTo>
                  <a:lnTo>
                    <a:pt x="14890" y="15065"/>
                  </a:lnTo>
                  <a:lnTo>
                    <a:pt x="14962" y="15049"/>
                  </a:lnTo>
                  <a:lnTo>
                    <a:pt x="15035" y="15028"/>
                  </a:lnTo>
                  <a:lnTo>
                    <a:pt x="15104" y="15004"/>
                  </a:lnTo>
                  <a:lnTo>
                    <a:pt x="15173" y="14977"/>
                  </a:lnTo>
                  <a:lnTo>
                    <a:pt x="15240" y="14947"/>
                  </a:lnTo>
                  <a:lnTo>
                    <a:pt x="15304" y="14914"/>
                  </a:lnTo>
                  <a:lnTo>
                    <a:pt x="15368" y="14878"/>
                  </a:lnTo>
                  <a:lnTo>
                    <a:pt x="15429" y="14837"/>
                  </a:lnTo>
                  <a:lnTo>
                    <a:pt x="15488" y="14796"/>
                  </a:lnTo>
                  <a:lnTo>
                    <a:pt x="15546" y="14751"/>
                  </a:lnTo>
                  <a:lnTo>
                    <a:pt x="15600" y="14704"/>
                  </a:lnTo>
                  <a:lnTo>
                    <a:pt x="15652" y="14653"/>
                  </a:lnTo>
                  <a:lnTo>
                    <a:pt x="15703" y="14601"/>
                  </a:lnTo>
                  <a:lnTo>
                    <a:pt x="15750" y="14547"/>
                  </a:lnTo>
                  <a:lnTo>
                    <a:pt x="15795" y="14489"/>
                  </a:lnTo>
                  <a:lnTo>
                    <a:pt x="15836" y="14430"/>
                  </a:lnTo>
                  <a:lnTo>
                    <a:pt x="15877" y="14368"/>
                  </a:lnTo>
                  <a:lnTo>
                    <a:pt x="15913" y="14305"/>
                  </a:lnTo>
                  <a:lnTo>
                    <a:pt x="15946" y="14241"/>
                  </a:lnTo>
                  <a:lnTo>
                    <a:pt x="15976" y="14173"/>
                  </a:lnTo>
                  <a:lnTo>
                    <a:pt x="16003" y="14105"/>
                  </a:lnTo>
                  <a:lnTo>
                    <a:pt x="16027" y="14035"/>
                  </a:lnTo>
                  <a:lnTo>
                    <a:pt x="16048" y="13963"/>
                  </a:lnTo>
                  <a:lnTo>
                    <a:pt x="16064" y="13890"/>
                  </a:lnTo>
                  <a:lnTo>
                    <a:pt x="16078" y="13816"/>
                  </a:lnTo>
                  <a:lnTo>
                    <a:pt x="16087" y="13740"/>
                  </a:lnTo>
                  <a:lnTo>
                    <a:pt x="16093" y="13664"/>
                  </a:lnTo>
                  <a:lnTo>
                    <a:pt x="16095" y="13586"/>
                  </a:lnTo>
                  <a:lnTo>
                    <a:pt x="16095" y="4026"/>
                  </a:lnTo>
                  <a:lnTo>
                    <a:pt x="16095" y="4000"/>
                  </a:lnTo>
                  <a:lnTo>
                    <a:pt x="16094" y="3975"/>
                  </a:lnTo>
                  <a:lnTo>
                    <a:pt x="16092" y="3951"/>
                  </a:lnTo>
                  <a:lnTo>
                    <a:pt x="16090" y="3926"/>
                  </a:lnTo>
                  <a:lnTo>
                    <a:pt x="16087" y="3902"/>
                  </a:lnTo>
                  <a:lnTo>
                    <a:pt x="16084" y="3877"/>
                  </a:lnTo>
                  <a:lnTo>
                    <a:pt x="16080" y="3852"/>
                  </a:lnTo>
                  <a:lnTo>
                    <a:pt x="16076" y="3828"/>
                  </a:lnTo>
                  <a:lnTo>
                    <a:pt x="16070" y="3804"/>
                  </a:lnTo>
                  <a:lnTo>
                    <a:pt x="16065" y="3780"/>
                  </a:lnTo>
                  <a:lnTo>
                    <a:pt x="16059" y="3757"/>
                  </a:lnTo>
                  <a:lnTo>
                    <a:pt x="16052" y="3733"/>
                  </a:lnTo>
                  <a:lnTo>
                    <a:pt x="16044" y="3710"/>
                  </a:lnTo>
                  <a:lnTo>
                    <a:pt x="16036" y="3686"/>
                  </a:lnTo>
                  <a:lnTo>
                    <a:pt x="16028" y="3663"/>
                  </a:lnTo>
                  <a:lnTo>
                    <a:pt x="16019" y="3641"/>
                  </a:lnTo>
                  <a:lnTo>
                    <a:pt x="16008" y="3618"/>
                  </a:lnTo>
                  <a:lnTo>
                    <a:pt x="15998" y="3596"/>
                  </a:lnTo>
                  <a:lnTo>
                    <a:pt x="15987" y="3574"/>
                  </a:lnTo>
                  <a:lnTo>
                    <a:pt x="15976" y="3552"/>
                  </a:lnTo>
                  <a:lnTo>
                    <a:pt x="15964" y="3530"/>
                  </a:lnTo>
                  <a:lnTo>
                    <a:pt x="15952" y="3509"/>
                  </a:lnTo>
                  <a:lnTo>
                    <a:pt x="15939" y="3488"/>
                  </a:lnTo>
                  <a:lnTo>
                    <a:pt x="15926" y="3467"/>
                  </a:lnTo>
                  <a:lnTo>
                    <a:pt x="15912" y="3447"/>
                  </a:lnTo>
                  <a:lnTo>
                    <a:pt x="15898" y="3427"/>
                  </a:lnTo>
                  <a:lnTo>
                    <a:pt x="15883" y="3408"/>
                  </a:lnTo>
                  <a:lnTo>
                    <a:pt x="15867" y="3388"/>
                  </a:lnTo>
                  <a:lnTo>
                    <a:pt x="15852" y="3368"/>
                  </a:lnTo>
                  <a:lnTo>
                    <a:pt x="15834" y="3350"/>
                  </a:lnTo>
                  <a:lnTo>
                    <a:pt x="15817" y="3332"/>
                  </a:lnTo>
                  <a:lnTo>
                    <a:pt x="15800" y="33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31" name="iṥlíḓe">
              <a:extLst>
                <a:ext uri="{FF2B5EF4-FFF2-40B4-BE49-F238E27FC236}">
                  <a16:creationId xmlns:a16="http://schemas.microsoft.com/office/drawing/2014/main" id="{85327D35-8F41-4AEF-B2FB-4EBED46C7A10}"/>
                </a:ext>
              </a:extLst>
            </p:cNvPr>
            <p:cNvSpPr/>
            <p:nvPr/>
          </p:nvSpPr>
          <p:spPr bwMode="auto">
            <a:xfrm>
              <a:off x="7175163" y="100988"/>
              <a:ext cx="56834" cy="9122"/>
            </a:xfrm>
            <a:custGeom>
              <a:avLst/>
              <a:gdLst>
                <a:gd name="T0" fmla="*/ 2779 w 3017"/>
                <a:gd name="T1" fmla="*/ 503 h 503"/>
                <a:gd name="T2" fmla="*/ 2816 w 3017"/>
                <a:gd name="T3" fmla="*/ 498 h 503"/>
                <a:gd name="T4" fmla="*/ 2852 w 3017"/>
                <a:gd name="T5" fmla="*/ 488 h 503"/>
                <a:gd name="T6" fmla="*/ 2886 w 3017"/>
                <a:gd name="T7" fmla="*/ 473 h 503"/>
                <a:gd name="T8" fmla="*/ 2917 w 3017"/>
                <a:gd name="T9" fmla="*/ 453 h 503"/>
                <a:gd name="T10" fmla="*/ 2944 w 3017"/>
                <a:gd name="T11" fmla="*/ 430 h 503"/>
                <a:gd name="T12" fmla="*/ 2967 w 3017"/>
                <a:gd name="T13" fmla="*/ 403 h 503"/>
                <a:gd name="T14" fmla="*/ 2987 w 3017"/>
                <a:gd name="T15" fmla="*/ 372 h 503"/>
                <a:gd name="T16" fmla="*/ 3002 w 3017"/>
                <a:gd name="T17" fmla="*/ 338 h 503"/>
                <a:gd name="T18" fmla="*/ 3012 w 3017"/>
                <a:gd name="T19" fmla="*/ 302 h 503"/>
                <a:gd name="T20" fmla="*/ 3017 w 3017"/>
                <a:gd name="T21" fmla="*/ 265 h 503"/>
                <a:gd name="T22" fmla="*/ 3016 w 3017"/>
                <a:gd name="T23" fmla="*/ 227 h 503"/>
                <a:gd name="T24" fmla="*/ 3009 w 3017"/>
                <a:gd name="T25" fmla="*/ 189 h 503"/>
                <a:gd name="T26" fmla="*/ 2997 w 3017"/>
                <a:gd name="T27" fmla="*/ 154 h 503"/>
                <a:gd name="T28" fmla="*/ 2981 w 3017"/>
                <a:gd name="T29" fmla="*/ 121 h 503"/>
                <a:gd name="T30" fmla="*/ 2960 w 3017"/>
                <a:gd name="T31" fmla="*/ 92 h 503"/>
                <a:gd name="T32" fmla="*/ 2935 w 3017"/>
                <a:gd name="T33" fmla="*/ 66 h 503"/>
                <a:gd name="T34" fmla="*/ 2907 w 3017"/>
                <a:gd name="T35" fmla="*/ 43 h 503"/>
                <a:gd name="T36" fmla="*/ 2875 w 3017"/>
                <a:gd name="T37" fmla="*/ 25 h 503"/>
                <a:gd name="T38" fmla="*/ 2840 w 3017"/>
                <a:gd name="T39" fmla="*/ 11 h 503"/>
                <a:gd name="T40" fmla="*/ 2804 w 3017"/>
                <a:gd name="T41" fmla="*/ 3 h 503"/>
                <a:gd name="T42" fmla="*/ 2766 w 3017"/>
                <a:gd name="T43" fmla="*/ 0 h 503"/>
                <a:gd name="T44" fmla="*/ 226 w 3017"/>
                <a:gd name="T45" fmla="*/ 1 h 503"/>
                <a:gd name="T46" fmla="*/ 189 w 3017"/>
                <a:gd name="T47" fmla="*/ 8 h 503"/>
                <a:gd name="T48" fmla="*/ 153 w 3017"/>
                <a:gd name="T49" fmla="*/ 20 h 503"/>
                <a:gd name="T50" fmla="*/ 121 w 3017"/>
                <a:gd name="T51" fmla="*/ 36 h 503"/>
                <a:gd name="T52" fmla="*/ 91 w 3017"/>
                <a:gd name="T53" fmla="*/ 58 h 503"/>
                <a:gd name="T54" fmla="*/ 65 w 3017"/>
                <a:gd name="T55" fmla="*/ 83 h 503"/>
                <a:gd name="T56" fmla="*/ 43 w 3017"/>
                <a:gd name="T57" fmla="*/ 111 h 503"/>
                <a:gd name="T58" fmla="*/ 25 w 3017"/>
                <a:gd name="T59" fmla="*/ 143 h 503"/>
                <a:gd name="T60" fmla="*/ 11 w 3017"/>
                <a:gd name="T61" fmla="*/ 177 h 503"/>
                <a:gd name="T62" fmla="*/ 3 w 3017"/>
                <a:gd name="T63" fmla="*/ 214 h 503"/>
                <a:gd name="T64" fmla="*/ 0 w 3017"/>
                <a:gd name="T65" fmla="*/ 252 h 503"/>
                <a:gd name="T66" fmla="*/ 3 w 3017"/>
                <a:gd name="T67" fmla="*/ 290 h 503"/>
                <a:gd name="T68" fmla="*/ 11 w 3017"/>
                <a:gd name="T69" fmla="*/ 326 h 503"/>
                <a:gd name="T70" fmla="*/ 25 w 3017"/>
                <a:gd name="T71" fmla="*/ 360 h 503"/>
                <a:gd name="T72" fmla="*/ 43 w 3017"/>
                <a:gd name="T73" fmla="*/ 393 h 503"/>
                <a:gd name="T74" fmla="*/ 65 w 3017"/>
                <a:gd name="T75" fmla="*/ 421 h 503"/>
                <a:gd name="T76" fmla="*/ 91 w 3017"/>
                <a:gd name="T77" fmla="*/ 446 h 503"/>
                <a:gd name="T78" fmla="*/ 121 w 3017"/>
                <a:gd name="T79" fmla="*/ 467 h 503"/>
                <a:gd name="T80" fmla="*/ 153 w 3017"/>
                <a:gd name="T81" fmla="*/ 483 h 503"/>
                <a:gd name="T82" fmla="*/ 189 w 3017"/>
                <a:gd name="T83" fmla="*/ 495 h 503"/>
                <a:gd name="T84" fmla="*/ 226 w 3017"/>
                <a:gd name="T85" fmla="*/ 50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17" h="503">
                  <a:moveTo>
                    <a:pt x="251" y="503"/>
                  </a:moveTo>
                  <a:lnTo>
                    <a:pt x="2766" y="503"/>
                  </a:lnTo>
                  <a:lnTo>
                    <a:pt x="2779" y="503"/>
                  </a:lnTo>
                  <a:lnTo>
                    <a:pt x="2792" y="502"/>
                  </a:lnTo>
                  <a:lnTo>
                    <a:pt x="2804" y="500"/>
                  </a:lnTo>
                  <a:lnTo>
                    <a:pt x="2816" y="498"/>
                  </a:lnTo>
                  <a:lnTo>
                    <a:pt x="2829" y="495"/>
                  </a:lnTo>
                  <a:lnTo>
                    <a:pt x="2840" y="492"/>
                  </a:lnTo>
                  <a:lnTo>
                    <a:pt x="2852" y="488"/>
                  </a:lnTo>
                  <a:lnTo>
                    <a:pt x="2863" y="483"/>
                  </a:lnTo>
                  <a:lnTo>
                    <a:pt x="2875" y="478"/>
                  </a:lnTo>
                  <a:lnTo>
                    <a:pt x="2886" y="473"/>
                  </a:lnTo>
                  <a:lnTo>
                    <a:pt x="2897" y="467"/>
                  </a:lnTo>
                  <a:lnTo>
                    <a:pt x="2907" y="460"/>
                  </a:lnTo>
                  <a:lnTo>
                    <a:pt x="2917" y="453"/>
                  </a:lnTo>
                  <a:lnTo>
                    <a:pt x="2926" y="446"/>
                  </a:lnTo>
                  <a:lnTo>
                    <a:pt x="2935" y="438"/>
                  </a:lnTo>
                  <a:lnTo>
                    <a:pt x="2944" y="430"/>
                  </a:lnTo>
                  <a:lnTo>
                    <a:pt x="2952" y="421"/>
                  </a:lnTo>
                  <a:lnTo>
                    <a:pt x="2960" y="412"/>
                  </a:lnTo>
                  <a:lnTo>
                    <a:pt x="2967" y="403"/>
                  </a:lnTo>
                  <a:lnTo>
                    <a:pt x="2974" y="393"/>
                  </a:lnTo>
                  <a:lnTo>
                    <a:pt x="2981" y="383"/>
                  </a:lnTo>
                  <a:lnTo>
                    <a:pt x="2987" y="372"/>
                  </a:lnTo>
                  <a:lnTo>
                    <a:pt x="2992" y="360"/>
                  </a:lnTo>
                  <a:lnTo>
                    <a:pt x="2997" y="349"/>
                  </a:lnTo>
                  <a:lnTo>
                    <a:pt x="3002" y="338"/>
                  </a:lnTo>
                  <a:lnTo>
                    <a:pt x="3006" y="326"/>
                  </a:lnTo>
                  <a:lnTo>
                    <a:pt x="3009" y="314"/>
                  </a:lnTo>
                  <a:lnTo>
                    <a:pt x="3012" y="302"/>
                  </a:lnTo>
                  <a:lnTo>
                    <a:pt x="3014" y="290"/>
                  </a:lnTo>
                  <a:lnTo>
                    <a:pt x="3016" y="278"/>
                  </a:lnTo>
                  <a:lnTo>
                    <a:pt x="3017" y="265"/>
                  </a:lnTo>
                  <a:lnTo>
                    <a:pt x="3017" y="252"/>
                  </a:lnTo>
                  <a:lnTo>
                    <a:pt x="3017" y="239"/>
                  </a:lnTo>
                  <a:lnTo>
                    <a:pt x="3016" y="227"/>
                  </a:lnTo>
                  <a:lnTo>
                    <a:pt x="3014" y="214"/>
                  </a:lnTo>
                  <a:lnTo>
                    <a:pt x="3012" y="201"/>
                  </a:lnTo>
                  <a:lnTo>
                    <a:pt x="3009" y="189"/>
                  </a:lnTo>
                  <a:lnTo>
                    <a:pt x="3006" y="177"/>
                  </a:lnTo>
                  <a:lnTo>
                    <a:pt x="3002" y="165"/>
                  </a:lnTo>
                  <a:lnTo>
                    <a:pt x="2997" y="154"/>
                  </a:lnTo>
                  <a:lnTo>
                    <a:pt x="2992" y="143"/>
                  </a:lnTo>
                  <a:lnTo>
                    <a:pt x="2987" y="132"/>
                  </a:lnTo>
                  <a:lnTo>
                    <a:pt x="2981" y="121"/>
                  </a:lnTo>
                  <a:lnTo>
                    <a:pt x="2974" y="111"/>
                  </a:lnTo>
                  <a:lnTo>
                    <a:pt x="2967" y="101"/>
                  </a:lnTo>
                  <a:lnTo>
                    <a:pt x="2960" y="92"/>
                  </a:lnTo>
                  <a:lnTo>
                    <a:pt x="2952" y="83"/>
                  </a:lnTo>
                  <a:lnTo>
                    <a:pt x="2944" y="74"/>
                  </a:lnTo>
                  <a:lnTo>
                    <a:pt x="2935" y="66"/>
                  </a:lnTo>
                  <a:lnTo>
                    <a:pt x="2926" y="58"/>
                  </a:lnTo>
                  <a:lnTo>
                    <a:pt x="2917" y="51"/>
                  </a:lnTo>
                  <a:lnTo>
                    <a:pt x="2907" y="43"/>
                  </a:lnTo>
                  <a:lnTo>
                    <a:pt x="2897" y="36"/>
                  </a:lnTo>
                  <a:lnTo>
                    <a:pt x="2886" y="30"/>
                  </a:lnTo>
                  <a:lnTo>
                    <a:pt x="2875" y="25"/>
                  </a:lnTo>
                  <a:lnTo>
                    <a:pt x="2863" y="20"/>
                  </a:lnTo>
                  <a:lnTo>
                    <a:pt x="2852" y="15"/>
                  </a:lnTo>
                  <a:lnTo>
                    <a:pt x="2840" y="11"/>
                  </a:lnTo>
                  <a:lnTo>
                    <a:pt x="2829" y="8"/>
                  </a:lnTo>
                  <a:lnTo>
                    <a:pt x="2816" y="5"/>
                  </a:lnTo>
                  <a:lnTo>
                    <a:pt x="2804" y="3"/>
                  </a:lnTo>
                  <a:lnTo>
                    <a:pt x="2792" y="1"/>
                  </a:lnTo>
                  <a:lnTo>
                    <a:pt x="2779" y="0"/>
                  </a:lnTo>
                  <a:lnTo>
                    <a:pt x="2766" y="0"/>
                  </a:lnTo>
                  <a:lnTo>
                    <a:pt x="251" y="0"/>
                  </a:lnTo>
                  <a:lnTo>
                    <a:pt x="238" y="0"/>
                  </a:lnTo>
                  <a:lnTo>
                    <a:pt x="226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3" y="20"/>
                  </a:lnTo>
                  <a:lnTo>
                    <a:pt x="142" y="25"/>
                  </a:lnTo>
                  <a:lnTo>
                    <a:pt x="131" y="30"/>
                  </a:lnTo>
                  <a:lnTo>
                    <a:pt x="121" y="36"/>
                  </a:lnTo>
                  <a:lnTo>
                    <a:pt x="110" y="43"/>
                  </a:lnTo>
                  <a:lnTo>
                    <a:pt x="101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1"/>
                  </a:lnTo>
                  <a:lnTo>
                    <a:pt x="43" y="111"/>
                  </a:lnTo>
                  <a:lnTo>
                    <a:pt x="36" y="121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4"/>
                  </a:lnTo>
                  <a:lnTo>
                    <a:pt x="2" y="227"/>
                  </a:lnTo>
                  <a:lnTo>
                    <a:pt x="1" y="239"/>
                  </a:lnTo>
                  <a:lnTo>
                    <a:pt x="0" y="252"/>
                  </a:lnTo>
                  <a:lnTo>
                    <a:pt x="1" y="265"/>
                  </a:lnTo>
                  <a:lnTo>
                    <a:pt x="2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4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1" y="453"/>
                  </a:lnTo>
                  <a:lnTo>
                    <a:pt x="110" y="460"/>
                  </a:lnTo>
                  <a:lnTo>
                    <a:pt x="121" y="467"/>
                  </a:lnTo>
                  <a:lnTo>
                    <a:pt x="131" y="473"/>
                  </a:lnTo>
                  <a:lnTo>
                    <a:pt x="142" y="478"/>
                  </a:lnTo>
                  <a:lnTo>
                    <a:pt x="153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6" y="502"/>
                  </a:lnTo>
                  <a:lnTo>
                    <a:pt x="238" y="503"/>
                  </a:lnTo>
                  <a:lnTo>
                    <a:pt x="251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32" name="iš1íḍè">
              <a:extLst>
                <a:ext uri="{FF2B5EF4-FFF2-40B4-BE49-F238E27FC236}">
                  <a16:creationId xmlns:a16="http://schemas.microsoft.com/office/drawing/2014/main" id="{6A63FA47-A274-423D-AFE4-56D4FD8F1856}"/>
                </a:ext>
              </a:extLst>
            </p:cNvPr>
            <p:cNvSpPr/>
            <p:nvPr/>
          </p:nvSpPr>
          <p:spPr bwMode="auto">
            <a:xfrm>
              <a:off x="7175163" y="129055"/>
              <a:ext cx="56834" cy="9823"/>
            </a:xfrm>
            <a:custGeom>
              <a:avLst/>
              <a:gdLst>
                <a:gd name="T0" fmla="*/ 2779 w 3017"/>
                <a:gd name="T1" fmla="*/ 503 h 503"/>
                <a:gd name="T2" fmla="*/ 2816 w 3017"/>
                <a:gd name="T3" fmla="*/ 498 h 503"/>
                <a:gd name="T4" fmla="*/ 2852 w 3017"/>
                <a:gd name="T5" fmla="*/ 488 h 503"/>
                <a:gd name="T6" fmla="*/ 2886 w 3017"/>
                <a:gd name="T7" fmla="*/ 473 h 503"/>
                <a:gd name="T8" fmla="*/ 2917 w 3017"/>
                <a:gd name="T9" fmla="*/ 453 h 503"/>
                <a:gd name="T10" fmla="*/ 2944 w 3017"/>
                <a:gd name="T11" fmla="*/ 430 h 503"/>
                <a:gd name="T12" fmla="*/ 2967 w 3017"/>
                <a:gd name="T13" fmla="*/ 402 h 503"/>
                <a:gd name="T14" fmla="*/ 2987 w 3017"/>
                <a:gd name="T15" fmla="*/ 371 h 503"/>
                <a:gd name="T16" fmla="*/ 3002 w 3017"/>
                <a:gd name="T17" fmla="*/ 338 h 503"/>
                <a:gd name="T18" fmla="*/ 3012 w 3017"/>
                <a:gd name="T19" fmla="*/ 302 h 503"/>
                <a:gd name="T20" fmla="*/ 3017 w 3017"/>
                <a:gd name="T21" fmla="*/ 264 h 503"/>
                <a:gd name="T22" fmla="*/ 3016 w 3017"/>
                <a:gd name="T23" fmla="*/ 225 h 503"/>
                <a:gd name="T24" fmla="*/ 3009 w 3017"/>
                <a:gd name="T25" fmla="*/ 189 h 503"/>
                <a:gd name="T26" fmla="*/ 2997 w 3017"/>
                <a:gd name="T27" fmla="*/ 154 h 503"/>
                <a:gd name="T28" fmla="*/ 2981 w 3017"/>
                <a:gd name="T29" fmla="*/ 121 h 503"/>
                <a:gd name="T30" fmla="*/ 2960 w 3017"/>
                <a:gd name="T31" fmla="*/ 91 h 503"/>
                <a:gd name="T32" fmla="*/ 2935 w 3017"/>
                <a:gd name="T33" fmla="*/ 65 h 503"/>
                <a:gd name="T34" fmla="*/ 2907 w 3017"/>
                <a:gd name="T35" fmla="*/ 43 h 503"/>
                <a:gd name="T36" fmla="*/ 2875 w 3017"/>
                <a:gd name="T37" fmla="*/ 25 h 503"/>
                <a:gd name="T38" fmla="*/ 2840 w 3017"/>
                <a:gd name="T39" fmla="*/ 11 h 503"/>
                <a:gd name="T40" fmla="*/ 2804 w 3017"/>
                <a:gd name="T41" fmla="*/ 3 h 503"/>
                <a:gd name="T42" fmla="*/ 2766 w 3017"/>
                <a:gd name="T43" fmla="*/ 0 h 503"/>
                <a:gd name="T44" fmla="*/ 226 w 3017"/>
                <a:gd name="T45" fmla="*/ 1 h 503"/>
                <a:gd name="T46" fmla="*/ 189 w 3017"/>
                <a:gd name="T47" fmla="*/ 8 h 503"/>
                <a:gd name="T48" fmla="*/ 153 w 3017"/>
                <a:gd name="T49" fmla="*/ 20 h 503"/>
                <a:gd name="T50" fmla="*/ 121 w 3017"/>
                <a:gd name="T51" fmla="*/ 36 h 503"/>
                <a:gd name="T52" fmla="*/ 91 w 3017"/>
                <a:gd name="T53" fmla="*/ 57 h 503"/>
                <a:gd name="T54" fmla="*/ 65 w 3017"/>
                <a:gd name="T55" fmla="*/ 82 h 503"/>
                <a:gd name="T56" fmla="*/ 43 w 3017"/>
                <a:gd name="T57" fmla="*/ 111 h 503"/>
                <a:gd name="T58" fmla="*/ 25 w 3017"/>
                <a:gd name="T59" fmla="*/ 143 h 503"/>
                <a:gd name="T60" fmla="*/ 11 w 3017"/>
                <a:gd name="T61" fmla="*/ 177 h 503"/>
                <a:gd name="T62" fmla="*/ 3 w 3017"/>
                <a:gd name="T63" fmla="*/ 213 h 503"/>
                <a:gd name="T64" fmla="*/ 0 w 3017"/>
                <a:gd name="T65" fmla="*/ 251 h 503"/>
                <a:gd name="T66" fmla="*/ 3 w 3017"/>
                <a:gd name="T67" fmla="*/ 290 h 503"/>
                <a:gd name="T68" fmla="*/ 11 w 3017"/>
                <a:gd name="T69" fmla="*/ 326 h 503"/>
                <a:gd name="T70" fmla="*/ 25 w 3017"/>
                <a:gd name="T71" fmla="*/ 360 h 503"/>
                <a:gd name="T72" fmla="*/ 43 w 3017"/>
                <a:gd name="T73" fmla="*/ 392 h 503"/>
                <a:gd name="T74" fmla="*/ 65 w 3017"/>
                <a:gd name="T75" fmla="*/ 420 h 503"/>
                <a:gd name="T76" fmla="*/ 91 w 3017"/>
                <a:gd name="T77" fmla="*/ 446 h 503"/>
                <a:gd name="T78" fmla="*/ 121 w 3017"/>
                <a:gd name="T79" fmla="*/ 467 h 503"/>
                <a:gd name="T80" fmla="*/ 153 w 3017"/>
                <a:gd name="T81" fmla="*/ 483 h 503"/>
                <a:gd name="T82" fmla="*/ 189 w 3017"/>
                <a:gd name="T83" fmla="*/ 495 h 503"/>
                <a:gd name="T84" fmla="*/ 226 w 3017"/>
                <a:gd name="T85" fmla="*/ 50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17" h="503">
                  <a:moveTo>
                    <a:pt x="251" y="503"/>
                  </a:moveTo>
                  <a:lnTo>
                    <a:pt x="2766" y="503"/>
                  </a:lnTo>
                  <a:lnTo>
                    <a:pt x="2779" y="503"/>
                  </a:lnTo>
                  <a:lnTo>
                    <a:pt x="2792" y="502"/>
                  </a:lnTo>
                  <a:lnTo>
                    <a:pt x="2804" y="500"/>
                  </a:lnTo>
                  <a:lnTo>
                    <a:pt x="2816" y="498"/>
                  </a:lnTo>
                  <a:lnTo>
                    <a:pt x="2829" y="495"/>
                  </a:lnTo>
                  <a:lnTo>
                    <a:pt x="2840" y="492"/>
                  </a:lnTo>
                  <a:lnTo>
                    <a:pt x="2852" y="488"/>
                  </a:lnTo>
                  <a:lnTo>
                    <a:pt x="2863" y="483"/>
                  </a:lnTo>
                  <a:lnTo>
                    <a:pt x="2875" y="478"/>
                  </a:lnTo>
                  <a:lnTo>
                    <a:pt x="2886" y="473"/>
                  </a:lnTo>
                  <a:lnTo>
                    <a:pt x="2897" y="467"/>
                  </a:lnTo>
                  <a:lnTo>
                    <a:pt x="2907" y="460"/>
                  </a:lnTo>
                  <a:lnTo>
                    <a:pt x="2917" y="453"/>
                  </a:lnTo>
                  <a:lnTo>
                    <a:pt x="2926" y="446"/>
                  </a:lnTo>
                  <a:lnTo>
                    <a:pt x="2935" y="438"/>
                  </a:lnTo>
                  <a:lnTo>
                    <a:pt x="2944" y="430"/>
                  </a:lnTo>
                  <a:lnTo>
                    <a:pt x="2952" y="420"/>
                  </a:lnTo>
                  <a:lnTo>
                    <a:pt x="2960" y="411"/>
                  </a:lnTo>
                  <a:lnTo>
                    <a:pt x="2967" y="402"/>
                  </a:lnTo>
                  <a:lnTo>
                    <a:pt x="2974" y="392"/>
                  </a:lnTo>
                  <a:lnTo>
                    <a:pt x="2981" y="382"/>
                  </a:lnTo>
                  <a:lnTo>
                    <a:pt x="2987" y="371"/>
                  </a:lnTo>
                  <a:lnTo>
                    <a:pt x="2992" y="360"/>
                  </a:lnTo>
                  <a:lnTo>
                    <a:pt x="2997" y="349"/>
                  </a:lnTo>
                  <a:lnTo>
                    <a:pt x="3002" y="338"/>
                  </a:lnTo>
                  <a:lnTo>
                    <a:pt x="3006" y="326"/>
                  </a:lnTo>
                  <a:lnTo>
                    <a:pt x="3009" y="314"/>
                  </a:lnTo>
                  <a:lnTo>
                    <a:pt x="3012" y="302"/>
                  </a:lnTo>
                  <a:lnTo>
                    <a:pt x="3014" y="290"/>
                  </a:lnTo>
                  <a:lnTo>
                    <a:pt x="3016" y="278"/>
                  </a:lnTo>
                  <a:lnTo>
                    <a:pt x="3017" y="264"/>
                  </a:lnTo>
                  <a:lnTo>
                    <a:pt x="3017" y="251"/>
                  </a:lnTo>
                  <a:lnTo>
                    <a:pt x="3017" y="238"/>
                  </a:lnTo>
                  <a:lnTo>
                    <a:pt x="3016" y="225"/>
                  </a:lnTo>
                  <a:lnTo>
                    <a:pt x="3014" y="213"/>
                  </a:lnTo>
                  <a:lnTo>
                    <a:pt x="3012" y="201"/>
                  </a:lnTo>
                  <a:lnTo>
                    <a:pt x="3009" y="189"/>
                  </a:lnTo>
                  <a:lnTo>
                    <a:pt x="3006" y="177"/>
                  </a:lnTo>
                  <a:lnTo>
                    <a:pt x="3002" y="165"/>
                  </a:lnTo>
                  <a:lnTo>
                    <a:pt x="2997" y="154"/>
                  </a:lnTo>
                  <a:lnTo>
                    <a:pt x="2992" y="143"/>
                  </a:lnTo>
                  <a:lnTo>
                    <a:pt x="2987" y="132"/>
                  </a:lnTo>
                  <a:lnTo>
                    <a:pt x="2981" y="121"/>
                  </a:lnTo>
                  <a:lnTo>
                    <a:pt x="2974" y="111"/>
                  </a:lnTo>
                  <a:lnTo>
                    <a:pt x="2967" y="100"/>
                  </a:lnTo>
                  <a:lnTo>
                    <a:pt x="2960" y="91"/>
                  </a:lnTo>
                  <a:lnTo>
                    <a:pt x="2952" y="82"/>
                  </a:lnTo>
                  <a:lnTo>
                    <a:pt x="2944" y="73"/>
                  </a:lnTo>
                  <a:lnTo>
                    <a:pt x="2935" y="65"/>
                  </a:lnTo>
                  <a:lnTo>
                    <a:pt x="2926" y="57"/>
                  </a:lnTo>
                  <a:lnTo>
                    <a:pt x="2917" y="50"/>
                  </a:lnTo>
                  <a:lnTo>
                    <a:pt x="2907" y="43"/>
                  </a:lnTo>
                  <a:lnTo>
                    <a:pt x="2897" y="36"/>
                  </a:lnTo>
                  <a:lnTo>
                    <a:pt x="2886" y="30"/>
                  </a:lnTo>
                  <a:lnTo>
                    <a:pt x="2875" y="25"/>
                  </a:lnTo>
                  <a:lnTo>
                    <a:pt x="2863" y="20"/>
                  </a:lnTo>
                  <a:lnTo>
                    <a:pt x="2852" y="15"/>
                  </a:lnTo>
                  <a:lnTo>
                    <a:pt x="2840" y="11"/>
                  </a:lnTo>
                  <a:lnTo>
                    <a:pt x="2829" y="8"/>
                  </a:lnTo>
                  <a:lnTo>
                    <a:pt x="2816" y="5"/>
                  </a:lnTo>
                  <a:lnTo>
                    <a:pt x="2804" y="3"/>
                  </a:lnTo>
                  <a:lnTo>
                    <a:pt x="2792" y="1"/>
                  </a:lnTo>
                  <a:lnTo>
                    <a:pt x="2779" y="0"/>
                  </a:lnTo>
                  <a:lnTo>
                    <a:pt x="2766" y="0"/>
                  </a:lnTo>
                  <a:lnTo>
                    <a:pt x="251" y="0"/>
                  </a:lnTo>
                  <a:lnTo>
                    <a:pt x="238" y="0"/>
                  </a:lnTo>
                  <a:lnTo>
                    <a:pt x="226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3" y="20"/>
                  </a:lnTo>
                  <a:lnTo>
                    <a:pt x="142" y="25"/>
                  </a:lnTo>
                  <a:lnTo>
                    <a:pt x="131" y="30"/>
                  </a:lnTo>
                  <a:lnTo>
                    <a:pt x="121" y="36"/>
                  </a:lnTo>
                  <a:lnTo>
                    <a:pt x="110" y="43"/>
                  </a:lnTo>
                  <a:lnTo>
                    <a:pt x="101" y="50"/>
                  </a:lnTo>
                  <a:lnTo>
                    <a:pt x="91" y="57"/>
                  </a:lnTo>
                  <a:lnTo>
                    <a:pt x="82" y="65"/>
                  </a:lnTo>
                  <a:lnTo>
                    <a:pt x="73" y="73"/>
                  </a:lnTo>
                  <a:lnTo>
                    <a:pt x="65" y="82"/>
                  </a:lnTo>
                  <a:lnTo>
                    <a:pt x="57" y="91"/>
                  </a:lnTo>
                  <a:lnTo>
                    <a:pt x="50" y="100"/>
                  </a:lnTo>
                  <a:lnTo>
                    <a:pt x="43" y="111"/>
                  </a:lnTo>
                  <a:lnTo>
                    <a:pt x="36" y="121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4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2"/>
                  </a:lnTo>
                  <a:lnTo>
                    <a:pt x="57" y="411"/>
                  </a:lnTo>
                  <a:lnTo>
                    <a:pt x="65" y="420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1" y="453"/>
                  </a:lnTo>
                  <a:lnTo>
                    <a:pt x="110" y="460"/>
                  </a:lnTo>
                  <a:lnTo>
                    <a:pt x="121" y="467"/>
                  </a:lnTo>
                  <a:lnTo>
                    <a:pt x="131" y="473"/>
                  </a:lnTo>
                  <a:lnTo>
                    <a:pt x="142" y="478"/>
                  </a:lnTo>
                  <a:lnTo>
                    <a:pt x="153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6" y="502"/>
                  </a:lnTo>
                  <a:lnTo>
                    <a:pt x="238" y="503"/>
                  </a:lnTo>
                  <a:lnTo>
                    <a:pt x="251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33" name="iṩľíḍé">
              <a:extLst>
                <a:ext uri="{FF2B5EF4-FFF2-40B4-BE49-F238E27FC236}">
                  <a16:creationId xmlns:a16="http://schemas.microsoft.com/office/drawing/2014/main" id="{B2B9E018-21C3-4B49-A909-8DA59D2FF849}"/>
                </a:ext>
              </a:extLst>
            </p:cNvPr>
            <p:cNvSpPr/>
            <p:nvPr/>
          </p:nvSpPr>
          <p:spPr bwMode="auto">
            <a:xfrm>
              <a:off x="7175163" y="157823"/>
              <a:ext cx="124194" cy="9823"/>
            </a:xfrm>
            <a:custGeom>
              <a:avLst/>
              <a:gdLst>
                <a:gd name="T0" fmla="*/ 2 w 6538"/>
                <a:gd name="T1" fmla="*/ 278 h 504"/>
                <a:gd name="T2" fmla="*/ 8 w 6538"/>
                <a:gd name="T3" fmla="*/ 315 h 504"/>
                <a:gd name="T4" fmla="*/ 20 w 6538"/>
                <a:gd name="T5" fmla="*/ 350 h 504"/>
                <a:gd name="T6" fmla="*/ 36 w 6538"/>
                <a:gd name="T7" fmla="*/ 383 h 504"/>
                <a:gd name="T8" fmla="*/ 57 w 6538"/>
                <a:gd name="T9" fmla="*/ 412 h 504"/>
                <a:gd name="T10" fmla="*/ 82 w 6538"/>
                <a:gd name="T11" fmla="*/ 438 h 504"/>
                <a:gd name="T12" fmla="*/ 110 w 6538"/>
                <a:gd name="T13" fmla="*/ 460 h 504"/>
                <a:gd name="T14" fmla="*/ 142 w 6538"/>
                <a:gd name="T15" fmla="*/ 478 h 504"/>
                <a:gd name="T16" fmla="*/ 177 w 6538"/>
                <a:gd name="T17" fmla="*/ 493 h 504"/>
                <a:gd name="T18" fmla="*/ 213 w 6538"/>
                <a:gd name="T19" fmla="*/ 501 h 504"/>
                <a:gd name="T20" fmla="*/ 251 w 6538"/>
                <a:gd name="T21" fmla="*/ 504 h 504"/>
                <a:gd name="T22" fmla="*/ 6313 w 6538"/>
                <a:gd name="T23" fmla="*/ 503 h 504"/>
                <a:gd name="T24" fmla="*/ 6349 w 6538"/>
                <a:gd name="T25" fmla="*/ 496 h 504"/>
                <a:gd name="T26" fmla="*/ 6384 w 6538"/>
                <a:gd name="T27" fmla="*/ 483 h 504"/>
                <a:gd name="T28" fmla="*/ 6416 w 6538"/>
                <a:gd name="T29" fmla="*/ 467 h 504"/>
                <a:gd name="T30" fmla="*/ 6447 w 6538"/>
                <a:gd name="T31" fmla="*/ 446 h 504"/>
                <a:gd name="T32" fmla="*/ 6473 w 6538"/>
                <a:gd name="T33" fmla="*/ 421 h 504"/>
                <a:gd name="T34" fmla="*/ 6495 w 6538"/>
                <a:gd name="T35" fmla="*/ 393 h 504"/>
                <a:gd name="T36" fmla="*/ 6513 w 6538"/>
                <a:gd name="T37" fmla="*/ 361 h 504"/>
                <a:gd name="T38" fmla="*/ 6527 w 6538"/>
                <a:gd name="T39" fmla="*/ 326 h 504"/>
                <a:gd name="T40" fmla="*/ 6535 w 6538"/>
                <a:gd name="T41" fmla="*/ 290 h 504"/>
                <a:gd name="T42" fmla="*/ 6538 w 6538"/>
                <a:gd name="T43" fmla="*/ 252 h 504"/>
                <a:gd name="T44" fmla="*/ 6535 w 6538"/>
                <a:gd name="T45" fmla="*/ 214 h 504"/>
                <a:gd name="T46" fmla="*/ 6527 w 6538"/>
                <a:gd name="T47" fmla="*/ 178 h 504"/>
                <a:gd name="T48" fmla="*/ 6513 w 6538"/>
                <a:gd name="T49" fmla="*/ 143 h 504"/>
                <a:gd name="T50" fmla="*/ 6495 w 6538"/>
                <a:gd name="T51" fmla="*/ 111 h 504"/>
                <a:gd name="T52" fmla="*/ 6473 w 6538"/>
                <a:gd name="T53" fmla="*/ 83 h 504"/>
                <a:gd name="T54" fmla="*/ 6447 w 6538"/>
                <a:gd name="T55" fmla="*/ 58 h 504"/>
                <a:gd name="T56" fmla="*/ 6416 w 6538"/>
                <a:gd name="T57" fmla="*/ 37 h 504"/>
                <a:gd name="T58" fmla="*/ 6384 w 6538"/>
                <a:gd name="T59" fmla="*/ 21 h 504"/>
                <a:gd name="T60" fmla="*/ 6349 w 6538"/>
                <a:gd name="T61" fmla="*/ 8 h 504"/>
                <a:gd name="T62" fmla="*/ 6313 w 6538"/>
                <a:gd name="T63" fmla="*/ 1 h 504"/>
                <a:gd name="T64" fmla="*/ 251 w 6538"/>
                <a:gd name="T65" fmla="*/ 0 h 504"/>
                <a:gd name="T66" fmla="*/ 213 w 6538"/>
                <a:gd name="T67" fmla="*/ 3 h 504"/>
                <a:gd name="T68" fmla="*/ 177 w 6538"/>
                <a:gd name="T69" fmla="*/ 11 h 504"/>
                <a:gd name="T70" fmla="*/ 142 w 6538"/>
                <a:gd name="T71" fmla="*/ 26 h 504"/>
                <a:gd name="T72" fmla="*/ 110 w 6538"/>
                <a:gd name="T73" fmla="*/ 44 h 504"/>
                <a:gd name="T74" fmla="*/ 82 w 6538"/>
                <a:gd name="T75" fmla="*/ 66 h 504"/>
                <a:gd name="T76" fmla="*/ 57 w 6538"/>
                <a:gd name="T77" fmla="*/ 92 h 504"/>
                <a:gd name="T78" fmla="*/ 36 w 6538"/>
                <a:gd name="T79" fmla="*/ 121 h 504"/>
                <a:gd name="T80" fmla="*/ 20 w 6538"/>
                <a:gd name="T81" fmla="*/ 154 h 504"/>
                <a:gd name="T82" fmla="*/ 8 w 6538"/>
                <a:gd name="T83" fmla="*/ 190 h 504"/>
                <a:gd name="T84" fmla="*/ 2 w 6538"/>
                <a:gd name="T85" fmla="*/ 226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538" h="504">
                  <a:moveTo>
                    <a:pt x="0" y="252"/>
                  </a:moveTo>
                  <a:lnTo>
                    <a:pt x="1" y="265"/>
                  </a:lnTo>
                  <a:lnTo>
                    <a:pt x="2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9"/>
                  </a:lnTo>
                  <a:lnTo>
                    <a:pt x="20" y="350"/>
                  </a:lnTo>
                  <a:lnTo>
                    <a:pt x="25" y="361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1" y="453"/>
                  </a:lnTo>
                  <a:lnTo>
                    <a:pt x="110" y="460"/>
                  </a:lnTo>
                  <a:lnTo>
                    <a:pt x="121" y="467"/>
                  </a:lnTo>
                  <a:lnTo>
                    <a:pt x="131" y="473"/>
                  </a:lnTo>
                  <a:lnTo>
                    <a:pt x="142" y="478"/>
                  </a:lnTo>
                  <a:lnTo>
                    <a:pt x="153" y="483"/>
                  </a:lnTo>
                  <a:lnTo>
                    <a:pt x="165" y="489"/>
                  </a:lnTo>
                  <a:lnTo>
                    <a:pt x="177" y="493"/>
                  </a:lnTo>
                  <a:lnTo>
                    <a:pt x="189" y="496"/>
                  </a:lnTo>
                  <a:lnTo>
                    <a:pt x="201" y="499"/>
                  </a:lnTo>
                  <a:lnTo>
                    <a:pt x="213" y="501"/>
                  </a:lnTo>
                  <a:lnTo>
                    <a:pt x="226" y="503"/>
                  </a:lnTo>
                  <a:lnTo>
                    <a:pt x="238" y="504"/>
                  </a:lnTo>
                  <a:lnTo>
                    <a:pt x="251" y="504"/>
                  </a:lnTo>
                  <a:lnTo>
                    <a:pt x="6287" y="504"/>
                  </a:lnTo>
                  <a:lnTo>
                    <a:pt x="6300" y="504"/>
                  </a:lnTo>
                  <a:lnTo>
                    <a:pt x="6313" y="503"/>
                  </a:lnTo>
                  <a:lnTo>
                    <a:pt x="6325" y="501"/>
                  </a:lnTo>
                  <a:lnTo>
                    <a:pt x="6337" y="499"/>
                  </a:lnTo>
                  <a:lnTo>
                    <a:pt x="6349" y="496"/>
                  </a:lnTo>
                  <a:lnTo>
                    <a:pt x="6361" y="493"/>
                  </a:lnTo>
                  <a:lnTo>
                    <a:pt x="6373" y="489"/>
                  </a:lnTo>
                  <a:lnTo>
                    <a:pt x="6384" y="483"/>
                  </a:lnTo>
                  <a:lnTo>
                    <a:pt x="6395" y="478"/>
                  </a:lnTo>
                  <a:lnTo>
                    <a:pt x="6406" y="473"/>
                  </a:lnTo>
                  <a:lnTo>
                    <a:pt x="6416" y="467"/>
                  </a:lnTo>
                  <a:lnTo>
                    <a:pt x="6427" y="460"/>
                  </a:lnTo>
                  <a:lnTo>
                    <a:pt x="6437" y="453"/>
                  </a:lnTo>
                  <a:lnTo>
                    <a:pt x="6447" y="446"/>
                  </a:lnTo>
                  <a:lnTo>
                    <a:pt x="6456" y="438"/>
                  </a:lnTo>
                  <a:lnTo>
                    <a:pt x="6465" y="430"/>
                  </a:lnTo>
                  <a:lnTo>
                    <a:pt x="6473" y="421"/>
                  </a:lnTo>
                  <a:lnTo>
                    <a:pt x="6481" y="412"/>
                  </a:lnTo>
                  <a:lnTo>
                    <a:pt x="6488" y="403"/>
                  </a:lnTo>
                  <a:lnTo>
                    <a:pt x="6495" y="393"/>
                  </a:lnTo>
                  <a:lnTo>
                    <a:pt x="6502" y="383"/>
                  </a:lnTo>
                  <a:lnTo>
                    <a:pt x="6508" y="372"/>
                  </a:lnTo>
                  <a:lnTo>
                    <a:pt x="6513" y="361"/>
                  </a:lnTo>
                  <a:lnTo>
                    <a:pt x="6518" y="350"/>
                  </a:lnTo>
                  <a:lnTo>
                    <a:pt x="6523" y="339"/>
                  </a:lnTo>
                  <a:lnTo>
                    <a:pt x="6527" y="326"/>
                  </a:lnTo>
                  <a:lnTo>
                    <a:pt x="6530" y="315"/>
                  </a:lnTo>
                  <a:lnTo>
                    <a:pt x="6533" y="302"/>
                  </a:lnTo>
                  <a:lnTo>
                    <a:pt x="6535" y="290"/>
                  </a:lnTo>
                  <a:lnTo>
                    <a:pt x="6537" y="278"/>
                  </a:lnTo>
                  <a:lnTo>
                    <a:pt x="6538" y="265"/>
                  </a:lnTo>
                  <a:lnTo>
                    <a:pt x="6538" y="252"/>
                  </a:lnTo>
                  <a:lnTo>
                    <a:pt x="6538" y="239"/>
                  </a:lnTo>
                  <a:lnTo>
                    <a:pt x="6537" y="226"/>
                  </a:lnTo>
                  <a:lnTo>
                    <a:pt x="6535" y="214"/>
                  </a:lnTo>
                  <a:lnTo>
                    <a:pt x="6533" y="202"/>
                  </a:lnTo>
                  <a:lnTo>
                    <a:pt x="6530" y="190"/>
                  </a:lnTo>
                  <a:lnTo>
                    <a:pt x="6527" y="178"/>
                  </a:lnTo>
                  <a:lnTo>
                    <a:pt x="6523" y="165"/>
                  </a:lnTo>
                  <a:lnTo>
                    <a:pt x="6518" y="154"/>
                  </a:lnTo>
                  <a:lnTo>
                    <a:pt x="6513" y="143"/>
                  </a:lnTo>
                  <a:lnTo>
                    <a:pt x="6508" y="132"/>
                  </a:lnTo>
                  <a:lnTo>
                    <a:pt x="6502" y="121"/>
                  </a:lnTo>
                  <a:lnTo>
                    <a:pt x="6495" y="111"/>
                  </a:lnTo>
                  <a:lnTo>
                    <a:pt x="6488" y="101"/>
                  </a:lnTo>
                  <a:lnTo>
                    <a:pt x="6481" y="92"/>
                  </a:lnTo>
                  <a:lnTo>
                    <a:pt x="6473" y="83"/>
                  </a:lnTo>
                  <a:lnTo>
                    <a:pt x="6465" y="74"/>
                  </a:lnTo>
                  <a:lnTo>
                    <a:pt x="6456" y="66"/>
                  </a:lnTo>
                  <a:lnTo>
                    <a:pt x="6447" y="58"/>
                  </a:lnTo>
                  <a:lnTo>
                    <a:pt x="6437" y="51"/>
                  </a:lnTo>
                  <a:lnTo>
                    <a:pt x="6427" y="44"/>
                  </a:lnTo>
                  <a:lnTo>
                    <a:pt x="6416" y="37"/>
                  </a:lnTo>
                  <a:lnTo>
                    <a:pt x="6406" y="31"/>
                  </a:lnTo>
                  <a:lnTo>
                    <a:pt x="6395" y="26"/>
                  </a:lnTo>
                  <a:lnTo>
                    <a:pt x="6384" y="21"/>
                  </a:lnTo>
                  <a:lnTo>
                    <a:pt x="6373" y="15"/>
                  </a:lnTo>
                  <a:lnTo>
                    <a:pt x="6361" y="11"/>
                  </a:lnTo>
                  <a:lnTo>
                    <a:pt x="6349" y="8"/>
                  </a:lnTo>
                  <a:lnTo>
                    <a:pt x="6337" y="5"/>
                  </a:lnTo>
                  <a:lnTo>
                    <a:pt x="6325" y="3"/>
                  </a:lnTo>
                  <a:lnTo>
                    <a:pt x="6313" y="1"/>
                  </a:lnTo>
                  <a:lnTo>
                    <a:pt x="6300" y="0"/>
                  </a:lnTo>
                  <a:lnTo>
                    <a:pt x="6287" y="0"/>
                  </a:lnTo>
                  <a:lnTo>
                    <a:pt x="251" y="0"/>
                  </a:lnTo>
                  <a:lnTo>
                    <a:pt x="238" y="0"/>
                  </a:lnTo>
                  <a:lnTo>
                    <a:pt x="226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3" y="21"/>
                  </a:lnTo>
                  <a:lnTo>
                    <a:pt x="142" y="26"/>
                  </a:lnTo>
                  <a:lnTo>
                    <a:pt x="131" y="31"/>
                  </a:lnTo>
                  <a:lnTo>
                    <a:pt x="121" y="37"/>
                  </a:lnTo>
                  <a:lnTo>
                    <a:pt x="110" y="44"/>
                  </a:lnTo>
                  <a:lnTo>
                    <a:pt x="101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1"/>
                  </a:lnTo>
                  <a:lnTo>
                    <a:pt x="43" y="111"/>
                  </a:lnTo>
                  <a:lnTo>
                    <a:pt x="36" y="121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8"/>
                  </a:lnTo>
                  <a:lnTo>
                    <a:pt x="8" y="190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2" y="226"/>
                  </a:lnTo>
                  <a:lnTo>
                    <a:pt x="1" y="239"/>
                  </a:lnTo>
                  <a:lnTo>
                    <a:pt x="0" y="2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34" name="íṣḻídé">
              <a:extLst>
                <a:ext uri="{FF2B5EF4-FFF2-40B4-BE49-F238E27FC236}">
                  <a16:creationId xmlns:a16="http://schemas.microsoft.com/office/drawing/2014/main" id="{3662828A-CAA3-4402-972F-7B044F218036}"/>
                </a:ext>
              </a:extLst>
            </p:cNvPr>
            <p:cNvSpPr/>
            <p:nvPr/>
          </p:nvSpPr>
          <p:spPr bwMode="auto">
            <a:xfrm>
              <a:off x="7069914" y="215360"/>
              <a:ext cx="229443" cy="9122"/>
            </a:xfrm>
            <a:custGeom>
              <a:avLst/>
              <a:gdLst>
                <a:gd name="T0" fmla="*/ 238 w 12071"/>
                <a:gd name="T1" fmla="*/ 1 h 503"/>
                <a:gd name="T2" fmla="*/ 201 w 12071"/>
                <a:gd name="T3" fmla="*/ 5 h 503"/>
                <a:gd name="T4" fmla="*/ 165 w 12071"/>
                <a:gd name="T5" fmla="*/ 15 h 503"/>
                <a:gd name="T6" fmla="*/ 132 w 12071"/>
                <a:gd name="T7" fmla="*/ 30 h 503"/>
                <a:gd name="T8" fmla="*/ 100 w 12071"/>
                <a:gd name="T9" fmla="*/ 50 h 503"/>
                <a:gd name="T10" fmla="*/ 73 w 12071"/>
                <a:gd name="T11" fmla="*/ 73 h 503"/>
                <a:gd name="T12" fmla="*/ 50 w 12071"/>
                <a:gd name="T13" fmla="*/ 101 h 503"/>
                <a:gd name="T14" fmla="*/ 30 w 12071"/>
                <a:gd name="T15" fmla="*/ 131 h 503"/>
                <a:gd name="T16" fmla="*/ 15 w 12071"/>
                <a:gd name="T17" fmla="*/ 165 h 503"/>
                <a:gd name="T18" fmla="*/ 5 w 12071"/>
                <a:gd name="T19" fmla="*/ 201 h 503"/>
                <a:gd name="T20" fmla="*/ 0 w 12071"/>
                <a:gd name="T21" fmla="*/ 238 h 503"/>
                <a:gd name="T22" fmla="*/ 1 w 12071"/>
                <a:gd name="T23" fmla="*/ 277 h 503"/>
                <a:gd name="T24" fmla="*/ 8 w 12071"/>
                <a:gd name="T25" fmla="*/ 315 h 503"/>
                <a:gd name="T26" fmla="*/ 20 w 12071"/>
                <a:gd name="T27" fmla="*/ 349 h 503"/>
                <a:gd name="T28" fmla="*/ 36 w 12071"/>
                <a:gd name="T29" fmla="*/ 382 h 503"/>
                <a:gd name="T30" fmla="*/ 57 w 12071"/>
                <a:gd name="T31" fmla="*/ 411 h 503"/>
                <a:gd name="T32" fmla="*/ 82 w 12071"/>
                <a:gd name="T33" fmla="*/ 437 h 503"/>
                <a:gd name="T34" fmla="*/ 111 w 12071"/>
                <a:gd name="T35" fmla="*/ 460 h 503"/>
                <a:gd name="T36" fmla="*/ 143 w 12071"/>
                <a:gd name="T37" fmla="*/ 479 h 503"/>
                <a:gd name="T38" fmla="*/ 177 w 12071"/>
                <a:gd name="T39" fmla="*/ 492 h 503"/>
                <a:gd name="T40" fmla="*/ 213 w 12071"/>
                <a:gd name="T41" fmla="*/ 500 h 503"/>
                <a:gd name="T42" fmla="*/ 251 w 12071"/>
                <a:gd name="T43" fmla="*/ 503 h 503"/>
                <a:gd name="T44" fmla="*/ 11846 w 12071"/>
                <a:gd name="T45" fmla="*/ 502 h 503"/>
                <a:gd name="T46" fmla="*/ 11882 w 12071"/>
                <a:gd name="T47" fmla="*/ 495 h 503"/>
                <a:gd name="T48" fmla="*/ 11917 w 12071"/>
                <a:gd name="T49" fmla="*/ 484 h 503"/>
                <a:gd name="T50" fmla="*/ 11949 w 12071"/>
                <a:gd name="T51" fmla="*/ 467 h 503"/>
                <a:gd name="T52" fmla="*/ 11980 w 12071"/>
                <a:gd name="T53" fmla="*/ 445 h 503"/>
                <a:gd name="T54" fmla="*/ 12006 w 12071"/>
                <a:gd name="T55" fmla="*/ 420 h 503"/>
                <a:gd name="T56" fmla="*/ 12028 w 12071"/>
                <a:gd name="T57" fmla="*/ 392 h 503"/>
                <a:gd name="T58" fmla="*/ 12046 w 12071"/>
                <a:gd name="T59" fmla="*/ 360 h 503"/>
                <a:gd name="T60" fmla="*/ 12060 w 12071"/>
                <a:gd name="T61" fmla="*/ 326 h 503"/>
                <a:gd name="T62" fmla="*/ 12068 w 12071"/>
                <a:gd name="T63" fmla="*/ 289 h 503"/>
                <a:gd name="T64" fmla="*/ 12071 w 12071"/>
                <a:gd name="T65" fmla="*/ 251 h 503"/>
                <a:gd name="T66" fmla="*/ 12068 w 12071"/>
                <a:gd name="T67" fmla="*/ 213 h 503"/>
                <a:gd name="T68" fmla="*/ 12060 w 12071"/>
                <a:gd name="T69" fmla="*/ 177 h 503"/>
                <a:gd name="T70" fmla="*/ 12046 w 12071"/>
                <a:gd name="T71" fmla="*/ 143 h 503"/>
                <a:gd name="T72" fmla="*/ 12028 w 12071"/>
                <a:gd name="T73" fmla="*/ 110 h 503"/>
                <a:gd name="T74" fmla="*/ 12006 w 12071"/>
                <a:gd name="T75" fmla="*/ 82 h 503"/>
                <a:gd name="T76" fmla="*/ 11980 w 12071"/>
                <a:gd name="T77" fmla="*/ 57 h 503"/>
                <a:gd name="T78" fmla="*/ 11949 w 12071"/>
                <a:gd name="T79" fmla="*/ 36 h 503"/>
                <a:gd name="T80" fmla="*/ 11917 w 12071"/>
                <a:gd name="T81" fmla="*/ 20 h 503"/>
                <a:gd name="T82" fmla="*/ 11882 w 12071"/>
                <a:gd name="T83" fmla="*/ 8 h 503"/>
                <a:gd name="T84" fmla="*/ 11846 w 12071"/>
                <a:gd name="T85" fmla="*/ 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071" h="503">
                  <a:moveTo>
                    <a:pt x="11820" y="0"/>
                  </a:moveTo>
                  <a:lnTo>
                    <a:pt x="251" y="0"/>
                  </a:lnTo>
                  <a:lnTo>
                    <a:pt x="238" y="1"/>
                  </a:lnTo>
                  <a:lnTo>
                    <a:pt x="225" y="2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8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3"/>
                  </a:lnTo>
                  <a:lnTo>
                    <a:pt x="100" y="50"/>
                  </a:lnTo>
                  <a:lnTo>
                    <a:pt x="91" y="57"/>
                  </a:lnTo>
                  <a:lnTo>
                    <a:pt x="82" y="65"/>
                  </a:lnTo>
                  <a:lnTo>
                    <a:pt x="73" y="73"/>
                  </a:lnTo>
                  <a:lnTo>
                    <a:pt x="65" y="82"/>
                  </a:lnTo>
                  <a:lnTo>
                    <a:pt x="57" y="91"/>
                  </a:lnTo>
                  <a:lnTo>
                    <a:pt x="50" y="101"/>
                  </a:lnTo>
                  <a:lnTo>
                    <a:pt x="43" y="110"/>
                  </a:lnTo>
                  <a:lnTo>
                    <a:pt x="36" y="121"/>
                  </a:lnTo>
                  <a:lnTo>
                    <a:pt x="30" y="131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6"/>
                  </a:lnTo>
                  <a:lnTo>
                    <a:pt x="0" y="238"/>
                  </a:lnTo>
                  <a:lnTo>
                    <a:pt x="0" y="251"/>
                  </a:lnTo>
                  <a:lnTo>
                    <a:pt x="0" y="264"/>
                  </a:lnTo>
                  <a:lnTo>
                    <a:pt x="1" y="277"/>
                  </a:lnTo>
                  <a:lnTo>
                    <a:pt x="3" y="289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2"/>
                  </a:lnTo>
                  <a:lnTo>
                    <a:pt x="57" y="411"/>
                  </a:lnTo>
                  <a:lnTo>
                    <a:pt x="65" y="420"/>
                  </a:lnTo>
                  <a:lnTo>
                    <a:pt x="73" y="429"/>
                  </a:lnTo>
                  <a:lnTo>
                    <a:pt x="82" y="437"/>
                  </a:lnTo>
                  <a:lnTo>
                    <a:pt x="91" y="445"/>
                  </a:lnTo>
                  <a:lnTo>
                    <a:pt x="100" y="452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9"/>
                  </a:lnTo>
                  <a:lnTo>
                    <a:pt x="154" y="484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8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11820" y="503"/>
                  </a:lnTo>
                  <a:lnTo>
                    <a:pt x="11833" y="503"/>
                  </a:lnTo>
                  <a:lnTo>
                    <a:pt x="11846" y="502"/>
                  </a:lnTo>
                  <a:lnTo>
                    <a:pt x="11858" y="500"/>
                  </a:lnTo>
                  <a:lnTo>
                    <a:pt x="11870" y="498"/>
                  </a:lnTo>
                  <a:lnTo>
                    <a:pt x="11882" y="495"/>
                  </a:lnTo>
                  <a:lnTo>
                    <a:pt x="11894" y="492"/>
                  </a:lnTo>
                  <a:lnTo>
                    <a:pt x="11906" y="488"/>
                  </a:lnTo>
                  <a:lnTo>
                    <a:pt x="11917" y="484"/>
                  </a:lnTo>
                  <a:lnTo>
                    <a:pt x="11928" y="479"/>
                  </a:lnTo>
                  <a:lnTo>
                    <a:pt x="11939" y="473"/>
                  </a:lnTo>
                  <a:lnTo>
                    <a:pt x="11949" y="467"/>
                  </a:lnTo>
                  <a:lnTo>
                    <a:pt x="11960" y="460"/>
                  </a:lnTo>
                  <a:lnTo>
                    <a:pt x="11970" y="452"/>
                  </a:lnTo>
                  <a:lnTo>
                    <a:pt x="11980" y="445"/>
                  </a:lnTo>
                  <a:lnTo>
                    <a:pt x="11989" y="437"/>
                  </a:lnTo>
                  <a:lnTo>
                    <a:pt x="11998" y="429"/>
                  </a:lnTo>
                  <a:lnTo>
                    <a:pt x="12006" y="420"/>
                  </a:lnTo>
                  <a:lnTo>
                    <a:pt x="12014" y="411"/>
                  </a:lnTo>
                  <a:lnTo>
                    <a:pt x="12021" y="402"/>
                  </a:lnTo>
                  <a:lnTo>
                    <a:pt x="12028" y="392"/>
                  </a:lnTo>
                  <a:lnTo>
                    <a:pt x="12035" y="382"/>
                  </a:lnTo>
                  <a:lnTo>
                    <a:pt x="12041" y="371"/>
                  </a:lnTo>
                  <a:lnTo>
                    <a:pt x="12046" y="360"/>
                  </a:lnTo>
                  <a:lnTo>
                    <a:pt x="12051" y="349"/>
                  </a:lnTo>
                  <a:lnTo>
                    <a:pt x="12056" y="338"/>
                  </a:lnTo>
                  <a:lnTo>
                    <a:pt x="12060" y="326"/>
                  </a:lnTo>
                  <a:lnTo>
                    <a:pt x="12063" y="315"/>
                  </a:lnTo>
                  <a:lnTo>
                    <a:pt x="12066" y="303"/>
                  </a:lnTo>
                  <a:lnTo>
                    <a:pt x="12068" y="289"/>
                  </a:lnTo>
                  <a:lnTo>
                    <a:pt x="12070" y="277"/>
                  </a:lnTo>
                  <a:lnTo>
                    <a:pt x="12071" y="264"/>
                  </a:lnTo>
                  <a:lnTo>
                    <a:pt x="12071" y="251"/>
                  </a:lnTo>
                  <a:lnTo>
                    <a:pt x="12071" y="238"/>
                  </a:lnTo>
                  <a:lnTo>
                    <a:pt x="12070" y="226"/>
                  </a:lnTo>
                  <a:lnTo>
                    <a:pt x="12068" y="213"/>
                  </a:lnTo>
                  <a:lnTo>
                    <a:pt x="12066" y="201"/>
                  </a:lnTo>
                  <a:lnTo>
                    <a:pt x="12063" y="189"/>
                  </a:lnTo>
                  <a:lnTo>
                    <a:pt x="12060" y="177"/>
                  </a:lnTo>
                  <a:lnTo>
                    <a:pt x="12056" y="165"/>
                  </a:lnTo>
                  <a:lnTo>
                    <a:pt x="12051" y="154"/>
                  </a:lnTo>
                  <a:lnTo>
                    <a:pt x="12046" y="143"/>
                  </a:lnTo>
                  <a:lnTo>
                    <a:pt x="12041" y="131"/>
                  </a:lnTo>
                  <a:lnTo>
                    <a:pt x="12035" y="121"/>
                  </a:lnTo>
                  <a:lnTo>
                    <a:pt x="12028" y="110"/>
                  </a:lnTo>
                  <a:lnTo>
                    <a:pt x="12021" y="101"/>
                  </a:lnTo>
                  <a:lnTo>
                    <a:pt x="12014" y="91"/>
                  </a:lnTo>
                  <a:lnTo>
                    <a:pt x="12006" y="82"/>
                  </a:lnTo>
                  <a:lnTo>
                    <a:pt x="11998" y="73"/>
                  </a:lnTo>
                  <a:lnTo>
                    <a:pt x="11989" y="65"/>
                  </a:lnTo>
                  <a:lnTo>
                    <a:pt x="11980" y="57"/>
                  </a:lnTo>
                  <a:lnTo>
                    <a:pt x="11970" y="50"/>
                  </a:lnTo>
                  <a:lnTo>
                    <a:pt x="11960" y="43"/>
                  </a:lnTo>
                  <a:lnTo>
                    <a:pt x="11949" y="36"/>
                  </a:lnTo>
                  <a:lnTo>
                    <a:pt x="11939" y="30"/>
                  </a:lnTo>
                  <a:lnTo>
                    <a:pt x="11928" y="25"/>
                  </a:lnTo>
                  <a:lnTo>
                    <a:pt x="11917" y="20"/>
                  </a:lnTo>
                  <a:lnTo>
                    <a:pt x="11906" y="15"/>
                  </a:lnTo>
                  <a:lnTo>
                    <a:pt x="11894" y="11"/>
                  </a:lnTo>
                  <a:lnTo>
                    <a:pt x="11882" y="8"/>
                  </a:lnTo>
                  <a:lnTo>
                    <a:pt x="11870" y="5"/>
                  </a:lnTo>
                  <a:lnTo>
                    <a:pt x="11858" y="3"/>
                  </a:lnTo>
                  <a:lnTo>
                    <a:pt x="11846" y="2"/>
                  </a:lnTo>
                  <a:lnTo>
                    <a:pt x="11833" y="1"/>
                  </a:lnTo>
                  <a:lnTo>
                    <a:pt x="118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35" name="í$1íḍé">
              <a:extLst>
                <a:ext uri="{FF2B5EF4-FFF2-40B4-BE49-F238E27FC236}">
                  <a16:creationId xmlns:a16="http://schemas.microsoft.com/office/drawing/2014/main" id="{672E8426-CF7B-4B02-A4EA-7A7D502C8924}"/>
                </a:ext>
              </a:extLst>
            </p:cNvPr>
            <p:cNvSpPr/>
            <p:nvPr/>
          </p:nvSpPr>
          <p:spPr bwMode="auto">
            <a:xfrm>
              <a:off x="7069914" y="244128"/>
              <a:ext cx="229443" cy="9122"/>
            </a:xfrm>
            <a:custGeom>
              <a:avLst/>
              <a:gdLst>
                <a:gd name="T0" fmla="*/ 238 w 12071"/>
                <a:gd name="T1" fmla="*/ 1 h 503"/>
                <a:gd name="T2" fmla="*/ 201 w 12071"/>
                <a:gd name="T3" fmla="*/ 5 h 503"/>
                <a:gd name="T4" fmla="*/ 165 w 12071"/>
                <a:gd name="T5" fmla="*/ 15 h 503"/>
                <a:gd name="T6" fmla="*/ 132 w 12071"/>
                <a:gd name="T7" fmla="*/ 30 h 503"/>
                <a:gd name="T8" fmla="*/ 100 w 12071"/>
                <a:gd name="T9" fmla="*/ 51 h 503"/>
                <a:gd name="T10" fmla="*/ 73 w 12071"/>
                <a:gd name="T11" fmla="*/ 74 h 503"/>
                <a:gd name="T12" fmla="*/ 50 w 12071"/>
                <a:gd name="T13" fmla="*/ 102 h 503"/>
                <a:gd name="T14" fmla="*/ 30 w 12071"/>
                <a:gd name="T15" fmla="*/ 132 h 503"/>
                <a:gd name="T16" fmla="*/ 15 w 12071"/>
                <a:gd name="T17" fmla="*/ 165 h 503"/>
                <a:gd name="T18" fmla="*/ 5 w 12071"/>
                <a:gd name="T19" fmla="*/ 201 h 503"/>
                <a:gd name="T20" fmla="*/ 0 w 12071"/>
                <a:gd name="T21" fmla="*/ 239 h 503"/>
                <a:gd name="T22" fmla="*/ 1 w 12071"/>
                <a:gd name="T23" fmla="*/ 278 h 503"/>
                <a:gd name="T24" fmla="*/ 8 w 12071"/>
                <a:gd name="T25" fmla="*/ 315 h 503"/>
                <a:gd name="T26" fmla="*/ 20 w 12071"/>
                <a:gd name="T27" fmla="*/ 349 h 503"/>
                <a:gd name="T28" fmla="*/ 36 w 12071"/>
                <a:gd name="T29" fmla="*/ 383 h 503"/>
                <a:gd name="T30" fmla="*/ 57 w 12071"/>
                <a:gd name="T31" fmla="*/ 412 h 503"/>
                <a:gd name="T32" fmla="*/ 82 w 12071"/>
                <a:gd name="T33" fmla="*/ 438 h 503"/>
                <a:gd name="T34" fmla="*/ 111 w 12071"/>
                <a:gd name="T35" fmla="*/ 460 h 503"/>
                <a:gd name="T36" fmla="*/ 143 w 12071"/>
                <a:gd name="T37" fmla="*/ 478 h 503"/>
                <a:gd name="T38" fmla="*/ 177 w 12071"/>
                <a:gd name="T39" fmla="*/ 492 h 503"/>
                <a:gd name="T40" fmla="*/ 213 w 12071"/>
                <a:gd name="T41" fmla="*/ 500 h 503"/>
                <a:gd name="T42" fmla="*/ 251 w 12071"/>
                <a:gd name="T43" fmla="*/ 503 h 503"/>
                <a:gd name="T44" fmla="*/ 11846 w 12071"/>
                <a:gd name="T45" fmla="*/ 502 h 503"/>
                <a:gd name="T46" fmla="*/ 11882 w 12071"/>
                <a:gd name="T47" fmla="*/ 495 h 503"/>
                <a:gd name="T48" fmla="*/ 11917 w 12071"/>
                <a:gd name="T49" fmla="*/ 483 h 503"/>
                <a:gd name="T50" fmla="*/ 11949 w 12071"/>
                <a:gd name="T51" fmla="*/ 467 h 503"/>
                <a:gd name="T52" fmla="*/ 11980 w 12071"/>
                <a:gd name="T53" fmla="*/ 446 h 503"/>
                <a:gd name="T54" fmla="*/ 12006 w 12071"/>
                <a:gd name="T55" fmla="*/ 421 h 503"/>
                <a:gd name="T56" fmla="*/ 12028 w 12071"/>
                <a:gd name="T57" fmla="*/ 393 h 503"/>
                <a:gd name="T58" fmla="*/ 12046 w 12071"/>
                <a:gd name="T59" fmla="*/ 360 h 503"/>
                <a:gd name="T60" fmla="*/ 12060 w 12071"/>
                <a:gd name="T61" fmla="*/ 326 h 503"/>
                <a:gd name="T62" fmla="*/ 12068 w 12071"/>
                <a:gd name="T63" fmla="*/ 290 h 503"/>
                <a:gd name="T64" fmla="*/ 12071 w 12071"/>
                <a:gd name="T65" fmla="*/ 252 h 503"/>
                <a:gd name="T66" fmla="*/ 12068 w 12071"/>
                <a:gd name="T67" fmla="*/ 214 h 503"/>
                <a:gd name="T68" fmla="*/ 12060 w 12071"/>
                <a:gd name="T69" fmla="*/ 177 h 503"/>
                <a:gd name="T70" fmla="*/ 12046 w 12071"/>
                <a:gd name="T71" fmla="*/ 143 h 503"/>
                <a:gd name="T72" fmla="*/ 12028 w 12071"/>
                <a:gd name="T73" fmla="*/ 111 h 503"/>
                <a:gd name="T74" fmla="*/ 12006 w 12071"/>
                <a:gd name="T75" fmla="*/ 83 h 503"/>
                <a:gd name="T76" fmla="*/ 11980 w 12071"/>
                <a:gd name="T77" fmla="*/ 58 h 503"/>
                <a:gd name="T78" fmla="*/ 11949 w 12071"/>
                <a:gd name="T79" fmla="*/ 36 h 503"/>
                <a:gd name="T80" fmla="*/ 11917 w 12071"/>
                <a:gd name="T81" fmla="*/ 20 h 503"/>
                <a:gd name="T82" fmla="*/ 11882 w 12071"/>
                <a:gd name="T83" fmla="*/ 8 h 503"/>
                <a:gd name="T84" fmla="*/ 11846 w 12071"/>
                <a:gd name="T85" fmla="*/ 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071" h="503">
                  <a:moveTo>
                    <a:pt x="11820" y="0"/>
                  </a:moveTo>
                  <a:lnTo>
                    <a:pt x="251" y="0"/>
                  </a:lnTo>
                  <a:lnTo>
                    <a:pt x="238" y="1"/>
                  </a:lnTo>
                  <a:lnTo>
                    <a:pt x="225" y="2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8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3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1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8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11820" y="503"/>
                  </a:lnTo>
                  <a:lnTo>
                    <a:pt x="11833" y="503"/>
                  </a:lnTo>
                  <a:lnTo>
                    <a:pt x="11846" y="502"/>
                  </a:lnTo>
                  <a:lnTo>
                    <a:pt x="11858" y="500"/>
                  </a:lnTo>
                  <a:lnTo>
                    <a:pt x="11870" y="498"/>
                  </a:lnTo>
                  <a:lnTo>
                    <a:pt x="11882" y="495"/>
                  </a:lnTo>
                  <a:lnTo>
                    <a:pt x="11894" y="492"/>
                  </a:lnTo>
                  <a:lnTo>
                    <a:pt x="11906" y="488"/>
                  </a:lnTo>
                  <a:lnTo>
                    <a:pt x="11917" y="483"/>
                  </a:lnTo>
                  <a:lnTo>
                    <a:pt x="11928" y="478"/>
                  </a:lnTo>
                  <a:lnTo>
                    <a:pt x="11939" y="473"/>
                  </a:lnTo>
                  <a:lnTo>
                    <a:pt x="11949" y="467"/>
                  </a:lnTo>
                  <a:lnTo>
                    <a:pt x="11960" y="460"/>
                  </a:lnTo>
                  <a:lnTo>
                    <a:pt x="11970" y="453"/>
                  </a:lnTo>
                  <a:lnTo>
                    <a:pt x="11980" y="446"/>
                  </a:lnTo>
                  <a:lnTo>
                    <a:pt x="11989" y="438"/>
                  </a:lnTo>
                  <a:lnTo>
                    <a:pt x="11998" y="430"/>
                  </a:lnTo>
                  <a:lnTo>
                    <a:pt x="12006" y="421"/>
                  </a:lnTo>
                  <a:lnTo>
                    <a:pt x="12014" y="412"/>
                  </a:lnTo>
                  <a:lnTo>
                    <a:pt x="12021" y="403"/>
                  </a:lnTo>
                  <a:lnTo>
                    <a:pt x="12028" y="393"/>
                  </a:lnTo>
                  <a:lnTo>
                    <a:pt x="12035" y="383"/>
                  </a:lnTo>
                  <a:lnTo>
                    <a:pt x="12041" y="372"/>
                  </a:lnTo>
                  <a:lnTo>
                    <a:pt x="12046" y="360"/>
                  </a:lnTo>
                  <a:lnTo>
                    <a:pt x="12051" y="349"/>
                  </a:lnTo>
                  <a:lnTo>
                    <a:pt x="12056" y="338"/>
                  </a:lnTo>
                  <a:lnTo>
                    <a:pt x="12060" y="326"/>
                  </a:lnTo>
                  <a:lnTo>
                    <a:pt x="12063" y="315"/>
                  </a:lnTo>
                  <a:lnTo>
                    <a:pt x="12066" y="302"/>
                  </a:lnTo>
                  <a:lnTo>
                    <a:pt x="12068" y="290"/>
                  </a:lnTo>
                  <a:lnTo>
                    <a:pt x="12070" y="278"/>
                  </a:lnTo>
                  <a:lnTo>
                    <a:pt x="12071" y="265"/>
                  </a:lnTo>
                  <a:lnTo>
                    <a:pt x="12071" y="252"/>
                  </a:lnTo>
                  <a:lnTo>
                    <a:pt x="12071" y="239"/>
                  </a:lnTo>
                  <a:lnTo>
                    <a:pt x="12070" y="227"/>
                  </a:lnTo>
                  <a:lnTo>
                    <a:pt x="12068" y="214"/>
                  </a:lnTo>
                  <a:lnTo>
                    <a:pt x="12066" y="201"/>
                  </a:lnTo>
                  <a:lnTo>
                    <a:pt x="12063" y="189"/>
                  </a:lnTo>
                  <a:lnTo>
                    <a:pt x="12060" y="177"/>
                  </a:lnTo>
                  <a:lnTo>
                    <a:pt x="12056" y="165"/>
                  </a:lnTo>
                  <a:lnTo>
                    <a:pt x="12051" y="154"/>
                  </a:lnTo>
                  <a:lnTo>
                    <a:pt x="12046" y="143"/>
                  </a:lnTo>
                  <a:lnTo>
                    <a:pt x="12041" y="132"/>
                  </a:lnTo>
                  <a:lnTo>
                    <a:pt x="12035" y="121"/>
                  </a:lnTo>
                  <a:lnTo>
                    <a:pt x="12028" y="111"/>
                  </a:lnTo>
                  <a:lnTo>
                    <a:pt x="12021" y="102"/>
                  </a:lnTo>
                  <a:lnTo>
                    <a:pt x="12014" y="92"/>
                  </a:lnTo>
                  <a:lnTo>
                    <a:pt x="12006" y="83"/>
                  </a:lnTo>
                  <a:lnTo>
                    <a:pt x="11998" y="74"/>
                  </a:lnTo>
                  <a:lnTo>
                    <a:pt x="11989" y="66"/>
                  </a:lnTo>
                  <a:lnTo>
                    <a:pt x="11980" y="58"/>
                  </a:lnTo>
                  <a:lnTo>
                    <a:pt x="11970" y="51"/>
                  </a:lnTo>
                  <a:lnTo>
                    <a:pt x="11960" y="43"/>
                  </a:lnTo>
                  <a:lnTo>
                    <a:pt x="11949" y="36"/>
                  </a:lnTo>
                  <a:lnTo>
                    <a:pt x="11939" y="30"/>
                  </a:lnTo>
                  <a:lnTo>
                    <a:pt x="11928" y="25"/>
                  </a:lnTo>
                  <a:lnTo>
                    <a:pt x="11917" y="20"/>
                  </a:lnTo>
                  <a:lnTo>
                    <a:pt x="11906" y="15"/>
                  </a:lnTo>
                  <a:lnTo>
                    <a:pt x="11894" y="11"/>
                  </a:lnTo>
                  <a:lnTo>
                    <a:pt x="11882" y="8"/>
                  </a:lnTo>
                  <a:lnTo>
                    <a:pt x="11870" y="5"/>
                  </a:lnTo>
                  <a:lnTo>
                    <a:pt x="11858" y="3"/>
                  </a:lnTo>
                  <a:lnTo>
                    <a:pt x="11846" y="2"/>
                  </a:lnTo>
                  <a:lnTo>
                    <a:pt x="11833" y="1"/>
                  </a:lnTo>
                  <a:lnTo>
                    <a:pt x="118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36" name="îşḻîdê">
              <a:extLst>
                <a:ext uri="{FF2B5EF4-FFF2-40B4-BE49-F238E27FC236}">
                  <a16:creationId xmlns:a16="http://schemas.microsoft.com/office/drawing/2014/main" id="{CFEB6E55-D025-4496-A302-4FD35FAB1825}"/>
                </a:ext>
              </a:extLst>
            </p:cNvPr>
            <p:cNvSpPr/>
            <p:nvPr/>
          </p:nvSpPr>
          <p:spPr bwMode="auto">
            <a:xfrm>
              <a:off x="7069914" y="272195"/>
              <a:ext cx="229443" cy="9823"/>
            </a:xfrm>
            <a:custGeom>
              <a:avLst/>
              <a:gdLst>
                <a:gd name="T0" fmla="*/ 238 w 12071"/>
                <a:gd name="T1" fmla="*/ 1 h 503"/>
                <a:gd name="T2" fmla="*/ 201 w 12071"/>
                <a:gd name="T3" fmla="*/ 5 h 503"/>
                <a:gd name="T4" fmla="*/ 165 w 12071"/>
                <a:gd name="T5" fmla="*/ 15 h 503"/>
                <a:gd name="T6" fmla="*/ 132 w 12071"/>
                <a:gd name="T7" fmla="*/ 30 h 503"/>
                <a:gd name="T8" fmla="*/ 100 w 12071"/>
                <a:gd name="T9" fmla="*/ 50 h 503"/>
                <a:gd name="T10" fmla="*/ 73 w 12071"/>
                <a:gd name="T11" fmla="*/ 73 h 503"/>
                <a:gd name="T12" fmla="*/ 50 w 12071"/>
                <a:gd name="T13" fmla="*/ 100 h 503"/>
                <a:gd name="T14" fmla="*/ 30 w 12071"/>
                <a:gd name="T15" fmla="*/ 132 h 503"/>
                <a:gd name="T16" fmla="*/ 15 w 12071"/>
                <a:gd name="T17" fmla="*/ 165 h 503"/>
                <a:gd name="T18" fmla="*/ 5 w 12071"/>
                <a:gd name="T19" fmla="*/ 201 h 503"/>
                <a:gd name="T20" fmla="*/ 0 w 12071"/>
                <a:gd name="T21" fmla="*/ 238 h 503"/>
                <a:gd name="T22" fmla="*/ 1 w 12071"/>
                <a:gd name="T23" fmla="*/ 278 h 503"/>
                <a:gd name="T24" fmla="*/ 8 w 12071"/>
                <a:gd name="T25" fmla="*/ 315 h 503"/>
                <a:gd name="T26" fmla="*/ 20 w 12071"/>
                <a:gd name="T27" fmla="*/ 349 h 503"/>
                <a:gd name="T28" fmla="*/ 36 w 12071"/>
                <a:gd name="T29" fmla="*/ 382 h 503"/>
                <a:gd name="T30" fmla="*/ 57 w 12071"/>
                <a:gd name="T31" fmla="*/ 411 h 503"/>
                <a:gd name="T32" fmla="*/ 82 w 12071"/>
                <a:gd name="T33" fmla="*/ 438 h 503"/>
                <a:gd name="T34" fmla="*/ 111 w 12071"/>
                <a:gd name="T35" fmla="*/ 460 h 503"/>
                <a:gd name="T36" fmla="*/ 143 w 12071"/>
                <a:gd name="T37" fmla="*/ 479 h 503"/>
                <a:gd name="T38" fmla="*/ 177 w 12071"/>
                <a:gd name="T39" fmla="*/ 492 h 503"/>
                <a:gd name="T40" fmla="*/ 213 w 12071"/>
                <a:gd name="T41" fmla="*/ 500 h 503"/>
                <a:gd name="T42" fmla="*/ 251 w 12071"/>
                <a:gd name="T43" fmla="*/ 503 h 503"/>
                <a:gd name="T44" fmla="*/ 11846 w 12071"/>
                <a:gd name="T45" fmla="*/ 502 h 503"/>
                <a:gd name="T46" fmla="*/ 11882 w 12071"/>
                <a:gd name="T47" fmla="*/ 495 h 503"/>
                <a:gd name="T48" fmla="*/ 11917 w 12071"/>
                <a:gd name="T49" fmla="*/ 484 h 503"/>
                <a:gd name="T50" fmla="*/ 11949 w 12071"/>
                <a:gd name="T51" fmla="*/ 467 h 503"/>
                <a:gd name="T52" fmla="*/ 11980 w 12071"/>
                <a:gd name="T53" fmla="*/ 446 h 503"/>
                <a:gd name="T54" fmla="*/ 12006 w 12071"/>
                <a:gd name="T55" fmla="*/ 420 h 503"/>
                <a:gd name="T56" fmla="*/ 12028 w 12071"/>
                <a:gd name="T57" fmla="*/ 392 h 503"/>
                <a:gd name="T58" fmla="*/ 12046 w 12071"/>
                <a:gd name="T59" fmla="*/ 360 h 503"/>
                <a:gd name="T60" fmla="*/ 12060 w 12071"/>
                <a:gd name="T61" fmla="*/ 326 h 503"/>
                <a:gd name="T62" fmla="*/ 12068 w 12071"/>
                <a:gd name="T63" fmla="*/ 290 h 503"/>
                <a:gd name="T64" fmla="*/ 12071 w 12071"/>
                <a:gd name="T65" fmla="*/ 251 h 503"/>
                <a:gd name="T66" fmla="*/ 12068 w 12071"/>
                <a:gd name="T67" fmla="*/ 213 h 503"/>
                <a:gd name="T68" fmla="*/ 12060 w 12071"/>
                <a:gd name="T69" fmla="*/ 177 h 503"/>
                <a:gd name="T70" fmla="*/ 12046 w 12071"/>
                <a:gd name="T71" fmla="*/ 143 h 503"/>
                <a:gd name="T72" fmla="*/ 12028 w 12071"/>
                <a:gd name="T73" fmla="*/ 111 h 503"/>
                <a:gd name="T74" fmla="*/ 12006 w 12071"/>
                <a:gd name="T75" fmla="*/ 82 h 503"/>
                <a:gd name="T76" fmla="*/ 11980 w 12071"/>
                <a:gd name="T77" fmla="*/ 57 h 503"/>
                <a:gd name="T78" fmla="*/ 11949 w 12071"/>
                <a:gd name="T79" fmla="*/ 36 h 503"/>
                <a:gd name="T80" fmla="*/ 11917 w 12071"/>
                <a:gd name="T81" fmla="*/ 20 h 503"/>
                <a:gd name="T82" fmla="*/ 11882 w 12071"/>
                <a:gd name="T83" fmla="*/ 8 h 503"/>
                <a:gd name="T84" fmla="*/ 11846 w 12071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071" h="503">
                  <a:moveTo>
                    <a:pt x="11820" y="0"/>
                  </a:moveTo>
                  <a:lnTo>
                    <a:pt x="251" y="0"/>
                  </a:lnTo>
                  <a:lnTo>
                    <a:pt x="238" y="1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8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3"/>
                  </a:lnTo>
                  <a:lnTo>
                    <a:pt x="100" y="50"/>
                  </a:lnTo>
                  <a:lnTo>
                    <a:pt x="91" y="57"/>
                  </a:lnTo>
                  <a:lnTo>
                    <a:pt x="82" y="65"/>
                  </a:lnTo>
                  <a:lnTo>
                    <a:pt x="73" y="73"/>
                  </a:lnTo>
                  <a:lnTo>
                    <a:pt x="65" y="82"/>
                  </a:lnTo>
                  <a:lnTo>
                    <a:pt x="57" y="91"/>
                  </a:lnTo>
                  <a:lnTo>
                    <a:pt x="50" y="100"/>
                  </a:lnTo>
                  <a:lnTo>
                    <a:pt x="43" y="111"/>
                  </a:lnTo>
                  <a:lnTo>
                    <a:pt x="36" y="121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6"/>
                  </a:lnTo>
                  <a:lnTo>
                    <a:pt x="0" y="238"/>
                  </a:lnTo>
                  <a:lnTo>
                    <a:pt x="0" y="251"/>
                  </a:lnTo>
                  <a:lnTo>
                    <a:pt x="0" y="264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2"/>
                  </a:lnTo>
                  <a:lnTo>
                    <a:pt x="57" y="411"/>
                  </a:lnTo>
                  <a:lnTo>
                    <a:pt x="65" y="420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9"/>
                  </a:lnTo>
                  <a:lnTo>
                    <a:pt x="154" y="484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8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11820" y="503"/>
                  </a:lnTo>
                  <a:lnTo>
                    <a:pt x="11833" y="503"/>
                  </a:lnTo>
                  <a:lnTo>
                    <a:pt x="11846" y="502"/>
                  </a:lnTo>
                  <a:lnTo>
                    <a:pt x="11858" y="500"/>
                  </a:lnTo>
                  <a:lnTo>
                    <a:pt x="11870" y="498"/>
                  </a:lnTo>
                  <a:lnTo>
                    <a:pt x="11882" y="495"/>
                  </a:lnTo>
                  <a:lnTo>
                    <a:pt x="11894" y="492"/>
                  </a:lnTo>
                  <a:lnTo>
                    <a:pt x="11906" y="488"/>
                  </a:lnTo>
                  <a:lnTo>
                    <a:pt x="11917" y="484"/>
                  </a:lnTo>
                  <a:lnTo>
                    <a:pt x="11928" y="479"/>
                  </a:lnTo>
                  <a:lnTo>
                    <a:pt x="11939" y="473"/>
                  </a:lnTo>
                  <a:lnTo>
                    <a:pt x="11949" y="467"/>
                  </a:lnTo>
                  <a:lnTo>
                    <a:pt x="11960" y="460"/>
                  </a:lnTo>
                  <a:lnTo>
                    <a:pt x="11970" y="453"/>
                  </a:lnTo>
                  <a:lnTo>
                    <a:pt x="11980" y="446"/>
                  </a:lnTo>
                  <a:lnTo>
                    <a:pt x="11989" y="438"/>
                  </a:lnTo>
                  <a:lnTo>
                    <a:pt x="11998" y="430"/>
                  </a:lnTo>
                  <a:lnTo>
                    <a:pt x="12006" y="420"/>
                  </a:lnTo>
                  <a:lnTo>
                    <a:pt x="12014" y="411"/>
                  </a:lnTo>
                  <a:lnTo>
                    <a:pt x="12021" y="402"/>
                  </a:lnTo>
                  <a:lnTo>
                    <a:pt x="12028" y="392"/>
                  </a:lnTo>
                  <a:lnTo>
                    <a:pt x="12035" y="382"/>
                  </a:lnTo>
                  <a:lnTo>
                    <a:pt x="12041" y="371"/>
                  </a:lnTo>
                  <a:lnTo>
                    <a:pt x="12046" y="360"/>
                  </a:lnTo>
                  <a:lnTo>
                    <a:pt x="12051" y="349"/>
                  </a:lnTo>
                  <a:lnTo>
                    <a:pt x="12056" y="338"/>
                  </a:lnTo>
                  <a:lnTo>
                    <a:pt x="12060" y="326"/>
                  </a:lnTo>
                  <a:lnTo>
                    <a:pt x="12063" y="315"/>
                  </a:lnTo>
                  <a:lnTo>
                    <a:pt x="12066" y="303"/>
                  </a:lnTo>
                  <a:lnTo>
                    <a:pt x="12068" y="290"/>
                  </a:lnTo>
                  <a:lnTo>
                    <a:pt x="12070" y="278"/>
                  </a:lnTo>
                  <a:lnTo>
                    <a:pt x="12071" y="264"/>
                  </a:lnTo>
                  <a:lnTo>
                    <a:pt x="12071" y="251"/>
                  </a:lnTo>
                  <a:lnTo>
                    <a:pt x="12071" y="238"/>
                  </a:lnTo>
                  <a:lnTo>
                    <a:pt x="12070" y="226"/>
                  </a:lnTo>
                  <a:lnTo>
                    <a:pt x="12068" y="213"/>
                  </a:lnTo>
                  <a:lnTo>
                    <a:pt x="12066" y="201"/>
                  </a:lnTo>
                  <a:lnTo>
                    <a:pt x="12063" y="189"/>
                  </a:lnTo>
                  <a:lnTo>
                    <a:pt x="12060" y="177"/>
                  </a:lnTo>
                  <a:lnTo>
                    <a:pt x="12056" y="165"/>
                  </a:lnTo>
                  <a:lnTo>
                    <a:pt x="12051" y="154"/>
                  </a:lnTo>
                  <a:lnTo>
                    <a:pt x="12046" y="143"/>
                  </a:lnTo>
                  <a:lnTo>
                    <a:pt x="12041" y="132"/>
                  </a:lnTo>
                  <a:lnTo>
                    <a:pt x="12035" y="121"/>
                  </a:lnTo>
                  <a:lnTo>
                    <a:pt x="12028" y="111"/>
                  </a:lnTo>
                  <a:lnTo>
                    <a:pt x="12021" y="100"/>
                  </a:lnTo>
                  <a:lnTo>
                    <a:pt x="12014" y="91"/>
                  </a:lnTo>
                  <a:lnTo>
                    <a:pt x="12006" y="82"/>
                  </a:lnTo>
                  <a:lnTo>
                    <a:pt x="11998" y="73"/>
                  </a:lnTo>
                  <a:lnTo>
                    <a:pt x="11989" y="65"/>
                  </a:lnTo>
                  <a:lnTo>
                    <a:pt x="11980" y="57"/>
                  </a:lnTo>
                  <a:lnTo>
                    <a:pt x="11970" y="50"/>
                  </a:lnTo>
                  <a:lnTo>
                    <a:pt x="11960" y="43"/>
                  </a:lnTo>
                  <a:lnTo>
                    <a:pt x="11949" y="36"/>
                  </a:lnTo>
                  <a:lnTo>
                    <a:pt x="11939" y="30"/>
                  </a:lnTo>
                  <a:lnTo>
                    <a:pt x="11928" y="25"/>
                  </a:lnTo>
                  <a:lnTo>
                    <a:pt x="11917" y="20"/>
                  </a:lnTo>
                  <a:lnTo>
                    <a:pt x="11906" y="15"/>
                  </a:lnTo>
                  <a:lnTo>
                    <a:pt x="11894" y="11"/>
                  </a:lnTo>
                  <a:lnTo>
                    <a:pt x="11882" y="8"/>
                  </a:lnTo>
                  <a:lnTo>
                    <a:pt x="11870" y="5"/>
                  </a:lnTo>
                  <a:lnTo>
                    <a:pt x="11858" y="3"/>
                  </a:lnTo>
                  <a:lnTo>
                    <a:pt x="11846" y="1"/>
                  </a:lnTo>
                  <a:lnTo>
                    <a:pt x="11833" y="1"/>
                  </a:lnTo>
                  <a:lnTo>
                    <a:pt x="118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37" name="iṥ1íde">
              <a:extLst>
                <a:ext uri="{FF2B5EF4-FFF2-40B4-BE49-F238E27FC236}">
                  <a16:creationId xmlns:a16="http://schemas.microsoft.com/office/drawing/2014/main" id="{CAF96C7B-1B13-42B7-B638-3124C533CBC9}"/>
                </a:ext>
              </a:extLst>
            </p:cNvPr>
            <p:cNvSpPr/>
            <p:nvPr/>
          </p:nvSpPr>
          <p:spPr bwMode="auto">
            <a:xfrm>
              <a:off x="7069914" y="186591"/>
              <a:ext cx="229443" cy="9823"/>
            </a:xfrm>
            <a:custGeom>
              <a:avLst/>
              <a:gdLst>
                <a:gd name="T0" fmla="*/ 238 w 12071"/>
                <a:gd name="T1" fmla="*/ 0 h 503"/>
                <a:gd name="T2" fmla="*/ 201 w 12071"/>
                <a:gd name="T3" fmla="*/ 5 h 503"/>
                <a:gd name="T4" fmla="*/ 165 w 12071"/>
                <a:gd name="T5" fmla="*/ 15 h 503"/>
                <a:gd name="T6" fmla="*/ 132 w 12071"/>
                <a:gd name="T7" fmla="*/ 30 h 503"/>
                <a:gd name="T8" fmla="*/ 100 w 12071"/>
                <a:gd name="T9" fmla="*/ 50 h 503"/>
                <a:gd name="T10" fmla="*/ 73 w 12071"/>
                <a:gd name="T11" fmla="*/ 73 h 503"/>
                <a:gd name="T12" fmla="*/ 50 w 12071"/>
                <a:gd name="T13" fmla="*/ 101 h 503"/>
                <a:gd name="T14" fmla="*/ 30 w 12071"/>
                <a:gd name="T15" fmla="*/ 132 h 503"/>
                <a:gd name="T16" fmla="*/ 15 w 12071"/>
                <a:gd name="T17" fmla="*/ 165 h 503"/>
                <a:gd name="T18" fmla="*/ 5 w 12071"/>
                <a:gd name="T19" fmla="*/ 201 h 503"/>
                <a:gd name="T20" fmla="*/ 0 w 12071"/>
                <a:gd name="T21" fmla="*/ 239 h 503"/>
                <a:gd name="T22" fmla="*/ 1 w 12071"/>
                <a:gd name="T23" fmla="*/ 278 h 503"/>
                <a:gd name="T24" fmla="*/ 8 w 12071"/>
                <a:gd name="T25" fmla="*/ 315 h 503"/>
                <a:gd name="T26" fmla="*/ 20 w 12071"/>
                <a:gd name="T27" fmla="*/ 349 h 503"/>
                <a:gd name="T28" fmla="*/ 36 w 12071"/>
                <a:gd name="T29" fmla="*/ 382 h 503"/>
                <a:gd name="T30" fmla="*/ 57 w 12071"/>
                <a:gd name="T31" fmla="*/ 412 h 503"/>
                <a:gd name="T32" fmla="*/ 82 w 12071"/>
                <a:gd name="T33" fmla="*/ 438 h 503"/>
                <a:gd name="T34" fmla="*/ 111 w 12071"/>
                <a:gd name="T35" fmla="*/ 460 h 503"/>
                <a:gd name="T36" fmla="*/ 143 w 12071"/>
                <a:gd name="T37" fmla="*/ 478 h 503"/>
                <a:gd name="T38" fmla="*/ 177 w 12071"/>
                <a:gd name="T39" fmla="*/ 492 h 503"/>
                <a:gd name="T40" fmla="*/ 213 w 12071"/>
                <a:gd name="T41" fmla="*/ 500 h 503"/>
                <a:gd name="T42" fmla="*/ 251 w 12071"/>
                <a:gd name="T43" fmla="*/ 503 h 503"/>
                <a:gd name="T44" fmla="*/ 11846 w 12071"/>
                <a:gd name="T45" fmla="*/ 502 h 503"/>
                <a:gd name="T46" fmla="*/ 11882 w 12071"/>
                <a:gd name="T47" fmla="*/ 495 h 503"/>
                <a:gd name="T48" fmla="*/ 11917 w 12071"/>
                <a:gd name="T49" fmla="*/ 483 h 503"/>
                <a:gd name="T50" fmla="*/ 11949 w 12071"/>
                <a:gd name="T51" fmla="*/ 467 h 503"/>
                <a:gd name="T52" fmla="*/ 11980 w 12071"/>
                <a:gd name="T53" fmla="*/ 446 h 503"/>
                <a:gd name="T54" fmla="*/ 12006 w 12071"/>
                <a:gd name="T55" fmla="*/ 421 h 503"/>
                <a:gd name="T56" fmla="*/ 12028 w 12071"/>
                <a:gd name="T57" fmla="*/ 392 h 503"/>
                <a:gd name="T58" fmla="*/ 12046 w 12071"/>
                <a:gd name="T59" fmla="*/ 360 h 503"/>
                <a:gd name="T60" fmla="*/ 12060 w 12071"/>
                <a:gd name="T61" fmla="*/ 326 h 503"/>
                <a:gd name="T62" fmla="*/ 12068 w 12071"/>
                <a:gd name="T63" fmla="*/ 290 h 503"/>
                <a:gd name="T64" fmla="*/ 12071 w 12071"/>
                <a:gd name="T65" fmla="*/ 252 h 503"/>
                <a:gd name="T66" fmla="*/ 12068 w 12071"/>
                <a:gd name="T67" fmla="*/ 213 h 503"/>
                <a:gd name="T68" fmla="*/ 12060 w 12071"/>
                <a:gd name="T69" fmla="*/ 177 h 503"/>
                <a:gd name="T70" fmla="*/ 12046 w 12071"/>
                <a:gd name="T71" fmla="*/ 143 h 503"/>
                <a:gd name="T72" fmla="*/ 12028 w 12071"/>
                <a:gd name="T73" fmla="*/ 111 h 503"/>
                <a:gd name="T74" fmla="*/ 12006 w 12071"/>
                <a:gd name="T75" fmla="*/ 83 h 503"/>
                <a:gd name="T76" fmla="*/ 11980 w 12071"/>
                <a:gd name="T77" fmla="*/ 57 h 503"/>
                <a:gd name="T78" fmla="*/ 11949 w 12071"/>
                <a:gd name="T79" fmla="*/ 36 h 503"/>
                <a:gd name="T80" fmla="*/ 11917 w 12071"/>
                <a:gd name="T81" fmla="*/ 20 h 503"/>
                <a:gd name="T82" fmla="*/ 11882 w 12071"/>
                <a:gd name="T83" fmla="*/ 8 h 503"/>
                <a:gd name="T84" fmla="*/ 11846 w 12071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071" h="503">
                  <a:moveTo>
                    <a:pt x="11820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8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3"/>
                  </a:lnTo>
                  <a:lnTo>
                    <a:pt x="100" y="50"/>
                  </a:lnTo>
                  <a:lnTo>
                    <a:pt x="91" y="57"/>
                  </a:lnTo>
                  <a:lnTo>
                    <a:pt x="82" y="65"/>
                  </a:lnTo>
                  <a:lnTo>
                    <a:pt x="73" y="73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1"/>
                  </a:lnTo>
                  <a:lnTo>
                    <a:pt x="43" y="111"/>
                  </a:lnTo>
                  <a:lnTo>
                    <a:pt x="36" y="121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6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8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11820" y="503"/>
                  </a:lnTo>
                  <a:lnTo>
                    <a:pt x="11833" y="503"/>
                  </a:lnTo>
                  <a:lnTo>
                    <a:pt x="11846" y="502"/>
                  </a:lnTo>
                  <a:lnTo>
                    <a:pt x="11858" y="500"/>
                  </a:lnTo>
                  <a:lnTo>
                    <a:pt x="11870" y="498"/>
                  </a:lnTo>
                  <a:lnTo>
                    <a:pt x="11882" y="495"/>
                  </a:lnTo>
                  <a:lnTo>
                    <a:pt x="11894" y="492"/>
                  </a:lnTo>
                  <a:lnTo>
                    <a:pt x="11906" y="488"/>
                  </a:lnTo>
                  <a:lnTo>
                    <a:pt x="11917" y="483"/>
                  </a:lnTo>
                  <a:lnTo>
                    <a:pt x="11928" y="478"/>
                  </a:lnTo>
                  <a:lnTo>
                    <a:pt x="11939" y="473"/>
                  </a:lnTo>
                  <a:lnTo>
                    <a:pt x="11949" y="467"/>
                  </a:lnTo>
                  <a:lnTo>
                    <a:pt x="11960" y="460"/>
                  </a:lnTo>
                  <a:lnTo>
                    <a:pt x="11970" y="453"/>
                  </a:lnTo>
                  <a:lnTo>
                    <a:pt x="11980" y="446"/>
                  </a:lnTo>
                  <a:lnTo>
                    <a:pt x="11989" y="438"/>
                  </a:lnTo>
                  <a:lnTo>
                    <a:pt x="11998" y="430"/>
                  </a:lnTo>
                  <a:lnTo>
                    <a:pt x="12006" y="421"/>
                  </a:lnTo>
                  <a:lnTo>
                    <a:pt x="12014" y="412"/>
                  </a:lnTo>
                  <a:lnTo>
                    <a:pt x="12021" y="403"/>
                  </a:lnTo>
                  <a:lnTo>
                    <a:pt x="12028" y="392"/>
                  </a:lnTo>
                  <a:lnTo>
                    <a:pt x="12035" y="382"/>
                  </a:lnTo>
                  <a:lnTo>
                    <a:pt x="12041" y="371"/>
                  </a:lnTo>
                  <a:lnTo>
                    <a:pt x="12046" y="360"/>
                  </a:lnTo>
                  <a:lnTo>
                    <a:pt x="12051" y="349"/>
                  </a:lnTo>
                  <a:lnTo>
                    <a:pt x="12056" y="338"/>
                  </a:lnTo>
                  <a:lnTo>
                    <a:pt x="12060" y="326"/>
                  </a:lnTo>
                  <a:lnTo>
                    <a:pt x="12063" y="315"/>
                  </a:lnTo>
                  <a:lnTo>
                    <a:pt x="12066" y="302"/>
                  </a:lnTo>
                  <a:lnTo>
                    <a:pt x="12068" y="290"/>
                  </a:lnTo>
                  <a:lnTo>
                    <a:pt x="12070" y="278"/>
                  </a:lnTo>
                  <a:lnTo>
                    <a:pt x="12071" y="265"/>
                  </a:lnTo>
                  <a:lnTo>
                    <a:pt x="12071" y="252"/>
                  </a:lnTo>
                  <a:lnTo>
                    <a:pt x="12071" y="239"/>
                  </a:lnTo>
                  <a:lnTo>
                    <a:pt x="12070" y="226"/>
                  </a:lnTo>
                  <a:lnTo>
                    <a:pt x="12068" y="213"/>
                  </a:lnTo>
                  <a:lnTo>
                    <a:pt x="12066" y="201"/>
                  </a:lnTo>
                  <a:lnTo>
                    <a:pt x="12063" y="189"/>
                  </a:lnTo>
                  <a:lnTo>
                    <a:pt x="12060" y="177"/>
                  </a:lnTo>
                  <a:lnTo>
                    <a:pt x="12056" y="165"/>
                  </a:lnTo>
                  <a:lnTo>
                    <a:pt x="12051" y="154"/>
                  </a:lnTo>
                  <a:lnTo>
                    <a:pt x="12046" y="143"/>
                  </a:lnTo>
                  <a:lnTo>
                    <a:pt x="12041" y="132"/>
                  </a:lnTo>
                  <a:lnTo>
                    <a:pt x="12035" y="121"/>
                  </a:lnTo>
                  <a:lnTo>
                    <a:pt x="12028" y="111"/>
                  </a:lnTo>
                  <a:lnTo>
                    <a:pt x="12021" y="101"/>
                  </a:lnTo>
                  <a:lnTo>
                    <a:pt x="12014" y="92"/>
                  </a:lnTo>
                  <a:lnTo>
                    <a:pt x="12006" y="83"/>
                  </a:lnTo>
                  <a:lnTo>
                    <a:pt x="11998" y="73"/>
                  </a:lnTo>
                  <a:lnTo>
                    <a:pt x="11989" y="65"/>
                  </a:lnTo>
                  <a:lnTo>
                    <a:pt x="11980" y="57"/>
                  </a:lnTo>
                  <a:lnTo>
                    <a:pt x="11970" y="50"/>
                  </a:lnTo>
                  <a:lnTo>
                    <a:pt x="11960" y="43"/>
                  </a:lnTo>
                  <a:lnTo>
                    <a:pt x="11949" y="36"/>
                  </a:lnTo>
                  <a:lnTo>
                    <a:pt x="11939" y="30"/>
                  </a:lnTo>
                  <a:lnTo>
                    <a:pt x="11928" y="25"/>
                  </a:lnTo>
                  <a:lnTo>
                    <a:pt x="11917" y="20"/>
                  </a:lnTo>
                  <a:lnTo>
                    <a:pt x="11906" y="15"/>
                  </a:lnTo>
                  <a:lnTo>
                    <a:pt x="11894" y="11"/>
                  </a:lnTo>
                  <a:lnTo>
                    <a:pt x="11882" y="8"/>
                  </a:lnTo>
                  <a:lnTo>
                    <a:pt x="11870" y="5"/>
                  </a:lnTo>
                  <a:lnTo>
                    <a:pt x="11858" y="3"/>
                  </a:lnTo>
                  <a:lnTo>
                    <a:pt x="11846" y="1"/>
                  </a:lnTo>
                  <a:lnTo>
                    <a:pt x="11833" y="0"/>
                  </a:lnTo>
                  <a:lnTo>
                    <a:pt x="118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38" name="íṩļïḑê">
              <a:extLst>
                <a:ext uri="{FF2B5EF4-FFF2-40B4-BE49-F238E27FC236}">
                  <a16:creationId xmlns:a16="http://schemas.microsoft.com/office/drawing/2014/main" id="{551470DA-ECAF-452B-A445-1115B7DC582A}"/>
                </a:ext>
              </a:extLst>
            </p:cNvPr>
            <p:cNvSpPr/>
            <p:nvPr/>
          </p:nvSpPr>
          <p:spPr bwMode="auto">
            <a:xfrm>
              <a:off x="7069914" y="91165"/>
              <a:ext cx="86304" cy="76482"/>
            </a:xfrm>
            <a:custGeom>
              <a:avLst/>
              <a:gdLst>
                <a:gd name="T0" fmla="*/ 3521 w 4527"/>
                <a:gd name="T1" fmla="*/ 3019 h 4026"/>
                <a:gd name="T2" fmla="*/ 503 w 4527"/>
                <a:gd name="T3" fmla="*/ 4026 h 4026"/>
                <a:gd name="T4" fmla="*/ 4076 w 4527"/>
                <a:gd name="T5" fmla="*/ 4023 h 4026"/>
                <a:gd name="T6" fmla="*/ 4149 w 4527"/>
                <a:gd name="T7" fmla="*/ 4009 h 4026"/>
                <a:gd name="T8" fmla="*/ 4220 w 4527"/>
                <a:gd name="T9" fmla="*/ 3986 h 4026"/>
                <a:gd name="T10" fmla="*/ 4285 w 4527"/>
                <a:gd name="T11" fmla="*/ 3953 h 4026"/>
                <a:gd name="T12" fmla="*/ 4345 w 4527"/>
                <a:gd name="T13" fmla="*/ 3911 h 4026"/>
                <a:gd name="T14" fmla="*/ 4397 w 4527"/>
                <a:gd name="T15" fmla="*/ 3861 h 4026"/>
                <a:gd name="T16" fmla="*/ 4441 w 4527"/>
                <a:gd name="T17" fmla="*/ 3804 h 4026"/>
                <a:gd name="T18" fmla="*/ 4477 w 4527"/>
                <a:gd name="T19" fmla="*/ 3741 h 4026"/>
                <a:gd name="T20" fmla="*/ 4504 w 4527"/>
                <a:gd name="T21" fmla="*/ 3672 h 4026"/>
                <a:gd name="T22" fmla="*/ 4522 w 4527"/>
                <a:gd name="T23" fmla="*/ 3599 h 4026"/>
                <a:gd name="T24" fmla="*/ 4527 w 4527"/>
                <a:gd name="T25" fmla="*/ 3522 h 4026"/>
                <a:gd name="T26" fmla="*/ 4525 w 4527"/>
                <a:gd name="T27" fmla="*/ 452 h 4026"/>
                <a:gd name="T28" fmla="*/ 4512 w 4527"/>
                <a:gd name="T29" fmla="*/ 377 h 4026"/>
                <a:gd name="T30" fmla="*/ 4487 w 4527"/>
                <a:gd name="T31" fmla="*/ 307 h 4026"/>
                <a:gd name="T32" fmla="*/ 4454 w 4527"/>
                <a:gd name="T33" fmla="*/ 243 h 4026"/>
                <a:gd name="T34" fmla="*/ 4412 w 4527"/>
                <a:gd name="T35" fmla="*/ 183 h 4026"/>
                <a:gd name="T36" fmla="*/ 4363 w 4527"/>
                <a:gd name="T37" fmla="*/ 131 h 4026"/>
                <a:gd name="T38" fmla="*/ 4305 w 4527"/>
                <a:gd name="T39" fmla="*/ 86 h 4026"/>
                <a:gd name="T40" fmla="*/ 4242 w 4527"/>
                <a:gd name="T41" fmla="*/ 49 h 4026"/>
                <a:gd name="T42" fmla="*/ 4174 w 4527"/>
                <a:gd name="T43" fmla="*/ 22 h 4026"/>
                <a:gd name="T44" fmla="*/ 4101 w 4527"/>
                <a:gd name="T45" fmla="*/ 6 h 4026"/>
                <a:gd name="T46" fmla="*/ 4024 w 4527"/>
                <a:gd name="T47" fmla="*/ 0 h 4026"/>
                <a:gd name="T48" fmla="*/ 452 w 4527"/>
                <a:gd name="T49" fmla="*/ 3 h 4026"/>
                <a:gd name="T50" fmla="*/ 377 w 4527"/>
                <a:gd name="T51" fmla="*/ 16 h 4026"/>
                <a:gd name="T52" fmla="*/ 307 w 4527"/>
                <a:gd name="T53" fmla="*/ 39 h 4026"/>
                <a:gd name="T54" fmla="*/ 242 w 4527"/>
                <a:gd name="T55" fmla="*/ 72 h 4026"/>
                <a:gd name="T56" fmla="*/ 183 w 4527"/>
                <a:gd name="T57" fmla="*/ 115 h 4026"/>
                <a:gd name="T58" fmla="*/ 131 w 4527"/>
                <a:gd name="T59" fmla="*/ 165 h 4026"/>
                <a:gd name="T60" fmla="*/ 85 w 4527"/>
                <a:gd name="T61" fmla="*/ 221 h 4026"/>
                <a:gd name="T62" fmla="*/ 49 w 4527"/>
                <a:gd name="T63" fmla="*/ 285 h 4026"/>
                <a:gd name="T64" fmla="*/ 22 w 4527"/>
                <a:gd name="T65" fmla="*/ 353 h 4026"/>
                <a:gd name="T66" fmla="*/ 6 w 4527"/>
                <a:gd name="T67" fmla="*/ 427 h 4026"/>
                <a:gd name="T68" fmla="*/ 0 w 4527"/>
                <a:gd name="T69" fmla="*/ 503 h 4026"/>
                <a:gd name="T70" fmla="*/ 3 w 4527"/>
                <a:gd name="T71" fmla="*/ 3574 h 4026"/>
                <a:gd name="T72" fmla="*/ 16 w 4527"/>
                <a:gd name="T73" fmla="*/ 3648 h 4026"/>
                <a:gd name="T74" fmla="*/ 39 w 4527"/>
                <a:gd name="T75" fmla="*/ 3719 h 4026"/>
                <a:gd name="T76" fmla="*/ 72 w 4527"/>
                <a:gd name="T77" fmla="*/ 3783 h 4026"/>
                <a:gd name="T78" fmla="*/ 115 w 4527"/>
                <a:gd name="T79" fmla="*/ 3842 h 4026"/>
                <a:gd name="T80" fmla="*/ 165 w 4527"/>
                <a:gd name="T81" fmla="*/ 3895 h 4026"/>
                <a:gd name="T82" fmla="*/ 221 w 4527"/>
                <a:gd name="T83" fmla="*/ 3940 h 4026"/>
                <a:gd name="T84" fmla="*/ 285 w 4527"/>
                <a:gd name="T85" fmla="*/ 3976 h 4026"/>
                <a:gd name="T86" fmla="*/ 353 w 4527"/>
                <a:gd name="T87" fmla="*/ 4003 h 4026"/>
                <a:gd name="T88" fmla="*/ 426 w 4527"/>
                <a:gd name="T89" fmla="*/ 4020 h 4026"/>
                <a:gd name="T90" fmla="*/ 503 w 4527"/>
                <a:gd name="T91" fmla="*/ 4026 h 40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527" h="4026">
                  <a:moveTo>
                    <a:pt x="1006" y="1006"/>
                  </a:moveTo>
                  <a:lnTo>
                    <a:pt x="3521" y="1006"/>
                  </a:lnTo>
                  <a:lnTo>
                    <a:pt x="3521" y="3019"/>
                  </a:lnTo>
                  <a:lnTo>
                    <a:pt x="1006" y="3019"/>
                  </a:lnTo>
                  <a:lnTo>
                    <a:pt x="1006" y="1006"/>
                  </a:lnTo>
                  <a:close/>
                  <a:moveTo>
                    <a:pt x="503" y="4026"/>
                  </a:moveTo>
                  <a:lnTo>
                    <a:pt x="4024" y="4026"/>
                  </a:lnTo>
                  <a:lnTo>
                    <a:pt x="4050" y="4025"/>
                  </a:lnTo>
                  <a:lnTo>
                    <a:pt x="4076" y="4023"/>
                  </a:lnTo>
                  <a:lnTo>
                    <a:pt x="4101" y="4020"/>
                  </a:lnTo>
                  <a:lnTo>
                    <a:pt x="4125" y="4016"/>
                  </a:lnTo>
                  <a:lnTo>
                    <a:pt x="4149" y="4009"/>
                  </a:lnTo>
                  <a:lnTo>
                    <a:pt x="4174" y="4003"/>
                  </a:lnTo>
                  <a:lnTo>
                    <a:pt x="4197" y="3995"/>
                  </a:lnTo>
                  <a:lnTo>
                    <a:pt x="4220" y="3986"/>
                  </a:lnTo>
                  <a:lnTo>
                    <a:pt x="4242" y="3976"/>
                  </a:lnTo>
                  <a:lnTo>
                    <a:pt x="4264" y="3965"/>
                  </a:lnTo>
                  <a:lnTo>
                    <a:pt x="4285" y="3953"/>
                  </a:lnTo>
                  <a:lnTo>
                    <a:pt x="4305" y="3940"/>
                  </a:lnTo>
                  <a:lnTo>
                    <a:pt x="4325" y="3926"/>
                  </a:lnTo>
                  <a:lnTo>
                    <a:pt x="4345" y="3911"/>
                  </a:lnTo>
                  <a:lnTo>
                    <a:pt x="4363" y="3895"/>
                  </a:lnTo>
                  <a:lnTo>
                    <a:pt x="4380" y="3879"/>
                  </a:lnTo>
                  <a:lnTo>
                    <a:pt x="4397" y="3861"/>
                  </a:lnTo>
                  <a:lnTo>
                    <a:pt x="4412" y="3842"/>
                  </a:lnTo>
                  <a:lnTo>
                    <a:pt x="4427" y="3823"/>
                  </a:lnTo>
                  <a:lnTo>
                    <a:pt x="4441" y="3804"/>
                  </a:lnTo>
                  <a:lnTo>
                    <a:pt x="4454" y="3783"/>
                  </a:lnTo>
                  <a:lnTo>
                    <a:pt x="4466" y="3762"/>
                  </a:lnTo>
                  <a:lnTo>
                    <a:pt x="4477" y="3741"/>
                  </a:lnTo>
                  <a:lnTo>
                    <a:pt x="4487" y="3719"/>
                  </a:lnTo>
                  <a:lnTo>
                    <a:pt x="4496" y="3696"/>
                  </a:lnTo>
                  <a:lnTo>
                    <a:pt x="4504" y="3672"/>
                  </a:lnTo>
                  <a:lnTo>
                    <a:pt x="4512" y="3648"/>
                  </a:lnTo>
                  <a:lnTo>
                    <a:pt x="4517" y="3624"/>
                  </a:lnTo>
                  <a:lnTo>
                    <a:pt x="4522" y="3599"/>
                  </a:lnTo>
                  <a:lnTo>
                    <a:pt x="4525" y="3574"/>
                  </a:lnTo>
                  <a:lnTo>
                    <a:pt x="4527" y="3549"/>
                  </a:lnTo>
                  <a:lnTo>
                    <a:pt x="4527" y="3522"/>
                  </a:lnTo>
                  <a:lnTo>
                    <a:pt x="4527" y="503"/>
                  </a:lnTo>
                  <a:lnTo>
                    <a:pt x="4527" y="477"/>
                  </a:lnTo>
                  <a:lnTo>
                    <a:pt x="4525" y="452"/>
                  </a:lnTo>
                  <a:lnTo>
                    <a:pt x="4522" y="427"/>
                  </a:lnTo>
                  <a:lnTo>
                    <a:pt x="4517" y="402"/>
                  </a:lnTo>
                  <a:lnTo>
                    <a:pt x="4512" y="377"/>
                  </a:lnTo>
                  <a:lnTo>
                    <a:pt x="4504" y="353"/>
                  </a:lnTo>
                  <a:lnTo>
                    <a:pt x="4496" y="330"/>
                  </a:lnTo>
                  <a:lnTo>
                    <a:pt x="4487" y="307"/>
                  </a:lnTo>
                  <a:lnTo>
                    <a:pt x="4477" y="285"/>
                  </a:lnTo>
                  <a:lnTo>
                    <a:pt x="4466" y="264"/>
                  </a:lnTo>
                  <a:lnTo>
                    <a:pt x="4454" y="243"/>
                  </a:lnTo>
                  <a:lnTo>
                    <a:pt x="4441" y="221"/>
                  </a:lnTo>
                  <a:lnTo>
                    <a:pt x="4427" y="202"/>
                  </a:lnTo>
                  <a:lnTo>
                    <a:pt x="4412" y="183"/>
                  </a:lnTo>
                  <a:lnTo>
                    <a:pt x="4397" y="165"/>
                  </a:lnTo>
                  <a:lnTo>
                    <a:pt x="4380" y="147"/>
                  </a:lnTo>
                  <a:lnTo>
                    <a:pt x="4363" y="131"/>
                  </a:lnTo>
                  <a:lnTo>
                    <a:pt x="4345" y="115"/>
                  </a:lnTo>
                  <a:lnTo>
                    <a:pt x="4325" y="100"/>
                  </a:lnTo>
                  <a:lnTo>
                    <a:pt x="4305" y="86"/>
                  </a:lnTo>
                  <a:lnTo>
                    <a:pt x="4285" y="72"/>
                  </a:lnTo>
                  <a:lnTo>
                    <a:pt x="4264" y="60"/>
                  </a:lnTo>
                  <a:lnTo>
                    <a:pt x="4242" y="49"/>
                  </a:lnTo>
                  <a:lnTo>
                    <a:pt x="4220" y="39"/>
                  </a:lnTo>
                  <a:lnTo>
                    <a:pt x="4197" y="30"/>
                  </a:lnTo>
                  <a:lnTo>
                    <a:pt x="4174" y="22"/>
                  </a:lnTo>
                  <a:lnTo>
                    <a:pt x="4149" y="16"/>
                  </a:lnTo>
                  <a:lnTo>
                    <a:pt x="4125" y="10"/>
                  </a:lnTo>
                  <a:lnTo>
                    <a:pt x="4101" y="6"/>
                  </a:lnTo>
                  <a:lnTo>
                    <a:pt x="4076" y="3"/>
                  </a:lnTo>
                  <a:lnTo>
                    <a:pt x="4050" y="1"/>
                  </a:lnTo>
                  <a:lnTo>
                    <a:pt x="4024" y="0"/>
                  </a:lnTo>
                  <a:lnTo>
                    <a:pt x="503" y="0"/>
                  </a:lnTo>
                  <a:lnTo>
                    <a:pt x="477" y="1"/>
                  </a:lnTo>
                  <a:lnTo>
                    <a:pt x="452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5" y="49"/>
                  </a:lnTo>
                  <a:lnTo>
                    <a:pt x="262" y="60"/>
                  </a:lnTo>
                  <a:lnTo>
                    <a:pt x="242" y="72"/>
                  </a:lnTo>
                  <a:lnTo>
                    <a:pt x="221" y="86"/>
                  </a:lnTo>
                  <a:lnTo>
                    <a:pt x="202" y="100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99" y="202"/>
                  </a:lnTo>
                  <a:lnTo>
                    <a:pt x="85" y="221"/>
                  </a:lnTo>
                  <a:lnTo>
                    <a:pt x="72" y="243"/>
                  </a:lnTo>
                  <a:lnTo>
                    <a:pt x="60" y="264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2"/>
                  </a:lnTo>
                  <a:lnTo>
                    <a:pt x="6" y="427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0" y="3522"/>
                  </a:lnTo>
                  <a:lnTo>
                    <a:pt x="1" y="3549"/>
                  </a:lnTo>
                  <a:lnTo>
                    <a:pt x="3" y="3574"/>
                  </a:lnTo>
                  <a:lnTo>
                    <a:pt x="6" y="3599"/>
                  </a:lnTo>
                  <a:lnTo>
                    <a:pt x="10" y="3624"/>
                  </a:lnTo>
                  <a:lnTo>
                    <a:pt x="16" y="3648"/>
                  </a:lnTo>
                  <a:lnTo>
                    <a:pt x="22" y="3672"/>
                  </a:lnTo>
                  <a:lnTo>
                    <a:pt x="30" y="3696"/>
                  </a:lnTo>
                  <a:lnTo>
                    <a:pt x="39" y="3719"/>
                  </a:lnTo>
                  <a:lnTo>
                    <a:pt x="49" y="3741"/>
                  </a:lnTo>
                  <a:lnTo>
                    <a:pt x="60" y="3762"/>
                  </a:lnTo>
                  <a:lnTo>
                    <a:pt x="72" y="3783"/>
                  </a:lnTo>
                  <a:lnTo>
                    <a:pt x="85" y="3804"/>
                  </a:lnTo>
                  <a:lnTo>
                    <a:pt x="99" y="3823"/>
                  </a:lnTo>
                  <a:lnTo>
                    <a:pt x="115" y="3842"/>
                  </a:lnTo>
                  <a:lnTo>
                    <a:pt x="131" y="3861"/>
                  </a:lnTo>
                  <a:lnTo>
                    <a:pt x="147" y="3879"/>
                  </a:lnTo>
                  <a:lnTo>
                    <a:pt x="165" y="3895"/>
                  </a:lnTo>
                  <a:lnTo>
                    <a:pt x="183" y="3911"/>
                  </a:lnTo>
                  <a:lnTo>
                    <a:pt x="202" y="3926"/>
                  </a:lnTo>
                  <a:lnTo>
                    <a:pt x="221" y="3940"/>
                  </a:lnTo>
                  <a:lnTo>
                    <a:pt x="242" y="3953"/>
                  </a:lnTo>
                  <a:lnTo>
                    <a:pt x="262" y="3965"/>
                  </a:lnTo>
                  <a:lnTo>
                    <a:pt x="285" y="3976"/>
                  </a:lnTo>
                  <a:lnTo>
                    <a:pt x="307" y="3986"/>
                  </a:lnTo>
                  <a:lnTo>
                    <a:pt x="330" y="3995"/>
                  </a:lnTo>
                  <a:lnTo>
                    <a:pt x="353" y="4003"/>
                  </a:lnTo>
                  <a:lnTo>
                    <a:pt x="377" y="4009"/>
                  </a:lnTo>
                  <a:lnTo>
                    <a:pt x="401" y="4016"/>
                  </a:lnTo>
                  <a:lnTo>
                    <a:pt x="426" y="4020"/>
                  </a:lnTo>
                  <a:lnTo>
                    <a:pt x="452" y="4023"/>
                  </a:lnTo>
                  <a:lnTo>
                    <a:pt x="477" y="4025"/>
                  </a:lnTo>
                  <a:lnTo>
                    <a:pt x="503" y="40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39" name="ïṥ1íḓè">
              <a:extLst>
                <a:ext uri="{FF2B5EF4-FFF2-40B4-BE49-F238E27FC236}">
                  <a16:creationId xmlns:a16="http://schemas.microsoft.com/office/drawing/2014/main" id="{761196F8-E5E9-4CD6-9385-31A3B743AF8C}"/>
                </a:ext>
              </a:extLst>
            </p:cNvPr>
            <p:cNvSpPr/>
            <p:nvPr/>
          </p:nvSpPr>
          <p:spPr bwMode="auto">
            <a:xfrm>
              <a:off x="6344690" y="676784"/>
              <a:ext cx="159468" cy="102588"/>
            </a:xfrm>
            <a:custGeom>
              <a:avLst/>
              <a:gdLst>
                <a:gd name="T0" fmla="*/ 4713 w 5797"/>
                <a:gd name="T1" fmla="*/ 41 h 3756"/>
                <a:gd name="T2" fmla="*/ 3661 w 5797"/>
                <a:gd name="T3" fmla="*/ 216 h 3756"/>
                <a:gd name="T4" fmla="*/ 2695 w 5797"/>
                <a:gd name="T5" fmla="*/ 516 h 3756"/>
                <a:gd name="T6" fmla="*/ 1839 w 5797"/>
                <a:gd name="T7" fmla="*/ 924 h 3756"/>
                <a:gd name="T8" fmla="*/ 1118 w 5797"/>
                <a:gd name="T9" fmla="*/ 1423 h 3756"/>
                <a:gd name="T10" fmla="*/ 556 w 5797"/>
                <a:gd name="T11" fmla="*/ 2001 h 3756"/>
                <a:gd name="T12" fmla="*/ 178 w 5797"/>
                <a:gd name="T13" fmla="*/ 2641 h 3756"/>
                <a:gd name="T14" fmla="*/ 7 w 5797"/>
                <a:gd name="T15" fmla="*/ 3329 h 3756"/>
                <a:gd name="T16" fmla="*/ 3 w 5797"/>
                <a:gd name="T17" fmla="*/ 3544 h 3756"/>
                <a:gd name="T18" fmla="*/ 15 w 5797"/>
                <a:gd name="T19" fmla="*/ 3592 h 3756"/>
                <a:gd name="T20" fmla="*/ 36 w 5797"/>
                <a:gd name="T21" fmla="*/ 3636 h 3756"/>
                <a:gd name="T22" fmla="*/ 65 w 5797"/>
                <a:gd name="T23" fmla="*/ 3674 h 3756"/>
                <a:gd name="T24" fmla="*/ 100 w 5797"/>
                <a:gd name="T25" fmla="*/ 3706 h 3756"/>
                <a:gd name="T26" fmla="*/ 143 w 5797"/>
                <a:gd name="T27" fmla="*/ 3731 h 3756"/>
                <a:gd name="T28" fmla="*/ 189 w 5797"/>
                <a:gd name="T29" fmla="*/ 3748 h 3756"/>
                <a:gd name="T30" fmla="*/ 239 w 5797"/>
                <a:gd name="T31" fmla="*/ 3756 h 3756"/>
                <a:gd name="T32" fmla="*/ 290 w 5797"/>
                <a:gd name="T33" fmla="*/ 3753 h 3756"/>
                <a:gd name="T34" fmla="*/ 338 w 5797"/>
                <a:gd name="T35" fmla="*/ 3741 h 3756"/>
                <a:gd name="T36" fmla="*/ 383 w 5797"/>
                <a:gd name="T37" fmla="*/ 3720 h 3756"/>
                <a:gd name="T38" fmla="*/ 421 w 5797"/>
                <a:gd name="T39" fmla="*/ 3691 h 3756"/>
                <a:gd name="T40" fmla="*/ 453 w 5797"/>
                <a:gd name="T41" fmla="*/ 3655 h 3756"/>
                <a:gd name="T42" fmla="*/ 479 w 5797"/>
                <a:gd name="T43" fmla="*/ 3614 h 3756"/>
                <a:gd name="T44" fmla="*/ 496 w 5797"/>
                <a:gd name="T45" fmla="*/ 3568 h 3756"/>
                <a:gd name="T46" fmla="*/ 504 w 5797"/>
                <a:gd name="T47" fmla="*/ 3519 h 3756"/>
                <a:gd name="T48" fmla="*/ 564 w 5797"/>
                <a:gd name="T49" fmla="*/ 3062 h 3756"/>
                <a:gd name="T50" fmla="*/ 820 w 5797"/>
                <a:gd name="T51" fmla="*/ 2496 h 3756"/>
                <a:gd name="T52" fmla="*/ 1257 w 5797"/>
                <a:gd name="T53" fmla="*/ 1973 h 3756"/>
                <a:gd name="T54" fmla="*/ 1848 w 5797"/>
                <a:gd name="T55" fmla="*/ 1509 h 3756"/>
                <a:gd name="T56" fmla="*/ 2572 w 5797"/>
                <a:gd name="T57" fmla="*/ 1115 h 3756"/>
                <a:gd name="T58" fmla="*/ 3402 w 5797"/>
                <a:gd name="T59" fmla="*/ 807 h 3756"/>
                <a:gd name="T60" fmla="*/ 4318 w 5797"/>
                <a:gd name="T61" fmla="*/ 599 h 3756"/>
                <a:gd name="T62" fmla="*/ 5294 w 5797"/>
                <a:gd name="T63" fmla="*/ 505 h 3756"/>
                <a:gd name="T64" fmla="*/ 5583 w 5797"/>
                <a:gd name="T65" fmla="*/ 498 h 3756"/>
                <a:gd name="T66" fmla="*/ 5632 w 5797"/>
                <a:gd name="T67" fmla="*/ 486 h 3756"/>
                <a:gd name="T68" fmla="*/ 5676 w 5797"/>
                <a:gd name="T69" fmla="*/ 465 h 3756"/>
                <a:gd name="T70" fmla="*/ 5714 w 5797"/>
                <a:gd name="T71" fmla="*/ 436 h 3756"/>
                <a:gd name="T72" fmla="*/ 5747 w 5797"/>
                <a:gd name="T73" fmla="*/ 401 h 3756"/>
                <a:gd name="T74" fmla="*/ 5772 w 5797"/>
                <a:gd name="T75" fmla="*/ 359 h 3756"/>
                <a:gd name="T76" fmla="*/ 5789 w 5797"/>
                <a:gd name="T77" fmla="*/ 313 h 3756"/>
                <a:gd name="T78" fmla="*/ 5797 w 5797"/>
                <a:gd name="T79" fmla="*/ 264 h 3756"/>
                <a:gd name="T80" fmla="*/ 5794 w 5797"/>
                <a:gd name="T81" fmla="*/ 212 h 3756"/>
                <a:gd name="T82" fmla="*/ 5782 w 5797"/>
                <a:gd name="T83" fmla="*/ 164 h 3756"/>
                <a:gd name="T84" fmla="*/ 5761 w 5797"/>
                <a:gd name="T85" fmla="*/ 120 h 3756"/>
                <a:gd name="T86" fmla="*/ 5732 w 5797"/>
                <a:gd name="T87" fmla="*/ 82 h 3756"/>
                <a:gd name="T88" fmla="*/ 5696 w 5797"/>
                <a:gd name="T89" fmla="*/ 50 h 3756"/>
                <a:gd name="T90" fmla="*/ 5654 w 5797"/>
                <a:gd name="T91" fmla="*/ 25 h 3756"/>
                <a:gd name="T92" fmla="*/ 5609 w 5797"/>
                <a:gd name="T93" fmla="*/ 8 h 3756"/>
                <a:gd name="T94" fmla="*/ 5558 w 5797"/>
                <a:gd name="T95" fmla="*/ 0 h 3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797" h="3756">
                  <a:moveTo>
                    <a:pt x="5545" y="0"/>
                  </a:moveTo>
                  <a:lnTo>
                    <a:pt x="5265" y="5"/>
                  </a:lnTo>
                  <a:lnTo>
                    <a:pt x="4987" y="18"/>
                  </a:lnTo>
                  <a:lnTo>
                    <a:pt x="4713" y="41"/>
                  </a:lnTo>
                  <a:lnTo>
                    <a:pt x="4444" y="73"/>
                  </a:lnTo>
                  <a:lnTo>
                    <a:pt x="4178" y="112"/>
                  </a:lnTo>
                  <a:lnTo>
                    <a:pt x="3917" y="160"/>
                  </a:lnTo>
                  <a:lnTo>
                    <a:pt x="3661" y="216"/>
                  </a:lnTo>
                  <a:lnTo>
                    <a:pt x="3411" y="281"/>
                  </a:lnTo>
                  <a:lnTo>
                    <a:pt x="3166" y="352"/>
                  </a:lnTo>
                  <a:lnTo>
                    <a:pt x="2927" y="431"/>
                  </a:lnTo>
                  <a:lnTo>
                    <a:pt x="2695" y="516"/>
                  </a:lnTo>
                  <a:lnTo>
                    <a:pt x="2470" y="608"/>
                  </a:lnTo>
                  <a:lnTo>
                    <a:pt x="2251" y="707"/>
                  </a:lnTo>
                  <a:lnTo>
                    <a:pt x="2041" y="812"/>
                  </a:lnTo>
                  <a:lnTo>
                    <a:pt x="1839" y="924"/>
                  </a:lnTo>
                  <a:lnTo>
                    <a:pt x="1645" y="1041"/>
                  </a:lnTo>
                  <a:lnTo>
                    <a:pt x="1460" y="1163"/>
                  </a:lnTo>
                  <a:lnTo>
                    <a:pt x="1284" y="1291"/>
                  </a:lnTo>
                  <a:lnTo>
                    <a:pt x="1118" y="1423"/>
                  </a:lnTo>
                  <a:lnTo>
                    <a:pt x="961" y="1562"/>
                  </a:lnTo>
                  <a:lnTo>
                    <a:pt x="815" y="1704"/>
                  </a:lnTo>
                  <a:lnTo>
                    <a:pt x="680" y="1851"/>
                  </a:lnTo>
                  <a:lnTo>
                    <a:pt x="556" y="2001"/>
                  </a:lnTo>
                  <a:lnTo>
                    <a:pt x="443" y="2157"/>
                  </a:lnTo>
                  <a:lnTo>
                    <a:pt x="342" y="2315"/>
                  </a:lnTo>
                  <a:lnTo>
                    <a:pt x="254" y="2477"/>
                  </a:lnTo>
                  <a:lnTo>
                    <a:pt x="178" y="2641"/>
                  </a:lnTo>
                  <a:lnTo>
                    <a:pt x="115" y="2810"/>
                  </a:lnTo>
                  <a:lnTo>
                    <a:pt x="65" y="2980"/>
                  </a:lnTo>
                  <a:lnTo>
                    <a:pt x="29" y="3153"/>
                  </a:lnTo>
                  <a:lnTo>
                    <a:pt x="7" y="3329"/>
                  </a:lnTo>
                  <a:lnTo>
                    <a:pt x="0" y="3506"/>
                  </a:lnTo>
                  <a:lnTo>
                    <a:pt x="0" y="3519"/>
                  </a:lnTo>
                  <a:lnTo>
                    <a:pt x="1" y="3531"/>
                  </a:lnTo>
                  <a:lnTo>
                    <a:pt x="3" y="3544"/>
                  </a:lnTo>
                  <a:lnTo>
                    <a:pt x="5" y="3556"/>
                  </a:lnTo>
                  <a:lnTo>
                    <a:pt x="8" y="3568"/>
                  </a:lnTo>
                  <a:lnTo>
                    <a:pt x="11" y="3580"/>
                  </a:lnTo>
                  <a:lnTo>
                    <a:pt x="15" y="3592"/>
                  </a:lnTo>
                  <a:lnTo>
                    <a:pt x="20" y="3603"/>
                  </a:lnTo>
                  <a:lnTo>
                    <a:pt x="25" y="3614"/>
                  </a:lnTo>
                  <a:lnTo>
                    <a:pt x="30" y="3625"/>
                  </a:lnTo>
                  <a:lnTo>
                    <a:pt x="36" y="3636"/>
                  </a:lnTo>
                  <a:lnTo>
                    <a:pt x="43" y="3646"/>
                  </a:lnTo>
                  <a:lnTo>
                    <a:pt x="50" y="3655"/>
                  </a:lnTo>
                  <a:lnTo>
                    <a:pt x="57" y="3665"/>
                  </a:lnTo>
                  <a:lnTo>
                    <a:pt x="65" y="3674"/>
                  </a:lnTo>
                  <a:lnTo>
                    <a:pt x="73" y="3683"/>
                  </a:lnTo>
                  <a:lnTo>
                    <a:pt x="82" y="3691"/>
                  </a:lnTo>
                  <a:lnTo>
                    <a:pt x="91" y="3699"/>
                  </a:lnTo>
                  <a:lnTo>
                    <a:pt x="100" y="3706"/>
                  </a:lnTo>
                  <a:lnTo>
                    <a:pt x="111" y="3713"/>
                  </a:lnTo>
                  <a:lnTo>
                    <a:pt x="121" y="3720"/>
                  </a:lnTo>
                  <a:lnTo>
                    <a:pt x="132" y="3726"/>
                  </a:lnTo>
                  <a:lnTo>
                    <a:pt x="143" y="3731"/>
                  </a:lnTo>
                  <a:lnTo>
                    <a:pt x="154" y="3736"/>
                  </a:lnTo>
                  <a:lnTo>
                    <a:pt x="165" y="3741"/>
                  </a:lnTo>
                  <a:lnTo>
                    <a:pt x="177" y="3745"/>
                  </a:lnTo>
                  <a:lnTo>
                    <a:pt x="189" y="3748"/>
                  </a:lnTo>
                  <a:lnTo>
                    <a:pt x="201" y="3751"/>
                  </a:lnTo>
                  <a:lnTo>
                    <a:pt x="213" y="3753"/>
                  </a:lnTo>
                  <a:lnTo>
                    <a:pt x="226" y="3755"/>
                  </a:lnTo>
                  <a:lnTo>
                    <a:pt x="239" y="3756"/>
                  </a:lnTo>
                  <a:lnTo>
                    <a:pt x="252" y="3756"/>
                  </a:lnTo>
                  <a:lnTo>
                    <a:pt x="265" y="3756"/>
                  </a:lnTo>
                  <a:lnTo>
                    <a:pt x="278" y="3755"/>
                  </a:lnTo>
                  <a:lnTo>
                    <a:pt x="290" y="3753"/>
                  </a:lnTo>
                  <a:lnTo>
                    <a:pt x="302" y="3751"/>
                  </a:lnTo>
                  <a:lnTo>
                    <a:pt x="315" y="3748"/>
                  </a:lnTo>
                  <a:lnTo>
                    <a:pt x="326" y="3745"/>
                  </a:lnTo>
                  <a:lnTo>
                    <a:pt x="338" y="3741"/>
                  </a:lnTo>
                  <a:lnTo>
                    <a:pt x="349" y="3736"/>
                  </a:lnTo>
                  <a:lnTo>
                    <a:pt x="361" y="3731"/>
                  </a:lnTo>
                  <a:lnTo>
                    <a:pt x="372" y="3726"/>
                  </a:lnTo>
                  <a:lnTo>
                    <a:pt x="383" y="3720"/>
                  </a:lnTo>
                  <a:lnTo>
                    <a:pt x="393" y="3713"/>
                  </a:lnTo>
                  <a:lnTo>
                    <a:pt x="403" y="3706"/>
                  </a:lnTo>
                  <a:lnTo>
                    <a:pt x="412" y="3699"/>
                  </a:lnTo>
                  <a:lnTo>
                    <a:pt x="421" y="3691"/>
                  </a:lnTo>
                  <a:lnTo>
                    <a:pt x="430" y="3683"/>
                  </a:lnTo>
                  <a:lnTo>
                    <a:pt x="438" y="3674"/>
                  </a:lnTo>
                  <a:lnTo>
                    <a:pt x="446" y="3665"/>
                  </a:lnTo>
                  <a:lnTo>
                    <a:pt x="453" y="3655"/>
                  </a:lnTo>
                  <a:lnTo>
                    <a:pt x="460" y="3646"/>
                  </a:lnTo>
                  <a:lnTo>
                    <a:pt x="467" y="3636"/>
                  </a:lnTo>
                  <a:lnTo>
                    <a:pt x="474" y="3625"/>
                  </a:lnTo>
                  <a:lnTo>
                    <a:pt x="479" y="3614"/>
                  </a:lnTo>
                  <a:lnTo>
                    <a:pt x="484" y="3603"/>
                  </a:lnTo>
                  <a:lnTo>
                    <a:pt x="489" y="3592"/>
                  </a:lnTo>
                  <a:lnTo>
                    <a:pt x="493" y="3580"/>
                  </a:lnTo>
                  <a:lnTo>
                    <a:pt x="496" y="3568"/>
                  </a:lnTo>
                  <a:lnTo>
                    <a:pt x="499" y="3556"/>
                  </a:lnTo>
                  <a:lnTo>
                    <a:pt x="501" y="3544"/>
                  </a:lnTo>
                  <a:lnTo>
                    <a:pt x="503" y="3531"/>
                  </a:lnTo>
                  <a:lnTo>
                    <a:pt x="504" y="3519"/>
                  </a:lnTo>
                  <a:lnTo>
                    <a:pt x="504" y="3506"/>
                  </a:lnTo>
                  <a:lnTo>
                    <a:pt x="511" y="3357"/>
                  </a:lnTo>
                  <a:lnTo>
                    <a:pt x="531" y="3208"/>
                  </a:lnTo>
                  <a:lnTo>
                    <a:pt x="564" y="3062"/>
                  </a:lnTo>
                  <a:lnTo>
                    <a:pt x="611" y="2917"/>
                  </a:lnTo>
                  <a:lnTo>
                    <a:pt x="669" y="2775"/>
                  </a:lnTo>
                  <a:lnTo>
                    <a:pt x="739" y="2634"/>
                  </a:lnTo>
                  <a:lnTo>
                    <a:pt x="820" y="2496"/>
                  </a:lnTo>
                  <a:lnTo>
                    <a:pt x="914" y="2361"/>
                  </a:lnTo>
                  <a:lnTo>
                    <a:pt x="1018" y="2229"/>
                  </a:lnTo>
                  <a:lnTo>
                    <a:pt x="1132" y="2100"/>
                  </a:lnTo>
                  <a:lnTo>
                    <a:pt x="1257" y="1973"/>
                  </a:lnTo>
                  <a:lnTo>
                    <a:pt x="1391" y="1851"/>
                  </a:lnTo>
                  <a:lnTo>
                    <a:pt x="1534" y="1733"/>
                  </a:lnTo>
                  <a:lnTo>
                    <a:pt x="1686" y="1619"/>
                  </a:lnTo>
                  <a:lnTo>
                    <a:pt x="1848" y="1509"/>
                  </a:lnTo>
                  <a:lnTo>
                    <a:pt x="2017" y="1403"/>
                  </a:lnTo>
                  <a:lnTo>
                    <a:pt x="2195" y="1302"/>
                  </a:lnTo>
                  <a:lnTo>
                    <a:pt x="2379" y="1206"/>
                  </a:lnTo>
                  <a:lnTo>
                    <a:pt x="2572" y="1115"/>
                  </a:lnTo>
                  <a:lnTo>
                    <a:pt x="2769" y="1030"/>
                  </a:lnTo>
                  <a:lnTo>
                    <a:pt x="2975" y="950"/>
                  </a:lnTo>
                  <a:lnTo>
                    <a:pt x="3186" y="876"/>
                  </a:lnTo>
                  <a:lnTo>
                    <a:pt x="3402" y="807"/>
                  </a:lnTo>
                  <a:lnTo>
                    <a:pt x="3624" y="745"/>
                  </a:lnTo>
                  <a:lnTo>
                    <a:pt x="3851" y="690"/>
                  </a:lnTo>
                  <a:lnTo>
                    <a:pt x="4083" y="641"/>
                  </a:lnTo>
                  <a:lnTo>
                    <a:pt x="4318" y="599"/>
                  </a:lnTo>
                  <a:lnTo>
                    <a:pt x="4557" y="564"/>
                  </a:lnTo>
                  <a:lnTo>
                    <a:pt x="4800" y="537"/>
                  </a:lnTo>
                  <a:lnTo>
                    <a:pt x="5046" y="517"/>
                  </a:lnTo>
                  <a:lnTo>
                    <a:pt x="5294" y="505"/>
                  </a:lnTo>
                  <a:lnTo>
                    <a:pt x="5545" y="501"/>
                  </a:lnTo>
                  <a:lnTo>
                    <a:pt x="5558" y="501"/>
                  </a:lnTo>
                  <a:lnTo>
                    <a:pt x="5571" y="500"/>
                  </a:lnTo>
                  <a:lnTo>
                    <a:pt x="5583" y="498"/>
                  </a:lnTo>
                  <a:lnTo>
                    <a:pt x="5595" y="496"/>
                  </a:lnTo>
                  <a:lnTo>
                    <a:pt x="5609" y="493"/>
                  </a:lnTo>
                  <a:lnTo>
                    <a:pt x="5620" y="490"/>
                  </a:lnTo>
                  <a:lnTo>
                    <a:pt x="5632" y="486"/>
                  </a:lnTo>
                  <a:lnTo>
                    <a:pt x="5643" y="481"/>
                  </a:lnTo>
                  <a:lnTo>
                    <a:pt x="5654" y="476"/>
                  </a:lnTo>
                  <a:lnTo>
                    <a:pt x="5665" y="471"/>
                  </a:lnTo>
                  <a:lnTo>
                    <a:pt x="5676" y="465"/>
                  </a:lnTo>
                  <a:lnTo>
                    <a:pt x="5686" y="458"/>
                  </a:lnTo>
                  <a:lnTo>
                    <a:pt x="5696" y="451"/>
                  </a:lnTo>
                  <a:lnTo>
                    <a:pt x="5705" y="444"/>
                  </a:lnTo>
                  <a:lnTo>
                    <a:pt x="5714" y="436"/>
                  </a:lnTo>
                  <a:lnTo>
                    <a:pt x="5723" y="428"/>
                  </a:lnTo>
                  <a:lnTo>
                    <a:pt x="5732" y="419"/>
                  </a:lnTo>
                  <a:lnTo>
                    <a:pt x="5740" y="410"/>
                  </a:lnTo>
                  <a:lnTo>
                    <a:pt x="5747" y="401"/>
                  </a:lnTo>
                  <a:lnTo>
                    <a:pt x="5754" y="391"/>
                  </a:lnTo>
                  <a:lnTo>
                    <a:pt x="5761" y="381"/>
                  </a:lnTo>
                  <a:lnTo>
                    <a:pt x="5767" y="370"/>
                  </a:lnTo>
                  <a:lnTo>
                    <a:pt x="5772" y="359"/>
                  </a:lnTo>
                  <a:lnTo>
                    <a:pt x="5777" y="348"/>
                  </a:lnTo>
                  <a:lnTo>
                    <a:pt x="5782" y="337"/>
                  </a:lnTo>
                  <a:lnTo>
                    <a:pt x="5786" y="325"/>
                  </a:lnTo>
                  <a:lnTo>
                    <a:pt x="5789" y="313"/>
                  </a:lnTo>
                  <a:lnTo>
                    <a:pt x="5792" y="301"/>
                  </a:lnTo>
                  <a:lnTo>
                    <a:pt x="5794" y="289"/>
                  </a:lnTo>
                  <a:lnTo>
                    <a:pt x="5796" y="277"/>
                  </a:lnTo>
                  <a:lnTo>
                    <a:pt x="5797" y="264"/>
                  </a:lnTo>
                  <a:lnTo>
                    <a:pt x="5797" y="251"/>
                  </a:lnTo>
                  <a:lnTo>
                    <a:pt x="5797" y="237"/>
                  </a:lnTo>
                  <a:lnTo>
                    <a:pt x="5796" y="225"/>
                  </a:lnTo>
                  <a:lnTo>
                    <a:pt x="5794" y="212"/>
                  </a:lnTo>
                  <a:lnTo>
                    <a:pt x="5792" y="200"/>
                  </a:lnTo>
                  <a:lnTo>
                    <a:pt x="5789" y="188"/>
                  </a:lnTo>
                  <a:lnTo>
                    <a:pt x="5786" y="176"/>
                  </a:lnTo>
                  <a:lnTo>
                    <a:pt x="5782" y="164"/>
                  </a:lnTo>
                  <a:lnTo>
                    <a:pt x="5777" y="153"/>
                  </a:lnTo>
                  <a:lnTo>
                    <a:pt x="5772" y="142"/>
                  </a:lnTo>
                  <a:lnTo>
                    <a:pt x="5767" y="131"/>
                  </a:lnTo>
                  <a:lnTo>
                    <a:pt x="5761" y="120"/>
                  </a:lnTo>
                  <a:lnTo>
                    <a:pt x="5754" y="110"/>
                  </a:lnTo>
                  <a:lnTo>
                    <a:pt x="5747" y="100"/>
                  </a:lnTo>
                  <a:lnTo>
                    <a:pt x="5740" y="91"/>
                  </a:lnTo>
                  <a:lnTo>
                    <a:pt x="5732" y="82"/>
                  </a:lnTo>
                  <a:lnTo>
                    <a:pt x="5723" y="73"/>
                  </a:lnTo>
                  <a:lnTo>
                    <a:pt x="5714" y="65"/>
                  </a:lnTo>
                  <a:lnTo>
                    <a:pt x="5705" y="57"/>
                  </a:lnTo>
                  <a:lnTo>
                    <a:pt x="5696" y="50"/>
                  </a:lnTo>
                  <a:lnTo>
                    <a:pt x="5686" y="43"/>
                  </a:lnTo>
                  <a:lnTo>
                    <a:pt x="5676" y="36"/>
                  </a:lnTo>
                  <a:lnTo>
                    <a:pt x="5665" y="30"/>
                  </a:lnTo>
                  <a:lnTo>
                    <a:pt x="5654" y="25"/>
                  </a:lnTo>
                  <a:lnTo>
                    <a:pt x="5643" y="20"/>
                  </a:lnTo>
                  <a:lnTo>
                    <a:pt x="5632" y="15"/>
                  </a:lnTo>
                  <a:lnTo>
                    <a:pt x="5620" y="11"/>
                  </a:lnTo>
                  <a:lnTo>
                    <a:pt x="5609" y="8"/>
                  </a:lnTo>
                  <a:lnTo>
                    <a:pt x="5595" y="5"/>
                  </a:lnTo>
                  <a:lnTo>
                    <a:pt x="5583" y="3"/>
                  </a:lnTo>
                  <a:lnTo>
                    <a:pt x="5571" y="1"/>
                  </a:lnTo>
                  <a:lnTo>
                    <a:pt x="5558" y="0"/>
                  </a:lnTo>
                  <a:lnTo>
                    <a:pt x="55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40" name="ïŝľîďé">
              <a:extLst>
                <a:ext uri="{FF2B5EF4-FFF2-40B4-BE49-F238E27FC236}">
                  <a16:creationId xmlns:a16="http://schemas.microsoft.com/office/drawing/2014/main" id="{A1DE24F6-2374-43D3-ADEC-0D04AA6C4829}"/>
                </a:ext>
              </a:extLst>
            </p:cNvPr>
            <p:cNvSpPr/>
            <p:nvPr/>
          </p:nvSpPr>
          <p:spPr bwMode="auto">
            <a:xfrm>
              <a:off x="6275621" y="607715"/>
              <a:ext cx="442853" cy="384957"/>
            </a:xfrm>
            <a:custGeom>
              <a:avLst/>
              <a:gdLst>
                <a:gd name="T0" fmla="*/ 7365 w 16132"/>
                <a:gd name="T1" fmla="*/ 10992 h 14023"/>
                <a:gd name="T2" fmla="*/ 6620 w 16132"/>
                <a:gd name="T3" fmla="*/ 10910 h 14023"/>
                <a:gd name="T4" fmla="*/ 6344 w 16132"/>
                <a:gd name="T5" fmla="*/ 10917 h 14023"/>
                <a:gd name="T6" fmla="*/ 6106 w 16132"/>
                <a:gd name="T7" fmla="*/ 10988 h 14023"/>
                <a:gd name="T8" fmla="*/ 5892 w 16132"/>
                <a:gd name="T9" fmla="*/ 11114 h 14023"/>
                <a:gd name="T10" fmla="*/ 5710 w 16132"/>
                <a:gd name="T11" fmla="*/ 11296 h 14023"/>
                <a:gd name="T12" fmla="*/ 5336 w 16132"/>
                <a:gd name="T13" fmla="*/ 11674 h 14023"/>
                <a:gd name="T14" fmla="*/ 4873 w 16132"/>
                <a:gd name="T15" fmla="*/ 12065 h 14023"/>
                <a:gd name="T16" fmla="*/ 4310 w 16132"/>
                <a:gd name="T17" fmla="*/ 12459 h 14023"/>
                <a:gd name="T18" fmla="*/ 4388 w 16132"/>
                <a:gd name="T19" fmla="*/ 11971 h 14023"/>
                <a:gd name="T20" fmla="*/ 4488 w 16132"/>
                <a:gd name="T21" fmla="*/ 11553 h 14023"/>
                <a:gd name="T22" fmla="*/ 4535 w 16132"/>
                <a:gd name="T23" fmla="*/ 11121 h 14023"/>
                <a:gd name="T24" fmla="*/ 4531 w 16132"/>
                <a:gd name="T25" fmla="*/ 10842 h 14023"/>
                <a:gd name="T26" fmla="*/ 4442 w 16132"/>
                <a:gd name="T27" fmla="*/ 10547 h 14023"/>
                <a:gd name="T28" fmla="*/ 4269 w 16132"/>
                <a:gd name="T29" fmla="*/ 10296 h 14023"/>
                <a:gd name="T30" fmla="*/ 4023 w 16132"/>
                <a:gd name="T31" fmla="*/ 10106 h 14023"/>
                <a:gd name="T32" fmla="*/ 2737 w 16132"/>
                <a:gd name="T33" fmla="*/ 9277 h 14023"/>
                <a:gd name="T34" fmla="*/ 1706 w 16132"/>
                <a:gd name="T35" fmla="*/ 8163 h 14023"/>
                <a:gd name="T36" fmla="*/ 1123 w 16132"/>
                <a:gd name="T37" fmla="*/ 6901 h 14023"/>
                <a:gd name="T38" fmla="*/ 1090 w 16132"/>
                <a:gd name="T39" fmla="*/ 5248 h 14023"/>
                <a:gd name="T40" fmla="*/ 2215 w 16132"/>
                <a:gd name="T41" fmla="*/ 3211 h 14023"/>
                <a:gd name="T42" fmla="*/ 4409 w 16132"/>
                <a:gd name="T43" fmla="*/ 1728 h 14023"/>
                <a:gd name="T44" fmla="*/ 7345 w 16132"/>
                <a:gd name="T45" fmla="*/ 1028 h 14023"/>
                <a:gd name="T46" fmla="*/ 10490 w 16132"/>
                <a:gd name="T47" fmla="*/ 1306 h 14023"/>
                <a:gd name="T48" fmla="*/ 13054 w 16132"/>
                <a:gd name="T49" fmla="*/ 2470 h 14023"/>
                <a:gd name="T50" fmla="*/ 14695 w 16132"/>
                <a:gd name="T51" fmla="*/ 4290 h 14023"/>
                <a:gd name="T52" fmla="*/ 15087 w 16132"/>
                <a:gd name="T53" fmla="*/ 6521 h 14023"/>
                <a:gd name="T54" fmla="*/ 14100 w 16132"/>
                <a:gd name="T55" fmla="*/ 8605 h 14023"/>
                <a:gd name="T56" fmla="*/ 12009 w 16132"/>
                <a:gd name="T57" fmla="*/ 10162 h 14023"/>
                <a:gd name="T58" fmla="*/ 9140 w 16132"/>
                <a:gd name="T59" fmla="*/ 10960 h 14023"/>
                <a:gd name="T60" fmla="*/ 6051 w 16132"/>
                <a:gd name="T61" fmla="*/ 189 h 14023"/>
                <a:gd name="T62" fmla="*/ 2935 w 16132"/>
                <a:gd name="T63" fmla="*/ 1372 h 14023"/>
                <a:gd name="T64" fmla="*/ 796 w 16132"/>
                <a:gd name="T65" fmla="*/ 3405 h 14023"/>
                <a:gd name="T66" fmla="*/ 0 w 16132"/>
                <a:gd name="T67" fmla="*/ 6010 h 14023"/>
                <a:gd name="T68" fmla="*/ 318 w 16132"/>
                <a:gd name="T69" fmla="*/ 7685 h 14023"/>
                <a:gd name="T70" fmla="*/ 1211 w 16132"/>
                <a:gd name="T71" fmla="*/ 9177 h 14023"/>
                <a:gd name="T72" fmla="*/ 2590 w 16132"/>
                <a:gd name="T73" fmla="*/ 10421 h 14023"/>
                <a:gd name="T74" fmla="*/ 3529 w 16132"/>
                <a:gd name="T75" fmla="*/ 11018 h 14023"/>
                <a:gd name="T76" fmla="*/ 3392 w 16132"/>
                <a:gd name="T77" fmla="*/ 11780 h 14023"/>
                <a:gd name="T78" fmla="*/ 3075 w 16132"/>
                <a:gd name="T79" fmla="*/ 12505 h 14023"/>
                <a:gd name="T80" fmla="*/ 2616 w 16132"/>
                <a:gd name="T81" fmla="*/ 13290 h 14023"/>
                <a:gd name="T82" fmla="*/ 2522 w 16132"/>
                <a:gd name="T83" fmla="*/ 13545 h 14023"/>
                <a:gd name="T84" fmla="*/ 2556 w 16132"/>
                <a:gd name="T85" fmla="*/ 13746 h 14023"/>
                <a:gd name="T86" fmla="*/ 2670 w 16132"/>
                <a:gd name="T87" fmla="*/ 13905 h 14023"/>
                <a:gd name="T88" fmla="*/ 2841 w 16132"/>
                <a:gd name="T89" fmla="*/ 14003 h 14023"/>
                <a:gd name="T90" fmla="*/ 3078 w 16132"/>
                <a:gd name="T91" fmla="*/ 14016 h 14023"/>
                <a:gd name="T92" fmla="*/ 3690 w 16132"/>
                <a:gd name="T93" fmla="*/ 13870 h 14023"/>
                <a:gd name="T94" fmla="*/ 4910 w 16132"/>
                <a:gd name="T95" fmla="*/ 13267 h 14023"/>
                <a:gd name="T96" fmla="*/ 5885 w 16132"/>
                <a:gd name="T97" fmla="*/ 12528 h 14023"/>
                <a:gd name="T98" fmla="*/ 6475 w 16132"/>
                <a:gd name="T99" fmla="*/ 11947 h 14023"/>
                <a:gd name="T100" fmla="*/ 7278 w 16132"/>
                <a:gd name="T101" fmla="*/ 11990 h 14023"/>
                <a:gd name="T102" fmla="*/ 8481 w 16132"/>
                <a:gd name="T103" fmla="*/ 12012 h 14023"/>
                <a:gd name="T104" fmla="*/ 11910 w 16132"/>
                <a:gd name="T105" fmla="*/ 11295 h 14023"/>
                <a:gd name="T106" fmla="*/ 14530 w 16132"/>
                <a:gd name="T107" fmla="*/ 9606 h 14023"/>
                <a:gd name="T108" fmla="*/ 15968 w 16132"/>
                <a:gd name="T109" fmla="*/ 7221 h 14023"/>
                <a:gd name="T110" fmla="*/ 15878 w 16132"/>
                <a:gd name="T111" fmla="*/ 4508 h 14023"/>
                <a:gd name="T112" fmla="*/ 14290 w 16132"/>
                <a:gd name="T113" fmla="*/ 2188 h 14023"/>
                <a:gd name="T114" fmla="*/ 11563 w 16132"/>
                <a:gd name="T115" fmla="*/ 593 h 14023"/>
                <a:gd name="T116" fmla="*/ 8066 w 16132"/>
                <a:gd name="T117" fmla="*/ 0 h 14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132" h="14023">
                  <a:moveTo>
                    <a:pt x="8066" y="11018"/>
                  </a:moveTo>
                  <a:lnTo>
                    <a:pt x="7979" y="11018"/>
                  </a:lnTo>
                  <a:lnTo>
                    <a:pt x="7893" y="11016"/>
                  </a:lnTo>
                  <a:lnTo>
                    <a:pt x="7805" y="11014"/>
                  </a:lnTo>
                  <a:lnTo>
                    <a:pt x="7717" y="11012"/>
                  </a:lnTo>
                  <a:lnTo>
                    <a:pt x="7629" y="11008"/>
                  </a:lnTo>
                  <a:lnTo>
                    <a:pt x="7542" y="11003"/>
                  </a:lnTo>
                  <a:lnTo>
                    <a:pt x="7454" y="10998"/>
                  </a:lnTo>
                  <a:lnTo>
                    <a:pt x="7365" y="10992"/>
                  </a:lnTo>
                  <a:lnTo>
                    <a:pt x="7278" y="10985"/>
                  </a:lnTo>
                  <a:lnTo>
                    <a:pt x="7189" y="10978"/>
                  </a:lnTo>
                  <a:lnTo>
                    <a:pt x="7100" y="10969"/>
                  </a:lnTo>
                  <a:lnTo>
                    <a:pt x="7011" y="10960"/>
                  </a:lnTo>
                  <a:lnTo>
                    <a:pt x="6923" y="10950"/>
                  </a:lnTo>
                  <a:lnTo>
                    <a:pt x="6834" y="10939"/>
                  </a:lnTo>
                  <a:lnTo>
                    <a:pt x="6745" y="10927"/>
                  </a:lnTo>
                  <a:lnTo>
                    <a:pt x="6656" y="10914"/>
                  </a:lnTo>
                  <a:lnTo>
                    <a:pt x="6620" y="10910"/>
                  </a:lnTo>
                  <a:lnTo>
                    <a:pt x="6583" y="10906"/>
                  </a:lnTo>
                  <a:lnTo>
                    <a:pt x="6547" y="10904"/>
                  </a:lnTo>
                  <a:lnTo>
                    <a:pt x="6510" y="10903"/>
                  </a:lnTo>
                  <a:lnTo>
                    <a:pt x="6482" y="10904"/>
                  </a:lnTo>
                  <a:lnTo>
                    <a:pt x="6455" y="10905"/>
                  </a:lnTo>
                  <a:lnTo>
                    <a:pt x="6427" y="10907"/>
                  </a:lnTo>
                  <a:lnTo>
                    <a:pt x="6398" y="10910"/>
                  </a:lnTo>
                  <a:lnTo>
                    <a:pt x="6371" y="10913"/>
                  </a:lnTo>
                  <a:lnTo>
                    <a:pt x="6344" y="10917"/>
                  </a:lnTo>
                  <a:lnTo>
                    <a:pt x="6317" y="10922"/>
                  </a:lnTo>
                  <a:lnTo>
                    <a:pt x="6289" y="10928"/>
                  </a:lnTo>
                  <a:lnTo>
                    <a:pt x="6262" y="10934"/>
                  </a:lnTo>
                  <a:lnTo>
                    <a:pt x="6236" y="10941"/>
                  </a:lnTo>
                  <a:lnTo>
                    <a:pt x="6210" y="10949"/>
                  </a:lnTo>
                  <a:lnTo>
                    <a:pt x="6183" y="10958"/>
                  </a:lnTo>
                  <a:lnTo>
                    <a:pt x="6157" y="10967"/>
                  </a:lnTo>
                  <a:lnTo>
                    <a:pt x="6131" y="10977"/>
                  </a:lnTo>
                  <a:lnTo>
                    <a:pt x="6106" y="10988"/>
                  </a:lnTo>
                  <a:lnTo>
                    <a:pt x="6081" y="10999"/>
                  </a:lnTo>
                  <a:lnTo>
                    <a:pt x="6056" y="11011"/>
                  </a:lnTo>
                  <a:lnTo>
                    <a:pt x="6031" y="11024"/>
                  </a:lnTo>
                  <a:lnTo>
                    <a:pt x="6007" y="11037"/>
                  </a:lnTo>
                  <a:lnTo>
                    <a:pt x="5983" y="11051"/>
                  </a:lnTo>
                  <a:lnTo>
                    <a:pt x="5960" y="11066"/>
                  </a:lnTo>
                  <a:lnTo>
                    <a:pt x="5937" y="11081"/>
                  </a:lnTo>
                  <a:lnTo>
                    <a:pt x="5914" y="11097"/>
                  </a:lnTo>
                  <a:lnTo>
                    <a:pt x="5892" y="11114"/>
                  </a:lnTo>
                  <a:lnTo>
                    <a:pt x="5870" y="11131"/>
                  </a:lnTo>
                  <a:lnTo>
                    <a:pt x="5849" y="11149"/>
                  </a:lnTo>
                  <a:lnTo>
                    <a:pt x="5828" y="11167"/>
                  </a:lnTo>
                  <a:lnTo>
                    <a:pt x="5808" y="11187"/>
                  </a:lnTo>
                  <a:lnTo>
                    <a:pt x="5787" y="11206"/>
                  </a:lnTo>
                  <a:lnTo>
                    <a:pt x="5768" y="11227"/>
                  </a:lnTo>
                  <a:lnTo>
                    <a:pt x="5749" y="11248"/>
                  </a:lnTo>
                  <a:lnTo>
                    <a:pt x="5731" y="11269"/>
                  </a:lnTo>
                  <a:lnTo>
                    <a:pt x="5710" y="11296"/>
                  </a:lnTo>
                  <a:lnTo>
                    <a:pt x="5686" y="11323"/>
                  </a:lnTo>
                  <a:lnTo>
                    <a:pt x="5660" y="11352"/>
                  </a:lnTo>
                  <a:lnTo>
                    <a:pt x="5632" y="11382"/>
                  </a:lnTo>
                  <a:lnTo>
                    <a:pt x="5570" y="11448"/>
                  </a:lnTo>
                  <a:lnTo>
                    <a:pt x="5499" y="11518"/>
                  </a:lnTo>
                  <a:lnTo>
                    <a:pt x="5461" y="11556"/>
                  </a:lnTo>
                  <a:lnTo>
                    <a:pt x="5420" y="11594"/>
                  </a:lnTo>
                  <a:lnTo>
                    <a:pt x="5379" y="11633"/>
                  </a:lnTo>
                  <a:lnTo>
                    <a:pt x="5336" y="11674"/>
                  </a:lnTo>
                  <a:lnTo>
                    <a:pt x="5290" y="11715"/>
                  </a:lnTo>
                  <a:lnTo>
                    <a:pt x="5243" y="11757"/>
                  </a:lnTo>
                  <a:lnTo>
                    <a:pt x="5195" y="11799"/>
                  </a:lnTo>
                  <a:lnTo>
                    <a:pt x="5145" y="11842"/>
                  </a:lnTo>
                  <a:lnTo>
                    <a:pt x="5093" y="11886"/>
                  </a:lnTo>
                  <a:lnTo>
                    <a:pt x="5040" y="11931"/>
                  </a:lnTo>
                  <a:lnTo>
                    <a:pt x="4986" y="11975"/>
                  </a:lnTo>
                  <a:lnTo>
                    <a:pt x="4930" y="12020"/>
                  </a:lnTo>
                  <a:lnTo>
                    <a:pt x="4873" y="12065"/>
                  </a:lnTo>
                  <a:lnTo>
                    <a:pt x="4814" y="12109"/>
                  </a:lnTo>
                  <a:lnTo>
                    <a:pt x="4755" y="12154"/>
                  </a:lnTo>
                  <a:lnTo>
                    <a:pt x="4694" y="12199"/>
                  </a:lnTo>
                  <a:lnTo>
                    <a:pt x="4633" y="12243"/>
                  </a:lnTo>
                  <a:lnTo>
                    <a:pt x="4570" y="12287"/>
                  </a:lnTo>
                  <a:lnTo>
                    <a:pt x="4507" y="12331"/>
                  </a:lnTo>
                  <a:lnTo>
                    <a:pt x="4442" y="12374"/>
                  </a:lnTo>
                  <a:lnTo>
                    <a:pt x="4377" y="12417"/>
                  </a:lnTo>
                  <a:lnTo>
                    <a:pt x="4310" y="12459"/>
                  </a:lnTo>
                  <a:lnTo>
                    <a:pt x="4244" y="12501"/>
                  </a:lnTo>
                  <a:lnTo>
                    <a:pt x="4176" y="12542"/>
                  </a:lnTo>
                  <a:lnTo>
                    <a:pt x="4212" y="12456"/>
                  </a:lnTo>
                  <a:lnTo>
                    <a:pt x="4248" y="12371"/>
                  </a:lnTo>
                  <a:lnTo>
                    <a:pt x="4281" y="12284"/>
                  </a:lnTo>
                  <a:lnTo>
                    <a:pt x="4313" y="12196"/>
                  </a:lnTo>
                  <a:lnTo>
                    <a:pt x="4345" y="12107"/>
                  </a:lnTo>
                  <a:lnTo>
                    <a:pt x="4374" y="12017"/>
                  </a:lnTo>
                  <a:lnTo>
                    <a:pt x="4388" y="11971"/>
                  </a:lnTo>
                  <a:lnTo>
                    <a:pt x="4401" y="11926"/>
                  </a:lnTo>
                  <a:lnTo>
                    <a:pt x="4414" y="11879"/>
                  </a:lnTo>
                  <a:lnTo>
                    <a:pt x="4426" y="11833"/>
                  </a:lnTo>
                  <a:lnTo>
                    <a:pt x="4438" y="11787"/>
                  </a:lnTo>
                  <a:lnTo>
                    <a:pt x="4449" y="11740"/>
                  </a:lnTo>
                  <a:lnTo>
                    <a:pt x="4459" y="11694"/>
                  </a:lnTo>
                  <a:lnTo>
                    <a:pt x="4470" y="11647"/>
                  </a:lnTo>
                  <a:lnTo>
                    <a:pt x="4480" y="11600"/>
                  </a:lnTo>
                  <a:lnTo>
                    <a:pt x="4488" y="11553"/>
                  </a:lnTo>
                  <a:lnTo>
                    <a:pt x="4496" y="11506"/>
                  </a:lnTo>
                  <a:lnTo>
                    <a:pt x="4504" y="11458"/>
                  </a:lnTo>
                  <a:lnTo>
                    <a:pt x="4510" y="11411"/>
                  </a:lnTo>
                  <a:lnTo>
                    <a:pt x="4516" y="11363"/>
                  </a:lnTo>
                  <a:lnTo>
                    <a:pt x="4522" y="11315"/>
                  </a:lnTo>
                  <a:lnTo>
                    <a:pt x="4526" y="11266"/>
                  </a:lnTo>
                  <a:lnTo>
                    <a:pt x="4530" y="11218"/>
                  </a:lnTo>
                  <a:lnTo>
                    <a:pt x="4533" y="11170"/>
                  </a:lnTo>
                  <a:lnTo>
                    <a:pt x="4535" y="11121"/>
                  </a:lnTo>
                  <a:lnTo>
                    <a:pt x="4537" y="11073"/>
                  </a:lnTo>
                  <a:lnTo>
                    <a:pt x="4538" y="11049"/>
                  </a:lnTo>
                  <a:lnTo>
                    <a:pt x="4540" y="11025"/>
                  </a:lnTo>
                  <a:lnTo>
                    <a:pt x="4541" y="11002"/>
                  </a:lnTo>
                  <a:lnTo>
                    <a:pt x="4541" y="10981"/>
                  </a:lnTo>
                  <a:lnTo>
                    <a:pt x="4540" y="10946"/>
                  </a:lnTo>
                  <a:lnTo>
                    <a:pt x="4539" y="10911"/>
                  </a:lnTo>
                  <a:lnTo>
                    <a:pt x="4536" y="10876"/>
                  </a:lnTo>
                  <a:lnTo>
                    <a:pt x="4531" y="10842"/>
                  </a:lnTo>
                  <a:lnTo>
                    <a:pt x="4526" y="10808"/>
                  </a:lnTo>
                  <a:lnTo>
                    <a:pt x="4519" y="10774"/>
                  </a:lnTo>
                  <a:lnTo>
                    <a:pt x="4512" y="10741"/>
                  </a:lnTo>
                  <a:lnTo>
                    <a:pt x="4503" y="10707"/>
                  </a:lnTo>
                  <a:lnTo>
                    <a:pt x="4493" y="10675"/>
                  </a:lnTo>
                  <a:lnTo>
                    <a:pt x="4482" y="10641"/>
                  </a:lnTo>
                  <a:lnTo>
                    <a:pt x="4470" y="10610"/>
                  </a:lnTo>
                  <a:lnTo>
                    <a:pt x="4456" y="10578"/>
                  </a:lnTo>
                  <a:lnTo>
                    <a:pt x="4442" y="10547"/>
                  </a:lnTo>
                  <a:lnTo>
                    <a:pt x="4426" y="10517"/>
                  </a:lnTo>
                  <a:lnTo>
                    <a:pt x="4410" y="10487"/>
                  </a:lnTo>
                  <a:lnTo>
                    <a:pt x="4393" y="10458"/>
                  </a:lnTo>
                  <a:lnTo>
                    <a:pt x="4375" y="10429"/>
                  </a:lnTo>
                  <a:lnTo>
                    <a:pt x="4356" y="10401"/>
                  </a:lnTo>
                  <a:lnTo>
                    <a:pt x="4334" y="10374"/>
                  </a:lnTo>
                  <a:lnTo>
                    <a:pt x="4313" y="10347"/>
                  </a:lnTo>
                  <a:lnTo>
                    <a:pt x="4291" y="10321"/>
                  </a:lnTo>
                  <a:lnTo>
                    <a:pt x="4269" y="10296"/>
                  </a:lnTo>
                  <a:lnTo>
                    <a:pt x="4245" y="10271"/>
                  </a:lnTo>
                  <a:lnTo>
                    <a:pt x="4220" y="10248"/>
                  </a:lnTo>
                  <a:lnTo>
                    <a:pt x="4194" y="10225"/>
                  </a:lnTo>
                  <a:lnTo>
                    <a:pt x="4168" y="10203"/>
                  </a:lnTo>
                  <a:lnTo>
                    <a:pt x="4140" y="10182"/>
                  </a:lnTo>
                  <a:lnTo>
                    <a:pt x="4112" y="10161"/>
                  </a:lnTo>
                  <a:lnTo>
                    <a:pt x="4083" y="10142"/>
                  </a:lnTo>
                  <a:lnTo>
                    <a:pt x="4053" y="10123"/>
                  </a:lnTo>
                  <a:lnTo>
                    <a:pt x="4023" y="10106"/>
                  </a:lnTo>
                  <a:lnTo>
                    <a:pt x="3992" y="10089"/>
                  </a:lnTo>
                  <a:lnTo>
                    <a:pt x="3819" y="9998"/>
                  </a:lnTo>
                  <a:lnTo>
                    <a:pt x="3650" y="9904"/>
                  </a:lnTo>
                  <a:lnTo>
                    <a:pt x="3487" y="9807"/>
                  </a:lnTo>
                  <a:lnTo>
                    <a:pt x="3327" y="9707"/>
                  </a:lnTo>
                  <a:lnTo>
                    <a:pt x="3173" y="9604"/>
                  </a:lnTo>
                  <a:lnTo>
                    <a:pt x="3023" y="9499"/>
                  </a:lnTo>
                  <a:lnTo>
                    <a:pt x="2878" y="9389"/>
                  </a:lnTo>
                  <a:lnTo>
                    <a:pt x="2737" y="9277"/>
                  </a:lnTo>
                  <a:lnTo>
                    <a:pt x="2602" y="9163"/>
                  </a:lnTo>
                  <a:lnTo>
                    <a:pt x="2472" y="9046"/>
                  </a:lnTo>
                  <a:lnTo>
                    <a:pt x="2346" y="8927"/>
                  </a:lnTo>
                  <a:lnTo>
                    <a:pt x="2226" y="8805"/>
                  </a:lnTo>
                  <a:lnTo>
                    <a:pt x="2112" y="8681"/>
                  </a:lnTo>
                  <a:lnTo>
                    <a:pt x="2002" y="8555"/>
                  </a:lnTo>
                  <a:lnTo>
                    <a:pt x="1899" y="8427"/>
                  </a:lnTo>
                  <a:lnTo>
                    <a:pt x="1800" y="8297"/>
                  </a:lnTo>
                  <a:lnTo>
                    <a:pt x="1706" y="8163"/>
                  </a:lnTo>
                  <a:lnTo>
                    <a:pt x="1618" y="8030"/>
                  </a:lnTo>
                  <a:lnTo>
                    <a:pt x="1537" y="7894"/>
                  </a:lnTo>
                  <a:lnTo>
                    <a:pt x="1460" y="7757"/>
                  </a:lnTo>
                  <a:lnTo>
                    <a:pt x="1388" y="7617"/>
                  </a:lnTo>
                  <a:lnTo>
                    <a:pt x="1324" y="7476"/>
                  </a:lnTo>
                  <a:lnTo>
                    <a:pt x="1264" y="7335"/>
                  </a:lnTo>
                  <a:lnTo>
                    <a:pt x="1212" y="7192"/>
                  </a:lnTo>
                  <a:lnTo>
                    <a:pt x="1165" y="7047"/>
                  </a:lnTo>
                  <a:lnTo>
                    <a:pt x="1123" y="6901"/>
                  </a:lnTo>
                  <a:lnTo>
                    <a:pt x="1089" y="6755"/>
                  </a:lnTo>
                  <a:lnTo>
                    <a:pt x="1060" y="6608"/>
                  </a:lnTo>
                  <a:lnTo>
                    <a:pt x="1037" y="6459"/>
                  </a:lnTo>
                  <a:lnTo>
                    <a:pt x="1021" y="6309"/>
                  </a:lnTo>
                  <a:lnTo>
                    <a:pt x="1011" y="6160"/>
                  </a:lnTo>
                  <a:lnTo>
                    <a:pt x="1008" y="6010"/>
                  </a:lnTo>
                  <a:lnTo>
                    <a:pt x="1017" y="5752"/>
                  </a:lnTo>
                  <a:lnTo>
                    <a:pt x="1045" y="5498"/>
                  </a:lnTo>
                  <a:lnTo>
                    <a:pt x="1090" y="5248"/>
                  </a:lnTo>
                  <a:lnTo>
                    <a:pt x="1151" y="5002"/>
                  </a:lnTo>
                  <a:lnTo>
                    <a:pt x="1231" y="4760"/>
                  </a:lnTo>
                  <a:lnTo>
                    <a:pt x="1326" y="4522"/>
                  </a:lnTo>
                  <a:lnTo>
                    <a:pt x="1437" y="4290"/>
                  </a:lnTo>
                  <a:lnTo>
                    <a:pt x="1564" y="4063"/>
                  </a:lnTo>
                  <a:lnTo>
                    <a:pt x="1705" y="3840"/>
                  </a:lnTo>
                  <a:lnTo>
                    <a:pt x="1861" y="3625"/>
                  </a:lnTo>
                  <a:lnTo>
                    <a:pt x="2032" y="3415"/>
                  </a:lnTo>
                  <a:lnTo>
                    <a:pt x="2215" y="3211"/>
                  </a:lnTo>
                  <a:lnTo>
                    <a:pt x="2412" y="3015"/>
                  </a:lnTo>
                  <a:lnTo>
                    <a:pt x="2621" y="2826"/>
                  </a:lnTo>
                  <a:lnTo>
                    <a:pt x="2844" y="2644"/>
                  </a:lnTo>
                  <a:lnTo>
                    <a:pt x="3078" y="2470"/>
                  </a:lnTo>
                  <a:lnTo>
                    <a:pt x="3323" y="2304"/>
                  </a:lnTo>
                  <a:lnTo>
                    <a:pt x="3579" y="2147"/>
                  </a:lnTo>
                  <a:lnTo>
                    <a:pt x="3845" y="1998"/>
                  </a:lnTo>
                  <a:lnTo>
                    <a:pt x="4123" y="1858"/>
                  </a:lnTo>
                  <a:lnTo>
                    <a:pt x="4409" y="1728"/>
                  </a:lnTo>
                  <a:lnTo>
                    <a:pt x="4704" y="1607"/>
                  </a:lnTo>
                  <a:lnTo>
                    <a:pt x="5009" y="1496"/>
                  </a:lnTo>
                  <a:lnTo>
                    <a:pt x="5322" y="1395"/>
                  </a:lnTo>
                  <a:lnTo>
                    <a:pt x="5642" y="1306"/>
                  </a:lnTo>
                  <a:lnTo>
                    <a:pt x="5970" y="1227"/>
                  </a:lnTo>
                  <a:lnTo>
                    <a:pt x="6305" y="1160"/>
                  </a:lnTo>
                  <a:lnTo>
                    <a:pt x="6645" y="1104"/>
                  </a:lnTo>
                  <a:lnTo>
                    <a:pt x="6992" y="1060"/>
                  </a:lnTo>
                  <a:lnTo>
                    <a:pt x="7345" y="1028"/>
                  </a:lnTo>
                  <a:lnTo>
                    <a:pt x="7703" y="1008"/>
                  </a:lnTo>
                  <a:lnTo>
                    <a:pt x="8066" y="1002"/>
                  </a:lnTo>
                  <a:lnTo>
                    <a:pt x="8429" y="1008"/>
                  </a:lnTo>
                  <a:lnTo>
                    <a:pt x="8787" y="1028"/>
                  </a:lnTo>
                  <a:lnTo>
                    <a:pt x="9140" y="1060"/>
                  </a:lnTo>
                  <a:lnTo>
                    <a:pt x="9487" y="1104"/>
                  </a:lnTo>
                  <a:lnTo>
                    <a:pt x="9827" y="1160"/>
                  </a:lnTo>
                  <a:lnTo>
                    <a:pt x="10162" y="1227"/>
                  </a:lnTo>
                  <a:lnTo>
                    <a:pt x="10490" y="1306"/>
                  </a:lnTo>
                  <a:lnTo>
                    <a:pt x="10810" y="1395"/>
                  </a:lnTo>
                  <a:lnTo>
                    <a:pt x="11123" y="1496"/>
                  </a:lnTo>
                  <a:lnTo>
                    <a:pt x="11428" y="1607"/>
                  </a:lnTo>
                  <a:lnTo>
                    <a:pt x="11723" y="1728"/>
                  </a:lnTo>
                  <a:lnTo>
                    <a:pt x="12009" y="1858"/>
                  </a:lnTo>
                  <a:lnTo>
                    <a:pt x="12287" y="1998"/>
                  </a:lnTo>
                  <a:lnTo>
                    <a:pt x="12553" y="2147"/>
                  </a:lnTo>
                  <a:lnTo>
                    <a:pt x="12809" y="2304"/>
                  </a:lnTo>
                  <a:lnTo>
                    <a:pt x="13054" y="2470"/>
                  </a:lnTo>
                  <a:lnTo>
                    <a:pt x="13288" y="2644"/>
                  </a:lnTo>
                  <a:lnTo>
                    <a:pt x="13511" y="2826"/>
                  </a:lnTo>
                  <a:lnTo>
                    <a:pt x="13720" y="3015"/>
                  </a:lnTo>
                  <a:lnTo>
                    <a:pt x="13917" y="3211"/>
                  </a:lnTo>
                  <a:lnTo>
                    <a:pt x="14100" y="3415"/>
                  </a:lnTo>
                  <a:lnTo>
                    <a:pt x="14271" y="3625"/>
                  </a:lnTo>
                  <a:lnTo>
                    <a:pt x="14427" y="3840"/>
                  </a:lnTo>
                  <a:lnTo>
                    <a:pt x="14568" y="4063"/>
                  </a:lnTo>
                  <a:lnTo>
                    <a:pt x="14695" y="4290"/>
                  </a:lnTo>
                  <a:lnTo>
                    <a:pt x="14806" y="4522"/>
                  </a:lnTo>
                  <a:lnTo>
                    <a:pt x="14901" y="4760"/>
                  </a:lnTo>
                  <a:lnTo>
                    <a:pt x="14981" y="5002"/>
                  </a:lnTo>
                  <a:lnTo>
                    <a:pt x="15042" y="5248"/>
                  </a:lnTo>
                  <a:lnTo>
                    <a:pt x="15087" y="5498"/>
                  </a:lnTo>
                  <a:lnTo>
                    <a:pt x="15115" y="5752"/>
                  </a:lnTo>
                  <a:lnTo>
                    <a:pt x="15124" y="6010"/>
                  </a:lnTo>
                  <a:lnTo>
                    <a:pt x="15115" y="6267"/>
                  </a:lnTo>
                  <a:lnTo>
                    <a:pt x="15087" y="6521"/>
                  </a:lnTo>
                  <a:lnTo>
                    <a:pt x="15042" y="6771"/>
                  </a:lnTo>
                  <a:lnTo>
                    <a:pt x="14981" y="7018"/>
                  </a:lnTo>
                  <a:lnTo>
                    <a:pt x="14901" y="7260"/>
                  </a:lnTo>
                  <a:lnTo>
                    <a:pt x="14806" y="7497"/>
                  </a:lnTo>
                  <a:lnTo>
                    <a:pt x="14695" y="7730"/>
                  </a:lnTo>
                  <a:lnTo>
                    <a:pt x="14568" y="7957"/>
                  </a:lnTo>
                  <a:lnTo>
                    <a:pt x="14427" y="8179"/>
                  </a:lnTo>
                  <a:lnTo>
                    <a:pt x="14271" y="8395"/>
                  </a:lnTo>
                  <a:lnTo>
                    <a:pt x="14100" y="8605"/>
                  </a:lnTo>
                  <a:lnTo>
                    <a:pt x="13917" y="8807"/>
                  </a:lnTo>
                  <a:lnTo>
                    <a:pt x="13720" y="9005"/>
                  </a:lnTo>
                  <a:lnTo>
                    <a:pt x="13511" y="9194"/>
                  </a:lnTo>
                  <a:lnTo>
                    <a:pt x="13288" y="9375"/>
                  </a:lnTo>
                  <a:lnTo>
                    <a:pt x="13054" y="9550"/>
                  </a:lnTo>
                  <a:lnTo>
                    <a:pt x="12809" y="9715"/>
                  </a:lnTo>
                  <a:lnTo>
                    <a:pt x="12553" y="9873"/>
                  </a:lnTo>
                  <a:lnTo>
                    <a:pt x="12287" y="10021"/>
                  </a:lnTo>
                  <a:lnTo>
                    <a:pt x="12009" y="10162"/>
                  </a:lnTo>
                  <a:lnTo>
                    <a:pt x="11723" y="10292"/>
                  </a:lnTo>
                  <a:lnTo>
                    <a:pt x="11428" y="10413"/>
                  </a:lnTo>
                  <a:lnTo>
                    <a:pt x="11123" y="10523"/>
                  </a:lnTo>
                  <a:lnTo>
                    <a:pt x="10810" y="10623"/>
                  </a:lnTo>
                  <a:lnTo>
                    <a:pt x="10490" y="10714"/>
                  </a:lnTo>
                  <a:lnTo>
                    <a:pt x="10162" y="10793"/>
                  </a:lnTo>
                  <a:lnTo>
                    <a:pt x="9827" y="10860"/>
                  </a:lnTo>
                  <a:lnTo>
                    <a:pt x="9487" y="10916"/>
                  </a:lnTo>
                  <a:lnTo>
                    <a:pt x="9140" y="10960"/>
                  </a:lnTo>
                  <a:lnTo>
                    <a:pt x="8787" y="10992"/>
                  </a:lnTo>
                  <a:lnTo>
                    <a:pt x="8429" y="11011"/>
                  </a:lnTo>
                  <a:lnTo>
                    <a:pt x="8066" y="11018"/>
                  </a:lnTo>
                  <a:close/>
                  <a:moveTo>
                    <a:pt x="8066" y="0"/>
                  </a:moveTo>
                  <a:lnTo>
                    <a:pt x="7651" y="8"/>
                  </a:lnTo>
                  <a:lnTo>
                    <a:pt x="7241" y="31"/>
                  </a:lnTo>
                  <a:lnTo>
                    <a:pt x="6838" y="69"/>
                  </a:lnTo>
                  <a:lnTo>
                    <a:pt x="6441" y="122"/>
                  </a:lnTo>
                  <a:lnTo>
                    <a:pt x="6051" y="189"/>
                  </a:lnTo>
                  <a:lnTo>
                    <a:pt x="5667" y="270"/>
                  </a:lnTo>
                  <a:lnTo>
                    <a:pt x="5292" y="365"/>
                  </a:lnTo>
                  <a:lnTo>
                    <a:pt x="4926" y="473"/>
                  </a:lnTo>
                  <a:lnTo>
                    <a:pt x="4569" y="593"/>
                  </a:lnTo>
                  <a:lnTo>
                    <a:pt x="4222" y="725"/>
                  </a:lnTo>
                  <a:lnTo>
                    <a:pt x="3884" y="870"/>
                  </a:lnTo>
                  <a:lnTo>
                    <a:pt x="3556" y="1027"/>
                  </a:lnTo>
                  <a:lnTo>
                    <a:pt x="3240" y="1194"/>
                  </a:lnTo>
                  <a:lnTo>
                    <a:pt x="2935" y="1372"/>
                  </a:lnTo>
                  <a:lnTo>
                    <a:pt x="2643" y="1562"/>
                  </a:lnTo>
                  <a:lnTo>
                    <a:pt x="2362" y="1760"/>
                  </a:lnTo>
                  <a:lnTo>
                    <a:pt x="2095" y="1969"/>
                  </a:lnTo>
                  <a:lnTo>
                    <a:pt x="1842" y="2188"/>
                  </a:lnTo>
                  <a:lnTo>
                    <a:pt x="1602" y="2414"/>
                  </a:lnTo>
                  <a:lnTo>
                    <a:pt x="1377" y="2649"/>
                  </a:lnTo>
                  <a:lnTo>
                    <a:pt x="1168" y="2894"/>
                  </a:lnTo>
                  <a:lnTo>
                    <a:pt x="974" y="3145"/>
                  </a:lnTo>
                  <a:lnTo>
                    <a:pt x="796" y="3405"/>
                  </a:lnTo>
                  <a:lnTo>
                    <a:pt x="634" y="3671"/>
                  </a:lnTo>
                  <a:lnTo>
                    <a:pt x="489" y="3943"/>
                  </a:lnTo>
                  <a:lnTo>
                    <a:pt x="363" y="4223"/>
                  </a:lnTo>
                  <a:lnTo>
                    <a:pt x="254" y="4508"/>
                  </a:lnTo>
                  <a:lnTo>
                    <a:pt x="163" y="4799"/>
                  </a:lnTo>
                  <a:lnTo>
                    <a:pt x="93" y="5094"/>
                  </a:lnTo>
                  <a:lnTo>
                    <a:pt x="41" y="5396"/>
                  </a:lnTo>
                  <a:lnTo>
                    <a:pt x="10" y="5700"/>
                  </a:lnTo>
                  <a:lnTo>
                    <a:pt x="0" y="6010"/>
                  </a:lnTo>
                  <a:lnTo>
                    <a:pt x="4" y="6203"/>
                  </a:lnTo>
                  <a:lnTo>
                    <a:pt x="16" y="6394"/>
                  </a:lnTo>
                  <a:lnTo>
                    <a:pt x="36" y="6584"/>
                  </a:lnTo>
                  <a:lnTo>
                    <a:pt x="65" y="6772"/>
                  </a:lnTo>
                  <a:lnTo>
                    <a:pt x="100" y="6958"/>
                  </a:lnTo>
                  <a:lnTo>
                    <a:pt x="143" y="7144"/>
                  </a:lnTo>
                  <a:lnTo>
                    <a:pt x="195" y="7326"/>
                  </a:lnTo>
                  <a:lnTo>
                    <a:pt x="252" y="7506"/>
                  </a:lnTo>
                  <a:lnTo>
                    <a:pt x="318" y="7685"/>
                  </a:lnTo>
                  <a:lnTo>
                    <a:pt x="390" y="7861"/>
                  </a:lnTo>
                  <a:lnTo>
                    <a:pt x="470" y="8034"/>
                  </a:lnTo>
                  <a:lnTo>
                    <a:pt x="556" y="8205"/>
                  </a:lnTo>
                  <a:lnTo>
                    <a:pt x="648" y="8375"/>
                  </a:lnTo>
                  <a:lnTo>
                    <a:pt x="748" y="8541"/>
                  </a:lnTo>
                  <a:lnTo>
                    <a:pt x="855" y="8704"/>
                  </a:lnTo>
                  <a:lnTo>
                    <a:pt x="967" y="8865"/>
                  </a:lnTo>
                  <a:lnTo>
                    <a:pt x="1086" y="9023"/>
                  </a:lnTo>
                  <a:lnTo>
                    <a:pt x="1211" y="9177"/>
                  </a:lnTo>
                  <a:lnTo>
                    <a:pt x="1341" y="9329"/>
                  </a:lnTo>
                  <a:lnTo>
                    <a:pt x="1478" y="9478"/>
                  </a:lnTo>
                  <a:lnTo>
                    <a:pt x="1620" y="9623"/>
                  </a:lnTo>
                  <a:lnTo>
                    <a:pt x="1768" y="9765"/>
                  </a:lnTo>
                  <a:lnTo>
                    <a:pt x="1923" y="9903"/>
                  </a:lnTo>
                  <a:lnTo>
                    <a:pt x="2081" y="10038"/>
                  </a:lnTo>
                  <a:lnTo>
                    <a:pt x="2245" y="10170"/>
                  </a:lnTo>
                  <a:lnTo>
                    <a:pt x="2415" y="10298"/>
                  </a:lnTo>
                  <a:lnTo>
                    <a:pt x="2590" y="10421"/>
                  </a:lnTo>
                  <a:lnTo>
                    <a:pt x="2769" y="10541"/>
                  </a:lnTo>
                  <a:lnTo>
                    <a:pt x="2953" y="10657"/>
                  </a:lnTo>
                  <a:lnTo>
                    <a:pt x="3142" y="10770"/>
                  </a:lnTo>
                  <a:lnTo>
                    <a:pt x="3335" y="10878"/>
                  </a:lnTo>
                  <a:lnTo>
                    <a:pt x="3533" y="10981"/>
                  </a:lnTo>
                  <a:lnTo>
                    <a:pt x="3532" y="10990"/>
                  </a:lnTo>
                  <a:lnTo>
                    <a:pt x="3531" y="10999"/>
                  </a:lnTo>
                  <a:lnTo>
                    <a:pt x="3530" y="11008"/>
                  </a:lnTo>
                  <a:lnTo>
                    <a:pt x="3529" y="11018"/>
                  </a:lnTo>
                  <a:lnTo>
                    <a:pt x="3527" y="11102"/>
                  </a:lnTo>
                  <a:lnTo>
                    <a:pt x="3521" y="11187"/>
                  </a:lnTo>
                  <a:lnTo>
                    <a:pt x="3512" y="11271"/>
                  </a:lnTo>
                  <a:lnTo>
                    <a:pt x="3500" y="11357"/>
                  </a:lnTo>
                  <a:lnTo>
                    <a:pt x="3484" y="11442"/>
                  </a:lnTo>
                  <a:lnTo>
                    <a:pt x="3464" y="11527"/>
                  </a:lnTo>
                  <a:lnTo>
                    <a:pt x="3443" y="11612"/>
                  </a:lnTo>
                  <a:lnTo>
                    <a:pt x="3419" y="11696"/>
                  </a:lnTo>
                  <a:lnTo>
                    <a:pt x="3392" y="11780"/>
                  </a:lnTo>
                  <a:lnTo>
                    <a:pt x="3364" y="11863"/>
                  </a:lnTo>
                  <a:lnTo>
                    <a:pt x="3332" y="11947"/>
                  </a:lnTo>
                  <a:lnTo>
                    <a:pt x="3300" y="12030"/>
                  </a:lnTo>
                  <a:lnTo>
                    <a:pt x="3266" y="12111"/>
                  </a:lnTo>
                  <a:lnTo>
                    <a:pt x="3229" y="12192"/>
                  </a:lnTo>
                  <a:lnTo>
                    <a:pt x="3192" y="12271"/>
                  </a:lnTo>
                  <a:lnTo>
                    <a:pt x="3155" y="12350"/>
                  </a:lnTo>
                  <a:lnTo>
                    <a:pt x="3115" y="12428"/>
                  </a:lnTo>
                  <a:lnTo>
                    <a:pt x="3075" y="12505"/>
                  </a:lnTo>
                  <a:lnTo>
                    <a:pt x="3036" y="12580"/>
                  </a:lnTo>
                  <a:lnTo>
                    <a:pt x="2995" y="12653"/>
                  </a:lnTo>
                  <a:lnTo>
                    <a:pt x="2954" y="12726"/>
                  </a:lnTo>
                  <a:lnTo>
                    <a:pt x="2914" y="12796"/>
                  </a:lnTo>
                  <a:lnTo>
                    <a:pt x="2874" y="12864"/>
                  </a:lnTo>
                  <a:lnTo>
                    <a:pt x="2834" y="12931"/>
                  </a:lnTo>
                  <a:lnTo>
                    <a:pt x="2757" y="13059"/>
                  </a:lnTo>
                  <a:lnTo>
                    <a:pt x="2684" y="13180"/>
                  </a:lnTo>
                  <a:lnTo>
                    <a:pt x="2616" y="13290"/>
                  </a:lnTo>
                  <a:lnTo>
                    <a:pt x="2557" y="13390"/>
                  </a:lnTo>
                  <a:lnTo>
                    <a:pt x="2558" y="13390"/>
                  </a:lnTo>
                  <a:lnTo>
                    <a:pt x="2550" y="13411"/>
                  </a:lnTo>
                  <a:lnTo>
                    <a:pt x="2542" y="13432"/>
                  </a:lnTo>
                  <a:lnTo>
                    <a:pt x="2536" y="13454"/>
                  </a:lnTo>
                  <a:lnTo>
                    <a:pt x="2531" y="13476"/>
                  </a:lnTo>
                  <a:lnTo>
                    <a:pt x="2527" y="13499"/>
                  </a:lnTo>
                  <a:lnTo>
                    <a:pt x="2523" y="13522"/>
                  </a:lnTo>
                  <a:lnTo>
                    <a:pt x="2522" y="13545"/>
                  </a:lnTo>
                  <a:lnTo>
                    <a:pt x="2521" y="13569"/>
                  </a:lnTo>
                  <a:lnTo>
                    <a:pt x="2522" y="13592"/>
                  </a:lnTo>
                  <a:lnTo>
                    <a:pt x="2523" y="13615"/>
                  </a:lnTo>
                  <a:lnTo>
                    <a:pt x="2526" y="13638"/>
                  </a:lnTo>
                  <a:lnTo>
                    <a:pt x="2530" y="13660"/>
                  </a:lnTo>
                  <a:lnTo>
                    <a:pt x="2535" y="13682"/>
                  </a:lnTo>
                  <a:lnTo>
                    <a:pt x="2541" y="13704"/>
                  </a:lnTo>
                  <a:lnTo>
                    <a:pt x="2548" y="13726"/>
                  </a:lnTo>
                  <a:lnTo>
                    <a:pt x="2556" y="13746"/>
                  </a:lnTo>
                  <a:lnTo>
                    <a:pt x="2566" y="13766"/>
                  </a:lnTo>
                  <a:lnTo>
                    <a:pt x="2576" y="13786"/>
                  </a:lnTo>
                  <a:lnTo>
                    <a:pt x="2586" y="13805"/>
                  </a:lnTo>
                  <a:lnTo>
                    <a:pt x="2598" y="13823"/>
                  </a:lnTo>
                  <a:lnTo>
                    <a:pt x="2611" y="13841"/>
                  </a:lnTo>
                  <a:lnTo>
                    <a:pt x="2624" y="13858"/>
                  </a:lnTo>
                  <a:lnTo>
                    <a:pt x="2640" y="13875"/>
                  </a:lnTo>
                  <a:lnTo>
                    <a:pt x="2655" y="13890"/>
                  </a:lnTo>
                  <a:lnTo>
                    <a:pt x="2670" y="13905"/>
                  </a:lnTo>
                  <a:lnTo>
                    <a:pt x="2687" y="13920"/>
                  </a:lnTo>
                  <a:lnTo>
                    <a:pt x="2704" y="13933"/>
                  </a:lnTo>
                  <a:lnTo>
                    <a:pt x="2722" y="13946"/>
                  </a:lnTo>
                  <a:lnTo>
                    <a:pt x="2740" y="13958"/>
                  </a:lnTo>
                  <a:lnTo>
                    <a:pt x="2760" y="13968"/>
                  </a:lnTo>
                  <a:lnTo>
                    <a:pt x="2779" y="13978"/>
                  </a:lnTo>
                  <a:lnTo>
                    <a:pt x="2800" y="13987"/>
                  </a:lnTo>
                  <a:lnTo>
                    <a:pt x="2820" y="13996"/>
                  </a:lnTo>
                  <a:lnTo>
                    <a:pt x="2841" y="14003"/>
                  </a:lnTo>
                  <a:lnTo>
                    <a:pt x="2863" y="14009"/>
                  </a:lnTo>
                  <a:lnTo>
                    <a:pt x="2886" y="14014"/>
                  </a:lnTo>
                  <a:lnTo>
                    <a:pt x="2908" y="14018"/>
                  </a:lnTo>
                  <a:lnTo>
                    <a:pt x="2931" y="14021"/>
                  </a:lnTo>
                  <a:lnTo>
                    <a:pt x="2954" y="14022"/>
                  </a:lnTo>
                  <a:lnTo>
                    <a:pt x="2977" y="14023"/>
                  </a:lnTo>
                  <a:lnTo>
                    <a:pt x="3018" y="14021"/>
                  </a:lnTo>
                  <a:lnTo>
                    <a:pt x="3060" y="14017"/>
                  </a:lnTo>
                  <a:lnTo>
                    <a:pt x="3078" y="14016"/>
                  </a:lnTo>
                  <a:lnTo>
                    <a:pt x="3093" y="14015"/>
                  </a:lnTo>
                  <a:lnTo>
                    <a:pt x="3099" y="14015"/>
                  </a:lnTo>
                  <a:lnTo>
                    <a:pt x="3103" y="14015"/>
                  </a:lnTo>
                  <a:lnTo>
                    <a:pt x="3105" y="14016"/>
                  </a:lnTo>
                  <a:lnTo>
                    <a:pt x="3106" y="14016"/>
                  </a:lnTo>
                  <a:lnTo>
                    <a:pt x="3254" y="13989"/>
                  </a:lnTo>
                  <a:lnTo>
                    <a:pt x="3400" y="13955"/>
                  </a:lnTo>
                  <a:lnTo>
                    <a:pt x="3546" y="13915"/>
                  </a:lnTo>
                  <a:lnTo>
                    <a:pt x="3690" y="13870"/>
                  </a:lnTo>
                  <a:lnTo>
                    <a:pt x="3833" y="13819"/>
                  </a:lnTo>
                  <a:lnTo>
                    <a:pt x="3976" y="13763"/>
                  </a:lnTo>
                  <a:lnTo>
                    <a:pt x="4116" y="13701"/>
                  </a:lnTo>
                  <a:lnTo>
                    <a:pt x="4254" y="13637"/>
                  </a:lnTo>
                  <a:lnTo>
                    <a:pt x="4390" y="13569"/>
                  </a:lnTo>
                  <a:lnTo>
                    <a:pt x="4524" y="13497"/>
                  </a:lnTo>
                  <a:lnTo>
                    <a:pt x="4656" y="13423"/>
                  </a:lnTo>
                  <a:lnTo>
                    <a:pt x="4784" y="13346"/>
                  </a:lnTo>
                  <a:lnTo>
                    <a:pt x="4910" y="13267"/>
                  </a:lnTo>
                  <a:lnTo>
                    <a:pt x="5033" y="13186"/>
                  </a:lnTo>
                  <a:lnTo>
                    <a:pt x="5153" y="13104"/>
                  </a:lnTo>
                  <a:lnTo>
                    <a:pt x="5269" y="13021"/>
                  </a:lnTo>
                  <a:lnTo>
                    <a:pt x="5382" y="12938"/>
                  </a:lnTo>
                  <a:lnTo>
                    <a:pt x="5491" y="12854"/>
                  </a:lnTo>
                  <a:lnTo>
                    <a:pt x="5596" y="12771"/>
                  </a:lnTo>
                  <a:lnTo>
                    <a:pt x="5697" y="12689"/>
                  </a:lnTo>
                  <a:lnTo>
                    <a:pt x="5793" y="12608"/>
                  </a:lnTo>
                  <a:lnTo>
                    <a:pt x="5885" y="12528"/>
                  </a:lnTo>
                  <a:lnTo>
                    <a:pt x="5972" y="12450"/>
                  </a:lnTo>
                  <a:lnTo>
                    <a:pt x="6055" y="12375"/>
                  </a:lnTo>
                  <a:lnTo>
                    <a:pt x="6131" y="12302"/>
                  </a:lnTo>
                  <a:lnTo>
                    <a:pt x="6203" y="12233"/>
                  </a:lnTo>
                  <a:lnTo>
                    <a:pt x="6269" y="12167"/>
                  </a:lnTo>
                  <a:lnTo>
                    <a:pt x="6330" y="12105"/>
                  </a:lnTo>
                  <a:lnTo>
                    <a:pt x="6384" y="12048"/>
                  </a:lnTo>
                  <a:lnTo>
                    <a:pt x="6433" y="11995"/>
                  </a:lnTo>
                  <a:lnTo>
                    <a:pt x="6475" y="11947"/>
                  </a:lnTo>
                  <a:lnTo>
                    <a:pt x="6510" y="11906"/>
                  </a:lnTo>
                  <a:lnTo>
                    <a:pt x="6605" y="11919"/>
                  </a:lnTo>
                  <a:lnTo>
                    <a:pt x="6700" y="11932"/>
                  </a:lnTo>
                  <a:lnTo>
                    <a:pt x="6796" y="11943"/>
                  </a:lnTo>
                  <a:lnTo>
                    <a:pt x="6891" y="11954"/>
                  </a:lnTo>
                  <a:lnTo>
                    <a:pt x="6987" y="11965"/>
                  </a:lnTo>
                  <a:lnTo>
                    <a:pt x="7083" y="11974"/>
                  </a:lnTo>
                  <a:lnTo>
                    <a:pt x="7180" y="11983"/>
                  </a:lnTo>
                  <a:lnTo>
                    <a:pt x="7278" y="11990"/>
                  </a:lnTo>
                  <a:lnTo>
                    <a:pt x="7374" y="11997"/>
                  </a:lnTo>
                  <a:lnTo>
                    <a:pt x="7472" y="12003"/>
                  </a:lnTo>
                  <a:lnTo>
                    <a:pt x="7571" y="12008"/>
                  </a:lnTo>
                  <a:lnTo>
                    <a:pt x="7669" y="12012"/>
                  </a:lnTo>
                  <a:lnTo>
                    <a:pt x="7768" y="12016"/>
                  </a:lnTo>
                  <a:lnTo>
                    <a:pt x="7867" y="12018"/>
                  </a:lnTo>
                  <a:lnTo>
                    <a:pt x="7966" y="12019"/>
                  </a:lnTo>
                  <a:lnTo>
                    <a:pt x="8066" y="12020"/>
                  </a:lnTo>
                  <a:lnTo>
                    <a:pt x="8481" y="12012"/>
                  </a:lnTo>
                  <a:lnTo>
                    <a:pt x="8891" y="11989"/>
                  </a:lnTo>
                  <a:lnTo>
                    <a:pt x="9294" y="11951"/>
                  </a:lnTo>
                  <a:lnTo>
                    <a:pt x="9691" y="11898"/>
                  </a:lnTo>
                  <a:lnTo>
                    <a:pt x="10081" y="11830"/>
                  </a:lnTo>
                  <a:lnTo>
                    <a:pt x="10465" y="11749"/>
                  </a:lnTo>
                  <a:lnTo>
                    <a:pt x="10840" y="11655"/>
                  </a:lnTo>
                  <a:lnTo>
                    <a:pt x="11206" y="11547"/>
                  </a:lnTo>
                  <a:lnTo>
                    <a:pt x="11563" y="11427"/>
                  </a:lnTo>
                  <a:lnTo>
                    <a:pt x="11910" y="11295"/>
                  </a:lnTo>
                  <a:lnTo>
                    <a:pt x="12248" y="11149"/>
                  </a:lnTo>
                  <a:lnTo>
                    <a:pt x="12576" y="10993"/>
                  </a:lnTo>
                  <a:lnTo>
                    <a:pt x="12891" y="10826"/>
                  </a:lnTo>
                  <a:lnTo>
                    <a:pt x="13197" y="10647"/>
                  </a:lnTo>
                  <a:lnTo>
                    <a:pt x="13489" y="10458"/>
                  </a:lnTo>
                  <a:lnTo>
                    <a:pt x="13770" y="10260"/>
                  </a:lnTo>
                  <a:lnTo>
                    <a:pt x="14037" y="10050"/>
                  </a:lnTo>
                  <a:lnTo>
                    <a:pt x="14290" y="9832"/>
                  </a:lnTo>
                  <a:lnTo>
                    <a:pt x="14530" y="9606"/>
                  </a:lnTo>
                  <a:lnTo>
                    <a:pt x="14755" y="9370"/>
                  </a:lnTo>
                  <a:lnTo>
                    <a:pt x="14964" y="9126"/>
                  </a:lnTo>
                  <a:lnTo>
                    <a:pt x="15158" y="8875"/>
                  </a:lnTo>
                  <a:lnTo>
                    <a:pt x="15336" y="8615"/>
                  </a:lnTo>
                  <a:lnTo>
                    <a:pt x="15498" y="8349"/>
                  </a:lnTo>
                  <a:lnTo>
                    <a:pt x="15643" y="8076"/>
                  </a:lnTo>
                  <a:lnTo>
                    <a:pt x="15769" y="7797"/>
                  </a:lnTo>
                  <a:lnTo>
                    <a:pt x="15878" y="7511"/>
                  </a:lnTo>
                  <a:lnTo>
                    <a:pt x="15968" y="7221"/>
                  </a:lnTo>
                  <a:lnTo>
                    <a:pt x="16039" y="6925"/>
                  </a:lnTo>
                  <a:lnTo>
                    <a:pt x="16091" y="6624"/>
                  </a:lnTo>
                  <a:lnTo>
                    <a:pt x="16122" y="6319"/>
                  </a:lnTo>
                  <a:lnTo>
                    <a:pt x="16132" y="6010"/>
                  </a:lnTo>
                  <a:lnTo>
                    <a:pt x="16122" y="5700"/>
                  </a:lnTo>
                  <a:lnTo>
                    <a:pt x="16091" y="5396"/>
                  </a:lnTo>
                  <a:lnTo>
                    <a:pt x="16039" y="5094"/>
                  </a:lnTo>
                  <a:lnTo>
                    <a:pt x="15968" y="4799"/>
                  </a:lnTo>
                  <a:lnTo>
                    <a:pt x="15878" y="4508"/>
                  </a:lnTo>
                  <a:lnTo>
                    <a:pt x="15769" y="4223"/>
                  </a:lnTo>
                  <a:lnTo>
                    <a:pt x="15643" y="3943"/>
                  </a:lnTo>
                  <a:lnTo>
                    <a:pt x="15498" y="3671"/>
                  </a:lnTo>
                  <a:lnTo>
                    <a:pt x="15336" y="3405"/>
                  </a:lnTo>
                  <a:lnTo>
                    <a:pt x="15158" y="3145"/>
                  </a:lnTo>
                  <a:lnTo>
                    <a:pt x="14964" y="2894"/>
                  </a:lnTo>
                  <a:lnTo>
                    <a:pt x="14755" y="2649"/>
                  </a:lnTo>
                  <a:lnTo>
                    <a:pt x="14530" y="2414"/>
                  </a:lnTo>
                  <a:lnTo>
                    <a:pt x="14290" y="2188"/>
                  </a:lnTo>
                  <a:lnTo>
                    <a:pt x="14037" y="1969"/>
                  </a:lnTo>
                  <a:lnTo>
                    <a:pt x="13770" y="1760"/>
                  </a:lnTo>
                  <a:lnTo>
                    <a:pt x="13489" y="1562"/>
                  </a:lnTo>
                  <a:lnTo>
                    <a:pt x="13197" y="1372"/>
                  </a:lnTo>
                  <a:lnTo>
                    <a:pt x="12891" y="1194"/>
                  </a:lnTo>
                  <a:lnTo>
                    <a:pt x="12576" y="1027"/>
                  </a:lnTo>
                  <a:lnTo>
                    <a:pt x="12248" y="870"/>
                  </a:lnTo>
                  <a:lnTo>
                    <a:pt x="11910" y="725"/>
                  </a:lnTo>
                  <a:lnTo>
                    <a:pt x="11563" y="593"/>
                  </a:lnTo>
                  <a:lnTo>
                    <a:pt x="11206" y="473"/>
                  </a:lnTo>
                  <a:lnTo>
                    <a:pt x="10840" y="365"/>
                  </a:lnTo>
                  <a:lnTo>
                    <a:pt x="10465" y="270"/>
                  </a:lnTo>
                  <a:lnTo>
                    <a:pt x="10081" y="189"/>
                  </a:lnTo>
                  <a:lnTo>
                    <a:pt x="9691" y="122"/>
                  </a:lnTo>
                  <a:lnTo>
                    <a:pt x="9294" y="69"/>
                  </a:lnTo>
                  <a:lnTo>
                    <a:pt x="8891" y="31"/>
                  </a:lnTo>
                  <a:lnTo>
                    <a:pt x="8481" y="8"/>
                  </a:lnTo>
                  <a:lnTo>
                    <a:pt x="80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41" name="iṧľîďè">
              <a:extLst>
                <a:ext uri="{FF2B5EF4-FFF2-40B4-BE49-F238E27FC236}">
                  <a16:creationId xmlns:a16="http://schemas.microsoft.com/office/drawing/2014/main" id="{67EE6823-CF0F-49D4-AD23-72CFCC5D0BAB}"/>
                </a:ext>
              </a:extLst>
            </p:cNvPr>
            <p:cNvSpPr/>
            <p:nvPr/>
          </p:nvSpPr>
          <p:spPr bwMode="auto">
            <a:xfrm>
              <a:off x="6295593" y="1041166"/>
              <a:ext cx="535790" cy="613338"/>
            </a:xfrm>
            <a:custGeom>
              <a:avLst/>
              <a:gdLst>
                <a:gd name="T0" fmla="*/ 4158 w 14060"/>
                <a:gd name="T1" fmla="*/ 5259 h 16095"/>
                <a:gd name="T2" fmla="*/ 1877 w 14060"/>
                <a:gd name="T3" fmla="*/ 4442 h 16095"/>
                <a:gd name="T4" fmla="*/ 1004 w 14060"/>
                <a:gd name="T5" fmla="*/ 3269 h 16095"/>
                <a:gd name="T6" fmla="*/ 1877 w 14060"/>
                <a:gd name="T7" fmla="*/ 2095 h 16095"/>
                <a:gd name="T8" fmla="*/ 4158 w 14060"/>
                <a:gd name="T9" fmla="*/ 1279 h 16095"/>
                <a:gd name="T10" fmla="*/ 7340 w 14060"/>
                <a:gd name="T11" fmla="*/ 1009 h 16095"/>
                <a:gd name="T12" fmla="*/ 10399 w 14060"/>
                <a:gd name="T13" fmla="*/ 1392 h 16095"/>
                <a:gd name="T14" fmla="*/ 12461 w 14060"/>
                <a:gd name="T15" fmla="*/ 2288 h 16095"/>
                <a:gd name="T16" fmla="*/ 13025 w 14060"/>
                <a:gd name="T17" fmla="*/ 3501 h 16095"/>
                <a:gd name="T18" fmla="*/ 11859 w 14060"/>
                <a:gd name="T19" fmla="*/ 4623 h 16095"/>
                <a:gd name="T20" fmla="*/ 9376 w 14060"/>
                <a:gd name="T21" fmla="*/ 5355 h 16095"/>
                <a:gd name="T22" fmla="*/ 13055 w 14060"/>
                <a:gd name="T23" fmla="*/ 6798 h 16095"/>
                <a:gd name="T24" fmla="*/ 12329 w 14060"/>
                <a:gd name="T25" fmla="*/ 7877 h 16095"/>
                <a:gd name="T26" fmla="*/ 10154 w 14060"/>
                <a:gd name="T27" fmla="*/ 8729 h 16095"/>
                <a:gd name="T28" fmla="*/ 7030 w 14060"/>
                <a:gd name="T29" fmla="*/ 9053 h 16095"/>
                <a:gd name="T30" fmla="*/ 3906 w 14060"/>
                <a:gd name="T31" fmla="*/ 8729 h 16095"/>
                <a:gd name="T32" fmla="*/ 1731 w 14060"/>
                <a:gd name="T33" fmla="*/ 7877 h 16095"/>
                <a:gd name="T34" fmla="*/ 1005 w 14060"/>
                <a:gd name="T35" fmla="*/ 6798 h 16095"/>
                <a:gd name="T36" fmla="*/ 2178 w 14060"/>
                <a:gd name="T37" fmla="*/ 5717 h 16095"/>
                <a:gd name="T38" fmla="*/ 4255 w 14060"/>
                <a:gd name="T39" fmla="*/ 6300 h 16095"/>
                <a:gd name="T40" fmla="*/ 6598 w 14060"/>
                <a:gd name="T41" fmla="*/ 6533 h 16095"/>
                <a:gd name="T42" fmla="*/ 8968 w 14060"/>
                <a:gd name="T43" fmla="*/ 6425 h 16095"/>
                <a:gd name="T44" fmla="*/ 11177 w 14060"/>
                <a:gd name="T45" fmla="*/ 5970 h 16095"/>
                <a:gd name="T46" fmla="*/ 12929 w 14060"/>
                <a:gd name="T47" fmla="*/ 5154 h 16095"/>
                <a:gd name="T48" fmla="*/ 12866 w 14060"/>
                <a:gd name="T49" fmla="*/ 10385 h 16095"/>
                <a:gd name="T50" fmla="*/ 11291 w 14060"/>
                <a:gd name="T51" fmla="*/ 11413 h 16095"/>
                <a:gd name="T52" fmla="*/ 8535 w 14060"/>
                <a:gd name="T53" fmla="*/ 12001 h 16095"/>
                <a:gd name="T54" fmla="*/ 5238 w 14060"/>
                <a:gd name="T55" fmla="*/ 11971 h 16095"/>
                <a:gd name="T56" fmla="*/ 2570 w 14060"/>
                <a:gd name="T57" fmla="*/ 11335 h 16095"/>
                <a:gd name="T58" fmla="*/ 1127 w 14060"/>
                <a:gd name="T59" fmla="*/ 10277 h 16095"/>
                <a:gd name="T60" fmla="*/ 1334 w 14060"/>
                <a:gd name="T61" fmla="*/ 8216 h 16095"/>
                <a:gd name="T62" fmla="*/ 3083 w 14060"/>
                <a:gd name="T63" fmla="*/ 9035 h 16095"/>
                <a:gd name="T64" fmla="*/ 5412 w 14060"/>
                <a:gd name="T65" fmla="*/ 9477 h 16095"/>
                <a:gd name="T66" fmla="*/ 7960 w 14060"/>
                <a:gd name="T67" fmla="*/ 9530 h 16095"/>
                <a:gd name="T68" fmla="*/ 10383 w 14060"/>
                <a:gd name="T69" fmla="*/ 9193 h 16095"/>
                <a:gd name="T70" fmla="*/ 12328 w 14060"/>
                <a:gd name="T71" fmla="*/ 8477 h 16095"/>
                <a:gd name="T72" fmla="*/ 12986 w 14060"/>
                <a:gd name="T73" fmla="*/ 13170 h 16095"/>
                <a:gd name="T74" fmla="*/ 11680 w 14060"/>
                <a:gd name="T75" fmla="*/ 14265 h 16095"/>
                <a:gd name="T76" fmla="*/ 9102 w 14060"/>
                <a:gd name="T77" fmla="*/ 14951 h 16095"/>
                <a:gd name="T78" fmla="*/ 5816 w 14060"/>
                <a:gd name="T79" fmla="*/ 15043 h 16095"/>
                <a:gd name="T80" fmla="*/ 2979 w 14060"/>
                <a:gd name="T81" fmla="*/ 14501 h 16095"/>
                <a:gd name="T82" fmla="*/ 1275 w 14060"/>
                <a:gd name="T83" fmla="*/ 13499 h 16095"/>
                <a:gd name="T84" fmla="*/ 1459 w 14060"/>
                <a:gd name="T85" fmla="*/ 11324 h 16095"/>
                <a:gd name="T86" fmla="*/ 3277 w 14060"/>
                <a:gd name="T87" fmla="*/ 12109 h 16095"/>
                <a:gd name="T88" fmla="*/ 5640 w 14060"/>
                <a:gd name="T89" fmla="*/ 12516 h 16095"/>
                <a:gd name="T90" fmla="*/ 8191 w 14060"/>
                <a:gd name="T91" fmla="*/ 12534 h 16095"/>
                <a:gd name="T92" fmla="*/ 10586 w 14060"/>
                <a:gd name="T93" fmla="*/ 12162 h 16095"/>
                <a:gd name="T94" fmla="*/ 12468 w 14060"/>
                <a:gd name="T95" fmla="*/ 11410 h 16095"/>
                <a:gd name="T96" fmla="*/ 5756 w 14060"/>
                <a:gd name="T97" fmla="*/ 48 h 16095"/>
                <a:gd name="T98" fmla="*/ 2501 w 14060"/>
                <a:gd name="T99" fmla="*/ 695 h 16095"/>
                <a:gd name="T100" fmla="*/ 359 w 14060"/>
                <a:gd name="T101" fmla="*/ 2134 h 16095"/>
                <a:gd name="T102" fmla="*/ 163 w 14060"/>
                <a:gd name="T103" fmla="*/ 13611 h 16095"/>
                <a:gd name="T104" fmla="*/ 2001 w 14060"/>
                <a:gd name="T105" fmla="*/ 15199 h 16095"/>
                <a:gd name="T106" fmla="*/ 5124 w 14060"/>
                <a:gd name="T107" fmla="*/ 15985 h 16095"/>
                <a:gd name="T108" fmla="*/ 8621 w 14060"/>
                <a:gd name="T109" fmla="*/ 16020 h 16095"/>
                <a:gd name="T110" fmla="*/ 11814 w 14060"/>
                <a:gd name="T111" fmla="*/ 15302 h 16095"/>
                <a:gd name="T112" fmla="*/ 13808 w 14060"/>
                <a:gd name="T113" fmla="*/ 13789 h 16095"/>
                <a:gd name="T114" fmla="*/ 13808 w 14060"/>
                <a:gd name="T115" fmla="*/ 2305 h 16095"/>
                <a:gd name="T116" fmla="*/ 11814 w 14060"/>
                <a:gd name="T117" fmla="*/ 792 h 16095"/>
                <a:gd name="T118" fmla="*/ 8621 w 14060"/>
                <a:gd name="T119" fmla="*/ 75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4060" h="16095">
                  <a:moveTo>
                    <a:pt x="7030" y="5533"/>
                  </a:moveTo>
                  <a:lnTo>
                    <a:pt x="6720" y="5530"/>
                  </a:lnTo>
                  <a:lnTo>
                    <a:pt x="6413" y="5521"/>
                  </a:lnTo>
                  <a:lnTo>
                    <a:pt x="6112" y="5507"/>
                  </a:lnTo>
                  <a:lnTo>
                    <a:pt x="5816" y="5486"/>
                  </a:lnTo>
                  <a:lnTo>
                    <a:pt x="5524" y="5461"/>
                  </a:lnTo>
                  <a:lnTo>
                    <a:pt x="5238" y="5431"/>
                  </a:lnTo>
                  <a:lnTo>
                    <a:pt x="4958" y="5395"/>
                  </a:lnTo>
                  <a:lnTo>
                    <a:pt x="4684" y="5355"/>
                  </a:lnTo>
                  <a:lnTo>
                    <a:pt x="4418" y="5309"/>
                  </a:lnTo>
                  <a:lnTo>
                    <a:pt x="4158" y="5259"/>
                  </a:lnTo>
                  <a:lnTo>
                    <a:pt x="3906" y="5205"/>
                  </a:lnTo>
                  <a:lnTo>
                    <a:pt x="3661" y="5145"/>
                  </a:lnTo>
                  <a:lnTo>
                    <a:pt x="3425" y="5083"/>
                  </a:lnTo>
                  <a:lnTo>
                    <a:pt x="3197" y="5016"/>
                  </a:lnTo>
                  <a:lnTo>
                    <a:pt x="2979" y="4944"/>
                  </a:lnTo>
                  <a:lnTo>
                    <a:pt x="2769" y="4870"/>
                  </a:lnTo>
                  <a:lnTo>
                    <a:pt x="2570" y="4791"/>
                  </a:lnTo>
                  <a:lnTo>
                    <a:pt x="2380" y="4709"/>
                  </a:lnTo>
                  <a:lnTo>
                    <a:pt x="2201" y="4623"/>
                  </a:lnTo>
                  <a:lnTo>
                    <a:pt x="2034" y="4535"/>
                  </a:lnTo>
                  <a:lnTo>
                    <a:pt x="1877" y="4442"/>
                  </a:lnTo>
                  <a:lnTo>
                    <a:pt x="1731" y="4348"/>
                  </a:lnTo>
                  <a:lnTo>
                    <a:pt x="1599" y="4250"/>
                  </a:lnTo>
                  <a:lnTo>
                    <a:pt x="1477" y="4149"/>
                  </a:lnTo>
                  <a:lnTo>
                    <a:pt x="1370" y="4047"/>
                  </a:lnTo>
                  <a:lnTo>
                    <a:pt x="1275" y="3942"/>
                  </a:lnTo>
                  <a:lnTo>
                    <a:pt x="1194" y="3835"/>
                  </a:lnTo>
                  <a:lnTo>
                    <a:pt x="1127" y="3725"/>
                  </a:lnTo>
                  <a:lnTo>
                    <a:pt x="1074" y="3613"/>
                  </a:lnTo>
                  <a:lnTo>
                    <a:pt x="1035" y="3501"/>
                  </a:lnTo>
                  <a:lnTo>
                    <a:pt x="1012" y="3386"/>
                  </a:lnTo>
                  <a:lnTo>
                    <a:pt x="1004" y="3269"/>
                  </a:lnTo>
                  <a:lnTo>
                    <a:pt x="1012" y="3153"/>
                  </a:lnTo>
                  <a:lnTo>
                    <a:pt x="1035" y="3038"/>
                  </a:lnTo>
                  <a:lnTo>
                    <a:pt x="1074" y="2924"/>
                  </a:lnTo>
                  <a:lnTo>
                    <a:pt x="1127" y="2813"/>
                  </a:lnTo>
                  <a:lnTo>
                    <a:pt x="1194" y="2703"/>
                  </a:lnTo>
                  <a:lnTo>
                    <a:pt x="1275" y="2596"/>
                  </a:lnTo>
                  <a:lnTo>
                    <a:pt x="1370" y="2491"/>
                  </a:lnTo>
                  <a:lnTo>
                    <a:pt x="1477" y="2388"/>
                  </a:lnTo>
                  <a:lnTo>
                    <a:pt x="1599" y="2288"/>
                  </a:lnTo>
                  <a:lnTo>
                    <a:pt x="1731" y="2190"/>
                  </a:lnTo>
                  <a:lnTo>
                    <a:pt x="1877" y="2095"/>
                  </a:lnTo>
                  <a:lnTo>
                    <a:pt x="2034" y="2004"/>
                  </a:lnTo>
                  <a:lnTo>
                    <a:pt x="2201" y="1915"/>
                  </a:lnTo>
                  <a:lnTo>
                    <a:pt x="2380" y="1830"/>
                  </a:lnTo>
                  <a:lnTo>
                    <a:pt x="2570" y="1747"/>
                  </a:lnTo>
                  <a:lnTo>
                    <a:pt x="2769" y="1669"/>
                  </a:lnTo>
                  <a:lnTo>
                    <a:pt x="2979" y="1593"/>
                  </a:lnTo>
                  <a:lnTo>
                    <a:pt x="3197" y="1523"/>
                  </a:lnTo>
                  <a:lnTo>
                    <a:pt x="3425" y="1456"/>
                  </a:lnTo>
                  <a:lnTo>
                    <a:pt x="3661" y="1392"/>
                  </a:lnTo>
                  <a:lnTo>
                    <a:pt x="3906" y="1334"/>
                  </a:lnTo>
                  <a:lnTo>
                    <a:pt x="4158" y="1279"/>
                  </a:lnTo>
                  <a:lnTo>
                    <a:pt x="4418" y="1229"/>
                  </a:lnTo>
                  <a:lnTo>
                    <a:pt x="4684" y="1184"/>
                  </a:lnTo>
                  <a:lnTo>
                    <a:pt x="4958" y="1143"/>
                  </a:lnTo>
                  <a:lnTo>
                    <a:pt x="5238" y="1108"/>
                  </a:lnTo>
                  <a:lnTo>
                    <a:pt x="5524" y="1077"/>
                  </a:lnTo>
                  <a:lnTo>
                    <a:pt x="5816" y="1052"/>
                  </a:lnTo>
                  <a:lnTo>
                    <a:pt x="6112" y="1032"/>
                  </a:lnTo>
                  <a:lnTo>
                    <a:pt x="6413" y="1018"/>
                  </a:lnTo>
                  <a:lnTo>
                    <a:pt x="6720" y="1009"/>
                  </a:lnTo>
                  <a:lnTo>
                    <a:pt x="7030" y="1006"/>
                  </a:lnTo>
                  <a:lnTo>
                    <a:pt x="7340" y="1009"/>
                  </a:lnTo>
                  <a:lnTo>
                    <a:pt x="7647" y="1018"/>
                  </a:lnTo>
                  <a:lnTo>
                    <a:pt x="7948" y="1032"/>
                  </a:lnTo>
                  <a:lnTo>
                    <a:pt x="8244" y="1052"/>
                  </a:lnTo>
                  <a:lnTo>
                    <a:pt x="8536" y="1077"/>
                  </a:lnTo>
                  <a:lnTo>
                    <a:pt x="8822" y="1108"/>
                  </a:lnTo>
                  <a:lnTo>
                    <a:pt x="9102" y="1143"/>
                  </a:lnTo>
                  <a:lnTo>
                    <a:pt x="9376" y="1184"/>
                  </a:lnTo>
                  <a:lnTo>
                    <a:pt x="9642" y="1229"/>
                  </a:lnTo>
                  <a:lnTo>
                    <a:pt x="9902" y="1279"/>
                  </a:lnTo>
                  <a:lnTo>
                    <a:pt x="10154" y="1334"/>
                  </a:lnTo>
                  <a:lnTo>
                    <a:pt x="10399" y="1392"/>
                  </a:lnTo>
                  <a:lnTo>
                    <a:pt x="10635" y="1456"/>
                  </a:lnTo>
                  <a:lnTo>
                    <a:pt x="10863" y="1523"/>
                  </a:lnTo>
                  <a:lnTo>
                    <a:pt x="11081" y="1593"/>
                  </a:lnTo>
                  <a:lnTo>
                    <a:pt x="11291" y="1669"/>
                  </a:lnTo>
                  <a:lnTo>
                    <a:pt x="11490" y="1747"/>
                  </a:lnTo>
                  <a:lnTo>
                    <a:pt x="11680" y="1830"/>
                  </a:lnTo>
                  <a:lnTo>
                    <a:pt x="11859" y="1915"/>
                  </a:lnTo>
                  <a:lnTo>
                    <a:pt x="12026" y="2004"/>
                  </a:lnTo>
                  <a:lnTo>
                    <a:pt x="12183" y="2095"/>
                  </a:lnTo>
                  <a:lnTo>
                    <a:pt x="12329" y="2190"/>
                  </a:lnTo>
                  <a:lnTo>
                    <a:pt x="12461" y="2288"/>
                  </a:lnTo>
                  <a:lnTo>
                    <a:pt x="12583" y="2388"/>
                  </a:lnTo>
                  <a:lnTo>
                    <a:pt x="12690" y="2491"/>
                  </a:lnTo>
                  <a:lnTo>
                    <a:pt x="12785" y="2596"/>
                  </a:lnTo>
                  <a:lnTo>
                    <a:pt x="12866" y="2703"/>
                  </a:lnTo>
                  <a:lnTo>
                    <a:pt x="12933" y="2813"/>
                  </a:lnTo>
                  <a:lnTo>
                    <a:pt x="12986" y="2924"/>
                  </a:lnTo>
                  <a:lnTo>
                    <a:pt x="13025" y="3038"/>
                  </a:lnTo>
                  <a:lnTo>
                    <a:pt x="13048" y="3153"/>
                  </a:lnTo>
                  <a:lnTo>
                    <a:pt x="13056" y="3269"/>
                  </a:lnTo>
                  <a:lnTo>
                    <a:pt x="13048" y="3386"/>
                  </a:lnTo>
                  <a:lnTo>
                    <a:pt x="13025" y="3501"/>
                  </a:lnTo>
                  <a:lnTo>
                    <a:pt x="12986" y="3613"/>
                  </a:lnTo>
                  <a:lnTo>
                    <a:pt x="12933" y="3725"/>
                  </a:lnTo>
                  <a:lnTo>
                    <a:pt x="12866" y="3835"/>
                  </a:lnTo>
                  <a:lnTo>
                    <a:pt x="12785" y="3942"/>
                  </a:lnTo>
                  <a:lnTo>
                    <a:pt x="12690" y="4047"/>
                  </a:lnTo>
                  <a:lnTo>
                    <a:pt x="12583" y="4149"/>
                  </a:lnTo>
                  <a:lnTo>
                    <a:pt x="12461" y="4250"/>
                  </a:lnTo>
                  <a:lnTo>
                    <a:pt x="12329" y="4348"/>
                  </a:lnTo>
                  <a:lnTo>
                    <a:pt x="12183" y="4442"/>
                  </a:lnTo>
                  <a:lnTo>
                    <a:pt x="12026" y="4535"/>
                  </a:lnTo>
                  <a:lnTo>
                    <a:pt x="11859" y="4623"/>
                  </a:lnTo>
                  <a:lnTo>
                    <a:pt x="11680" y="4709"/>
                  </a:lnTo>
                  <a:lnTo>
                    <a:pt x="11490" y="4791"/>
                  </a:lnTo>
                  <a:lnTo>
                    <a:pt x="11291" y="4870"/>
                  </a:lnTo>
                  <a:lnTo>
                    <a:pt x="11081" y="4944"/>
                  </a:lnTo>
                  <a:lnTo>
                    <a:pt x="10863" y="5016"/>
                  </a:lnTo>
                  <a:lnTo>
                    <a:pt x="10635" y="5083"/>
                  </a:lnTo>
                  <a:lnTo>
                    <a:pt x="10399" y="5145"/>
                  </a:lnTo>
                  <a:lnTo>
                    <a:pt x="10154" y="5205"/>
                  </a:lnTo>
                  <a:lnTo>
                    <a:pt x="9902" y="5259"/>
                  </a:lnTo>
                  <a:lnTo>
                    <a:pt x="9642" y="5309"/>
                  </a:lnTo>
                  <a:lnTo>
                    <a:pt x="9376" y="5355"/>
                  </a:lnTo>
                  <a:lnTo>
                    <a:pt x="9102" y="5395"/>
                  </a:lnTo>
                  <a:lnTo>
                    <a:pt x="8822" y="5431"/>
                  </a:lnTo>
                  <a:lnTo>
                    <a:pt x="8536" y="5461"/>
                  </a:lnTo>
                  <a:lnTo>
                    <a:pt x="8244" y="5486"/>
                  </a:lnTo>
                  <a:lnTo>
                    <a:pt x="7948" y="5507"/>
                  </a:lnTo>
                  <a:lnTo>
                    <a:pt x="7647" y="5521"/>
                  </a:lnTo>
                  <a:lnTo>
                    <a:pt x="7340" y="5530"/>
                  </a:lnTo>
                  <a:lnTo>
                    <a:pt x="7030" y="5533"/>
                  </a:lnTo>
                  <a:close/>
                  <a:moveTo>
                    <a:pt x="13056" y="6790"/>
                  </a:moveTo>
                  <a:lnTo>
                    <a:pt x="13054" y="6790"/>
                  </a:lnTo>
                  <a:lnTo>
                    <a:pt x="13055" y="6798"/>
                  </a:lnTo>
                  <a:lnTo>
                    <a:pt x="13056" y="6805"/>
                  </a:lnTo>
                  <a:lnTo>
                    <a:pt x="13048" y="6921"/>
                  </a:lnTo>
                  <a:lnTo>
                    <a:pt x="13025" y="7036"/>
                  </a:lnTo>
                  <a:lnTo>
                    <a:pt x="12986" y="7148"/>
                  </a:lnTo>
                  <a:lnTo>
                    <a:pt x="12933" y="7259"/>
                  </a:lnTo>
                  <a:lnTo>
                    <a:pt x="12866" y="7367"/>
                  </a:lnTo>
                  <a:lnTo>
                    <a:pt x="12785" y="7474"/>
                  </a:lnTo>
                  <a:lnTo>
                    <a:pt x="12690" y="7579"/>
                  </a:lnTo>
                  <a:lnTo>
                    <a:pt x="12582" y="7680"/>
                  </a:lnTo>
                  <a:lnTo>
                    <a:pt x="12461" y="7780"/>
                  </a:lnTo>
                  <a:lnTo>
                    <a:pt x="12329" y="7877"/>
                  </a:lnTo>
                  <a:lnTo>
                    <a:pt x="12183" y="7971"/>
                  </a:lnTo>
                  <a:lnTo>
                    <a:pt x="12026" y="8063"/>
                  </a:lnTo>
                  <a:lnTo>
                    <a:pt x="11859" y="8151"/>
                  </a:lnTo>
                  <a:lnTo>
                    <a:pt x="11680" y="8236"/>
                  </a:lnTo>
                  <a:lnTo>
                    <a:pt x="11490" y="8317"/>
                  </a:lnTo>
                  <a:lnTo>
                    <a:pt x="11291" y="8396"/>
                  </a:lnTo>
                  <a:lnTo>
                    <a:pt x="11081" y="8470"/>
                  </a:lnTo>
                  <a:lnTo>
                    <a:pt x="10862" y="8540"/>
                  </a:lnTo>
                  <a:lnTo>
                    <a:pt x="10635" y="8607"/>
                  </a:lnTo>
                  <a:lnTo>
                    <a:pt x="10399" y="8670"/>
                  </a:lnTo>
                  <a:lnTo>
                    <a:pt x="10154" y="8729"/>
                  </a:lnTo>
                  <a:lnTo>
                    <a:pt x="9902" y="8782"/>
                  </a:lnTo>
                  <a:lnTo>
                    <a:pt x="9642" y="8832"/>
                  </a:lnTo>
                  <a:lnTo>
                    <a:pt x="9375" y="8876"/>
                  </a:lnTo>
                  <a:lnTo>
                    <a:pt x="9102" y="8917"/>
                  </a:lnTo>
                  <a:lnTo>
                    <a:pt x="8822" y="8953"/>
                  </a:lnTo>
                  <a:lnTo>
                    <a:pt x="8535" y="8983"/>
                  </a:lnTo>
                  <a:lnTo>
                    <a:pt x="8244" y="9008"/>
                  </a:lnTo>
                  <a:lnTo>
                    <a:pt x="7948" y="9027"/>
                  </a:lnTo>
                  <a:lnTo>
                    <a:pt x="7646" y="9041"/>
                  </a:lnTo>
                  <a:lnTo>
                    <a:pt x="7340" y="9050"/>
                  </a:lnTo>
                  <a:lnTo>
                    <a:pt x="7030" y="9053"/>
                  </a:lnTo>
                  <a:lnTo>
                    <a:pt x="6720" y="9050"/>
                  </a:lnTo>
                  <a:lnTo>
                    <a:pt x="6414" y="9041"/>
                  </a:lnTo>
                  <a:lnTo>
                    <a:pt x="6112" y="9027"/>
                  </a:lnTo>
                  <a:lnTo>
                    <a:pt x="5816" y="9008"/>
                  </a:lnTo>
                  <a:lnTo>
                    <a:pt x="5525" y="8983"/>
                  </a:lnTo>
                  <a:lnTo>
                    <a:pt x="5238" y="8953"/>
                  </a:lnTo>
                  <a:lnTo>
                    <a:pt x="4958" y="8917"/>
                  </a:lnTo>
                  <a:lnTo>
                    <a:pt x="4685" y="8876"/>
                  </a:lnTo>
                  <a:lnTo>
                    <a:pt x="4418" y="8832"/>
                  </a:lnTo>
                  <a:lnTo>
                    <a:pt x="4158" y="8782"/>
                  </a:lnTo>
                  <a:lnTo>
                    <a:pt x="3906" y="8729"/>
                  </a:lnTo>
                  <a:lnTo>
                    <a:pt x="3661" y="8670"/>
                  </a:lnTo>
                  <a:lnTo>
                    <a:pt x="3425" y="8607"/>
                  </a:lnTo>
                  <a:lnTo>
                    <a:pt x="3197" y="8540"/>
                  </a:lnTo>
                  <a:lnTo>
                    <a:pt x="2979" y="8470"/>
                  </a:lnTo>
                  <a:lnTo>
                    <a:pt x="2769" y="8396"/>
                  </a:lnTo>
                  <a:lnTo>
                    <a:pt x="2570" y="8317"/>
                  </a:lnTo>
                  <a:lnTo>
                    <a:pt x="2380" y="8236"/>
                  </a:lnTo>
                  <a:lnTo>
                    <a:pt x="2201" y="8151"/>
                  </a:lnTo>
                  <a:lnTo>
                    <a:pt x="2034" y="8063"/>
                  </a:lnTo>
                  <a:lnTo>
                    <a:pt x="1877" y="7971"/>
                  </a:lnTo>
                  <a:lnTo>
                    <a:pt x="1731" y="7877"/>
                  </a:lnTo>
                  <a:lnTo>
                    <a:pt x="1599" y="7780"/>
                  </a:lnTo>
                  <a:lnTo>
                    <a:pt x="1477" y="7680"/>
                  </a:lnTo>
                  <a:lnTo>
                    <a:pt x="1370" y="7579"/>
                  </a:lnTo>
                  <a:lnTo>
                    <a:pt x="1275" y="7474"/>
                  </a:lnTo>
                  <a:lnTo>
                    <a:pt x="1194" y="7367"/>
                  </a:lnTo>
                  <a:lnTo>
                    <a:pt x="1127" y="7259"/>
                  </a:lnTo>
                  <a:lnTo>
                    <a:pt x="1074" y="7148"/>
                  </a:lnTo>
                  <a:lnTo>
                    <a:pt x="1035" y="7036"/>
                  </a:lnTo>
                  <a:lnTo>
                    <a:pt x="1012" y="6921"/>
                  </a:lnTo>
                  <a:lnTo>
                    <a:pt x="1004" y="6805"/>
                  </a:lnTo>
                  <a:lnTo>
                    <a:pt x="1005" y="6798"/>
                  </a:lnTo>
                  <a:lnTo>
                    <a:pt x="1006" y="6790"/>
                  </a:lnTo>
                  <a:lnTo>
                    <a:pt x="1004" y="6790"/>
                  </a:lnTo>
                  <a:lnTo>
                    <a:pt x="1004" y="5062"/>
                  </a:lnTo>
                  <a:lnTo>
                    <a:pt x="1131" y="5154"/>
                  </a:lnTo>
                  <a:lnTo>
                    <a:pt x="1263" y="5244"/>
                  </a:lnTo>
                  <a:lnTo>
                    <a:pt x="1402" y="5330"/>
                  </a:lnTo>
                  <a:lnTo>
                    <a:pt x="1547" y="5414"/>
                  </a:lnTo>
                  <a:lnTo>
                    <a:pt x="1697" y="5493"/>
                  </a:lnTo>
                  <a:lnTo>
                    <a:pt x="1852" y="5571"/>
                  </a:lnTo>
                  <a:lnTo>
                    <a:pt x="2013" y="5645"/>
                  </a:lnTo>
                  <a:lnTo>
                    <a:pt x="2178" y="5717"/>
                  </a:lnTo>
                  <a:lnTo>
                    <a:pt x="2348" y="5784"/>
                  </a:lnTo>
                  <a:lnTo>
                    <a:pt x="2523" y="5850"/>
                  </a:lnTo>
                  <a:lnTo>
                    <a:pt x="2701" y="5911"/>
                  </a:lnTo>
                  <a:lnTo>
                    <a:pt x="2883" y="5970"/>
                  </a:lnTo>
                  <a:lnTo>
                    <a:pt x="3070" y="6027"/>
                  </a:lnTo>
                  <a:lnTo>
                    <a:pt x="3260" y="6080"/>
                  </a:lnTo>
                  <a:lnTo>
                    <a:pt x="3453" y="6129"/>
                  </a:lnTo>
                  <a:lnTo>
                    <a:pt x="3650" y="6176"/>
                  </a:lnTo>
                  <a:lnTo>
                    <a:pt x="3848" y="6221"/>
                  </a:lnTo>
                  <a:lnTo>
                    <a:pt x="4050" y="6262"/>
                  </a:lnTo>
                  <a:lnTo>
                    <a:pt x="4255" y="6300"/>
                  </a:lnTo>
                  <a:lnTo>
                    <a:pt x="4461" y="6336"/>
                  </a:lnTo>
                  <a:lnTo>
                    <a:pt x="4670" y="6369"/>
                  </a:lnTo>
                  <a:lnTo>
                    <a:pt x="4880" y="6399"/>
                  </a:lnTo>
                  <a:lnTo>
                    <a:pt x="5092" y="6425"/>
                  </a:lnTo>
                  <a:lnTo>
                    <a:pt x="5305" y="6449"/>
                  </a:lnTo>
                  <a:lnTo>
                    <a:pt x="5519" y="6470"/>
                  </a:lnTo>
                  <a:lnTo>
                    <a:pt x="5733" y="6488"/>
                  </a:lnTo>
                  <a:lnTo>
                    <a:pt x="5949" y="6503"/>
                  </a:lnTo>
                  <a:lnTo>
                    <a:pt x="6165" y="6516"/>
                  </a:lnTo>
                  <a:lnTo>
                    <a:pt x="6382" y="6527"/>
                  </a:lnTo>
                  <a:lnTo>
                    <a:pt x="6598" y="6533"/>
                  </a:lnTo>
                  <a:lnTo>
                    <a:pt x="6814" y="6538"/>
                  </a:lnTo>
                  <a:lnTo>
                    <a:pt x="7030" y="6539"/>
                  </a:lnTo>
                  <a:lnTo>
                    <a:pt x="7246" y="6538"/>
                  </a:lnTo>
                  <a:lnTo>
                    <a:pt x="7462" y="6533"/>
                  </a:lnTo>
                  <a:lnTo>
                    <a:pt x="7678" y="6527"/>
                  </a:lnTo>
                  <a:lnTo>
                    <a:pt x="7895" y="6516"/>
                  </a:lnTo>
                  <a:lnTo>
                    <a:pt x="8111" y="6503"/>
                  </a:lnTo>
                  <a:lnTo>
                    <a:pt x="8327" y="6488"/>
                  </a:lnTo>
                  <a:lnTo>
                    <a:pt x="8541" y="6470"/>
                  </a:lnTo>
                  <a:lnTo>
                    <a:pt x="8755" y="6449"/>
                  </a:lnTo>
                  <a:lnTo>
                    <a:pt x="8968" y="6425"/>
                  </a:lnTo>
                  <a:lnTo>
                    <a:pt x="9180" y="6399"/>
                  </a:lnTo>
                  <a:lnTo>
                    <a:pt x="9390" y="6369"/>
                  </a:lnTo>
                  <a:lnTo>
                    <a:pt x="9599" y="6336"/>
                  </a:lnTo>
                  <a:lnTo>
                    <a:pt x="9805" y="6300"/>
                  </a:lnTo>
                  <a:lnTo>
                    <a:pt x="10010" y="6262"/>
                  </a:lnTo>
                  <a:lnTo>
                    <a:pt x="10212" y="6221"/>
                  </a:lnTo>
                  <a:lnTo>
                    <a:pt x="10410" y="6176"/>
                  </a:lnTo>
                  <a:lnTo>
                    <a:pt x="10607" y="6129"/>
                  </a:lnTo>
                  <a:lnTo>
                    <a:pt x="10800" y="6080"/>
                  </a:lnTo>
                  <a:lnTo>
                    <a:pt x="10990" y="6027"/>
                  </a:lnTo>
                  <a:lnTo>
                    <a:pt x="11177" y="5970"/>
                  </a:lnTo>
                  <a:lnTo>
                    <a:pt x="11358" y="5911"/>
                  </a:lnTo>
                  <a:lnTo>
                    <a:pt x="11537" y="5850"/>
                  </a:lnTo>
                  <a:lnTo>
                    <a:pt x="11712" y="5784"/>
                  </a:lnTo>
                  <a:lnTo>
                    <a:pt x="11882" y="5717"/>
                  </a:lnTo>
                  <a:lnTo>
                    <a:pt x="12047" y="5645"/>
                  </a:lnTo>
                  <a:lnTo>
                    <a:pt x="12208" y="5571"/>
                  </a:lnTo>
                  <a:lnTo>
                    <a:pt x="12363" y="5493"/>
                  </a:lnTo>
                  <a:lnTo>
                    <a:pt x="12513" y="5414"/>
                  </a:lnTo>
                  <a:lnTo>
                    <a:pt x="12658" y="5330"/>
                  </a:lnTo>
                  <a:lnTo>
                    <a:pt x="12797" y="5244"/>
                  </a:lnTo>
                  <a:lnTo>
                    <a:pt x="12929" y="5154"/>
                  </a:lnTo>
                  <a:lnTo>
                    <a:pt x="13056" y="5062"/>
                  </a:lnTo>
                  <a:lnTo>
                    <a:pt x="13056" y="6790"/>
                  </a:lnTo>
                  <a:close/>
                  <a:moveTo>
                    <a:pt x="13056" y="9808"/>
                  </a:moveTo>
                  <a:lnTo>
                    <a:pt x="13054" y="9808"/>
                  </a:lnTo>
                  <a:lnTo>
                    <a:pt x="13055" y="9816"/>
                  </a:lnTo>
                  <a:lnTo>
                    <a:pt x="13056" y="9824"/>
                  </a:lnTo>
                  <a:lnTo>
                    <a:pt x="13048" y="9940"/>
                  </a:lnTo>
                  <a:lnTo>
                    <a:pt x="13025" y="10053"/>
                  </a:lnTo>
                  <a:lnTo>
                    <a:pt x="12986" y="10166"/>
                  </a:lnTo>
                  <a:lnTo>
                    <a:pt x="12933" y="10277"/>
                  </a:lnTo>
                  <a:lnTo>
                    <a:pt x="12866" y="10385"/>
                  </a:lnTo>
                  <a:lnTo>
                    <a:pt x="12785" y="10492"/>
                  </a:lnTo>
                  <a:lnTo>
                    <a:pt x="12690" y="10597"/>
                  </a:lnTo>
                  <a:lnTo>
                    <a:pt x="12582" y="10698"/>
                  </a:lnTo>
                  <a:lnTo>
                    <a:pt x="12461" y="10798"/>
                  </a:lnTo>
                  <a:lnTo>
                    <a:pt x="12329" y="10895"/>
                  </a:lnTo>
                  <a:lnTo>
                    <a:pt x="12183" y="10989"/>
                  </a:lnTo>
                  <a:lnTo>
                    <a:pt x="12026" y="11080"/>
                  </a:lnTo>
                  <a:lnTo>
                    <a:pt x="11859" y="11169"/>
                  </a:lnTo>
                  <a:lnTo>
                    <a:pt x="11680" y="11253"/>
                  </a:lnTo>
                  <a:lnTo>
                    <a:pt x="11490" y="11335"/>
                  </a:lnTo>
                  <a:lnTo>
                    <a:pt x="11291" y="11413"/>
                  </a:lnTo>
                  <a:lnTo>
                    <a:pt x="11081" y="11488"/>
                  </a:lnTo>
                  <a:lnTo>
                    <a:pt x="10862" y="11558"/>
                  </a:lnTo>
                  <a:lnTo>
                    <a:pt x="10635" y="11625"/>
                  </a:lnTo>
                  <a:lnTo>
                    <a:pt x="10399" y="11688"/>
                  </a:lnTo>
                  <a:lnTo>
                    <a:pt x="10154" y="11746"/>
                  </a:lnTo>
                  <a:lnTo>
                    <a:pt x="9902" y="11800"/>
                  </a:lnTo>
                  <a:lnTo>
                    <a:pt x="9642" y="11850"/>
                  </a:lnTo>
                  <a:lnTo>
                    <a:pt x="9375" y="11895"/>
                  </a:lnTo>
                  <a:lnTo>
                    <a:pt x="9102" y="11934"/>
                  </a:lnTo>
                  <a:lnTo>
                    <a:pt x="8822" y="11971"/>
                  </a:lnTo>
                  <a:lnTo>
                    <a:pt x="8535" y="12001"/>
                  </a:lnTo>
                  <a:lnTo>
                    <a:pt x="8244" y="12026"/>
                  </a:lnTo>
                  <a:lnTo>
                    <a:pt x="7948" y="12045"/>
                  </a:lnTo>
                  <a:lnTo>
                    <a:pt x="7646" y="12060"/>
                  </a:lnTo>
                  <a:lnTo>
                    <a:pt x="7340" y="12068"/>
                  </a:lnTo>
                  <a:lnTo>
                    <a:pt x="7030" y="12071"/>
                  </a:lnTo>
                  <a:lnTo>
                    <a:pt x="6720" y="12068"/>
                  </a:lnTo>
                  <a:lnTo>
                    <a:pt x="6414" y="12060"/>
                  </a:lnTo>
                  <a:lnTo>
                    <a:pt x="6112" y="12045"/>
                  </a:lnTo>
                  <a:lnTo>
                    <a:pt x="5816" y="12026"/>
                  </a:lnTo>
                  <a:lnTo>
                    <a:pt x="5525" y="12001"/>
                  </a:lnTo>
                  <a:lnTo>
                    <a:pt x="5238" y="11971"/>
                  </a:lnTo>
                  <a:lnTo>
                    <a:pt x="4958" y="11934"/>
                  </a:lnTo>
                  <a:lnTo>
                    <a:pt x="4685" y="11895"/>
                  </a:lnTo>
                  <a:lnTo>
                    <a:pt x="4418" y="11850"/>
                  </a:lnTo>
                  <a:lnTo>
                    <a:pt x="4158" y="11800"/>
                  </a:lnTo>
                  <a:lnTo>
                    <a:pt x="3906" y="11746"/>
                  </a:lnTo>
                  <a:lnTo>
                    <a:pt x="3661" y="11688"/>
                  </a:lnTo>
                  <a:lnTo>
                    <a:pt x="3425" y="11625"/>
                  </a:lnTo>
                  <a:lnTo>
                    <a:pt x="3197" y="11558"/>
                  </a:lnTo>
                  <a:lnTo>
                    <a:pt x="2979" y="11488"/>
                  </a:lnTo>
                  <a:lnTo>
                    <a:pt x="2769" y="11413"/>
                  </a:lnTo>
                  <a:lnTo>
                    <a:pt x="2570" y="11335"/>
                  </a:lnTo>
                  <a:lnTo>
                    <a:pt x="2380" y="11253"/>
                  </a:lnTo>
                  <a:lnTo>
                    <a:pt x="2201" y="11169"/>
                  </a:lnTo>
                  <a:lnTo>
                    <a:pt x="2034" y="11080"/>
                  </a:lnTo>
                  <a:lnTo>
                    <a:pt x="1877" y="10989"/>
                  </a:lnTo>
                  <a:lnTo>
                    <a:pt x="1731" y="10895"/>
                  </a:lnTo>
                  <a:lnTo>
                    <a:pt x="1599" y="10798"/>
                  </a:lnTo>
                  <a:lnTo>
                    <a:pt x="1477" y="10698"/>
                  </a:lnTo>
                  <a:lnTo>
                    <a:pt x="1370" y="10597"/>
                  </a:lnTo>
                  <a:lnTo>
                    <a:pt x="1275" y="10492"/>
                  </a:lnTo>
                  <a:lnTo>
                    <a:pt x="1194" y="10385"/>
                  </a:lnTo>
                  <a:lnTo>
                    <a:pt x="1127" y="10277"/>
                  </a:lnTo>
                  <a:lnTo>
                    <a:pt x="1074" y="10166"/>
                  </a:lnTo>
                  <a:lnTo>
                    <a:pt x="1035" y="10053"/>
                  </a:lnTo>
                  <a:lnTo>
                    <a:pt x="1012" y="9940"/>
                  </a:lnTo>
                  <a:lnTo>
                    <a:pt x="1004" y="9824"/>
                  </a:lnTo>
                  <a:lnTo>
                    <a:pt x="1005" y="9816"/>
                  </a:lnTo>
                  <a:lnTo>
                    <a:pt x="1006" y="9808"/>
                  </a:lnTo>
                  <a:lnTo>
                    <a:pt x="1004" y="9808"/>
                  </a:lnTo>
                  <a:lnTo>
                    <a:pt x="1004" y="7929"/>
                  </a:lnTo>
                  <a:lnTo>
                    <a:pt x="1106" y="8027"/>
                  </a:lnTo>
                  <a:lnTo>
                    <a:pt x="1215" y="8124"/>
                  </a:lnTo>
                  <a:lnTo>
                    <a:pt x="1334" y="8216"/>
                  </a:lnTo>
                  <a:lnTo>
                    <a:pt x="1459" y="8306"/>
                  </a:lnTo>
                  <a:lnTo>
                    <a:pt x="1592" y="8393"/>
                  </a:lnTo>
                  <a:lnTo>
                    <a:pt x="1732" y="8477"/>
                  </a:lnTo>
                  <a:lnTo>
                    <a:pt x="1880" y="8558"/>
                  </a:lnTo>
                  <a:lnTo>
                    <a:pt x="2034" y="8635"/>
                  </a:lnTo>
                  <a:lnTo>
                    <a:pt x="2194" y="8709"/>
                  </a:lnTo>
                  <a:lnTo>
                    <a:pt x="2361" y="8781"/>
                  </a:lnTo>
                  <a:lnTo>
                    <a:pt x="2534" y="8849"/>
                  </a:lnTo>
                  <a:lnTo>
                    <a:pt x="2712" y="8915"/>
                  </a:lnTo>
                  <a:lnTo>
                    <a:pt x="2895" y="8976"/>
                  </a:lnTo>
                  <a:lnTo>
                    <a:pt x="3083" y="9035"/>
                  </a:lnTo>
                  <a:lnTo>
                    <a:pt x="3277" y="9092"/>
                  </a:lnTo>
                  <a:lnTo>
                    <a:pt x="3474" y="9144"/>
                  </a:lnTo>
                  <a:lnTo>
                    <a:pt x="3677" y="9193"/>
                  </a:lnTo>
                  <a:lnTo>
                    <a:pt x="3883" y="9241"/>
                  </a:lnTo>
                  <a:lnTo>
                    <a:pt x="4091" y="9284"/>
                  </a:lnTo>
                  <a:lnTo>
                    <a:pt x="4305" y="9324"/>
                  </a:lnTo>
                  <a:lnTo>
                    <a:pt x="4521" y="9360"/>
                  </a:lnTo>
                  <a:lnTo>
                    <a:pt x="4740" y="9394"/>
                  </a:lnTo>
                  <a:lnTo>
                    <a:pt x="4962" y="9426"/>
                  </a:lnTo>
                  <a:lnTo>
                    <a:pt x="5186" y="9453"/>
                  </a:lnTo>
                  <a:lnTo>
                    <a:pt x="5412" y="9477"/>
                  </a:lnTo>
                  <a:lnTo>
                    <a:pt x="5640" y="9498"/>
                  </a:lnTo>
                  <a:lnTo>
                    <a:pt x="5869" y="9516"/>
                  </a:lnTo>
                  <a:lnTo>
                    <a:pt x="6100" y="9530"/>
                  </a:lnTo>
                  <a:lnTo>
                    <a:pt x="6332" y="9541"/>
                  </a:lnTo>
                  <a:lnTo>
                    <a:pt x="6564" y="9549"/>
                  </a:lnTo>
                  <a:lnTo>
                    <a:pt x="6797" y="9554"/>
                  </a:lnTo>
                  <a:lnTo>
                    <a:pt x="7030" y="9556"/>
                  </a:lnTo>
                  <a:lnTo>
                    <a:pt x="7263" y="9554"/>
                  </a:lnTo>
                  <a:lnTo>
                    <a:pt x="7496" y="9549"/>
                  </a:lnTo>
                  <a:lnTo>
                    <a:pt x="7728" y="9541"/>
                  </a:lnTo>
                  <a:lnTo>
                    <a:pt x="7960" y="9530"/>
                  </a:lnTo>
                  <a:lnTo>
                    <a:pt x="8191" y="9516"/>
                  </a:lnTo>
                  <a:lnTo>
                    <a:pt x="8420" y="9498"/>
                  </a:lnTo>
                  <a:lnTo>
                    <a:pt x="8648" y="9477"/>
                  </a:lnTo>
                  <a:lnTo>
                    <a:pt x="8874" y="9453"/>
                  </a:lnTo>
                  <a:lnTo>
                    <a:pt x="9098" y="9426"/>
                  </a:lnTo>
                  <a:lnTo>
                    <a:pt x="9320" y="9394"/>
                  </a:lnTo>
                  <a:lnTo>
                    <a:pt x="9539" y="9360"/>
                  </a:lnTo>
                  <a:lnTo>
                    <a:pt x="9755" y="9324"/>
                  </a:lnTo>
                  <a:lnTo>
                    <a:pt x="9969" y="9284"/>
                  </a:lnTo>
                  <a:lnTo>
                    <a:pt x="10177" y="9241"/>
                  </a:lnTo>
                  <a:lnTo>
                    <a:pt x="10383" y="9193"/>
                  </a:lnTo>
                  <a:lnTo>
                    <a:pt x="10586" y="9144"/>
                  </a:lnTo>
                  <a:lnTo>
                    <a:pt x="10783" y="9092"/>
                  </a:lnTo>
                  <a:lnTo>
                    <a:pt x="10977" y="9035"/>
                  </a:lnTo>
                  <a:lnTo>
                    <a:pt x="11165" y="8976"/>
                  </a:lnTo>
                  <a:lnTo>
                    <a:pt x="11348" y="8915"/>
                  </a:lnTo>
                  <a:lnTo>
                    <a:pt x="11526" y="8849"/>
                  </a:lnTo>
                  <a:lnTo>
                    <a:pt x="11699" y="8781"/>
                  </a:lnTo>
                  <a:lnTo>
                    <a:pt x="11866" y="8709"/>
                  </a:lnTo>
                  <a:lnTo>
                    <a:pt x="12026" y="8635"/>
                  </a:lnTo>
                  <a:lnTo>
                    <a:pt x="12180" y="8558"/>
                  </a:lnTo>
                  <a:lnTo>
                    <a:pt x="12328" y="8477"/>
                  </a:lnTo>
                  <a:lnTo>
                    <a:pt x="12468" y="8393"/>
                  </a:lnTo>
                  <a:lnTo>
                    <a:pt x="12601" y="8306"/>
                  </a:lnTo>
                  <a:lnTo>
                    <a:pt x="12726" y="8216"/>
                  </a:lnTo>
                  <a:lnTo>
                    <a:pt x="12845" y="8124"/>
                  </a:lnTo>
                  <a:lnTo>
                    <a:pt x="12954" y="8027"/>
                  </a:lnTo>
                  <a:lnTo>
                    <a:pt x="13056" y="7929"/>
                  </a:lnTo>
                  <a:lnTo>
                    <a:pt x="13056" y="9808"/>
                  </a:lnTo>
                  <a:close/>
                  <a:moveTo>
                    <a:pt x="13056" y="12826"/>
                  </a:moveTo>
                  <a:lnTo>
                    <a:pt x="13048" y="12942"/>
                  </a:lnTo>
                  <a:lnTo>
                    <a:pt x="13025" y="13057"/>
                  </a:lnTo>
                  <a:lnTo>
                    <a:pt x="12986" y="13170"/>
                  </a:lnTo>
                  <a:lnTo>
                    <a:pt x="12933" y="13281"/>
                  </a:lnTo>
                  <a:lnTo>
                    <a:pt x="12866" y="13391"/>
                  </a:lnTo>
                  <a:lnTo>
                    <a:pt x="12785" y="13499"/>
                  </a:lnTo>
                  <a:lnTo>
                    <a:pt x="12690" y="13603"/>
                  </a:lnTo>
                  <a:lnTo>
                    <a:pt x="12583" y="13707"/>
                  </a:lnTo>
                  <a:lnTo>
                    <a:pt x="12461" y="13806"/>
                  </a:lnTo>
                  <a:lnTo>
                    <a:pt x="12329" y="13904"/>
                  </a:lnTo>
                  <a:lnTo>
                    <a:pt x="12183" y="13999"/>
                  </a:lnTo>
                  <a:lnTo>
                    <a:pt x="12026" y="14091"/>
                  </a:lnTo>
                  <a:lnTo>
                    <a:pt x="11859" y="14180"/>
                  </a:lnTo>
                  <a:lnTo>
                    <a:pt x="11680" y="14265"/>
                  </a:lnTo>
                  <a:lnTo>
                    <a:pt x="11490" y="14348"/>
                  </a:lnTo>
                  <a:lnTo>
                    <a:pt x="11291" y="14426"/>
                  </a:lnTo>
                  <a:lnTo>
                    <a:pt x="11081" y="14501"/>
                  </a:lnTo>
                  <a:lnTo>
                    <a:pt x="10863" y="14572"/>
                  </a:lnTo>
                  <a:lnTo>
                    <a:pt x="10635" y="14639"/>
                  </a:lnTo>
                  <a:lnTo>
                    <a:pt x="10399" y="14703"/>
                  </a:lnTo>
                  <a:lnTo>
                    <a:pt x="10154" y="14761"/>
                  </a:lnTo>
                  <a:lnTo>
                    <a:pt x="9902" y="14815"/>
                  </a:lnTo>
                  <a:lnTo>
                    <a:pt x="9642" y="14866"/>
                  </a:lnTo>
                  <a:lnTo>
                    <a:pt x="9376" y="14911"/>
                  </a:lnTo>
                  <a:lnTo>
                    <a:pt x="9102" y="14951"/>
                  </a:lnTo>
                  <a:lnTo>
                    <a:pt x="8822" y="14987"/>
                  </a:lnTo>
                  <a:lnTo>
                    <a:pt x="8536" y="15018"/>
                  </a:lnTo>
                  <a:lnTo>
                    <a:pt x="8244" y="15043"/>
                  </a:lnTo>
                  <a:lnTo>
                    <a:pt x="7948" y="15063"/>
                  </a:lnTo>
                  <a:lnTo>
                    <a:pt x="7647" y="15077"/>
                  </a:lnTo>
                  <a:lnTo>
                    <a:pt x="7340" y="15086"/>
                  </a:lnTo>
                  <a:lnTo>
                    <a:pt x="7030" y="15089"/>
                  </a:lnTo>
                  <a:lnTo>
                    <a:pt x="6720" y="15086"/>
                  </a:lnTo>
                  <a:lnTo>
                    <a:pt x="6413" y="15077"/>
                  </a:lnTo>
                  <a:lnTo>
                    <a:pt x="6112" y="15063"/>
                  </a:lnTo>
                  <a:lnTo>
                    <a:pt x="5816" y="15043"/>
                  </a:lnTo>
                  <a:lnTo>
                    <a:pt x="5524" y="15018"/>
                  </a:lnTo>
                  <a:lnTo>
                    <a:pt x="5238" y="14987"/>
                  </a:lnTo>
                  <a:lnTo>
                    <a:pt x="4958" y="14951"/>
                  </a:lnTo>
                  <a:lnTo>
                    <a:pt x="4684" y="14911"/>
                  </a:lnTo>
                  <a:lnTo>
                    <a:pt x="4418" y="14866"/>
                  </a:lnTo>
                  <a:lnTo>
                    <a:pt x="4158" y="14815"/>
                  </a:lnTo>
                  <a:lnTo>
                    <a:pt x="3906" y="14761"/>
                  </a:lnTo>
                  <a:lnTo>
                    <a:pt x="3661" y="14703"/>
                  </a:lnTo>
                  <a:lnTo>
                    <a:pt x="3425" y="14639"/>
                  </a:lnTo>
                  <a:lnTo>
                    <a:pt x="3197" y="14572"/>
                  </a:lnTo>
                  <a:lnTo>
                    <a:pt x="2979" y="14501"/>
                  </a:lnTo>
                  <a:lnTo>
                    <a:pt x="2769" y="14426"/>
                  </a:lnTo>
                  <a:lnTo>
                    <a:pt x="2570" y="14348"/>
                  </a:lnTo>
                  <a:lnTo>
                    <a:pt x="2380" y="14265"/>
                  </a:lnTo>
                  <a:lnTo>
                    <a:pt x="2201" y="14180"/>
                  </a:lnTo>
                  <a:lnTo>
                    <a:pt x="2034" y="14091"/>
                  </a:lnTo>
                  <a:lnTo>
                    <a:pt x="1877" y="13999"/>
                  </a:lnTo>
                  <a:lnTo>
                    <a:pt x="1731" y="13904"/>
                  </a:lnTo>
                  <a:lnTo>
                    <a:pt x="1599" y="13806"/>
                  </a:lnTo>
                  <a:lnTo>
                    <a:pt x="1477" y="13707"/>
                  </a:lnTo>
                  <a:lnTo>
                    <a:pt x="1370" y="13603"/>
                  </a:lnTo>
                  <a:lnTo>
                    <a:pt x="1275" y="13499"/>
                  </a:lnTo>
                  <a:lnTo>
                    <a:pt x="1194" y="13391"/>
                  </a:lnTo>
                  <a:lnTo>
                    <a:pt x="1127" y="13281"/>
                  </a:lnTo>
                  <a:lnTo>
                    <a:pt x="1074" y="13170"/>
                  </a:lnTo>
                  <a:lnTo>
                    <a:pt x="1035" y="13057"/>
                  </a:lnTo>
                  <a:lnTo>
                    <a:pt x="1012" y="12942"/>
                  </a:lnTo>
                  <a:lnTo>
                    <a:pt x="1004" y="12826"/>
                  </a:lnTo>
                  <a:lnTo>
                    <a:pt x="1004" y="10947"/>
                  </a:lnTo>
                  <a:lnTo>
                    <a:pt x="1106" y="11045"/>
                  </a:lnTo>
                  <a:lnTo>
                    <a:pt x="1215" y="11141"/>
                  </a:lnTo>
                  <a:lnTo>
                    <a:pt x="1334" y="11234"/>
                  </a:lnTo>
                  <a:lnTo>
                    <a:pt x="1459" y="11324"/>
                  </a:lnTo>
                  <a:lnTo>
                    <a:pt x="1592" y="11410"/>
                  </a:lnTo>
                  <a:lnTo>
                    <a:pt x="1732" y="11495"/>
                  </a:lnTo>
                  <a:lnTo>
                    <a:pt x="1880" y="11575"/>
                  </a:lnTo>
                  <a:lnTo>
                    <a:pt x="2034" y="11653"/>
                  </a:lnTo>
                  <a:lnTo>
                    <a:pt x="2194" y="11727"/>
                  </a:lnTo>
                  <a:lnTo>
                    <a:pt x="2361" y="11799"/>
                  </a:lnTo>
                  <a:lnTo>
                    <a:pt x="2534" y="11867"/>
                  </a:lnTo>
                  <a:lnTo>
                    <a:pt x="2712" y="11932"/>
                  </a:lnTo>
                  <a:lnTo>
                    <a:pt x="2895" y="11994"/>
                  </a:lnTo>
                  <a:lnTo>
                    <a:pt x="3083" y="12053"/>
                  </a:lnTo>
                  <a:lnTo>
                    <a:pt x="3277" y="12109"/>
                  </a:lnTo>
                  <a:lnTo>
                    <a:pt x="3474" y="12162"/>
                  </a:lnTo>
                  <a:lnTo>
                    <a:pt x="3677" y="12211"/>
                  </a:lnTo>
                  <a:lnTo>
                    <a:pt x="3883" y="12258"/>
                  </a:lnTo>
                  <a:lnTo>
                    <a:pt x="4091" y="12302"/>
                  </a:lnTo>
                  <a:lnTo>
                    <a:pt x="4305" y="12342"/>
                  </a:lnTo>
                  <a:lnTo>
                    <a:pt x="4521" y="12378"/>
                  </a:lnTo>
                  <a:lnTo>
                    <a:pt x="4740" y="12412"/>
                  </a:lnTo>
                  <a:lnTo>
                    <a:pt x="4962" y="12443"/>
                  </a:lnTo>
                  <a:lnTo>
                    <a:pt x="5186" y="12471"/>
                  </a:lnTo>
                  <a:lnTo>
                    <a:pt x="5412" y="12495"/>
                  </a:lnTo>
                  <a:lnTo>
                    <a:pt x="5640" y="12516"/>
                  </a:lnTo>
                  <a:lnTo>
                    <a:pt x="5869" y="12534"/>
                  </a:lnTo>
                  <a:lnTo>
                    <a:pt x="6100" y="12548"/>
                  </a:lnTo>
                  <a:lnTo>
                    <a:pt x="6332" y="12559"/>
                  </a:lnTo>
                  <a:lnTo>
                    <a:pt x="6564" y="12567"/>
                  </a:lnTo>
                  <a:lnTo>
                    <a:pt x="6797" y="12572"/>
                  </a:lnTo>
                  <a:lnTo>
                    <a:pt x="7030" y="12574"/>
                  </a:lnTo>
                  <a:lnTo>
                    <a:pt x="7263" y="12572"/>
                  </a:lnTo>
                  <a:lnTo>
                    <a:pt x="7496" y="12567"/>
                  </a:lnTo>
                  <a:lnTo>
                    <a:pt x="7728" y="12559"/>
                  </a:lnTo>
                  <a:lnTo>
                    <a:pt x="7960" y="12548"/>
                  </a:lnTo>
                  <a:lnTo>
                    <a:pt x="8191" y="12534"/>
                  </a:lnTo>
                  <a:lnTo>
                    <a:pt x="8420" y="12516"/>
                  </a:lnTo>
                  <a:lnTo>
                    <a:pt x="8648" y="12495"/>
                  </a:lnTo>
                  <a:lnTo>
                    <a:pt x="8874" y="12471"/>
                  </a:lnTo>
                  <a:lnTo>
                    <a:pt x="9098" y="12443"/>
                  </a:lnTo>
                  <a:lnTo>
                    <a:pt x="9320" y="12412"/>
                  </a:lnTo>
                  <a:lnTo>
                    <a:pt x="9539" y="12378"/>
                  </a:lnTo>
                  <a:lnTo>
                    <a:pt x="9755" y="12342"/>
                  </a:lnTo>
                  <a:lnTo>
                    <a:pt x="9969" y="12302"/>
                  </a:lnTo>
                  <a:lnTo>
                    <a:pt x="10177" y="12258"/>
                  </a:lnTo>
                  <a:lnTo>
                    <a:pt x="10383" y="12211"/>
                  </a:lnTo>
                  <a:lnTo>
                    <a:pt x="10586" y="12162"/>
                  </a:lnTo>
                  <a:lnTo>
                    <a:pt x="10783" y="12109"/>
                  </a:lnTo>
                  <a:lnTo>
                    <a:pt x="10977" y="12053"/>
                  </a:lnTo>
                  <a:lnTo>
                    <a:pt x="11165" y="11994"/>
                  </a:lnTo>
                  <a:lnTo>
                    <a:pt x="11348" y="11932"/>
                  </a:lnTo>
                  <a:lnTo>
                    <a:pt x="11526" y="11867"/>
                  </a:lnTo>
                  <a:lnTo>
                    <a:pt x="11699" y="11799"/>
                  </a:lnTo>
                  <a:lnTo>
                    <a:pt x="11866" y="11727"/>
                  </a:lnTo>
                  <a:lnTo>
                    <a:pt x="12026" y="11653"/>
                  </a:lnTo>
                  <a:lnTo>
                    <a:pt x="12180" y="11575"/>
                  </a:lnTo>
                  <a:lnTo>
                    <a:pt x="12328" y="11495"/>
                  </a:lnTo>
                  <a:lnTo>
                    <a:pt x="12468" y="11410"/>
                  </a:lnTo>
                  <a:lnTo>
                    <a:pt x="12601" y="11324"/>
                  </a:lnTo>
                  <a:lnTo>
                    <a:pt x="12726" y="11234"/>
                  </a:lnTo>
                  <a:lnTo>
                    <a:pt x="12845" y="11141"/>
                  </a:lnTo>
                  <a:lnTo>
                    <a:pt x="12954" y="11045"/>
                  </a:lnTo>
                  <a:lnTo>
                    <a:pt x="13056" y="10947"/>
                  </a:lnTo>
                  <a:lnTo>
                    <a:pt x="13056" y="12826"/>
                  </a:lnTo>
                  <a:close/>
                  <a:moveTo>
                    <a:pt x="7030" y="0"/>
                  </a:moveTo>
                  <a:lnTo>
                    <a:pt x="6712" y="3"/>
                  </a:lnTo>
                  <a:lnTo>
                    <a:pt x="6393" y="12"/>
                  </a:lnTo>
                  <a:lnTo>
                    <a:pt x="6074" y="27"/>
                  </a:lnTo>
                  <a:lnTo>
                    <a:pt x="5756" y="48"/>
                  </a:lnTo>
                  <a:lnTo>
                    <a:pt x="5439" y="75"/>
                  </a:lnTo>
                  <a:lnTo>
                    <a:pt x="5124" y="110"/>
                  </a:lnTo>
                  <a:lnTo>
                    <a:pt x="4812" y="149"/>
                  </a:lnTo>
                  <a:lnTo>
                    <a:pt x="4503" y="195"/>
                  </a:lnTo>
                  <a:lnTo>
                    <a:pt x="4199" y="247"/>
                  </a:lnTo>
                  <a:lnTo>
                    <a:pt x="3900" y="306"/>
                  </a:lnTo>
                  <a:lnTo>
                    <a:pt x="3605" y="370"/>
                  </a:lnTo>
                  <a:lnTo>
                    <a:pt x="3318" y="442"/>
                  </a:lnTo>
                  <a:lnTo>
                    <a:pt x="3037" y="520"/>
                  </a:lnTo>
                  <a:lnTo>
                    <a:pt x="2765" y="604"/>
                  </a:lnTo>
                  <a:lnTo>
                    <a:pt x="2501" y="695"/>
                  </a:lnTo>
                  <a:lnTo>
                    <a:pt x="2246" y="792"/>
                  </a:lnTo>
                  <a:lnTo>
                    <a:pt x="2001" y="896"/>
                  </a:lnTo>
                  <a:lnTo>
                    <a:pt x="1766" y="1007"/>
                  </a:lnTo>
                  <a:lnTo>
                    <a:pt x="1543" y="1124"/>
                  </a:lnTo>
                  <a:lnTo>
                    <a:pt x="1332" y="1247"/>
                  </a:lnTo>
                  <a:lnTo>
                    <a:pt x="1133" y="1378"/>
                  </a:lnTo>
                  <a:lnTo>
                    <a:pt x="948" y="1515"/>
                  </a:lnTo>
                  <a:lnTo>
                    <a:pt x="778" y="1660"/>
                  </a:lnTo>
                  <a:lnTo>
                    <a:pt x="623" y="1811"/>
                  </a:lnTo>
                  <a:lnTo>
                    <a:pt x="482" y="1969"/>
                  </a:lnTo>
                  <a:lnTo>
                    <a:pt x="359" y="2134"/>
                  </a:lnTo>
                  <a:lnTo>
                    <a:pt x="252" y="2305"/>
                  </a:lnTo>
                  <a:lnTo>
                    <a:pt x="163" y="2484"/>
                  </a:lnTo>
                  <a:lnTo>
                    <a:pt x="93" y="2670"/>
                  </a:lnTo>
                  <a:lnTo>
                    <a:pt x="42" y="2862"/>
                  </a:lnTo>
                  <a:lnTo>
                    <a:pt x="11" y="3062"/>
                  </a:lnTo>
                  <a:lnTo>
                    <a:pt x="0" y="3269"/>
                  </a:lnTo>
                  <a:lnTo>
                    <a:pt x="0" y="12826"/>
                  </a:lnTo>
                  <a:lnTo>
                    <a:pt x="11" y="13033"/>
                  </a:lnTo>
                  <a:lnTo>
                    <a:pt x="42" y="13232"/>
                  </a:lnTo>
                  <a:lnTo>
                    <a:pt x="93" y="13425"/>
                  </a:lnTo>
                  <a:lnTo>
                    <a:pt x="163" y="13611"/>
                  </a:lnTo>
                  <a:lnTo>
                    <a:pt x="252" y="13789"/>
                  </a:lnTo>
                  <a:lnTo>
                    <a:pt x="359" y="13961"/>
                  </a:lnTo>
                  <a:lnTo>
                    <a:pt x="482" y="14126"/>
                  </a:lnTo>
                  <a:lnTo>
                    <a:pt x="623" y="14284"/>
                  </a:lnTo>
                  <a:lnTo>
                    <a:pt x="778" y="14435"/>
                  </a:lnTo>
                  <a:lnTo>
                    <a:pt x="948" y="14579"/>
                  </a:lnTo>
                  <a:lnTo>
                    <a:pt x="1133" y="14717"/>
                  </a:lnTo>
                  <a:lnTo>
                    <a:pt x="1332" y="14847"/>
                  </a:lnTo>
                  <a:lnTo>
                    <a:pt x="1543" y="14971"/>
                  </a:lnTo>
                  <a:lnTo>
                    <a:pt x="1766" y="15088"/>
                  </a:lnTo>
                  <a:lnTo>
                    <a:pt x="2001" y="15199"/>
                  </a:lnTo>
                  <a:lnTo>
                    <a:pt x="2246" y="15302"/>
                  </a:lnTo>
                  <a:lnTo>
                    <a:pt x="2501" y="15400"/>
                  </a:lnTo>
                  <a:lnTo>
                    <a:pt x="2765" y="15490"/>
                  </a:lnTo>
                  <a:lnTo>
                    <a:pt x="3037" y="15575"/>
                  </a:lnTo>
                  <a:lnTo>
                    <a:pt x="3318" y="15652"/>
                  </a:lnTo>
                  <a:lnTo>
                    <a:pt x="3605" y="15724"/>
                  </a:lnTo>
                  <a:lnTo>
                    <a:pt x="3900" y="15789"/>
                  </a:lnTo>
                  <a:lnTo>
                    <a:pt x="4199" y="15848"/>
                  </a:lnTo>
                  <a:lnTo>
                    <a:pt x="4503" y="15900"/>
                  </a:lnTo>
                  <a:lnTo>
                    <a:pt x="4812" y="15946"/>
                  </a:lnTo>
                  <a:lnTo>
                    <a:pt x="5124" y="15985"/>
                  </a:lnTo>
                  <a:lnTo>
                    <a:pt x="5439" y="16020"/>
                  </a:lnTo>
                  <a:lnTo>
                    <a:pt x="5756" y="16047"/>
                  </a:lnTo>
                  <a:lnTo>
                    <a:pt x="6074" y="16068"/>
                  </a:lnTo>
                  <a:lnTo>
                    <a:pt x="6393" y="16083"/>
                  </a:lnTo>
                  <a:lnTo>
                    <a:pt x="6712" y="16092"/>
                  </a:lnTo>
                  <a:lnTo>
                    <a:pt x="7030" y="16095"/>
                  </a:lnTo>
                  <a:lnTo>
                    <a:pt x="7348" y="16092"/>
                  </a:lnTo>
                  <a:lnTo>
                    <a:pt x="7667" y="16083"/>
                  </a:lnTo>
                  <a:lnTo>
                    <a:pt x="7986" y="16068"/>
                  </a:lnTo>
                  <a:lnTo>
                    <a:pt x="8304" y="16047"/>
                  </a:lnTo>
                  <a:lnTo>
                    <a:pt x="8621" y="16020"/>
                  </a:lnTo>
                  <a:lnTo>
                    <a:pt x="8936" y="15985"/>
                  </a:lnTo>
                  <a:lnTo>
                    <a:pt x="9248" y="15946"/>
                  </a:lnTo>
                  <a:lnTo>
                    <a:pt x="9557" y="15900"/>
                  </a:lnTo>
                  <a:lnTo>
                    <a:pt x="9861" y="15848"/>
                  </a:lnTo>
                  <a:lnTo>
                    <a:pt x="10160" y="15789"/>
                  </a:lnTo>
                  <a:lnTo>
                    <a:pt x="10455" y="15724"/>
                  </a:lnTo>
                  <a:lnTo>
                    <a:pt x="10742" y="15652"/>
                  </a:lnTo>
                  <a:lnTo>
                    <a:pt x="11023" y="15575"/>
                  </a:lnTo>
                  <a:lnTo>
                    <a:pt x="11295" y="15490"/>
                  </a:lnTo>
                  <a:lnTo>
                    <a:pt x="11559" y="15400"/>
                  </a:lnTo>
                  <a:lnTo>
                    <a:pt x="11814" y="15302"/>
                  </a:lnTo>
                  <a:lnTo>
                    <a:pt x="12059" y="15199"/>
                  </a:lnTo>
                  <a:lnTo>
                    <a:pt x="12294" y="15088"/>
                  </a:lnTo>
                  <a:lnTo>
                    <a:pt x="12517" y="14971"/>
                  </a:lnTo>
                  <a:lnTo>
                    <a:pt x="12728" y="14847"/>
                  </a:lnTo>
                  <a:lnTo>
                    <a:pt x="12927" y="14717"/>
                  </a:lnTo>
                  <a:lnTo>
                    <a:pt x="13112" y="14579"/>
                  </a:lnTo>
                  <a:lnTo>
                    <a:pt x="13282" y="14435"/>
                  </a:lnTo>
                  <a:lnTo>
                    <a:pt x="13437" y="14284"/>
                  </a:lnTo>
                  <a:lnTo>
                    <a:pt x="13578" y="14126"/>
                  </a:lnTo>
                  <a:lnTo>
                    <a:pt x="13701" y="13961"/>
                  </a:lnTo>
                  <a:lnTo>
                    <a:pt x="13808" y="13789"/>
                  </a:lnTo>
                  <a:lnTo>
                    <a:pt x="13897" y="13611"/>
                  </a:lnTo>
                  <a:lnTo>
                    <a:pt x="13967" y="13425"/>
                  </a:lnTo>
                  <a:lnTo>
                    <a:pt x="14018" y="13232"/>
                  </a:lnTo>
                  <a:lnTo>
                    <a:pt x="14049" y="13033"/>
                  </a:lnTo>
                  <a:lnTo>
                    <a:pt x="14060" y="12826"/>
                  </a:lnTo>
                  <a:lnTo>
                    <a:pt x="14060" y="3269"/>
                  </a:lnTo>
                  <a:lnTo>
                    <a:pt x="14049" y="3062"/>
                  </a:lnTo>
                  <a:lnTo>
                    <a:pt x="14018" y="2862"/>
                  </a:lnTo>
                  <a:lnTo>
                    <a:pt x="13967" y="2670"/>
                  </a:lnTo>
                  <a:lnTo>
                    <a:pt x="13897" y="2484"/>
                  </a:lnTo>
                  <a:lnTo>
                    <a:pt x="13808" y="2305"/>
                  </a:lnTo>
                  <a:lnTo>
                    <a:pt x="13701" y="2134"/>
                  </a:lnTo>
                  <a:lnTo>
                    <a:pt x="13578" y="1969"/>
                  </a:lnTo>
                  <a:lnTo>
                    <a:pt x="13437" y="1811"/>
                  </a:lnTo>
                  <a:lnTo>
                    <a:pt x="13282" y="1660"/>
                  </a:lnTo>
                  <a:lnTo>
                    <a:pt x="13112" y="1515"/>
                  </a:lnTo>
                  <a:lnTo>
                    <a:pt x="12927" y="1378"/>
                  </a:lnTo>
                  <a:lnTo>
                    <a:pt x="12728" y="1247"/>
                  </a:lnTo>
                  <a:lnTo>
                    <a:pt x="12517" y="1124"/>
                  </a:lnTo>
                  <a:lnTo>
                    <a:pt x="12294" y="1007"/>
                  </a:lnTo>
                  <a:lnTo>
                    <a:pt x="12059" y="896"/>
                  </a:lnTo>
                  <a:lnTo>
                    <a:pt x="11814" y="792"/>
                  </a:lnTo>
                  <a:lnTo>
                    <a:pt x="11559" y="695"/>
                  </a:lnTo>
                  <a:lnTo>
                    <a:pt x="11295" y="604"/>
                  </a:lnTo>
                  <a:lnTo>
                    <a:pt x="11023" y="520"/>
                  </a:lnTo>
                  <a:lnTo>
                    <a:pt x="10742" y="442"/>
                  </a:lnTo>
                  <a:lnTo>
                    <a:pt x="10455" y="370"/>
                  </a:lnTo>
                  <a:lnTo>
                    <a:pt x="10160" y="306"/>
                  </a:lnTo>
                  <a:lnTo>
                    <a:pt x="9861" y="247"/>
                  </a:lnTo>
                  <a:lnTo>
                    <a:pt x="9557" y="195"/>
                  </a:lnTo>
                  <a:lnTo>
                    <a:pt x="9248" y="149"/>
                  </a:lnTo>
                  <a:lnTo>
                    <a:pt x="8936" y="110"/>
                  </a:lnTo>
                  <a:lnTo>
                    <a:pt x="8621" y="75"/>
                  </a:lnTo>
                  <a:lnTo>
                    <a:pt x="8304" y="48"/>
                  </a:lnTo>
                  <a:lnTo>
                    <a:pt x="7986" y="27"/>
                  </a:lnTo>
                  <a:lnTo>
                    <a:pt x="7667" y="12"/>
                  </a:lnTo>
                  <a:lnTo>
                    <a:pt x="7348" y="3"/>
                  </a:lnTo>
                  <a:lnTo>
                    <a:pt x="703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42" name="îṥľíḍê">
              <a:extLst>
                <a:ext uri="{FF2B5EF4-FFF2-40B4-BE49-F238E27FC236}">
                  <a16:creationId xmlns:a16="http://schemas.microsoft.com/office/drawing/2014/main" id="{B1C43186-AB2F-4E3F-AA67-416BC5D0E73D}"/>
                </a:ext>
              </a:extLst>
            </p:cNvPr>
            <p:cNvSpPr/>
            <p:nvPr/>
          </p:nvSpPr>
          <p:spPr bwMode="auto">
            <a:xfrm>
              <a:off x="6717176" y="1520556"/>
              <a:ext cx="38070" cy="38070"/>
            </a:xfrm>
            <a:custGeom>
              <a:avLst/>
              <a:gdLst>
                <a:gd name="T0" fmla="*/ 554 w 1004"/>
                <a:gd name="T1" fmla="*/ 1003 h 1006"/>
                <a:gd name="T2" fmla="*/ 628 w 1004"/>
                <a:gd name="T3" fmla="*/ 990 h 1006"/>
                <a:gd name="T4" fmla="*/ 698 w 1004"/>
                <a:gd name="T5" fmla="*/ 967 h 1006"/>
                <a:gd name="T6" fmla="*/ 762 w 1004"/>
                <a:gd name="T7" fmla="*/ 934 h 1006"/>
                <a:gd name="T8" fmla="*/ 822 w 1004"/>
                <a:gd name="T9" fmla="*/ 891 h 1006"/>
                <a:gd name="T10" fmla="*/ 874 w 1004"/>
                <a:gd name="T11" fmla="*/ 841 h 1006"/>
                <a:gd name="T12" fmla="*/ 919 w 1004"/>
                <a:gd name="T13" fmla="*/ 785 h 1006"/>
                <a:gd name="T14" fmla="*/ 955 w 1004"/>
                <a:gd name="T15" fmla="*/ 721 h 1006"/>
                <a:gd name="T16" fmla="*/ 981 w 1004"/>
                <a:gd name="T17" fmla="*/ 653 h 1006"/>
                <a:gd name="T18" fmla="*/ 998 w 1004"/>
                <a:gd name="T19" fmla="*/ 580 h 1006"/>
                <a:gd name="T20" fmla="*/ 1004 w 1004"/>
                <a:gd name="T21" fmla="*/ 503 h 1006"/>
                <a:gd name="T22" fmla="*/ 998 w 1004"/>
                <a:gd name="T23" fmla="*/ 427 h 1006"/>
                <a:gd name="T24" fmla="*/ 981 w 1004"/>
                <a:gd name="T25" fmla="*/ 353 h 1006"/>
                <a:gd name="T26" fmla="*/ 955 w 1004"/>
                <a:gd name="T27" fmla="*/ 285 h 1006"/>
                <a:gd name="T28" fmla="*/ 919 w 1004"/>
                <a:gd name="T29" fmla="*/ 222 h 1006"/>
                <a:gd name="T30" fmla="*/ 874 w 1004"/>
                <a:gd name="T31" fmla="*/ 165 h 1006"/>
                <a:gd name="T32" fmla="*/ 822 w 1004"/>
                <a:gd name="T33" fmla="*/ 115 h 1006"/>
                <a:gd name="T34" fmla="*/ 762 w 1004"/>
                <a:gd name="T35" fmla="*/ 73 h 1006"/>
                <a:gd name="T36" fmla="*/ 698 w 1004"/>
                <a:gd name="T37" fmla="*/ 39 h 1006"/>
                <a:gd name="T38" fmla="*/ 628 w 1004"/>
                <a:gd name="T39" fmla="*/ 16 h 1006"/>
                <a:gd name="T40" fmla="*/ 554 w 1004"/>
                <a:gd name="T41" fmla="*/ 3 h 1006"/>
                <a:gd name="T42" fmla="*/ 476 w 1004"/>
                <a:gd name="T43" fmla="*/ 1 h 1006"/>
                <a:gd name="T44" fmla="*/ 401 w 1004"/>
                <a:gd name="T45" fmla="*/ 10 h 1006"/>
                <a:gd name="T46" fmla="*/ 330 w 1004"/>
                <a:gd name="T47" fmla="*/ 30 h 1006"/>
                <a:gd name="T48" fmla="*/ 262 w 1004"/>
                <a:gd name="T49" fmla="*/ 61 h 1006"/>
                <a:gd name="T50" fmla="*/ 202 w 1004"/>
                <a:gd name="T51" fmla="*/ 100 h 1006"/>
                <a:gd name="T52" fmla="*/ 147 w 1004"/>
                <a:gd name="T53" fmla="*/ 147 h 1006"/>
                <a:gd name="T54" fmla="*/ 100 w 1004"/>
                <a:gd name="T55" fmla="*/ 202 h 1006"/>
                <a:gd name="T56" fmla="*/ 60 w 1004"/>
                <a:gd name="T57" fmla="*/ 263 h 1006"/>
                <a:gd name="T58" fmla="*/ 30 w 1004"/>
                <a:gd name="T59" fmla="*/ 330 h 1006"/>
                <a:gd name="T60" fmla="*/ 10 w 1004"/>
                <a:gd name="T61" fmla="*/ 402 h 1006"/>
                <a:gd name="T62" fmla="*/ 1 w 1004"/>
                <a:gd name="T63" fmla="*/ 477 h 1006"/>
                <a:gd name="T64" fmla="*/ 3 w 1004"/>
                <a:gd name="T65" fmla="*/ 554 h 1006"/>
                <a:gd name="T66" fmla="*/ 16 w 1004"/>
                <a:gd name="T67" fmla="*/ 629 h 1006"/>
                <a:gd name="T68" fmla="*/ 39 w 1004"/>
                <a:gd name="T69" fmla="*/ 699 h 1006"/>
                <a:gd name="T70" fmla="*/ 72 w 1004"/>
                <a:gd name="T71" fmla="*/ 764 h 1006"/>
                <a:gd name="T72" fmla="*/ 115 w 1004"/>
                <a:gd name="T73" fmla="*/ 823 h 1006"/>
                <a:gd name="T74" fmla="*/ 165 w 1004"/>
                <a:gd name="T75" fmla="*/ 875 h 1006"/>
                <a:gd name="T76" fmla="*/ 221 w 1004"/>
                <a:gd name="T77" fmla="*/ 921 h 1006"/>
                <a:gd name="T78" fmla="*/ 284 w 1004"/>
                <a:gd name="T79" fmla="*/ 957 h 1006"/>
                <a:gd name="T80" fmla="*/ 353 w 1004"/>
                <a:gd name="T81" fmla="*/ 984 h 1006"/>
                <a:gd name="T82" fmla="*/ 426 w 1004"/>
                <a:gd name="T83" fmla="*/ 1000 h 1006"/>
                <a:gd name="T84" fmla="*/ 502 w 1004"/>
                <a:gd name="T85" fmla="*/ 10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4" h="1006">
                  <a:moveTo>
                    <a:pt x="502" y="1006"/>
                  </a:moveTo>
                  <a:lnTo>
                    <a:pt x="528" y="1005"/>
                  </a:lnTo>
                  <a:lnTo>
                    <a:pt x="554" y="1003"/>
                  </a:lnTo>
                  <a:lnTo>
                    <a:pt x="579" y="1000"/>
                  </a:lnTo>
                  <a:lnTo>
                    <a:pt x="604" y="996"/>
                  </a:lnTo>
                  <a:lnTo>
                    <a:pt x="628" y="990"/>
                  </a:lnTo>
                  <a:lnTo>
                    <a:pt x="652" y="984"/>
                  </a:lnTo>
                  <a:lnTo>
                    <a:pt x="675" y="976"/>
                  </a:lnTo>
                  <a:lnTo>
                    <a:pt x="698" y="967"/>
                  </a:lnTo>
                  <a:lnTo>
                    <a:pt x="720" y="957"/>
                  </a:lnTo>
                  <a:lnTo>
                    <a:pt x="741" y="946"/>
                  </a:lnTo>
                  <a:lnTo>
                    <a:pt x="762" y="934"/>
                  </a:lnTo>
                  <a:lnTo>
                    <a:pt x="783" y="921"/>
                  </a:lnTo>
                  <a:lnTo>
                    <a:pt x="803" y="907"/>
                  </a:lnTo>
                  <a:lnTo>
                    <a:pt x="822" y="891"/>
                  </a:lnTo>
                  <a:lnTo>
                    <a:pt x="840" y="875"/>
                  </a:lnTo>
                  <a:lnTo>
                    <a:pt x="858" y="859"/>
                  </a:lnTo>
                  <a:lnTo>
                    <a:pt x="874" y="841"/>
                  </a:lnTo>
                  <a:lnTo>
                    <a:pt x="890" y="823"/>
                  </a:lnTo>
                  <a:lnTo>
                    <a:pt x="905" y="804"/>
                  </a:lnTo>
                  <a:lnTo>
                    <a:pt x="919" y="785"/>
                  </a:lnTo>
                  <a:lnTo>
                    <a:pt x="932" y="764"/>
                  </a:lnTo>
                  <a:lnTo>
                    <a:pt x="944" y="743"/>
                  </a:lnTo>
                  <a:lnTo>
                    <a:pt x="955" y="721"/>
                  </a:lnTo>
                  <a:lnTo>
                    <a:pt x="965" y="699"/>
                  </a:lnTo>
                  <a:lnTo>
                    <a:pt x="974" y="676"/>
                  </a:lnTo>
                  <a:lnTo>
                    <a:pt x="981" y="653"/>
                  </a:lnTo>
                  <a:lnTo>
                    <a:pt x="988" y="629"/>
                  </a:lnTo>
                  <a:lnTo>
                    <a:pt x="994" y="605"/>
                  </a:lnTo>
                  <a:lnTo>
                    <a:pt x="998" y="580"/>
                  </a:lnTo>
                  <a:lnTo>
                    <a:pt x="1001" y="554"/>
                  </a:lnTo>
                  <a:lnTo>
                    <a:pt x="1003" y="529"/>
                  </a:lnTo>
                  <a:lnTo>
                    <a:pt x="1004" y="503"/>
                  </a:lnTo>
                  <a:lnTo>
                    <a:pt x="1003" y="477"/>
                  </a:lnTo>
                  <a:lnTo>
                    <a:pt x="1001" y="452"/>
                  </a:lnTo>
                  <a:lnTo>
                    <a:pt x="998" y="427"/>
                  </a:lnTo>
                  <a:lnTo>
                    <a:pt x="994" y="402"/>
                  </a:lnTo>
                  <a:lnTo>
                    <a:pt x="988" y="377"/>
                  </a:lnTo>
                  <a:lnTo>
                    <a:pt x="981" y="353"/>
                  </a:lnTo>
                  <a:lnTo>
                    <a:pt x="974" y="330"/>
                  </a:lnTo>
                  <a:lnTo>
                    <a:pt x="965" y="307"/>
                  </a:lnTo>
                  <a:lnTo>
                    <a:pt x="955" y="285"/>
                  </a:lnTo>
                  <a:lnTo>
                    <a:pt x="944" y="263"/>
                  </a:lnTo>
                  <a:lnTo>
                    <a:pt x="932" y="243"/>
                  </a:lnTo>
                  <a:lnTo>
                    <a:pt x="919" y="222"/>
                  </a:lnTo>
                  <a:lnTo>
                    <a:pt x="905" y="202"/>
                  </a:lnTo>
                  <a:lnTo>
                    <a:pt x="890" y="183"/>
                  </a:lnTo>
                  <a:lnTo>
                    <a:pt x="874" y="165"/>
                  </a:lnTo>
                  <a:lnTo>
                    <a:pt x="858" y="147"/>
                  </a:lnTo>
                  <a:lnTo>
                    <a:pt x="840" y="131"/>
                  </a:lnTo>
                  <a:lnTo>
                    <a:pt x="822" y="115"/>
                  </a:lnTo>
                  <a:lnTo>
                    <a:pt x="803" y="100"/>
                  </a:lnTo>
                  <a:lnTo>
                    <a:pt x="783" y="86"/>
                  </a:lnTo>
                  <a:lnTo>
                    <a:pt x="762" y="73"/>
                  </a:lnTo>
                  <a:lnTo>
                    <a:pt x="741" y="61"/>
                  </a:lnTo>
                  <a:lnTo>
                    <a:pt x="720" y="50"/>
                  </a:lnTo>
                  <a:lnTo>
                    <a:pt x="698" y="39"/>
                  </a:lnTo>
                  <a:lnTo>
                    <a:pt x="675" y="30"/>
                  </a:lnTo>
                  <a:lnTo>
                    <a:pt x="652" y="22"/>
                  </a:lnTo>
                  <a:lnTo>
                    <a:pt x="628" y="16"/>
                  </a:lnTo>
                  <a:lnTo>
                    <a:pt x="604" y="10"/>
                  </a:lnTo>
                  <a:lnTo>
                    <a:pt x="579" y="6"/>
                  </a:lnTo>
                  <a:lnTo>
                    <a:pt x="554" y="3"/>
                  </a:lnTo>
                  <a:lnTo>
                    <a:pt x="528" y="1"/>
                  </a:lnTo>
                  <a:lnTo>
                    <a:pt x="502" y="0"/>
                  </a:lnTo>
                  <a:lnTo>
                    <a:pt x="476" y="1"/>
                  </a:lnTo>
                  <a:lnTo>
                    <a:pt x="451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6" y="39"/>
                  </a:lnTo>
                  <a:lnTo>
                    <a:pt x="284" y="50"/>
                  </a:lnTo>
                  <a:lnTo>
                    <a:pt x="262" y="61"/>
                  </a:lnTo>
                  <a:lnTo>
                    <a:pt x="242" y="73"/>
                  </a:lnTo>
                  <a:lnTo>
                    <a:pt x="221" y="86"/>
                  </a:lnTo>
                  <a:lnTo>
                    <a:pt x="202" y="100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100" y="202"/>
                  </a:lnTo>
                  <a:lnTo>
                    <a:pt x="86" y="222"/>
                  </a:lnTo>
                  <a:lnTo>
                    <a:pt x="72" y="243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2"/>
                  </a:lnTo>
                  <a:lnTo>
                    <a:pt x="6" y="427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1" y="529"/>
                  </a:lnTo>
                  <a:lnTo>
                    <a:pt x="3" y="554"/>
                  </a:lnTo>
                  <a:lnTo>
                    <a:pt x="6" y="580"/>
                  </a:lnTo>
                  <a:lnTo>
                    <a:pt x="10" y="605"/>
                  </a:lnTo>
                  <a:lnTo>
                    <a:pt x="16" y="629"/>
                  </a:lnTo>
                  <a:lnTo>
                    <a:pt x="22" y="653"/>
                  </a:lnTo>
                  <a:lnTo>
                    <a:pt x="30" y="676"/>
                  </a:lnTo>
                  <a:lnTo>
                    <a:pt x="39" y="699"/>
                  </a:lnTo>
                  <a:lnTo>
                    <a:pt x="49" y="721"/>
                  </a:lnTo>
                  <a:lnTo>
                    <a:pt x="60" y="743"/>
                  </a:lnTo>
                  <a:lnTo>
                    <a:pt x="72" y="764"/>
                  </a:lnTo>
                  <a:lnTo>
                    <a:pt x="86" y="785"/>
                  </a:lnTo>
                  <a:lnTo>
                    <a:pt x="100" y="804"/>
                  </a:lnTo>
                  <a:lnTo>
                    <a:pt x="115" y="823"/>
                  </a:lnTo>
                  <a:lnTo>
                    <a:pt x="131" y="841"/>
                  </a:lnTo>
                  <a:lnTo>
                    <a:pt x="147" y="859"/>
                  </a:lnTo>
                  <a:lnTo>
                    <a:pt x="165" y="875"/>
                  </a:lnTo>
                  <a:lnTo>
                    <a:pt x="183" y="891"/>
                  </a:lnTo>
                  <a:lnTo>
                    <a:pt x="202" y="907"/>
                  </a:lnTo>
                  <a:lnTo>
                    <a:pt x="221" y="921"/>
                  </a:lnTo>
                  <a:lnTo>
                    <a:pt x="242" y="934"/>
                  </a:lnTo>
                  <a:lnTo>
                    <a:pt x="262" y="946"/>
                  </a:lnTo>
                  <a:lnTo>
                    <a:pt x="284" y="957"/>
                  </a:lnTo>
                  <a:lnTo>
                    <a:pt x="306" y="967"/>
                  </a:lnTo>
                  <a:lnTo>
                    <a:pt x="330" y="976"/>
                  </a:lnTo>
                  <a:lnTo>
                    <a:pt x="353" y="984"/>
                  </a:lnTo>
                  <a:lnTo>
                    <a:pt x="377" y="990"/>
                  </a:lnTo>
                  <a:lnTo>
                    <a:pt x="401" y="996"/>
                  </a:lnTo>
                  <a:lnTo>
                    <a:pt x="426" y="1000"/>
                  </a:lnTo>
                  <a:lnTo>
                    <a:pt x="451" y="1003"/>
                  </a:lnTo>
                  <a:lnTo>
                    <a:pt x="476" y="1005"/>
                  </a:lnTo>
                  <a:lnTo>
                    <a:pt x="502" y="10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43" name="íSļïďé">
              <a:extLst>
                <a:ext uri="{FF2B5EF4-FFF2-40B4-BE49-F238E27FC236}">
                  <a16:creationId xmlns:a16="http://schemas.microsoft.com/office/drawing/2014/main" id="{A093C248-FEE3-453A-89EC-17AF43CD61CF}"/>
                </a:ext>
              </a:extLst>
            </p:cNvPr>
            <p:cNvSpPr/>
            <p:nvPr/>
          </p:nvSpPr>
          <p:spPr bwMode="auto">
            <a:xfrm>
              <a:off x="6717176" y="1404939"/>
              <a:ext cx="38070" cy="38070"/>
            </a:xfrm>
            <a:custGeom>
              <a:avLst/>
              <a:gdLst>
                <a:gd name="T0" fmla="*/ 554 w 1004"/>
                <a:gd name="T1" fmla="*/ 1003 h 1006"/>
                <a:gd name="T2" fmla="*/ 628 w 1004"/>
                <a:gd name="T3" fmla="*/ 990 h 1006"/>
                <a:gd name="T4" fmla="*/ 698 w 1004"/>
                <a:gd name="T5" fmla="*/ 967 h 1006"/>
                <a:gd name="T6" fmla="*/ 762 w 1004"/>
                <a:gd name="T7" fmla="*/ 934 h 1006"/>
                <a:gd name="T8" fmla="*/ 822 w 1004"/>
                <a:gd name="T9" fmla="*/ 892 h 1006"/>
                <a:gd name="T10" fmla="*/ 874 w 1004"/>
                <a:gd name="T11" fmla="*/ 841 h 1006"/>
                <a:gd name="T12" fmla="*/ 919 w 1004"/>
                <a:gd name="T13" fmla="*/ 785 h 1006"/>
                <a:gd name="T14" fmla="*/ 955 w 1004"/>
                <a:gd name="T15" fmla="*/ 722 h 1006"/>
                <a:gd name="T16" fmla="*/ 981 w 1004"/>
                <a:gd name="T17" fmla="*/ 653 h 1006"/>
                <a:gd name="T18" fmla="*/ 998 w 1004"/>
                <a:gd name="T19" fmla="*/ 580 h 1006"/>
                <a:gd name="T20" fmla="*/ 1004 w 1004"/>
                <a:gd name="T21" fmla="*/ 503 h 1006"/>
                <a:gd name="T22" fmla="*/ 998 w 1004"/>
                <a:gd name="T23" fmla="*/ 427 h 1006"/>
                <a:gd name="T24" fmla="*/ 981 w 1004"/>
                <a:gd name="T25" fmla="*/ 353 h 1006"/>
                <a:gd name="T26" fmla="*/ 955 w 1004"/>
                <a:gd name="T27" fmla="*/ 285 h 1006"/>
                <a:gd name="T28" fmla="*/ 919 w 1004"/>
                <a:gd name="T29" fmla="*/ 222 h 1006"/>
                <a:gd name="T30" fmla="*/ 874 w 1004"/>
                <a:gd name="T31" fmla="*/ 165 h 1006"/>
                <a:gd name="T32" fmla="*/ 822 w 1004"/>
                <a:gd name="T33" fmla="*/ 115 h 1006"/>
                <a:gd name="T34" fmla="*/ 762 w 1004"/>
                <a:gd name="T35" fmla="*/ 73 h 1006"/>
                <a:gd name="T36" fmla="*/ 698 w 1004"/>
                <a:gd name="T37" fmla="*/ 40 h 1006"/>
                <a:gd name="T38" fmla="*/ 628 w 1004"/>
                <a:gd name="T39" fmla="*/ 17 h 1006"/>
                <a:gd name="T40" fmla="*/ 554 w 1004"/>
                <a:gd name="T41" fmla="*/ 3 h 1006"/>
                <a:gd name="T42" fmla="*/ 476 w 1004"/>
                <a:gd name="T43" fmla="*/ 1 h 1006"/>
                <a:gd name="T44" fmla="*/ 401 w 1004"/>
                <a:gd name="T45" fmla="*/ 10 h 1006"/>
                <a:gd name="T46" fmla="*/ 330 w 1004"/>
                <a:gd name="T47" fmla="*/ 31 h 1006"/>
                <a:gd name="T48" fmla="*/ 262 w 1004"/>
                <a:gd name="T49" fmla="*/ 61 h 1006"/>
                <a:gd name="T50" fmla="*/ 202 w 1004"/>
                <a:gd name="T51" fmla="*/ 100 h 1006"/>
                <a:gd name="T52" fmla="*/ 147 w 1004"/>
                <a:gd name="T53" fmla="*/ 147 h 1006"/>
                <a:gd name="T54" fmla="*/ 100 w 1004"/>
                <a:gd name="T55" fmla="*/ 203 h 1006"/>
                <a:gd name="T56" fmla="*/ 60 w 1004"/>
                <a:gd name="T57" fmla="*/ 263 h 1006"/>
                <a:gd name="T58" fmla="*/ 30 w 1004"/>
                <a:gd name="T59" fmla="*/ 330 h 1006"/>
                <a:gd name="T60" fmla="*/ 10 w 1004"/>
                <a:gd name="T61" fmla="*/ 402 h 1006"/>
                <a:gd name="T62" fmla="*/ 1 w 1004"/>
                <a:gd name="T63" fmla="*/ 477 h 1006"/>
                <a:gd name="T64" fmla="*/ 3 w 1004"/>
                <a:gd name="T65" fmla="*/ 555 h 1006"/>
                <a:gd name="T66" fmla="*/ 16 w 1004"/>
                <a:gd name="T67" fmla="*/ 629 h 1006"/>
                <a:gd name="T68" fmla="*/ 39 w 1004"/>
                <a:gd name="T69" fmla="*/ 700 h 1006"/>
                <a:gd name="T70" fmla="*/ 72 w 1004"/>
                <a:gd name="T71" fmla="*/ 764 h 1006"/>
                <a:gd name="T72" fmla="*/ 115 w 1004"/>
                <a:gd name="T73" fmla="*/ 823 h 1006"/>
                <a:gd name="T74" fmla="*/ 165 w 1004"/>
                <a:gd name="T75" fmla="*/ 876 h 1006"/>
                <a:gd name="T76" fmla="*/ 221 w 1004"/>
                <a:gd name="T77" fmla="*/ 921 h 1006"/>
                <a:gd name="T78" fmla="*/ 284 w 1004"/>
                <a:gd name="T79" fmla="*/ 957 h 1006"/>
                <a:gd name="T80" fmla="*/ 353 w 1004"/>
                <a:gd name="T81" fmla="*/ 983 h 1006"/>
                <a:gd name="T82" fmla="*/ 426 w 1004"/>
                <a:gd name="T83" fmla="*/ 1000 h 1006"/>
                <a:gd name="T84" fmla="*/ 502 w 1004"/>
                <a:gd name="T85" fmla="*/ 10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4" h="1006">
                  <a:moveTo>
                    <a:pt x="502" y="1006"/>
                  </a:moveTo>
                  <a:lnTo>
                    <a:pt x="528" y="1005"/>
                  </a:lnTo>
                  <a:lnTo>
                    <a:pt x="554" y="1003"/>
                  </a:lnTo>
                  <a:lnTo>
                    <a:pt x="579" y="1000"/>
                  </a:lnTo>
                  <a:lnTo>
                    <a:pt x="604" y="996"/>
                  </a:lnTo>
                  <a:lnTo>
                    <a:pt x="628" y="990"/>
                  </a:lnTo>
                  <a:lnTo>
                    <a:pt x="652" y="983"/>
                  </a:lnTo>
                  <a:lnTo>
                    <a:pt x="675" y="976"/>
                  </a:lnTo>
                  <a:lnTo>
                    <a:pt x="698" y="967"/>
                  </a:lnTo>
                  <a:lnTo>
                    <a:pt x="720" y="957"/>
                  </a:lnTo>
                  <a:lnTo>
                    <a:pt x="741" y="946"/>
                  </a:lnTo>
                  <a:lnTo>
                    <a:pt x="762" y="934"/>
                  </a:lnTo>
                  <a:lnTo>
                    <a:pt x="783" y="921"/>
                  </a:lnTo>
                  <a:lnTo>
                    <a:pt x="803" y="907"/>
                  </a:lnTo>
                  <a:lnTo>
                    <a:pt x="822" y="892"/>
                  </a:lnTo>
                  <a:lnTo>
                    <a:pt x="840" y="876"/>
                  </a:lnTo>
                  <a:lnTo>
                    <a:pt x="858" y="859"/>
                  </a:lnTo>
                  <a:lnTo>
                    <a:pt x="874" y="841"/>
                  </a:lnTo>
                  <a:lnTo>
                    <a:pt x="890" y="823"/>
                  </a:lnTo>
                  <a:lnTo>
                    <a:pt x="905" y="804"/>
                  </a:lnTo>
                  <a:lnTo>
                    <a:pt x="919" y="785"/>
                  </a:lnTo>
                  <a:lnTo>
                    <a:pt x="932" y="764"/>
                  </a:lnTo>
                  <a:lnTo>
                    <a:pt x="944" y="743"/>
                  </a:lnTo>
                  <a:lnTo>
                    <a:pt x="955" y="722"/>
                  </a:lnTo>
                  <a:lnTo>
                    <a:pt x="965" y="700"/>
                  </a:lnTo>
                  <a:lnTo>
                    <a:pt x="974" y="676"/>
                  </a:lnTo>
                  <a:lnTo>
                    <a:pt x="981" y="653"/>
                  </a:lnTo>
                  <a:lnTo>
                    <a:pt x="988" y="629"/>
                  </a:lnTo>
                  <a:lnTo>
                    <a:pt x="994" y="605"/>
                  </a:lnTo>
                  <a:lnTo>
                    <a:pt x="998" y="580"/>
                  </a:lnTo>
                  <a:lnTo>
                    <a:pt x="1001" y="555"/>
                  </a:lnTo>
                  <a:lnTo>
                    <a:pt x="1003" y="530"/>
                  </a:lnTo>
                  <a:lnTo>
                    <a:pt x="1004" y="503"/>
                  </a:lnTo>
                  <a:lnTo>
                    <a:pt x="1003" y="477"/>
                  </a:lnTo>
                  <a:lnTo>
                    <a:pt x="1001" y="452"/>
                  </a:lnTo>
                  <a:lnTo>
                    <a:pt x="998" y="427"/>
                  </a:lnTo>
                  <a:lnTo>
                    <a:pt x="994" y="402"/>
                  </a:lnTo>
                  <a:lnTo>
                    <a:pt x="988" y="378"/>
                  </a:lnTo>
                  <a:lnTo>
                    <a:pt x="981" y="353"/>
                  </a:lnTo>
                  <a:lnTo>
                    <a:pt x="974" y="330"/>
                  </a:lnTo>
                  <a:lnTo>
                    <a:pt x="965" y="307"/>
                  </a:lnTo>
                  <a:lnTo>
                    <a:pt x="955" y="285"/>
                  </a:lnTo>
                  <a:lnTo>
                    <a:pt x="944" y="263"/>
                  </a:lnTo>
                  <a:lnTo>
                    <a:pt x="932" y="243"/>
                  </a:lnTo>
                  <a:lnTo>
                    <a:pt x="919" y="222"/>
                  </a:lnTo>
                  <a:lnTo>
                    <a:pt x="905" y="203"/>
                  </a:lnTo>
                  <a:lnTo>
                    <a:pt x="890" y="183"/>
                  </a:lnTo>
                  <a:lnTo>
                    <a:pt x="874" y="165"/>
                  </a:lnTo>
                  <a:lnTo>
                    <a:pt x="858" y="147"/>
                  </a:lnTo>
                  <a:lnTo>
                    <a:pt x="840" y="131"/>
                  </a:lnTo>
                  <a:lnTo>
                    <a:pt x="822" y="115"/>
                  </a:lnTo>
                  <a:lnTo>
                    <a:pt x="803" y="100"/>
                  </a:lnTo>
                  <a:lnTo>
                    <a:pt x="783" y="86"/>
                  </a:lnTo>
                  <a:lnTo>
                    <a:pt x="762" y="73"/>
                  </a:lnTo>
                  <a:lnTo>
                    <a:pt x="741" y="61"/>
                  </a:lnTo>
                  <a:lnTo>
                    <a:pt x="720" y="50"/>
                  </a:lnTo>
                  <a:lnTo>
                    <a:pt x="698" y="40"/>
                  </a:lnTo>
                  <a:lnTo>
                    <a:pt x="675" y="31"/>
                  </a:lnTo>
                  <a:lnTo>
                    <a:pt x="652" y="23"/>
                  </a:lnTo>
                  <a:lnTo>
                    <a:pt x="628" y="17"/>
                  </a:lnTo>
                  <a:lnTo>
                    <a:pt x="604" y="10"/>
                  </a:lnTo>
                  <a:lnTo>
                    <a:pt x="579" y="6"/>
                  </a:lnTo>
                  <a:lnTo>
                    <a:pt x="554" y="3"/>
                  </a:lnTo>
                  <a:lnTo>
                    <a:pt x="528" y="1"/>
                  </a:lnTo>
                  <a:lnTo>
                    <a:pt x="502" y="0"/>
                  </a:lnTo>
                  <a:lnTo>
                    <a:pt x="476" y="1"/>
                  </a:lnTo>
                  <a:lnTo>
                    <a:pt x="451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7"/>
                  </a:lnTo>
                  <a:lnTo>
                    <a:pt x="353" y="23"/>
                  </a:lnTo>
                  <a:lnTo>
                    <a:pt x="330" y="31"/>
                  </a:lnTo>
                  <a:lnTo>
                    <a:pt x="306" y="40"/>
                  </a:lnTo>
                  <a:lnTo>
                    <a:pt x="284" y="50"/>
                  </a:lnTo>
                  <a:lnTo>
                    <a:pt x="262" y="61"/>
                  </a:lnTo>
                  <a:lnTo>
                    <a:pt x="242" y="73"/>
                  </a:lnTo>
                  <a:lnTo>
                    <a:pt x="221" y="86"/>
                  </a:lnTo>
                  <a:lnTo>
                    <a:pt x="202" y="100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100" y="203"/>
                  </a:lnTo>
                  <a:lnTo>
                    <a:pt x="86" y="222"/>
                  </a:lnTo>
                  <a:lnTo>
                    <a:pt x="72" y="243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2" y="353"/>
                  </a:lnTo>
                  <a:lnTo>
                    <a:pt x="16" y="378"/>
                  </a:lnTo>
                  <a:lnTo>
                    <a:pt x="10" y="402"/>
                  </a:lnTo>
                  <a:lnTo>
                    <a:pt x="6" y="427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1" y="530"/>
                  </a:lnTo>
                  <a:lnTo>
                    <a:pt x="3" y="555"/>
                  </a:lnTo>
                  <a:lnTo>
                    <a:pt x="6" y="580"/>
                  </a:lnTo>
                  <a:lnTo>
                    <a:pt x="10" y="605"/>
                  </a:lnTo>
                  <a:lnTo>
                    <a:pt x="16" y="629"/>
                  </a:lnTo>
                  <a:lnTo>
                    <a:pt x="22" y="653"/>
                  </a:lnTo>
                  <a:lnTo>
                    <a:pt x="30" y="676"/>
                  </a:lnTo>
                  <a:lnTo>
                    <a:pt x="39" y="700"/>
                  </a:lnTo>
                  <a:lnTo>
                    <a:pt x="49" y="722"/>
                  </a:lnTo>
                  <a:lnTo>
                    <a:pt x="60" y="743"/>
                  </a:lnTo>
                  <a:lnTo>
                    <a:pt x="72" y="764"/>
                  </a:lnTo>
                  <a:lnTo>
                    <a:pt x="86" y="785"/>
                  </a:lnTo>
                  <a:lnTo>
                    <a:pt x="100" y="804"/>
                  </a:lnTo>
                  <a:lnTo>
                    <a:pt x="115" y="823"/>
                  </a:lnTo>
                  <a:lnTo>
                    <a:pt x="131" y="841"/>
                  </a:lnTo>
                  <a:lnTo>
                    <a:pt x="147" y="859"/>
                  </a:lnTo>
                  <a:lnTo>
                    <a:pt x="165" y="876"/>
                  </a:lnTo>
                  <a:lnTo>
                    <a:pt x="183" y="892"/>
                  </a:lnTo>
                  <a:lnTo>
                    <a:pt x="202" y="907"/>
                  </a:lnTo>
                  <a:lnTo>
                    <a:pt x="221" y="921"/>
                  </a:lnTo>
                  <a:lnTo>
                    <a:pt x="242" y="934"/>
                  </a:lnTo>
                  <a:lnTo>
                    <a:pt x="262" y="946"/>
                  </a:lnTo>
                  <a:lnTo>
                    <a:pt x="284" y="957"/>
                  </a:lnTo>
                  <a:lnTo>
                    <a:pt x="306" y="967"/>
                  </a:lnTo>
                  <a:lnTo>
                    <a:pt x="330" y="976"/>
                  </a:lnTo>
                  <a:lnTo>
                    <a:pt x="353" y="983"/>
                  </a:lnTo>
                  <a:lnTo>
                    <a:pt x="377" y="990"/>
                  </a:lnTo>
                  <a:lnTo>
                    <a:pt x="401" y="996"/>
                  </a:lnTo>
                  <a:lnTo>
                    <a:pt x="426" y="1000"/>
                  </a:lnTo>
                  <a:lnTo>
                    <a:pt x="451" y="1003"/>
                  </a:lnTo>
                  <a:lnTo>
                    <a:pt x="476" y="1005"/>
                  </a:lnTo>
                  <a:lnTo>
                    <a:pt x="502" y="10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44" name="iṣḷiḑê">
              <a:extLst>
                <a:ext uri="{FF2B5EF4-FFF2-40B4-BE49-F238E27FC236}">
                  <a16:creationId xmlns:a16="http://schemas.microsoft.com/office/drawing/2014/main" id="{A1B54F90-677C-4C63-8218-7495E4626ACB}"/>
                </a:ext>
              </a:extLst>
            </p:cNvPr>
            <p:cNvSpPr/>
            <p:nvPr/>
          </p:nvSpPr>
          <p:spPr bwMode="auto">
            <a:xfrm>
              <a:off x="6717176" y="1290731"/>
              <a:ext cx="38070" cy="38070"/>
            </a:xfrm>
            <a:custGeom>
              <a:avLst/>
              <a:gdLst>
                <a:gd name="T0" fmla="*/ 554 w 1004"/>
                <a:gd name="T1" fmla="*/ 1003 h 1006"/>
                <a:gd name="T2" fmla="*/ 628 w 1004"/>
                <a:gd name="T3" fmla="*/ 989 h 1006"/>
                <a:gd name="T4" fmla="*/ 698 w 1004"/>
                <a:gd name="T5" fmla="*/ 966 h 1006"/>
                <a:gd name="T6" fmla="*/ 762 w 1004"/>
                <a:gd name="T7" fmla="*/ 933 h 1006"/>
                <a:gd name="T8" fmla="*/ 822 w 1004"/>
                <a:gd name="T9" fmla="*/ 891 h 1006"/>
                <a:gd name="T10" fmla="*/ 874 w 1004"/>
                <a:gd name="T11" fmla="*/ 841 h 1006"/>
                <a:gd name="T12" fmla="*/ 919 w 1004"/>
                <a:gd name="T13" fmla="*/ 784 h 1006"/>
                <a:gd name="T14" fmla="*/ 955 w 1004"/>
                <a:gd name="T15" fmla="*/ 721 h 1006"/>
                <a:gd name="T16" fmla="*/ 981 w 1004"/>
                <a:gd name="T17" fmla="*/ 652 h 1006"/>
                <a:gd name="T18" fmla="*/ 998 w 1004"/>
                <a:gd name="T19" fmla="*/ 579 h 1006"/>
                <a:gd name="T20" fmla="*/ 1004 w 1004"/>
                <a:gd name="T21" fmla="*/ 503 h 1006"/>
                <a:gd name="T22" fmla="*/ 998 w 1004"/>
                <a:gd name="T23" fmla="*/ 426 h 1006"/>
                <a:gd name="T24" fmla="*/ 981 w 1004"/>
                <a:gd name="T25" fmla="*/ 353 h 1006"/>
                <a:gd name="T26" fmla="*/ 955 w 1004"/>
                <a:gd name="T27" fmla="*/ 284 h 1006"/>
                <a:gd name="T28" fmla="*/ 919 w 1004"/>
                <a:gd name="T29" fmla="*/ 221 h 1006"/>
                <a:gd name="T30" fmla="*/ 874 w 1004"/>
                <a:gd name="T31" fmla="*/ 165 h 1006"/>
                <a:gd name="T32" fmla="*/ 822 w 1004"/>
                <a:gd name="T33" fmla="*/ 114 h 1006"/>
                <a:gd name="T34" fmla="*/ 762 w 1004"/>
                <a:gd name="T35" fmla="*/ 72 h 1006"/>
                <a:gd name="T36" fmla="*/ 698 w 1004"/>
                <a:gd name="T37" fmla="*/ 39 h 1006"/>
                <a:gd name="T38" fmla="*/ 628 w 1004"/>
                <a:gd name="T39" fmla="*/ 16 h 1006"/>
                <a:gd name="T40" fmla="*/ 554 w 1004"/>
                <a:gd name="T41" fmla="*/ 3 h 1006"/>
                <a:gd name="T42" fmla="*/ 476 w 1004"/>
                <a:gd name="T43" fmla="*/ 1 h 1006"/>
                <a:gd name="T44" fmla="*/ 401 w 1004"/>
                <a:gd name="T45" fmla="*/ 10 h 1006"/>
                <a:gd name="T46" fmla="*/ 330 w 1004"/>
                <a:gd name="T47" fmla="*/ 30 h 1006"/>
                <a:gd name="T48" fmla="*/ 262 w 1004"/>
                <a:gd name="T49" fmla="*/ 60 h 1006"/>
                <a:gd name="T50" fmla="*/ 202 w 1004"/>
                <a:gd name="T51" fmla="*/ 99 h 1006"/>
                <a:gd name="T52" fmla="*/ 147 w 1004"/>
                <a:gd name="T53" fmla="*/ 146 h 1006"/>
                <a:gd name="T54" fmla="*/ 100 w 1004"/>
                <a:gd name="T55" fmla="*/ 202 h 1006"/>
                <a:gd name="T56" fmla="*/ 60 w 1004"/>
                <a:gd name="T57" fmla="*/ 263 h 1006"/>
                <a:gd name="T58" fmla="*/ 30 w 1004"/>
                <a:gd name="T59" fmla="*/ 330 h 1006"/>
                <a:gd name="T60" fmla="*/ 10 w 1004"/>
                <a:gd name="T61" fmla="*/ 401 h 1006"/>
                <a:gd name="T62" fmla="*/ 1 w 1004"/>
                <a:gd name="T63" fmla="*/ 476 h 1006"/>
                <a:gd name="T64" fmla="*/ 3 w 1004"/>
                <a:gd name="T65" fmla="*/ 554 h 1006"/>
                <a:gd name="T66" fmla="*/ 16 w 1004"/>
                <a:gd name="T67" fmla="*/ 628 h 1006"/>
                <a:gd name="T68" fmla="*/ 39 w 1004"/>
                <a:gd name="T69" fmla="*/ 699 h 1006"/>
                <a:gd name="T70" fmla="*/ 72 w 1004"/>
                <a:gd name="T71" fmla="*/ 763 h 1006"/>
                <a:gd name="T72" fmla="*/ 115 w 1004"/>
                <a:gd name="T73" fmla="*/ 822 h 1006"/>
                <a:gd name="T74" fmla="*/ 165 w 1004"/>
                <a:gd name="T75" fmla="*/ 875 h 1006"/>
                <a:gd name="T76" fmla="*/ 221 w 1004"/>
                <a:gd name="T77" fmla="*/ 920 h 1006"/>
                <a:gd name="T78" fmla="*/ 284 w 1004"/>
                <a:gd name="T79" fmla="*/ 956 h 1006"/>
                <a:gd name="T80" fmla="*/ 353 w 1004"/>
                <a:gd name="T81" fmla="*/ 983 h 1006"/>
                <a:gd name="T82" fmla="*/ 426 w 1004"/>
                <a:gd name="T83" fmla="*/ 999 h 1006"/>
                <a:gd name="T84" fmla="*/ 502 w 1004"/>
                <a:gd name="T85" fmla="*/ 10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4" h="1006">
                  <a:moveTo>
                    <a:pt x="502" y="1006"/>
                  </a:moveTo>
                  <a:lnTo>
                    <a:pt x="528" y="1005"/>
                  </a:lnTo>
                  <a:lnTo>
                    <a:pt x="554" y="1003"/>
                  </a:lnTo>
                  <a:lnTo>
                    <a:pt x="579" y="999"/>
                  </a:lnTo>
                  <a:lnTo>
                    <a:pt x="604" y="995"/>
                  </a:lnTo>
                  <a:lnTo>
                    <a:pt x="628" y="989"/>
                  </a:lnTo>
                  <a:lnTo>
                    <a:pt x="652" y="983"/>
                  </a:lnTo>
                  <a:lnTo>
                    <a:pt x="675" y="975"/>
                  </a:lnTo>
                  <a:lnTo>
                    <a:pt x="698" y="966"/>
                  </a:lnTo>
                  <a:lnTo>
                    <a:pt x="720" y="956"/>
                  </a:lnTo>
                  <a:lnTo>
                    <a:pt x="741" y="945"/>
                  </a:lnTo>
                  <a:lnTo>
                    <a:pt x="762" y="933"/>
                  </a:lnTo>
                  <a:lnTo>
                    <a:pt x="783" y="920"/>
                  </a:lnTo>
                  <a:lnTo>
                    <a:pt x="803" y="906"/>
                  </a:lnTo>
                  <a:lnTo>
                    <a:pt x="822" y="891"/>
                  </a:lnTo>
                  <a:lnTo>
                    <a:pt x="840" y="875"/>
                  </a:lnTo>
                  <a:lnTo>
                    <a:pt x="858" y="859"/>
                  </a:lnTo>
                  <a:lnTo>
                    <a:pt x="874" y="841"/>
                  </a:lnTo>
                  <a:lnTo>
                    <a:pt x="890" y="822"/>
                  </a:lnTo>
                  <a:lnTo>
                    <a:pt x="905" y="803"/>
                  </a:lnTo>
                  <a:lnTo>
                    <a:pt x="919" y="784"/>
                  </a:lnTo>
                  <a:lnTo>
                    <a:pt x="932" y="763"/>
                  </a:lnTo>
                  <a:lnTo>
                    <a:pt x="944" y="743"/>
                  </a:lnTo>
                  <a:lnTo>
                    <a:pt x="955" y="721"/>
                  </a:lnTo>
                  <a:lnTo>
                    <a:pt x="965" y="699"/>
                  </a:lnTo>
                  <a:lnTo>
                    <a:pt x="974" y="676"/>
                  </a:lnTo>
                  <a:lnTo>
                    <a:pt x="981" y="652"/>
                  </a:lnTo>
                  <a:lnTo>
                    <a:pt x="988" y="628"/>
                  </a:lnTo>
                  <a:lnTo>
                    <a:pt x="994" y="604"/>
                  </a:lnTo>
                  <a:lnTo>
                    <a:pt x="998" y="579"/>
                  </a:lnTo>
                  <a:lnTo>
                    <a:pt x="1001" y="554"/>
                  </a:lnTo>
                  <a:lnTo>
                    <a:pt x="1003" y="529"/>
                  </a:lnTo>
                  <a:lnTo>
                    <a:pt x="1004" y="503"/>
                  </a:lnTo>
                  <a:lnTo>
                    <a:pt x="1003" y="476"/>
                  </a:lnTo>
                  <a:lnTo>
                    <a:pt x="1001" y="451"/>
                  </a:lnTo>
                  <a:lnTo>
                    <a:pt x="998" y="426"/>
                  </a:lnTo>
                  <a:lnTo>
                    <a:pt x="994" y="401"/>
                  </a:lnTo>
                  <a:lnTo>
                    <a:pt x="988" y="377"/>
                  </a:lnTo>
                  <a:lnTo>
                    <a:pt x="981" y="353"/>
                  </a:lnTo>
                  <a:lnTo>
                    <a:pt x="974" y="330"/>
                  </a:lnTo>
                  <a:lnTo>
                    <a:pt x="965" y="306"/>
                  </a:lnTo>
                  <a:lnTo>
                    <a:pt x="955" y="284"/>
                  </a:lnTo>
                  <a:lnTo>
                    <a:pt x="944" y="263"/>
                  </a:lnTo>
                  <a:lnTo>
                    <a:pt x="932" y="242"/>
                  </a:lnTo>
                  <a:lnTo>
                    <a:pt x="919" y="221"/>
                  </a:lnTo>
                  <a:lnTo>
                    <a:pt x="905" y="202"/>
                  </a:lnTo>
                  <a:lnTo>
                    <a:pt x="890" y="183"/>
                  </a:lnTo>
                  <a:lnTo>
                    <a:pt x="874" y="165"/>
                  </a:lnTo>
                  <a:lnTo>
                    <a:pt x="858" y="146"/>
                  </a:lnTo>
                  <a:lnTo>
                    <a:pt x="840" y="130"/>
                  </a:lnTo>
                  <a:lnTo>
                    <a:pt x="822" y="114"/>
                  </a:lnTo>
                  <a:lnTo>
                    <a:pt x="803" y="99"/>
                  </a:lnTo>
                  <a:lnTo>
                    <a:pt x="783" y="85"/>
                  </a:lnTo>
                  <a:lnTo>
                    <a:pt x="762" y="72"/>
                  </a:lnTo>
                  <a:lnTo>
                    <a:pt x="741" y="60"/>
                  </a:lnTo>
                  <a:lnTo>
                    <a:pt x="720" y="49"/>
                  </a:lnTo>
                  <a:lnTo>
                    <a:pt x="698" y="39"/>
                  </a:lnTo>
                  <a:lnTo>
                    <a:pt x="675" y="30"/>
                  </a:lnTo>
                  <a:lnTo>
                    <a:pt x="652" y="22"/>
                  </a:lnTo>
                  <a:lnTo>
                    <a:pt x="628" y="16"/>
                  </a:lnTo>
                  <a:lnTo>
                    <a:pt x="604" y="10"/>
                  </a:lnTo>
                  <a:lnTo>
                    <a:pt x="579" y="6"/>
                  </a:lnTo>
                  <a:lnTo>
                    <a:pt x="554" y="3"/>
                  </a:lnTo>
                  <a:lnTo>
                    <a:pt x="528" y="1"/>
                  </a:lnTo>
                  <a:lnTo>
                    <a:pt x="502" y="0"/>
                  </a:lnTo>
                  <a:lnTo>
                    <a:pt x="476" y="1"/>
                  </a:lnTo>
                  <a:lnTo>
                    <a:pt x="451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6" y="39"/>
                  </a:lnTo>
                  <a:lnTo>
                    <a:pt x="284" y="49"/>
                  </a:lnTo>
                  <a:lnTo>
                    <a:pt x="262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4"/>
                  </a:lnTo>
                  <a:lnTo>
                    <a:pt x="165" y="130"/>
                  </a:lnTo>
                  <a:lnTo>
                    <a:pt x="147" y="146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100" y="202"/>
                  </a:lnTo>
                  <a:lnTo>
                    <a:pt x="86" y="221"/>
                  </a:lnTo>
                  <a:lnTo>
                    <a:pt x="72" y="242"/>
                  </a:lnTo>
                  <a:lnTo>
                    <a:pt x="60" y="263"/>
                  </a:lnTo>
                  <a:lnTo>
                    <a:pt x="49" y="284"/>
                  </a:lnTo>
                  <a:lnTo>
                    <a:pt x="39" y="306"/>
                  </a:lnTo>
                  <a:lnTo>
                    <a:pt x="30" y="330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1"/>
                  </a:lnTo>
                  <a:lnTo>
                    <a:pt x="1" y="476"/>
                  </a:lnTo>
                  <a:lnTo>
                    <a:pt x="0" y="503"/>
                  </a:lnTo>
                  <a:lnTo>
                    <a:pt x="1" y="529"/>
                  </a:lnTo>
                  <a:lnTo>
                    <a:pt x="3" y="554"/>
                  </a:lnTo>
                  <a:lnTo>
                    <a:pt x="6" y="579"/>
                  </a:lnTo>
                  <a:lnTo>
                    <a:pt x="10" y="604"/>
                  </a:lnTo>
                  <a:lnTo>
                    <a:pt x="16" y="628"/>
                  </a:lnTo>
                  <a:lnTo>
                    <a:pt x="22" y="652"/>
                  </a:lnTo>
                  <a:lnTo>
                    <a:pt x="30" y="676"/>
                  </a:lnTo>
                  <a:lnTo>
                    <a:pt x="39" y="699"/>
                  </a:lnTo>
                  <a:lnTo>
                    <a:pt x="49" y="721"/>
                  </a:lnTo>
                  <a:lnTo>
                    <a:pt x="60" y="743"/>
                  </a:lnTo>
                  <a:lnTo>
                    <a:pt x="72" y="763"/>
                  </a:lnTo>
                  <a:lnTo>
                    <a:pt x="86" y="784"/>
                  </a:lnTo>
                  <a:lnTo>
                    <a:pt x="100" y="803"/>
                  </a:lnTo>
                  <a:lnTo>
                    <a:pt x="115" y="822"/>
                  </a:lnTo>
                  <a:lnTo>
                    <a:pt x="131" y="841"/>
                  </a:lnTo>
                  <a:lnTo>
                    <a:pt x="147" y="859"/>
                  </a:lnTo>
                  <a:lnTo>
                    <a:pt x="165" y="875"/>
                  </a:lnTo>
                  <a:lnTo>
                    <a:pt x="183" y="891"/>
                  </a:lnTo>
                  <a:lnTo>
                    <a:pt x="202" y="906"/>
                  </a:lnTo>
                  <a:lnTo>
                    <a:pt x="221" y="920"/>
                  </a:lnTo>
                  <a:lnTo>
                    <a:pt x="242" y="933"/>
                  </a:lnTo>
                  <a:lnTo>
                    <a:pt x="262" y="945"/>
                  </a:lnTo>
                  <a:lnTo>
                    <a:pt x="284" y="956"/>
                  </a:lnTo>
                  <a:lnTo>
                    <a:pt x="306" y="966"/>
                  </a:lnTo>
                  <a:lnTo>
                    <a:pt x="330" y="975"/>
                  </a:lnTo>
                  <a:lnTo>
                    <a:pt x="353" y="983"/>
                  </a:lnTo>
                  <a:lnTo>
                    <a:pt x="377" y="989"/>
                  </a:lnTo>
                  <a:lnTo>
                    <a:pt x="401" y="995"/>
                  </a:lnTo>
                  <a:lnTo>
                    <a:pt x="426" y="999"/>
                  </a:lnTo>
                  <a:lnTo>
                    <a:pt x="451" y="1003"/>
                  </a:lnTo>
                  <a:lnTo>
                    <a:pt x="476" y="1005"/>
                  </a:lnTo>
                  <a:lnTo>
                    <a:pt x="502" y="10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45" name="í$líḓè">
              <a:extLst>
                <a:ext uri="{FF2B5EF4-FFF2-40B4-BE49-F238E27FC236}">
                  <a16:creationId xmlns:a16="http://schemas.microsoft.com/office/drawing/2014/main" id="{B5E82685-1C16-407D-9CD9-8BBC2382D327}"/>
                </a:ext>
              </a:extLst>
            </p:cNvPr>
            <p:cNvSpPr/>
            <p:nvPr/>
          </p:nvSpPr>
          <p:spPr bwMode="auto">
            <a:xfrm>
              <a:off x="7343797" y="1162347"/>
              <a:ext cx="613339" cy="535789"/>
            </a:xfrm>
            <a:custGeom>
              <a:avLst/>
              <a:gdLst>
                <a:gd name="T0" fmla="*/ 1006 w 16095"/>
                <a:gd name="T1" fmla="*/ 3013 h 14060"/>
                <a:gd name="T2" fmla="*/ 5802 w 16095"/>
                <a:gd name="T3" fmla="*/ 1392 h 14060"/>
                <a:gd name="T4" fmla="*/ 6204 w 16095"/>
                <a:gd name="T5" fmla="*/ 1861 h 14060"/>
                <a:gd name="T6" fmla="*/ 6751 w 16095"/>
                <a:gd name="T7" fmla="*/ 2221 h 14060"/>
                <a:gd name="T8" fmla="*/ 7413 w 16095"/>
                <a:gd name="T9" fmla="*/ 2445 h 14060"/>
                <a:gd name="T10" fmla="*/ 8157 w 16095"/>
                <a:gd name="T11" fmla="*/ 2509 h 14060"/>
                <a:gd name="T12" fmla="*/ 8881 w 16095"/>
                <a:gd name="T13" fmla="*/ 2397 h 14060"/>
                <a:gd name="T14" fmla="*/ 9513 w 16095"/>
                <a:gd name="T15" fmla="*/ 2131 h 14060"/>
                <a:gd name="T16" fmla="*/ 10022 w 16095"/>
                <a:gd name="T17" fmla="*/ 1737 h 14060"/>
                <a:gd name="T18" fmla="*/ 10376 w 16095"/>
                <a:gd name="T19" fmla="*/ 1241 h 14060"/>
                <a:gd name="T20" fmla="*/ 9936 w 16095"/>
                <a:gd name="T21" fmla="*/ 1004 h 14060"/>
                <a:gd name="T22" fmla="*/ 9691 w 16095"/>
                <a:gd name="T23" fmla="*/ 1361 h 14060"/>
                <a:gd name="T24" fmla="*/ 9334 w 16095"/>
                <a:gd name="T25" fmla="*/ 1655 h 14060"/>
                <a:gd name="T26" fmla="*/ 8886 w 16095"/>
                <a:gd name="T27" fmla="*/ 1870 h 14060"/>
                <a:gd name="T28" fmla="*/ 8368 w 16095"/>
                <a:gd name="T29" fmla="*/ 1989 h 14060"/>
                <a:gd name="T30" fmla="*/ 7806 w 16095"/>
                <a:gd name="T31" fmla="*/ 1998 h 14060"/>
                <a:gd name="T32" fmla="*/ 7279 w 16095"/>
                <a:gd name="T33" fmla="*/ 1893 h 14060"/>
                <a:gd name="T34" fmla="*/ 6819 w 16095"/>
                <a:gd name="T35" fmla="*/ 1691 h 14060"/>
                <a:gd name="T36" fmla="*/ 6449 w 16095"/>
                <a:gd name="T37" fmla="*/ 1407 h 14060"/>
                <a:gd name="T38" fmla="*/ 6187 w 16095"/>
                <a:gd name="T39" fmla="*/ 1059 h 14060"/>
                <a:gd name="T40" fmla="*/ 13098 w 16095"/>
                <a:gd name="T41" fmla="*/ 147 h 14060"/>
                <a:gd name="T42" fmla="*/ 12827 w 16095"/>
                <a:gd name="T43" fmla="*/ 32 h 14060"/>
                <a:gd name="T44" fmla="*/ 3521 w 16095"/>
                <a:gd name="T45" fmla="*/ 0 h 14060"/>
                <a:gd name="T46" fmla="*/ 3228 w 16095"/>
                <a:gd name="T47" fmla="*/ 43 h 14060"/>
                <a:gd name="T48" fmla="*/ 2960 w 16095"/>
                <a:gd name="T49" fmla="*/ 170 h 14060"/>
                <a:gd name="T50" fmla="*/ 264 w 16095"/>
                <a:gd name="T51" fmla="*/ 2335 h 14060"/>
                <a:gd name="T52" fmla="*/ 112 w 16095"/>
                <a:gd name="T53" fmla="*/ 2554 h 14060"/>
                <a:gd name="T54" fmla="*/ 22 w 16095"/>
                <a:gd name="T55" fmla="*/ 2802 h 14060"/>
                <a:gd name="T56" fmla="*/ 1 w 16095"/>
                <a:gd name="T57" fmla="*/ 3065 h 14060"/>
                <a:gd name="T58" fmla="*/ 52 w 16095"/>
                <a:gd name="T59" fmla="*/ 3331 h 14060"/>
                <a:gd name="T60" fmla="*/ 1127 w 16095"/>
                <a:gd name="T61" fmla="*/ 6504 h 14060"/>
                <a:gd name="T62" fmla="*/ 1239 w 16095"/>
                <a:gd name="T63" fmla="*/ 6669 h 14060"/>
                <a:gd name="T64" fmla="*/ 1382 w 16095"/>
                <a:gd name="T65" fmla="*/ 6809 h 14060"/>
                <a:gd name="T66" fmla="*/ 1551 w 16095"/>
                <a:gd name="T67" fmla="*/ 6919 h 14060"/>
                <a:gd name="T68" fmla="*/ 1766 w 16095"/>
                <a:gd name="T69" fmla="*/ 7000 h 14060"/>
                <a:gd name="T70" fmla="*/ 2045 w 16095"/>
                <a:gd name="T71" fmla="*/ 7029 h 14060"/>
                <a:gd name="T72" fmla="*/ 2271 w 16095"/>
                <a:gd name="T73" fmla="*/ 6996 h 14060"/>
                <a:gd name="T74" fmla="*/ 2486 w 16095"/>
                <a:gd name="T75" fmla="*/ 6911 h 14060"/>
                <a:gd name="T76" fmla="*/ 2546 w 16095"/>
                <a:gd name="T77" fmla="*/ 13307 h 14060"/>
                <a:gd name="T78" fmla="*/ 2687 w 16095"/>
                <a:gd name="T79" fmla="*/ 13617 h 14060"/>
                <a:gd name="T80" fmla="*/ 2919 w 16095"/>
                <a:gd name="T81" fmla="*/ 13860 h 14060"/>
                <a:gd name="T82" fmla="*/ 3222 w 16095"/>
                <a:gd name="T83" fmla="*/ 14015 h 14060"/>
                <a:gd name="T84" fmla="*/ 12574 w 16095"/>
                <a:gd name="T85" fmla="*/ 14060 h 14060"/>
                <a:gd name="T86" fmla="*/ 12920 w 16095"/>
                <a:gd name="T87" fmla="*/ 13999 h 14060"/>
                <a:gd name="T88" fmla="*/ 13214 w 16095"/>
                <a:gd name="T89" fmla="*/ 13831 h 14060"/>
                <a:gd name="T90" fmla="*/ 13434 w 16095"/>
                <a:gd name="T91" fmla="*/ 13576 h 14060"/>
                <a:gd name="T92" fmla="*/ 13560 w 16095"/>
                <a:gd name="T93" fmla="*/ 13258 h 14060"/>
                <a:gd name="T94" fmla="*/ 13639 w 16095"/>
                <a:gd name="T95" fmla="*/ 6927 h 14060"/>
                <a:gd name="T96" fmla="*/ 13856 w 16095"/>
                <a:gd name="T97" fmla="*/ 7004 h 14060"/>
                <a:gd name="T98" fmla="*/ 14083 w 16095"/>
                <a:gd name="T99" fmla="*/ 7030 h 14060"/>
                <a:gd name="T100" fmla="*/ 14370 w 16095"/>
                <a:gd name="T101" fmla="*/ 6989 h 14060"/>
                <a:gd name="T102" fmla="*/ 14569 w 16095"/>
                <a:gd name="T103" fmla="*/ 6905 h 14060"/>
                <a:gd name="T104" fmla="*/ 14735 w 16095"/>
                <a:gd name="T105" fmla="*/ 6791 h 14060"/>
                <a:gd name="T106" fmla="*/ 14874 w 16095"/>
                <a:gd name="T107" fmla="*/ 6647 h 14060"/>
                <a:gd name="T108" fmla="*/ 14981 w 16095"/>
                <a:gd name="T109" fmla="*/ 6478 h 14060"/>
                <a:gd name="T110" fmla="*/ 16055 w 16095"/>
                <a:gd name="T111" fmla="*/ 3293 h 14060"/>
                <a:gd name="T112" fmla="*/ 16095 w 16095"/>
                <a:gd name="T113" fmla="*/ 3027 h 14060"/>
                <a:gd name="T114" fmla="*/ 16064 w 16095"/>
                <a:gd name="T115" fmla="*/ 2765 h 14060"/>
                <a:gd name="T116" fmla="*/ 15966 w 16095"/>
                <a:gd name="T117" fmla="*/ 2521 h 14060"/>
                <a:gd name="T118" fmla="*/ 15805 w 16095"/>
                <a:gd name="T119" fmla="*/ 2307 h 14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095" h="14060">
                  <a:moveTo>
                    <a:pt x="14083" y="6026"/>
                  </a:moveTo>
                  <a:lnTo>
                    <a:pt x="12574" y="5021"/>
                  </a:lnTo>
                  <a:lnTo>
                    <a:pt x="12574" y="13056"/>
                  </a:lnTo>
                  <a:lnTo>
                    <a:pt x="3521" y="13056"/>
                  </a:lnTo>
                  <a:lnTo>
                    <a:pt x="3521" y="5021"/>
                  </a:lnTo>
                  <a:lnTo>
                    <a:pt x="2012" y="6026"/>
                  </a:lnTo>
                  <a:lnTo>
                    <a:pt x="1006" y="3013"/>
                  </a:lnTo>
                  <a:lnTo>
                    <a:pt x="3521" y="1004"/>
                  </a:lnTo>
                  <a:lnTo>
                    <a:pt x="5622" y="1004"/>
                  </a:lnTo>
                  <a:lnTo>
                    <a:pt x="5650" y="1085"/>
                  </a:lnTo>
                  <a:lnTo>
                    <a:pt x="5683" y="1164"/>
                  </a:lnTo>
                  <a:lnTo>
                    <a:pt x="5719" y="1241"/>
                  </a:lnTo>
                  <a:lnTo>
                    <a:pt x="5758" y="1318"/>
                  </a:lnTo>
                  <a:lnTo>
                    <a:pt x="5802" y="1392"/>
                  </a:lnTo>
                  <a:lnTo>
                    <a:pt x="5850" y="1464"/>
                  </a:lnTo>
                  <a:lnTo>
                    <a:pt x="5900" y="1536"/>
                  </a:lnTo>
                  <a:lnTo>
                    <a:pt x="5954" y="1605"/>
                  </a:lnTo>
                  <a:lnTo>
                    <a:pt x="6011" y="1672"/>
                  </a:lnTo>
                  <a:lnTo>
                    <a:pt x="6073" y="1737"/>
                  </a:lnTo>
                  <a:lnTo>
                    <a:pt x="6136" y="1800"/>
                  </a:lnTo>
                  <a:lnTo>
                    <a:pt x="6204" y="1861"/>
                  </a:lnTo>
                  <a:lnTo>
                    <a:pt x="6274" y="1920"/>
                  </a:lnTo>
                  <a:lnTo>
                    <a:pt x="6346" y="1976"/>
                  </a:lnTo>
                  <a:lnTo>
                    <a:pt x="6422" y="2031"/>
                  </a:lnTo>
                  <a:lnTo>
                    <a:pt x="6500" y="2082"/>
                  </a:lnTo>
                  <a:lnTo>
                    <a:pt x="6582" y="2131"/>
                  </a:lnTo>
                  <a:lnTo>
                    <a:pt x="6665" y="2177"/>
                  </a:lnTo>
                  <a:lnTo>
                    <a:pt x="6751" y="2221"/>
                  </a:lnTo>
                  <a:lnTo>
                    <a:pt x="6839" y="2262"/>
                  </a:lnTo>
                  <a:lnTo>
                    <a:pt x="6930" y="2300"/>
                  </a:lnTo>
                  <a:lnTo>
                    <a:pt x="7022" y="2336"/>
                  </a:lnTo>
                  <a:lnTo>
                    <a:pt x="7117" y="2368"/>
                  </a:lnTo>
                  <a:lnTo>
                    <a:pt x="7215" y="2397"/>
                  </a:lnTo>
                  <a:lnTo>
                    <a:pt x="7313" y="2423"/>
                  </a:lnTo>
                  <a:lnTo>
                    <a:pt x="7413" y="2445"/>
                  </a:lnTo>
                  <a:lnTo>
                    <a:pt x="7515" y="2466"/>
                  </a:lnTo>
                  <a:lnTo>
                    <a:pt x="7619" y="2482"/>
                  </a:lnTo>
                  <a:lnTo>
                    <a:pt x="7724" y="2495"/>
                  </a:lnTo>
                  <a:lnTo>
                    <a:pt x="7830" y="2504"/>
                  </a:lnTo>
                  <a:lnTo>
                    <a:pt x="7939" y="2509"/>
                  </a:lnTo>
                  <a:lnTo>
                    <a:pt x="8048" y="2511"/>
                  </a:lnTo>
                  <a:lnTo>
                    <a:pt x="8157" y="2509"/>
                  </a:lnTo>
                  <a:lnTo>
                    <a:pt x="8265" y="2504"/>
                  </a:lnTo>
                  <a:lnTo>
                    <a:pt x="8371" y="2495"/>
                  </a:lnTo>
                  <a:lnTo>
                    <a:pt x="8476" y="2482"/>
                  </a:lnTo>
                  <a:lnTo>
                    <a:pt x="8580" y="2466"/>
                  </a:lnTo>
                  <a:lnTo>
                    <a:pt x="8682" y="2445"/>
                  </a:lnTo>
                  <a:lnTo>
                    <a:pt x="8783" y="2423"/>
                  </a:lnTo>
                  <a:lnTo>
                    <a:pt x="8881" y="2397"/>
                  </a:lnTo>
                  <a:lnTo>
                    <a:pt x="8978" y="2368"/>
                  </a:lnTo>
                  <a:lnTo>
                    <a:pt x="9073" y="2336"/>
                  </a:lnTo>
                  <a:lnTo>
                    <a:pt x="9165" y="2300"/>
                  </a:lnTo>
                  <a:lnTo>
                    <a:pt x="9256" y="2262"/>
                  </a:lnTo>
                  <a:lnTo>
                    <a:pt x="9344" y="2221"/>
                  </a:lnTo>
                  <a:lnTo>
                    <a:pt x="9430" y="2177"/>
                  </a:lnTo>
                  <a:lnTo>
                    <a:pt x="9513" y="2131"/>
                  </a:lnTo>
                  <a:lnTo>
                    <a:pt x="9595" y="2082"/>
                  </a:lnTo>
                  <a:lnTo>
                    <a:pt x="9673" y="2031"/>
                  </a:lnTo>
                  <a:lnTo>
                    <a:pt x="9749" y="1976"/>
                  </a:lnTo>
                  <a:lnTo>
                    <a:pt x="9821" y="1920"/>
                  </a:lnTo>
                  <a:lnTo>
                    <a:pt x="9891" y="1861"/>
                  </a:lnTo>
                  <a:lnTo>
                    <a:pt x="9959" y="1800"/>
                  </a:lnTo>
                  <a:lnTo>
                    <a:pt x="10022" y="1737"/>
                  </a:lnTo>
                  <a:lnTo>
                    <a:pt x="10084" y="1672"/>
                  </a:lnTo>
                  <a:lnTo>
                    <a:pt x="10141" y="1605"/>
                  </a:lnTo>
                  <a:lnTo>
                    <a:pt x="10195" y="1536"/>
                  </a:lnTo>
                  <a:lnTo>
                    <a:pt x="10245" y="1464"/>
                  </a:lnTo>
                  <a:lnTo>
                    <a:pt x="10293" y="1392"/>
                  </a:lnTo>
                  <a:lnTo>
                    <a:pt x="10337" y="1318"/>
                  </a:lnTo>
                  <a:lnTo>
                    <a:pt x="10376" y="1241"/>
                  </a:lnTo>
                  <a:lnTo>
                    <a:pt x="10412" y="1164"/>
                  </a:lnTo>
                  <a:lnTo>
                    <a:pt x="10445" y="1085"/>
                  </a:lnTo>
                  <a:lnTo>
                    <a:pt x="10473" y="1004"/>
                  </a:lnTo>
                  <a:lnTo>
                    <a:pt x="12574" y="1004"/>
                  </a:lnTo>
                  <a:lnTo>
                    <a:pt x="15089" y="3013"/>
                  </a:lnTo>
                  <a:lnTo>
                    <a:pt x="14083" y="6026"/>
                  </a:lnTo>
                  <a:close/>
                  <a:moveTo>
                    <a:pt x="9936" y="1004"/>
                  </a:moveTo>
                  <a:lnTo>
                    <a:pt x="9908" y="1059"/>
                  </a:lnTo>
                  <a:lnTo>
                    <a:pt x="9878" y="1112"/>
                  </a:lnTo>
                  <a:lnTo>
                    <a:pt x="9846" y="1164"/>
                  </a:lnTo>
                  <a:lnTo>
                    <a:pt x="9811" y="1215"/>
                  </a:lnTo>
                  <a:lnTo>
                    <a:pt x="9773" y="1264"/>
                  </a:lnTo>
                  <a:lnTo>
                    <a:pt x="9733" y="1314"/>
                  </a:lnTo>
                  <a:lnTo>
                    <a:pt x="9691" y="1361"/>
                  </a:lnTo>
                  <a:lnTo>
                    <a:pt x="9646" y="1407"/>
                  </a:lnTo>
                  <a:lnTo>
                    <a:pt x="9600" y="1452"/>
                  </a:lnTo>
                  <a:lnTo>
                    <a:pt x="9550" y="1495"/>
                  </a:lnTo>
                  <a:lnTo>
                    <a:pt x="9500" y="1538"/>
                  </a:lnTo>
                  <a:lnTo>
                    <a:pt x="9447" y="1579"/>
                  </a:lnTo>
                  <a:lnTo>
                    <a:pt x="9391" y="1617"/>
                  </a:lnTo>
                  <a:lnTo>
                    <a:pt x="9334" y="1655"/>
                  </a:lnTo>
                  <a:lnTo>
                    <a:pt x="9276" y="1691"/>
                  </a:lnTo>
                  <a:lnTo>
                    <a:pt x="9215" y="1725"/>
                  </a:lnTo>
                  <a:lnTo>
                    <a:pt x="9152" y="1758"/>
                  </a:lnTo>
                  <a:lnTo>
                    <a:pt x="9089" y="1789"/>
                  </a:lnTo>
                  <a:lnTo>
                    <a:pt x="9022" y="1818"/>
                  </a:lnTo>
                  <a:lnTo>
                    <a:pt x="8956" y="1845"/>
                  </a:lnTo>
                  <a:lnTo>
                    <a:pt x="8886" y="1870"/>
                  </a:lnTo>
                  <a:lnTo>
                    <a:pt x="8816" y="1893"/>
                  </a:lnTo>
                  <a:lnTo>
                    <a:pt x="8745" y="1914"/>
                  </a:lnTo>
                  <a:lnTo>
                    <a:pt x="8672" y="1933"/>
                  </a:lnTo>
                  <a:lnTo>
                    <a:pt x="8598" y="1951"/>
                  </a:lnTo>
                  <a:lnTo>
                    <a:pt x="8522" y="1965"/>
                  </a:lnTo>
                  <a:lnTo>
                    <a:pt x="8446" y="1978"/>
                  </a:lnTo>
                  <a:lnTo>
                    <a:pt x="8368" y="1989"/>
                  </a:lnTo>
                  <a:lnTo>
                    <a:pt x="8289" y="1998"/>
                  </a:lnTo>
                  <a:lnTo>
                    <a:pt x="8209" y="2004"/>
                  </a:lnTo>
                  <a:lnTo>
                    <a:pt x="8129" y="2008"/>
                  </a:lnTo>
                  <a:lnTo>
                    <a:pt x="8048" y="2009"/>
                  </a:lnTo>
                  <a:lnTo>
                    <a:pt x="7966" y="2008"/>
                  </a:lnTo>
                  <a:lnTo>
                    <a:pt x="7886" y="2004"/>
                  </a:lnTo>
                  <a:lnTo>
                    <a:pt x="7806" y="1998"/>
                  </a:lnTo>
                  <a:lnTo>
                    <a:pt x="7727" y="1989"/>
                  </a:lnTo>
                  <a:lnTo>
                    <a:pt x="7649" y="1978"/>
                  </a:lnTo>
                  <a:lnTo>
                    <a:pt x="7573" y="1965"/>
                  </a:lnTo>
                  <a:lnTo>
                    <a:pt x="7497" y="1951"/>
                  </a:lnTo>
                  <a:lnTo>
                    <a:pt x="7423" y="1933"/>
                  </a:lnTo>
                  <a:lnTo>
                    <a:pt x="7350" y="1914"/>
                  </a:lnTo>
                  <a:lnTo>
                    <a:pt x="7279" y="1893"/>
                  </a:lnTo>
                  <a:lnTo>
                    <a:pt x="7209" y="1870"/>
                  </a:lnTo>
                  <a:lnTo>
                    <a:pt x="7139" y="1845"/>
                  </a:lnTo>
                  <a:lnTo>
                    <a:pt x="7073" y="1818"/>
                  </a:lnTo>
                  <a:lnTo>
                    <a:pt x="7006" y="1789"/>
                  </a:lnTo>
                  <a:lnTo>
                    <a:pt x="6943" y="1758"/>
                  </a:lnTo>
                  <a:lnTo>
                    <a:pt x="6881" y="1725"/>
                  </a:lnTo>
                  <a:lnTo>
                    <a:pt x="6819" y="1691"/>
                  </a:lnTo>
                  <a:lnTo>
                    <a:pt x="6761" y="1655"/>
                  </a:lnTo>
                  <a:lnTo>
                    <a:pt x="6704" y="1617"/>
                  </a:lnTo>
                  <a:lnTo>
                    <a:pt x="6648" y="1579"/>
                  </a:lnTo>
                  <a:lnTo>
                    <a:pt x="6596" y="1538"/>
                  </a:lnTo>
                  <a:lnTo>
                    <a:pt x="6545" y="1495"/>
                  </a:lnTo>
                  <a:lnTo>
                    <a:pt x="6495" y="1452"/>
                  </a:lnTo>
                  <a:lnTo>
                    <a:pt x="6449" y="1407"/>
                  </a:lnTo>
                  <a:lnTo>
                    <a:pt x="6404" y="1361"/>
                  </a:lnTo>
                  <a:lnTo>
                    <a:pt x="6362" y="1314"/>
                  </a:lnTo>
                  <a:lnTo>
                    <a:pt x="6322" y="1264"/>
                  </a:lnTo>
                  <a:lnTo>
                    <a:pt x="6284" y="1215"/>
                  </a:lnTo>
                  <a:lnTo>
                    <a:pt x="6249" y="1164"/>
                  </a:lnTo>
                  <a:lnTo>
                    <a:pt x="6217" y="1112"/>
                  </a:lnTo>
                  <a:lnTo>
                    <a:pt x="6187" y="1059"/>
                  </a:lnTo>
                  <a:lnTo>
                    <a:pt x="6159" y="1004"/>
                  </a:lnTo>
                  <a:lnTo>
                    <a:pt x="9936" y="1004"/>
                  </a:lnTo>
                  <a:close/>
                  <a:moveTo>
                    <a:pt x="15718" y="2229"/>
                  </a:moveTo>
                  <a:lnTo>
                    <a:pt x="13203" y="220"/>
                  </a:lnTo>
                  <a:lnTo>
                    <a:pt x="13169" y="194"/>
                  </a:lnTo>
                  <a:lnTo>
                    <a:pt x="13135" y="170"/>
                  </a:lnTo>
                  <a:lnTo>
                    <a:pt x="13098" y="147"/>
                  </a:lnTo>
                  <a:lnTo>
                    <a:pt x="13061" y="126"/>
                  </a:lnTo>
                  <a:lnTo>
                    <a:pt x="13024" y="105"/>
                  </a:lnTo>
                  <a:lnTo>
                    <a:pt x="12986" y="87"/>
                  </a:lnTo>
                  <a:lnTo>
                    <a:pt x="12946" y="71"/>
                  </a:lnTo>
                  <a:lnTo>
                    <a:pt x="12907" y="56"/>
                  </a:lnTo>
                  <a:lnTo>
                    <a:pt x="12867" y="43"/>
                  </a:lnTo>
                  <a:lnTo>
                    <a:pt x="12827" y="32"/>
                  </a:lnTo>
                  <a:lnTo>
                    <a:pt x="12785" y="22"/>
                  </a:lnTo>
                  <a:lnTo>
                    <a:pt x="12743" y="14"/>
                  </a:lnTo>
                  <a:lnTo>
                    <a:pt x="12702" y="8"/>
                  </a:lnTo>
                  <a:lnTo>
                    <a:pt x="12660" y="4"/>
                  </a:lnTo>
                  <a:lnTo>
                    <a:pt x="12616" y="1"/>
                  </a:lnTo>
                  <a:lnTo>
                    <a:pt x="12574" y="0"/>
                  </a:lnTo>
                  <a:lnTo>
                    <a:pt x="3521" y="0"/>
                  </a:lnTo>
                  <a:lnTo>
                    <a:pt x="3479" y="1"/>
                  </a:lnTo>
                  <a:lnTo>
                    <a:pt x="3435" y="4"/>
                  </a:lnTo>
                  <a:lnTo>
                    <a:pt x="3393" y="8"/>
                  </a:lnTo>
                  <a:lnTo>
                    <a:pt x="3352" y="14"/>
                  </a:lnTo>
                  <a:lnTo>
                    <a:pt x="3310" y="22"/>
                  </a:lnTo>
                  <a:lnTo>
                    <a:pt x="3268" y="32"/>
                  </a:lnTo>
                  <a:lnTo>
                    <a:pt x="3228" y="43"/>
                  </a:lnTo>
                  <a:lnTo>
                    <a:pt x="3188" y="56"/>
                  </a:lnTo>
                  <a:lnTo>
                    <a:pt x="3149" y="71"/>
                  </a:lnTo>
                  <a:lnTo>
                    <a:pt x="3109" y="87"/>
                  </a:lnTo>
                  <a:lnTo>
                    <a:pt x="3071" y="105"/>
                  </a:lnTo>
                  <a:lnTo>
                    <a:pt x="3034" y="126"/>
                  </a:lnTo>
                  <a:lnTo>
                    <a:pt x="2997" y="147"/>
                  </a:lnTo>
                  <a:lnTo>
                    <a:pt x="2960" y="170"/>
                  </a:lnTo>
                  <a:lnTo>
                    <a:pt x="2926" y="194"/>
                  </a:lnTo>
                  <a:lnTo>
                    <a:pt x="2892" y="220"/>
                  </a:lnTo>
                  <a:lnTo>
                    <a:pt x="377" y="2229"/>
                  </a:lnTo>
                  <a:lnTo>
                    <a:pt x="347" y="2254"/>
                  </a:lnTo>
                  <a:lnTo>
                    <a:pt x="318" y="2280"/>
                  </a:lnTo>
                  <a:lnTo>
                    <a:pt x="290" y="2307"/>
                  </a:lnTo>
                  <a:lnTo>
                    <a:pt x="264" y="2335"/>
                  </a:lnTo>
                  <a:lnTo>
                    <a:pt x="237" y="2364"/>
                  </a:lnTo>
                  <a:lnTo>
                    <a:pt x="213" y="2393"/>
                  </a:lnTo>
                  <a:lnTo>
                    <a:pt x="191" y="2424"/>
                  </a:lnTo>
                  <a:lnTo>
                    <a:pt x="169" y="2455"/>
                  </a:lnTo>
                  <a:lnTo>
                    <a:pt x="148" y="2488"/>
                  </a:lnTo>
                  <a:lnTo>
                    <a:pt x="129" y="2521"/>
                  </a:lnTo>
                  <a:lnTo>
                    <a:pt x="112" y="2554"/>
                  </a:lnTo>
                  <a:lnTo>
                    <a:pt x="95" y="2588"/>
                  </a:lnTo>
                  <a:lnTo>
                    <a:pt x="79" y="2622"/>
                  </a:lnTo>
                  <a:lnTo>
                    <a:pt x="65" y="2657"/>
                  </a:lnTo>
                  <a:lnTo>
                    <a:pt x="52" y="2692"/>
                  </a:lnTo>
                  <a:lnTo>
                    <a:pt x="41" y="2729"/>
                  </a:lnTo>
                  <a:lnTo>
                    <a:pt x="31" y="2765"/>
                  </a:lnTo>
                  <a:lnTo>
                    <a:pt x="22" y="2802"/>
                  </a:lnTo>
                  <a:lnTo>
                    <a:pt x="15" y="2839"/>
                  </a:lnTo>
                  <a:lnTo>
                    <a:pt x="9" y="2876"/>
                  </a:lnTo>
                  <a:lnTo>
                    <a:pt x="5" y="2913"/>
                  </a:lnTo>
                  <a:lnTo>
                    <a:pt x="2" y="2952"/>
                  </a:lnTo>
                  <a:lnTo>
                    <a:pt x="0" y="2989"/>
                  </a:lnTo>
                  <a:lnTo>
                    <a:pt x="0" y="3027"/>
                  </a:lnTo>
                  <a:lnTo>
                    <a:pt x="1" y="3065"/>
                  </a:lnTo>
                  <a:lnTo>
                    <a:pt x="4" y="3103"/>
                  </a:lnTo>
                  <a:lnTo>
                    <a:pt x="8" y="3141"/>
                  </a:lnTo>
                  <a:lnTo>
                    <a:pt x="14" y="3180"/>
                  </a:lnTo>
                  <a:lnTo>
                    <a:pt x="21" y="3218"/>
                  </a:lnTo>
                  <a:lnTo>
                    <a:pt x="30" y="3256"/>
                  </a:lnTo>
                  <a:lnTo>
                    <a:pt x="40" y="3293"/>
                  </a:lnTo>
                  <a:lnTo>
                    <a:pt x="52" y="3331"/>
                  </a:lnTo>
                  <a:lnTo>
                    <a:pt x="1057" y="6344"/>
                  </a:lnTo>
                  <a:lnTo>
                    <a:pt x="1067" y="6371"/>
                  </a:lnTo>
                  <a:lnTo>
                    <a:pt x="1078" y="6398"/>
                  </a:lnTo>
                  <a:lnTo>
                    <a:pt x="1089" y="6425"/>
                  </a:lnTo>
                  <a:lnTo>
                    <a:pt x="1100" y="6452"/>
                  </a:lnTo>
                  <a:lnTo>
                    <a:pt x="1114" y="6478"/>
                  </a:lnTo>
                  <a:lnTo>
                    <a:pt x="1127" y="6504"/>
                  </a:lnTo>
                  <a:lnTo>
                    <a:pt x="1141" y="6529"/>
                  </a:lnTo>
                  <a:lnTo>
                    <a:pt x="1156" y="6553"/>
                  </a:lnTo>
                  <a:lnTo>
                    <a:pt x="1171" y="6577"/>
                  </a:lnTo>
                  <a:lnTo>
                    <a:pt x="1187" y="6601"/>
                  </a:lnTo>
                  <a:lnTo>
                    <a:pt x="1204" y="6624"/>
                  </a:lnTo>
                  <a:lnTo>
                    <a:pt x="1221" y="6647"/>
                  </a:lnTo>
                  <a:lnTo>
                    <a:pt x="1239" y="6669"/>
                  </a:lnTo>
                  <a:lnTo>
                    <a:pt x="1258" y="6692"/>
                  </a:lnTo>
                  <a:lnTo>
                    <a:pt x="1278" y="6713"/>
                  </a:lnTo>
                  <a:lnTo>
                    <a:pt x="1298" y="6733"/>
                  </a:lnTo>
                  <a:lnTo>
                    <a:pt x="1318" y="6753"/>
                  </a:lnTo>
                  <a:lnTo>
                    <a:pt x="1339" y="6772"/>
                  </a:lnTo>
                  <a:lnTo>
                    <a:pt x="1360" y="6791"/>
                  </a:lnTo>
                  <a:lnTo>
                    <a:pt x="1382" y="6809"/>
                  </a:lnTo>
                  <a:lnTo>
                    <a:pt x="1405" y="6827"/>
                  </a:lnTo>
                  <a:lnTo>
                    <a:pt x="1428" y="6844"/>
                  </a:lnTo>
                  <a:lnTo>
                    <a:pt x="1452" y="6860"/>
                  </a:lnTo>
                  <a:lnTo>
                    <a:pt x="1476" y="6875"/>
                  </a:lnTo>
                  <a:lnTo>
                    <a:pt x="1501" y="6890"/>
                  </a:lnTo>
                  <a:lnTo>
                    <a:pt x="1526" y="6905"/>
                  </a:lnTo>
                  <a:lnTo>
                    <a:pt x="1551" y="6919"/>
                  </a:lnTo>
                  <a:lnTo>
                    <a:pt x="1577" y="6932"/>
                  </a:lnTo>
                  <a:lnTo>
                    <a:pt x="1603" y="6944"/>
                  </a:lnTo>
                  <a:lnTo>
                    <a:pt x="1631" y="6956"/>
                  </a:lnTo>
                  <a:lnTo>
                    <a:pt x="1658" y="6966"/>
                  </a:lnTo>
                  <a:lnTo>
                    <a:pt x="1686" y="6976"/>
                  </a:lnTo>
                  <a:lnTo>
                    <a:pt x="1725" y="6989"/>
                  </a:lnTo>
                  <a:lnTo>
                    <a:pt x="1766" y="7000"/>
                  </a:lnTo>
                  <a:lnTo>
                    <a:pt x="1807" y="7009"/>
                  </a:lnTo>
                  <a:lnTo>
                    <a:pt x="1848" y="7016"/>
                  </a:lnTo>
                  <a:lnTo>
                    <a:pt x="1888" y="7022"/>
                  </a:lnTo>
                  <a:lnTo>
                    <a:pt x="1929" y="7027"/>
                  </a:lnTo>
                  <a:lnTo>
                    <a:pt x="1971" y="7029"/>
                  </a:lnTo>
                  <a:lnTo>
                    <a:pt x="2012" y="7030"/>
                  </a:lnTo>
                  <a:lnTo>
                    <a:pt x="2045" y="7029"/>
                  </a:lnTo>
                  <a:lnTo>
                    <a:pt x="2077" y="7028"/>
                  </a:lnTo>
                  <a:lnTo>
                    <a:pt x="2110" y="7025"/>
                  </a:lnTo>
                  <a:lnTo>
                    <a:pt x="2143" y="7021"/>
                  </a:lnTo>
                  <a:lnTo>
                    <a:pt x="2175" y="7017"/>
                  </a:lnTo>
                  <a:lnTo>
                    <a:pt x="2207" y="7011"/>
                  </a:lnTo>
                  <a:lnTo>
                    <a:pt x="2239" y="7004"/>
                  </a:lnTo>
                  <a:lnTo>
                    <a:pt x="2271" y="6996"/>
                  </a:lnTo>
                  <a:lnTo>
                    <a:pt x="2303" y="6987"/>
                  </a:lnTo>
                  <a:lnTo>
                    <a:pt x="2334" y="6977"/>
                  </a:lnTo>
                  <a:lnTo>
                    <a:pt x="2365" y="6966"/>
                  </a:lnTo>
                  <a:lnTo>
                    <a:pt x="2396" y="6954"/>
                  </a:lnTo>
                  <a:lnTo>
                    <a:pt x="2426" y="6941"/>
                  </a:lnTo>
                  <a:lnTo>
                    <a:pt x="2456" y="6927"/>
                  </a:lnTo>
                  <a:lnTo>
                    <a:pt x="2486" y="6911"/>
                  </a:lnTo>
                  <a:lnTo>
                    <a:pt x="2515" y="6895"/>
                  </a:lnTo>
                  <a:lnTo>
                    <a:pt x="2515" y="13056"/>
                  </a:lnTo>
                  <a:lnTo>
                    <a:pt x="2516" y="13107"/>
                  </a:lnTo>
                  <a:lnTo>
                    <a:pt x="2520" y="13158"/>
                  </a:lnTo>
                  <a:lnTo>
                    <a:pt x="2526" y="13208"/>
                  </a:lnTo>
                  <a:lnTo>
                    <a:pt x="2535" y="13258"/>
                  </a:lnTo>
                  <a:lnTo>
                    <a:pt x="2546" y="13307"/>
                  </a:lnTo>
                  <a:lnTo>
                    <a:pt x="2560" y="13354"/>
                  </a:lnTo>
                  <a:lnTo>
                    <a:pt x="2576" y="13401"/>
                  </a:lnTo>
                  <a:lnTo>
                    <a:pt x="2594" y="13446"/>
                  </a:lnTo>
                  <a:lnTo>
                    <a:pt x="2614" y="13491"/>
                  </a:lnTo>
                  <a:lnTo>
                    <a:pt x="2637" y="13535"/>
                  </a:lnTo>
                  <a:lnTo>
                    <a:pt x="2661" y="13576"/>
                  </a:lnTo>
                  <a:lnTo>
                    <a:pt x="2687" y="13617"/>
                  </a:lnTo>
                  <a:lnTo>
                    <a:pt x="2715" y="13656"/>
                  </a:lnTo>
                  <a:lnTo>
                    <a:pt x="2744" y="13694"/>
                  </a:lnTo>
                  <a:lnTo>
                    <a:pt x="2776" y="13731"/>
                  </a:lnTo>
                  <a:lnTo>
                    <a:pt x="2810" y="13766"/>
                  </a:lnTo>
                  <a:lnTo>
                    <a:pt x="2845" y="13799"/>
                  </a:lnTo>
                  <a:lnTo>
                    <a:pt x="2881" y="13831"/>
                  </a:lnTo>
                  <a:lnTo>
                    <a:pt x="2919" y="13860"/>
                  </a:lnTo>
                  <a:lnTo>
                    <a:pt x="2958" y="13888"/>
                  </a:lnTo>
                  <a:lnTo>
                    <a:pt x="3000" y="13914"/>
                  </a:lnTo>
                  <a:lnTo>
                    <a:pt x="3041" y="13938"/>
                  </a:lnTo>
                  <a:lnTo>
                    <a:pt x="3085" y="13961"/>
                  </a:lnTo>
                  <a:lnTo>
                    <a:pt x="3129" y="13981"/>
                  </a:lnTo>
                  <a:lnTo>
                    <a:pt x="3175" y="13999"/>
                  </a:lnTo>
                  <a:lnTo>
                    <a:pt x="3222" y="14015"/>
                  </a:lnTo>
                  <a:lnTo>
                    <a:pt x="3269" y="14028"/>
                  </a:lnTo>
                  <a:lnTo>
                    <a:pt x="3319" y="14040"/>
                  </a:lnTo>
                  <a:lnTo>
                    <a:pt x="3368" y="14048"/>
                  </a:lnTo>
                  <a:lnTo>
                    <a:pt x="3418" y="14055"/>
                  </a:lnTo>
                  <a:lnTo>
                    <a:pt x="3469" y="14059"/>
                  </a:lnTo>
                  <a:lnTo>
                    <a:pt x="3521" y="14060"/>
                  </a:lnTo>
                  <a:lnTo>
                    <a:pt x="12574" y="14060"/>
                  </a:lnTo>
                  <a:lnTo>
                    <a:pt x="12626" y="14059"/>
                  </a:lnTo>
                  <a:lnTo>
                    <a:pt x="12677" y="14055"/>
                  </a:lnTo>
                  <a:lnTo>
                    <a:pt x="12727" y="14048"/>
                  </a:lnTo>
                  <a:lnTo>
                    <a:pt x="12776" y="14040"/>
                  </a:lnTo>
                  <a:lnTo>
                    <a:pt x="12826" y="14028"/>
                  </a:lnTo>
                  <a:lnTo>
                    <a:pt x="12873" y="14015"/>
                  </a:lnTo>
                  <a:lnTo>
                    <a:pt x="12920" y="13999"/>
                  </a:lnTo>
                  <a:lnTo>
                    <a:pt x="12966" y="13981"/>
                  </a:lnTo>
                  <a:lnTo>
                    <a:pt x="13010" y="13961"/>
                  </a:lnTo>
                  <a:lnTo>
                    <a:pt x="13054" y="13938"/>
                  </a:lnTo>
                  <a:lnTo>
                    <a:pt x="13095" y="13914"/>
                  </a:lnTo>
                  <a:lnTo>
                    <a:pt x="13137" y="13888"/>
                  </a:lnTo>
                  <a:lnTo>
                    <a:pt x="13176" y="13860"/>
                  </a:lnTo>
                  <a:lnTo>
                    <a:pt x="13214" y="13831"/>
                  </a:lnTo>
                  <a:lnTo>
                    <a:pt x="13250" y="13799"/>
                  </a:lnTo>
                  <a:lnTo>
                    <a:pt x="13285" y="13766"/>
                  </a:lnTo>
                  <a:lnTo>
                    <a:pt x="13319" y="13731"/>
                  </a:lnTo>
                  <a:lnTo>
                    <a:pt x="13351" y="13694"/>
                  </a:lnTo>
                  <a:lnTo>
                    <a:pt x="13380" y="13656"/>
                  </a:lnTo>
                  <a:lnTo>
                    <a:pt x="13408" y="13617"/>
                  </a:lnTo>
                  <a:lnTo>
                    <a:pt x="13434" y="13576"/>
                  </a:lnTo>
                  <a:lnTo>
                    <a:pt x="13458" y="13535"/>
                  </a:lnTo>
                  <a:lnTo>
                    <a:pt x="13481" y="13491"/>
                  </a:lnTo>
                  <a:lnTo>
                    <a:pt x="13501" y="13446"/>
                  </a:lnTo>
                  <a:lnTo>
                    <a:pt x="13519" y="13401"/>
                  </a:lnTo>
                  <a:lnTo>
                    <a:pt x="13535" y="13354"/>
                  </a:lnTo>
                  <a:lnTo>
                    <a:pt x="13548" y="13307"/>
                  </a:lnTo>
                  <a:lnTo>
                    <a:pt x="13560" y="13258"/>
                  </a:lnTo>
                  <a:lnTo>
                    <a:pt x="13568" y="13208"/>
                  </a:lnTo>
                  <a:lnTo>
                    <a:pt x="13575" y="13158"/>
                  </a:lnTo>
                  <a:lnTo>
                    <a:pt x="13579" y="13107"/>
                  </a:lnTo>
                  <a:lnTo>
                    <a:pt x="13580" y="13056"/>
                  </a:lnTo>
                  <a:lnTo>
                    <a:pt x="13580" y="6895"/>
                  </a:lnTo>
                  <a:lnTo>
                    <a:pt x="13609" y="6911"/>
                  </a:lnTo>
                  <a:lnTo>
                    <a:pt x="13639" y="6927"/>
                  </a:lnTo>
                  <a:lnTo>
                    <a:pt x="13669" y="6941"/>
                  </a:lnTo>
                  <a:lnTo>
                    <a:pt x="13699" y="6954"/>
                  </a:lnTo>
                  <a:lnTo>
                    <a:pt x="13730" y="6966"/>
                  </a:lnTo>
                  <a:lnTo>
                    <a:pt x="13761" y="6977"/>
                  </a:lnTo>
                  <a:lnTo>
                    <a:pt x="13792" y="6987"/>
                  </a:lnTo>
                  <a:lnTo>
                    <a:pt x="13824" y="6996"/>
                  </a:lnTo>
                  <a:lnTo>
                    <a:pt x="13856" y="7004"/>
                  </a:lnTo>
                  <a:lnTo>
                    <a:pt x="13888" y="7011"/>
                  </a:lnTo>
                  <a:lnTo>
                    <a:pt x="13920" y="7017"/>
                  </a:lnTo>
                  <a:lnTo>
                    <a:pt x="13952" y="7021"/>
                  </a:lnTo>
                  <a:lnTo>
                    <a:pt x="13985" y="7025"/>
                  </a:lnTo>
                  <a:lnTo>
                    <a:pt x="14018" y="7028"/>
                  </a:lnTo>
                  <a:lnTo>
                    <a:pt x="14050" y="7029"/>
                  </a:lnTo>
                  <a:lnTo>
                    <a:pt x="14083" y="7030"/>
                  </a:lnTo>
                  <a:lnTo>
                    <a:pt x="14124" y="7029"/>
                  </a:lnTo>
                  <a:lnTo>
                    <a:pt x="14166" y="7027"/>
                  </a:lnTo>
                  <a:lnTo>
                    <a:pt x="14207" y="7022"/>
                  </a:lnTo>
                  <a:lnTo>
                    <a:pt x="14247" y="7016"/>
                  </a:lnTo>
                  <a:lnTo>
                    <a:pt x="14288" y="7009"/>
                  </a:lnTo>
                  <a:lnTo>
                    <a:pt x="14329" y="7000"/>
                  </a:lnTo>
                  <a:lnTo>
                    <a:pt x="14370" y="6989"/>
                  </a:lnTo>
                  <a:lnTo>
                    <a:pt x="14410" y="6976"/>
                  </a:lnTo>
                  <a:lnTo>
                    <a:pt x="14437" y="6966"/>
                  </a:lnTo>
                  <a:lnTo>
                    <a:pt x="14464" y="6956"/>
                  </a:lnTo>
                  <a:lnTo>
                    <a:pt x="14492" y="6944"/>
                  </a:lnTo>
                  <a:lnTo>
                    <a:pt x="14518" y="6932"/>
                  </a:lnTo>
                  <a:lnTo>
                    <a:pt x="14544" y="6919"/>
                  </a:lnTo>
                  <a:lnTo>
                    <a:pt x="14569" y="6905"/>
                  </a:lnTo>
                  <a:lnTo>
                    <a:pt x="14594" y="6890"/>
                  </a:lnTo>
                  <a:lnTo>
                    <a:pt x="14619" y="6875"/>
                  </a:lnTo>
                  <a:lnTo>
                    <a:pt x="14643" y="6860"/>
                  </a:lnTo>
                  <a:lnTo>
                    <a:pt x="14667" y="6844"/>
                  </a:lnTo>
                  <a:lnTo>
                    <a:pt x="14690" y="6827"/>
                  </a:lnTo>
                  <a:lnTo>
                    <a:pt x="14713" y="6809"/>
                  </a:lnTo>
                  <a:lnTo>
                    <a:pt x="14735" y="6791"/>
                  </a:lnTo>
                  <a:lnTo>
                    <a:pt x="14756" y="6772"/>
                  </a:lnTo>
                  <a:lnTo>
                    <a:pt x="14777" y="6753"/>
                  </a:lnTo>
                  <a:lnTo>
                    <a:pt x="14797" y="6733"/>
                  </a:lnTo>
                  <a:lnTo>
                    <a:pt x="14817" y="6713"/>
                  </a:lnTo>
                  <a:lnTo>
                    <a:pt x="14837" y="6692"/>
                  </a:lnTo>
                  <a:lnTo>
                    <a:pt x="14856" y="6669"/>
                  </a:lnTo>
                  <a:lnTo>
                    <a:pt x="14874" y="6647"/>
                  </a:lnTo>
                  <a:lnTo>
                    <a:pt x="14891" y="6624"/>
                  </a:lnTo>
                  <a:lnTo>
                    <a:pt x="14908" y="6601"/>
                  </a:lnTo>
                  <a:lnTo>
                    <a:pt x="14924" y="6577"/>
                  </a:lnTo>
                  <a:lnTo>
                    <a:pt x="14939" y="6553"/>
                  </a:lnTo>
                  <a:lnTo>
                    <a:pt x="14954" y="6529"/>
                  </a:lnTo>
                  <a:lnTo>
                    <a:pt x="14968" y="6504"/>
                  </a:lnTo>
                  <a:lnTo>
                    <a:pt x="14981" y="6478"/>
                  </a:lnTo>
                  <a:lnTo>
                    <a:pt x="14995" y="6452"/>
                  </a:lnTo>
                  <a:lnTo>
                    <a:pt x="15006" y="6425"/>
                  </a:lnTo>
                  <a:lnTo>
                    <a:pt x="15017" y="6398"/>
                  </a:lnTo>
                  <a:lnTo>
                    <a:pt x="15028" y="6371"/>
                  </a:lnTo>
                  <a:lnTo>
                    <a:pt x="15038" y="6344"/>
                  </a:lnTo>
                  <a:lnTo>
                    <a:pt x="16044" y="3331"/>
                  </a:lnTo>
                  <a:lnTo>
                    <a:pt x="16055" y="3293"/>
                  </a:lnTo>
                  <a:lnTo>
                    <a:pt x="16065" y="3256"/>
                  </a:lnTo>
                  <a:lnTo>
                    <a:pt x="16074" y="3218"/>
                  </a:lnTo>
                  <a:lnTo>
                    <a:pt x="16081" y="3180"/>
                  </a:lnTo>
                  <a:lnTo>
                    <a:pt x="16087" y="3141"/>
                  </a:lnTo>
                  <a:lnTo>
                    <a:pt x="16091" y="3103"/>
                  </a:lnTo>
                  <a:lnTo>
                    <a:pt x="16094" y="3065"/>
                  </a:lnTo>
                  <a:lnTo>
                    <a:pt x="16095" y="3027"/>
                  </a:lnTo>
                  <a:lnTo>
                    <a:pt x="16095" y="2989"/>
                  </a:lnTo>
                  <a:lnTo>
                    <a:pt x="16093" y="2952"/>
                  </a:lnTo>
                  <a:lnTo>
                    <a:pt x="16090" y="2913"/>
                  </a:lnTo>
                  <a:lnTo>
                    <a:pt x="16086" y="2876"/>
                  </a:lnTo>
                  <a:lnTo>
                    <a:pt x="16080" y="2839"/>
                  </a:lnTo>
                  <a:lnTo>
                    <a:pt x="16073" y="2802"/>
                  </a:lnTo>
                  <a:lnTo>
                    <a:pt x="16064" y="2765"/>
                  </a:lnTo>
                  <a:lnTo>
                    <a:pt x="16054" y="2729"/>
                  </a:lnTo>
                  <a:lnTo>
                    <a:pt x="16043" y="2692"/>
                  </a:lnTo>
                  <a:lnTo>
                    <a:pt x="16030" y="2657"/>
                  </a:lnTo>
                  <a:lnTo>
                    <a:pt x="16016" y="2622"/>
                  </a:lnTo>
                  <a:lnTo>
                    <a:pt x="16000" y="2588"/>
                  </a:lnTo>
                  <a:lnTo>
                    <a:pt x="15983" y="2554"/>
                  </a:lnTo>
                  <a:lnTo>
                    <a:pt x="15966" y="2521"/>
                  </a:lnTo>
                  <a:lnTo>
                    <a:pt x="15947" y="2488"/>
                  </a:lnTo>
                  <a:lnTo>
                    <a:pt x="15926" y="2455"/>
                  </a:lnTo>
                  <a:lnTo>
                    <a:pt x="15904" y="2424"/>
                  </a:lnTo>
                  <a:lnTo>
                    <a:pt x="15882" y="2393"/>
                  </a:lnTo>
                  <a:lnTo>
                    <a:pt x="15858" y="2364"/>
                  </a:lnTo>
                  <a:lnTo>
                    <a:pt x="15831" y="2335"/>
                  </a:lnTo>
                  <a:lnTo>
                    <a:pt x="15805" y="2307"/>
                  </a:lnTo>
                  <a:lnTo>
                    <a:pt x="15777" y="2280"/>
                  </a:lnTo>
                  <a:lnTo>
                    <a:pt x="15748" y="2254"/>
                  </a:lnTo>
                  <a:lnTo>
                    <a:pt x="15718" y="222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46" name="îṩļîḋè">
              <a:extLst>
                <a:ext uri="{FF2B5EF4-FFF2-40B4-BE49-F238E27FC236}">
                  <a16:creationId xmlns:a16="http://schemas.microsoft.com/office/drawing/2014/main" id="{BD40D062-BAF3-4EBC-9425-6494044D8B03}"/>
                </a:ext>
              </a:extLst>
            </p:cNvPr>
            <p:cNvSpPr/>
            <p:nvPr/>
          </p:nvSpPr>
          <p:spPr bwMode="auto">
            <a:xfrm>
              <a:off x="8065458" y="169433"/>
              <a:ext cx="344793" cy="215594"/>
            </a:xfrm>
            <a:custGeom>
              <a:avLst/>
              <a:gdLst>
                <a:gd name="T0" fmla="*/ 13020 w 16095"/>
                <a:gd name="T1" fmla="*/ 8973 h 10072"/>
                <a:gd name="T2" fmla="*/ 12851 w 16095"/>
                <a:gd name="T3" fmla="*/ 9064 h 10072"/>
                <a:gd name="T4" fmla="*/ 3118 w 16095"/>
                <a:gd name="T5" fmla="*/ 9014 h 10072"/>
                <a:gd name="T6" fmla="*/ 3021 w 16095"/>
                <a:gd name="T7" fmla="*/ 8851 h 10072"/>
                <a:gd name="T8" fmla="*/ 1042 w 16095"/>
                <a:gd name="T9" fmla="*/ 5660 h 10072"/>
                <a:gd name="T10" fmla="*/ 1195 w 16095"/>
                <a:gd name="T11" fmla="*/ 5548 h 10072"/>
                <a:gd name="T12" fmla="*/ 10059 w 16095"/>
                <a:gd name="T13" fmla="*/ 5540 h 10072"/>
                <a:gd name="T14" fmla="*/ 14935 w 16095"/>
                <a:gd name="T15" fmla="*/ 5560 h 10072"/>
                <a:gd name="T16" fmla="*/ 15069 w 16095"/>
                <a:gd name="T17" fmla="*/ 5694 h 10072"/>
                <a:gd name="T18" fmla="*/ 7182 w 16095"/>
                <a:gd name="T19" fmla="*/ 2122 h 10072"/>
                <a:gd name="T20" fmla="*/ 5328 w 16095"/>
                <a:gd name="T21" fmla="*/ 3305 h 10072"/>
                <a:gd name="T22" fmla="*/ 4445 w 16095"/>
                <a:gd name="T23" fmla="*/ 3756 h 10072"/>
                <a:gd name="T24" fmla="*/ 6257 w 16095"/>
                <a:gd name="T25" fmla="*/ 1933 h 10072"/>
                <a:gd name="T26" fmla="*/ 8794 w 16095"/>
                <a:gd name="T27" fmla="*/ 1580 h 10072"/>
                <a:gd name="T28" fmla="*/ 10814 w 16095"/>
                <a:gd name="T29" fmla="*/ 2621 h 10072"/>
                <a:gd name="T30" fmla="*/ 11031 w 16095"/>
                <a:gd name="T31" fmla="*/ 3674 h 10072"/>
                <a:gd name="T32" fmla="*/ 9553 w 16095"/>
                <a:gd name="T33" fmla="*/ 2355 h 10072"/>
                <a:gd name="T34" fmla="*/ 7924 w 16095"/>
                <a:gd name="T35" fmla="*/ 4034 h 10072"/>
                <a:gd name="T36" fmla="*/ 7322 w 16095"/>
                <a:gd name="T37" fmla="*/ 4219 h 10072"/>
                <a:gd name="T38" fmla="*/ 6384 w 16095"/>
                <a:gd name="T39" fmla="*/ 4423 h 10072"/>
                <a:gd name="T40" fmla="*/ 7147 w 16095"/>
                <a:gd name="T41" fmla="*/ 3742 h 10072"/>
                <a:gd name="T42" fmla="*/ 8185 w 16095"/>
                <a:gd name="T43" fmla="*/ 3530 h 10072"/>
                <a:gd name="T44" fmla="*/ 9169 w 16095"/>
                <a:gd name="T45" fmla="*/ 3874 h 10072"/>
                <a:gd name="T46" fmla="*/ 9138 w 16095"/>
                <a:gd name="T47" fmla="*/ 4504 h 10072"/>
                <a:gd name="T48" fmla="*/ 8633 w 16095"/>
                <a:gd name="T49" fmla="*/ 4150 h 10072"/>
                <a:gd name="T50" fmla="*/ 10349 w 16095"/>
                <a:gd name="T51" fmla="*/ 4532 h 10072"/>
                <a:gd name="T52" fmla="*/ 9438 w 16095"/>
                <a:gd name="T53" fmla="*/ 3445 h 10072"/>
                <a:gd name="T54" fmla="*/ 8048 w 16095"/>
                <a:gd name="T55" fmla="*/ 3022 h 10072"/>
                <a:gd name="T56" fmla="*/ 6657 w 16095"/>
                <a:gd name="T57" fmla="*/ 3445 h 10072"/>
                <a:gd name="T58" fmla="*/ 5746 w 16095"/>
                <a:gd name="T59" fmla="*/ 4532 h 10072"/>
                <a:gd name="T60" fmla="*/ 6200 w 16095"/>
                <a:gd name="T61" fmla="*/ 3155 h 10072"/>
                <a:gd name="T62" fmla="*/ 7925 w 16095"/>
                <a:gd name="T63" fmla="*/ 2521 h 10072"/>
                <a:gd name="T64" fmla="*/ 9633 w 16095"/>
                <a:gd name="T65" fmla="*/ 2970 h 10072"/>
                <a:gd name="T66" fmla="*/ 10773 w 16095"/>
                <a:gd name="T67" fmla="*/ 4245 h 10072"/>
                <a:gd name="T68" fmla="*/ 10173 w 16095"/>
                <a:gd name="T69" fmla="*/ 978 h 10072"/>
                <a:gd name="T70" fmla="*/ 12273 w 16095"/>
                <a:gd name="T71" fmla="*/ 2821 h 10072"/>
                <a:gd name="T72" fmla="*/ 11152 w 16095"/>
                <a:gd name="T73" fmla="*/ 2245 h 10072"/>
                <a:gd name="T74" fmla="*/ 8885 w 16095"/>
                <a:gd name="T75" fmla="*/ 1085 h 10072"/>
                <a:gd name="T76" fmla="*/ 5992 w 16095"/>
                <a:gd name="T77" fmla="*/ 1502 h 10072"/>
                <a:gd name="T78" fmla="*/ 3945 w 16095"/>
                <a:gd name="T79" fmla="*/ 3628 h 10072"/>
                <a:gd name="T80" fmla="*/ 3980 w 16095"/>
                <a:gd name="T81" fmla="*/ 2580 h 10072"/>
                <a:gd name="T82" fmla="*/ 6731 w 16095"/>
                <a:gd name="T83" fmla="*/ 679 h 10072"/>
                <a:gd name="T84" fmla="*/ 13476 w 16095"/>
                <a:gd name="T85" fmla="*/ 4487 h 10072"/>
                <a:gd name="T86" fmla="*/ 15974 w 16095"/>
                <a:gd name="T87" fmla="*/ 2845 h 10072"/>
                <a:gd name="T88" fmla="*/ 16094 w 16095"/>
                <a:gd name="T89" fmla="*/ 2486 h 10072"/>
                <a:gd name="T90" fmla="*/ 15919 w 16095"/>
                <a:gd name="T91" fmla="*/ 2135 h 10072"/>
                <a:gd name="T92" fmla="*/ 15560 w 16095"/>
                <a:gd name="T93" fmla="*/ 2015 h 10072"/>
                <a:gd name="T94" fmla="*/ 12347 w 16095"/>
                <a:gd name="T95" fmla="*/ 2066 h 10072"/>
                <a:gd name="T96" fmla="*/ 9834 w 16095"/>
                <a:gd name="T97" fmla="*/ 297 h 10072"/>
                <a:gd name="T98" fmla="*/ 6349 w 16095"/>
                <a:gd name="T99" fmla="*/ 267 h 10072"/>
                <a:gd name="T100" fmla="*/ 3404 w 16095"/>
                <a:gd name="T101" fmla="*/ 2536 h 10072"/>
                <a:gd name="T102" fmla="*/ 884 w 16095"/>
                <a:gd name="T103" fmla="*/ 4589 h 10072"/>
                <a:gd name="T104" fmla="*/ 152 w 16095"/>
                <a:gd name="T105" fmla="*/ 5192 h 10072"/>
                <a:gd name="T106" fmla="*/ 9 w 16095"/>
                <a:gd name="T107" fmla="*/ 5929 h 10072"/>
                <a:gd name="T108" fmla="*/ 123 w 16095"/>
                <a:gd name="T109" fmla="*/ 6274 h 10072"/>
                <a:gd name="T110" fmla="*/ 2038 w 16095"/>
                <a:gd name="T111" fmla="*/ 9067 h 10072"/>
                <a:gd name="T112" fmla="*/ 2567 w 16095"/>
                <a:gd name="T113" fmla="*/ 9856 h 10072"/>
                <a:gd name="T114" fmla="*/ 13017 w 16095"/>
                <a:gd name="T115" fmla="*/ 10058 h 10072"/>
                <a:gd name="T116" fmla="*/ 13833 w 16095"/>
                <a:gd name="T117" fmla="*/ 9566 h 10072"/>
                <a:gd name="T118" fmla="*/ 15856 w 16095"/>
                <a:gd name="T119" fmla="*/ 6443 h 10072"/>
                <a:gd name="T120" fmla="*/ 16037 w 16095"/>
                <a:gd name="T121" fmla="*/ 6128 h 10072"/>
                <a:gd name="T122" fmla="*/ 16093 w 16095"/>
                <a:gd name="T123" fmla="*/ 5727 h 10072"/>
                <a:gd name="T124" fmla="*/ 15683 w 16095"/>
                <a:gd name="T125" fmla="*/ 4860 h 100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95" h="10072">
                  <a:moveTo>
                    <a:pt x="13077" y="8058"/>
                  </a:moveTo>
                  <a:lnTo>
                    <a:pt x="13077" y="8813"/>
                  </a:lnTo>
                  <a:lnTo>
                    <a:pt x="13076" y="8826"/>
                  </a:lnTo>
                  <a:lnTo>
                    <a:pt x="13076" y="8838"/>
                  </a:lnTo>
                  <a:lnTo>
                    <a:pt x="13074" y="8851"/>
                  </a:lnTo>
                  <a:lnTo>
                    <a:pt x="13072" y="8863"/>
                  </a:lnTo>
                  <a:lnTo>
                    <a:pt x="13069" y="8875"/>
                  </a:lnTo>
                  <a:lnTo>
                    <a:pt x="13066" y="8888"/>
                  </a:lnTo>
                  <a:lnTo>
                    <a:pt x="13062" y="8900"/>
                  </a:lnTo>
                  <a:lnTo>
                    <a:pt x="13057" y="8911"/>
                  </a:lnTo>
                  <a:lnTo>
                    <a:pt x="13052" y="8922"/>
                  </a:lnTo>
                  <a:lnTo>
                    <a:pt x="13047" y="8933"/>
                  </a:lnTo>
                  <a:lnTo>
                    <a:pt x="13041" y="8944"/>
                  </a:lnTo>
                  <a:lnTo>
                    <a:pt x="13034" y="8954"/>
                  </a:lnTo>
                  <a:lnTo>
                    <a:pt x="13027" y="8964"/>
                  </a:lnTo>
                  <a:lnTo>
                    <a:pt x="13020" y="8973"/>
                  </a:lnTo>
                  <a:lnTo>
                    <a:pt x="13012" y="8982"/>
                  </a:lnTo>
                  <a:lnTo>
                    <a:pt x="13003" y="8991"/>
                  </a:lnTo>
                  <a:lnTo>
                    <a:pt x="12995" y="8999"/>
                  </a:lnTo>
                  <a:lnTo>
                    <a:pt x="12986" y="9007"/>
                  </a:lnTo>
                  <a:lnTo>
                    <a:pt x="12976" y="9014"/>
                  </a:lnTo>
                  <a:lnTo>
                    <a:pt x="12967" y="9021"/>
                  </a:lnTo>
                  <a:lnTo>
                    <a:pt x="12955" y="9029"/>
                  </a:lnTo>
                  <a:lnTo>
                    <a:pt x="12945" y="9035"/>
                  </a:lnTo>
                  <a:lnTo>
                    <a:pt x="12934" y="9040"/>
                  </a:lnTo>
                  <a:lnTo>
                    <a:pt x="12923" y="9045"/>
                  </a:lnTo>
                  <a:lnTo>
                    <a:pt x="12912" y="9050"/>
                  </a:lnTo>
                  <a:lnTo>
                    <a:pt x="12900" y="9054"/>
                  </a:lnTo>
                  <a:lnTo>
                    <a:pt x="12888" y="9057"/>
                  </a:lnTo>
                  <a:lnTo>
                    <a:pt x="12876" y="9060"/>
                  </a:lnTo>
                  <a:lnTo>
                    <a:pt x="12864" y="9062"/>
                  </a:lnTo>
                  <a:lnTo>
                    <a:pt x="12851" y="9064"/>
                  </a:lnTo>
                  <a:lnTo>
                    <a:pt x="12839" y="9065"/>
                  </a:lnTo>
                  <a:lnTo>
                    <a:pt x="12826" y="9065"/>
                  </a:lnTo>
                  <a:lnTo>
                    <a:pt x="3269" y="9065"/>
                  </a:lnTo>
                  <a:lnTo>
                    <a:pt x="3256" y="9065"/>
                  </a:lnTo>
                  <a:lnTo>
                    <a:pt x="3243" y="9064"/>
                  </a:lnTo>
                  <a:lnTo>
                    <a:pt x="3231" y="9062"/>
                  </a:lnTo>
                  <a:lnTo>
                    <a:pt x="3219" y="9060"/>
                  </a:lnTo>
                  <a:lnTo>
                    <a:pt x="3206" y="9057"/>
                  </a:lnTo>
                  <a:lnTo>
                    <a:pt x="3195" y="9054"/>
                  </a:lnTo>
                  <a:lnTo>
                    <a:pt x="3183" y="9050"/>
                  </a:lnTo>
                  <a:lnTo>
                    <a:pt x="3172" y="9045"/>
                  </a:lnTo>
                  <a:lnTo>
                    <a:pt x="3161" y="9040"/>
                  </a:lnTo>
                  <a:lnTo>
                    <a:pt x="3150" y="9035"/>
                  </a:lnTo>
                  <a:lnTo>
                    <a:pt x="3139" y="9029"/>
                  </a:lnTo>
                  <a:lnTo>
                    <a:pt x="3128" y="9021"/>
                  </a:lnTo>
                  <a:lnTo>
                    <a:pt x="3118" y="9014"/>
                  </a:lnTo>
                  <a:lnTo>
                    <a:pt x="3109" y="9007"/>
                  </a:lnTo>
                  <a:lnTo>
                    <a:pt x="3100" y="8999"/>
                  </a:lnTo>
                  <a:lnTo>
                    <a:pt x="3091" y="8991"/>
                  </a:lnTo>
                  <a:lnTo>
                    <a:pt x="3083" y="8982"/>
                  </a:lnTo>
                  <a:lnTo>
                    <a:pt x="3075" y="8973"/>
                  </a:lnTo>
                  <a:lnTo>
                    <a:pt x="3068" y="8964"/>
                  </a:lnTo>
                  <a:lnTo>
                    <a:pt x="3061" y="8954"/>
                  </a:lnTo>
                  <a:lnTo>
                    <a:pt x="3054" y="8944"/>
                  </a:lnTo>
                  <a:lnTo>
                    <a:pt x="3048" y="8933"/>
                  </a:lnTo>
                  <a:lnTo>
                    <a:pt x="3043" y="8922"/>
                  </a:lnTo>
                  <a:lnTo>
                    <a:pt x="3038" y="8911"/>
                  </a:lnTo>
                  <a:lnTo>
                    <a:pt x="3033" y="8900"/>
                  </a:lnTo>
                  <a:lnTo>
                    <a:pt x="3029" y="8888"/>
                  </a:lnTo>
                  <a:lnTo>
                    <a:pt x="3026" y="8875"/>
                  </a:lnTo>
                  <a:lnTo>
                    <a:pt x="3023" y="8863"/>
                  </a:lnTo>
                  <a:lnTo>
                    <a:pt x="3021" y="8851"/>
                  </a:lnTo>
                  <a:lnTo>
                    <a:pt x="3019" y="8838"/>
                  </a:lnTo>
                  <a:lnTo>
                    <a:pt x="3018" y="8826"/>
                  </a:lnTo>
                  <a:lnTo>
                    <a:pt x="3018" y="8813"/>
                  </a:lnTo>
                  <a:lnTo>
                    <a:pt x="3018" y="8058"/>
                  </a:lnTo>
                  <a:lnTo>
                    <a:pt x="1006" y="5791"/>
                  </a:lnTo>
                  <a:lnTo>
                    <a:pt x="1006" y="5778"/>
                  </a:lnTo>
                  <a:lnTo>
                    <a:pt x="1007" y="5765"/>
                  </a:lnTo>
                  <a:lnTo>
                    <a:pt x="1009" y="5753"/>
                  </a:lnTo>
                  <a:lnTo>
                    <a:pt x="1011" y="5741"/>
                  </a:lnTo>
                  <a:lnTo>
                    <a:pt x="1014" y="5729"/>
                  </a:lnTo>
                  <a:lnTo>
                    <a:pt x="1017" y="5717"/>
                  </a:lnTo>
                  <a:lnTo>
                    <a:pt x="1021" y="5705"/>
                  </a:lnTo>
                  <a:lnTo>
                    <a:pt x="1026" y="5694"/>
                  </a:lnTo>
                  <a:lnTo>
                    <a:pt x="1031" y="5683"/>
                  </a:lnTo>
                  <a:lnTo>
                    <a:pt x="1036" y="5672"/>
                  </a:lnTo>
                  <a:lnTo>
                    <a:pt x="1042" y="5660"/>
                  </a:lnTo>
                  <a:lnTo>
                    <a:pt x="1049" y="5650"/>
                  </a:lnTo>
                  <a:lnTo>
                    <a:pt x="1056" y="5641"/>
                  </a:lnTo>
                  <a:lnTo>
                    <a:pt x="1063" y="5631"/>
                  </a:lnTo>
                  <a:lnTo>
                    <a:pt x="1071" y="5622"/>
                  </a:lnTo>
                  <a:lnTo>
                    <a:pt x="1079" y="5613"/>
                  </a:lnTo>
                  <a:lnTo>
                    <a:pt x="1088" y="5605"/>
                  </a:lnTo>
                  <a:lnTo>
                    <a:pt x="1097" y="5597"/>
                  </a:lnTo>
                  <a:lnTo>
                    <a:pt x="1107" y="5590"/>
                  </a:lnTo>
                  <a:lnTo>
                    <a:pt x="1117" y="5583"/>
                  </a:lnTo>
                  <a:lnTo>
                    <a:pt x="1127" y="5576"/>
                  </a:lnTo>
                  <a:lnTo>
                    <a:pt x="1138" y="5570"/>
                  </a:lnTo>
                  <a:lnTo>
                    <a:pt x="1149" y="5565"/>
                  </a:lnTo>
                  <a:lnTo>
                    <a:pt x="1160" y="5560"/>
                  </a:lnTo>
                  <a:lnTo>
                    <a:pt x="1171" y="5555"/>
                  </a:lnTo>
                  <a:lnTo>
                    <a:pt x="1183" y="5551"/>
                  </a:lnTo>
                  <a:lnTo>
                    <a:pt x="1195" y="5548"/>
                  </a:lnTo>
                  <a:lnTo>
                    <a:pt x="1207" y="5545"/>
                  </a:lnTo>
                  <a:lnTo>
                    <a:pt x="1219" y="5543"/>
                  </a:lnTo>
                  <a:lnTo>
                    <a:pt x="1231" y="5541"/>
                  </a:lnTo>
                  <a:lnTo>
                    <a:pt x="1244" y="5541"/>
                  </a:lnTo>
                  <a:lnTo>
                    <a:pt x="1257" y="5540"/>
                  </a:lnTo>
                  <a:lnTo>
                    <a:pt x="2515" y="5540"/>
                  </a:lnTo>
                  <a:lnTo>
                    <a:pt x="3018" y="5540"/>
                  </a:lnTo>
                  <a:lnTo>
                    <a:pt x="3521" y="5540"/>
                  </a:lnTo>
                  <a:lnTo>
                    <a:pt x="4024" y="5540"/>
                  </a:lnTo>
                  <a:lnTo>
                    <a:pt x="4527" y="5540"/>
                  </a:lnTo>
                  <a:lnTo>
                    <a:pt x="5030" y="5540"/>
                  </a:lnTo>
                  <a:lnTo>
                    <a:pt x="5533" y="5540"/>
                  </a:lnTo>
                  <a:lnTo>
                    <a:pt x="6036" y="5540"/>
                  </a:lnTo>
                  <a:lnTo>
                    <a:pt x="6539" y="5540"/>
                  </a:lnTo>
                  <a:lnTo>
                    <a:pt x="9556" y="5540"/>
                  </a:lnTo>
                  <a:lnTo>
                    <a:pt x="10059" y="5540"/>
                  </a:lnTo>
                  <a:lnTo>
                    <a:pt x="10562" y="5540"/>
                  </a:lnTo>
                  <a:lnTo>
                    <a:pt x="11065" y="5540"/>
                  </a:lnTo>
                  <a:lnTo>
                    <a:pt x="11568" y="5540"/>
                  </a:lnTo>
                  <a:lnTo>
                    <a:pt x="12071" y="5540"/>
                  </a:lnTo>
                  <a:lnTo>
                    <a:pt x="12574" y="5540"/>
                  </a:lnTo>
                  <a:lnTo>
                    <a:pt x="13077" y="5540"/>
                  </a:lnTo>
                  <a:lnTo>
                    <a:pt x="13580" y="5540"/>
                  </a:lnTo>
                  <a:lnTo>
                    <a:pt x="14838" y="5540"/>
                  </a:lnTo>
                  <a:lnTo>
                    <a:pt x="14851" y="5541"/>
                  </a:lnTo>
                  <a:lnTo>
                    <a:pt x="14863" y="5541"/>
                  </a:lnTo>
                  <a:lnTo>
                    <a:pt x="14876" y="5543"/>
                  </a:lnTo>
                  <a:lnTo>
                    <a:pt x="14888" y="5545"/>
                  </a:lnTo>
                  <a:lnTo>
                    <a:pt x="14900" y="5548"/>
                  </a:lnTo>
                  <a:lnTo>
                    <a:pt x="14912" y="5551"/>
                  </a:lnTo>
                  <a:lnTo>
                    <a:pt x="14924" y="5555"/>
                  </a:lnTo>
                  <a:lnTo>
                    <a:pt x="14935" y="5560"/>
                  </a:lnTo>
                  <a:lnTo>
                    <a:pt x="14946" y="5565"/>
                  </a:lnTo>
                  <a:lnTo>
                    <a:pt x="14957" y="5570"/>
                  </a:lnTo>
                  <a:lnTo>
                    <a:pt x="14967" y="5576"/>
                  </a:lnTo>
                  <a:lnTo>
                    <a:pt x="14977" y="5583"/>
                  </a:lnTo>
                  <a:lnTo>
                    <a:pt x="14987" y="5590"/>
                  </a:lnTo>
                  <a:lnTo>
                    <a:pt x="14998" y="5597"/>
                  </a:lnTo>
                  <a:lnTo>
                    <a:pt x="15007" y="5605"/>
                  </a:lnTo>
                  <a:lnTo>
                    <a:pt x="15015" y="5613"/>
                  </a:lnTo>
                  <a:lnTo>
                    <a:pt x="15024" y="5622"/>
                  </a:lnTo>
                  <a:lnTo>
                    <a:pt x="15032" y="5631"/>
                  </a:lnTo>
                  <a:lnTo>
                    <a:pt x="15039" y="5641"/>
                  </a:lnTo>
                  <a:lnTo>
                    <a:pt x="15046" y="5650"/>
                  </a:lnTo>
                  <a:lnTo>
                    <a:pt x="15052" y="5660"/>
                  </a:lnTo>
                  <a:lnTo>
                    <a:pt x="15058" y="5672"/>
                  </a:lnTo>
                  <a:lnTo>
                    <a:pt x="15064" y="5683"/>
                  </a:lnTo>
                  <a:lnTo>
                    <a:pt x="15069" y="5694"/>
                  </a:lnTo>
                  <a:lnTo>
                    <a:pt x="15073" y="5705"/>
                  </a:lnTo>
                  <a:lnTo>
                    <a:pt x="15077" y="5717"/>
                  </a:lnTo>
                  <a:lnTo>
                    <a:pt x="15081" y="5729"/>
                  </a:lnTo>
                  <a:lnTo>
                    <a:pt x="15084" y="5741"/>
                  </a:lnTo>
                  <a:lnTo>
                    <a:pt x="15086" y="5753"/>
                  </a:lnTo>
                  <a:lnTo>
                    <a:pt x="15087" y="5765"/>
                  </a:lnTo>
                  <a:lnTo>
                    <a:pt x="15088" y="5778"/>
                  </a:lnTo>
                  <a:lnTo>
                    <a:pt x="15089" y="5791"/>
                  </a:lnTo>
                  <a:lnTo>
                    <a:pt x="13077" y="8058"/>
                  </a:lnTo>
                  <a:close/>
                  <a:moveTo>
                    <a:pt x="8048" y="2014"/>
                  </a:moveTo>
                  <a:lnTo>
                    <a:pt x="7899" y="2017"/>
                  </a:lnTo>
                  <a:lnTo>
                    <a:pt x="7752" y="2027"/>
                  </a:lnTo>
                  <a:lnTo>
                    <a:pt x="7607" y="2042"/>
                  </a:lnTo>
                  <a:lnTo>
                    <a:pt x="7463" y="2063"/>
                  </a:lnTo>
                  <a:lnTo>
                    <a:pt x="7321" y="2090"/>
                  </a:lnTo>
                  <a:lnTo>
                    <a:pt x="7182" y="2122"/>
                  </a:lnTo>
                  <a:lnTo>
                    <a:pt x="7045" y="2160"/>
                  </a:lnTo>
                  <a:lnTo>
                    <a:pt x="6910" y="2204"/>
                  </a:lnTo>
                  <a:lnTo>
                    <a:pt x="6777" y="2252"/>
                  </a:lnTo>
                  <a:lnTo>
                    <a:pt x="6647" y="2306"/>
                  </a:lnTo>
                  <a:lnTo>
                    <a:pt x="6519" y="2364"/>
                  </a:lnTo>
                  <a:lnTo>
                    <a:pt x="6395" y="2428"/>
                  </a:lnTo>
                  <a:lnTo>
                    <a:pt x="6273" y="2496"/>
                  </a:lnTo>
                  <a:lnTo>
                    <a:pt x="6154" y="2569"/>
                  </a:lnTo>
                  <a:lnTo>
                    <a:pt x="6040" y="2646"/>
                  </a:lnTo>
                  <a:lnTo>
                    <a:pt x="5927" y="2729"/>
                  </a:lnTo>
                  <a:lnTo>
                    <a:pt x="5818" y="2814"/>
                  </a:lnTo>
                  <a:lnTo>
                    <a:pt x="5713" y="2905"/>
                  </a:lnTo>
                  <a:lnTo>
                    <a:pt x="5611" y="2998"/>
                  </a:lnTo>
                  <a:lnTo>
                    <a:pt x="5514" y="3097"/>
                  </a:lnTo>
                  <a:lnTo>
                    <a:pt x="5419" y="3199"/>
                  </a:lnTo>
                  <a:lnTo>
                    <a:pt x="5328" y="3305"/>
                  </a:lnTo>
                  <a:lnTo>
                    <a:pt x="5243" y="3413"/>
                  </a:lnTo>
                  <a:lnTo>
                    <a:pt x="5161" y="3525"/>
                  </a:lnTo>
                  <a:lnTo>
                    <a:pt x="5084" y="3641"/>
                  </a:lnTo>
                  <a:lnTo>
                    <a:pt x="5011" y="3760"/>
                  </a:lnTo>
                  <a:lnTo>
                    <a:pt x="4943" y="3882"/>
                  </a:lnTo>
                  <a:lnTo>
                    <a:pt x="4879" y="4007"/>
                  </a:lnTo>
                  <a:lnTo>
                    <a:pt x="4820" y="4135"/>
                  </a:lnTo>
                  <a:lnTo>
                    <a:pt x="4767" y="4265"/>
                  </a:lnTo>
                  <a:lnTo>
                    <a:pt x="4719" y="4397"/>
                  </a:lnTo>
                  <a:lnTo>
                    <a:pt x="4675" y="4532"/>
                  </a:lnTo>
                  <a:lnTo>
                    <a:pt x="4156" y="4532"/>
                  </a:lnTo>
                  <a:lnTo>
                    <a:pt x="4201" y="4371"/>
                  </a:lnTo>
                  <a:lnTo>
                    <a:pt x="4253" y="4213"/>
                  </a:lnTo>
                  <a:lnTo>
                    <a:pt x="4311" y="4057"/>
                  </a:lnTo>
                  <a:lnTo>
                    <a:pt x="4375" y="3905"/>
                  </a:lnTo>
                  <a:lnTo>
                    <a:pt x="4445" y="3756"/>
                  </a:lnTo>
                  <a:lnTo>
                    <a:pt x="4522" y="3610"/>
                  </a:lnTo>
                  <a:lnTo>
                    <a:pt x="4603" y="3468"/>
                  </a:lnTo>
                  <a:lnTo>
                    <a:pt x="4690" y="3329"/>
                  </a:lnTo>
                  <a:lnTo>
                    <a:pt x="4782" y="3194"/>
                  </a:lnTo>
                  <a:lnTo>
                    <a:pt x="4881" y="3063"/>
                  </a:lnTo>
                  <a:lnTo>
                    <a:pt x="4983" y="2937"/>
                  </a:lnTo>
                  <a:lnTo>
                    <a:pt x="5091" y="2814"/>
                  </a:lnTo>
                  <a:lnTo>
                    <a:pt x="5204" y="2696"/>
                  </a:lnTo>
                  <a:lnTo>
                    <a:pt x="5320" y="2583"/>
                  </a:lnTo>
                  <a:lnTo>
                    <a:pt x="5442" y="2475"/>
                  </a:lnTo>
                  <a:lnTo>
                    <a:pt x="5568" y="2371"/>
                  </a:lnTo>
                  <a:lnTo>
                    <a:pt x="5699" y="2273"/>
                  </a:lnTo>
                  <a:lnTo>
                    <a:pt x="5832" y="2180"/>
                  </a:lnTo>
                  <a:lnTo>
                    <a:pt x="5970" y="2092"/>
                  </a:lnTo>
                  <a:lnTo>
                    <a:pt x="6112" y="2009"/>
                  </a:lnTo>
                  <a:lnTo>
                    <a:pt x="6257" y="1933"/>
                  </a:lnTo>
                  <a:lnTo>
                    <a:pt x="6406" y="1862"/>
                  </a:lnTo>
                  <a:lnTo>
                    <a:pt x="6558" y="1798"/>
                  </a:lnTo>
                  <a:lnTo>
                    <a:pt x="6713" y="1739"/>
                  </a:lnTo>
                  <a:lnTo>
                    <a:pt x="6872" y="1687"/>
                  </a:lnTo>
                  <a:lnTo>
                    <a:pt x="7032" y="1642"/>
                  </a:lnTo>
                  <a:lnTo>
                    <a:pt x="7195" y="1602"/>
                  </a:lnTo>
                  <a:lnTo>
                    <a:pt x="7361" y="1570"/>
                  </a:lnTo>
                  <a:lnTo>
                    <a:pt x="7529" y="1544"/>
                  </a:lnTo>
                  <a:lnTo>
                    <a:pt x="7700" y="1526"/>
                  </a:lnTo>
                  <a:lnTo>
                    <a:pt x="7872" y="1515"/>
                  </a:lnTo>
                  <a:lnTo>
                    <a:pt x="8048" y="1511"/>
                  </a:lnTo>
                  <a:lnTo>
                    <a:pt x="8199" y="1514"/>
                  </a:lnTo>
                  <a:lnTo>
                    <a:pt x="8350" y="1522"/>
                  </a:lnTo>
                  <a:lnTo>
                    <a:pt x="8500" y="1536"/>
                  </a:lnTo>
                  <a:lnTo>
                    <a:pt x="8648" y="1556"/>
                  </a:lnTo>
                  <a:lnTo>
                    <a:pt x="8794" y="1580"/>
                  </a:lnTo>
                  <a:lnTo>
                    <a:pt x="8939" y="1611"/>
                  </a:lnTo>
                  <a:lnTo>
                    <a:pt x="9081" y="1646"/>
                  </a:lnTo>
                  <a:lnTo>
                    <a:pt x="9221" y="1686"/>
                  </a:lnTo>
                  <a:lnTo>
                    <a:pt x="9359" y="1731"/>
                  </a:lnTo>
                  <a:lnTo>
                    <a:pt x="9495" y="1782"/>
                  </a:lnTo>
                  <a:lnTo>
                    <a:pt x="9629" y="1836"/>
                  </a:lnTo>
                  <a:lnTo>
                    <a:pt x="9760" y="1896"/>
                  </a:lnTo>
                  <a:lnTo>
                    <a:pt x="9888" y="1959"/>
                  </a:lnTo>
                  <a:lnTo>
                    <a:pt x="10014" y="2028"/>
                  </a:lnTo>
                  <a:lnTo>
                    <a:pt x="10138" y="2100"/>
                  </a:lnTo>
                  <a:lnTo>
                    <a:pt x="10259" y="2177"/>
                  </a:lnTo>
                  <a:lnTo>
                    <a:pt x="10375" y="2258"/>
                  </a:lnTo>
                  <a:lnTo>
                    <a:pt x="10490" y="2343"/>
                  </a:lnTo>
                  <a:lnTo>
                    <a:pt x="10602" y="2431"/>
                  </a:lnTo>
                  <a:lnTo>
                    <a:pt x="10709" y="2524"/>
                  </a:lnTo>
                  <a:lnTo>
                    <a:pt x="10814" y="2621"/>
                  </a:lnTo>
                  <a:lnTo>
                    <a:pt x="10915" y="2720"/>
                  </a:lnTo>
                  <a:lnTo>
                    <a:pt x="11013" y="2824"/>
                  </a:lnTo>
                  <a:lnTo>
                    <a:pt x="11108" y="2931"/>
                  </a:lnTo>
                  <a:lnTo>
                    <a:pt x="11197" y="3041"/>
                  </a:lnTo>
                  <a:lnTo>
                    <a:pt x="11284" y="3154"/>
                  </a:lnTo>
                  <a:lnTo>
                    <a:pt x="11366" y="3270"/>
                  </a:lnTo>
                  <a:lnTo>
                    <a:pt x="11445" y="3390"/>
                  </a:lnTo>
                  <a:lnTo>
                    <a:pt x="11519" y="3512"/>
                  </a:lnTo>
                  <a:lnTo>
                    <a:pt x="11589" y="3637"/>
                  </a:lnTo>
                  <a:lnTo>
                    <a:pt x="11655" y="3765"/>
                  </a:lnTo>
                  <a:lnTo>
                    <a:pt x="11716" y="3895"/>
                  </a:lnTo>
                  <a:lnTo>
                    <a:pt x="11268" y="4120"/>
                  </a:lnTo>
                  <a:lnTo>
                    <a:pt x="11214" y="4006"/>
                  </a:lnTo>
                  <a:lnTo>
                    <a:pt x="11157" y="3893"/>
                  </a:lnTo>
                  <a:lnTo>
                    <a:pt x="11095" y="3782"/>
                  </a:lnTo>
                  <a:lnTo>
                    <a:pt x="11031" y="3674"/>
                  </a:lnTo>
                  <a:lnTo>
                    <a:pt x="10963" y="3569"/>
                  </a:lnTo>
                  <a:lnTo>
                    <a:pt x="10890" y="3466"/>
                  </a:lnTo>
                  <a:lnTo>
                    <a:pt x="10815" y="3366"/>
                  </a:lnTo>
                  <a:lnTo>
                    <a:pt x="10735" y="3268"/>
                  </a:lnTo>
                  <a:lnTo>
                    <a:pt x="10653" y="3175"/>
                  </a:lnTo>
                  <a:lnTo>
                    <a:pt x="10567" y="3083"/>
                  </a:lnTo>
                  <a:lnTo>
                    <a:pt x="10479" y="2995"/>
                  </a:lnTo>
                  <a:lnTo>
                    <a:pt x="10387" y="2910"/>
                  </a:lnTo>
                  <a:lnTo>
                    <a:pt x="10292" y="2828"/>
                  </a:lnTo>
                  <a:lnTo>
                    <a:pt x="10194" y="2750"/>
                  </a:lnTo>
                  <a:lnTo>
                    <a:pt x="10095" y="2675"/>
                  </a:lnTo>
                  <a:lnTo>
                    <a:pt x="9991" y="2604"/>
                  </a:lnTo>
                  <a:lnTo>
                    <a:pt x="9885" y="2535"/>
                  </a:lnTo>
                  <a:lnTo>
                    <a:pt x="9777" y="2471"/>
                  </a:lnTo>
                  <a:lnTo>
                    <a:pt x="9666" y="2411"/>
                  </a:lnTo>
                  <a:lnTo>
                    <a:pt x="9553" y="2355"/>
                  </a:lnTo>
                  <a:lnTo>
                    <a:pt x="9438" y="2301"/>
                  </a:lnTo>
                  <a:lnTo>
                    <a:pt x="9321" y="2254"/>
                  </a:lnTo>
                  <a:lnTo>
                    <a:pt x="9201" y="2210"/>
                  </a:lnTo>
                  <a:lnTo>
                    <a:pt x="9080" y="2170"/>
                  </a:lnTo>
                  <a:lnTo>
                    <a:pt x="8956" y="2134"/>
                  </a:lnTo>
                  <a:lnTo>
                    <a:pt x="8831" y="2103"/>
                  </a:lnTo>
                  <a:lnTo>
                    <a:pt x="8704" y="2076"/>
                  </a:lnTo>
                  <a:lnTo>
                    <a:pt x="8576" y="2055"/>
                  </a:lnTo>
                  <a:lnTo>
                    <a:pt x="8446" y="2037"/>
                  </a:lnTo>
                  <a:lnTo>
                    <a:pt x="8314" y="2025"/>
                  </a:lnTo>
                  <a:lnTo>
                    <a:pt x="8181" y="2017"/>
                  </a:lnTo>
                  <a:lnTo>
                    <a:pt x="8048" y="2014"/>
                  </a:lnTo>
                  <a:close/>
                  <a:moveTo>
                    <a:pt x="8048" y="4029"/>
                  </a:moveTo>
                  <a:lnTo>
                    <a:pt x="8006" y="4030"/>
                  </a:lnTo>
                  <a:lnTo>
                    <a:pt x="7965" y="4031"/>
                  </a:lnTo>
                  <a:lnTo>
                    <a:pt x="7924" y="4034"/>
                  </a:lnTo>
                  <a:lnTo>
                    <a:pt x="7884" y="4038"/>
                  </a:lnTo>
                  <a:lnTo>
                    <a:pt x="7843" y="4043"/>
                  </a:lnTo>
                  <a:lnTo>
                    <a:pt x="7803" y="4049"/>
                  </a:lnTo>
                  <a:lnTo>
                    <a:pt x="7764" y="4056"/>
                  </a:lnTo>
                  <a:lnTo>
                    <a:pt x="7725" y="4064"/>
                  </a:lnTo>
                  <a:lnTo>
                    <a:pt x="7685" y="4074"/>
                  </a:lnTo>
                  <a:lnTo>
                    <a:pt x="7647" y="4084"/>
                  </a:lnTo>
                  <a:lnTo>
                    <a:pt x="7609" y="4095"/>
                  </a:lnTo>
                  <a:lnTo>
                    <a:pt x="7572" y="4107"/>
                  </a:lnTo>
                  <a:lnTo>
                    <a:pt x="7534" y="4120"/>
                  </a:lnTo>
                  <a:lnTo>
                    <a:pt x="7498" y="4135"/>
                  </a:lnTo>
                  <a:lnTo>
                    <a:pt x="7462" y="4150"/>
                  </a:lnTo>
                  <a:lnTo>
                    <a:pt x="7426" y="4166"/>
                  </a:lnTo>
                  <a:lnTo>
                    <a:pt x="7391" y="4183"/>
                  </a:lnTo>
                  <a:lnTo>
                    <a:pt x="7356" y="4200"/>
                  </a:lnTo>
                  <a:lnTo>
                    <a:pt x="7322" y="4219"/>
                  </a:lnTo>
                  <a:lnTo>
                    <a:pt x="7289" y="4238"/>
                  </a:lnTo>
                  <a:lnTo>
                    <a:pt x="7256" y="4258"/>
                  </a:lnTo>
                  <a:lnTo>
                    <a:pt x="7223" y="4280"/>
                  </a:lnTo>
                  <a:lnTo>
                    <a:pt x="7190" y="4302"/>
                  </a:lnTo>
                  <a:lnTo>
                    <a:pt x="7159" y="4325"/>
                  </a:lnTo>
                  <a:lnTo>
                    <a:pt x="7129" y="4348"/>
                  </a:lnTo>
                  <a:lnTo>
                    <a:pt x="7098" y="4372"/>
                  </a:lnTo>
                  <a:lnTo>
                    <a:pt x="7069" y="4397"/>
                  </a:lnTo>
                  <a:lnTo>
                    <a:pt x="7040" y="4423"/>
                  </a:lnTo>
                  <a:lnTo>
                    <a:pt x="7011" y="4449"/>
                  </a:lnTo>
                  <a:lnTo>
                    <a:pt x="6984" y="4476"/>
                  </a:lnTo>
                  <a:lnTo>
                    <a:pt x="6957" y="4504"/>
                  </a:lnTo>
                  <a:lnTo>
                    <a:pt x="6931" y="4532"/>
                  </a:lnTo>
                  <a:lnTo>
                    <a:pt x="6315" y="4532"/>
                  </a:lnTo>
                  <a:lnTo>
                    <a:pt x="6348" y="4477"/>
                  </a:lnTo>
                  <a:lnTo>
                    <a:pt x="6384" y="4423"/>
                  </a:lnTo>
                  <a:lnTo>
                    <a:pt x="6421" y="4369"/>
                  </a:lnTo>
                  <a:lnTo>
                    <a:pt x="6459" y="4317"/>
                  </a:lnTo>
                  <a:lnTo>
                    <a:pt x="6499" y="4267"/>
                  </a:lnTo>
                  <a:lnTo>
                    <a:pt x="6541" y="4217"/>
                  </a:lnTo>
                  <a:lnTo>
                    <a:pt x="6584" y="4169"/>
                  </a:lnTo>
                  <a:lnTo>
                    <a:pt x="6629" y="4122"/>
                  </a:lnTo>
                  <a:lnTo>
                    <a:pt x="6674" y="4077"/>
                  </a:lnTo>
                  <a:lnTo>
                    <a:pt x="6723" y="4034"/>
                  </a:lnTo>
                  <a:lnTo>
                    <a:pt x="6771" y="3992"/>
                  </a:lnTo>
                  <a:lnTo>
                    <a:pt x="6821" y="3950"/>
                  </a:lnTo>
                  <a:lnTo>
                    <a:pt x="6873" y="3912"/>
                  </a:lnTo>
                  <a:lnTo>
                    <a:pt x="6925" y="3874"/>
                  </a:lnTo>
                  <a:lnTo>
                    <a:pt x="6979" y="3838"/>
                  </a:lnTo>
                  <a:lnTo>
                    <a:pt x="7035" y="3804"/>
                  </a:lnTo>
                  <a:lnTo>
                    <a:pt x="7090" y="3772"/>
                  </a:lnTo>
                  <a:lnTo>
                    <a:pt x="7147" y="3742"/>
                  </a:lnTo>
                  <a:lnTo>
                    <a:pt x="7207" y="3713"/>
                  </a:lnTo>
                  <a:lnTo>
                    <a:pt x="7266" y="3686"/>
                  </a:lnTo>
                  <a:lnTo>
                    <a:pt x="7326" y="3661"/>
                  </a:lnTo>
                  <a:lnTo>
                    <a:pt x="7388" y="3638"/>
                  </a:lnTo>
                  <a:lnTo>
                    <a:pt x="7450" y="3618"/>
                  </a:lnTo>
                  <a:lnTo>
                    <a:pt x="7513" y="3599"/>
                  </a:lnTo>
                  <a:lnTo>
                    <a:pt x="7577" y="3582"/>
                  </a:lnTo>
                  <a:lnTo>
                    <a:pt x="7642" y="3567"/>
                  </a:lnTo>
                  <a:lnTo>
                    <a:pt x="7707" y="3554"/>
                  </a:lnTo>
                  <a:lnTo>
                    <a:pt x="7774" y="3544"/>
                  </a:lnTo>
                  <a:lnTo>
                    <a:pt x="7841" y="3536"/>
                  </a:lnTo>
                  <a:lnTo>
                    <a:pt x="7910" y="3530"/>
                  </a:lnTo>
                  <a:lnTo>
                    <a:pt x="7978" y="3526"/>
                  </a:lnTo>
                  <a:lnTo>
                    <a:pt x="8048" y="3525"/>
                  </a:lnTo>
                  <a:lnTo>
                    <a:pt x="8117" y="3526"/>
                  </a:lnTo>
                  <a:lnTo>
                    <a:pt x="8185" y="3530"/>
                  </a:lnTo>
                  <a:lnTo>
                    <a:pt x="8253" y="3536"/>
                  </a:lnTo>
                  <a:lnTo>
                    <a:pt x="8320" y="3544"/>
                  </a:lnTo>
                  <a:lnTo>
                    <a:pt x="8387" y="3554"/>
                  </a:lnTo>
                  <a:lnTo>
                    <a:pt x="8453" y="3567"/>
                  </a:lnTo>
                  <a:lnTo>
                    <a:pt x="8517" y="3582"/>
                  </a:lnTo>
                  <a:lnTo>
                    <a:pt x="8582" y="3599"/>
                  </a:lnTo>
                  <a:lnTo>
                    <a:pt x="8645" y="3618"/>
                  </a:lnTo>
                  <a:lnTo>
                    <a:pt x="8707" y="3638"/>
                  </a:lnTo>
                  <a:lnTo>
                    <a:pt x="8769" y="3661"/>
                  </a:lnTo>
                  <a:lnTo>
                    <a:pt x="8829" y="3686"/>
                  </a:lnTo>
                  <a:lnTo>
                    <a:pt x="8888" y="3713"/>
                  </a:lnTo>
                  <a:lnTo>
                    <a:pt x="8947" y="3742"/>
                  </a:lnTo>
                  <a:lnTo>
                    <a:pt x="9004" y="3772"/>
                  </a:lnTo>
                  <a:lnTo>
                    <a:pt x="9060" y="3804"/>
                  </a:lnTo>
                  <a:lnTo>
                    <a:pt x="9116" y="3838"/>
                  </a:lnTo>
                  <a:lnTo>
                    <a:pt x="9169" y="3874"/>
                  </a:lnTo>
                  <a:lnTo>
                    <a:pt x="9222" y="3912"/>
                  </a:lnTo>
                  <a:lnTo>
                    <a:pt x="9274" y="3950"/>
                  </a:lnTo>
                  <a:lnTo>
                    <a:pt x="9324" y="3992"/>
                  </a:lnTo>
                  <a:lnTo>
                    <a:pt x="9372" y="4034"/>
                  </a:lnTo>
                  <a:lnTo>
                    <a:pt x="9420" y="4077"/>
                  </a:lnTo>
                  <a:lnTo>
                    <a:pt x="9466" y="4122"/>
                  </a:lnTo>
                  <a:lnTo>
                    <a:pt x="9510" y="4169"/>
                  </a:lnTo>
                  <a:lnTo>
                    <a:pt x="9553" y="4217"/>
                  </a:lnTo>
                  <a:lnTo>
                    <a:pt x="9596" y="4267"/>
                  </a:lnTo>
                  <a:lnTo>
                    <a:pt x="9635" y="4317"/>
                  </a:lnTo>
                  <a:lnTo>
                    <a:pt x="9674" y="4369"/>
                  </a:lnTo>
                  <a:lnTo>
                    <a:pt x="9710" y="4423"/>
                  </a:lnTo>
                  <a:lnTo>
                    <a:pt x="9747" y="4477"/>
                  </a:lnTo>
                  <a:lnTo>
                    <a:pt x="9780" y="4532"/>
                  </a:lnTo>
                  <a:lnTo>
                    <a:pt x="9164" y="4532"/>
                  </a:lnTo>
                  <a:lnTo>
                    <a:pt x="9138" y="4504"/>
                  </a:lnTo>
                  <a:lnTo>
                    <a:pt x="9111" y="4476"/>
                  </a:lnTo>
                  <a:lnTo>
                    <a:pt x="9083" y="4449"/>
                  </a:lnTo>
                  <a:lnTo>
                    <a:pt x="9054" y="4423"/>
                  </a:lnTo>
                  <a:lnTo>
                    <a:pt x="9025" y="4397"/>
                  </a:lnTo>
                  <a:lnTo>
                    <a:pt x="8996" y="4372"/>
                  </a:lnTo>
                  <a:lnTo>
                    <a:pt x="8966" y="4348"/>
                  </a:lnTo>
                  <a:lnTo>
                    <a:pt x="8935" y="4325"/>
                  </a:lnTo>
                  <a:lnTo>
                    <a:pt x="8904" y="4302"/>
                  </a:lnTo>
                  <a:lnTo>
                    <a:pt x="8871" y="4280"/>
                  </a:lnTo>
                  <a:lnTo>
                    <a:pt x="8839" y="4258"/>
                  </a:lnTo>
                  <a:lnTo>
                    <a:pt x="8806" y="4238"/>
                  </a:lnTo>
                  <a:lnTo>
                    <a:pt x="8773" y="4219"/>
                  </a:lnTo>
                  <a:lnTo>
                    <a:pt x="8739" y="4200"/>
                  </a:lnTo>
                  <a:lnTo>
                    <a:pt x="8703" y="4183"/>
                  </a:lnTo>
                  <a:lnTo>
                    <a:pt x="8668" y="4166"/>
                  </a:lnTo>
                  <a:lnTo>
                    <a:pt x="8633" y="4150"/>
                  </a:lnTo>
                  <a:lnTo>
                    <a:pt x="8597" y="4135"/>
                  </a:lnTo>
                  <a:lnTo>
                    <a:pt x="8560" y="4120"/>
                  </a:lnTo>
                  <a:lnTo>
                    <a:pt x="8523" y="4107"/>
                  </a:lnTo>
                  <a:lnTo>
                    <a:pt x="8485" y="4095"/>
                  </a:lnTo>
                  <a:lnTo>
                    <a:pt x="8447" y="4084"/>
                  </a:lnTo>
                  <a:lnTo>
                    <a:pt x="8409" y="4074"/>
                  </a:lnTo>
                  <a:lnTo>
                    <a:pt x="8370" y="4064"/>
                  </a:lnTo>
                  <a:lnTo>
                    <a:pt x="8331" y="4056"/>
                  </a:lnTo>
                  <a:lnTo>
                    <a:pt x="8292" y="4049"/>
                  </a:lnTo>
                  <a:lnTo>
                    <a:pt x="8252" y="4043"/>
                  </a:lnTo>
                  <a:lnTo>
                    <a:pt x="8211" y="4038"/>
                  </a:lnTo>
                  <a:lnTo>
                    <a:pt x="8171" y="4034"/>
                  </a:lnTo>
                  <a:lnTo>
                    <a:pt x="8130" y="4031"/>
                  </a:lnTo>
                  <a:lnTo>
                    <a:pt x="8089" y="4030"/>
                  </a:lnTo>
                  <a:lnTo>
                    <a:pt x="8048" y="4029"/>
                  </a:lnTo>
                  <a:close/>
                  <a:moveTo>
                    <a:pt x="10349" y="4532"/>
                  </a:moveTo>
                  <a:lnTo>
                    <a:pt x="10311" y="4450"/>
                  </a:lnTo>
                  <a:lnTo>
                    <a:pt x="10271" y="4369"/>
                  </a:lnTo>
                  <a:lnTo>
                    <a:pt x="10226" y="4290"/>
                  </a:lnTo>
                  <a:lnTo>
                    <a:pt x="10180" y="4213"/>
                  </a:lnTo>
                  <a:lnTo>
                    <a:pt x="10132" y="4138"/>
                  </a:lnTo>
                  <a:lnTo>
                    <a:pt x="10079" y="4063"/>
                  </a:lnTo>
                  <a:lnTo>
                    <a:pt x="10026" y="3992"/>
                  </a:lnTo>
                  <a:lnTo>
                    <a:pt x="9970" y="3922"/>
                  </a:lnTo>
                  <a:lnTo>
                    <a:pt x="9910" y="3855"/>
                  </a:lnTo>
                  <a:lnTo>
                    <a:pt x="9850" y="3789"/>
                  </a:lnTo>
                  <a:lnTo>
                    <a:pt x="9787" y="3726"/>
                  </a:lnTo>
                  <a:lnTo>
                    <a:pt x="9720" y="3664"/>
                  </a:lnTo>
                  <a:lnTo>
                    <a:pt x="9653" y="3606"/>
                  </a:lnTo>
                  <a:lnTo>
                    <a:pt x="9584" y="3549"/>
                  </a:lnTo>
                  <a:lnTo>
                    <a:pt x="9511" y="3496"/>
                  </a:lnTo>
                  <a:lnTo>
                    <a:pt x="9438" y="3445"/>
                  </a:lnTo>
                  <a:lnTo>
                    <a:pt x="9362" y="3395"/>
                  </a:lnTo>
                  <a:lnTo>
                    <a:pt x="9285" y="3350"/>
                  </a:lnTo>
                  <a:lnTo>
                    <a:pt x="9205" y="3307"/>
                  </a:lnTo>
                  <a:lnTo>
                    <a:pt x="9125" y="3265"/>
                  </a:lnTo>
                  <a:lnTo>
                    <a:pt x="9042" y="3228"/>
                  </a:lnTo>
                  <a:lnTo>
                    <a:pt x="8959" y="3194"/>
                  </a:lnTo>
                  <a:lnTo>
                    <a:pt x="8873" y="3162"/>
                  </a:lnTo>
                  <a:lnTo>
                    <a:pt x="8786" y="3133"/>
                  </a:lnTo>
                  <a:lnTo>
                    <a:pt x="8697" y="3107"/>
                  </a:lnTo>
                  <a:lnTo>
                    <a:pt x="8608" y="3085"/>
                  </a:lnTo>
                  <a:lnTo>
                    <a:pt x="8517" y="3066"/>
                  </a:lnTo>
                  <a:lnTo>
                    <a:pt x="8426" y="3051"/>
                  </a:lnTo>
                  <a:lnTo>
                    <a:pt x="8332" y="3038"/>
                  </a:lnTo>
                  <a:lnTo>
                    <a:pt x="8239" y="3029"/>
                  </a:lnTo>
                  <a:lnTo>
                    <a:pt x="8143" y="3024"/>
                  </a:lnTo>
                  <a:lnTo>
                    <a:pt x="8048" y="3022"/>
                  </a:lnTo>
                  <a:lnTo>
                    <a:pt x="7951" y="3024"/>
                  </a:lnTo>
                  <a:lnTo>
                    <a:pt x="7856" y="3029"/>
                  </a:lnTo>
                  <a:lnTo>
                    <a:pt x="7762" y="3038"/>
                  </a:lnTo>
                  <a:lnTo>
                    <a:pt x="7669" y="3051"/>
                  </a:lnTo>
                  <a:lnTo>
                    <a:pt x="7577" y="3066"/>
                  </a:lnTo>
                  <a:lnTo>
                    <a:pt x="7486" y="3085"/>
                  </a:lnTo>
                  <a:lnTo>
                    <a:pt x="7397" y="3107"/>
                  </a:lnTo>
                  <a:lnTo>
                    <a:pt x="7308" y="3133"/>
                  </a:lnTo>
                  <a:lnTo>
                    <a:pt x="7222" y="3162"/>
                  </a:lnTo>
                  <a:lnTo>
                    <a:pt x="7136" y="3194"/>
                  </a:lnTo>
                  <a:lnTo>
                    <a:pt x="7053" y="3228"/>
                  </a:lnTo>
                  <a:lnTo>
                    <a:pt x="6970" y="3265"/>
                  </a:lnTo>
                  <a:lnTo>
                    <a:pt x="6889" y="3307"/>
                  </a:lnTo>
                  <a:lnTo>
                    <a:pt x="6810" y="3350"/>
                  </a:lnTo>
                  <a:lnTo>
                    <a:pt x="6733" y="3395"/>
                  </a:lnTo>
                  <a:lnTo>
                    <a:pt x="6657" y="3445"/>
                  </a:lnTo>
                  <a:lnTo>
                    <a:pt x="6583" y="3496"/>
                  </a:lnTo>
                  <a:lnTo>
                    <a:pt x="6511" y="3549"/>
                  </a:lnTo>
                  <a:lnTo>
                    <a:pt x="6442" y="3606"/>
                  </a:lnTo>
                  <a:lnTo>
                    <a:pt x="6374" y="3664"/>
                  </a:lnTo>
                  <a:lnTo>
                    <a:pt x="6308" y="3726"/>
                  </a:lnTo>
                  <a:lnTo>
                    <a:pt x="6245" y="3789"/>
                  </a:lnTo>
                  <a:lnTo>
                    <a:pt x="6183" y="3855"/>
                  </a:lnTo>
                  <a:lnTo>
                    <a:pt x="6125" y="3922"/>
                  </a:lnTo>
                  <a:lnTo>
                    <a:pt x="6069" y="3992"/>
                  </a:lnTo>
                  <a:lnTo>
                    <a:pt x="6015" y="4063"/>
                  </a:lnTo>
                  <a:lnTo>
                    <a:pt x="5963" y="4138"/>
                  </a:lnTo>
                  <a:lnTo>
                    <a:pt x="5914" y="4213"/>
                  </a:lnTo>
                  <a:lnTo>
                    <a:pt x="5868" y="4290"/>
                  </a:lnTo>
                  <a:lnTo>
                    <a:pt x="5824" y="4369"/>
                  </a:lnTo>
                  <a:lnTo>
                    <a:pt x="5784" y="4450"/>
                  </a:lnTo>
                  <a:lnTo>
                    <a:pt x="5746" y="4532"/>
                  </a:lnTo>
                  <a:lnTo>
                    <a:pt x="5206" y="4532"/>
                  </a:lnTo>
                  <a:lnTo>
                    <a:pt x="5247" y="4424"/>
                  </a:lnTo>
                  <a:lnTo>
                    <a:pt x="5291" y="4317"/>
                  </a:lnTo>
                  <a:lnTo>
                    <a:pt x="5341" y="4212"/>
                  </a:lnTo>
                  <a:lnTo>
                    <a:pt x="5393" y="4109"/>
                  </a:lnTo>
                  <a:lnTo>
                    <a:pt x="5450" y="4010"/>
                  </a:lnTo>
                  <a:lnTo>
                    <a:pt x="5510" y="3912"/>
                  </a:lnTo>
                  <a:lnTo>
                    <a:pt x="5574" y="3816"/>
                  </a:lnTo>
                  <a:lnTo>
                    <a:pt x="5640" y="3724"/>
                  </a:lnTo>
                  <a:lnTo>
                    <a:pt x="5711" y="3634"/>
                  </a:lnTo>
                  <a:lnTo>
                    <a:pt x="5785" y="3546"/>
                  </a:lnTo>
                  <a:lnTo>
                    <a:pt x="5862" y="3462"/>
                  </a:lnTo>
                  <a:lnTo>
                    <a:pt x="5942" y="3380"/>
                  </a:lnTo>
                  <a:lnTo>
                    <a:pt x="6025" y="3302"/>
                  </a:lnTo>
                  <a:lnTo>
                    <a:pt x="6111" y="3227"/>
                  </a:lnTo>
                  <a:lnTo>
                    <a:pt x="6200" y="3155"/>
                  </a:lnTo>
                  <a:lnTo>
                    <a:pt x="6291" y="3086"/>
                  </a:lnTo>
                  <a:lnTo>
                    <a:pt x="6385" y="3021"/>
                  </a:lnTo>
                  <a:lnTo>
                    <a:pt x="6481" y="2959"/>
                  </a:lnTo>
                  <a:lnTo>
                    <a:pt x="6581" y="2901"/>
                  </a:lnTo>
                  <a:lnTo>
                    <a:pt x="6681" y="2846"/>
                  </a:lnTo>
                  <a:lnTo>
                    <a:pt x="6785" y="2796"/>
                  </a:lnTo>
                  <a:lnTo>
                    <a:pt x="6891" y="2750"/>
                  </a:lnTo>
                  <a:lnTo>
                    <a:pt x="6999" y="2706"/>
                  </a:lnTo>
                  <a:lnTo>
                    <a:pt x="7109" y="2668"/>
                  </a:lnTo>
                  <a:lnTo>
                    <a:pt x="7221" y="2634"/>
                  </a:lnTo>
                  <a:lnTo>
                    <a:pt x="7334" y="2604"/>
                  </a:lnTo>
                  <a:lnTo>
                    <a:pt x="7449" y="2578"/>
                  </a:lnTo>
                  <a:lnTo>
                    <a:pt x="7566" y="2556"/>
                  </a:lnTo>
                  <a:lnTo>
                    <a:pt x="7684" y="2540"/>
                  </a:lnTo>
                  <a:lnTo>
                    <a:pt x="7804" y="2528"/>
                  </a:lnTo>
                  <a:lnTo>
                    <a:pt x="7925" y="2521"/>
                  </a:lnTo>
                  <a:lnTo>
                    <a:pt x="8048" y="2518"/>
                  </a:lnTo>
                  <a:lnTo>
                    <a:pt x="8163" y="2520"/>
                  </a:lnTo>
                  <a:lnTo>
                    <a:pt x="8278" y="2527"/>
                  </a:lnTo>
                  <a:lnTo>
                    <a:pt x="8392" y="2538"/>
                  </a:lnTo>
                  <a:lnTo>
                    <a:pt x="8503" y="2552"/>
                  </a:lnTo>
                  <a:lnTo>
                    <a:pt x="8614" y="2571"/>
                  </a:lnTo>
                  <a:lnTo>
                    <a:pt x="8723" y="2595"/>
                  </a:lnTo>
                  <a:lnTo>
                    <a:pt x="8832" y="2622"/>
                  </a:lnTo>
                  <a:lnTo>
                    <a:pt x="8939" y="2653"/>
                  </a:lnTo>
                  <a:lnTo>
                    <a:pt x="9043" y="2687"/>
                  </a:lnTo>
                  <a:lnTo>
                    <a:pt x="9146" y="2726"/>
                  </a:lnTo>
                  <a:lnTo>
                    <a:pt x="9248" y="2768"/>
                  </a:lnTo>
                  <a:lnTo>
                    <a:pt x="9347" y="2813"/>
                  </a:lnTo>
                  <a:lnTo>
                    <a:pt x="9444" y="2862"/>
                  </a:lnTo>
                  <a:lnTo>
                    <a:pt x="9539" y="2915"/>
                  </a:lnTo>
                  <a:lnTo>
                    <a:pt x="9633" y="2970"/>
                  </a:lnTo>
                  <a:lnTo>
                    <a:pt x="9723" y="3029"/>
                  </a:lnTo>
                  <a:lnTo>
                    <a:pt x="9813" y="3091"/>
                  </a:lnTo>
                  <a:lnTo>
                    <a:pt x="9899" y="3157"/>
                  </a:lnTo>
                  <a:lnTo>
                    <a:pt x="9983" y="3224"/>
                  </a:lnTo>
                  <a:lnTo>
                    <a:pt x="10064" y="3296"/>
                  </a:lnTo>
                  <a:lnTo>
                    <a:pt x="10144" y="3369"/>
                  </a:lnTo>
                  <a:lnTo>
                    <a:pt x="10219" y="3446"/>
                  </a:lnTo>
                  <a:lnTo>
                    <a:pt x="10294" y="3525"/>
                  </a:lnTo>
                  <a:lnTo>
                    <a:pt x="10364" y="3607"/>
                  </a:lnTo>
                  <a:lnTo>
                    <a:pt x="10432" y="3690"/>
                  </a:lnTo>
                  <a:lnTo>
                    <a:pt x="10496" y="3778"/>
                  </a:lnTo>
                  <a:lnTo>
                    <a:pt x="10558" y="3867"/>
                  </a:lnTo>
                  <a:lnTo>
                    <a:pt x="10617" y="3958"/>
                  </a:lnTo>
                  <a:lnTo>
                    <a:pt x="10672" y="4052"/>
                  </a:lnTo>
                  <a:lnTo>
                    <a:pt x="10724" y="4148"/>
                  </a:lnTo>
                  <a:lnTo>
                    <a:pt x="10773" y="4245"/>
                  </a:lnTo>
                  <a:lnTo>
                    <a:pt x="10818" y="4345"/>
                  </a:lnTo>
                  <a:lnTo>
                    <a:pt x="10444" y="4532"/>
                  </a:lnTo>
                  <a:lnTo>
                    <a:pt x="10349" y="4532"/>
                  </a:lnTo>
                  <a:close/>
                  <a:moveTo>
                    <a:pt x="8048" y="504"/>
                  </a:moveTo>
                  <a:lnTo>
                    <a:pt x="8237" y="508"/>
                  </a:lnTo>
                  <a:lnTo>
                    <a:pt x="8424" y="518"/>
                  </a:lnTo>
                  <a:lnTo>
                    <a:pt x="8609" y="535"/>
                  </a:lnTo>
                  <a:lnTo>
                    <a:pt x="8793" y="559"/>
                  </a:lnTo>
                  <a:lnTo>
                    <a:pt x="8974" y="590"/>
                  </a:lnTo>
                  <a:lnTo>
                    <a:pt x="9153" y="627"/>
                  </a:lnTo>
                  <a:lnTo>
                    <a:pt x="9330" y="670"/>
                  </a:lnTo>
                  <a:lnTo>
                    <a:pt x="9504" y="720"/>
                  </a:lnTo>
                  <a:lnTo>
                    <a:pt x="9676" y="776"/>
                  </a:lnTo>
                  <a:lnTo>
                    <a:pt x="9844" y="837"/>
                  </a:lnTo>
                  <a:lnTo>
                    <a:pt x="10010" y="904"/>
                  </a:lnTo>
                  <a:lnTo>
                    <a:pt x="10173" y="978"/>
                  </a:lnTo>
                  <a:lnTo>
                    <a:pt x="10333" y="1057"/>
                  </a:lnTo>
                  <a:lnTo>
                    <a:pt x="10490" y="1140"/>
                  </a:lnTo>
                  <a:lnTo>
                    <a:pt x="10643" y="1230"/>
                  </a:lnTo>
                  <a:lnTo>
                    <a:pt x="10793" y="1324"/>
                  </a:lnTo>
                  <a:lnTo>
                    <a:pt x="10939" y="1424"/>
                  </a:lnTo>
                  <a:lnTo>
                    <a:pt x="11081" y="1529"/>
                  </a:lnTo>
                  <a:lnTo>
                    <a:pt x="11220" y="1639"/>
                  </a:lnTo>
                  <a:lnTo>
                    <a:pt x="11355" y="1754"/>
                  </a:lnTo>
                  <a:lnTo>
                    <a:pt x="11485" y="1872"/>
                  </a:lnTo>
                  <a:lnTo>
                    <a:pt x="11612" y="1995"/>
                  </a:lnTo>
                  <a:lnTo>
                    <a:pt x="11733" y="2123"/>
                  </a:lnTo>
                  <a:lnTo>
                    <a:pt x="11851" y="2255"/>
                  </a:lnTo>
                  <a:lnTo>
                    <a:pt x="11964" y="2390"/>
                  </a:lnTo>
                  <a:lnTo>
                    <a:pt x="12072" y="2530"/>
                  </a:lnTo>
                  <a:lnTo>
                    <a:pt x="12176" y="2674"/>
                  </a:lnTo>
                  <a:lnTo>
                    <a:pt x="12273" y="2821"/>
                  </a:lnTo>
                  <a:lnTo>
                    <a:pt x="12367" y="2972"/>
                  </a:lnTo>
                  <a:lnTo>
                    <a:pt x="12456" y="3126"/>
                  </a:lnTo>
                  <a:lnTo>
                    <a:pt x="12538" y="3285"/>
                  </a:lnTo>
                  <a:lnTo>
                    <a:pt x="12615" y="3446"/>
                  </a:lnTo>
                  <a:lnTo>
                    <a:pt x="12167" y="3669"/>
                  </a:lnTo>
                  <a:lnTo>
                    <a:pt x="12097" y="3523"/>
                  </a:lnTo>
                  <a:lnTo>
                    <a:pt x="12024" y="3381"/>
                  </a:lnTo>
                  <a:lnTo>
                    <a:pt x="11945" y="3241"/>
                  </a:lnTo>
                  <a:lnTo>
                    <a:pt x="11861" y="3104"/>
                  </a:lnTo>
                  <a:lnTo>
                    <a:pt x="11772" y="2971"/>
                  </a:lnTo>
                  <a:lnTo>
                    <a:pt x="11680" y="2841"/>
                  </a:lnTo>
                  <a:lnTo>
                    <a:pt x="11582" y="2714"/>
                  </a:lnTo>
                  <a:lnTo>
                    <a:pt x="11481" y="2592"/>
                  </a:lnTo>
                  <a:lnTo>
                    <a:pt x="11375" y="2473"/>
                  </a:lnTo>
                  <a:lnTo>
                    <a:pt x="11265" y="2357"/>
                  </a:lnTo>
                  <a:lnTo>
                    <a:pt x="11152" y="2245"/>
                  </a:lnTo>
                  <a:lnTo>
                    <a:pt x="11034" y="2137"/>
                  </a:lnTo>
                  <a:lnTo>
                    <a:pt x="10912" y="2035"/>
                  </a:lnTo>
                  <a:lnTo>
                    <a:pt x="10788" y="1935"/>
                  </a:lnTo>
                  <a:lnTo>
                    <a:pt x="10660" y="1840"/>
                  </a:lnTo>
                  <a:lnTo>
                    <a:pt x="10528" y="1751"/>
                  </a:lnTo>
                  <a:lnTo>
                    <a:pt x="10392" y="1665"/>
                  </a:lnTo>
                  <a:lnTo>
                    <a:pt x="10255" y="1583"/>
                  </a:lnTo>
                  <a:lnTo>
                    <a:pt x="10113" y="1508"/>
                  </a:lnTo>
                  <a:lnTo>
                    <a:pt x="9969" y="1436"/>
                  </a:lnTo>
                  <a:lnTo>
                    <a:pt x="9822" y="1370"/>
                  </a:lnTo>
                  <a:lnTo>
                    <a:pt x="9672" y="1309"/>
                  </a:lnTo>
                  <a:lnTo>
                    <a:pt x="9519" y="1253"/>
                  </a:lnTo>
                  <a:lnTo>
                    <a:pt x="9364" y="1203"/>
                  </a:lnTo>
                  <a:lnTo>
                    <a:pt x="9207" y="1158"/>
                  </a:lnTo>
                  <a:lnTo>
                    <a:pt x="9047" y="1119"/>
                  </a:lnTo>
                  <a:lnTo>
                    <a:pt x="8885" y="1085"/>
                  </a:lnTo>
                  <a:lnTo>
                    <a:pt x="8721" y="1058"/>
                  </a:lnTo>
                  <a:lnTo>
                    <a:pt x="8555" y="1035"/>
                  </a:lnTo>
                  <a:lnTo>
                    <a:pt x="8388" y="1020"/>
                  </a:lnTo>
                  <a:lnTo>
                    <a:pt x="8219" y="1010"/>
                  </a:lnTo>
                  <a:lnTo>
                    <a:pt x="8048" y="1007"/>
                  </a:lnTo>
                  <a:lnTo>
                    <a:pt x="7846" y="1012"/>
                  </a:lnTo>
                  <a:lnTo>
                    <a:pt x="7648" y="1025"/>
                  </a:lnTo>
                  <a:lnTo>
                    <a:pt x="7452" y="1047"/>
                  </a:lnTo>
                  <a:lnTo>
                    <a:pt x="7258" y="1077"/>
                  </a:lnTo>
                  <a:lnTo>
                    <a:pt x="7068" y="1114"/>
                  </a:lnTo>
                  <a:lnTo>
                    <a:pt x="6880" y="1160"/>
                  </a:lnTo>
                  <a:lnTo>
                    <a:pt x="6696" y="1214"/>
                  </a:lnTo>
                  <a:lnTo>
                    <a:pt x="6514" y="1274"/>
                  </a:lnTo>
                  <a:lnTo>
                    <a:pt x="6336" y="1343"/>
                  </a:lnTo>
                  <a:lnTo>
                    <a:pt x="6162" y="1419"/>
                  </a:lnTo>
                  <a:lnTo>
                    <a:pt x="5992" y="1502"/>
                  </a:lnTo>
                  <a:lnTo>
                    <a:pt x="5826" y="1590"/>
                  </a:lnTo>
                  <a:lnTo>
                    <a:pt x="5664" y="1687"/>
                  </a:lnTo>
                  <a:lnTo>
                    <a:pt x="5507" y="1790"/>
                  </a:lnTo>
                  <a:lnTo>
                    <a:pt x="5354" y="1899"/>
                  </a:lnTo>
                  <a:lnTo>
                    <a:pt x="5206" y="2013"/>
                  </a:lnTo>
                  <a:lnTo>
                    <a:pt x="5063" y="2134"/>
                  </a:lnTo>
                  <a:lnTo>
                    <a:pt x="4925" y="2261"/>
                  </a:lnTo>
                  <a:lnTo>
                    <a:pt x="4792" y="2393"/>
                  </a:lnTo>
                  <a:lnTo>
                    <a:pt x="4666" y="2530"/>
                  </a:lnTo>
                  <a:lnTo>
                    <a:pt x="4544" y="2673"/>
                  </a:lnTo>
                  <a:lnTo>
                    <a:pt x="4429" y="2821"/>
                  </a:lnTo>
                  <a:lnTo>
                    <a:pt x="4319" y="2973"/>
                  </a:lnTo>
                  <a:lnTo>
                    <a:pt x="4216" y="3130"/>
                  </a:lnTo>
                  <a:lnTo>
                    <a:pt x="4119" y="3293"/>
                  </a:lnTo>
                  <a:lnTo>
                    <a:pt x="4029" y="3458"/>
                  </a:lnTo>
                  <a:lnTo>
                    <a:pt x="3945" y="3628"/>
                  </a:lnTo>
                  <a:lnTo>
                    <a:pt x="3869" y="3802"/>
                  </a:lnTo>
                  <a:lnTo>
                    <a:pt x="3799" y="3979"/>
                  </a:lnTo>
                  <a:lnTo>
                    <a:pt x="3738" y="4161"/>
                  </a:lnTo>
                  <a:lnTo>
                    <a:pt x="3683" y="4345"/>
                  </a:lnTo>
                  <a:lnTo>
                    <a:pt x="3636" y="4532"/>
                  </a:lnTo>
                  <a:lnTo>
                    <a:pt x="3119" y="4532"/>
                  </a:lnTo>
                  <a:lnTo>
                    <a:pt x="3168" y="4319"/>
                  </a:lnTo>
                  <a:lnTo>
                    <a:pt x="3225" y="4109"/>
                  </a:lnTo>
                  <a:lnTo>
                    <a:pt x="3291" y="3903"/>
                  </a:lnTo>
                  <a:lnTo>
                    <a:pt x="3366" y="3700"/>
                  </a:lnTo>
                  <a:lnTo>
                    <a:pt x="3448" y="3502"/>
                  </a:lnTo>
                  <a:lnTo>
                    <a:pt x="3540" y="3309"/>
                  </a:lnTo>
                  <a:lnTo>
                    <a:pt x="3638" y="3119"/>
                  </a:lnTo>
                  <a:lnTo>
                    <a:pt x="3745" y="2935"/>
                  </a:lnTo>
                  <a:lnTo>
                    <a:pt x="3859" y="2755"/>
                  </a:lnTo>
                  <a:lnTo>
                    <a:pt x="3980" y="2580"/>
                  </a:lnTo>
                  <a:lnTo>
                    <a:pt x="4108" y="2412"/>
                  </a:lnTo>
                  <a:lnTo>
                    <a:pt x="4244" y="2249"/>
                  </a:lnTo>
                  <a:lnTo>
                    <a:pt x="4385" y="2092"/>
                  </a:lnTo>
                  <a:lnTo>
                    <a:pt x="4534" y="1941"/>
                  </a:lnTo>
                  <a:lnTo>
                    <a:pt x="4688" y="1796"/>
                  </a:lnTo>
                  <a:lnTo>
                    <a:pt x="4848" y="1657"/>
                  </a:lnTo>
                  <a:lnTo>
                    <a:pt x="5014" y="1526"/>
                  </a:lnTo>
                  <a:lnTo>
                    <a:pt x="5186" y="1401"/>
                  </a:lnTo>
                  <a:lnTo>
                    <a:pt x="5362" y="1283"/>
                  </a:lnTo>
                  <a:lnTo>
                    <a:pt x="5544" y="1173"/>
                  </a:lnTo>
                  <a:lnTo>
                    <a:pt x="5731" y="1071"/>
                  </a:lnTo>
                  <a:lnTo>
                    <a:pt x="5922" y="976"/>
                  </a:lnTo>
                  <a:lnTo>
                    <a:pt x="6118" y="889"/>
                  </a:lnTo>
                  <a:lnTo>
                    <a:pt x="6318" y="811"/>
                  </a:lnTo>
                  <a:lnTo>
                    <a:pt x="6522" y="740"/>
                  </a:lnTo>
                  <a:lnTo>
                    <a:pt x="6731" y="679"/>
                  </a:lnTo>
                  <a:lnTo>
                    <a:pt x="6942" y="627"/>
                  </a:lnTo>
                  <a:lnTo>
                    <a:pt x="7157" y="583"/>
                  </a:lnTo>
                  <a:lnTo>
                    <a:pt x="7376" y="549"/>
                  </a:lnTo>
                  <a:lnTo>
                    <a:pt x="7597" y="524"/>
                  </a:lnTo>
                  <a:lnTo>
                    <a:pt x="7821" y="509"/>
                  </a:lnTo>
                  <a:lnTo>
                    <a:pt x="8048" y="504"/>
                  </a:lnTo>
                  <a:close/>
                  <a:moveTo>
                    <a:pt x="12976" y="4532"/>
                  </a:moveTo>
                  <a:lnTo>
                    <a:pt x="12693" y="4532"/>
                  </a:lnTo>
                  <a:lnTo>
                    <a:pt x="12943" y="4407"/>
                  </a:lnTo>
                  <a:lnTo>
                    <a:pt x="12951" y="4438"/>
                  </a:lnTo>
                  <a:lnTo>
                    <a:pt x="12959" y="4469"/>
                  </a:lnTo>
                  <a:lnTo>
                    <a:pt x="12969" y="4501"/>
                  </a:lnTo>
                  <a:lnTo>
                    <a:pt x="12976" y="4532"/>
                  </a:lnTo>
                  <a:close/>
                  <a:moveTo>
                    <a:pt x="14838" y="4532"/>
                  </a:moveTo>
                  <a:lnTo>
                    <a:pt x="13484" y="4532"/>
                  </a:lnTo>
                  <a:lnTo>
                    <a:pt x="13476" y="4487"/>
                  </a:lnTo>
                  <a:lnTo>
                    <a:pt x="13466" y="4443"/>
                  </a:lnTo>
                  <a:lnTo>
                    <a:pt x="13456" y="4398"/>
                  </a:lnTo>
                  <a:lnTo>
                    <a:pt x="13446" y="4354"/>
                  </a:lnTo>
                  <a:lnTo>
                    <a:pt x="13436" y="4310"/>
                  </a:lnTo>
                  <a:lnTo>
                    <a:pt x="13425" y="4266"/>
                  </a:lnTo>
                  <a:lnTo>
                    <a:pt x="13414" y="4221"/>
                  </a:lnTo>
                  <a:lnTo>
                    <a:pt x="13403" y="4177"/>
                  </a:lnTo>
                  <a:lnTo>
                    <a:pt x="15816" y="2969"/>
                  </a:lnTo>
                  <a:lnTo>
                    <a:pt x="15839" y="2957"/>
                  </a:lnTo>
                  <a:lnTo>
                    <a:pt x="15862" y="2943"/>
                  </a:lnTo>
                  <a:lnTo>
                    <a:pt x="15883" y="2929"/>
                  </a:lnTo>
                  <a:lnTo>
                    <a:pt x="15903" y="2914"/>
                  </a:lnTo>
                  <a:lnTo>
                    <a:pt x="15922" y="2898"/>
                  </a:lnTo>
                  <a:lnTo>
                    <a:pt x="15940" y="2882"/>
                  </a:lnTo>
                  <a:lnTo>
                    <a:pt x="15957" y="2863"/>
                  </a:lnTo>
                  <a:lnTo>
                    <a:pt x="15974" y="2845"/>
                  </a:lnTo>
                  <a:lnTo>
                    <a:pt x="15989" y="2826"/>
                  </a:lnTo>
                  <a:lnTo>
                    <a:pt x="16003" y="2807"/>
                  </a:lnTo>
                  <a:lnTo>
                    <a:pt x="16018" y="2787"/>
                  </a:lnTo>
                  <a:lnTo>
                    <a:pt x="16030" y="2766"/>
                  </a:lnTo>
                  <a:lnTo>
                    <a:pt x="16041" y="2745"/>
                  </a:lnTo>
                  <a:lnTo>
                    <a:pt x="16052" y="2722"/>
                  </a:lnTo>
                  <a:lnTo>
                    <a:pt x="16061" y="2700"/>
                  </a:lnTo>
                  <a:lnTo>
                    <a:pt x="16069" y="2677"/>
                  </a:lnTo>
                  <a:lnTo>
                    <a:pt x="16076" y="2654"/>
                  </a:lnTo>
                  <a:lnTo>
                    <a:pt x="16082" y="2631"/>
                  </a:lnTo>
                  <a:lnTo>
                    <a:pt x="16087" y="2608"/>
                  </a:lnTo>
                  <a:lnTo>
                    <a:pt x="16091" y="2583"/>
                  </a:lnTo>
                  <a:lnTo>
                    <a:pt x="16093" y="2559"/>
                  </a:lnTo>
                  <a:lnTo>
                    <a:pt x="16095" y="2535"/>
                  </a:lnTo>
                  <a:lnTo>
                    <a:pt x="16095" y="2511"/>
                  </a:lnTo>
                  <a:lnTo>
                    <a:pt x="16094" y="2486"/>
                  </a:lnTo>
                  <a:lnTo>
                    <a:pt x="16092" y="2462"/>
                  </a:lnTo>
                  <a:lnTo>
                    <a:pt x="16088" y="2437"/>
                  </a:lnTo>
                  <a:lnTo>
                    <a:pt x="16084" y="2413"/>
                  </a:lnTo>
                  <a:lnTo>
                    <a:pt x="16078" y="2388"/>
                  </a:lnTo>
                  <a:lnTo>
                    <a:pt x="16071" y="2364"/>
                  </a:lnTo>
                  <a:lnTo>
                    <a:pt x="16063" y="2341"/>
                  </a:lnTo>
                  <a:lnTo>
                    <a:pt x="16053" y="2317"/>
                  </a:lnTo>
                  <a:lnTo>
                    <a:pt x="16042" y="2293"/>
                  </a:lnTo>
                  <a:lnTo>
                    <a:pt x="16030" y="2270"/>
                  </a:lnTo>
                  <a:lnTo>
                    <a:pt x="16017" y="2248"/>
                  </a:lnTo>
                  <a:lnTo>
                    <a:pt x="16002" y="2227"/>
                  </a:lnTo>
                  <a:lnTo>
                    <a:pt x="15987" y="2207"/>
                  </a:lnTo>
                  <a:lnTo>
                    <a:pt x="15971" y="2188"/>
                  </a:lnTo>
                  <a:lnTo>
                    <a:pt x="15954" y="2170"/>
                  </a:lnTo>
                  <a:lnTo>
                    <a:pt x="15937" y="2152"/>
                  </a:lnTo>
                  <a:lnTo>
                    <a:pt x="15919" y="2135"/>
                  </a:lnTo>
                  <a:lnTo>
                    <a:pt x="15900" y="2120"/>
                  </a:lnTo>
                  <a:lnTo>
                    <a:pt x="15880" y="2106"/>
                  </a:lnTo>
                  <a:lnTo>
                    <a:pt x="15860" y="2092"/>
                  </a:lnTo>
                  <a:lnTo>
                    <a:pt x="15839" y="2080"/>
                  </a:lnTo>
                  <a:lnTo>
                    <a:pt x="15817" y="2069"/>
                  </a:lnTo>
                  <a:lnTo>
                    <a:pt x="15796" y="2058"/>
                  </a:lnTo>
                  <a:lnTo>
                    <a:pt x="15774" y="2049"/>
                  </a:lnTo>
                  <a:lnTo>
                    <a:pt x="15751" y="2041"/>
                  </a:lnTo>
                  <a:lnTo>
                    <a:pt x="15728" y="2034"/>
                  </a:lnTo>
                  <a:lnTo>
                    <a:pt x="15705" y="2028"/>
                  </a:lnTo>
                  <a:lnTo>
                    <a:pt x="15681" y="2022"/>
                  </a:lnTo>
                  <a:lnTo>
                    <a:pt x="15657" y="2019"/>
                  </a:lnTo>
                  <a:lnTo>
                    <a:pt x="15633" y="2016"/>
                  </a:lnTo>
                  <a:lnTo>
                    <a:pt x="15609" y="2015"/>
                  </a:lnTo>
                  <a:lnTo>
                    <a:pt x="15584" y="2014"/>
                  </a:lnTo>
                  <a:lnTo>
                    <a:pt x="15560" y="2015"/>
                  </a:lnTo>
                  <a:lnTo>
                    <a:pt x="15536" y="2017"/>
                  </a:lnTo>
                  <a:lnTo>
                    <a:pt x="15511" y="2021"/>
                  </a:lnTo>
                  <a:lnTo>
                    <a:pt x="15486" y="2026"/>
                  </a:lnTo>
                  <a:lnTo>
                    <a:pt x="15462" y="2032"/>
                  </a:lnTo>
                  <a:lnTo>
                    <a:pt x="15438" y="2039"/>
                  </a:lnTo>
                  <a:lnTo>
                    <a:pt x="15414" y="2047"/>
                  </a:lnTo>
                  <a:lnTo>
                    <a:pt x="15391" y="2057"/>
                  </a:lnTo>
                  <a:lnTo>
                    <a:pt x="15367" y="2068"/>
                  </a:lnTo>
                  <a:lnTo>
                    <a:pt x="13065" y="3220"/>
                  </a:lnTo>
                  <a:lnTo>
                    <a:pt x="12980" y="3044"/>
                  </a:lnTo>
                  <a:lnTo>
                    <a:pt x="12888" y="2872"/>
                  </a:lnTo>
                  <a:lnTo>
                    <a:pt x="12790" y="2702"/>
                  </a:lnTo>
                  <a:lnTo>
                    <a:pt x="12688" y="2537"/>
                  </a:lnTo>
                  <a:lnTo>
                    <a:pt x="12579" y="2376"/>
                  </a:lnTo>
                  <a:lnTo>
                    <a:pt x="12466" y="2219"/>
                  </a:lnTo>
                  <a:lnTo>
                    <a:pt x="12347" y="2066"/>
                  </a:lnTo>
                  <a:lnTo>
                    <a:pt x="12223" y="1917"/>
                  </a:lnTo>
                  <a:lnTo>
                    <a:pt x="12093" y="1773"/>
                  </a:lnTo>
                  <a:lnTo>
                    <a:pt x="11960" y="1633"/>
                  </a:lnTo>
                  <a:lnTo>
                    <a:pt x="11821" y="1498"/>
                  </a:lnTo>
                  <a:lnTo>
                    <a:pt x="11677" y="1368"/>
                  </a:lnTo>
                  <a:lnTo>
                    <a:pt x="11529" y="1243"/>
                  </a:lnTo>
                  <a:lnTo>
                    <a:pt x="11377" y="1123"/>
                  </a:lnTo>
                  <a:lnTo>
                    <a:pt x="11220" y="1008"/>
                  </a:lnTo>
                  <a:lnTo>
                    <a:pt x="11060" y="898"/>
                  </a:lnTo>
                  <a:lnTo>
                    <a:pt x="10895" y="795"/>
                  </a:lnTo>
                  <a:lnTo>
                    <a:pt x="10727" y="697"/>
                  </a:lnTo>
                  <a:lnTo>
                    <a:pt x="10555" y="605"/>
                  </a:lnTo>
                  <a:lnTo>
                    <a:pt x="10380" y="519"/>
                  </a:lnTo>
                  <a:lnTo>
                    <a:pt x="10201" y="439"/>
                  </a:lnTo>
                  <a:lnTo>
                    <a:pt x="10019" y="365"/>
                  </a:lnTo>
                  <a:lnTo>
                    <a:pt x="9834" y="297"/>
                  </a:lnTo>
                  <a:lnTo>
                    <a:pt x="9645" y="237"/>
                  </a:lnTo>
                  <a:lnTo>
                    <a:pt x="9454" y="182"/>
                  </a:lnTo>
                  <a:lnTo>
                    <a:pt x="9261" y="135"/>
                  </a:lnTo>
                  <a:lnTo>
                    <a:pt x="9063" y="95"/>
                  </a:lnTo>
                  <a:lnTo>
                    <a:pt x="8865" y="60"/>
                  </a:lnTo>
                  <a:lnTo>
                    <a:pt x="8664" y="34"/>
                  </a:lnTo>
                  <a:lnTo>
                    <a:pt x="8460" y="16"/>
                  </a:lnTo>
                  <a:lnTo>
                    <a:pt x="8255" y="4"/>
                  </a:lnTo>
                  <a:lnTo>
                    <a:pt x="8048" y="0"/>
                  </a:lnTo>
                  <a:lnTo>
                    <a:pt x="7795" y="6"/>
                  </a:lnTo>
                  <a:lnTo>
                    <a:pt x="7546" y="23"/>
                  </a:lnTo>
                  <a:lnTo>
                    <a:pt x="7299" y="50"/>
                  </a:lnTo>
                  <a:lnTo>
                    <a:pt x="7056" y="90"/>
                  </a:lnTo>
                  <a:lnTo>
                    <a:pt x="6816" y="139"/>
                  </a:lnTo>
                  <a:lnTo>
                    <a:pt x="6581" y="198"/>
                  </a:lnTo>
                  <a:lnTo>
                    <a:pt x="6349" y="267"/>
                  </a:lnTo>
                  <a:lnTo>
                    <a:pt x="6123" y="347"/>
                  </a:lnTo>
                  <a:lnTo>
                    <a:pt x="5900" y="435"/>
                  </a:lnTo>
                  <a:lnTo>
                    <a:pt x="5683" y="533"/>
                  </a:lnTo>
                  <a:lnTo>
                    <a:pt x="5470" y="640"/>
                  </a:lnTo>
                  <a:lnTo>
                    <a:pt x="5263" y="755"/>
                  </a:lnTo>
                  <a:lnTo>
                    <a:pt x="5061" y="880"/>
                  </a:lnTo>
                  <a:lnTo>
                    <a:pt x="4866" y="1012"/>
                  </a:lnTo>
                  <a:lnTo>
                    <a:pt x="4676" y="1153"/>
                  </a:lnTo>
                  <a:lnTo>
                    <a:pt x="4493" y="1301"/>
                  </a:lnTo>
                  <a:lnTo>
                    <a:pt x="4315" y="1456"/>
                  </a:lnTo>
                  <a:lnTo>
                    <a:pt x="4144" y="1620"/>
                  </a:lnTo>
                  <a:lnTo>
                    <a:pt x="3982" y="1790"/>
                  </a:lnTo>
                  <a:lnTo>
                    <a:pt x="3826" y="1967"/>
                  </a:lnTo>
                  <a:lnTo>
                    <a:pt x="3678" y="2150"/>
                  </a:lnTo>
                  <a:lnTo>
                    <a:pt x="3537" y="2341"/>
                  </a:lnTo>
                  <a:lnTo>
                    <a:pt x="3404" y="2536"/>
                  </a:lnTo>
                  <a:lnTo>
                    <a:pt x="3280" y="2739"/>
                  </a:lnTo>
                  <a:lnTo>
                    <a:pt x="3164" y="2946"/>
                  </a:lnTo>
                  <a:lnTo>
                    <a:pt x="3057" y="3159"/>
                  </a:lnTo>
                  <a:lnTo>
                    <a:pt x="2958" y="3376"/>
                  </a:lnTo>
                  <a:lnTo>
                    <a:pt x="2870" y="3599"/>
                  </a:lnTo>
                  <a:lnTo>
                    <a:pt x="2790" y="3826"/>
                  </a:lnTo>
                  <a:lnTo>
                    <a:pt x="2720" y="4057"/>
                  </a:lnTo>
                  <a:lnTo>
                    <a:pt x="2661" y="4293"/>
                  </a:lnTo>
                  <a:lnTo>
                    <a:pt x="2610" y="4532"/>
                  </a:lnTo>
                  <a:lnTo>
                    <a:pt x="1257" y="4532"/>
                  </a:lnTo>
                  <a:lnTo>
                    <a:pt x="1193" y="4534"/>
                  </a:lnTo>
                  <a:lnTo>
                    <a:pt x="1129" y="4539"/>
                  </a:lnTo>
                  <a:lnTo>
                    <a:pt x="1066" y="4548"/>
                  </a:lnTo>
                  <a:lnTo>
                    <a:pt x="1004" y="4559"/>
                  </a:lnTo>
                  <a:lnTo>
                    <a:pt x="944" y="4573"/>
                  </a:lnTo>
                  <a:lnTo>
                    <a:pt x="884" y="4589"/>
                  </a:lnTo>
                  <a:lnTo>
                    <a:pt x="826" y="4609"/>
                  </a:lnTo>
                  <a:lnTo>
                    <a:pt x="769" y="4631"/>
                  </a:lnTo>
                  <a:lnTo>
                    <a:pt x="713" y="4657"/>
                  </a:lnTo>
                  <a:lnTo>
                    <a:pt x="659" y="4685"/>
                  </a:lnTo>
                  <a:lnTo>
                    <a:pt x="606" y="4715"/>
                  </a:lnTo>
                  <a:lnTo>
                    <a:pt x="555" y="4748"/>
                  </a:lnTo>
                  <a:lnTo>
                    <a:pt x="506" y="4783"/>
                  </a:lnTo>
                  <a:lnTo>
                    <a:pt x="458" y="4820"/>
                  </a:lnTo>
                  <a:lnTo>
                    <a:pt x="412" y="4860"/>
                  </a:lnTo>
                  <a:lnTo>
                    <a:pt x="369" y="4902"/>
                  </a:lnTo>
                  <a:lnTo>
                    <a:pt x="327" y="4945"/>
                  </a:lnTo>
                  <a:lnTo>
                    <a:pt x="288" y="4991"/>
                  </a:lnTo>
                  <a:lnTo>
                    <a:pt x="250" y="5039"/>
                  </a:lnTo>
                  <a:lnTo>
                    <a:pt x="215" y="5088"/>
                  </a:lnTo>
                  <a:lnTo>
                    <a:pt x="182" y="5139"/>
                  </a:lnTo>
                  <a:lnTo>
                    <a:pt x="152" y="5192"/>
                  </a:lnTo>
                  <a:lnTo>
                    <a:pt x="125" y="5247"/>
                  </a:lnTo>
                  <a:lnTo>
                    <a:pt x="99" y="5302"/>
                  </a:lnTo>
                  <a:lnTo>
                    <a:pt x="76" y="5359"/>
                  </a:lnTo>
                  <a:lnTo>
                    <a:pt x="56" y="5418"/>
                  </a:lnTo>
                  <a:lnTo>
                    <a:pt x="39" y="5477"/>
                  </a:lnTo>
                  <a:lnTo>
                    <a:pt x="25" y="5538"/>
                  </a:lnTo>
                  <a:lnTo>
                    <a:pt x="14" y="5600"/>
                  </a:lnTo>
                  <a:lnTo>
                    <a:pt x="7" y="5662"/>
                  </a:lnTo>
                  <a:lnTo>
                    <a:pt x="2" y="5727"/>
                  </a:lnTo>
                  <a:lnTo>
                    <a:pt x="0" y="5791"/>
                  </a:lnTo>
                  <a:lnTo>
                    <a:pt x="0" y="5815"/>
                  </a:lnTo>
                  <a:lnTo>
                    <a:pt x="1" y="5838"/>
                  </a:lnTo>
                  <a:lnTo>
                    <a:pt x="2" y="5861"/>
                  </a:lnTo>
                  <a:lnTo>
                    <a:pt x="4" y="5883"/>
                  </a:lnTo>
                  <a:lnTo>
                    <a:pt x="7" y="5906"/>
                  </a:lnTo>
                  <a:lnTo>
                    <a:pt x="9" y="5929"/>
                  </a:lnTo>
                  <a:lnTo>
                    <a:pt x="13" y="5952"/>
                  </a:lnTo>
                  <a:lnTo>
                    <a:pt x="17" y="5975"/>
                  </a:lnTo>
                  <a:lnTo>
                    <a:pt x="21" y="5997"/>
                  </a:lnTo>
                  <a:lnTo>
                    <a:pt x="26" y="6019"/>
                  </a:lnTo>
                  <a:lnTo>
                    <a:pt x="31" y="6041"/>
                  </a:lnTo>
                  <a:lnTo>
                    <a:pt x="37" y="6063"/>
                  </a:lnTo>
                  <a:lnTo>
                    <a:pt x="43" y="6085"/>
                  </a:lnTo>
                  <a:lnTo>
                    <a:pt x="50" y="6107"/>
                  </a:lnTo>
                  <a:lnTo>
                    <a:pt x="58" y="6128"/>
                  </a:lnTo>
                  <a:lnTo>
                    <a:pt x="65" y="6150"/>
                  </a:lnTo>
                  <a:lnTo>
                    <a:pt x="74" y="6171"/>
                  </a:lnTo>
                  <a:lnTo>
                    <a:pt x="82" y="6191"/>
                  </a:lnTo>
                  <a:lnTo>
                    <a:pt x="93" y="6212"/>
                  </a:lnTo>
                  <a:lnTo>
                    <a:pt x="102" y="6234"/>
                  </a:lnTo>
                  <a:lnTo>
                    <a:pt x="112" y="6254"/>
                  </a:lnTo>
                  <a:lnTo>
                    <a:pt x="123" y="6274"/>
                  </a:lnTo>
                  <a:lnTo>
                    <a:pt x="134" y="6294"/>
                  </a:lnTo>
                  <a:lnTo>
                    <a:pt x="145" y="6313"/>
                  </a:lnTo>
                  <a:lnTo>
                    <a:pt x="157" y="6332"/>
                  </a:lnTo>
                  <a:lnTo>
                    <a:pt x="170" y="6351"/>
                  </a:lnTo>
                  <a:lnTo>
                    <a:pt x="183" y="6371"/>
                  </a:lnTo>
                  <a:lnTo>
                    <a:pt x="196" y="6390"/>
                  </a:lnTo>
                  <a:lnTo>
                    <a:pt x="210" y="6408"/>
                  </a:lnTo>
                  <a:lnTo>
                    <a:pt x="224" y="6426"/>
                  </a:lnTo>
                  <a:lnTo>
                    <a:pt x="238" y="6443"/>
                  </a:lnTo>
                  <a:lnTo>
                    <a:pt x="253" y="6461"/>
                  </a:lnTo>
                  <a:lnTo>
                    <a:pt x="2012" y="8441"/>
                  </a:lnTo>
                  <a:lnTo>
                    <a:pt x="2012" y="8813"/>
                  </a:lnTo>
                  <a:lnTo>
                    <a:pt x="2014" y="8877"/>
                  </a:lnTo>
                  <a:lnTo>
                    <a:pt x="2019" y="8942"/>
                  </a:lnTo>
                  <a:lnTo>
                    <a:pt x="2026" y="9004"/>
                  </a:lnTo>
                  <a:lnTo>
                    <a:pt x="2038" y="9067"/>
                  </a:lnTo>
                  <a:lnTo>
                    <a:pt x="2052" y="9127"/>
                  </a:lnTo>
                  <a:lnTo>
                    <a:pt x="2068" y="9187"/>
                  </a:lnTo>
                  <a:lnTo>
                    <a:pt x="2088" y="9245"/>
                  </a:lnTo>
                  <a:lnTo>
                    <a:pt x="2110" y="9303"/>
                  </a:lnTo>
                  <a:lnTo>
                    <a:pt x="2137" y="9358"/>
                  </a:lnTo>
                  <a:lnTo>
                    <a:pt x="2164" y="9412"/>
                  </a:lnTo>
                  <a:lnTo>
                    <a:pt x="2194" y="9466"/>
                  </a:lnTo>
                  <a:lnTo>
                    <a:pt x="2227" y="9516"/>
                  </a:lnTo>
                  <a:lnTo>
                    <a:pt x="2262" y="9566"/>
                  </a:lnTo>
                  <a:lnTo>
                    <a:pt x="2300" y="9614"/>
                  </a:lnTo>
                  <a:lnTo>
                    <a:pt x="2339" y="9659"/>
                  </a:lnTo>
                  <a:lnTo>
                    <a:pt x="2381" y="9703"/>
                  </a:lnTo>
                  <a:lnTo>
                    <a:pt x="2424" y="9745"/>
                  </a:lnTo>
                  <a:lnTo>
                    <a:pt x="2471" y="9784"/>
                  </a:lnTo>
                  <a:lnTo>
                    <a:pt x="2518" y="9821"/>
                  </a:lnTo>
                  <a:lnTo>
                    <a:pt x="2567" y="9856"/>
                  </a:lnTo>
                  <a:lnTo>
                    <a:pt x="2617" y="9890"/>
                  </a:lnTo>
                  <a:lnTo>
                    <a:pt x="2671" y="9920"/>
                  </a:lnTo>
                  <a:lnTo>
                    <a:pt x="2725" y="9948"/>
                  </a:lnTo>
                  <a:lnTo>
                    <a:pt x="2780" y="9973"/>
                  </a:lnTo>
                  <a:lnTo>
                    <a:pt x="2838" y="9995"/>
                  </a:lnTo>
                  <a:lnTo>
                    <a:pt x="2896" y="10016"/>
                  </a:lnTo>
                  <a:lnTo>
                    <a:pt x="2955" y="10033"/>
                  </a:lnTo>
                  <a:lnTo>
                    <a:pt x="3016" y="10047"/>
                  </a:lnTo>
                  <a:lnTo>
                    <a:pt x="3078" y="10058"/>
                  </a:lnTo>
                  <a:lnTo>
                    <a:pt x="3141" y="10066"/>
                  </a:lnTo>
                  <a:lnTo>
                    <a:pt x="3205" y="10070"/>
                  </a:lnTo>
                  <a:lnTo>
                    <a:pt x="3269" y="10072"/>
                  </a:lnTo>
                  <a:lnTo>
                    <a:pt x="12826" y="10072"/>
                  </a:lnTo>
                  <a:lnTo>
                    <a:pt x="12890" y="10070"/>
                  </a:lnTo>
                  <a:lnTo>
                    <a:pt x="12953" y="10066"/>
                  </a:lnTo>
                  <a:lnTo>
                    <a:pt x="13017" y="10058"/>
                  </a:lnTo>
                  <a:lnTo>
                    <a:pt x="13078" y="10047"/>
                  </a:lnTo>
                  <a:lnTo>
                    <a:pt x="13140" y="10033"/>
                  </a:lnTo>
                  <a:lnTo>
                    <a:pt x="13199" y="10016"/>
                  </a:lnTo>
                  <a:lnTo>
                    <a:pt x="13257" y="9995"/>
                  </a:lnTo>
                  <a:lnTo>
                    <a:pt x="13315" y="9973"/>
                  </a:lnTo>
                  <a:lnTo>
                    <a:pt x="13370" y="9948"/>
                  </a:lnTo>
                  <a:lnTo>
                    <a:pt x="13424" y="9920"/>
                  </a:lnTo>
                  <a:lnTo>
                    <a:pt x="13477" y="9890"/>
                  </a:lnTo>
                  <a:lnTo>
                    <a:pt x="13528" y="9856"/>
                  </a:lnTo>
                  <a:lnTo>
                    <a:pt x="13577" y="9821"/>
                  </a:lnTo>
                  <a:lnTo>
                    <a:pt x="13624" y="9784"/>
                  </a:lnTo>
                  <a:lnTo>
                    <a:pt x="13671" y="9745"/>
                  </a:lnTo>
                  <a:lnTo>
                    <a:pt x="13714" y="9703"/>
                  </a:lnTo>
                  <a:lnTo>
                    <a:pt x="13756" y="9659"/>
                  </a:lnTo>
                  <a:lnTo>
                    <a:pt x="13795" y="9614"/>
                  </a:lnTo>
                  <a:lnTo>
                    <a:pt x="13833" y="9566"/>
                  </a:lnTo>
                  <a:lnTo>
                    <a:pt x="13868" y="9516"/>
                  </a:lnTo>
                  <a:lnTo>
                    <a:pt x="13900" y="9466"/>
                  </a:lnTo>
                  <a:lnTo>
                    <a:pt x="13931" y="9412"/>
                  </a:lnTo>
                  <a:lnTo>
                    <a:pt x="13958" y="9358"/>
                  </a:lnTo>
                  <a:lnTo>
                    <a:pt x="13984" y="9303"/>
                  </a:lnTo>
                  <a:lnTo>
                    <a:pt x="14007" y="9245"/>
                  </a:lnTo>
                  <a:lnTo>
                    <a:pt x="14026" y="9187"/>
                  </a:lnTo>
                  <a:lnTo>
                    <a:pt x="14043" y="9127"/>
                  </a:lnTo>
                  <a:lnTo>
                    <a:pt x="14057" y="9067"/>
                  </a:lnTo>
                  <a:lnTo>
                    <a:pt x="14068" y="9004"/>
                  </a:lnTo>
                  <a:lnTo>
                    <a:pt x="14076" y="8942"/>
                  </a:lnTo>
                  <a:lnTo>
                    <a:pt x="14081" y="8877"/>
                  </a:lnTo>
                  <a:lnTo>
                    <a:pt x="14083" y="8813"/>
                  </a:lnTo>
                  <a:lnTo>
                    <a:pt x="14083" y="8441"/>
                  </a:lnTo>
                  <a:lnTo>
                    <a:pt x="15840" y="6461"/>
                  </a:lnTo>
                  <a:lnTo>
                    <a:pt x="15856" y="6443"/>
                  </a:lnTo>
                  <a:lnTo>
                    <a:pt x="15871" y="6426"/>
                  </a:lnTo>
                  <a:lnTo>
                    <a:pt x="15885" y="6408"/>
                  </a:lnTo>
                  <a:lnTo>
                    <a:pt x="15899" y="6390"/>
                  </a:lnTo>
                  <a:lnTo>
                    <a:pt x="15912" y="6371"/>
                  </a:lnTo>
                  <a:lnTo>
                    <a:pt x="15925" y="6351"/>
                  </a:lnTo>
                  <a:lnTo>
                    <a:pt x="15937" y="6332"/>
                  </a:lnTo>
                  <a:lnTo>
                    <a:pt x="15949" y="6313"/>
                  </a:lnTo>
                  <a:lnTo>
                    <a:pt x="15961" y="6294"/>
                  </a:lnTo>
                  <a:lnTo>
                    <a:pt x="15972" y="6274"/>
                  </a:lnTo>
                  <a:lnTo>
                    <a:pt x="15982" y="6254"/>
                  </a:lnTo>
                  <a:lnTo>
                    <a:pt x="15992" y="6234"/>
                  </a:lnTo>
                  <a:lnTo>
                    <a:pt x="16002" y="6212"/>
                  </a:lnTo>
                  <a:lnTo>
                    <a:pt x="16012" y="6191"/>
                  </a:lnTo>
                  <a:lnTo>
                    <a:pt x="16021" y="6171"/>
                  </a:lnTo>
                  <a:lnTo>
                    <a:pt x="16029" y="6150"/>
                  </a:lnTo>
                  <a:lnTo>
                    <a:pt x="16037" y="6128"/>
                  </a:lnTo>
                  <a:lnTo>
                    <a:pt x="16044" y="6107"/>
                  </a:lnTo>
                  <a:lnTo>
                    <a:pt x="16051" y="6085"/>
                  </a:lnTo>
                  <a:lnTo>
                    <a:pt x="16058" y="6063"/>
                  </a:lnTo>
                  <a:lnTo>
                    <a:pt x="16063" y="6041"/>
                  </a:lnTo>
                  <a:lnTo>
                    <a:pt x="16069" y="6019"/>
                  </a:lnTo>
                  <a:lnTo>
                    <a:pt x="16074" y="5997"/>
                  </a:lnTo>
                  <a:lnTo>
                    <a:pt x="16078" y="5975"/>
                  </a:lnTo>
                  <a:lnTo>
                    <a:pt x="16082" y="5952"/>
                  </a:lnTo>
                  <a:lnTo>
                    <a:pt x="16085" y="5929"/>
                  </a:lnTo>
                  <a:lnTo>
                    <a:pt x="16088" y="5906"/>
                  </a:lnTo>
                  <a:lnTo>
                    <a:pt x="16090" y="5883"/>
                  </a:lnTo>
                  <a:lnTo>
                    <a:pt x="16092" y="5861"/>
                  </a:lnTo>
                  <a:lnTo>
                    <a:pt x="16093" y="5838"/>
                  </a:lnTo>
                  <a:lnTo>
                    <a:pt x="16094" y="5815"/>
                  </a:lnTo>
                  <a:lnTo>
                    <a:pt x="16095" y="5791"/>
                  </a:lnTo>
                  <a:lnTo>
                    <a:pt x="16093" y="5727"/>
                  </a:lnTo>
                  <a:lnTo>
                    <a:pt x="16088" y="5662"/>
                  </a:lnTo>
                  <a:lnTo>
                    <a:pt x="16080" y="5600"/>
                  </a:lnTo>
                  <a:lnTo>
                    <a:pt x="16069" y="5538"/>
                  </a:lnTo>
                  <a:lnTo>
                    <a:pt x="16055" y="5477"/>
                  </a:lnTo>
                  <a:lnTo>
                    <a:pt x="16038" y="5418"/>
                  </a:lnTo>
                  <a:lnTo>
                    <a:pt x="16019" y="5359"/>
                  </a:lnTo>
                  <a:lnTo>
                    <a:pt x="15995" y="5302"/>
                  </a:lnTo>
                  <a:lnTo>
                    <a:pt x="15970" y="5247"/>
                  </a:lnTo>
                  <a:lnTo>
                    <a:pt x="15942" y="5192"/>
                  </a:lnTo>
                  <a:lnTo>
                    <a:pt x="15912" y="5139"/>
                  </a:lnTo>
                  <a:lnTo>
                    <a:pt x="15880" y="5088"/>
                  </a:lnTo>
                  <a:lnTo>
                    <a:pt x="15845" y="5039"/>
                  </a:lnTo>
                  <a:lnTo>
                    <a:pt x="15807" y="4991"/>
                  </a:lnTo>
                  <a:lnTo>
                    <a:pt x="15767" y="4945"/>
                  </a:lnTo>
                  <a:lnTo>
                    <a:pt x="15726" y="4902"/>
                  </a:lnTo>
                  <a:lnTo>
                    <a:pt x="15683" y="4860"/>
                  </a:lnTo>
                  <a:lnTo>
                    <a:pt x="15636" y="4820"/>
                  </a:lnTo>
                  <a:lnTo>
                    <a:pt x="15589" y="4783"/>
                  </a:lnTo>
                  <a:lnTo>
                    <a:pt x="15540" y="4748"/>
                  </a:lnTo>
                  <a:lnTo>
                    <a:pt x="15488" y="4715"/>
                  </a:lnTo>
                  <a:lnTo>
                    <a:pt x="15436" y="4685"/>
                  </a:lnTo>
                  <a:lnTo>
                    <a:pt x="15382" y="4657"/>
                  </a:lnTo>
                  <a:lnTo>
                    <a:pt x="15326" y="4631"/>
                  </a:lnTo>
                  <a:lnTo>
                    <a:pt x="15269" y="4609"/>
                  </a:lnTo>
                  <a:lnTo>
                    <a:pt x="15211" y="4589"/>
                  </a:lnTo>
                  <a:lnTo>
                    <a:pt x="15151" y="4573"/>
                  </a:lnTo>
                  <a:lnTo>
                    <a:pt x="15090" y="4559"/>
                  </a:lnTo>
                  <a:lnTo>
                    <a:pt x="15029" y="4548"/>
                  </a:lnTo>
                  <a:lnTo>
                    <a:pt x="14965" y="4539"/>
                  </a:lnTo>
                  <a:lnTo>
                    <a:pt x="14902" y="4534"/>
                  </a:lnTo>
                  <a:lnTo>
                    <a:pt x="14838" y="45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5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47" name="îṧļiḋê">
              <a:extLst>
                <a:ext uri="{FF2B5EF4-FFF2-40B4-BE49-F238E27FC236}">
                  <a16:creationId xmlns:a16="http://schemas.microsoft.com/office/drawing/2014/main" id="{0493A8AF-798E-4E71-828B-87606132AE88}"/>
                </a:ext>
              </a:extLst>
            </p:cNvPr>
            <p:cNvSpPr/>
            <p:nvPr/>
          </p:nvSpPr>
          <p:spPr bwMode="auto">
            <a:xfrm>
              <a:off x="8148684" y="88585"/>
              <a:ext cx="24571" cy="80848"/>
            </a:xfrm>
            <a:custGeom>
              <a:avLst/>
              <a:gdLst>
                <a:gd name="T0" fmla="*/ 123 w 1136"/>
                <a:gd name="T1" fmla="*/ 3641 h 3777"/>
                <a:gd name="T2" fmla="*/ 162 w 1136"/>
                <a:gd name="T3" fmla="*/ 3696 h 3777"/>
                <a:gd name="T4" fmla="*/ 214 w 1136"/>
                <a:gd name="T5" fmla="*/ 3740 h 3777"/>
                <a:gd name="T6" fmla="*/ 276 w 1136"/>
                <a:gd name="T7" fmla="*/ 3767 h 3777"/>
                <a:gd name="T8" fmla="*/ 346 w 1136"/>
                <a:gd name="T9" fmla="*/ 3777 h 3777"/>
                <a:gd name="T10" fmla="*/ 396 w 1136"/>
                <a:gd name="T11" fmla="*/ 3772 h 3777"/>
                <a:gd name="T12" fmla="*/ 444 w 1136"/>
                <a:gd name="T13" fmla="*/ 3757 h 3777"/>
                <a:gd name="T14" fmla="*/ 487 w 1136"/>
                <a:gd name="T15" fmla="*/ 3734 h 3777"/>
                <a:gd name="T16" fmla="*/ 524 w 1136"/>
                <a:gd name="T17" fmla="*/ 3704 h 3777"/>
                <a:gd name="T18" fmla="*/ 555 w 1136"/>
                <a:gd name="T19" fmla="*/ 3665 h 3777"/>
                <a:gd name="T20" fmla="*/ 578 w 1136"/>
                <a:gd name="T21" fmla="*/ 3623 h 3777"/>
                <a:gd name="T22" fmla="*/ 593 w 1136"/>
                <a:gd name="T23" fmla="*/ 3575 h 3777"/>
                <a:gd name="T24" fmla="*/ 599 w 1136"/>
                <a:gd name="T25" fmla="*/ 3524 h 3777"/>
                <a:gd name="T26" fmla="*/ 589 w 1136"/>
                <a:gd name="T27" fmla="*/ 3461 h 3777"/>
                <a:gd name="T28" fmla="*/ 558 w 1136"/>
                <a:gd name="T29" fmla="*/ 3368 h 3777"/>
                <a:gd name="T30" fmla="*/ 520 w 1136"/>
                <a:gd name="T31" fmla="*/ 3197 h 3777"/>
                <a:gd name="T32" fmla="*/ 510 w 1136"/>
                <a:gd name="T33" fmla="*/ 3023 h 3777"/>
                <a:gd name="T34" fmla="*/ 526 w 1136"/>
                <a:gd name="T35" fmla="*/ 2844 h 3777"/>
                <a:gd name="T36" fmla="*/ 562 w 1136"/>
                <a:gd name="T37" fmla="*/ 2662 h 3777"/>
                <a:gd name="T38" fmla="*/ 616 w 1136"/>
                <a:gd name="T39" fmla="*/ 2476 h 3777"/>
                <a:gd name="T40" fmla="*/ 720 w 1136"/>
                <a:gd name="T41" fmla="*/ 2190 h 3777"/>
                <a:gd name="T42" fmla="*/ 889 w 1136"/>
                <a:gd name="T43" fmla="*/ 1780 h 3777"/>
                <a:gd name="T44" fmla="*/ 974 w 1136"/>
                <a:gd name="T45" fmla="*/ 1559 h 3777"/>
                <a:gd name="T46" fmla="*/ 1046 w 1136"/>
                <a:gd name="T47" fmla="*/ 1334 h 3777"/>
                <a:gd name="T48" fmla="*/ 1100 w 1136"/>
                <a:gd name="T49" fmla="*/ 1104 h 3777"/>
                <a:gd name="T50" fmla="*/ 1132 w 1136"/>
                <a:gd name="T51" fmla="*/ 871 h 3777"/>
                <a:gd name="T52" fmla="*/ 1132 w 1136"/>
                <a:gd name="T53" fmla="*/ 636 h 3777"/>
                <a:gd name="T54" fmla="*/ 1093 w 1136"/>
                <a:gd name="T55" fmla="*/ 398 h 3777"/>
                <a:gd name="T56" fmla="*/ 1012 w 1136"/>
                <a:gd name="T57" fmla="*/ 158 h 3777"/>
                <a:gd name="T58" fmla="*/ 976 w 1136"/>
                <a:gd name="T59" fmla="*/ 95 h 3777"/>
                <a:gd name="T60" fmla="*/ 923 w 1136"/>
                <a:gd name="T61" fmla="*/ 44 h 3777"/>
                <a:gd name="T62" fmla="*/ 858 w 1136"/>
                <a:gd name="T63" fmla="*/ 12 h 3777"/>
                <a:gd name="T64" fmla="*/ 783 w 1136"/>
                <a:gd name="T65" fmla="*/ 0 h 3777"/>
                <a:gd name="T66" fmla="*/ 733 w 1136"/>
                <a:gd name="T67" fmla="*/ 5 h 3777"/>
                <a:gd name="T68" fmla="*/ 687 w 1136"/>
                <a:gd name="T69" fmla="*/ 20 h 3777"/>
                <a:gd name="T70" fmla="*/ 645 w 1136"/>
                <a:gd name="T71" fmla="*/ 42 h 3777"/>
                <a:gd name="T72" fmla="*/ 609 w 1136"/>
                <a:gd name="T73" fmla="*/ 73 h 3777"/>
                <a:gd name="T74" fmla="*/ 578 w 1136"/>
                <a:gd name="T75" fmla="*/ 110 h 3777"/>
                <a:gd name="T76" fmla="*/ 555 w 1136"/>
                <a:gd name="T77" fmla="*/ 151 h 3777"/>
                <a:gd name="T78" fmla="*/ 541 w 1136"/>
                <a:gd name="T79" fmla="*/ 197 h 3777"/>
                <a:gd name="T80" fmla="*/ 536 w 1136"/>
                <a:gd name="T81" fmla="*/ 247 h 3777"/>
                <a:gd name="T82" fmla="*/ 540 w 1136"/>
                <a:gd name="T83" fmla="*/ 291 h 3777"/>
                <a:gd name="T84" fmla="*/ 553 w 1136"/>
                <a:gd name="T85" fmla="*/ 335 h 3777"/>
                <a:gd name="T86" fmla="*/ 574 w 1136"/>
                <a:gd name="T87" fmla="*/ 389 h 3777"/>
                <a:gd name="T88" fmla="*/ 625 w 1136"/>
                <a:gd name="T89" fmla="*/ 561 h 3777"/>
                <a:gd name="T90" fmla="*/ 642 w 1136"/>
                <a:gd name="T91" fmla="*/ 736 h 3777"/>
                <a:gd name="T92" fmla="*/ 632 w 1136"/>
                <a:gd name="T93" fmla="*/ 913 h 3777"/>
                <a:gd name="T94" fmla="*/ 599 w 1136"/>
                <a:gd name="T95" fmla="*/ 1092 h 3777"/>
                <a:gd name="T96" fmla="*/ 546 w 1136"/>
                <a:gd name="T97" fmla="*/ 1275 h 3777"/>
                <a:gd name="T98" fmla="*/ 462 w 1136"/>
                <a:gd name="T99" fmla="*/ 1511 h 3777"/>
                <a:gd name="T100" fmla="*/ 298 w 1136"/>
                <a:gd name="T101" fmla="*/ 1908 h 3777"/>
                <a:gd name="T102" fmla="*/ 190 w 1136"/>
                <a:gd name="T103" fmla="*/ 2178 h 3777"/>
                <a:gd name="T104" fmla="*/ 114 w 1136"/>
                <a:gd name="T105" fmla="*/ 2398 h 3777"/>
                <a:gd name="T106" fmla="*/ 52 w 1136"/>
                <a:gd name="T107" fmla="*/ 2623 h 3777"/>
                <a:gd name="T108" fmla="*/ 12 w 1136"/>
                <a:gd name="T109" fmla="*/ 2851 h 3777"/>
                <a:gd name="T110" fmla="*/ 0 w 1136"/>
                <a:gd name="T111" fmla="*/ 3083 h 3777"/>
                <a:gd name="T112" fmla="*/ 23 w 1136"/>
                <a:gd name="T113" fmla="*/ 3317 h 3777"/>
                <a:gd name="T114" fmla="*/ 86 w 1136"/>
                <a:gd name="T115" fmla="*/ 3551 h 3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36" h="3777">
                  <a:moveTo>
                    <a:pt x="118" y="3632"/>
                  </a:moveTo>
                  <a:lnTo>
                    <a:pt x="120" y="3637"/>
                  </a:lnTo>
                  <a:lnTo>
                    <a:pt x="122" y="3641"/>
                  </a:lnTo>
                  <a:lnTo>
                    <a:pt x="123" y="3641"/>
                  </a:lnTo>
                  <a:lnTo>
                    <a:pt x="132" y="3656"/>
                  </a:lnTo>
                  <a:lnTo>
                    <a:pt x="141" y="3670"/>
                  </a:lnTo>
                  <a:lnTo>
                    <a:pt x="151" y="3683"/>
                  </a:lnTo>
                  <a:lnTo>
                    <a:pt x="162" y="3696"/>
                  </a:lnTo>
                  <a:lnTo>
                    <a:pt x="174" y="3709"/>
                  </a:lnTo>
                  <a:lnTo>
                    <a:pt x="186" y="3720"/>
                  </a:lnTo>
                  <a:lnTo>
                    <a:pt x="200" y="3730"/>
                  </a:lnTo>
                  <a:lnTo>
                    <a:pt x="214" y="3740"/>
                  </a:lnTo>
                  <a:lnTo>
                    <a:pt x="228" y="3748"/>
                  </a:lnTo>
                  <a:lnTo>
                    <a:pt x="243" y="3756"/>
                  </a:lnTo>
                  <a:lnTo>
                    <a:pt x="260" y="3762"/>
                  </a:lnTo>
                  <a:lnTo>
                    <a:pt x="276" y="3767"/>
                  </a:lnTo>
                  <a:lnTo>
                    <a:pt x="293" y="3772"/>
                  </a:lnTo>
                  <a:lnTo>
                    <a:pt x="310" y="3775"/>
                  </a:lnTo>
                  <a:lnTo>
                    <a:pt x="328" y="3777"/>
                  </a:lnTo>
                  <a:lnTo>
                    <a:pt x="346" y="3777"/>
                  </a:lnTo>
                  <a:lnTo>
                    <a:pt x="359" y="3777"/>
                  </a:lnTo>
                  <a:lnTo>
                    <a:pt x="371" y="3776"/>
                  </a:lnTo>
                  <a:lnTo>
                    <a:pt x="384" y="3774"/>
                  </a:lnTo>
                  <a:lnTo>
                    <a:pt x="396" y="3772"/>
                  </a:lnTo>
                  <a:lnTo>
                    <a:pt x="408" y="3769"/>
                  </a:lnTo>
                  <a:lnTo>
                    <a:pt x="420" y="3766"/>
                  </a:lnTo>
                  <a:lnTo>
                    <a:pt x="433" y="3762"/>
                  </a:lnTo>
                  <a:lnTo>
                    <a:pt x="444" y="3757"/>
                  </a:lnTo>
                  <a:lnTo>
                    <a:pt x="456" y="3752"/>
                  </a:lnTo>
                  <a:lnTo>
                    <a:pt x="466" y="3747"/>
                  </a:lnTo>
                  <a:lnTo>
                    <a:pt x="477" y="3741"/>
                  </a:lnTo>
                  <a:lnTo>
                    <a:pt x="487" y="3734"/>
                  </a:lnTo>
                  <a:lnTo>
                    <a:pt x="497" y="3727"/>
                  </a:lnTo>
                  <a:lnTo>
                    <a:pt x="506" y="3720"/>
                  </a:lnTo>
                  <a:lnTo>
                    <a:pt x="516" y="3712"/>
                  </a:lnTo>
                  <a:lnTo>
                    <a:pt x="524" y="3704"/>
                  </a:lnTo>
                  <a:lnTo>
                    <a:pt x="533" y="3694"/>
                  </a:lnTo>
                  <a:lnTo>
                    <a:pt x="541" y="3685"/>
                  </a:lnTo>
                  <a:lnTo>
                    <a:pt x="548" y="3675"/>
                  </a:lnTo>
                  <a:lnTo>
                    <a:pt x="555" y="3665"/>
                  </a:lnTo>
                  <a:lnTo>
                    <a:pt x="562" y="3655"/>
                  </a:lnTo>
                  <a:lnTo>
                    <a:pt x="568" y="3644"/>
                  </a:lnTo>
                  <a:lnTo>
                    <a:pt x="573" y="3634"/>
                  </a:lnTo>
                  <a:lnTo>
                    <a:pt x="578" y="3623"/>
                  </a:lnTo>
                  <a:lnTo>
                    <a:pt x="583" y="3611"/>
                  </a:lnTo>
                  <a:lnTo>
                    <a:pt x="587" y="3599"/>
                  </a:lnTo>
                  <a:lnTo>
                    <a:pt x="590" y="3587"/>
                  </a:lnTo>
                  <a:lnTo>
                    <a:pt x="593" y="3575"/>
                  </a:lnTo>
                  <a:lnTo>
                    <a:pt x="595" y="3563"/>
                  </a:lnTo>
                  <a:lnTo>
                    <a:pt x="598" y="3549"/>
                  </a:lnTo>
                  <a:lnTo>
                    <a:pt x="599" y="3537"/>
                  </a:lnTo>
                  <a:lnTo>
                    <a:pt x="599" y="3524"/>
                  </a:lnTo>
                  <a:lnTo>
                    <a:pt x="599" y="3508"/>
                  </a:lnTo>
                  <a:lnTo>
                    <a:pt x="597" y="3492"/>
                  </a:lnTo>
                  <a:lnTo>
                    <a:pt x="593" y="3476"/>
                  </a:lnTo>
                  <a:lnTo>
                    <a:pt x="589" y="3461"/>
                  </a:lnTo>
                  <a:lnTo>
                    <a:pt x="590" y="3456"/>
                  </a:lnTo>
                  <a:lnTo>
                    <a:pt x="589" y="3452"/>
                  </a:lnTo>
                  <a:lnTo>
                    <a:pt x="572" y="3409"/>
                  </a:lnTo>
                  <a:lnTo>
                    <a:pt x="558" y="3368"/>
                  </a:lnTo>
                  <a:lnTo>
                    <a:pt x="546" y="3326"/>
                  </a:lnTo>
                  <a:lnTo>
                    <a:pt x="535" y="3283"/>
                  </a:lnTo>
                  <a:lnTo>
                    <a:pt x="527" y="3240"/>
                  </a:lnTo>
                  <a:lnTo>
                    <a:pt x="520" y="3197"/>
                  </a:lnTo>
                  <a:lnTo>
                    <a:pt x="515" y="3154"/>
                  </a:lnTo>
                  <a:lnTo>
                    <a:pt x="512" y="3110"/>
                  </a:lnTo>
                  <a:lnTo>
                    <a:pt x="510" y="3067"/>
                  </a:lnTo>
                  <a:lnTo>
                    <a:pt x="510" y="3023"/>
                  </a:lnTo>
                  <a:lnTo>
                    <a:pt x="512" y="2978"/>
                  </a:lnTo>
                  <a:lnTo>
                    <a:pt x="515" y="2934"/>
                  </a:lnTo>
                  <a:lnTo>
                    <a:pt x="520" y="2889"/>
                  </a:lnTo>
                  <a:lnTo>
                    <a:pt x="526" y="2844"/>
                  </a:lnTo>
                  <a:lnTo>
                    <a:pt x="533" y="2799"/>
                  </a:lnTo>
                  <a:lnTo>
                    <a:pt x="541" y="2754"/>
                  </a:lnTo>
                  <a:lnTo>
                    <a:pt x="551" y="2707"/>
                  </a:lnTo>
                  <a:lnTo>
                    <a:pt x="562" y="2662"/>
                  </a:lnTo>
                  <a:lnTo>
                    <a:pt x="574" y="2616"/>
                  </a:lnTo>
                  <a:lnTo>
                    <a:pt x="587" y="2569"/>
                  </a:lnTo>
                  <a:lnTo>
                    <a:pt x="601" y="2523"/>
                  </a:lnTo>
                  <a:lnTo>
                    <a:pt x="616" y="2476"/>
                  </a:lnTo>
                  <a:lnTo>
                    <a:pt x="632" y="2429"/>
                  </a:lnTo>
                  <a:lnTo>
                    <a:pt x="648" y="2382"/>
                  </a:lnTo>
                  <a:lnTo>
                    <a:pt x="683" y="2286"/>
                  </a:lnTo>
                  <a:lnTo>
                    <a:pt x="720" y="2190"/>
                  </a:lnTo>
                  <a:lnTo>
                    <a:pt x="759" y="2093"/>
                  </a:lnTo>
                  <a:lnTo>
                    <a:pt x="800" y="1995"/>
                  </a:lnTo>
                  <a:lnTo>
                    <a:pt x="845" y="1889"/>
                  </a:lnTo>
                  <a:lnTo>
                    <a:pt x="889" y="1780"/>
                  </a:lnTo>
                  <a:lnTo>
                    <a:pt x="910" y="1725"/>
                  </a:lnTo>
                  <a:lnTo>
                    <a:pt x="932" y="1670"/>
                  </a:lnTo>
                  <a:lnTo>
                    <a:pt x="953" y="1615"/>
                  </a:lnTo>
                  <a:lnTo>
                    <a:pt x="974" y="1559"/>
                  </a:lnTo>
                  <a:lnTo>
                    <a:pt x="993" y="1503"/>
                  </a:lnTo>
                  <a:lnTo>
                    <a:pt x="1011" y="1446"/>
                  </a:lnTo>
                  <a:lnTo>
                    <a:pt x="1029" y="1390"/>
                  </a:lnTo>
                  <a:lnTo>
                    <a:pt x="1046" y="1334"/>
                  </a:lnTo>
                  <a:lnTo>
                    <a:pt x="1061" y="1276"/>
                  </a:lnTo>
                  <a:lnTo>
                    <a:pt x="1076" y="1220"/>
                  </a:lnTo>
                  <a:lnTo>
                    <a:pt x="1089" y="1162"/>
                  </a:lnTo>
                  <a:lnTo>
                    <a:pt x="1100" y="1104"/>
                  </a:lnTo>
                  <a:lnTo>
                    <a:pt x="1112" y="1047"/>
                  </a:lnTo>
                  <a:lnTo>
                    <a:pt x="1120" y="988"/>
                  </a:lnTo>
                  <a:lnTo>
                    <a:pt x="1127" y="930"/>
                  </a:lnTo>
                  <a:lnTo>
                    <a:pt x="1132" y="871"/>
                  </a:lnTo>
                  <a:lnTo>
                    <a:pt x="1135" y="813"/>
                  </a:lnTo>
                  <a:lnTo>
                    <a:pt x="1136" y="753"/>
                  </a:lnTo>
                  <a:lnTo>
                    <a:pt x="1135" y="695"/>
                  </a:lnTo>
                  <a:lnTo>
                    <a:pt x="1132" y="636"/>
                  </a:lnTo>
                  <a:lnTo>
                    <a:pt x="1126" y="576"/>
                  </a:lnTo>
                  <a:lnTo>
                    <a:pt x="1118" y="517"/>
                  </a:lnTo>
                  <a:lnTo>
                    <a:pt x="1107" y="457"/>
                  </a:lnTo>
                  <a:lnTo>
                    <a:pt x="1093" y="398"/>
                  </a:lnTo>
                  <a:lnTo>
                    <a:pt x="1077" y="338"/>
                  </a:lnTo>
                  <a:lnTo>
                    <a:pt x="1059" y="278"/>
                  </a:lnTo>
                  <a:lnTo>
                    <a:pt x="1037" y="219"/>
                  </a:lnTo>
                  <a:lnTo>
                    <a:pt x="1012" y="158"/>
                  </a:lnTo>
                  <a:lnTo>
                    <a:pt x="1005" y="141"/>
                  </a:lnTo>
                  <a:lnTo>
                    <a:pt x="996" y="125"/>
                  </a:lnTo>
                  <a:lnTo>
                    <a:pt x="987" y="110"/>
                  </a:lnTo>
                  <a:lnTo>
                    <a:pt x="976" y="95"/>
                  </a:lnTo>
                  <a:lnTo>
                    <a:pt x="965" y="81"/>
                  </a:lnTo>
                  <a:lnTo>
                    <a:pt x="952" y="68"/>
                  </a:lnTo>
                  <a:lnTo>
                    <a:pt x="938" y="55"/>
                  </a:lnTo>
                  <a:lnTo>
                    <a:pt x="923" y="44"/>
                  </a:lnTo>
                  <a:lnTo>
                    <a:pt x="908" y="35"/>
                  </a:lnTo>
                  <a:lnTo>
                    <a:pt x="892" y="26"/>
                  </a:lnTo>
                  <a:lnTo>
                    <a:pt x="875" y="18"/>
                  </a:lnTo>
                  <a:lnTo>
                    <a:pt x="858" y="12"/>
                  </a:lnTo>
                  <a:lnTo>
                    <a:pt x="840" y="7"/>
                  </a:lnTo>
                  <a:lnTo>
                    <a:pt x="821" y="3"/>
                  </a:lnTo>
                  <a:lnTo>
                    <a:pt x="803" y="1"/>
                  </a:lnTo>
                  <a:lnTo>
                    <a:pt x="783" y="0"/>
                  </a:lnTo>
                  <a:lnTo>
                    <a:pt x="771" y="1"/>
                  </a:lnTo>
                  <a:lnTo>
                    <a:pt x="757" y="2"/>
                  </a:lnTo>
                  <a:lnTo>
                    <a:pt x="745" y="3"/>
                  </a:lnTo>
                  <a:lnTo>
                    <a:pt x="733" y="5"/>
                  </a:lnTo>
                  <a:lnTo>
                    <a:pt x="721" y="8"/>
                  </a:lnTo>
                  <a:lnTo>
                    <a:pt x="709" y="11"/>
                  </a:lnTo>
                  <a:lnTo>
                    <a:pt x="698" y="15"/>
                  </a:lnTo>
                  <a:lnTo>
                    <a:pt x="687" y="20"/>
                  </a:lnTo>
                  <a:lnTo>
                    <a:pt x="676" y="25"/>
                  </a:lnTo>
                  <a:lnTo>
                    <a:pt x="666" y="30"/>
                  </a:lnTo>
                  <a:lnTo>
                    <a:pt x="655" y="36"/>
                  </a:lnTo>
                  <a:lnTo>
                    <a:pt x="645" y="42"/>
                  </a:lnTo>
                  <a:lnTo>
                    <a:pt x="636" y="49"/>
                  </a:lnTo>
                  <a:lnTo>
                    <a:pt x="626" y="56"/>
                  </a:lnTo>
                  <a:lnTo>
                    <a:pt x="618" y="65"/>
                  </a:lnTo>
                  <a:lnTo>
                    <a:pt x="609" y="73"/>
                  </a:lnTo>
                  <a:lnTo>
                    <a:pt x="601" y="82"/>
                  </a:lnTo>
                  <a:lnTo>
                    <a:pt x="592" y="91"/>
                  </a:lnTo>
                  <a:lnTo>
                    <a:pt x="585" y="100"/>
                  </a:lnTo>
                  <a:lnTo>
                    <a:pt x="578" y="110"/>
                  </a:lnTo>
                  <a:lnTo>
                    <a:pt x="572" y="119"/>
                  </a:lnTo>
                  <a:lnTo>
                    <a:pt x="566" y="130"/>
                  </a:lnTo>
                  <a:lnTo>
                    <a:pt x="560" y="140"/>
                  </a:lnTo>
                  <a:lnTo>
                    <a:pt x="555" y="151"/>
                  </a:lnTo>
                  <a:lnTo>
                    <a:pt x="551" y="162"/>
                  </a:lnTo>
                  <a:lnTo>
                    <a:pt x="547" y="174"/>
                  </a:lnTo>
                  <a:lnTo>
                    <a:pt x="544" y="185"/>
                  </a:lnTo>
                  <a:lnTo>
                    <a:pt x="541" y="197"/>
                  </a:lnTo>
                  <a:lnTo>
                    <a:pt x="539" y="210"/>
                  </a:lnTo>
                  <a:lnTo>
                    <a:pt x="537" y="222"/>
                  </a:lnTo>
                  <a:lnTo>
                    <a:pt x="537" y="235"/>
                  </a:lnTo>
                  <a:lnTo>
                    <a:pt x="536" y="247"/>
                  </a:lnTo>
                  <a:lnTo>
                    <a:pt x="536" y="259"/>
                  </a:lnTo>
                  <a:lnTo>
                    <a:pt x="537" y="270"/>
                  </a:lnTo>
                  <a:lnTo>
                    <a:pt x="539" y="281"/>
                  </a:lnTo>
                  <a:lnTo>
                    <a:pt x="540" y="291"/>
                  </a:lnTo>
                  <a:lnTo>
                    <a:pt x="546" y="312"/>
                  </a:lnTo>
                  <a:lnTo>
                    <a:pt x="552" y="332"/>
                  </a:lnTo>
                  <a:lnTo>
                    <a:pt x="552" y="333"/>
                  </a:lnTo>
                  <a:lnTo>
                    <a:pt x="553" y="335"/>
                  </a:lnTo>
                  <a:lnTo>
                    <a:pt x="554" y="337"/>
                  </a:lnTo>
                  <a:lnTo>
                    <a:pt x="555" y="339"/>
                  </a:lnTo>
                  <a:lnTo>
                    <a:pt x="557" y="346"/>
                  </a:lnTo>
                  <a:lnTo>
                    <a:pt x="574" y="389"/>
                  </a:lnTo>
                  <a:lnTo>
                    <a:pt x="590" y="432"/>
                  </a:lnTo>
                  <a:lnTo>
                    <a:pt x="604" y="474"/>
                  </a:lnTo>
                  <a:lnTo>
                    <a:pt x="616" y="518"/>
                  </a:lnTo>
                  <a:lnTo>
                    <a:pt x="625" y="561"/>
                  </a:lnTo>
                  <a:lnTo>
                    <a:pt x="632" y="605"/>
                  </a:lnTo>
                  <a:lnTo>
                    <a:pt x="637" y="649"/>
                  </a:lnTo>
                  <a:lnTo>
                    <a:pt x="641" y="692"/>
                  </a:lnTo>
                  <a:lnTo>
                    <a:pt x="642" y="736"/>
                  </a:lnTo>
                  <a:lnTo>
                    <a:pt x="642" y="780"/>
                  </a:lnTo>
                  <a:lnTo>
                    <a:pt x="640" y="824"/>
                  </a:lnTo>
                  <a:lnTo>
                    <a:pt x="637" y="868"/>
                  </a:lnTo>
                  <a:lnTo>
                    <a:pt x="632" y="913"/>
                  </a:lnTo>
                  <a:lnTo>
                    <a:pt x="626" y="957"/>
                  </a:lnTo>
                  <a:lnTo>
                    <a:pt x="618" y="1002"/>
                  </a:lnTo>
                  <a:lnTo>
                    <a:pt x="609" y="1048"/>
                  </a:lnTo>
                  <a:lnTo>
                    <a:pt x="599" y="1092"/>
                  </a:lnTo>
                  <a:lnTo>
                    <a:pt x="587" y="1138"/>
                  </a:lnTo>
                  <a:lnTo>
                    <a:pt x="574" y="1184"/>
                  </a:lnTo>
                  <a:lnTo>
                    <a:pt x="561" y="1230"/>
                  </a:lnTo>
                  <a:lnTo>
                    <a:pt x="546" y="1275"/>
                  </a:lnTo>
                  <a:lnTo>
                    <a:pt x="531" y="1321"/>
                  </a:lnTo>
                  <a:lnTo>
                    <a:pt x="515" y="1369"/>
                  </a:lnTo>
                  <a:lnTo>
                    <a:pt x="498" y="1415"/>
                  </a:lnTo>
                  <a:lnTo>
                    <a:pt x="462" y="1511"/>
                  </a:lnTo>
                  <a:lnTo>
                    <a:pt x="423" y="1607"/>
                  </a:lnTo>
                  <a:lnTo>
                    <a:pt x="383" y="1703"/>
                  </a:lnTo>
                  <a:lnTo>
                    <a:pt x="342" y="1802"/>
                  </a:lnTo>
                  <a:lnTo>
                    <a:pt x="298" y="1908"/>
                  </a:lnTo>
                  <a:lnTo>
                    <a:pt x="253" y="2014"/>
                  </a:lnTo>
                  <a:lnTo>
                    <a:pt x="232" y="2069"/>
                  </a:lnTo>
                  <a:lnTo>
                    <a:pt x="211" y="2122"/>
                  </a:lnTo>
                  <a:lnTo>
                    <a:pt x="190" y="2178"/>
                  </a:lnTo>
                  <a:lnTo>
                    <a:pt x="170" y="2232"/>
                  </a:lnTo>
                  <a:lnTo>
                    <a:pt x="150" y="2287"/>
                  </a:lnTo>
                  <a:lnTo>
                    <a:pt x="132" y="2343"/>
                  </a:lnTo>
                  <a:lnTo>
                    <a:pt x="114" y="2398"/>
                  </a:lnTo>
                  <a:lnTo>
                    <a:pt x="97" y="2454"/>
                  </a:lnTo>
                  <a:lnTo>
                    <a:pt x="80" y="2510"/>
                  </a:lnTo>
                  <a:lnTo>
                    <a:pt x="65" y="2566"/>
                  </a:lnTo>
                  <a:lnTo>
                    <a:pt x="52" y="2623"/>
                  </a:lnTo>
                  <a:lnTo>
                    <a:pt x="39" y="2679"/>
                  </a:lnTo>
                  <a:lnTo>
                    <a:pt x="29" y="2737"/>
                  </a:lnTo>
                  <a:lnTo>
                    <a:pt x="20" y="2794"/>
                  </a:lnTo>
                  <a:lnTo>
                    <a:pt x="12" y="2851"/>
                  </a:lnTo>
                  <a:lnTo>
                    <a:pt x="6" y="2909"/>
                  </a:lnTo>
                  <a:lnTo>
                    <a:pt x="2" y="2966"/>
                  </a:lnTo>
                  <a:lnTo>
                    <a:pt x="0" y="3025"/>
                  </a:lnTo>
                  <a:lnTo>
                    <a:pt x="0" y="3083"/>
                  </a:lnTo>
                  <a:lnTo>
                    <a:pt x="2" y="3140"/>
                  </a:lnTo>
                  <a:lnTo>
                    <a:pt x="7" y="3199"/>
                  </a:lnTo>
                  <a:lnTo>
                    <a:pt x="14" y="3257"/>
                  </a:lnTo>
                  <a:lnTo>
                    <a:pt x="23" y="3317"/>
                  </a:lnTo>
                  <a:lnTo>
                    <a:pt x="34" y="3375"/>
                  </a:lnTo>
                  <a:lnTo>
                    <a:pt x="49" y="3434"/>
                  </a:lnTo>
                  <a:lnTo>
                    <a:pt x="66" y="3493"/>
                  </a:lnTo>
                  <a:lnTo>
                    <a:pt x="86" y="3551"/>
                  </a:lnTo>
                  <a:lnTo>
                    <a:pt x="110" y="3611"/>
                  </a:lnTo>
                  <a:lnTo>
                    <a:pt x="114" y="3622"/>
                  </a:lnTo>
                  <a:lnTo>
                    <a:pt x="118" y="36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48" name="íṡlíďé">
              <a:extLst>
                <a:ext uri="{FF2B5EF4-FFF2-40B4-BE49-F238E27FC236}">
                  <a16:creationId xmlns:a16="http://schemas.microsoft.com/office/drawing/2014/main" id="{EB0E4155-2328-4C5F-A12E-06EC65AC54D3}"/>
                </a:ext>
              </a:extLst>
            </p:cNvPr>
            <p:cNvSpPr/>
            <p:nvPr/>
          </p:nvSpPr>
          <p:spPr bwMode="auto">
            <a:xfrm>
              <a:off x="8280260" y="87000"/>
              <a:ext cx="23779" cy="80848"/>
            </a:xfrm>
            <a:custGeom>
              <a:avLst/>
              <a:gdLst>
                <a:gd name="T0" fmla="*/ 123 w 1136"/>
                <a:gd name="T1" fmla="*/ 3641 h 3776"/>
                <a:gd name="T2" fmla="*/ 162 w 1136"/>
                <a:gd name="T3" fmla="*/ 3695 h 3776"/>
                <a:gd name="T4" fmla="*/ 214 w 1136"/>
                <a:gd name="T5" fmla="*/ 3738 h 3776"/>
                <a:gd name="T6" fmla="*/ 277 w 1136"/>
                <a:gd name="T7" fmla="*/ 3766 h 3776"/>
                <a:gd name="T8" fmla="*/ 346 w 1136"/>
                <a:gd name="T9" fmla="*/ 3776 h 3776"/>
                <a:gd name="T10" fmla="*/ 396 w 1136"/>
                <a:gd name="T11" fmla="*/ 3770 h 3776"/>
                <a:gd name="T12" fmla="*/ 445 w 1136"/>
                <a:gd name="T13" fmla="*/ 3756 h 3776"/>
                <a:gd name="T14" fmla="*/ 487 w 1136"/>
                <a:gd name="T15" fmla="*/ 3732 h 3776"/>
                <a:gd name="T16" fmla="*/ 525 w 1136"/>
                <a:gd name="T17" fmla="*/ 3702 h 3776"/>
                <a:gd name="T18" fmla="*/ 555 w 1136"/>
                <a:gd name="T19" fmla="*/ 3664 h 3776"/>
                <a:gd name="T20" fmla="*/ 580 w 1136"/>
                <a:gd name="T21" fmla="*/ 3621 h 3776"/>
                <a:gd name="T22" fmla="*/ 594 w 1136"/>
                <a:gd name="T23" fmla="*/ 3574 h 3776"/>
                <a:gd name="T24" fmla="*/ 599 w 1136"/>
                <a:gd name="T25" fmla="*/ 3523 h 3776"/>
                <a:gd name="T26" fmla="*/ 590 w 1136"/>
                <a:gd name="T27" fmla="*/ 3460 h 3776"/>
                <a:gd name="T28" fmla="*/ 558 w 1136"/>
                <a:gd name="T29" fmla="*/ 3367 h 3776"/>
                <a:gd name="T30" fmla="*/ 520 w 1136"/>
                <a:gd name="T31" fmla="*/ 3195 h 3776"/>
                <a:gd name="T32" fmla="*/ 511 w 1136"/>
                <a:gd name="T33" fmla="*/ 3021 h 3776"/>
                <a:gd name="T34" fmla="*/ 526 w 1136"/>
                <a:gd name="T35" fmla="*/ 2843 h 3776"/>
                <a:gd name="T36" fmla="*/ 562 w 1136"/>
                <a:gd name="T37" fmla="*/ 2661 h 3776"/>
                <a:gd name="T38" fmla="*/ 616 w 1136"/>
                <a:gd name="T39" fmla="*/ 2474 h 3776"/>
                <a:gd name="T40" fmla="*/ 720 w 1136"/>
                <a:gd name="T41" fmla="*/ 2189 h 3776"/>
                <a:gd name="T42" fmla="*/ 889 w 1136"/>
                <a:gd name="T43" fmla="*/ 1778 h 3776"/>
                <a:gd name="T44" fmla="*/ 974 w 1136"/>
                <a:gd name="T45" fmla="*/ 1558 h 3776"/>
                <a:gd name="T46" fmla="*/ 1046 w 1136"/>
                <a:gd name="T47" fmla="*/ 1332 h 3776"/>
                <a:gd name="T48" fmla="*/ 1102 w 1136"/>
                <a:gd name="T49" fmla="*/ 1103 h 3776"/>
                <a:gd name="T50" fmla="*/ 1132 w 1136"/>
                <a:gd name="T51" fmla="*/ 870 h 3776"/>
                <a:gd name="T52" fmla="*/ 1132 w 1136"/>
                <a:gd name="T53" fmla="*/ 634 h 3776"/>
                <a:gd name="T54" fmla="*/ 1094 w 1136"/>
                <a:gd name="T55" fmla="*/ 396 h 3776"/>
                <a:gd name="T56" fmla="*/ 1012 w 1136"/>
                <a:gd name="T57" fmla="*/ 158 h 3776"/>
                <a:gd name="T58" fmla="*/ 976 w 1136"/>
                <a:gd name="T59" fmla="*/ 93 h 3776"/>
                <a:gd name="T60" fmla="*/ 924 w 1136"/>
                <a:gd name="T61" fmla="*/ 44 h 3776"/>
                <a:gd name="T62" fmla="*/ 858 w 1136"/>
                <a:gd name="T63" fmla="*/ 11 h 3776"/>
                <a:gd name="T64" fmla="*/ 783 w 1136"/>
                <a:gd name="T65" fmla="*/ 0 h 3776"/>
                <a:gd name="T66" fmla="*/ 733 w 1136"/>
                <a:gd name="T67" fmla="*/ 5 h 3776"/>
                <a:gd name="T68" fmla="*/ 687 w 1136"/>
                <a:gd name="T69" fmla="*/ 19 h 3776"/>
                <a:gd name="T70" fmla="*/ 646 w 1136"/>
                <a:gd name="T71" fmla="*/ 42 h 3776"/>
                <a:gd name="T72" fmla="*/ 609 w 1136"/>
                <a:gd name="T73" fmla="*/ 72 h 3776"/>
                <a:gd name="T74" fmla="*/ 579 w 1136"/>
                <a:gd name="T75" fmla="*/ 108 h 3776"/>
                <a:gd name="T76" fmla="*/ 556 w 1136"/>
                <a:gd name="T77" fmla="*/ 150 h 3776"/>
                <a:gd name="T78" fmla="*/ 541 w 1136"/>
                <a:gd name="T79" fmla="*/ 196 h 3776"/>
                <a:gd name="T80" fmla="*/ 536 w 1136"/>
                <a:gd name="T81" fmla="*/ 246 h 3776"/>
                <a:gd name="T82" fmla="*/ 541 w 1136"/>
                <a:gd name="T83" fmla="*/ 290 h 3776"/>
                <a:gd name="T84" fmla="*/ 553 w 1136"/>
                <a:gd name="T85" fmla="*/ 334 h 3776"/>
                <a:gd name="T86" fmla="*/ 576 w 1136"/>
                <a:gd name="T87" fmla="*/ 387 h 3776"/>
                <a:gd name="T88" fmla="*/ 625 w 1136"/>
                <a:gd name="T89" fmla="*/ 561 h 3776"/>
                <a:gd name="T90" fmla="*/ 642 w 1136"/>
                <a:gd name="T91" fmla="*/ 735 h 3776"/>
                <a:gd name="T92" fmla="*/ 632 w 1136"/>
                <a:gd name="T93" fmla="*/ 911 h 3776"/>
                <a:gd name="T94" fmla="*/ 599 w 1136"/>
                <a:gd name="T95" fmla="*/ 1091 h 3776"/>
                <a:gd name="T96" fmla="*/ 546 w 1136"/>
                <a:gd name="T97" fmla="*/ 1275 h 3776"/>
                <a:gd name="T98" fmla="*/ 462 w 1136"/>
                <a:gd name="T99" fmla="*/ 1509 h 3776"/>
                <a:gd name="T100" fmla="*/ 298 w 1136"/>
                <a:gd name="T101" fmla="*/ 1906 h 3776"/>
                <a:gd name="T102" fmla="*/ 190 w 1136"/>
                <a:gd name="T103" fmla="*/ 2176 h 3776"/>
                <a:gd name="T104" fmla="*/ 114 w 1136"/>
                <a:gd name="T105" fmla="*/ 2397 h 3776"/>
                <a:gd name="T106" fmla="*/ 52 w 1136"/>
                <a:gd name="T107" fmla="*/ 2621 h 3776"/>
                <a:gd name="T108" fmla="*/ 12 w 1136"/>
                <a:gd name="T109" fmla="*/ 2850 h 3776"/>
                <a:gd name="T110" fmla="*/ 0 w 1136"/>
                <a:gd name="T111" fmla="*/ 3082 h 3776"/>
                <a:gd name="T112" fmla="*/ 23 w 1136"/>
                <a:gd name="T113" fmla="*/ 3315 h 3776"/>
                <a:gd name="T114" fmla="*/ 87 w 1136"/>
                <a:gd name="T115" fmla="*/ 3551 h 37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36" h="3776">
                  <a:moveTo>
                    <a:pt x="118" y="3630"/>
                  </a:moveTo>
                  <a:lnTo>
                    <a:pt x="120" y="3636"/>
                  </a:lnTo>
                  <a:lnTo>
                    <a:pt x="122" y="3641"/>
                  </a:lnTo>
                  <a:lnTo>
                    <a:pt x="123" y="3641"/>
                  </a:lnTo>
                  <a:lnTo>
                    <a:pt x="132" y="3655"/>
                  </a:lnTo>
                  <a:lnTo>
                    <a:pt x="141" y="3669"/>
                  </a:lnTo>
                  <a:lnTo>
                    <a:pt x="151" y="3683"/>
                  </a:lnTo>
                  <a:lnTo>
                    <a:pt x="162" y="3695"/>
                  </a:lnTo>
                  <a:lnTo>
                    <a:pt x="174" y="3707"/>
                  </a:lnTo>
                  <a:lnTo>
                    <a:pt x="186" y="3718"/>
                  </a:lnTo>
                  <a:lnTo>
                    <a:pt x="200" y="3729"/>
                  </a:lnTo>
                  <a:lnTo>
                    <a:pt x="214" y="3738"/>
                  </a:lnTo>
                  <a:lnTo>
                    <a:pt x="228" y="3746"/>
                  </a:lnTo>
                  <a:lnTo>
                    <a:pt x="245" y="3754"/>
                  </a:lnTo>
                  <a:lnTo>
                    <a:pt x="260" y="3760"/>
                  </a:lnTo>
                  <a:lnTo>
                    <a:pt x="277" y="3766"/>
                  </a:lnTo>
                  <a:lnTo>
                    <a:pt x="293" y="3770"/>
                  </a:lnTo>
                  <a:lnTo>
                    <a:pt x="310" y="3773"/>
                  </a:lnTo>
                  <a:lnTo>
                    <a:pt x="328" y="3776"/>
                  </a:lnTo>
                  <a:lnTo>
                    <a:pt x="346" y="3776"/>
                  </a:lnTo>
                  <a:lnTo>
                    <a:pt x="359" y="3776"/>
                  </a:lnTo>
                  <a:lnTo>
                    <a:pt x="372" y="3775"/>
                  </a:lnTo>
                  <a:lnTo>
                    <a:pt x="384" y="3773"/>
                  </a:lnTo>
                  <a:lnTo>
                    <a:pt x="396" y="3770"/>
                  </a:lnTo>
                  <a:lnTo>
                    <a:pt x="410" y="3768"/>
                  </a:lnTo>
                  <a:lnTo>
                    <a:pt x="422" y="3764"/>
                  </a:lnTo>
                  <a:lnTo>
                    <a:pt x="433" y="3760"/>
                  </a:lnTo>
                  <a:lnTo>
                    <a:pt x="445" y="3756"/>
                  </a:lnTo>
                  <a:lnTo>
                    <a:pt x="456" y="3751"/>
                  </a:lnTo>
                  <a:lnTo>
                    <a:pt x="467" y="3745"/>
                  </a:lnTo>
                  <a:lnTo>
                    <a:pt x="477" y="3739"/>
                  </a:lnTo>
                  <a:lnTo>
                    <a:pt x="487" y="3732"/>
                  </a:lnTo>
                  <a:lnTo>
                    <a:pt x="497" y="3725"/>
                  </a:lnTo>
                  <a:lnTo>
                    <a:pt x="507" y="3718"/>
                  </a:lnTo>
                  <a:lnTo>
                    <a:pt x="516" y="3710"/>
                  </a:lnTo>
                  <a:lnTo>
                    <a:pt x="525" y="3702"/>
                  </a:lnTo>
                  <a:lnTo>
                    <a:pt x="533" y="3693"/>
                  </a:lnTo>
                  <a:lnTo>
                    <a:pt x="541" y="3684"/>
                  </a:lnTo>
                  <a:lnTo>
                    <a:pt x="548" y="3674"/>
                  </a:lnTo>
                  <a:lnTo>
                    <a:pt x="555" y="3664"/>
                  </a:lnTo>
                  <a:lnTo>
                    <a:pt x="562" y="3654"/>
                  </a:lnTo>
                  <a:lnTo>
                    <a:pt x="568" y="3644"/>
                  </a:lnTo>
                  <a:lnTo>
                    <a:pt x="575" y="3632"/>
                  </a:lnTo>
                  <a:lnTo>
                    <a:pt x="580" y="3621"/>
                  </a:lnTo>
                  <a:lnTo>
                    <a:pt x="584" y="3609"/>
                  </a:lnTo>
                  <a:lnTo>
                    <a:pt x="588" y="3598"/>
                  </a:lnTo>
                  <a:lnTo>
                    <a:pt x="591" y="3586"/>
                  </a:lnTo>
                  <a:lnTo>
                    <a:pt x="594" y="3574"/>
                  </a:lnTo>
                  <a:lnTo>
                    <a:pt x="596" y="3561"/>
                  </a:lnTo>
                  <a:lnTo>
                    <a:pt x="598" y="3549"/>
                  </a:lnTo>
                  <a:lnTo>
                    <a:pt x="599" y="3536"/>
                  </a:lnTo>
                  <a:lnTo>
                    <a:pt x="599" y="3523"/>
                  </a:lnTo>
                  <a:lnTo>
                    <a:pt x="599" y="3507"/>
                  </a:lnTo>
                  <a:lnTo>
                    <a:pt x="597" y="3490"/>
                  </a:lnTo>
                  <a:lnTo>
                    <a:pt x="594" y="3475"/>
                  </a:lnTo>
                  <a:lnTo>
                    <a:pt x="590" y="3460"/>
                  </a:lnTo>
                  <a:lnTo>
                    <a:pt x="591" y="3455"/>
                  </a:lnTo>
                  <a:lnTo>
                    <a:pt x="590" y="3450"/>
                  </a:lnTo>
                  <a:lnTo>
                    <a:pt x="573" y="3409"/>
                  </a:lnTo>
                  <a:lnTo>
                    <a:pt x="558" y="3367"/>
                  </a:lnTo>
                  <a:lnTo>
                    <a:pt x="546" y="3324"/>
                  </a:lnTo>
                  <a:lnTo>
                    <a:pt x="535" y="3282"/>
                  </a:lnTo>
                  <a:lnTo>
                    <a:pt x="527" y="3239"/>
                  </a:lnTo>
                  <a:lnTo>
                    <a:pt x="520" y="3195"/>
                  </a:lnTo>
                  <a:lnTo>
                    <a:pt x="515" y="3152"/>
                  </a:lnTo>
                  <a:lnTo>
                    <a:pt x="512" y="3109"/>
                  </a:lnTo>
                  <a:lnTo>
                    <a:pt x="511" y="3065"/>
                  </a:lnTo>
                  <a:lnTo>
                    <a:pt x="511" y="3021"/>
                  </a:lnTo>
                  <a:lnTo>
                    <a:pt x="512" y="2977"/>
                  </a:lnTo>
                  <a:lnTo>
                    <a:pt x="515" y="2932"/>
                  </a:lnTo>
                  <a:lnTo>
                    <a:pt x="520" y="2888"/>
                  </a:lnTo>
                  <a:lnTo>
                    <a:pt x="526" y="2843"/>
                  </a:lnTo>
                  <a:lnTo>
                    <a:pt x="533" y="2798"/>
                  </a:lnTo>
                  <a:lnTo>
                    <a:pt x="542" y="2752"/>
                  </a:lnTo>
                  <a:lnTo>
                    <a:pt x="551" y="2707"/>
                  </a:lnTo>
                  <a:lnTo>
                    <a:pt x="562" y="2661"/>
                  </a:lnTo>
                  <a:lnTo>
                    <a:pt x="575" y="2614"/>
                  </a:lnTo>
                  <a:lnTo>
                    <a:pt x="588" y="2568"/>
                  </a:lnTo>
                  <a:lnTo>
                    <a:pt x="602" y="2522"/>
                  </a:lnTo>
                  <a:lnTo>
                    <a:pt x="616" y="2474"/>
                  </a:lnTo>
                  <a:lnTo>
                    <a:pt x="632" y="2428"/>
                  </a:lnTo>
                  <a:lnTo>
                    <a:pt x="648" y="2381"/>
                  </a:lnTo>
                  <a:lnTo>
                    <a:pt x="683" y="2285"/>
                  </a:lnTo>
                  <a:lnTo>
                    <a:pt x="720" y="2189"/>
                  </a:lnTo>
                  <a:lnTo>
                    <a:pt x="760" y="2091"/>
                  </a:lnTo>
                  <a:lnTo>
                    <a:pt x="800" y="1994"/>
                  </a:lnTo>
                  <a:lnTo>
                    <a:pt x="845" y="1887"/>
                  </a:lnTo>
                  <a:lnTo>
                    <a:pt x="889" y="1778"/>
                  </a:lnTo>
                  <a:lnTo>
                    <a:pt x="912" y="1724"/>
                  </a:lnTo>
                  <a:lnTo>
                    <a:pt x="933" y="1668"/>
                  </a:lnTo>
                  <a:lnTo>
                    <a:pt x="954" y="1613"/>
                  </a:lnTo>
                  <a:lnTo>
                    <a:pt x="974" y="1558"/>
                  </a:lnTo>
                  <a:lnTo>
                    <a:pt x="993" y="1501"/>
                  </a:lnTo>
                  <a:lnTo>
                    <a:pt x="1012" y="1446"/>
                  </a:lnTo>
                  <a:lnTo>
                    <a:pt x="1029" y="1389"/>
                  </a:lnTo>
                  <a:lnTo>
                    <a:pt x="1046" y="1332"/>
                  </a:lnTo>
                  <a:lnTo>
                    <a:pt x="1062" y="1276"/>
                  </a:lnTo>
                  <a:lnTo>
                    <a:pt x="1076" y="1218"/>
                  </a:lnTo>
                  <a:lnTo>
                    <a:pt x="1090" y="1161"/>
                  </a:lnTo>
                  <a:lnTo>
                    <a:pt x="1102" y="1103"/>
                  </a:lnTo>
                  <a:lnTo>
                    <a:pt x="1112" y="1045"/>
                  </a:lnTo>
                  <a:lnTo>
                    <a:pt x="1120" y="987"/>
                  </a:lnTo>
                  <a:lnTo>
                    <a:pt x="1127" y="928"/>
                  </a:lnTo>
                  <a:lnTo>
                    <a:pt x="1132" y="870"/>
                  </a:lnTo>
                  <a:lnTo>
                    <a:pt x="1135" y="811"/>
                  </a:lnTo>
                  <a:lnTo>
                    <a:pt x="1136" y="753"/>
                  </a:lnTo>
                  <a:lnTo>
                    <a:pt x="1135" y="693"/>
                  </a:lnTo>
                  <a:lnTo>
                    <a:pt x="1132" y="634"/>
                  </a:lnTo>
                  <a:lnTo>
                    <a:pt x="1126" y="576"/>
                  </a:lnTo>
                  <a:lnTo>
                    <a:pt x="1118" y="516"/>
                  </a:lnTo>
                  <a:lnTo>
                    <a:pt x="1107" y="457"/>
                  </a:lnTo>
                  <a:lnTo>
                    <a:pt x="1094" y="396"/>
                  </a:lnTo>
                  <a:lnTo>
                    <a:pt x="1077" y="337"/>
                  </a:lnTo>
                  <a:lnTo>
                    <a:pt x="1059" y="278"/>
                  </a:lnTo>
                  <a:lnTo>
                    <a:pt x="1037" y="217"/>
                  </a:lnTo>
                  <a:lnTo>
                    <a:pt x="1012" y="158"/>
                  </a:lnTo>
                  <a:lnTo>
                    <a:pt x="1005" y="141"/>
                  </a:lnTo>
                  <a:lnTo>
                    <a:pt x="997" y="124"/>
                  </a:lnTo>
                  <a:lnTo>
                    <a:pt x="987" y="108"/>
                  </a:lnTo>
                  <a:lnTo>
                    <a:pt x="976" y="93"/>
                  </a:lnTo>
                  <a:lnTo>
                    <a:pt x="965" y="80"/>
                  </a:lnTo>
                  <a:lnTo>
                    <a:pt x="952" y="67"/>
                  </a:lnTo>
                  <a:lnTo>
                    <a:pt x="939" y="55"/>
                  </a:lnTo>
                  <a:lnTo>
                    <a:pt x="924" y="44"/>
                  </a:lnTo>
                  <a:lnTo>
                    <a:pt x="908" y="34"/>
                  </a:lnTo>
                  <a:lnTo>
                    <a:pt x="892" y="25"/>
                  </a:lnTo>
                  <a:lnTo>
                    <a:pt x="875" y="18"/>
                  </a:lnTo>
                  <a:lnTo>
                    <a:pt x="858" y="11"/>
                  </a:lnTo>
                  <a:lnTo>
                    <a:pt x="840" y="6"/>
                  </a:lnTo>
                  <a:lnTo>
                    <a:pt x="822" y="3"/>
                  </a:lnTo>
                  <a:lnTo>
                    <a:pt x="803" y="0"/>
                  </a:lnTo>
                  <a:lnTo>
                    <a:pt x="783" y="0"/>
                  </a:lnTo>
                  <a:lnTo>
                    <a:pt x="771" y="0"/>
                  </a:lnTo>
                  <a:lnTo>
                    <a:pt x="758" y="1"/>
                  </a:lnTo>
                  <a:lnTo>
                    <a:pt x="746" y="3"/>
                  </a:lnTo>
                  <a:lnTo>
                    <a:pt x="733" y="5"/>
                  </a:lnTo>
                  <a:lnTo>
                    <a:pt x="721" y="7"/>
                  </a:lnTo>
                  <a:lnTo>
                    <a:pt x="710" y="11"/>
                  </a:lnTo>
                  <a:lnTo>
                    <a:pt x="698" y="15"/>
                  </a:lnTo>
                  <a:lnTo>
                    <a:pt x="687" y="19"/>
                  </a:lnTo>
                  <a:lnTo>
                    <a:pt x="676" y="24"/>
                  </a:lnTo>
                  <a:lnTo>
                    <a:pt x="666" y="29"/>
                  </a:lnTo>
                  <a:lnTo>
                    <a:pt x="656" y="35"/>
                  </a:lnTo>
                  <a:lnTo>
                    <a:pt x="646" y="42"/>
                  </a:lnTo>
                  <a:lnTo>
                    <a:pt x="636" y="48"/>
                  </a:lnTo>
                  <a:lnTo>
                    <a:pt x="627" y="56"/>
                  </a:lnTo>
                  <a:lnTo>
                    <a:pt x="618" y="63"/>
                  </a:lnTo>
                  <a:lnTo>
                    <a:pt x="609" y="72"/>
                  </a:lnTo>
                  <a:lnTo>
                    <a:pt x="601" y="80"/>
                  </a:lnTo>
                  <a:lnTo>
                    <a:pt x="593" y="89"/>
                  </a:lnTo>
                  <a:lnTo>
                    <a:pt x="586" y="98"/>
                  </a:lnTo>
                  <a:lnTo>
                    <a:pt x="579" y="108"/>
                  </a:lnTo>
                  <a:lnTo>
                    <a:pt x="573" y="118"/>
                  </a:lnTo>
                  <a:lnTo>
                    <a:pt x="566" y="128"/>
                  </a:lnTo>
                  <a:lnTo>
                    <a:pt x="561" y="140"/>
                  </a:lnTo>
                  <a:lnTo>
                    <a:pt x="556" y="150"/>
                  </a:lnTo>
                  <a:lnTo>
                    <a:pt x="551" y="162"/>
                  </a:lnTo>
                  <a:lnTo>
                    <a:pt x="547" y="173"/>
                  </a:lnTo>
                  <a:lnTo>
                    <a:pt x="544" y="185"/>
                  </a:lnTo>
                  <a:lnTo>
                    <a:pt x="541" y="196"/>
                  </a:lnTo>
                  <a:lnTo>
                    <a:pt x="539" y="208"/>
                  </a:lnTo>
                  <a:lnTo>
                    <a:pt x="538" y="221"/>
                  </a:lnTo>
                  <a:lnTo>
                    <a:pt x="537" y="233"/>
                  </a:lnTo>
                  <a:lnTo>
                    <a:pt x="536" y="246"/>
                  </a:lnTo>
                  <a:lnTo>
                    <a:pt x="537" y="257"/>
                  </a:lnTo>
                  <a:lnTo>
                    <a:pt x="537" y="268"/>
                  </a:lnTo>
                  <a:lnTo>
                    <a:pt x="539" y="280"/>
                  </a:lnTo>
                  <a:lnTo>
                    <a:pt x="541" y="290"/>
                  </a:lnTo>
                  <a:lnTo>
                    <a:pt x="546" y="311"/>
                  </a:lnTo>
                  <a:lnTo>
                    <a:pt x="552" y="331"/>
                  </a:lnTo>
                  <a:lnTo>
                    <a:pt x="552" y="333"/>
                  </a:lnTo>
                  <a:lnTo>
                    <a:pt x="553" y="334"/>
                  </a:lnTo>
                  <a:lnTo>
                    <a:pt x="554" y="336"/>
                  </a:lnTo>
                  <a:lnTo>
                    <a:pt x="555" y="339"/>
                  </a:lnTo>
                  <a:lnTo>
                    <a:pt x="557" y="345"/>
                  </a:lnTo>
                  <a:lnTo>
                    <a:pt x="576" y="387"/>
                  </a:lnTo>
                  <a:lnTo>
                    <a:pt x="591" y="431"/>
                  </a:lnTo>
                  <a:lnTo>
                    <a:pt x="605" y="474"/>
                  </a:lnTo>
                  <a:lnTo>
                    <a:pt x="616" y="517"/>
                  </a:lnTo>
                  <a:lnTo>
                    <a:pt x="625" y="561"/>
                  </a:lnTo>
                  <a:lnTo>
                    <a:pt x="632" y="604"/>
                  </a:lnTo>
                  <a:lnTo>
                    <a:pt x="637" y="647"/>
                  </a:lnTo>
                  <a:lnTo>
                    <a:pt x="641" y="690"/>
                  </a:lnTo>
                  <a:lnTo>
                    <a:pt x="642" y="735"/>
                  </a:lnTo>
                  <a:lnTo>
                    <a:pt x="642" y="778"/>
                  </a:lnTo>
                  <a:lnTo>
                    <a:pt x="640" y="822"/>
                  </a:lnTo>
                  <a:lnTo>
                    <a:pt x="637" y="867"/>
                  </a:lnTo>
                  <a:lnTo>
                    <a:pt x="632" y="911"/>
                  </a:lnTo>
                  <a:lnTo>
                    <a:pt x="626" y="956"/>
                  </a:lnTo>
                  <a:lnTo>
                    <a:pt x="618" y="1001"/>
                  </a:lnTo>
                  <a:lnTo>
                    <a:pt x="609" y="1046"/>
                  </a:lnTo>
                  <a:lnTo>
                    <a:pt x="599" y="1091"/>
                  </a:lnTo>
                  <a:lnTo>
                    <a:pt x="588" y="1137"/>
                  </a:lnTo>
                  <a:lnTo>
                    <a:pt x="575" y="1182"/>
                  </a:lnTo>
                  <a:lnTo>
                    <a:pt x="561" y="1228"/>
                  </a:lnTo>
                  <a:lnTo>
                    <a:pt x="546" y="1275"/>
                  </a:lnTo>
                  <a:lnTo>
                    <a:pt x="531" y="1321"/>
                  </a:lnTo>
                  <a:lnTo>
                    <a:pt x="515" y="1367"/>
                  </a:lnTo>
                  <a:lnTo>
                    <a:pt x="498" y="1415"/>
                  </a:lnTo>
                  <a:lnTo>
                    <a:pt x="462" y="1509"/>
                  </a:lnTo>
                  <a:lnTo>
                    <a:pt x="424" y="1605"/>
                  </a:lnTo>
                  <a:lnTo>
                    <a:pt x="383" y="1703"/>
                  </a:lnTo>
                  <a:lnTo>
                    <a:pt x="342" y="1801"/>
                  </a:lnTo>
                  <a:lnTo>
                    <a:pt x="298" y="1906"/>
                  </a:lnTo>
                  <a:lnTo>
                    <a:pt x="254" y="2013"/>
                  </a:lnTo>
                  <a:lnTo>
                    <a:pt x="233" y="2067"/>
                  </a:lnTo>
                  <a:lnTo>
                    <a:pt x="211" y="2122"/>
                  </a:lnTo>
                  <a:lnTo>
                    <a:pt x="190" y="2176"/>
                  </a:lnTo>
                  <a:lnTo>
                    <a:pt x="170" y="2230"/>
                  </a:lnTo>
                  <a:lnTo>
                    <a:pt x="151" y="2286"/>
                  </a:lnTo>
                  <a:lnTo>
                    <a:pt x="132" y="2341"/>
                  </a:lnTo>
                  <a:lnTo>
                    <a:pt x="114" y="2397"/>
                  </a:lnTo>
                  <a:lnTo>
                    <a:pt x="97" y="2452"/>
                  </a:lnTo>
                  <a:lnTo>
                    <a:pt x="81" y="2508"/>
                  </a:lnTo>
                  <a:lnTo>
                    <a:pt x="66" y="2565"/>
                  </a:lnTo>
                  <a:lnTo>
                    <a:pt x="52" y="2621"/>
                  </a:lnTo>
                  <a:lnTo>
                    <a:pt x="40" y="2679"/>
                  </a:lnTo>
                  <a:lnTo>
                    <a:pt x="29" y="2735"/>
                  </a:lnTo>
                  <a:lnTo>
                    <a:pt x="20" y="2792"/>
                  </a:lnTo>
                  <a:lnTo>
                    <a:pt x="12" y="2850"/>
                  </a:lnTo>
                  <a:lnTo>
                    <a:pt x="6" y="2907"/>
                  </a:lnTo>
                  <a:lnTo>
                    <a:pt x="2" y="2966"/>
                  </a:lnTo>
                  <a:lnTo>
                    <a:pt x="0" y="3023"/>
                  </a:lnTo>
                  <a:lnTo>
                    <a:pt x="0" y="3082"/>
                  </a:lnTo>
                  <a:lnTo>
                    <a:pt x="3" y="3140"/>
                  </a:lnTo>
                  <a:lnTo>
                    <a:pt x="7" y="3198"/>
                  </a:lnTo>
                  <a:lnTo>
                    <a:pt x="14" y="3257"/>
                  </a:lnTo>
                  <a:lnTo>
                    <a:pt x="23" y="3315"/>
                  </a:lnTo>
                  <a:lnTo>
                    <a:pt x="35" y="3374"/>
                  </a:lnTo>
                  <a:lnTo>
                    <a:pt x="49" y="3433"/>
                  </a:lnTo>
                  <a:lnTo>
                    <a:pt x="67" y="3491"/>
                  </a:lnTo>
                  <a:lnTo>
                    <a:pt x="87" y="3551"/>
                  </a:lnTo>
                  <a:lnTo>
                    <a:pt x="110" y="3610"/>
                  </a:lnTo>
                  <a:lnTo>
                    <a:pt x="114" y="3620"/>
                  </a:lnTo>
                  <a:lnTo>
                    <a:pt x="118" y="36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49" name="ïšḷïḑè">
              <a:extLst>
                <a:ext uri="{FF2B5EF4-FFF2-40B4-BE49-F238E27FC236}">
                  <a16:creationId xmlns:a16="http://schemas.microsoft.com/office/drawing/2014/main" id="{5F52BE24-E245-4841-AC4F-B70D5B872E36}"/>
                </a:ext>
              </a:extLst>
            </p:cNvPr>
            <p:cNvSpPr/>
            <p:nvPr/>
          </p:nvSpPr>
          <p:spPr bwMode="auto">
            <a:xfrm>
              <a:off x="8224776" y="40235"/>
              <a:ext cx="24571" cy="80848"/>
            </a:xfrm>
            <a:custGeom>
              <a:avLst/>
              <a:gdLst>
                <a:gd name="T0" fmla="*/ 123 w 1136"/>
                <a:gd name="T1" fmla="*/ 3641 h 3777"/>
                <a:gd name="T2" fmla="*/ 162 w 1136"/>
                <a:gd name="T3" fmla="*/ 3696 h 3777"/>
                <a:gd name="T4" fmla="*/ 213 w 1136"/>
                <a:gd name="T5" fmla="*/ 3739 h 3777"/>
                <a:gd name="T6" fmla="*/ 276 w 1136"/>
                <a:gd name="T7" fmla="*/ 3767 h 3777"/>
                <a:gd name="T8" fmla="*/ 346 w 1136"/>
                <a:gd name="T9" fmla="*/ 3777 h 3777"/>
                <a:gd name="T10" fmla="*/ 396 w 1136"/>
                <a:gd name="T11" fmla="*/ 3772 h 3777"/>
                <a:gd name="T12" fmla="*/ 444 w 1136"/>
                <a:gd name="T13" fmla="*/ 3757 h 3777"/>
                <a:gd name="T14" fmla="*/ 487 w 1136"/>
                <a:gd name="T15" fmla="*/ 3734 h 3777"/>
                <a:gd name="T16" fmla="*/ 524 w 1136"/>
                <a:gd name="T17" fmla="*/ 3702 h 3777"/>
                <a:gd name="T18" fmla="*/ 555 w 1136"/>
                <a:gd name="T19" fmla="*/ 3665 h 3777"/>
                <a:gd name="T20" fmla="*/ 578 w 1136"/>
                <a:gd name="T21" fmla="*/ 3622 h 3777"/>
                <a:gd name="T22" fmla="*/ 593 w 1136"/>
                <a:gd name="T23" fmla="*/ 3575 h 3777"/>
                <a:gd name="T24" fmla="*/ 598 w 1136"/>
                <a:gd name="T25" fmla="*/ 3523 h 3777"/>
                <a:gd name="T26" fmla="*/ 589 w 1136"/>
                <a:gd name="T27" fmla="*/ 3461 h 3777"/>
                <a:gd name="T28" fmla="*/ 558 w 1136"/>
                <a:gd name="T29" fmla="*/ 3367 h 3777"/>
                <a:gd name="T30" fmla="*/ 520 w 1136"/>
                <a:gd name="T31" fmla="*/ 3197 h 3777"/>
                <a:gd name="T32" fmla="*/ 510 w 1136"/>
                <a:gd name="T33" fmla="*/ 3023 h 3777"/>
                <a:gd name="T34" fmla="*/ 526 w 1136"/>
                <a:gd name="T35" fmla="*/ 2844 h 3777"/>
                <a:gd name="T36" fmla="*/ 562 w 1136"/>
                <a:gd name="T37" fmla="*/ 2662 h 3777"/>
                <a:gd name="T38" fmla="*/ 616 w 1136"/>
                <a:gd name="T39" fmla="*/ 2476 h 3777"/>
                <a:gd name="T40" fmla="*/ 720 w 1136"/>
                <a:gd name="T41" fmla="*/ 2190 h 3777"/>
                <a:gd name="T42" fmla="*/ 889 w 1136"/>
                <a:gd name="T43" fmla="*/ 1780 h 3777"/>
                <a:gd name="T44" fmla="*/ 973 w 1136"/>
                <a:gd name="T45" fmla="*/ 1558 h 3777"/>
                <a:gd name="T46" fmla="*/ 1046 w 1136"/>
                <a:gd name="T47" fmla="*/ 1334 h 3777"/>
                <a:gd name="T48" fmla="*/ 1100 w 1136"/>
                <a:gd name="T49" fmla="*/ 1104 h 3777"/>
                <a:gd name="T50" fmla="*/ 1132 w 1136"/>
                <a:gd name="T51" fmla="*/ 871 h 3777"/>
                <a:gd name="T52" fmla="*/ 1131 w 1136"/>
                <a:gd name="T53" fmla="*/ 636 h 3777"/>
                <a:gd name="T54" fmla="*/ 1093 w 1136"/>
                <a:gd name="T55" fmla="*/ 398 h 3777"/>
                <a:gd name="T56" fmla="*/ 1012 w 1136"/>
                <a:gd name="T57" fmla="*/ 158 h 3777"/>
                <a:gd name="T58" fmla="*/ 976 w 1136"/>
                <a:gd name="T59" fmla="*/ 95 h 3777"/>
                <a:gd name="T60" fmla="*/ 923 w 1136"/>
                <a:gd name="T61" fmla="*/ 44 h 3777"/>
                <a:gd name="T62" fmla="*/ 858 w 1136"/>
                <a:gd name="T63" fmla="*/ 12 h 3777"/>
                <a:gd name="T64" fmla="*/ 783 w 1136"/>
                <a:gd name="T65" fmla="*/ 0 h 3777"/>
                <a:gd name="T66" fmla="*/ 733 w 1136"/>
                <a:gd name="T67" fmla="*/ 5 h 3777"/>
                <a:gd name="T68" fmla="*/ 687 w 1136"/>
                <a:gd name="T69" fmla="*/ 19 h 3777"/>
                <a:gd name="T70" fmla="*/ 645 w 1136"/>
                <a:gd name="T71" fmla="*/ 42 h 3777"/>
                <a:gd name="T72" fmla="*/ 608 w 1136"/>
                <a:gd name="T73" fmla="*/ 73 h 3777"/>
                <a:gd name="T74" fmla="*/ 578 w 1136"/>
                <a:gd name="T75" fmla="*/ 109 h 3777"/>
                <a:gd name="T76" fmla="*/ 555 w 1136"/>
                <a:gd name="T77" fmla="*/ 151 h 3777"/>
                <a:gd name="T78" fmla="*/ 541 w 1136"/>
                <a:gd name="T79" fmla="*/ 197 h 3777"/>
                <a:gd name="T80" fmla="*/ 536 w 1136"/>
                <a:gd name="T81" fmla="*/ 247 h 3777"/>
                <a:gd name="T82" fmla="*/ 540 w 1136"/>
                <a:gd name="T83" fmla="*/ 291 h 3777"/>
                <a:gd name="T84" fmla="*/ 553 w 1136"/>
                <a:gd name="T85" fmla="*/ 334 h 3777"/>
                <a:gd name="T86" fmla="*/ 574 w 1136"/>
                <a:gd name="T87" fmla="*/ 389 h 3777"/>
                <a:gd name="T88" fmla="*/ 625 w 1136"/>
                <a:gd name="T89" fmla="*/ 561 h 3777"/>
                <a:gd name="T90" fmla="*/ 642 w 1136"/>
                <a:gd name="T91" fmla="*/ 735 h 3777"/>
                <a:gd name="T92" fmla="*/ 632 w 1136"/>
                <a:gd name="T93" fmla="*/ 913 h 3777"/>
                <a:gd name="T94" fmla="*/ 598 w 1136"/>
                <a:gd name="T95" fmla="*/ 1092 h 3777"/>
                <a:gd name="T96" fmla="*/ 546 w 1136"/>
                <a:gd name="T97" fmla="*/ 1275 h 3777"/>
                <a:gd name="T98" fmla="*/ 462 w 1136"/>
                <a:gd name="T99" fmla="*/ 1510 h 3777"/>
                <a:gd name="T100" fmla="*/ 298 w 1136"/>
                <a:gd name="T101" fmla="*/ 1908 h 3777"/>
                <a:gd name="T102" fmla="*/ 190 w 1136"/>
                <a:gd name="T103" fmla="*/ 2177 h 3777"/>
                <a:gd name="T104" fmla="*/ 114 w 1136"/>
                <a:gd name="T105" fmla="*/ 2397 h 3777"/>
                <a:gd name="T106" fmla="*/ 51 w 1136"/>
                <a:gd name="T107" fmla="*/ 2623 h 3777"/>
                <a:gd name="T108" fmla="*/ 12 w 1136"/>
                <a:gd name="T109" fmla="*/ 2850 h 3777"/>
                <a:gd name="T110" fmla="*/ 0 w 1136"/>
                <a:gd name="T111" fmla="*/ 3082 h 3777"/>
                <a:gd name="T112" fmla="*/ 23 w 1136"/>
                <a:gd name="T113" fmla="*/ 3316 h 3777"/>
                <a:gd name="T114" fmla="*/ 86 w 1136"/>
                <a:gd name="T115" fmla="*/ 3551 h 3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36" h="3777">
                  <a:moveTo>
                    <a:pt x="118" y="3632"/>
                  </a:moveTo>
                  <a:lnTo>
                    <a:pt x="120" y="3636"/>
                  </a:lnTo>
                  <a:lnTo>
                    <a:pt x="122" y="3641"/>
                  </a:lnTo>
                  <a:lnTo>
                    <a:pt x="123" y="3641"/>
                  </a:lnTo>
                  <a:lnTo>
                    <a:pt x="132" y="3656"/>
                  </a:lnTo>
                  <a:lnTo>
                    <a:pt x="141" y="3670"/>
                  </a:lnTo>
                  <a:lnTo>
                    <a:pt x="151" y="3683"/>
                  </a:lnTo>
                  <a:lnTo>
                    <a:pt x="162" y="3696"/>
                  </a:lnTo>
                  <a:lnTo>
                    <a:pt x="174" y="3708"/>
                  </a:lnTo>
                  <a:lnTo>
                    <a:pt x="186" y="3720"/>
                  </a:lnTo>
                  <a:lnTo>
                    <a:pt x="200" y="3730"/>
                  </a:lnTo>
                  <a:lnTo>
                    <a:pt x="213" y="3739"/>
                  </a:lnTo>
                  <a:lnTo>
                    <a:pt x="228" y="3748"/>
                  </a:lnTo>
                  <a:lnTo>
                    <a:pt x="243" y="3755"/>
                  </a:lnTo>
                  <a:lnTo>
                    <a:pt x="259" y="3762"/>
                  </a:lnTo>
                  <a:lnTo>
                    <a:pt x="276" y="3767"/>
                  </a:lnTo>
                  <a:lnTo>
                    <a:pt x="293" y="3771"/>
                  </a:lnTo>
                  <a:lnTo>
                    <a:pt x="310" y="3774"/>
                  </a:lnTo>
                  <a:lnTo>
                    <a:pt x="328" y="3776"/>
                  </a:lnTo>
                  <a:lnTo>
                    <a:pt x="346" y="3777"/>
                  </a:lnTo>
                  <a:lnTo>
                    <a:pt x="359" y="3777"/>
                  </a:lnTo>
                  <a:lnTo>
                    <a:pt x="371" y="3776"/>
                  </a:lnTo>
                  <a:lnTo>
                    <a:pt x="384" y="3774"/>
                  </a:lnTo>
                  <a:lnTo>
                    <a:pt x="396" y="3772"/>
                  </a:lnTo>
                  <a:lnTo>
                    <a:pt x="408" y="3769"/>
                  </a:lnTo>
                  <a:lnTo>
                    <a:pt x="420" y="3766"/>
                  </a:lnTo>
                  <a:lnTo>
                    <a:pt x="432" y="3762"/>
                  </a:lnTo>
                  <a:lnTo>
                    <a:pt x="444" y="3757"/>
                  </a:lnTo>
                  <a:lnTo>
                    <a:pt x="456" y="3752"/>
                  </a:lnTo>
                  <a:lnTo>
                    <a:pt x="466" y="3747"/>
                  </a:lnTo>
                  <a:lnTo>
                    <a:pt x="477" y="3740"/>
                  </a:lnTo>
                  <a:lnTo>
                    <a:pt x="487" y="3734"/>
                  </a:lnTo>
                  <a:lnTo>
                    <a:pt x="497" y="3727"/>
                  </a:lnTo>
                  <a:lnTo>
                    <a:pt x="506" y="3719"/>
                  </a:lnTo>
                  <a:lnTo>
                    <a:pt x="516" y="3712"/>
                  </a:lnTo>
                  <a:lnTo>
                    <a:pt x="524" y="3702"/>
                  </a:lnTo>
                  <a:lnTo>
                    <a:pt x="533" y="3693"/>
                  </a:lnTo>
                  <a:lnTo>
                    <a:pt x="541" y="3684"/>
                  </a:lnTo>
                  <a:lnTo>
                    <a:pt x="548" y="3675"/>
                  </a:lnTo>
                  <a:lnTo>
                    <a:pt x="555" y="3665"/>
                  </a:lnTo>
                  <a:lnTo>
                    <a:pt x="562" y="3655"/>
                  </a:lnTo>
                  <a:lnTo>
                    <a:pt x="568" y="3644"/>
                  </a:lnTo>
                  <a:lnTo>
                    <a:pt x="573" y="3633"/>
                  </a:lnTo>
                  <a:lnTo>
                    <a:pt x="578" y="3622"/>
                  </a:lnTo>
                  <a:lnTo>
                    <a:pt x="583" y="3611"/>
                  </a:lnTo>
                  <a:lnTo>
                    <a:pt x="587" y="3599"/>
                  </a:lnTo>
                  <a:lnTo>
                    <a:pt x="590" y="3587"/>
                  </a:lnTo>
                  <a:lnTo>
                    <a:pt x="593" y="3575"/>
                  </a:lnTo>
                  <a:lnTo>
                    <a:pt x="595" y="3562"/>
                  </a:lnTo>
                  <a:lnTo>
                    <a:pt x="597" y="3549"/>
                  </a:lnTo>
                  <a:lnTo>
                    <a:pt x="598" y="3536"/>
                  </a:lnTo>
                  <a:lnTo>
                    <a:pt x="598" y="3523"/>
                  </a:lnTo>
                  <a:lnTo>
                    <a:pt x="597" y="3507"/>
                  </a:lnTo>
                  <a:lnTo>
                    <a:pt x="595" y="3492"/>
                  </a:lnTo>
                  <a:lnTo>
                    <a:pt x="593" y="3476"/>
                  </a:lnTo>
                  <a:lnTo>
                    <a:pt x="589" y="3461"/>
                  </a:lnTo>
                  <a:lnTo>
                    <a:pt x="590" y="3456"/>
                  </a:lnTo>
                  <a:lnTo>
                    <a:pt x="589" y="3451"/>
                  </a:lnTo>
                  <a:lnTo>
                    <a:pt x="572" y="3409"/>
                  </a:lnTo>
                  <a:lnTo>
                    <a:pt x="558" y="3367"/>
                  </a:lnTo>
                  <a:lnTo>
                    <a:pt x="545" y="3325"/>
                  </a:lnTo>
                  <a:lnTo>
                    <a:pt x="535" y="3282"/>
                  </a:lnTo>
                  <a:lnTo>
                    <a:pt x="526" y="3240"/>
                  </a:lnTo>
                  <a:lnTo>
                    <a:pt x="520" y="3197"/>
                  </a:lnTo>
                  <a:lnTo>
                    <a:pt x="515" y="3154"/>
                  </a:lnTo>
                  <a:lnTo>
                    <a:pt x="512" y="3110"/>
                  </a:lnTo>
                  <a:lnTo>
                    <a:pt x="510" y="3066"/>
                  </a:lnTo>
                  <a:lnTo>
                    <a:pt x="510" y="3023"/>
                  </a:lnTo>
                  <a:lnTo>
                    <a:pt x="512" y="2978"/>
                  </a:lnTo>
                  <a:lnTo>
                    <a:pt x="515" y="2934"/>
                  </a:lnTo>
                  <a:lnTo>
                    <a:pt x="520" y="2889"/>
                  </a:lnTo>
                  <a:lnTo>
                    <a:pt x="526" y="2844"/>
                  </a:lnTo>
                  <a:lnTo>
                    <a:pt x="533" y="2799"/>
                  </a:lnTo>
                  <a:lnTo>
                    <a:pt x="541" y="2753"/>
                  </a:lnTo>
                  <a:lnTo>
                    <a:pt x="551" y="2707"/>
                  </a:lnTo>
                  <a:lnTo>
                    <a:pt x="562" y="2662"/>
                  </a:lnTo>
                  <a:lnTo>
                    <a:pt x="574" y="2616"/>
                  </a:lnTo>
                  <a:lnTo>
                    <a:pt x="586" y="2569"/>
                  </a:lnTo>
                  <a:lnTo>
                    <a:pt x="600" y="2522"/>
                  </a:lnTo>
                  <a:lnTo>
                    <a:pt x="616" y="2476"/>
                  </a:lnTo>
                  <a:lnTo>
                    <a:pt x="632" y="2428"/>
                  </a:lnTo>
                  <a:lnTo>
                    <a:pt x="648" y="2381"/>
                  </a:lnTo>
                  <a:lnTo>
                    <a:pt x="683" y="2286"/>
                  </a:lnTo>
                  <a:lnTo>
                    <a:pt x="720" y="2190"/>
                  </a:lnTo>
                  <a:lnTo>
                    <a:pt x="759" y="2093"/>
                  </a:lnTo>
                  <a:lnTo>
                    <a:pt x="800" y="1995"/>
                  </a:lnTo>
                  <a:lnTo>
                    <a:pt x="845" y="1887"/>
                  </a:lnTo>
                  <a:lnTo>
                    <a:pt x="889" y="1780"/>
                  </a:lnTo>
                  <a:lnTo>
                    <a:pt x="910" y="1724"/>
                  </a:lnTo>
                  <a:lnTo>
                    <a:pt x="932" y="1670"/>
                  </a:lnTo>
                  <a:lnTo>
                    <a:pt x="953" y="1615"/>
                  </a:lnTo>
                  <a:lnTo>
                    <a:pt x="973" y="1558"/>
                  </a:lnTo>
                  <a:lnTo>
                    <a:pt x="993" y="1503"/>
                  </a:lnTo>
                  <a:lnTo>
                    <a:pt x="1011" y="1446"/>
                  </a:lnTo>
                  <a:lnTo>
                    <a:pt x="1029" y="1390"/>
                  </a:lnTo>
                  <a:lnTo>
                    <a:pt x="1046" y="1334"/>
                  </a:lnTo>
                  <a:lnTo>
                    <a:pt x="1061" y="1276"/>
                  </a:lnTo>
                  <a:lnTo>
                    <a:pt x="1076" y="1219"/>
                  </a:lnTo>
                  <a:lnTo>
                    <a:pt x="1089" y="1161"/>
                  </a:lnTo>
                  <a:lnTo>
                    <a:pt x="1100" y="1104"/>
                  </a:lnTo>
                  <a:lnTo>
                    <a:pt x="1110" y="1045"/>
                  </a:lnTo>
                  <a:lnTo>
                    <a:pt x="1119" y="988"/>
                  </a:lnTo>
                  <a:lnTo>
                    <a:pt x="1127" y="930"/>
                  </a:lnTo>
                  <a:lnTo>
                    <a:pt x="1132" y="871"/>
                  </a:lnTo>
                  <a:lnTo>
                    <a:pt x="1135" y="813"/>
                  </a:lnTo>
                  <a:lnTo>
                    <a:pt x="1136" y="753"/>
                  </a:lnTo>
                  <a:lnTo>
                    <a:pt x="1135" y="695"/>
                  </a:lnTo>
                  <a:lnTo>
                    <a:pt x="1131" y="636"/>
                  </a:lnTo>
                  <a:lnTo>
                    <a:pt x="1126" y="576"/>
                  </a:lnTo>
                  <a:lnTo>
                    <a:pt x="1117" y="517"/>
                  </a:lnTo>
                  <a:lnTo>
                    <a:pt x="1106" y="457"/>
                  </a:lnTo>
                  <a:lnTo>
                    <a:pt x="1093" y="398"/>
                  </a:lnTo>
                  <a:lnTo>
                    <a:pt x="1077" y="337"/>
                  </a:lnTo>
                  <a:lnTo>
                    <a:pt x="1058" y="278"/>
                  </a:lnTo>
                  <a:lnTo>
                    <a:pt x="1037" y="219"/>
                  </a:lnTo>
                  <a:lnTo>
                    <a:pt x="1012" y="158"/>
                  </a:lnTo>
                  <a:lnTo>
                    <a:pt x="1005" y="141"/>
                  </a:lnTo>
                  <a:lnTo>
                    <a:pt x="996" y="125"/>
                  </a:lnTo>
                  <a:lnTo>
                    <a:pt x="987" y="109"/>
                  </a:lnTo>
                  <a:lnTo>
                    <a:pt x="976" y="95"/>
                  </a:lnTo>
                  <a:lnTo>
                    <a:pt x="965" y="81"/>
                  </a:lnTo>
                  <a:lnTo>
                    <a:pt x="952" y="67"/>
                  </a:lnTo>
                  <a:lnTo>
                    <a:pt x="937" y="55"/>
                  </a:lnTo>
                  <a:lnTo>
                    <a:pt x="923" y="44"/>
                  </a:lnTo>
                  <a:lnTo>
                    <a:pt x="908" y="34"/>
                  </a:lnTo>
                  <a:lnTo>
                    <a:pt x="892" y="25"/>
                  </a:lnTo>
                  <a:lnTo>
                    <a:pt x="875" y="18"/>
                  </a:lnTo>
                  <a:lnTo>
                    <a:pt x="858" y="12"/>
                  </a:lnTo>
                  <a:lnTo>
                    <a:pt x="840" y="7"/>
                  </a:lnTo>
                  <a:lnTo>
                    <a:pt x="821" y="3"/>
                  </a:lnTo>
                  <a:lnTo>
                    <a:pt x="802" y="1"/>
                  </a:lnTo>
                  <a:lnTo>
                    <a:pt x="783" y="0"/>
                  </a:lnTo>
                  <a:lnTo>
                    <a:pt x="769" y="0"/>
                  </a:lnTo>
                  <a:lnTo>
                    <a:pt x="757" y="1"/>
                  </a:lnTo>
                  <a:lnTo>
                    <a:pt x="745" y="3"/>
                  </a:lnTo>
                  <a:lnTo>
                    <a:pt x="733" y="5"/>
                  </a:lnTo>
                  <a:lnTo>
                    <a:pt x="721" y="8"/>
                  </a:lnTo>
                  <a:lnTo>
                    <a:pt x="709" y="11"/>
                  </a:lnTo>
                  <a:lnTo>
                    <a:pt x="698" y="15"/>
                  </a:lnTo>
                  <a:lnTo>
                    <a:pt x="687" y="19"/>
                  </a:lnTo>
                  <a:lnTo>
                    <a:pt x="676" y="24"/>
                  </a:lnTo>
                  <a:lnTo>
                    <a:pt x="665" y="30"/>
                  </a:lnTo>
                  <a:lnTo>
                    <a:pt x="655" y="36"/>
                  </a:lnTo>
                  <a:lnTo>
                    <a:pt x="645" y="42"/>
                  </a:lnTo>
                  <a:lnTo>
                    <a:pt x="636" y="49"/>
                  </a:lnTo>
                  <a:lnTo>
                    <a:pt x="626" y="56"/>
                  </a:lnTo>
                  <a:lnTo>
                    <a:pt x="618" y="64"/>
                  </a:lnTo>
                  <a:lnTo>
                    <a:pt x="608" y="73"/>
                  </a:lnTo>
                  <a:lnTo>
                    <a:pt x="600" y="81"/>
                  </a:lnTo>
                  <a:lnTo>
                    <a:pt x="592" y="90"/>
                  </a:lnTo>
                  <a:lnTo>
                    <a:pt x="585" y="100"/>
                  </a:lnTo>
                  <a:lnTo>
                    <a:pt x="578" y="109"/>
                  </a:lnTo>
                  <a:lnTo>
                    <a:pt x="572" y="119"/>
                  </a:lnTo>
                  <a:lnTo>
                    <a:pt x="566" y="129"/>
                  </a:lnTo>
                  <a:lnTo>
                    <a:pt x="560" y="140"/>
                  </a:lnTo>
                  <a:lnTo>
                    <a:pt x="555" y="151"/>
                  </a:lnTo>
                  <a:lnTo>
                    <a:pt x="551" y="162"/>
                  </a:lnTo>
                  <a:lnTo>
                    <a:pt x="547" y="173"/>
                  </a:lnTo>
                  <a:lnTo>
                    <a:pt x="544" y="185"/>
                  </a:lnTo>
                  <a:lnTo>
                    <a:pt x="541" y="197"/>
                  </a:lnTo>
                  <a:lnTo>
                    <a:pt x="539" y="209"/>
                  </a:lnTo>
                  <a:lnTo>
                    <a:pt x="537" y="222"/>
                  </a:lnTo>
                  <a:lnTo>
                    <a:pt x="537" y="234"/>
                  </a:lnTo>
                  <a:lnTo>
                    <a:pt x="536" y="247"/>
                  </a:lnTo>
                  <a:lnTo>
                    <a:pt x="536" y="258"/>
                  </a:lnTo>
                  <a:lnTo>
                    <a:pt x="537" y="269"/>
                  </a:lnTo>
                  <a:lnTo>
                    <a:pt x="539" y="280"/>
                  </a:lnTo>
                  <a:lnTo>
                    <a:pt x="540" y="291"/>
                  </a:lnTo>
                  <a:lnTo>
                    <a:pt x="545" y="312"/>
                  </a:lnTo>
                  <a:lnTo>
                    <a:pt x="552" y="332"/>
                  </a:lnTo>
                  <a:lnTo>
                    <a:pt x="552" y="333"/>
                  </a:lnTo>
                  <a:lnTo>
                    <a:pt x="553" y="334"/>
                  </a:lnTo>
                  <a:lnTo>
                    <a:pt x="553" y="337"/>
                  </a:lnTo>
                  <a:lnTo>
                    <a:pt x="555" y="339"/>
                  </a:lnTo>
                  <a:lnTo>
                    <a:pt x="557" y="345"/>
                  </a:lnTo>
                  <a:lnTo>
                    <a:pt x="574" y="389"/>
                  </a:lnTo>
                  <a:lnTo>
                    <a:pt x="590" y="431"/>
                  </a:lnTo>
                  <a:lnTo>
                    <a:pt x="603" y="474"/>
                  </a:lnTo>
                  <a:lnTo>
                    <a:pt x="615" y="518"/>
                  </a:lnTo>
                  <a:lnTo>
                    <a:pt x="625" y="561"/>
                  </a:lnTo>
                  <a:lnTo>
                    <a:pt x="632" y="604"/>
                  </a:lnTo>
                  <a:lnTo>
                    <a:pt x="637" y="648"/>
                  </a:lnTo>
                  <a:lnTo>
                    <a:pt x="640" y="692"/>
                  </a:lnTo>
                  <a:lnTo>
                    <a:pt x="642" y="735"/>
                  </a:lnTo>
                  <a:lnTo>
                    <a:pt x="642" y="780"/>
                  </a:lnTo>
                  <a:lnTo>
                    <a:pt x="640" y="824"/>
                  </a:lnTo>
                  <a:lnTo>
                    <a:pt x="637" y="868"/>
                  </a:lnTo>
                  <a:lnTo>
                    <a:pt x="632" y="913"/>
                  </a:lnTo>
                  <a:lnTo>
                    <a:pt x="626" y="957"/>
                  </a:lnTo>
                  <a:lnTo>
                    <a:pt x="618" y="1001"/>
                  </a:lnTo>
                  <a:lnTo>
                    <a:pt x="608" y="1046"/>
                  </a:lnTo>
                  <a:lnTo>
                    <a:pt x="598" y="1092"/>
                  </a:lnTo>
                  <a:lnTo>
                    <a:pt x="586" y="1137"/>
                  </a:lnTo>
                  <a:lnTo>
                    <a:pt x="574" y="1183"/>
                  </a:lnTo>
                  <a:lnTo>
                    <a:pt x="561" y="1229"/>
                  </a:lnTo>
                  <a:lnTo>
                    <a:pt x="546" y="1275"/>
                  </a:lnTo>
                  <a:lnTo>
                    <a:pt x="531" y="1321"/>
                  </a:lnTo>
                  <a:lnTo>
                    <a:pt x="514" y="1368"/>
                  </a:lnTo>
                  <a:lnTo>
                    <a:pt x="498" y="1415"/>
                  </a:lnTo>
                  <a:lnTo>
                    <a:pt x="462" y="1510"/>
                  </a:lnTo>
                  <a:lnTo>
                    <a:pt x="422" y="1605"/>
                  </a:lnTo>
                  <a:lnTo>
                    <a:pt x="383" y="1703"/>
                  </a:lnTo>
                  <a:lnTo>
                    <a:pt x="342" y="1802"/>
                  </a:lnTo>
                  <a:lnTo>
                    <a:pt x="298" y="1908"/>
                  </a:lnTo>
                  <a:lnTo>
                    <a:pt x="253" y="2014"/>
                  </a:lnTo>
                  <a:lnTo>
                    <a:pt x="232" y="2068"/>
                  </a:lnTo>
                  <a:lnTo>
                    <a:pt x="211" y="2122"/>
                  </a:lnTo>
                  <a:lnTo>
                    <a:pt x="190" y="2177"/>
                  </a:lnTo>
                  <a:lnTo>
                    <a:pt x="170" y="2232"/>
                  </a:lnTo>
                  <a:lnTo>
                    <a:pt x="150" y="2286"/>
                  </a:lnTo>
                  <a:lnTo>
                    <a:pt x="131" y="2342"/>
                  </a:lnTo>
                  <a:lnTo>
                    <a:pt x="114" y="2397"/>
                  </a:lnTo>
                  <a:lnTo>
                    <a:pt x="96" y="2454"/>
                  </a:lnTo>
                  <a:lnTo>
                    <a:pt x="80" y="2510"/>
                  </a:lnTo>
                  <a:lnTo>
                    <a:pt x="65" y="2565"/>
                  </a:lnTo>
                  <a:lnTo>
                    <a:pt x="51" y="2623"/>
                  </a:lnTo>
                  <a:lnTo>
                    <a:pt x="39" y="2679"/>
                  </a:lnTo>
                  <a:lnTo>
                    <a:pt x="29" y="2737"/>
                  </a:lnTo>
                  <a:lnTo>
                    <a:pt x="19" y="2793"/>
                  </a:lnTo>
                  <a:lnTo>
                    <a:pt x="12" y="2850"/>
                  </a:lnTo>
                  <a:lnTo>
                    <a:pt x="6" y="2909"/>
                  </a:lnTo>
                  <a:lnTo>
                    <a:pt x="2" y="2966"/>
                  </a:lnTo>
                  <a:lnTo>
                    <a:pt x="0" y="3025"/>
                  </a:lnTo>
                  <a:lnTo>
                    <a:pt x="0" y="3082"/>
                  </a:lnTo>
                  <a:lnTo>
                    <a:pt x="2" y="3140"/>
                  </a:lnTo>
                  <a:lnTo>
                    <a:pt x="7" y="3199"/>
                  </a:lnTo>
                  <a:lnTo>
                    <a:pt x="13" y="3257"/>
                  </a:lnTo>
                  <a:lnTo>
                    <a:pt x="23" y="3316"/>
                  </a:lnTo>
                  <a:lnTo>
                    <a:pt x="34" y="3375"/>
                  </a:lnTo>
                  <a:lnTo>
                    <a:pt x="49" y="3434"/>
                  </a:lnTo>
                  <a:lnTo>
                    <a:pt x="66" y="3493"/>
                  </a:lnTo>
                  <a:lnTo>
                    <a:pt x="86" y="3551"/>
                  </a:lnTo>
                  <a:lnTo>
                    <a:pt x="110" y="3611"/>
                  </a:lnTo>
                  <a:lnTo>
                    <a:pt x="114" y="3622"/>
                  </a:lnTo>
                  <a:lnTo>
                    <a:pt x="118" y="36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50" name="ïšlîḋé">
              <a:extLst>
                <a:ext uri="{FF2B5EF4-FFF2-40B4-BE49-F238E27FC236}">
                  <a16:creationId xmlns:a16="http://schemas.microsoft.com/office/drawing/2014/main" id="{7E8ABF19-EC58-4E4D-B79C-9C54FB150EDB}"/>
                </a:ext>
              </a:extLst>
            </p:cNvPr>
            <p:cNvSpPr/>
            <p:nvPr/>
          </p:nvSpPr>
          <p:spPr bwMode="auto">
            <a:xfrm>
              <a:off x="8503694" y="45036"/>
              <a:ext cx="238394" cy="347625"/>
            </a:xfrm>
            <a:custGeom>
              <a:avLst/>
              <a:gdLst>
                <a:gd name="T0" fmla="*/ 9581 w 11062"/>
                <a:gd name="T1" fmla="*/ 13339 h 16132"/>
                <a:gd name="T2" fmla="*/ 8775 w 11062"/>
                <a:gd name="T3" fmla="*/ 14325 h 16132"/>
                <a:gd name="T4" fmla="*/ 6999 w 11062"/>
                <a:gd name="T5" fmla="*/ 14980 h 16132"/>
                <a:gd name="T6" fmla="*/ 4346 w 11062"/>
                <a:gd name="T7" fmla="*/ 15077 h 16132"/>
                <a:gd name="T8" fmla="*/ 2649 w 11062"/>
                <a:gd name="T9" fmla="*/ 14454 h 16132"/>
                <a:gd name="T10" fmla="*/ 1519 w 11062"/>
                <a:gd name="T11" fmla="*/ 13302 h 16132"/>
                <a:gd name="T12" fmla="*/ 1023 w 11062"/>
                <a:gd name="T13" fmla="*/ 11870 h 16132"/>
                <a:gd name="T14" fmla="*/ 1038 w 11062"/>
                <a:gd name="T15" fmla="*/ 10686 h 16132"/>
                <a:gd name="T16" fmla="*/ 1161 w 11062"/>
                <a:gd name="T17" fmla="*/ 9659 h 16132"/>
                <a:gd name="T18" fmla="*/ 1368 w 11062"/>
                <a:gd name="T19" fmla="*/ 8565 h 16132"/>
                <a:gd name="T20" fmla="*/ 1751 w 11062"/>
                <a:gd name="T21" fmla="*/ 6782 h 16132"/>
                <a:gd name="T22" fmla="*/ 1969 w 11062"/>
                <a:gd name="T23" fmla="*/ 5444 h 16132"/>
                <a:gd name="T24" fmla="*/ 2066 w 11062"/>
                <a:gd name="T25" fmla="*/ 3973 h 16132"/>
                <a:gd name="T26" fmla="*/ 2442 w 11062"/>
                <a:gd name="T27" fmla="*/ 3510 h 16132"/>
                <a:gd name="T28" fmla="*/ 3378 w 11062"/>
                <a:gd name="T29" fmla="*/ 5418 h 16132"/>
                <a:gd name="T30" fmla="*/ 3921 w 11062"/>
                <a:gd name="T31" fmla="*/ 7026 h 16132"/>
                <a:gd name="T32" fmla="*/ 4134 w 11062"/>
                <a:gd name="T33" fmla="*/ 7893 h 16132"/>
                <a:gd name="T34" fmla="*/ 4981 w 11062"/>
                <a:gd name="T35" fmla="*/ 6640 h 16132"/>
                <a:gd name="T36" fmla="*/ 5652 w 11062"/>
                <a:gd name="T37" fmla="*/ 5541 h 16132"/>
                <a:gd name="T38" fmla="*/ 6048 w 11062"/>
                <a:gd name="T39" fmla="*/ 5124 h 16132"/>
                <a:gd name="T40" fmla="*/ 6276 w 11062"/>
                <a:gd name="T41" fmla="*/ 6127 h 16132"/>
                <a:gd name="T42" fmla="*/ 6449 w 11062"/>
                <a:gd name="T43" fmla="*/ 7550 h 16132"/>
                <a:gd name="T44" fmla="*/ 6532 w 11062"/>
                <a:gd name="T45" fmla="*/ 9200 h 16132"/>
                <a:gd name="T46" fmla="*/ 6940 w 11062"/>
                <a:gd name="T47" fmla="*/ 9209 h 16132"/>
                <a:gd name="T48" fmla="*/ 7692 w 11062"/>
                <a:gd name="T49" fmla="*/ 8420 h 16132"/>
                <a:gd name="T50" fmla="*/ 8583 w 11062"/>
                <a:gd name="T51" fmla="*/ 7268 h 16132"/>
                <a:gd name="T52" fmla="*/ 9393 w 11062"/>
                <a:gd name="T53" fmla="*/ 7890 h 16132"/>
                <a:gd name="T54" fmla="*/ 9897 w 11062"/>
                <a:gd name="T55" fmla="*/ 9499 h 16132"/>
                <a:gd name="T56" fmla="*/ 10055 w 11062"/>
                <a:gd name="T57" fmla="*/ 11059 h 16132"/>
                <a:gd name="T58" fmla="*/ 8546 w 11062"/>
                <a:gd name="T59" fmla="*/ 4537 h 16132"/>
                <a:gd name="T60" fmla="*/ 8332 w 11062"/>
                <a:gd name="T61" fmla="*/ 5604 h 16132"/>
                <a:gd name="T62" fmla="*/ 7919 w 11062"/>
                <a:gd name="T63" fmla="*/ 6448 h 16132"/>
                <a:gd name="T64" fmla="*/ 7572 w 11062"/>
                <a:gd name="T65" fmla="*/ 6944 h 16132"/>
                <a:gd name="T66" fmla="*/ 7322 w 11062"/>
                <a:gd name="T67" fmla="*/ 5677 h 16132"/>
                <a:gd name="T68" fmla="*/ 6610 w 11062"/>
                <a:gd name="T69" fmla="*/ 3988 h 16132"/>
                <a:gd name="T70" fmla="*/ 5839 w 11062"/>
                <a:gd name="T71" fmla="*/ 2871 h 16132"/>
                <a:gd name="T72" fmla="*/ 5524 w 11062"/>
                <a:gd name="T73" fmla="*/ 2624 h 16132"/>
                <a:gd name="T74" fmla="*/ 5435 w 11062"/>
                <a:gd name="T75" fmla="*/ 3254 h 16132"/>
                <a:gd name="T76" fmla="*/ 5137 w 11062"/>
                <a:gd name="T77" fmla="*/ 4285 h 16132"/>
                <a:gd name="T78" fmla="*/ 4503 w 11062"/>
                <a:gd name="T79" fmla="*/ 5519 h 16132"/>
                <a:gd name="T80" fmla="*/ 3295 w 11062"/>
                <a:gd name="T81" fmla="*/ 2924 h 16132"/>
                <a:gd name="T82" fmla="*/ 1805 w 11062"/>
                <a:gd name="T83" fmla="*/ 1110 h 16132"/>
                <a:gd name="T84" fmla="*/ 701 w 11062"/>
                <a:gd name="T85" fmla="*/ 145 h 16132"/>
                <a:gd name="T86" fmla="*/ 1011 w 11062"/>
                <a:gd name="T87" fmla="*/ 2771 h 16132"/>
                <a:gd name="T88" fmla="*/ 870 w 11062"/>
                <a:gd name="T89" fmla="*/ 6014 h 16132"/>
                <a:gd name="T90" fmla="*/ 290 w 11062"/>
                <a:gd name="T91" fmla="*/ 8820 h 16132"/>
                <a:gd name="T92" fmla="*/ 6 w 11062"/>
                <a:gd name="T93" fmla="*/ 11760 h 16132"/>
                <a:gd name="T94" fmla="*/ 554 w 11062"/>
                <a:gd name="T95" fmla="*/ 13649 h 16132"/>
                <a:gd name="T96" fmla="*/ 1906 w 11062"/>
                <a:gd name="T97" fmla="*/ 15167 h 16132"/>
                <a:gd name="T98" fmla="*/ 3939 w 11062"/>
                <a:gd name="T99" fmla="*/ 16031 h 16132"/>
                <a:gd name="T100" fmla="*/ 6884 w 11062"/>
                <a:gd name="T101" fmla="*/ 16016 h 16132"/>
                <a:gd name="T102" fmla="*/ 9121 w 11062"/>
                <a:gd name="T103" fmla="*/ 15301 h 16132"/>
                <a:gd name="T104" fmla="*/ 10305 w 11062"/>
                <a:gd name="T105" fmla="*/ 14100 h 16132"/>
                <a:gd name="T106" fmla="*/ 10866 w 11062"/>
                <a:gd name="T107" fmla="*/ 12606 h 16132"/>
                <a:gd name="T108" fmla="*/ 11039 w 11062"/>
                <a:gd name="T109" fmla="*/ 10358 h 16132"/>
                <a:gd name="T110" fmla="*/ 10527 w 11062"/>
                <a:gd name="T111" fmla="*/ 8031 h 16132"/>
                <a:gd name="T112" fmla="*/ 9405 w 11062"/>
                <a:gd name="T113" fmla="*/ 5745 h 16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062" h="16132">
                  <a:moveTo>
                    <a:pt x="9891" y="12362"/>
                  </a:moveTo>
                  <a:lnTo>
                    <a:pt x="9860" y="12483"/>
                  </a:lnTo>
                  <a:lnTo>
                    <a:pt x="9829" y="12606"/>
                  </a:lnTo>
                  <a:lnTo>
                    <a:pt x="9795" y="12729"/>
                  </a:lnTo>
                  <a:lnTo>
                    <a:pt x="9760" y="12852"/>
                  </a:lnTo>
                  <a:lnTo>
                    <a:pt x="9722" y="12975"/>
                  </a:lnTo>
                  <a:lnTo>
                    <a:pt x="9680" y="13097"/>
                  </a:lnTo>
                  <a:lnTo>
                    <a:pt x="9634" y="13219"/>
                  </a:lnTo>
                  <a:lnTo>
                    <a:pt x="9581" y="13339"/>
                  </a:lnTo>
                  <a:lnTo>
                    <a:pt x="9524" y="13458"/>
                  </a:lnTo>
                  <a:lnTo>
                    <a:pt x="9461" y="13576"/>
                  </a:lnTo>
                  <a:lnTo>
                    <a:pt x="9389" y="13691"/>
                  </a:lnTo>
                  <a:lnTo>
                    <a:pt x="9311" y="13805"/>
                  </a:lnTo>
                  <a:lnTo>
                    <a:pt x="9223" y="13915"/>
                  </a:lnTo>
                  <a:lnTo>
                    <a:pt x="9127" y="14023"/>
                  </a:lnTo>
                  <a:lnTo>
                    <a:pt x="9020" y="14128"/>
                  </a:lnTo>
                  <a:lnTo>
                    <a:pt x="8904" y="14228"/>
                  </a:lnTo>
                  <a:lnTo>
                    <a:pt x="8775" y="14325"/>
                  </a:lnTo>
                  <a:lnTo>
                    <a:pt x="8635" y="14419"/>
                  </a:lnTo>
                  <a:lnTo>
                    <a:pt x="8482" y="14508"/>
                  </a:lnTo>
                  <a:lnTo>
                    <a:pt x="8316" y="14591"/>
                  </a:lnTo>
                  <a:lnTo>
                    <a:pt x="8136" y="14670"/>
                  </a:lnTo>
                  <a:lnTo>
                    <a:pt x="7941" y="14744"/>
                  </a:lnTo>
                  <a:lnTo>
                    <a:pt x="7730" y="14812"/>
                  </a:lnTo>
                  <a:lnTo>
                    <a:pt x="7503" y="14875"/>
                  </a:lnTo>
                  <a:lnTo>
                    <a:pt x="7260" y="14930"/>
                  </a:lnTo>
                  <a:lnTo>
                    <a:pt x="6999" y="14980"/>
                  </a:lnTo>
                  <a:lnTo>
                    <a:pt x="6719" y="15023"/>
                  </a:lnTo>
                  <a:lnTo>
                    <a:pt x="6422" y="15058"/>
                  </a:lnTo>
                  <a:lnTo>
                    <a:pt x="6104" y="15086"/>
                  </a:lnTo>
                  <a:lnTo>
                    <a:pt x="5766" y="15107"/>
                  </a:lnTo>
                  <a:lnTo>
                    <a:pt x="5407" y="15120"/>
                  </a:lnTo>
                  <a:lnTo>
                    <a:pt x="5027" y="15124"/>
                  </a:lnTo>
                  <a:lnTo>
                    <a:pt x="4794" y="15119"/>
                  </a:lnTo>
                  <a:lnTo>
                    <a:pt x="4567" y="15103"/>
                  </a:lnTo>
                  <a:lnTo>
                    <a:pt x="4346" y="15077"/>
                  </a:lnTo>
                  <a:lnTo>
                    <a:pt x="4132" y="15042"/>
                  </a:lnTo>
                  <a:lnTo>
                    <a:pt x="3924" y="14998"/>
                  </a:lnTo>
                  <a:lnTo>
                    <a:pt x="3722" y="14944"/>
                  </a:lnTo>
                  <a:lnTo>
                    <a:pt x="3525" y="14882"/>
                  </a:lnTo>
                  <a:lnTo>
                    <a:pt x="3336" y="14811"/>
                  </a:lnTo>
                  <a:lnTo>
                    <a:pt x="3155" y="14734"/>
                  </a:lnTo>
                  <a:lnTo>
                    <a:pt x="2979" y="14648"/>
                  </a:lnTo>
                  <a:lnTo>
                    <a:pt x="2811" y="14554"/>
                  </a:lnTo>
                  <a:lnTo>
                    <a:pt x="2649" y="14454"/>
                  </a:lnTo>
                  <a:lnTo>
                    <a:pt x="2494" y="14347"/>
                  </a:lnTo>
                  <a:lnTo>
                    <a:pt x="2346" y="14235"/>
                  </a:lnTo>
                  <a:lnTo>
                    <a:pt x="2206" y="14117"/>
                  </a:lnTo>
                  <a:lnTo>
                    <a:pt x="2073" y="13992"/>
                  </a:lnTo>
                  <a:lnTo>
                    <a:pt x="1946" y="13863"/>
                  </a:lnTo>
                  <a:lnTo>
                    <a:pt x="1829" y="13729"/>
                  </a:lnTo>
                  <a:lnTo>
                    <a:pt x="1718" y="13590"/>
                  </a:lnTo>
                  <a:lnTo>
                    <a:pt x="1614" y="13448"/>
                  </a:lnTo>
                  <a:lnTo>
                    <a:pt x="1519" y="13302"/>
                  </a:lnTo>
                  <a:lnTo>
                    <a:pt x="1432" y="13152"/>
                  </a:lnTo>
                  <a:lnTo>
                    <a:pt x="1352" y="12998"/>
                  </a:lnTo>
                  <a:lnTo>
                    <a:pt x="1280" y="12843"/>
                  </a:lnTo>
                  <a:lnTo>
                    <a:pt x="1216" y="12685"/>
                  </a:lnTo>
                  <a:lnTo>
                    <a:pt x="1161" y="12524"/>
                  </a:lnTo>
                  <a:lnTo>
                    <a:pt x="1114" y="12363"/>
                  </a:lnTo>
                  <a:lnTo>
                    <a:pt x="1076" y="12200"/>
                  </a:lnTo>
                  <a:lnTo>
                    <a:pt x="1045" y="12035"/>
                  </a:lnTo>
                  <a:lnTo>
                    <a:pt x="1023" y="11870"/>
                  </a:lnTo>
                  <a:lnTo>
                    <a:pt x="1010" y="11706"/>
                  </a:lnTo>
                  <a:lnTo>
                    <a:pt x="1006" y="11540"/>
                  </a:lnTo>
                  <a:lnTo>
                    <a:pt x="1006" y="11414"/>
                  </a:lnTo>
                  <a:lnTo>
                    <a:pt x="1008" y="11289"/>
                  </a:lnTo>
                  <a:lnTo>
                    <a:pt x="1012" y="11166"/>
                  </a:lnTo>
                  <a:lnTo>
                    <a:pt x="1017" y="11044"/>
                  </a:lnTo>
                  <a:lnTo>
                    <a:pt x="1023" y="10924"/>
                  </a:lnTo>
                  <a:lnTo>
                    <a:pt x="1030" y="10804"/>
                  </a:lnTo>
                  <a:lnTo>
                    <a:pt x="1038" y="10686"/>
                  </a:lnTo>
                  <a:lnTo>
                    <a:pt x="1048" y="10568"/>
                  </a:lnTo>
                  <a:lnTo>
                    <a:pt x="1059" y="10453"/>
                  </a:lnTo>
                  <a:lnTo>
                    <a:pt x="1071" y="10337"/>
                  </a:lnTo>
                  <a:lnTo>
                    <a:pt x="1084" y="10222"/>
                  </a:lnTo>
                  <a:lnTo>
                    <a:pt x="1097" y="10108"/>
                  </a:lnTo>
                  <a:lnTo>
                    <a:pt x="1112" y="9995"/>
                  </a:lnTo>
                  <a:lnTo>
                    <a:pt x="1128" y="9883"/>
                  </a:lnTo>
                  <a:lnTo>
                    <a:pt x="1144" y="9771"/>
                  </a:lnTo>
                  <a:lnTo>
                    <a:pt x="1161" y="9659"/>
                  </a:lnTo>
                  <a:lnTo>
                    <a:pt x="1179" y="9548"/>
                  </a:lnTo>
                  <a:lnTo>
                    <a:pt x="1197" y="9438"/>
                  </a:lnTo>
                  <a:lnTo>
                    <a:pt x="1217" y="9328"/>
                  </a:lnTo>
                  <a:lnTo>
                    <a:pt x="1237" y="9218"/>
                  </a:lnTo>
                  <a:lnTo>
                    <a:pt x="1258" y="9110"/>
                  </a:lnTo>
                  <a:lnTo>
                    <a:pt x="1279" y="9001"/>
                  </a:lnTo>
                  <a:lnTo>
                    <a:pt x="1301" y="8892"/>
                  </a:lnTo>
                  <a:lnTo>
                    <a:pt x="1322" y="8783"/>
                  </a:lnTo>
                  <a:lnTo>
                    <a:pt x="1368" y="8565"/>
                  </a:lnTo>
                  <a:lnTo>
                    <a:pt x="1414" y="8348"/>
                  </a:lnTo>
                  <a:lnTo>
                    <a:pt x="1463" y="8130"/>
                  </a:lnTo>
                  <a:lnTo>
                    <a:pt x="1511" y="7911"/>
                  </a:lnTo>
                  <a:lnTo>
                    <a:pt x="1572" y="7631"/>
                  </a:lnTo>
                  <a:lnTo>
                    <a:pt x="1634" y="7351"/>
                  </a:lnTo>
                  <a:lnTo>
                    <a:pt x="1664" y="7210"/>
                  </a:lnTo>
                  <a:lnTo>
                    <a:pt x="1694" y="7068"/>
                  </a:lnTo>
                  <a:lnTo>
                    <a:pt x="1723" y="6926"/>
                  </a:lnTo>
                  <a:lnTo>
                    <a:pt x="1751" y="6782"/>
                  </a:lnTo>
                  <a:lnTo>
                    <a:pt x="1779" y="6638"/>
                  </a:lnTo>
                  <a:lnTo>
                    <a:pt x="1806" y="6493"/>
                  </a:lnTo>
                  <a:lnTo>
                    <a:pt x="1834" y="6347"/>
                  </a:lnTo>
                  <a:lnTo>
                    <a:pt x="1859" y="6200"/>
                  </a:lnTo>
                  <a:lnTo>
                    <a:pt x="1883" y="6051"/>
                  </a:lnTo>
                  <a:lnTo>
                    <a:pt x="1907" y="5901"/>
                  </a:lnTo>
                  <a:lnTo>
                    <a:pt x="1929" y="5750"/>
                  </a:lnTo>
                  <a:lnTo>
                    <a:pt x="1949" y="5598"/>
                  </a:lnTo>
                  <a:lnTo>
                    <a:pt x="1969" y="5444"/>
                  </a:lnTo>
                  <a:lnTo>
                    <a:pt x="1987" y="5287"/>
                  </a:lnTo>
                  <a:lnTo>
                    <a:pt x="2004" y="5130"/>
                  </a:lnTo>
                  <a:lnTo>
                    <a:pt x="2018" y="4971"/>
                  </a:lnTo>
                  <a:lnTo>
                    <a:pt x="2031" y="4809"/>
                  </a:lnTo>
                  <a:lnTo>
                    <a:pt x="2042" y="4646"/>
                  </a:lnTo>
                  <a:lnTo>
                    <a:pt x="2051" y="4482"/>
                  </a:lnTo>
                  <a:lnTo>
                    <a:pt x="2059" y="4314"/>
                  </a:lnTo>
                  <a:lnTo>
                    <a:pt x="2064" y="4145"/>
                  </a:lnTo>
                  <a:lnTo>
                    <a:pt x="2066" y="3973"/>
                  </a:lnTo>
                  <a:lnTo>
                    <a:pt x="2067" y="3798"/>
                  </a:lnTo>
                  <a:lnTo>
                    <a:pt x="2065" y="3622"/>
                  </a:lnTo>
                  <a:lnTo>
                    <a:pt x="2061" y="3443"/>
                  </a:lnTo>
                  <a:lnTo>
                    <a:pt x="2054" y="3261"/>
                  </a:lnTo>
                  <a:lnTo>
                    <a:pt x="2044" y="3076"/>
                  </a:lnTo>
                  <a:lnTo>
                    <a:pt x="2032" y="2890"/>
                  </a:lnTo>
                  <a:lnTo>
                    <a:pt x="2174" y="3093"/>
                  </a:lnTo>
                  <a:lnTo>
                    <a:pt x="2311" y="3300"/>
                  </a:lnTo>
                  <a:lnTo>
                    <a:pt x="2442" y="3510"/>
                  </a:lnTo>
                  <a:lnTo>
                    <a:pt x="2567" y="3722"/>
                  </a:lnTo>
                  <a:lnTo>
                    <a:pt x="2687" y="3935"/>
                  </a:lnTo>
                  <a:lnTo>
                    <a:pt x="2802" y="4150"/>
                  </a:lnTo>
                  <a:lnTo>
                    <a:pt x="2910" y="4365"/>
                  </a:lnTo>
                  <a:lnTo>
                    <a:pt x="3014" y="4578"/>
                  </a:lnTo>
                  <a:lnTo>
                    <a:pt x="3112" y="4792"/>
                  </a:lnTo>
                  <a:lnTo>
                    <a:pt x="3206" y="5003"/>
                  </a:lnTo>
                  <a:lnTo>
                    <a:pt x="3294" y="5213"/>
                  </a:lnTo>
                  <a:lnTo>
                    <a:pt x="3378" y="5418"/>
                  </a:lnTo>
                  <a:lnTo>
                    <a:pt x="3457" y="5620"/>
                  </a:lnTo>
                  <a:lnTo>
                    <a:pt x="3531" y="5818"/>
                  </a:lnTo>
                  <a:lnTo>
                    <a:pt x="3600" y="6011"/>
                  </a:lnTo>
                  <a:lnTo>
                    <a:pt x="3664" y="6198"/>
                  </a:lnTo>
                  <a:lnTo>
                    <a:pt x="3725" y="6379"/>
                  </a:lnTo>
                  <a:lnTo>
                    <a:pt x="3780" y="6553"/>
                  </a:lnTo>
                  <a:lnTo>
                    <a:pt x="3831" y="6719"/>
                  </a:lnTo>
                  <a:lnTo>
                    <a:pt x="3877" y="6877"/>
                  </a:lnTo>
                  <a:lnTo>
                    <a:pt x="3921" y="7026"/>
                  </a:lnTo>
                  <a:lnTo>
                    <a:pt x="3959" y="7166"/>
                  </a:lnTo>
                  <a:lnTo>
                    <a:pt x="3993" y="7295"/>
                  </a:lnTo>
                  <a:lnTo>
                    <a:pt x="4023" y="7414"/>
                  </a:lnTo>
                  <a:lnTo>
                    <a:pt x="4050" y="7521"/>
                  </a:lnTo>
                  <a:lnTo>
                    <a:pt x="4072" y="7615"/>
                  </a:lnTo>
                  <a:lnTo>
                    <a:pt x="4091" y="7697"/>
                  </a:lnTo>
                  <a:lnTo>
                    <a:pt x="4108" y="7766"/>
                  </a:lnTo>
                  <a:lnTo>
                    <a:pt x="4128" y="7860"/>
                  </a:lnTo>
                  <a:lnTo>
                    <a:pt x="4134" y="7893"/>
                  </a:lnTo>
                  <a:lnTo>
                    <a:pt x="4150" y="7869"/>
                  </a:lnTo>
                  <a:lnTo>
                    <a:pt x="4197" y="7804"/>
                  </a:lnTo>
                  <a:lnTo>
                    <a:pt x="4269" y="7699"/>
                  </a:lnTo>
                  <a:lnTo>
                    <a:pt x="4366" y="7560"/>
                  </a:lnTo>
                  <a:lnTo>
                    <a:pt x="4480" y="7392"/>
                  </a:lnTo>
                  <a:lnTo>
                    <a:pt x="4611" y="7200"/>
                  </a:lnTo>
                  <a:lnTo>
                    <a:pt x="4753" y="6987"/>
                  </a:lnTo>
                  <a:lnTo>
                    <a:pt x="4904" y="6758"/>
                  </a:lnTo>
                  <a:lnTo>
                    <a:pt x="4981" y="6640"/>
                  </a:lnTo>
                  <a:lnTo>
                    <a:pt x="5059" y="6519"/>
                  </a:lnTo>
                  <a:lnTo>
                    <a:pt x="5137" y="6396"/>
                  </a:lnTo>
                  <a:lnTo>
                    <a:pt x="5215" y="6273"/>
                  </a:lnTo>
                  <a:lnTo>
                    <a:pt x="5292" y="6149"/>
                  </a:lnTo>
                  <a:lnTo>
                    <a:pt x="5368" y="6025"/>
                  </a:lnTo>
                  <a:lnTo>
                    <a:pt x="5443" y="5901"/>
                  </a:lnTo>
                  <a:lnTo>
                    <a:pt x="5515" y="5779"/>
                  </a:lnTo>
                  <a:lnTo>
                    <a:pt x="5585" y="5659"/>
                  </a:lnTo>
                  <a:lnTo>
                    <a:pt x="5652" y="5541"/>
                  </a:lnTo>
                  <a:lnTo>
                    <a:pt x="5715" y="5426"/>
                  </a:lnTo>
                  <a:lnTo>
                    <a:pt x="5774" y="5315"/>
                  </a:lnTo>
                  <a:lnTo>
                    <a:pt x="5830" y="5208"/>
                  </a:lnTo>
                  <a:lnTo>
                    <a:pt x="5880" y="5106"/>
                  </a:lnTo>
                  <a:lnTo>
                    <a:pt x="5925" y="5008"/>
                  </a:lnTo>
                  <a:lnTo>
                    <a:pt x="5964" y="4916"/>
                  </a:lnTo>
                  <a:lnTo>
                    <a:pt x="5992" y="4978"/>
                  </a:lnTo>
                  <a:lnTo>
                    <a:pt x="6020" y="5046"/>
                  </a:lnTo>
                  <a:lnTo>
                    <a:pt x="6048" y="5124"/>
                  </a:lnTo>
                  <a:lnTo>
                    <a:pt x="6075" y="5209"/>
                  </a:lnTo>
                  <a:lnTo>
                    <a:pt x="6101" y="5300"/>
                  </a:lnTo>
                  <a:lnTo>
                    <a:pt x="6128" y="5399"/>
                  </a:lnTo>
                  <a:lnTo>
                    <a:pt x="6153" y="5505"/>
                  </a:lnTo>
                  <a:lnTo>
                    <a:pt x="6179" y="5617"/>
                  </a:lnTo>
                  <a:lnTo>
                    <a:pt x="6205" y="5736"/>
                  </a:lnTo>
                  <a:lnTo>
                    <a:pt x="6229" y="5861"/>
                  </a:lnTo>
                  <a:lnTo>
                    <a:pt x="6253" y="5991"/>
                  </a:lnTo>
                  <a:lnTo>
                    <a:pt x="6276" y="6127"/>
                  </a:lnTo>
                  <a:lnTo>
                    <a:pt x="6298" y="6267"/>
                  </a:lnTo>
                  <a:lnTo>
                    <a:pt x="6320" y="6413"/>
                  </a:lnTo>
                  <a:lnTo>
                    <a:pt x="6341" y="6564"/>
                  </a:lnTo>
                  <a:lnTo>
                    <a:pt x="6361" y="6719"/>
                  </a:lnTo>
                  <a:lnTo>
                    <a:pt x="6380" y="6878"/>
                  </a:lnTo>
                  <a:lnTo>
                    <a:pt x="6400" y="7041"/>
                  </a:lnTo>
                  <a:lnTo>
                    <a:pt x="6417" y="7208"/>
                  </a:lnTo>
                  <a:lnTo>
                    <a:pt x="6433" y="7377"/>
                  </a:lnTo>
                  <a:lnTo>
                    <a:pt x="6449" y="7550"/>
                  </a:lnTo>
                  <a:lnTo>
                    <a:pt x="6463" y="7726"/>
                  </a:lnTo>
                  <a:lnTo>
                    <a:pt x="6476" y="7904"/>
                  </a:lnTo>
                  <a:lnTo>
                    <a:pt x="6488" y="8085"/>
                  </a:lnTo>
                  <a:lnTo>
                    <a:pt x="6498" y="8268"/>
                  </a:lnTo>
                  <a:lnTo>
                    <a:pt x="6508" y="8451"/>
                  </a:lnTo>
                  <a:lnTo>
                    <a:pt x="6516" y="8637"/>
                  </a:lnTo>
                  <a:lnTo>
                    <a:pt x="6523" y="8824"/>
                  </a:lnTo>
                  <a:lnTo>
                    <a:pt x="6528" y="9012"/>
                  </a:lnTo>
                  <a:lnTo>
                    <a:pt x="6532" y="9200"/>
                  </a:lnTo>
                  <a:lnTo>
                    <a:pt x="6534" y="9390"/>
                  </a:lnTo>
                  <a:lnTo>
                    <a:pt x="6535" y="9578"/>
                  </a:lnTo>
                  <a:lnTo>
                    <a:pt x="6550" y="9565"/>
                  </a:lnTo>
                  <a:lnTo>
                    <a:pt x="6595" y="9528"/>
                  </a:lnTo>
                  <a:lnTo>
                    <a:pt x="6665" y="9465"/>
                  </a:lnTo>
                  <a:lnTo>
                    <a:pt x="6759" y="9380"/>
                  </a:lnTo>
                  <a:lnTo>
                    <a:pt x="6815" y="9329"/>
                  </a:lnTo>
                  <a:lnTo>
                    <a:pt x="6875" y="9272"/>
                  </a:lnTo>
                  <a:lnTo>
                    <a:pt x="6940" y="9209"/>
                  </a:lnTo>
                  <a:lnTo>
                    <a:pt x="7011" y="9142"/>
                  </a:lnTo>
                  <a:lnTo>
                    <a:pt x="7084" y="9069"/>
                  </a:lnTo>
                  <a:lnTo>
                    <a:pt x="7162" y="8991"/>
                  </a:lnTo>
                  <a:lnTo>
                    <a:pt x="7243" y="8908"/>
                  </a:lnTo>
                  <a:lnTo>
                    <a:pt x="7327" y="8819"/>
                  </a:lnTo>
                  <a:lnTo>
                    <a:pt x="7415" y="8726"/>
                  </a:lnTo>
                  <a:lnTo>
                    <a:pt x="7505" y="8629"/>
                  </a:lnTo>
                  <a:lnTo>
                    <a:pt x="7598" y="8527"/>
                  </a:lnTo>
                  <a:lnTo>
                    <a:pt x="7692" y="8420"/>
                  </a:lnTo>
                  <a:lnTo>
                    <a:pt x="7789" y="8308"/>
                  </a:lnTo>
                  <a:lnTo>
                    <a:pt x="7886" y="8192"/>
                  </a:lnTo>
                  <a:lnTo>
                    <a:pt x="7985" y="8072"/>
                  </a:lnTo>
                  <a:lnTo>
                    <a:pt x="8084" y="7948"/>
                  </a:lnTo>
                  <a:lnTo>
                    <a:pt x="8184" y="7820"/>
                  </a:lnTo>
                  <a:lnTo>
                    <a:pt x="8284" y="7688"/>
                  </a:lnTo>
                  <a:lnTo>
                    <a:pt x="8384" y="7552"/>
                  </a:lnTo>
                  <a:lnTo>
                    <a:pt x="8483" y="7412"/>
                  </a:lnTo>
                  <a:lnTo>
                    <a:pt x="8583" y="7268"/>
                  </a:lnTo>
                  <a:lnTo>
                    <a:pt x="8681" y="7121"/>
                  </a:lnTo>
                  <a:lnTo>
                    <a:pt x="8777" y="6971"/>
                  </a:lnTo>
                  <a:lnTo>
                    <a:pt x="8872" y="6817"/>
                  </a:lnTo>
                  <a:lnTo>
                    <a:pt x="8969" y="6995"/>
                  </a:lnTo>
                  <a:lnTo>
                    <a:pt x="9062" y="7174"/>
                  </a:lnTo>
                  <a:lnTo>
                    <a:pt x="9150" y="7352"/>
                  </a:lnTo>
                  <a:lnTo>
                    <a:pt x="9235" y="7532"/>
                  </a:lnTo>
                  <a:lnTo>
                    <a:pt x="9316" y="7710"/>
                  </a:lnTo>
                  <a:lnTo>
                    <a:pt x="9393" y="7890"/>
                  </a:lnTo>
                  <a:lnTo>
                    <a:pt x="9466" y="8069"/>
                  </a:lnTo>
                  <a:lnTo>
                    <a:pt x="9534" y="8248"/>
                  </a:lnTo>
                  <a:lnTo>
                    <a:pt x="9598" y="8428"/>
                  </a:lnTo>
                  <a:lnTo>
                    <a:pt x="9659" y="8607"/>
                  </a:lnTo>
                  <a:lnTo>
                    <a:pt x="9715" y="8787"/>
                  </a:lnTo>
                  <a:lnTo>
                    <a:pt x="9767" y="8965"/>
                  </a:lnTo>
                  <a:lnTo>
                    <a:pt x="9814" y="9144"/>
                  </a:lnTo>
                  <a:lnTo>
                    <a:pt x="9858" y="9321"/>
                  </a:lnTo>
                  <a:lnTo>
                    <a:pt x="9897" y="9499"/>
                  </a:lnTo>
                  <a:lnTo>
                    <a:pt x="9932" y="9675"/>
                  </a:lnTo>
                  <a:lnTo>
                    <a:pt x="9963" y="9852"/>
                  </a:lnTo>
                  <a:lnTo>
                    <a:pt x="9989" y="10027"/>
                  </a:lnTo>
                  <a:lnTo>
                    <a:pt x="10011" y="10201"/>
                  </a:lnTo>
                  <a:lnTo>
                    <a:pt x="10029" y="10375"/>
                  </a:lnTo>
                  <a:lnTo>
                    <a:pt x="10042" y="10547"/>
                  </a:lnTo>
                  <a:lnTo>
                    <a:pt x="10051" y="10720"/>
                  </a:lnTo>
                  <a:lnTo>
                    <a:pt x="10055" y="10890"/>
                  </a:lnTo>
                  <a:lnTo>
                    <a:pt x="10055" y="11059"/>
                  </a:lnTo>
                  <a:lnTo>
                    <a:pt x="10051" y="11227"/>
                  </a:lnTo>
                  <a:lnTo>
                    <a:pt x="10042" y="11394"/>
                  </a:lnTo>
                  <a:lnTo>
                    <a:pt x="10028" y="11559"/>
                  </a:lnTo>
                  <a:lnTo>
                    <a:pt x="10009" y="11723"/>
                  </a:lnTo>
                  <a:lnTo>
                    <a:pt x="9986" y="11885"/>
                  </a:lnTo>
                  <a:lnTo>
                    <a:pt x="9959" y="12046"/>
                  </a:lnTo>
                  <a:lnTo>
                    <a:pt x="9927" y="12205"/>
                  </a:lnTo>
                  <a:lnTo>
                    <a:pt x="9891" y="12362"/>
                  </a:lnTo>
                  <a:close/>
                  <a:moveTo>
                    <a:pt x="8546" y="4537"/>
                  </a:moveTo>
                  <a:lnTo>
                    <a:pt x="8540" y="4663"/>
                  </a:lnTo>
                  <a:lnTo>
                    <a:pt x="8529" y="4787"/>
                  </a:lnTo>
                  <a:lnTo>
                    <a:pt x="8513" y="4910"/>
                  </a:lnTo>
                  <a:lnTo>
                    <a:pt x="8492" y="5031"/>
                  </a:lnTo>
                  <a:lnTo>
                    <a:pt x="8467" y="5150"/>
                  </a:lnTo>
                  <a:lnTo>
                    <a:pt x="8438" y="5267"/>
                  </a:lnTo>
                  <a:lnTo>
                    <a:pt x="8406" y="5382"/>
                  </a:lnTo>
                  <a:lnTo>
                    <a:pt x="8370" y="5494"/>
                  </a:lnTo>
                  <a:lnTo>
                    <a:pt x="8332" y="5604"/>
                  </a:lnTo>
                  <a:lnTo>
                    <a:pt x="8290" y="5712"/>
                  </a:lnTo>
                  <a:lnTo>
                    <a:pt x="8247" y="5816"/>
                  </a:lnTo>
                  <a:lnTo>
                    <a:pt x="8203" y="5916"/>
                  </a:lnTo>
                  <a:lnTo>
                    <a:pt x="8157" y="6014"/>
                  </a:lnTo>
                  <a:lnTo>
                    <a:pt x="8110" y="6108"/>
                  </a:lnTo>
                  <a:lnTo>
                    <a:pt x="8061" y="6199"/>
                  </a:lnTo>
                  <a:lnTo>
                    <a:pt x="8014" y="6286"/>
                  </a:lnTo>
                  <a:lnTo>
                    <a:pt x="7966" y="6369"/>
                  </a:lnTo>
                  <a:lnTo>
                    <a:pt x="7919" y="6448"/>
                  </a:lnTo>
                  <a:lnTo>
                    <a:pt x="7871" y="6522"/>
                  </a:lnTo>
                  <a:lnTo>
                    <a:pt x="7826" y="6593"/>
                  </a:lnTo>
                  <a:lnTo>
                    <a:pt x="7782" y="6658"/>
                  </a:lnTo>
                  <a:lnTo>
                    <a:pt x="7741" y="6719"/>
                  </a:lnTo>
                  <a:lnTo>
                    <a:pt x="7700" y="6774"/>
                  </a:lnTo>
                  <a:lnTo>
                    <a:pt x="7663" y="6825"/>
                  </a:lnTo>
                  <a:lnTo>
                    <a:pt x="7629" y="6870"/>
                  </a:lnTo>
                  <a:lnTo>
                    <a:pt x="7599" y="6911"/>
                  </a:lnTo>
                  <a:lnTo>
                    <a:pt x="7572" y="6944"/>
                  </a:lnTo>
                  <a:lnTo>
                    <a:pt x="7549" y="6972"/>
                  </a:lnTo>
                  <a:lnTo>
                    <a:pt x="7516" y="7011"/>
                  </a:lnTo>
                  <a:lnTo>
                    <a:pt x="7505" y="7024"/>
                  </a:lnTo>
                  <a:lnTo>
                    <a:pt x="7499" y="6791"/>
                  </a:lnTo>
                  <a:lnTo>
                    <a:pt x="7483" y="6560"/>
                  </a:lnTo>
                  <a:lnTo>
                    <a:pt x="7456" y="6334"/>
                  </a:lnTo>
                  <a:lnTo>
                    <a:pt x="7420" y="6110"/>
                  </a:lnTo>
                  <a:lnTo>
                    <a:pt x="7376" y="5891"/>
                  </a:lnTo>
                  <a:lnTo>
                    <a:pt x="7322" y="5677"/>
                  </a:lnTo>
                  <a:lnTo>
                    <a:pt x="7263" y="5468"/>
                  </a:lnTo>
                  <a:lnTo>
                    <a:pt x="7197" y="5262"/>
                  </a:lnTo>
                  <a:lnTo>
                    <a:pt x="7124" y="5062"/>
                  </a:lnTo>
                  <a:lnTo>
                    <a:pt x="7047" y="4868"/>
                  </a:lnTo>
                  <a:lnTo>
                    <a:pt x="6966" y="4679"/>
                  </a:lnTo>
                  <a:lnTo>
                    <a:pt x="6880" y="4497"/>
                  </a:lnTo>
                  <a:lnTo>
                    <a:pt x="6792" y="4320"/>
                  </a:lnTo>
                  <a:lnTo>
                    <a:pt x="6702" y="4151"/>
                  </a:lnTo>
                  <a:lnTo>
                    <a:pt x="6610" y="3988"/>
                  </a:lnTo>
                  <a:lnTo>
                    <a:pt x="6517" y="3832"/>
                  </a:lnTo>
                  <a:lnTo>
                    <a:pt x="6425" y="3683"/>
                  </a:lnTo>
                  <a:lnTo>
                    <a:pt x="6333" y="3542"/>
                  </a:lnTo>
                  <a:lnTo>
                    <a:pt x="6243" y="3409"/>
                  </a:lnTo>
                  <a:lnTo>
                    <a:pt x="6154" y="3284"/>
                  </a:lnTo>
                  <a:lnTo>
                    <a:pt x="6070" y="3168"/>
                  </a:lnTo>
                  <a:lnTo>
                    <a:pt x="5987" y="3060"/>
                  </a:lnTo>
                  <a:lnTo>
                    <a:pt x="5911" y="2961"/>
                  </a:lnTo>
                  <a:lnTo>
                    <a:pt x="5839" y="2871"/>
                  </a:lnTo>
                  <a:lnTo>
                    <a:pt x="5772" y="2792"/>
                  </a:lnTo>
                  <a:lnTo>
                    <a:pt x="5712" y="2721"/>
                  </a:lnTo>
                  <a:lnTo>
                    <a:pt x="5660" y="2661"/>
                  </a:lnTo>
                  <a:lnTo>
                    <a:pt x="5614" y="2611"/>
                  </a:lnTo>
                  <a:lnTo>
                    <a:pt x="5552" y="2544"/>
                  </a:lnTo>
                  <a:lnTo>
                    <a:pt x="5530" y="2521"/>
                  </a:lnTo>
                  <a:lnTo>
                    <a:pt x="5529" y="2538"/>
                  </a:lnTo>
                  <a:lnTo>
                    <a:pt x="5527" y="2588"/>
                  </a:lnTo>
                  <a:lnTo>
                    <a:pt x="5524" y="2624"/>
                  </a:lnTo>
                  <a:lnTo>
                    <a:pt x="5521" y="2669"/>
                  </a:lnTo>
                  <a:lnTo>
                    <a:pt x="5516" y="2719"/>
                  </a:lnTo>
                  <a:lnTo>
                    <a:pt x="5510" y="2778"/>
                  </a:lnTo>
                  <a:lnTo>
                    <a:pt x="5503" y="2842"/>
                  </a:lnTo>
                  <a:lnTo>
                    <a:pt x="5493" y="2913"/>
                  </a:lnTo>
                  <a:lnTo>
                    <a:pt x="5482" y="2989"/>
                  </a:lnTo>
                  <a:lnTo>
                    <a:pt x="5469" y="3072"/>
                  </a:lnTo>
                  <a:lnTo>
                    <a:pt x="5453" y="3161"/>
                  </a:lnTo>
                  <a:lnTo>
                    <a:pt x="5435" y="3254"/>
                  </a:lnTo>
                  <a:lnTo>
                    <a:pt x="5414" y="3352"/>
                  </a:lnTo>
                  <a:lnTo>
                    <a:pt x="5391" y="3455"/>
                  </a:lnTo>
                  <a:lnTo>
                    <a:pt x="5365" y="3563"/>
                  </a:lnTo>
                  <a:lnTo>
                    <a:pt x="5336" y="3674"/>
                  </a:lnTo>
                  <a:lnTo>
                    <a:pt x="5304" y="3790"/>
                  </a:lnTo>
                  <a:lnTo>
                    <a:pt x="5268" y="3909"/>
                  </a:lnTo>
                  <a:lnTo>
                    <a:pt x="5227" y="4031"/>
                  </a:lnTo>
                  <a:lnTo>
                    <a:pt x="5184" y="4156"/>
                  </a:lnTo>
                  <a:lnTo>
                    <a:pt x="5137" y="4285"/>
                  </a:lnTo>
                  <a:lnTo>
                    <a:pt x="5086" y="4415"/>
                  </a:lnTo>
                  <a:lnTo>
                    <a:pt x="5029" y="4548"/>
                  </a:lnTo>
                  <a:lnTo>
                    <a:pt x="4969" y="4683"/>
                  </a:lnTo>
                  <a:lnTo>
                    <a:pt x="4904" y="4819"/>
                  </a:lnTo>
                  <a:lnTo>
                    <a:pt x="4834" y="4958"/>
                  </a:lnTo>
                  <a:lnTo>
                    <a:pt x="4759" y="5097"/>
                  </a:lnTo>
                  <a:lnTo>
                    <a:pt x="4680" y="5237"/>
                  </a:lnTo>
                  <a:lnTo>
                    <a:pt x="4594" y="5378"/>
                  </a:lnTo>
                  <a:lnTo>
                    <a:pt x="4503" y="5519"/>
                  </a:lnTo>
                  <a:lnTo>
                    <a:pt x="4403" y="5195"/>
                  </a:lnTo>
                  <a:lnTo>
                    <a:pt x="4293" y="4878"/>
                  </a:lnTo>
                  <a:lnTo>
                    <a:pt x="4173" y="4571"/>
                  </a:lnTo>
                  <a:lnTo>
                    <a:pt x="4043" y="4274"/>
                  </a:lnTo>
                  <a:lnTo>
                    <a:pt x="3906" y="3985"/>
                  </a:lnTo>
                  <a:lnTo>
                    <a:pt x="3762" y="3705"/>
                  </a:lnTo>
                  <a:lnTo>
                    <a:pt x="3611" y="3435"/>
                  </a:lnTo>
                  <a:lnTo>
                    <a:pt x="3455" y="3175"/>
                  </a:lnTo>
                  <a:lnTo>
                    <a:pt x="3295" y="2924"/>
                  </a:lnTo>
                  <a:lnTo>
                    <a:pt x="3131" y="2683"/>
                  </a:lnTo>
                  <a:lnTo>
                    <a:pt x="2965" y="2451"/>
                  </a:lnTo>
                  <a:lnTo>
                    <a:pt x="2797" y="2229"/>
                  </a:lnTo>
                  <a:lnTo>
                    <a:pt x="2628" y="2018"/>
                  </a:lnTo>
                  <a:lnTo>
                    <a:pt x="2459" y="1816"/>
                  </a:lnTo>
                  <a:lnTo>
                    <a:pt x="2292" y="1624"/>
                  </a:lnTo>
                  <a:lnTo>
                    <a:pt x="2126" y="1443"/>
                  </a:lnTo>
                  <a:lnTo>
                    <a:pt x="1964" y="1271"/>
                  </a:lnTo>
                  <a:lnTo>
                    <a:pt x="1805" y="1110"/>
                  </a:lnTo>
                  <a:lnTo>
                    <a:pt x="1651" y="960"/>
                  </a:lnTo>
                  <a:lnTo>
                    <a:pt x="1503" y="820"/>
                  </a:lnTo>
                  <a:lnTo>
                    <a:pt x="1361" y="691"/>
                  </a:lnTo>
                  <a:lnTo>
                    <a:pt x="1227" y="573"/>
                  </a:lnTo>
                  <a:lnTo>
                    <a:pt x="1102" y="465"/>
                  </a:lnTo>
                  <a:lnTo>
                    <a:pt x="985" y="368"/>
                  </a:lnTo>
                  <a:lnTo>
                    <a:pt x="879" y="283"/>
                  </a:lnTo>
                  <a:lnTo>
                    <a:pt x="784" y="209"/>
                  </a:lnTo>
                  <a:lnTo>
                    <a:pt x="701" y="145"/>
                  </a:lnTo>
                  <a:lnTo>
                    <a:pt x="631" y="93"/>
                  </a:lnTo>
                  <a:lnTo>
                    <a:pt x="534" y="23"/>
                  </a:lnTo>
                  <a:lnTo>
                    <a:pt x="501" y="0"/>
                  </a:lnTo>
                  <a:lnTo>
                    <a:pt x="630" y="507"/>
                  </a:lnTo>
                  <a:lnTo>
                    <a:pt x="742" y="995"/>
                  </a:lnTo>
                  <a:lnTo>
                    <a:pt x="834" y="1464"/>
                  </a:lnTo>
                  <a:lnTo>
                    <a:pt x="910" y="1916"/>
                  </a:lnTo>
                  <a:lnTo>
                    <a:pt x="968" y="2351"/>
                  </a:lnTo>
                  <a:lnTo>
                    <a:pt x="1011" y="2771"/>
                  </a:lnTo>
                  <a:lnTo>
                    <a:pt x="1040" y="3176"/>
                  </a:lnTo>
                  <a:lnTo>
                    <a:pt x="1056" y="3567"/>
                  </a:lnTo>
                  <a:lnTo>
                    <a:pt x="1059" y="3946"/>
                  </a:lnTo>
                  <a:lnTo>
                    <a:pt x="1050" y="4313"/>
                  </a:lnTo>
                  <a:lnTo>
                    <a:pt x="1030" y="4671"/>
                  </a:lnTo>
                  <a:lnTo>
                    <a:pt x="1001" y="5018"/>
                  </a:lnTo>
                  <a:lnTo>
                    <a:pt x="965" y="5358"/>
                  </a:lnTo>
                  <a:lnTo>
                    <a:pt x="920" y="5690"/>
                  </a:lnTo>
                  <a:lnTo>
                    <a:pt x="870" y="6014"/>
                  </a:lnTo>
                  <a:lnTo>
                    <a:pt x="813" y="6335"/>
                  </a:lnTo>
                  <a:lnTo>
                    <a:pt x="753" y="6650"/>
                  </a:lnTo>
                  <a:lnTo>
                    <a:pt x="689" y="6962"/>
                  </a:lnTo>
                  <a:lnTo>
                    <a:pt x="622" y="7271"/>
                  </a:lnTo>
                  <a:lnTo>
                    <a:pt x="554" y="7580"/>
                  </a:lnTo>
                  <a:lnTo>
                    <a:pt x="486" y="7888"/>
                  </a:lnTo>
                  <a:lnTo>
                    <a:pt x="418" y="8197"/>
                  </a:lnTo>
                  <a:lnTo>
                    <a:pt x="353" y="8507"/>
                  </a:lnTo>
                  <a:lnTo>
                    <a:pt x="290" y="8820"/>
                  </a:lnTo>
                  <a:lnTo>
                    <a:pt x="229" y="9137"/>
                  </a:lnTo>
                  <a:lnTo>
                    <a:pt x="175" y="9457"/>
                  </a:lnTo>
                  <a:lnTo>
                    <a:pt x="126" y="9784"/>
                  </a:lnTo>
                  <a:lnTo>
                    <a:pt x="83" y="10118"/>
                  </a:lnTo>
                  <a:lnTo>
                    <a:pt x="48" y="10460"/>
                  </a:lnTo>
                  <a:lnTo>
                    <a:pt x="22" y="10809"/>
                  </a:lnTo>
                  <a:lnTo>
                    <a:pt x="6" y="11169"/>
                  </a:lnTo>
                  <a:lnTo>
                    <a:pt x="0" y="11540"/>
                  </a:lnTo>
                  <a:lnTo>
                    <a:pt x="6" y="11760"/>
                  </a:lnTo>
                  <a:lnTo>
                    <a:pt x="23" y="11980"/>
                  </a:lnTo>
                  <a:lnTo>
                    <a:pt x="51" y="12198"/>
                  </a:lnTo>
                  <a:lnTo>
                    <a:pt x="91" y="12414"/>
                  </a:lnTo>
                  <a:lnTo>
                    <a:pt x="142" y="12627"/>
                  </a:lnTo>
                  <a:lnTo>
                    <a:pt x="203" y="12838"/>
                  </a:lnTo>
                  <a:lnTo>
                    <a:pt x="275" y="13047"/>
                  </a:lnTo>
                  <a:lnTo>
                    <a:pt x="358" y="13251"/>
                  </a:lnTo>
                  <a:lnTo>
                    <a:pt x="450" y="13452"/>
                  </a:lnTo>
                  <a:lnTo>
                    <a:pt x="554" y="13649"/>
                  </a:lnTo>
                  <a:lnTo>
                    <a:pt x="666" y="13841"/>
                  </a:lnTo>
                  <a:lnTo>
                    <a:pt x="789" y="14028"/>
                  </a:lnTo>
                  <a:lnTo>
                    <a:pt x="922" y="14210"/>
                  </a:lnTo>
                  <a:lnTo>
                    <a:pt x="1063" y="14386"/>
                  </a:lnTo>
                  <a:lnTo>
                    <a:pt x="1213" y="14556"/>
                  </a:lnTo>
                  <a:lnTo>
                    <a:pt x="1374" y="14719"/>
                  </a:lnTo>
                  <a:lnTo>
                    <a:pt x="1542" y="14876"/>
                  </a:lnTo>
                  <a:lnTo>
                    <a:pt x="1720" y="15025"/>
                  </a:lnTo>
                  <a:lnTo>
                    <a:pt x="1906" y="15167"/>
                  </a:lnTo>
                  <a:lnTo>
                    <a:pt x="2101" y="15300"/>
                  </a:lnTo>
                  <a:lnTo>
                    <a:pt x="2303" y="15425"/>
                  </a:lnTo>
                  <a:lnTo>
                    <a:pt x="2514" y="15541"/>
                  </a:lnTo>
                  <a:lnTo>
                    <a:pt x="2733" y="15648"/>
                  </a:lnTo>
                  <a:lnTo>
                    <a:pt x="2960" y="15746"/>
                  </a:lnTo>
                  <a:lnTo>
                    <a:pt x="3193" y="15834"/>
                  </a:lnTo>
                  <a:lnTo>
                    <a:pt x="3434" y="15910"/>
                  </a:lnTo>
                  <a:lnTo>
                    <a:pt x="3683" y="15977"/>
                  </a:lnTo>
                  <a:lnTo>
                    <a:pt x="3939" y="16031"/>
                  </a:lnTo>
                  <a:lnTo>
                    <a:pt x="4201" y="16075"/>
                  </a:lnTo>
                  <a:lnTo>
                    <a:pt x="4469" y="16107"/>
                  </a:lnTo>
                  <a:lnTo>
                    <a:pt x="4745" y="16126"/>
                  </a:lnTo>
                  <a:lnTo>
                    <a:pt x="5027" y="16132"/>
                  </a:lnTo>
                  <a:lnTo>
                    <a:pt x="5439" y="16127"/>
                  </a:lnTo>
                  <a:lnTo>
                    <a:pt x="5830" y="16113"/>
                  </a:lnTo>
                  <a:lnTo>
                    <a:pt x="6201" y="16090"/>
                  </a:lnTo>
                  <a:lnTo>
                    <a:pt x="6551" y="16057"/>
                  </a:lnTo>
                  <a:lnTo>
                    <a:pt x="6884" y="16016"/>
                  </a:lnTo>
                  <a:lnTo>
                    <a:pt x="7198" y="15967"/>
                  </a:lnTo>
                  <a:lnTo>
                    <a:pt x="7494" y="15909"/>
                  </a:lnTo>
                  <a:lnTo>
                    <a:pt x="7774" y="15844"/>
                  </a:lnTo>
                  <a:lnTo>
                    <a:pt x="8036" y="15771"/>
                  </a:lnTo>
                  <a:lnTo>
                    <a:pt x="8282" y="15690"/>
                  </a:lnTo>
                  <a:lnTo>
                    <a:pt x="8514" y="15603"/>
                  </a:lnTo>
                  <a:lnTo>
                    <a:pt x="8731" y="15509"/>
                  </a:lnTo>
                  <a:lnTo>
                    <a:pt x="8933" y="15408"/>
                  </a:lnTo>
                  <a:lnTo>
                    <a:pt x="9121" y="15301"/>
                  </a:lnTo>
                  <a:lnTo>
                    <a:pt x="9297" y="15188"/>
                  </a:lnTo>
                  <a:lnTo>
                    <a:pt x="9461" y="15069"/>
                  </a:lnTo>
                  <a:lnTo>
                    <a:pt x="9611" y="14945"/>
                  </a:lnTo>
                  <a:lnTo>
                    <a:pt x="9752" y="14816"/>
                  </a:lnTo>
                  <a:lnTo>
                    <a:pt x="9882" y="14681"/>
                  </a:lnTo>
                  <a:lnTo>
                    <a:pt x="10001" y="14543"/>
                  </a:lnTo>
                  <a:lnTo>
                    <a:pt x="10111" y="14399"/>
                  </a:lnTo>
                  <a:lnTo>
                    <a:pt x="10213" y="14252"/>
                  </a:lnTo>
                  <a:lnTo>
                    <a:pt x="10305" y="14100"/>
                  </a:lnTo>
                  <a:lnTo>
                    <a:pt x="10390" y="13945"/>
                  </a:lnTo>
                  <a:lnTo>
                    <a:pt x="10468" y="13787"/>
                  </a:lnTo>
                  <a:lnTo>
                    <a:pt x="10540" y="13625"/>
                  </a:lnTo>
                  <a:lnTo>
                    <a:pt x="10606" y="13461"/>
                  </a:lnTo>
                  <a:lnTo>
                    <a:pt x="10666" y="13294"/>
                  </a:lnTo>
                  <a:lnTo>
                    <a:pt x="10721" y="13124"/>
                  </a:lnTo>
                  <a:lnTo>
                    <a:pt x="10772" y="12954"/>
                  </a:lnTo>
                  <a:lnTo>
                    <a:pt x="10821" y="12781"/>
                  </a:lnTo>
                  <a:lnTo>
                    <a:pt x="10866" y="12606"/>
                  </a:lnTo>
                  <a:lnTo>
                    <a:pt x="10921" y="12364"/>
                  </a:lnTo>
                  <a:lnTo>
                    <a:pt x="10967" y="12119"/>
                  </a:lnTo>
                  <a:lnTo>
                    <a:pt x="11004" y="11873"/>
                  </a:lnTo>
                  <a:lnTo>
                    <a:pt x="11032" y="11624"/>
                  </a:lnTo>
                  <a:lnTo>
                    <a:pt x="11051" y="11374"/>
                  </a:lnTo>
                  <a:lnTo>
                    <a:pt x="11061" y="11122"/>
                  </a:lnTo>
                  <a:lnTo>
                    <a:pt x="11062" y="10868"/>
                  </a:lnTo>
                  <a:lnTo>
                    <a:pt x="11055" y="10614"/>
                  </a:lnTo>
                  <a:lnTo>
                    <a:pt x="11039" y="10358"/>
                  </a:lnTo>
                  <a:lnTo>
                    <a:pt x="11015" y="10101"/>
                  </a:lnTo>
                  <a:lnTo>
                    <a:pt x="10982" y="9843"/>
                  </a:lnTo>
                  <a:lnTo>
                    <a:pt x="10941" y="9584"/>
                  </a:lnTo>
                  <a:lnTo>
                    <a:pt x="10892" y="9325"/>
                  </a:lnTo>
                  <a:lnTo>
                    <a:pt x="10835" y="9066"/>
                  </a:lnTo>
                  <a:lnTo>
                    <a:pt x="10769" y="8807"/>
                  </a:lnTo>
                  <a:lnTo>
                    <a:pt x="10696" y="8548"/>
                  </a:lnTo>
                  <a:lnTo>
                    <a:pt x="10616" y="8289"/>
                  </a:lnTo>
                  <a:lnTo>
                    <a:pt x="10527" y="8031"/>
                  </a:lnTo>
                  <a:lnTo>
                    <a:pt x="10432" y="7772"/>
                  </a:lnTo>
                  <a:lnTo>
                    <a:pt x="10328" y="7514"/>
                  </a:lnTo>
                  <a:lnTo>
                    <a:pt x="10218" y="7257"/>
                  </a:lnTo>
                  <a:lnTo>
                    <a:pt x="10100" y="7002"/>
                  </a:lnTo>
                  <a:lnTo>
                    <a:pt x="9974" y="6747"/>
                  </a:lnTo>
                  <a:lnTo>
                    <a:pt x="9843" y="6494"/>
                  </a:lnTo>
                  <a:lnTo>
                    <a:pt x="9704" y="6243"/>
                  </a:lnTo>
                  <a:lnTo>
                    <a:pt x="9558" y="5993"/>
                  </a:lnTo>
                  <a:lnTo>
                    <a:pt x="9405" y="5745"/>
                  </a:lnTo>
                  <a:lnTo>
                    <a:pt x="9246" y="5498"/>
                  </a:lnTo>
                  <a:lnTo>
                    <a:pt x="9081" y="5254"/>
                  </a:lnTo>
                  <a:lnTo>
                    <a:pt x="8909" y="5013"/>
                  </a:lnTo>
                  <a:lnTo>
                    <a:pt x="8730" y="4774"/>
                  </a:lnTo>
                  <a:lnTo>
                    <a:pt x="8546" y="45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51" name="isḻiďê">
              <a:extLst>
                <a:ext uri="{FF2B5EF4-FFF2-40B4-BE49-F238E27FC236}">
                  <a16:creationId xmlns:a16="http://schemas.microsoft.com/office/drawing/2014/main" id="{5B266F42-2657-4752-A098-D2ECF8994C28}"/>
                </a:ext>
              </a:extLst>
            </p:cNvPr>
            <p:cNvSpPr/>
            <p:nvPr/>
          </p:nvSpPr>
          <p:spPr bwMode="auto">
            <a:xfrm>
              <a:off x="8542762" y="193335"/>
              <a:ext cx="153880" cy="124380"/>
            </a:xfrm>
            <a:custGeom>
              <a:avLst/>
              <a:gdLst>
                <a:gd name="T0" fmla="*/ 6161 w 7135"/>
                <a:gd name="T1" fmla="*/ 2475 h 5775"/>
                <a:gd name="T2" fmla="*/ 5762 w 7135"/>
                <a:gd name="T3" fmla="*/ 2876 h 5775"/>
                <a:gd name="T4" fmla="*/ 5263 w 7135"/>
                <a:gd name="T5" fmla="*/ 3283 h 5775"/>
                <a:gd name="T6" fmla="*/ 4610 w 7135"/>
                <a:gd name="T7" fmla="*/ 3704 h 5775"/>
                <a:gd name="T8" fmla="*/ 4041 w 7135"/>
                <a:gd name="T9" fmla="*/ 3621 h 5775"/>
                <a:gd name="T10" fmla="*/ 3918 w 7135"/>
                <a:gd name="T11" fmla="*/ 3141 h 5775"/>
                <a:gd name="T12" fmla="*/ 3836 w 7135"/>
                <a:gd name="T13" fmla="*/ 2666 h 5775"/>
                <a:gd name="T14" fmla="*/ 3788 w 7135"/>
                <a:gd name="T15" fmla="*/ 2122 h 5775"/>
                <a:gd name="T16" fmla="*/ 2970 w 7135"/>
                <a:gd name="T17" fmla="*/ 2186 h 5775"/>
                <a:gd name="T18" fmla="*/ 2646 w 7135"/>
                <a:gd name="T19" fmla="*/ 2694 h 5775"/>
                <a:gd name="T20" fmla="*/ 2288 w 7135"/>
                <a:gd name="T21" fmla="*/ 3226 h 5775"/>
                <a:gd name="T22" fmla="*/ 1744 w 7135"/>
                <a:gd name="T23" fmla="*/ 2191 h 5775"/>
                <a:gd name="T24" fmla="*/ 1302 w 7135"/>
                <a:gd name="T25" fmla="*/ 1101 h 5775"/>
                <a:gd name="T26" fmla="*/ 523 w 7135"/>
                <a:gd name="T27" fmla="*/ 1126 h 5775"/>
                <a:gd name="T28" fmla="*/ 322 w 7135"/>
                <a:gd name="T29" fmla="*/ 1803 h 5775"/>
                <a:gd name="T30" fmla="*/ 155 w 7135"/>
                <a:gd name="T31" fmla="*/ 2614 h 5775"/>
                <a:gd name="T32" fmla="*/ 42 w 7135"/>
                <a:gd name="T33" fmla="*/ 3654 h 5775"/>
                <a:gd name="T34" fmla="*/ 0 w 7135"/>
                <a:gd name="T35" fmla="*/ 5018 h 5775"/>
                <a:gd name="T36" fmla="*/ 15 w 7135"/>
                <a:gd name="T37" fmla="*/ 5105 h 5775"/>
                <a:gd name="T38" fmla="*/ 57 w 7135"/>
                <a:gd name="T39" fmla="*/ 5179 h 5775"/>
                <a:gd name="T40" fmla="*/ 120 w 7135"/>
                <a:gd name="T41" fmla="*/ 5234 h 5775"/>
                <a:gd name="T42" fmla="*/ 201 w 7135"/>
                <a:gd name="T43" fmla="*/ 5265 h 5775"/>
                <a:gd name="T44" fmla="*/ 289 w 7135"/>
                <a:gd name="T45" fmla="*/ 5267 h 5775"/>
                <a:gd name="T46" fmla="*/ 370 w 7135"/>
                <a:gd name="T47" fmla="*/ 5240 h 5775"/>
                <a:gd name="T48" fmla="*/ 437 w 7135"/>
                <a:gd name="T49" fmla="*/ 5188 h 5775"/>
                <a:gd name="T50" fmla="*/ 482 w 7135"/>
                <a:gd name="T51" fmla="*/ 5117 h 5775"/>
                <a:gd name="T52" fmla="*/ 502 w 7135"/>
                <a:gd name="T53" fmla="*/ 5032 h 5775"/>
                <a:gd name="T54" fmla="*/ 520 w 7135"/>
                <a:gd name="T55" fmla="*/ 4087 h 5775"/>
                <a:gd name="T56" fmla="*/ 584 w 7135"/>
                <a:gd name="T57" fmla="*/ 3203 h 5775"/>
                <a:gd name="T58" fmla="*/ 685 w 7135"/>
                <a:gd name="T59" fmla="*/ 2490 h 5775"/>
                <a:gd name="T60" fmla="*/ 816 w 7135"/>
                <a:gd name="T61" fmla="*/ 1897 h 5775"/>
                <a:gd name="T62" fmla="*/ 1026 w 7135"/>
                <a:gd name="T63" fmla="*/ 1774 h 5775"/>
                <a:gd name="T64" fmla="*/ 1436 w 7135"/>
                <a:gd name="T65" fmla="*/ 2753 h 5775"/>
                <a:gd name="T66" fmla="*/ 1949 w 7135"/>
                <a:gd name="T67" fmla="*/ 3914 h 5775"/>
                <a:gd name="T68" fmla="*/ 2728 w 7135"/>
                <a:gd name="T69" fmla="*/ 3474 h 5775"/>
                <a:gd name="T70" fmla="*/ 3116 w 7135"/>
                <a:gd name="T71" fmla="*/ 2895 h 5775"/>
                <a:gd name="T72" fmla="*/ 3343 w 7135"/>
                <a:gd name="T73" fmla="*/ 2782 h 5775"/>
                <a:gd name="T74" fmla="*/ 3419 w 7135"/>
                <a:gd name="T75" fmla="*/ 3221 h 5775"/>
                <a:gd name="T76" fmla="*/ 3595 w 7135"/>
                <a:gd name="T77" fmla="*/ 3883 h 5775"/>
                <a:gd name="T78" fmla="*/ 4108 w 7135"/>
                <a:gd name="T79" fmla="*/ 4532 h 5775"/>
                <a:gd name="T80" fmla="*/ 4902 w 7135"/>
                <a:gd name="T81" fmla="*/ 4116 h 5775"/>
                <a:gd name="T82" fmla="*/ 5527 w 7135"/>
                <a:gd name="T83" fmla="*/ 3714 h 5775"/>
                <a:gd name="T84" fmla="*/ 6017 w 7135"/>
                <a:gd name="T85" fmla="*/ 3324 h 5775"/>
                <a:gd name="T86" fmla="*/ 6411 w 7135"/>
                <a:gd name="T87" fmla="*/ 2943 h 5775"/>
                <a:gd name="T88" fmla="*/ 6624 w 7135"/>
                <a:gd name="T89" fmla="*/ 2997 h 5775"/>
                <a:gd name="T90" fmla="*/ 6623 w 7135"/>
                <a:gd name="T91" fmla="*/ 3626 h 5775"/>
                <a:gd name="T92" fmla="*/ 6567 w 7135"/>
                <a:gd name="T93" fmla="*/ 4245 h 5775"/>
                <a:gd name="T94" fmla="*/ 6457 w 7135"/>
                <a:gd name="T95" fmla="*/ 4831 h 5775"/>
                <a:gd name="T96" fmla="*/ 6297 w 7135"/>
                <a:gd name="T97" fmla="*/ 5360 h 5775"/>
                <a:gd name="T98" fmla="*/ 6251 w 7135"/>
                <a:gd name="T99" fmla="*/ 5502 h 5775"/>
                <a:gd name="T100" fmla="*/ 6259 w 7135"/>
                <a:gd name="T101" fmla="*/ 5587 h 5775"/>
                <a:gd name="T102" fmla="*/ 6295 w 7135"/>
                <a:gd name="T103" fmla="*/ 5664 h 5775"/>
                <a:gd name="T104" fmla="*/ 6353 w 7135"/>
                <a:gd name="T105" fmla="*/ 5726 h 5775"/>
                <a:gd name="T106" fmla="*/ 6431 w 7135"/>
                <a:gd name="T107" fmla="*/ 5765 h 5775"/>
                <a:gd name="T108" fmla="*/ 6522 w 7135"/>
                <a:gd name="T109" fmla="*/ 5775 h 5775"/>
                <a:gd name="T110" fmla="*/ 6641 w 7135"/>
                <a:gd name="T111" fmla="*/ 5733 h 5775"/>
                <a:gd name="T112" fmla="*/ 6728 w 7135"/>
                <a:gd name="T113" fmla="*/ 5635 h 5775"/>
                <a:gd name="T114" fmla="*/ 6926 w 7135"/>
                <a:gd name="T115" fmla="*/ 5033 h 5775"/>
                <a:gd name="T116" fmla="*/ 7072 w 7135"/>
                <a:gd name="T117" fmla="*/ 4273 h 5775"/>
                <a:gd name="T118" fmla="*/ 7134 w 7135"/>
                <a:gd name="T119" fmla="*/ 3469 h 5775"/>
                <a:gd name="T120" fmla="*/ 7108 w 7135"/>
                <a:gd name="T121" fmla="*/ 2658 h 5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135" h="5775">
                  <a:moveTo>
                    <a:pt x="6940" y="1575"/>
                  </a:moveTo>
                  <a:lnTo>
                    <a:pt x="6513" y="2072"/>
                  </a:lnTo>
                  <a:lnTo>
                    <a:pt x="6413" y="2188"/>
                  </a:lnTo>
                  <a:lnTo>
                    <a:pt x="6314" y="2303"/>
                  </a:lnTo>
                  <a:lnTo>
                    <a:pt x="6263" y="2361"/>
                  </a:lnTo>
                  <a:lnTo>
                    <a:pt x="6212" y="2418"/>
                  </a:lnTo>
                  <a:lnTo>
                    <a:pt x="6161" y="2475"/>
                  </a:lnTo>
                  <a:lnTo>
                    <a:pt x="6108" y="2532"/>
                  </a:lnTo>
                  <a:lnTo>
                    <a:pt x="6053" y="2590"/>
                  </a:lnTo>
                  <a:lnTo>
                    <a:pt x="5999" y="2647"/>
                  </a:lnTo>
                  <a:lnTo>
                    <a:pt x="5942" y="2704"/>
                  </a:lnTo>
                  <a:lnTo>
                    <a:pt x="5883" y="2761"/>
                  </a:lnTo>
                  <a:lnTo>
                    <a:pt x="5824" y="2818"/>
                  </a:lnTo>
                  <a:lnTo>
                    <a:pt x="5762" y="2876"/>
                  </a:lnTo>
                  <a:lnTo>
                    <a:pt x="5698" y="2933"/>
                  </a:lnTo>
                  <a:lnTo>
                    <a:pt x="5632" y="2992"/>
                  </a:lnTo>
                  <a:lnTo>
                    <a:pt x="5564" y="3049"/>
                  </a:lnTo>
                  <a:lnTo>
                    <a:pt x="5492" y="3108"/>
                  </a:lnTo>
                  <a:lnTo>
                    <a:pt x="5419" y="3166"/>
                  </a:lnTo>
                  <a:lnTo>
                    <a:pt x="5343" y="3225"/>
                  </a:lnTo>
                  <a:lnTo>
                    <a:pt x="5263" y="3283"/>
                  </a:lnTo>
                  <a:lnTo>
                    <a:pt x="5181" y="3343"/>
                  </a:lnTo>
                  <a:lnTo>
                    <a:pt x="5094" y="3402"/>
                  </a:lnTo>
                  <a:lnTo>
                    <a:pt x="5005" y="3462"/>
                  </a:lnTo>
                  <a:lnTo>
                    <a:pt x="4912" y="3521"/>
                  </a:lnTo>
                  <a:lnTo>
                    <a:pt x="4815" y="3582"/>
                  </a:lnTo>
                  <a:lnTo>
                    <a:pt x="4714" y="3642"/>
                  </a:lnTo>
                  <a:lnTo>
                    <a:pt x="4610" y="3704"/>
                  </a:lnTo>
                  <a:lnTo>
                    <a:pt x="4500" y="3765"/>
                  </a:lnTo>
                  <a:lnTo>
                    <a:pt x="4387" y="3828"/>
                  </a:lnTo>
                  <a:lnTo>
                    <a:pt x="4268" y="3890"/>
                  </a:lnTo>
                  <a:lnTo>
                    <a:pt x="4145" y="3953"/>
                  </a:lnTo>
                  <a:lnTo>
                    <a:pt x="4110" y="3844"/>
                  </a:lnTo>
                  <a:lnTo>
                    <a:pt x="4075" y="3734"/>
                  </a:lnTo>
                  <a:lnTo>
                    <a:pt x="4041" y="3621"/>
                  </a:lnTo>
                  <a:lnTo>
                    <a:pt x="4008" y="3506"/>
                  </a:lnTo>
                  <a:lnTo>
                    <a:pt x="3991" y="3448"/>
                  </a:lnTo>
                  <a:lnTo>
                    <a:pt x="3976" y="3388"/>
                  </a:lnTo>
                  <a:lnTo>
                    <a:pt x="3961" y="3328"/>
                  </a:lnTo>
                  <a:lnTo>
                    <a:pt x="3946" y="3266"/>
                  </a:lnTo>
                  <a:lnTo>
                    <a:pt x="3931" y="3204"/>
                  </a:lnTo>
                  <a:lnTo>
                    <a:pt x="3918" y="3141"/>
                  </a:lnTo>
                  <a:lnTo>
                    <a:pt x="3904" y="3077"/>
                  </a:lnTo>
                  <a:lnTo>
                    <a:pt x="3891" y="3011"/>
                  </a:lnTo>
                  <a:lnTo>
                    <a:pt x="3879" y="2944"/>
                  </a:lnTo>
                  <a:lnTo>
                    <a:pt x="3867" y="2877"/>
                  </a:lnTo>
                  <a:lnTo>
                    <a:pt x="3856" y="2807"/>
                  </a:lnTo>
                  <a:lnTo>
                    <a:pt x="3846" y="2738"/>
                  </a:lnTo>
                  <a:lnTo>
                    <a:pt x="3836" y="2666"/>
                  </a:lnTo>
                  <a:lnTo>
                    <a:pt x="3827" y="2593"/>
                  </a:lnTo>
                  <a:lnTo>
                    <a:pt x="3819" y="2518"/>
                  </a:lnTo>
                  <a:lnTo>
                    <a:pt x="3811" y="2442"/>
                  </a:lnTo>
                  <a:lnTo>
                    <a:pt x="3803" y="2365"/>
                  </a:lnTo>
                  <a:lnTo>
                    <a:pt x="3797" y="2285"/>
                  </a:lnTo>
                  <a:lnTo>
                    <a:pt x="3792" y="2204"/>
                  </a:lnTo>
                  <a:lnTo>
                    <a:pt x="3788" y="2122"/>
                  </a:lnTo>
                  <a:lnTo>
                    <a:pt x="3785" y="2038"/>
                  </a:lnTo>
                  <a:lnTo>
                    <a:pt x="3782" y="1951"/>
                  </a:lnTo>
                  <a:lnTo>
                    <a:pt x="3781" y="1864"/>
                  </a:lnTo>
                  <a:lnTo>
                    <a:pt x="3780" y="1774"/>
                  </a:lnTo>
                  <a:lnTo>
                    <a:pt x="3780" y="912"/>
                  </a:lnTo>
                  <a:lnTo>
                    <a:pt x="3017" y="2111"/>
                  </a:lnTo>
                  <a:lnTo>
                    <a:pt x="2970" y="2186"/>
                  </a:lnTo>
                  <a:lnTo>
                    <a:pt x="2923" y="2261"/>
                  </a:lnTo>
                  <a:lnTo>
                    <a:pt x="2877" y="2334"/>
                  </a:lnTo>
                  <a:lnTo>
                    <a:pt x="2830" y="2407"/>
                  </a:lnTo>
                  <a:lnTo>
                    <a:pt x="2785" y="2479"/>
                  </a:lnTo>
                  <a:lnTo>
                    <a:pt x="2739" y="2550"/>
                  </a:lnTo>
                  <a:lnTo>
                    <a:pt x="2693" y="2622"/>
                  </a:lnTo>
                  <a:lnTo>
                    <a:pt x="2646" y="2694"/>
                  </a:lnTo>
                  <a:lnTo>
                    <a:pt x="2599" y="2766"/>
                  </a:lnTo>
                  <a:lnTo>
                    <a:pt x="2551" y="2840"/>
                  </a:lnTo>
                  <a:lnTo>
                    <a:pt x="2502" y="2913"/>
                  </a:lnTo>
                  <a:lnTo>
                    <a:pt x="2450" y="2989"/>
                  </a:lnTo>
                  <a:lnTo>
                    <a:pt x="2398" y="3066"/>
                  </a:lnTo>
                  <a:lnTo>
                    <a:pt x="2344" y="3145"/>
                  </a:lnTo>
                  <a:lnTo>
                    <a:pt x="2288" y="3226"/>
                  </a:lnTo>
                  <a:lnTo>
                    <a:pt x="2229" y="3308"/>
                  </a:lnTo>
                  <a:lnTo>
                    <a:pt x="2141" y="3108"/>
                  </a:lnTo>
                  <a:lnTo>
                    <a:pt x="2055" y="2913"/>
                  </a:lnTo>
                  <a:lnTo>
                    <a:pt x="1973" y="2724"/>
                  </a:lnTo>
                  <a:lnTo>
                    <a:pt x="1893" y="2541"/>
                  </a:lnTo>
                  <a:lnTo>
                    <a:pt x="1817" y="2364"/>
                  </a:lnTo>
                  <a:lnTo>
                    <a:pt x="1744" y="2191"/>
                  </a:lnTo>
                  <a:lnTo>
                    <a:pt x="1672" y="2023"/>
                  </a:lnTo>
                  <a:lnTo>
                    <a:pt x="1605" y="1861"/>
                  </a:lnTo>
                  <a:lnTo>
                    <a:pt x="1540" y="1701"/>
                  </a:lnTo>
                  <a:lnTo>
                    <a:pt x="1476" y="1546"/>
                  </a:lnTo>
                  <a:lnTo>
                    <a:pt x="1416" y="1395"/>
                  </a:lnTo>
                  <a:lnTo>
                    <a:pt x="1358" y="1247"/>
                  </a:lnTo>
                  <a:lnTo>
                    <a:pt x="1302" y="1101"/>
                  </a:lnTo>
                  <a:lnTo>
                    <a:pt x="1249" y="959"/>
                  </a:lnTo>
                  <a:lnTo>
                    <a:pt x="1197" y="819"/>
                  </a:lnTo>
                  <a:lnTo>
                    <a:pt x="1148" y="681"/>
                  </a:lnTo>
                  <a:lnTo>
                    <a:pt x="907" y="0"/>
                  </a:lnTo>
                  <a:lnTo>
                    <a:pt x="646" y="762"/>
                  </a:lnTo>
                  <a:lnTo>
                    <a:pt x="584" y="943"/>
                  </a:lnTo>
                  <a:lnTo>
                    <a:pt x="523" y="1126"/>
                  </a:lnTo>
                  <a:lnTo>
                    <a:pt x="493" y="1217"/>
                  </a:lnTo>
                  <a:lnTo>
                    <a:pt x="463" y="1311"/>
                  </a:lnTo>
                  <a:lnTo>
                    <a:pt x="434" y="1406"/>
                  </a:lnTo>
                  <a:lnTo>
                    <a:pt x="405" y="1502"/>
                  </a:lnTo>
                  <a:lnTo>
                    <a:pt x="377" y="1599"/>
                  </a:lnTo>
                  <a:lnTo>
                    <a:pt x="348" y="1700"/>
                  </a:lnTo>
                  <a:lnTo>
                    <a:pt x="322" y="1803"/>
                  </a:lnTo>
                  <a:lnTo>
                    <a:pt x="295" y="1908"/>
                  </a:lnTo>
                  <a:lnTo>
                    <a:pt x="270" y="2017"/>
                  </a:lnTo>
                  <a:lnTo>
                    <a:pt x="245" y="2129"/>
                  </a:lnTo>
                  <a:lnTo>
                    <a:pt x="221" y="2244"/>
                  </a:lnTo>
                  <a:lnTo>
                    <a:pt x="199" y="2363"/>
                  </a:lnTo>
                  <a:lnTo>
                    <a:pt x="176" y="2487"/>
                  </a:lnTo>
                  <a:lnTo>
                    <a:pt x="155" y="2614"/>
                  </a:lnTo>
                  <a:lnTo>
                    <a:pt x="135" y="2747"/>
                  </a:lnTo>
                  <a:lnTo>
                    <a:pt x="116" y="2884"/>
                  </a:lnTo>
                  <a:lnTo>
                    <a:pt x="99" y="3026"/>
                  </a:lnTo>
                  <a:lnTo>
                    <a:pt x="83" y="3174"/>
                  </a:lnTo>
                  <a:lnTo>
                    <a:pt x="68" y="3329"/>
                  </a:lnTo>
                  <a:lnTo>
                    <a:pt x="54" y="3488"/>
                  </a:lnTo>
                  <a:lnTo>
                    <a:pt x="42" y="3654"/>
                  </a:lnTo>
                  <a:lnTo>
                    <a:pt x="31" y="3828"/>
                  </a:lnTo>
                  <a:lnTo>
                    <a:pt x="22" y="4007"/>
                  </a:lnTo>
                  <a:lnTo>
                    <a:pt x="14" y="4194"/>
                  </a:lnTo>
                  <a:lnTo>
                    <a:pt x="8" y="4388"/>
                  </a:lnTo>
                  <a:lnTo>
                    <a:pt x="4" y="4590"/>
                  </a:lnTo>
                  <a:lnTo>
                    <a:pt x="1" y="4801"/>
                  </a:lnTo>
                  <a:lnTo>
                    <a:pt x="0" y="5018"/>
                  </a:lnTo>
                  <a:lnTo>
                    <a:pt x="0" y="5032"/>
                  </a:lnTo>
                  <a:lnTo>
                    <a:pt x="1" y="5045"/>
                  </a:lnTo>
                  <a:lnTo>
                    <a:pt x="3" y="5057"/>
                  </a:lnTo>
                  <a:lnTo>
                    <a:pt x="5" y="5070"/>
                  </a:lnTo>
                  <a:lnTo>
                    <a:pt x="8" y="5082"/>
                  </a:lnTo>
                  <a:lnTo>
                    <a:pt x="11" y="5094"/>
                  </a:lnTo>
                  <a:lnTo>
                    <a:pt x="15" y="5105"/>
                  </a:lnTo>
                  <a:lnTo>
                    <a:pt x="20" y="5117"/>
                  </a:lnTo>
                  <a:lnTo>
                    <a:pt x="25" y="5128"/>
                  </a:lnTo>
                  <a:lnTo>
                    <a:pt x="30" y="5138"/>
                  </a:lnTo>
                  <a:lnTo>
                    <a:pt x="36" y="5150"/>
                  </a:lnTo>
                  <a:lnTo>
                    <a:pt x="43" y="5160"/>
                  </a:lnTo>
                  <a:lnTo>
                    <a:pt x="50" y="5170"/>
                  </a:lnTo>
                  <a:lnTo>
                    <a:pt x="57" y="5179"/>
                  </a:lnTo>
                  <a:lnTo>
                    <a:pt x="65" y="5188"/>
                  </a:lnTo>
                  <a:lnTo>
                    <a:pt x="73" y="5197"/>
                  </a:lnTo>
                  <a:lnTo>
                    <a:pt x="82" y="5205"/>
                  </a:lnTo>
                  <a:lnTo>
                    <a:pt x="91" y="5213"/>
                  </a:lnTo>
                  <a:lnTo>
                    <a:pt x="100" y="5221"/>
                  </a:lnTo>
                  <a:lnTo>
                    <a:pt x="110" y="5228"/>
                  </a:lnTo>
                  <a:lnTo>
                    <a:pt x="120" y="5234"/>
                  </a:lnTo>
                  <a:lnTo>
                    <a:pt x="131" y="5240"/>
                  </a:lnTo>
                  <a:lnTo>
                    <a:pt x="141" y="5246"/>
                  </a:lnTo>
                  <a:lnTo>
                    <a:pt x="152" y="5251"/>
                  </a:lnTo>
                  <a:lnTo>
                    <a:pt x="164" y="5255"/>
                  </a:lnTo>
                  <a:lnTo>
                    <a:pt x="176" y="5259"/>
                  </a:lnTo>
                  <a:lnTo>
                    <a:pt x="188" y="5262"/>
                  </a:lnTo>
                  <a:lnTo>
                    <a:pt x="201" y="5265"/>
                  </a:lnTo>
                  <a:lnTo>
                    <a:pt x="213" y="5267"/>
                  </a:lnTo>
                  <a:lnTo>
                    <a:pt x="225" y="5270"/>
                  </a:lnTo>
                  <a:lnTo>
                    <a:pt x="238" y="5271"/>
                  </a:lnTo>
                  <a:lnTo>
                    <a:pt x="251" y="5271"/>
                  </a:lnTo>
                  <a:lnTo>
                    <a:pt x="264" y="5271"/>
                  </a:lnTo>
                  <a:lnTo>
                    <a:pt x="277" y="5270"/>
                  </a:lnTo>
                  <a:lnTo>
                    <a:pt x="289" y="5267"/>
                  </a:lnTo>
                  <a:lnTo>
                    <a:pt x="301" y="5265"/>
                  </a:lnTo>
                  <a:lnTo>
                    <a:pt x="313" y="5262"/>
                  </a:lnTo>
                  <a:lnTo>
                    <a:pt x="325" y="5259"/>
                  </a:lnTo>
                  <a:lnTo>
                    <a:pt x="337" y="5255"/>
                  </a:lnTo>
                  <a:lnTo>
                    <a:pt x="348" y="5251"/>
                  </a:lnTo>
                  <a:lnTo>
                    <a:pt x="359" y="5246"/>
                  </a:lnTo>
                  <a:lnTo>
                    <a:pt x="370" y="5240"/>
                  </a:lnTo>
                  <a:lnTo>
                    <a:pt x="382" y="5234"/>
                  </a:lnTo>
                  <a:lnTo>
                    <a:pt x="392" y="5228"/>
                  </a:lnTo>
                  <a:lnTo>
                    <a:pt x="402" y="5221"/>
                  </a:lnTo>
                  <a:lnTo>
                    <a:pt x="411" y="5213"/>
                  </a:lnTo>
                  <a:lnTo>
                    <a:pt x="420" y="5205"/>
                  </a:lnTo>
                  <a:lnTo>
                    <a:pt x="429" y="5197"/>
                  </a:lnTo>
                  <a:lnTo>
                    <a:pt x="437" y="5188"/>
                  </a:lnTo>
                  <a:lnTo>
                    <a:pt x="445" y="5179"/>
                  </a:lnTo>
                  <a:lnTo>
                    <a:pt x="452" y="5170"/>
                  </a:lnTo>
                  <a:lnTo>
                    <a:pt x="459" y="5160"/>
                  </a:lnTo>
                  <a:lnTo>
                    <a:pt x="466" y="5150"/>
                  </a:lnTo>
                  <a:lnTo>
                    <a:pt x="472" y="5138"/>
                  </a:lnTo>
                  <a:lnTo>
                    <a:pt x="477" y="5128"/>
                  </a:lnTo>
                  <a:lnTo>
                    <a:pt x="482" y="5117"/>
                  </a:lnTo>
                  <a:lnTo>
                    <a:pt x="487" y="5105"/>
                  </a:lnTo>
                  <a:lnTo>
                    <a:pt x="491" y="5094"/>
                  </a:lnTo>
                  <a:lnTo>
                    <a:pt x="494" y="5082"/>
                  </a:lnTo>
                  <a:lnTo>
                    <a:pt x="497" y="5070"/>
                  </a:lnTo>
                  <a:lnTo>
                    <a:pt x="499" y="5057"/>
                  </a:lnTo>
                  <a:lnTo>
                    <a:pt x="501" y="5045"/>
                  </a:lnTo>
                  <a:lnTo>
                    <a:pt x="502" y="5032"/>
                  </a:lnTo>
                  <a:lnTo>
                    <a:pt x="502" y="5018"/>
                  </a:lnTo>
                  <a:lnTo>
                    <a:pt x="503" y="4851"/>
                  </a:lnTo>
                  <a:lnTo>
                    <a:pt x="504" y="4688"/>
                  </a:lnTo>
                  <a:lnTo>
                    <a:pt x="507" y="4530"/>
                  </a:lnTo>
                  <a:lnTo>
                    <a:pt x="510" y="4378"/>
                  </a:lnTo>
                  <a:lnTo>
                    <a:pt x="515" y="4230"/>
                  </a:lnTo>
                  <a:lnTo>
                    <a:pt x="520" y="4087"/>
                  </a:lnTo>
                  <a:lnTo>
                    <a:pt x="527" y="3949"/>
                  </a:lnTo>
                  <a:lnTo>
                    <a:pt x="534" y="3814"/>
                  </a:lnTo>
                  <a:lnTo>
                    <a:pt x="542" y="3684"/>
                  </a:lnTo>
                  <a:lnTo>
                    <a:pt x="551" y="3557"/>
                  </a:lnTo>
                  <a:lnTo>
                    <a:pt x="562" y="3435"/>
                  </a:lnTo>
                  <a:lnTo>
                    <a:pt x="573" y="3318"/>
                  </a:lnTo>
                  <a:lnTo>
                    <a:pt x="584" y="3203"/>
                  </a:lnTo>
                  <a:lnTo>
                    <a:pt x="596" y="3092"/>
                  </a:lnTo>
                  <a:lnTo>
                    <a:pt x="609" y="2984"/>
                  </a:lnTo>
                  <a:lnTo>
                    <a:pt x="623" y="2879"/>
                  </a:lnTo>
                  <a:lnTo>
                    <a:pt x="637" y="2777"/>
                  </a:lnTo>
                  <a:lnTo>
                    <a:pt x="653" y="2678"/>
                  </a:lnTo>
                  <a:lnTo>
                    <a:pt x="668" y="2583"/>
                  </a:lnTo>
                  <a:lnTo>
                    <a:pt x="685" y="2490"/>
                  </a:lnTo>
                  <a:lnTo>
                    <a:pt x="702" y="2398"/>
                  </a:lnTo>
                  <a:lnTo>
                    <a:pt x="719" y="2310"/>
                  </a:lnTo>
                  <a:lnTo>
                    <a:pt x="737" y="2224"/>
                  </a:lnTo>
                  <a:lnTo>
                    <a:pt x="757" y="2139"/>
                  </a:lnTo>
                  <a:lnTo>
                    <a:pt x="776" y="2056"/>
                  </a:lnTo>
                  <a:lnTo>
                    <a:pt x="796" y="1976"/>
                  </a:lnTo>
                  <a:lnTo>
                    <a:pt x="816" y="1897"/>
                  </a:lnTo>
                  <a:lnTo>
                    <a:pt x="837" y="1819"/>
                  </a:lnTo>
                  <a:lnTo>
                    <a:pt x="858" y="1743"/>
                  </a:lnTo>
                  <a:lnTo>
                    <a:pt x="880" y="1667"/>
                  </a:lnTo>
                  <a:lnTo>
                    <a:pt x="902" y="1593"/>
                  </a:lnTo>
                  <a:lnTo>
                    <a:pt x="924" y="1520"/>
                  </a:lnTo>
                  <a:lnTo>
                    <a:pt x="975" y="1646"/>
                  </a:lnTo>
                  <a:lnTo>
                    <a:pt x="1026" y="1774"/>
                  </a:lnTo>
                  <a:lnTo>
                    <a:pt x="1079" y="1905"/>
                  </a:lnTo>
                  <a:lnTo>
                    <a:pt x="1134" y="2038"/>
                  </a:lnTo>
                  <a:lnTo>
                    <a:pt x="1191" y="2175"/>
                  </a:lnTo>
                  <a:lnTo>
                    <a:pt x="1249" y="2314"/>
                  </a:lnTo>
                  <a:lnTo>
                    <a:pt x="1309" y="2456"/>
                  </a:lnTo>
                  <a:lnTo>
                    <a:pt x="1372" y="2603"/>
                  </a:lnTo>
                  <a:lnTo>
                    <a:pt x="1436" y="2753"/>
                  </a:lnTo>
                  <a:lnTo>
                    <a:pt x="1503" y="2906"/>
                  </a:lnTo>
                  <a:lnTo>
                    <a:pt x="1572" y="3063"/>
                  </a:lnTo>
                  <a:lnTo>
                    <a:pt x="1642" y="3225"/>
                  </a:lnTo>
                  <a:lnTo>
                    <a:pt x="1716" y="3390"/>
                  </a:lnTo>
                  <a:lnTo>
                    <a:pt x="1791" y="3561"/>
                  </a:lnTo>
                  <a:lnTo>
                    <a:pt x="1868" y="3735"/>
                  </a:lnTo>
                  <a:lnTo>
                    <a:pt x="1949" y="3914"/>
                  </a:lnTo>
                  <a:lnTo>
                    <a:pt x="2126" y="4310"/>
                  </a:lnTo>
                  <a:lnTo>
                    <a:pt x="2381" y="3960"/>
                  </a:lnTo>
                  <a:lnTo>
                    <a:pt x="2456" y="3856"/>
                  </a:lnTo>
                  <a:lnTo>
                    <a:pt x="2530" y="3755"/>
                  </a:lnTo>
                  <a:lnTo>
                    <a:pt x="2599" y="3658"/>
                  </a:lnTo>
                  <a:lnTo>
                    <a:pt x="2665" y="3565"/>
                  </a:lnTo>
                  <a:lnTo>
                    <a:pt x="2728" y="3474"/>
                  </a:lnTo>
                  <a:lnTo>
                    <a:pt x="2789" y="3386"/>
                  </a:lnTo>
                  <a:lnTo>
                    <a:pt x="2847" y="3300"/>
                  </a:lnTo>
                  <a:lnTo>
                    <a:pt x="2904" y="3217"/>
                  </a:lnTo>
                  <a:lnTo>
                    <a:pt x="2959" y="3135"/>
                  </a:lnTo>
                  <a:lnTo>
                    <a:pt x="3012" y="3054"/>
                  </a:lnTo>
                  <a:lnTo>
                    <a:pt x="3065" y="2974"/>
                  </a:lnTo>
                  <a:lnTo>
                    <a:pt x="3116" y="2895"/>
                  </a:lnTo>
                  <a:lnTo>
                    <a:pt x="3166" y="2816"/>
                  </a:lnTo>
                  <a:lnTo>
                    <a:pt x="3216" y="2737"/>
                  </a:lnTo>
                  <a:lnTo>
                    <a:pt x="3268" y="2657"/>
                  </a:lnTo>
                  <a:lnTo>
                    <a:pt x="3318" y="2577"/>
                  </a:lnTo>
                  <a:lnTo>
                    <a:pt x="3326" y="2647"/>
                  </a:lnTo>
                  <a:lnTo>
                    <a:pt x="3334" y="2715"/>
                  </a:lnTo>
                  <a:lnTo>
                    <a:pt x="3343" y="2782"/>
                  </a:lnTo>
                  <a:lnTo>
                    <a:pt x="3353" y="2848"/>
                  </a:lnTo>
                  <a:lnTo>
                    <a:pt x="3362" y="2912"/>
                  </a:lnTo>
                  <a:lnTo>
                    <a:pt x="3373" y="2976"/>
                  </a:lnTo>
                  <a:lnTo>
                    <a:pt x="3384" y="3038"/>
                  </a:lnTo>
                  <a:lnTo>
                    <a:pt x="3395" y="3101"/>
                  </a:lnTo>
                  <a:lnTo>
                    <a:pt x="3407" y="3161"/>
                  </a:lnTo>
                  <a:lnTo>
                    <a:pt x="3419" y="3221"/>
                  </a:lnTo>
                  <a:lnTo>
                    <a:pt x="3433" y="3280"/>
                  </a:lnTo>
                  <a:lnTo>
                    <a:pt x="3446" y="3339"/>
                  </a:lnTo>
                  <a:lnTo>
                    <a:pt x="3474" y="3453"/>
                  </a:lnTo>
                  <a:lnTo>
                    <a:pt x="3502" y="3564"/>
                  </a:lnTo>
                  <a:lnTo>
                    <a:pt x="3532" y="3672"/>
                  </a:lnTo>
                  <a:lnTo>
                    <a:pt x="3563" y="3778"/>
                  </a:lnTo>
                  <a:lnTo>
                    <a:pt x="3595" y="3883"/>
                  </a:lnTo>
                  <a:lnTo>
                    <a:pt x="3628" y="3986"/>
                  </a:lnTo>
                  <a:lnTo>
                    <a:pt x="3661" y="4088"/>
                  </a:lnTo>
                  <a:lnTo>
                    <a:pt x="3695" y="4188"/>
                  </a:lnTo>
                  <a:lnTo>
                    <a:pt x="3729" y="4287"/>
                  </a:lnTo>
                  <a:lnTo>
                    <a:pt x="3763" y="4387"/>
                  </a:lnTo>
                  <a:lnTo>
                    <a:pt x="3854" y="4653"/>
                  </a:lnTo>
                  <a:lnTo>
                    <a:pt x="4108" y="4532"/>
                  </a:lnTo>
                  <a:lnTo>
                    <a:pt x="4234" y="4472"/>
                  </a:lnTo>
                  <a:lnTo>
                    <a:pt x="4354" y="4412"/>
                  </a:lnTo>
                  <a:lnTo>
                    <a:pt x="4472" y="4352"/>
                  </a:lnTo>
                  <a:lnTo>
                    <a:pt x="4585" y="4293"/>
                  </a:lnTo>
                  <a:lnTo>
                    <a:pt x="4694" y="4233"/>
                  </a:lnTo>
                  <a:lnTo>
                    <a:pt x="4801" y="4175"/>
                  </a:lnTo>
                  <a:lnTo>
                    <a:pt x="4902" y="4116"/>
                  </a:lnTo>
                  <a:lnTo>
                    <a:pt x="5001" y="4058"/>
                  </a:lnTo>
                  <a:lnTo>
                    <a:pt x="5096" y="4000"/>
                  </a:lnTo>
                  <a:lnTo>
                    <a:pt x="5189" y="3942"/>
                  </a:lnTo>
                  <a:lnTo>
                    <a:pt x="5277" y="3884"/>
                  </a:lnTo>
                  <a:lnTo>
                    <a:pt x="5364" y="3828"/>
                  </a:lnTo>
                  <a:lnTo>
                    <a:pt x="5446" y="3770"/>
                  </a:lnTo>
                  <a:lnTo>
                    <a:pt x="5527" y="3714"/>
                  </a:lnTo>
                  <a:lnTo>
                    <a:pt x="5604" y="3657"/>
                  </a:lnTo>
                  <a:lnTo>
                    <a:pt x="5678" y="3601"/>
                  </a:lnTo>
                  <a:lnTo>
                    <a:pt x="5751" y="3545"/>
                  </a:lnTo>
                  <a:lnTo>
                    <a:pt x="5820" y="3489"/>
                  </a:lnTo>
                  <a:lnTo>
                    <a:pt x="5888" y="3433"/>
                  </a:lnTo>
                  <a:lnTo>
                    <a:pt x="5954" y="3379"/>
                  </a:lnTo>
                  <a:lnTo>
                    <a:pt x="6017" y="3324"/>
                  </a:lnTo>
                  <a:lnTo>
                    <a:pt x="6078" y="3269"/>
                  </a:lnTo>
                  <a:lnTo>
                    <a:pt x="6138" y="3214"/>
                  </a:lnTo>
                  <a:lnTo>
                    <a:pt x="6195" y="3159"/>
                  </a:lnTo>
                  <a:lnTo>
                    <a:pt x="6251" y="3106"/>
                  </a:lnTo>
                  <a:lnTo>
                    <a:pt x="6307" y="3051"/>
                  </a:lnTo>
                  <a:lnTo>
                    <a:pt x="6360" y="2998"/>
                  </a:lnTo>
                  <a:lnTo>
                    <a:pt x="6411" y="2943"/>
                  </a:lnTo>
                  <a:lnTo>
                    <a:pt x="6462" y="2890"/>
                  </a:lnTo>
                  <a:lnTo>
                    <a:pt x="6512" y="2837"/>
                  </a:lnTo>
                  <a:lnTo>
                    <a:pt x="6560" y="2783"/>
                  </a:lnTo>
                  <a:lnTo>
                    <a:pt x="6608" y="2731"/>
                  </a:lnTo>
                  <a:lnTo>
                    <a:pt x="6615" y="2818"/>
                  </a:lnTo>
                  <a:lnTo>
                    <a:pt x="6620" y="2907"/>
                  </a:lnTo>
                  <a:lnTo>
                    <a:pt x="6624" y="2997"/>
                  </a:lnTo>
                  <a:lnTo>
                    <a:pt x="6628" y="3087"/>
                  </a:lnTo>
                  <a:lnTo>
                    <a:pt x="6630" y="3176"/>
                  </a:lnTo>
                  <a:lnTo>
                    <a:pt x="6631" y="3266"/>
                  </a:lnTo>
                  <a:lnTo>
                    <a:pt x="6630" y="3356"/>
                  </a:lnTo>
                  <a:lnTo>
                    <a:pt x="6629" y="3446"/>
                  </a:lnTo>
                  <a:lnTo>
                    <a:pt x="6627" y="3535"/>
                  </a:lnTo>
                  <a:lnTo>
                    <a:pt x="6623" y="3626"/>
                  </a:lnTo>
                  <a:lnTo>
                    <a:pt x="6618" y="3715"/>
                  </a:lnTo>
                  <a:lnTo>
                    <a:pt x="6612" y="3805"/>
                  </a:lnTo>
                  <a:lnTo>
                    <a:pt x="6605" y="3893"/>
                  </a:lnTo>
                  <a:lnTo>
                    <a:pt x="6597" y="3982"/>
                  </a:lnTo>
                  <a:lnTo>
                    <a:pt x="6588" y="4071"/>
                  </a:lnTo>
                  <a:lnTo>
                    <a:pt x="6578" y="4158"/>
                  </a:lnTo>
                  <a:lnTo>
                    <a:pt x="6567" y="4245"/>
                  </a:lnTo>
                  <a:lnTo>
                    <a:pt x="6554" y="4332"/>
                  </a:lnTo>
                  <a:lnTo>
                    <a:pt x="6541" y="4418"/>
                  </a:lnTo>
                  <a:lnTo>
                    <a:pt x="6526" y="4502"/>
                  </a:lnTo>
                  <a:lnTo>
                    <a:pt x="6511" y="4586"/>
                  </a:lnTo>
                  <a:lnTo>
                    <a:pt x="6494" y="4669"/>
                  </a:lnTo>
                  <a:lnTo>
                    <a:pt x="6476" y="4750"/>
                  </a:lnTo>
                  <a:lnTo>
                    <a:pt x="6457" y="4831"/>
                  </a:lnTo>
                  <a:lnTo>
                    <a:pt x="6437" y="4911"/>
                  </a:lnTo>
                  <a:lnTo>
                    <a:pt x="6416" y="4989"/>
                  </a:lnTo>
                  <a:lnTo>
                    <a:pt x="6394" y="5067"/>
                  </a:lnTo>
                  <a:lnTo>
                    <a:pt x="6371" y="5142"/>
                  </a:lnTo>
                  <a:lnTo>
                    <a:pt x="6347" y="5216"/>
                  </a:lnTo>
                  <a:lnTo>
                    <a:pt x="6322" y="5289"/>
                  </a:lnTo>
                  <a:lnTo>
                    <a:pt x="6297" y="5360"/>
                  </a:lnTo>
                  <a:lnTo>
                    <a:pt x="6269" y="5429"/>
                  </a:lnTo>
                  <a:lnTo>
                    <a:pt x="6264" y="5441"/>
                  </a:lnTo>
                  <a:lnTo>
                    <a:pt x="6260" y="5453"/>
                  </a:lnTo>
                  <a:lnTo>
                    <a:pt x="6257" y="5466"/>
                  </a:lnTo>
                  <a:lnTo>
                    <a:pt x="6255" y="5478"/>
                  </a:lnTo>
                  <a:lnTo>
                    <a:pt x="6253" y="5490"/>
                  </a:lnTo>
                  <a:lnTo>
                    <a:pt x="6251" y="5502"/>
                  </a:lnTo>
                  <a:lnTo>
                    <a:pt x="6251" y="5515"/>
                  </a:lnTo>
                  <a:lnTo>
                    <a:pt x="6251" y="5528"/>
                  </a:lnTo>
                  <a:lnTo>
                    <a:pt x="6251" y="5540"/>
                  </a:lnTo>
                  <a:lnTo>
                    <a:pt x="6252" y="5552"/>
                  </a:lnTo>
                  <a:lnTo>
                    <a:pt x="6254" y="5564"/>
                  </a:lnTo>
                  <a:lnTo>
                    <a:pt x="6256" y="5575"/>
                  </a:lnTo>
                  <a:lnTo>
                    <a:pt x="6259" y="5587"/>
                  </a:lnTo>
                  <a:lnTo>
                    <a:pt x="6263" y="5599"/>
                  </a:lnTo>
                  <a:lnTo>
                    <a:pt x="6266" y="5610"/>
                  </a:lnTo>
                  <a:lnTo>
                    <a:pt x="6271" y="5621"/>
                  </a:lnTo>
                  <a:lnTo>
                    <a:pt x="6276" y="5632"/>
                  </a:lnTo>
                  <a:lnTo>
                    <a:pt x="6281" y="5644"/>
                  </a:lnTo>
                  <a:lnTo>
                    <a:pt x="6288" y="5654"/>
                  </a:lnTo>
                  <a:lnTo>
                    <a:pt x="6295" y="5664"/>
                  </a:lnTo>
                  <a:lnTo>
                    <a:pt x="6302" y="5674"/>
                  </a:lnTo>
                  <a:lnTo>
                    <a:pt x="6309" y="5683"/>
                  </a:lnTo>
                  <a:lnTo>
                    <a:pt x="6317" y="5693"/>
                  </a:lnTo>
                  <a:lnTo>
                    <a:pt x="6326" y="5702"/>
                  </a:lnTo>
                  <a:lnTo>
                    <a:pt x="6334" y="5710"/>
                  </a:lnTo>
                  <a:lnTo>
                    <a:pt x="6344" y="5718"/>
                  </a:lnTo>
                  <a:lnTo>
                    <a:pt x="6353" y="5726"/>
                  </a:lnTo>
                  <a:lnTo>
                    <a:pt x="6364" y="5733"/>
                  </a:lnTo>
                  <a:lnTo>
                    <a:pt x="6374" y="5739"/>
                  </a:lnTo>
                  <a:lnTo>
                    <a:pt x="6385" y="5745"/>
                  </a:lnTo>
                  <a:lnTo>
                    <a:pt x="6396" y="5751"/>
                  </a:lnTo>
                  <a:lnTo>
                    <a:pt x="6408" y="5756"/>
                  </a:lnTo>
                  <a:lnTo>
                    <a:pt x="6420" y="5761"/>
                  </a:lnTo>
                  <a:lnTo>
                    <a:pt x="6431" y="5765"/>
                  </a:lnTo>
                  <a:lnTo>
                    <a:pt x="6443" y="5768"/>
                  </a:lnTo>
                  <a:lnTo>
                    <a:pt x="6455" y="5771"/>
                  </a:lnTo>
                  <a:lnTo>
                    <a:pt x="6467" y="5773"/>
                  </a:lnTo>
                  <a:lnTo>
                    <a:pt x="6480" y="5774"/>
                  </a:lnTo>
                  <a:lnTo>
                    <a:pt x="6491" y="5775"/>
                  </a:lnTo>
                  <a:lnTo>
                    <a:pt x="6503" y="5775"/>
                  </a:lnTo>
                  <a:lnTo>
                    <a:pt x="6522" y="5775"/>
                  </a:lnTo>
                  <a:lnTo>
                    <a:pt x="6540" y="5773"/>
                  </a:lnTo>
                  <a:lnTo>
                    <a:pt x="6558" y="5769"/>
                  </a:lnTo>
                  <a:lnTo>
                    <a:pt x="6576" y="5765"/>
                  </a:lnTo>
                  <a:lnTo>
                    <a:pt x="6593" y="5759"/>
                  </a:lnTo>
                  <a:lnTo>
                    <a:pt x="6610" y="5750"/>
                  </a:lnTo>
                  <a:lnTo>
                    <a:pt x="6626" y="5742"/>
                  </a:lnTo>
                  <a:lnTo>
                    <a:pt x="6641" y="5733"/>
                  </a:lnTo>
                  <a:lnTo>
                    <a:pt x="6656" y="5722"/>
                  </a:lnTo>
                  <a:lnTo>
                    <a:pt x="6671" y="5710"/>
                  </a:lnTo>
                  <a:lnTo>
                    <a:pt x="6685" y="5697"/>
                  </a:lnTo>
                  <a:lnTo>
                    <a:pt x="6697" y="5683"/>
                  </a:lnTo>
                  <a:lnTo>
                    <a:pt x="6708" y="5668"/>
                  </a:lnTo>
                  <a:lnTo>
                    <a:pt x="6719" y="5652"/>
                  </a:lnTo>
                  <a:lnTo>
                    <a:pt x="6728" y="5635"/>
                  </a:lnTo>
                  <a:lnTo>
                    <a:pt x="6736" y="5617"/>
                  </a:lnTo>
                  <a:lnTo>
                    <a:pt x="6771" y="5525"/>
                  </a:lnTo>
                  <a:lnTo>
                    <a:pt x="6805" y="5431"/>
                  </a:lnTo>
                  <a:lnTo>
                    <a:pt x="6838" y="5334"/>
                  </a:lnTo>
                  <a:lnTo>
                    <a:pt x="6869" y="5235"/>
                  </a:lnTo>
                  <a:lnTo>
                    <a:pt x="6898" y="5134"/>
                  </a:lnTo>
                  <a:lnTo>
                    <a:pt x="6926" y="5033"/>
                  </a:lnTo>
                  <a:lnTo>
                    <a:pt x="6952" y="4928"/>
                  </a:lnTo>
                  <a:lnTo>
                    <a:pt x="6976" y="4822"/>
                  </a:lnTo>
                  <a:lnTo>
                    <a:pt x="6998" y="4715"/>
                  </a:lnTo>
                  <a:lnTo>
                    <a:pt x="7019" y="4606"/>
                  </a:lnTo>
                  <a:lnTo>
                    <a:pt x="7038" y="4496"/>
                  </a:lnTo>
                  <a:lnTo>
                    <a:pt x="7057" y="4385"/>
                  </a:lnTo>
                  <a:lnTo>
                    <a:pt x="7072" y="4273"/>
                  </a:lnTo>
                  <a:lnTo>
                    <a:pt x="7086" y="4160"/>
                  </a:lnTo>
                  <a:lnTo>
                    <a:pt x="7099" y="4046"/>
                  </a:lnTo>
                  <a:lnTo>
                    <a:pt x="7109" y="3932"/>
                  </a:lnTo>
                  <a:lnTo>
                    <a:pt x="7118" y="3817"/>
                  </a:lnTo>
                  <a:lnTo>
                    <a:pt x="7125" y="3701"/>
                  </a:lnTo>
                  <a:lnTo>
                    <a:pt x="7130" y="3585"/>
                  </a:lnTo>
                  <a:lnTo>
                    <a:pt x="7134" y="3469"/>
                  </a:lnTo>
                  <a:lnTo>
                    <a:pt x="7135" y="3353"/>
                  </a:lnTo>
                  <a:lnTo>
                    <a:pt x="7135" y="3236"/>
                  </a:lnTo>
                  <a:lnTo>
                    <a:pt x="7133" y="3120"/>
                  </a:lnTo>
                  <a:lnTo>
                    <a:pt x="7130" y="3004"/>
                  </a:lnTo>
                  <a:lnTo>
                    <a:pt x="7124" y="2888"/>
                  </a:lnTo>
                  <a:lnTo>
                    <a:pt x="7117" y="2773"/>
                  </a:lnTo>
                  <a:lnTo>
                    <a:pt x="7108" y="2658"/>
                  </a:lnTo>
                  <a:lnTo>
                    <a:pt x="7097" y="2544"/>
                  </a:lnTo>
                  <a:lnTo>
                    <a:pt x="7084" y="2430"/>
                  </a:lnTo>
                  <a:lnTo>
                    <a:pt x="7069" y="2318"/>
                  </a:lnTo>
                  <a:lnTo>
                    <a:pt x="7052" y="2207"/>
                  </a:lnTo>
                  <a:lnTo>
                    <a:pt x="7033" y="2097"/>
                  </a:lnTo>
                  <a:lnTo>
                    <a:pt x="6940" y="15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52" name="íšḷiḋe">
              <a:extLst>
                <a:ext uri="{FF2B5EF4-FFF2-40B4-BE49-F238E27FC236}">
                  <a16:creationId xmlns:a16="http://schemas.microsoft.com/office/drawing/2014/main" id="{063297C1-ADE4-4F8F-B9CC-EA2FF32D4AF5}"/>
                </a:ext>
              </a:extLst>
            </p:cNvPr>
            <p:cNvSpPr/>
            <p:nvPr/>
          </p:nvSpPr>
          <p:spPr bwMode="auto">
            <a:xfrm>
              <a:off x="9065011" y="929319"/>
              <a:ext cx="464950" cy="466054"/>
            </a:xfrm>
            <a:custGeom>
              <a:avLst/>
              <a:gdLst>
                <a:gd name="T0" fmla="*/ 11438 w 16419"/>
                <a:gd name="T1" fmla="*/ 11992 h 16036"/>
                <a:gd name="T2" fmla="*/ 12051 w 16419"/>
                <a:gd name="T3" fmla="*/ 9611 h 16036"/>
                <a:gd name="T4" fmla="*/ 15080 w 16419"/>
                <a:gd name="T5" fmla="*/ 9931 h 16036"/>
                <a:gd name="T6" fmla="*/ 13248 w 16419"/>
                <a:gd name="T7" fmla="*/ 12967 h 16036"/>
                <a:gd name="T8" fmla="*/ 4590 w 16419"/>
                <a:gd name="T9" fmla="*/ 10655 h 16036"/>
                <a:gd name="T10" fmla="*/ 4429 w 16419"/>
                <a:gd name="T11" fmla="*/ 12231 h 16036"/>
                <a:gd name="T12" fmla="*/ 2147 w 16419"/>
                <a:gd name="T13" fmla="*/ 11712 h 16036"/>
                <a:gd name="T14" fmla="*/ 1073 w 16419"/>
                <a:gd name="T15" fmla="*/ 8277 h 16036"/>
                <a:gd name="T16" fmla="*/ 4139 w 16419"/>
                <a:gd name="T17" fmla="*/ 4183 h 16036"/>
                <a:gd name="T18" fmla="*/ 4533 w 16419"/>
                <a:gd name="T19" fmla="*/ 5582 h 16036"/>
                <a:gd name="T20" fmla="*/ 1073 w 16419"/>
                <a:gd name="T21" fmla="*/ 7759 h 16036"/>
                <a:gd name="T22" fmla="*/ 1997 w 16419"/>
                <a:gd name="T23" fmla="*/ 4578 h 16036"/>
                <a:gd name="T24" fmla="*/ 9313 w 16419"/>
                <a:gd name="T25" fmla="*/ 5095 h 16036"/>
                <a:gd name="T26" fmla="*/ 11066 w 16419"/>
                <a:gd name="T27" fmla="*/ 4695 h 16036"/>
                <a:gd name="T28" fmla="*/ 11565 w 16419"/>
                <a:gd name="T29" fmla="*/ 6759 h 16036"/>
                <a:gd name="T30" fmla="*/ 10152 w 16419"/>
                <a:gd name="T31" fmla="*/ 11598 h 16036"/>
                <a:gd name="T32" fmla="*/ 8474 w 16419"/>
                <a:gd name="T33" fmla="*/ 11394 h 16036"/>
                <a:gd name="T34" fmla="*/ 11313 w 16419"/>
                <a:gd name="T35" fmla="*/ 10543 h 16036"/>
                <a:gd name="T36" fmla="*/ 12142 w 16419"/>
                <a:gd name="T37" fmla="*/ 12889 h 16036"/>
                <a:gd name="T38" fmla="*/ 11354 w 16419"/>
                <a:gd name="T39" fmla="*/ 14282 h 16036"/>
                <a:gd name="T40" fmla="*/ 9710 w 16419"/>
                <a:gd name="T41" fmla="*/ 14564 h 16036"/>
                <a:gd name="T42" fmla="*/ 10935 w 16419"/>
                <a:gd name="T43" fmla="*/ 12871 h 16036"/>
                <a:gd name="T44" fmla="*/ 9524 w 16419"/>
                <a:gd name="T45" fmla="*/ 12005 h 16036"/>
                <a:gd name="T46" fmla="*/ 10393 w 16419"/>
                <a:gd name="T47" fmla="*/ 12757 h 16036"/>
                <a:gd name="T48" fmla="*/ 8904 w 16419"/>
                <a:gd name="T49" fmla="*/ 14636 h 16036"/>
                <a:gd name="T50" fmla="*/ 5284 w 16419"/>
                <a:gd name="T51" fmla="*/ 14382 h 16036"/>
                <a:gd name="T52" fmla="*/ 4071 w 16419"/>
                <a:gd name="T53" fmla="*/ 13005 h 16036"/>
                <a:gd name="T54" fmla="*/ 5783 w 16419"/>
                <a:gd name="T55" fmla="*/ 13367 h 16036"/>
                <a:gd name="T56" fmla="*/ 7945 w 16419"/>
                <a:gd name="T57" fmla="*/ 8277 h 16036"/>
                <a:gd name="T58" fmla="*/ 6342 w 16419"/>
                <a:gd name="T59" fmla="*/ 11582 h 16036"/>
                <a:gd name="T60" fmla="*/ 5136 w 16419"/>
                <a:gd name="T61" fmla="*/ 10650 h 16036"/>
                <a:gd name="T62" fmla="*/ 7945 w 16419"/>
                <a:gd name="T63" fmla="*/ 8277 h 16036"/>
                <a:gd name="T64" fmla="*/ 7024 w 16419"/>
                <a:gd name="T65" fmla="*/ 5084 h 16036"/>
                <a:gd name="T66" fmla="*/ 4843 w 16419"/>
                <a:gd name="T67" fmla="*/ 6857 h 16036"/>
                <a:gd name="T68" fmla="*/ 5321 w 16419"/>
                <a:gd name="T69" fmla="*/ 4784 h 16036"/>
                <a:gd name="T70" fmla="*/ 3667 w 16419"/>
                <a:gd name="T71" fmla="*/ 3305 h 16036"/>
                <a:gd name="T72" fmla="*/ 5215 w 16419"/>
                <a:gd name="T73" fmla="*/ 1684 h 16036"/>
                <a:gd name="T74" fmla="*/ 6448 w 16419"/>
                <a:gd name="T75" fmla="*/ 1771 h 16036"/>
                <a:gd name="T76" fmla="*/ 5148 w 16419"/>
                <a:gd name="T77" fmla="*/ 3833 h 16036"/>
                <a:gd name="T78" fmla="*/ 6569 w 16419"/>
                <a:gd name="T79" fmla="*/ 4486 h 16036"/>
                <a:gd name="T80" fmla="*/ 6014 w 16419"/>
                <a:gd name="T81" fmla="*/ 3301 h 16036"/>
                <a:gd name="T82" fmla="*/ 7732 w 16419"/>
                <a:gd name="T83" fmla="*/ 1205 h 16036"/>
                <a:gd name="T84" fmla="*/ 11565 w 16419"/>
                <a:gd name="T85" fmla="*/ 1859 h 16036"/>
                <a:gd name="T86" fmla="*/ 12421 w 16419"/>
                <a:gd name="T87" fmla="*/ 3513 h 16036"/>
                <a:gd name="T88" fmla="*/ 11123 w 16419"/>
                <a:gd name="T89" fmla="*/ 3527 h 16036"/>
                <a:gd name="T90" fmla="*/ 9758 w 16419"/>
                <a:gd name="T91" fmla="*/ 1525 h 16036"/>
                <a:gd name="T92" fmla="*/ 9852 w 16419"/>
                <a:gd name="T93" fmla="*/ 2463 h 16036"/>
                <a:gd name="T94" fmla="*/ 10437 w 16419"/>
                <a:gd name="T95" fmla="*/ 4348 h 16036"/>
                <a:gd name="T96" fmla="*/ 8786 w 16419"/>
                <a:gd name="T97" fmla="*/ 4626 h 16036"/>
                <a:gd name="T98" fmla="*/ 6848 w 16419"/>
                <a:gd name="T99" fmla="*/ 13930 h 16036"/>
                <a:gd name="T100" fmla="*/ 6020 w 16419"/>
                <a:gd name="T101" fmla="*/ 12187 h 16036"/>
                <a:gd name="T102" fmla="*/ 7521 w 16419"/>
                <a:gd name="T103" fmla="*/ 11934 h 16036"/>
                <a:gd name="T104" fmla="*/ 12063 w 16419"/>
                <a:gd name="T105" fmla="*/ 6494 h 16036"/>
                <a:gd name="T106" fmla="*/ 11695 w 16419"/>
                <a:gd name="T107" fmla="*/ 4461 h 16036"/>
                <a:gd name="T108" fmla="*/ 13078 w 16419"/>
                <a:gd name="T109" fmla="*/ 3710 h 16036"/>
                <a:gd name="T110" fmla="*/ 14700 w 16419"/>
                <a:gd name="T111" fmla="*/ 5106 h 16036"/>
                <a:gd name="T112" fmla="*/ 6960 w 16419"/>
                <a:gd name="T113" fmla="*/ 92 h 16036"/>
                <a:gd name="T114" fmla="*/ 498 w 16419"/>
                <a:gd name="T115" fmla="*/ 5261 h 16036"/>
                <a:gd name="T116" fmla="*/ 2132 w 16419"/>
                <a:gd name="T117" fmla="*/ 13409 h 16036"/>
                <a:gd name="T118" fmla="*/ 10261 w 16419"/>
                <a:gd name="T119" fmla="*/ 15783 h 16036"/>
                <a:gd name="T120" fmla="*/ 16160 w 16419"/>
                <a:gd name="T121" fmla="*/ 10021 h 16036"/>
                <a:gd name="T122" fmla="*/ 13729 w 16419"/>
                <a:gd name="T123" fmla="*/ 2083 h 160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419" h="16036">
                  <a:moveTo>
                    <a:pt x="13248" y="12967"/>
                  </a:moveTo>
                  <a:lnTo>
                    <a:pt x="13139" y="12892"/>
                  </a:lnTo>
                  <a:lnTo>
                    <a:pt x="13030" y="12819"/>
                  </a:lnTo>
                  <a:lnTo>
                    <a:pt x="12919" y="12748"/>
                  </a:lnTo>
                  <a:lnTo>
                    <a:pt x="12807" y="12676"/>
                  </a:lnTo>
                  <a:lnTo>
                    <a:pt x="12693" y="12608"/>
                  </a:lnTo>
                  <a:lnTo>
                    <a:pt x="12579" y="12541"/>
                  </a:lnTo>
                  <a:lnTo>
                    <a:pt x="12463" y="12476"/>
                  </a:lnTo>
                  <a:lnTo>
                    <a:pt x="12347" y="12413"/>
                  </a:lnTo>
                  <a:lnTo>
                    <a:pt x="12229" y="12351"/>
                  </a:lnTo>
                  <a:lnTo>
                    <a:pt x="12110" y="12291"/>
                  </a:lnTo>
                  <a:lnTo>
                    <a:pt x="12051" y="12261"/>
                  </a:lnTo>
                  <a:lnTo>
                    <a:pt x="11990" y="12231"/>
                  </a:lnTo>
                  <a:lnTo>
                    <a:pt x="11930" y="12203"/>
                  </a:lnTo>
                  <a:lnTo>
                    <a:pt x="11869" y="12175"/>
                  </a:lnTo>
                  <a:lnTo>
                    <a:pt x="11808" y="12147"/>
                  </a:lnTo>
                  <a:lnTo>
                    <a:pt x="11747" y="12120"/>
                  </a:lnTo>
                  <a:lnTo>
                    <a:pt x="11686" y="12094"/>
                  </a:lnTo>
                  <a:lnTo>
                    <a:pt x="11625" y="12068"/>
                  </a:lnTo>
                  <a:lnTo>
                    <a:pt x="11562" y="12042"/>
                  </a:lnTo>
                  <a:lnTo>
                    <a:pt x="11499" y="12017"/>
                  </a:lnTo>
                  <a:lnTo>
                    <a:pt x="11438" y="11992"/>
                  </a:lnTo>
                  <a:lnTo>
                    <a:pt x="11374" y="11968"/>
                  </a:lnTo>
                  <a:lnTo>
                    <a:pt x="11419" y="11863"/>
                  </a:lnTo>
                  <a:lnTo>
                    <a:pt x="11463" y="11756"/>
                  </a:lnTo>
                  <a:lnTo>
                    <a:pt x="11505" y="11649"/>
                  </a:lnTo>
                  <a:lnTo>
                    <a:pt x="11546" y="11541"/>
                  </a:lnTo>
                  <a:lnTo>
                    <a:pt x="11585" y="11433"/>
                  </a:lnTo>
                  <a:lnTo>
                    <a:pt x="11624" y="11323"/>
                  </a:lnTo>
                  <a:lnTo>
                    <a:pt x="11661" y="11214"/>
                  </a:lnTo>
                  <a:lnTo>
                    <a:pt x="11696" y="11104"/>
                  </a:lnTo>
                  <a:lnTo>
                    <a:pt x="11731" y="10993"/>
                  </a:lnTo>
                  <a:lnTo>
                    <a:pt x="11765" y="10880"/>
                  </a:lnTo>
                  <a:lnTo>
                    <a:pt x="11798" y="10768"/>
                  </a:lnTo>
                  <a:lnTo>
                    <a:pt x="11829" y="10655"/>
                  </a:lnTo>
                  <a:lnTo>
                    <a:pt x="11859" y="10542"/>
                  </a:lnTo>
                  <a:lnTo>
                    <a:pt x="11887" y="10427"/>
                  </a:lnTo>
                  <a:lnTo>
                    <a:pt x="11914" y="10312"/>
                  </a:lnTo>
                  <a:lnTo>
                    <a:pt x="11941" y="10197"/>
                  </a:lnTo>
                  <a:lnTo>
                    <a:pt x="11965" y="10081"/>
                  </a:lnTo>
                  <a:lnTo>
                    <a:pt x="11988" y="9964"/>
                  </a:lnTo>
                  <a:lnTo>
                    <a:pt x="12010" y="9847"/>
                  </a:lnTo>
                  <a:lnTo>
                    <a:pt x="12031" y="9729"/>
                  </a:lnTo>
                  <a:lnTo>
                    <a:pt x="12051" y="9611"/>
                  </a:lnTo>
                  <a:lnTo>
                    <a:pt x="12068" y="9492"/>
                  </a:lnTo>
                  <a:lnTo>
                    <a:pt x="12084" y="9373"/>
                  </a:lnTo>
                  <a:lnTo>
                    <a:pt x="12100" y="9253"/>
                  </a:lnTo>
                  <a:lnTo>
                    <a:pt x="12113" y="9133"/>
                  </a:lnTo>
                  <a:lnTo>
                    <a:pt x="12126" y="9011"/>
                  </a:lnTo>
                  <a:lnTo>
                    <a:pt x="12137" y="8890"/>
                  </a:lnTo>
                  <a:lnTo>
                    <a:pt x="12147" y="8769"/>
                  </a:lnTo>
                  <a:lnTo>
                    <a:pt x="12155" y="8646"/>
                  </a:lnTo>
                  <a:lnTo>
                    <a:pt x="12161" y="8523"/>
                  </a:lnTo>
                  <a:lnTo>
                    <a:pt x="12166" y="8400"/>
                  </a:lnTo>
                  <a:lnTo>
                    <a:pt x="12171" y="8277"/>
                  </a:lnTo>
                  <a:lnTo>
                    <a:pt x="15347" y="8277"/>
                  </a:lnTo>
                  <a:lnTo>
                    <a:pt x="15337" y="8448"/>
                  </a:lnTo>
                  <a:lnTo>
                    <a:pt x="15325" y="8617"/>
                  </a:lnTo>
                  <a:lnTo>
                    <a:pt x="15309" y="8786"/>
                  </a:lnTo>
                  <a:lnTo>
                    <a:pt x="15287" y="8954"/>
                  </a:lnTo>
                  <a:lnTo>
                    <a:pt x="15262" y="9119"/>
                  </a:lnTo>
                  <a:lnTo>
                    <a:pt x="15234" y="9285"/>
                  </a:lnTo>
                  <a:lnTo>
                    <a:pt x="15201" y="9449"/>
                  </a:lnTo>
                  <a:lnTo>
                    <a:pt x="15164" y="9612"/>
                  </a:lnTo>
                  <a:lnTo>
                    <a:pt x="15124" y="9772"/>
                  </a:lnTo>
                  <a:lnTo>
                    <a:pt x="15080" y="9931"/>
                  </a:lnTo>
                  <a:lnTo>
                    <a:pt x="15032" y="10090"/>
                  </a:lnTo>
                  <a:lnTo>
                    <a:pt x="14980" y="10246"/>
                  </a:lnTo>
                  <a:lnTo>
                    <a:pt x="14925" y="10400"/>
                  </a:lnTo>
                  <a:lnTo>
                    <a:pt x="14866" y="10554"/>
                  </a:lnTo>
                  <a:lnTo>
                    <a:pt x="14804" y="10705"/>
                  </a:lnTo>
                  <a:lnTo>
                    <a:pt x="14738" y="10854"/>
                  </a:lnTo>
                  <a:lnTo>
                    <a:pt x="14668" y="11002"/>
                  </a:lnTo>
                  <a:lnTo>
                    <a:pt x="14596" y="11148"/>
                  </a:lnTo>
                  <a:lnTo>
                    <a:pt x="14521" y="11292"/>
                  </a:lnTo>
                  <a:lnTo>
                    <a:pt x="14441" y="11434"/>
                  </a:lnTo>
                  <a:lnTo>
                    <a:pt x="14358" y="11574"/>
                  </a:lnTo>
                  <a:lnTo>
                    <a:pt x="14272" y="11712"/>
                  </a:lnTo>
                  <a:lnTo>
                    <a:pt x="14183" y="11848"/>
                  </a:lnTo>
                  <a:lnTo>
                    <a:pt x="14092" y="11981"/>
                  </a:lnTo>
                  <a:lnTo>
                    <a:pt x="13996" y="12113"/>
                  </a:lnTo>
                  <a:lnTo>
                    <a:pt x="13898" y="12241"/>
                  </a:lnTo>
                  <a:lnTo>
                    <a:pt x="13797" y="12369"/>
                  </a:lnTo>
                  <a:lnTo>
                    <a:pt x="13693" y="12493"/>
                  </a:lnTo>
                  <a:lnTo>
                    <a:pt x="13586" y="12615"/>
                  </a:lnTo>
                  <a:lnTo>
                    <a:pt x="13476" y="12735"/>
                  </a:lnTo>
                  <a:lnTo>
                    <a:pt x="13364" y="12852"/>
                  </a:lnTo>
                  <a:lnTo>
                    <a:pt x="13248" y="12967"/>
                  </a:lnTo>
                  <a:close/>
                  <a:moveTo>
                    <a:pt x="1073" y="8277"/>
                  </a:moveTo>
                  <a:lnTo>
                    <a:pt x="4248" y="8277"/>
                  </a:lnTo>
                  <a:lnTo>
                    <a:pt x="4253" y="8400"/>
                  </a:lnTo>
                  <a:lnTo>
                    <a:pt x="4258" y="8523"/>
                  </a:lnTo>
                  <a:lnTo>
                    <a:pt x="4265" y="8646"/>
                  </a:lnTo>
                  <a:lnTo>
                    <a:pt x="4273" y="8769"/>
                  </a:lnTo>
                  <a:lnTo>
                    <a:pt x="4282" y="8890"/>
                  </a:lnTo>
                  <a:lnTo>
                    <a:pt x="4294" y="9011"/>
                  </a:lnTo>
                  <a:lnTo>
                    <a:pt x="4306" y="9133"/>
                  </a:lnTo>
                  <a:lnTo>
                    <a:pt x="4319" y="9253"/>
                  </a:lnTo>
                  <a:lnTo>
                    <a:pt x="4335" y="9373"/>
                  </a:lnTo>
                  <a:lnTo>
                    <a:pt x="4351" y="9492"/>
                  </a:lnTo>
                  <a:lnTo>
                    <a:pt x="4370" y="9611"/>
                  </a:lnTo>
                  <a:lnTo>
                    <a:pt x="4388" y="9729"/>
                  </a:lnTo>
                  <a:lnTo>
                    <a:pt x="4410" y="9847"/>
                  </a:lnTo>
                  <a:lnTo>
                    <a:pt x="4431" y="9964"/>
                  </a:lnTo>
                  <a:lnTo>
                    <a:pt x="4455" y="10081"/>
                  </a:lnTo>
                  <a:lnTo>
                    <a:pt x="4479" y="10197"/>
                  </a:lnTo>
                  <a:lnTo>
                    <a:pt x="4505" y="10312"/>
                  </a:lnTo>
                  <a:lnTo>
                    <a:pt x="4533" y="10427"/>
                  </a:lnTo>
                  <a:lnTo>
                    <a:pt x="4560" y="10542"/>
                  </a:lnTo>
                  <a:lnTo>
                    <a:pt x="4590" y="10655"/>
                  </a:lnTo>
                  <a:lnTo>
                    <a:pt x="4622" y="10768"/>
                  </a:lnTo>
                  <a:lnTo>
                    <a:pt x="4654" y="10880"/>
                  </a:lnTo>
                  <a:lnTo>
                    <a:pt x="4688" y="10993"/>
                  </a:lnTo>
                  <a:lnTo>
                    <a:pt x="4723" y="11104"/>
                  </a:lnTo>
                  <a:lnTo>
                    <a:pt x="4758" y="11214"/>
                  </a:lnTo>
                  <a:lnTo>
                    <a:pt x="4795" y="11323"/>
                  </a:lnTo>
                  <a:lnTo>
                    <a:pt x="4834" y="11433"/>
                  </a:lnTo>
                  <a:lnTo>
                    <a:pt x="4874" y="11541"/>
                  </a:lnTo>
                  <a:lnTo>
                    <a:pt x="4915" y="11649"/>
                  </a:lnTo>
                  <a:lnTo>
                    <a:pt x="4958" y="11756"/>
                  </a:lnTo>
                  <a:lnTo>
                    <a:pt x="5001" y="11863"/>
                  </a:lnTo>
                  <a:lnTo>
                    <a:pt x="5045" y="11968"/>
                  </a:lnTo>
                  <a:lnTo>
                    <a:pt x="4982" y="11992"/>
                  </a:lnTo>
                  <a:lnTo>
                    <a:pt x="4920" y="12017"/>
                  </a:lnTo>
                  <a:lnTo>
                    <a:pt x="4857" y="12042"/>
                  </a:lnTo>
                  <a:lnTo>
                    <a:pt x="4795" y="12068"/>
                  </a:lnTo>
                  <a:lnTo>
                    <a:pt x="4734" y="12094"/>
                  </a:lnTo>
                  <a:lnTo>
                    <a:pt x="4672" y="12120"/>
                  </a:lnTo>
                  <a:lnTo>
                    <a:pt x="4611" y="12147"/>
                  </a:lnTo>
                  <a:lnTo>
                    <a:pt x="4550" y="12175"/>
                  </a:lnTo>
                  <a:lnTo>
                    <a:pt x="4490" y="12203"/>
                  </a:lnTo>
                  <a:lnTo>
                    <a:pt x="4429" y="12231"/>
                  </a:lnTo>
                  <a:lnTo>
                    <a:pt x="4370" y="12261"/>
                  </a:lnTo>
                  <a:lnTo>
                    <a:pt x="4309" y="12291"/>
                  </a:lnTo>
                  <a:lnTo>
                    <a:pt x="4191" y="12351"/>
                  </a:lnTo>
                  <a:lnTo>
                    <a:pt x="4073" y="12413"/>
                  </a:lnTo>
                  <a:lnTo>
                    <a:pt x="3956" y="12476"/>
                  </a:lnTo>
                  <a:lnTo>
                    <a:pt x="3841" y="12541"/>
                  </a:lnTo>
                  <a:lnTo>
                    <a:pt x="3726" y="12608"/>
                  </a:lnTo>
                  <a:lnTo>
                    <a:pt x="3613" y="12676"/>
                  </a:lnTo>
                  <a:lnTo>
                    <a:pt x="3501" y="12748"/>
                  </a:lnTo>
                  <a:lnTo>
                    <a:pt x="3389" y="12819"/>
                  </a:lnTo>
                  <a:lnTo>
                    <a:pt x="3280" y="12892"/>
                  </a:lnTo>
                  <a:lnTo>
                    <a:pt x="3171" y="12967"/>
                  </a:lnTo>
                  <a:lnTo>
                    <a:pt x="3056" y="12852"/>
                  </a:lnTo>
                  <a:lnTo>
                    <a:pt x="2943" y="12735"/>
                  </a:lnTo>
                  <a:lnTo>
                    <a:pt x="2833" y="12615"/>
                  </a:lnTo>
                  <a:lnTo>
                    <a:pt x="2727" y="12493"/>
                  </a:lnTo>
                  <a:lnTo>
                    <a:pt x="2623" y="12369"/>
                  </a:lnTo>
                  <a:lnTo>
                    <a:pt x="2521" y="12241"/>
                  </a:lnTo>
                  <a:lnTo>
                    <a:pt x="2423" y="12113"/>
                  </a:lnTo>
                  <a:lnTo>
                    <a:pt x="2328" y="11981"/>
                  </a:lnTo>
                  <a:lnTo>
                    <a:pt x="2236" y="11848"/>
                  </a:lnTo>
                  <a:lnTo>
                    <a:pt x="2147" y="11712"/>
                  </a:lnTo>
                  <a:lnTo>
                    <a:pt x="2062" y="11574"/>
                  </a:lnTo>
                  <a:lnTo>
                    <a:pt x="1978" y="11434"/>
                  </a:lnTo>
                  <a:lnTo>
                    <a:pt x="1899" y="11292"/>
                  </a:lnTo>
                  <a:lnTo>
                    <a:pt x="1824" y="11148"/>
                  </a:lnTo>
                  <a:lnTo>
                    <a:pt x="1751" y="11002"/>
                  </a:lnTo>
                  <a:lnTo>
                    <a:pt x="1682" y="10854"/>
                  </a:lnTo>
                  <a:lnTo>
                    <a:pt x="1615" y="10705"/>
                  </a:lnTo>
                  <a:lnTo>
                    <a:pt x="1554" y="10554"/>
                  </a:lnTo>
                  <a:lnTo>
                    <a:pt x="1494" y="10400"/>
                  </a:lnTo>
                  <a:lnTo>
                    <a:pt x="1440" y="10246"/>
                  </a:lnTo>
                  <a:lnTo>
                    <a:pt x="1387" y="10090"/>
                  </a:lnTo>
                  <a:lnTo>
                    <a:pt x="1340" y="9931"/>
                  </a:lnTo>
                  <a:lnTo>
                    <a:pt x="1296" y="9772"/>
                  </a:lnTo>
                  <a:lnTo>
                    <a:pt x="1255" y="9612"/>
                  </a:lnTo>
                  <a:lnTo>
                    <a:pt x="1219" y="9449"/>
                  </a:lnTo>
                  <a:lnTo>
                    <a:pt x="1186" y="9285"/>
                  </a:lnTo>
                  <a:lnTo>
                    <a:pt x="1158" y="9119"/>
                  </a:lnTo>
                  <a:lnTo>
                    <a:pt x="1132" y="8954"/>
                  </a:lnTo>
                  <a:lnTo>
                    <a:pt x="1111" y="8786"/>
                  </a:lnTo>
                  <a:lnTo>
                    <a:pt x="1095" y="8617"/>
                  </a:lnTo>
                  <a:lnTo>
                    <a:pt x="1082" y="8448"/>
                  </a:lnTo>
                  <a:lnTo>
                    <a:pt x="1073" y="8277"/>
                  </a:lnTo>
                  <a:close/>
                  <a:moveTo>
                    <a:pt x="2878" y="3381"/>
                  </a:moveTo>
                  <a:lnTo>
                    <a:pt x="2935" y="3423"/>
                  </a:lnTo>
                  <a:lnTo>
                    <a:pt x="2992" y="3466"/>
                  </a:lnTo>
                  <a:lnTo>
                    <a:pt x="3050" y="3507"/>
                  </a:lnTo>
                  <a:lnTo>
                    <a:pt x="3107" y="3549"/>
                  </a:lnTo>
                  <a:lnTo>
                    <a:pt x="3165" y="3590"/>
                  </a:lnTo>
                  <a:lnTo>
                    <a:pt x="3223" y="3630"/>
                  </a:lnTo>
                  <a:lnTo>
                    <a:pt x="3282" y="3670"/>
                  </a:lnTo>
                  <a:lnTo>
                    <a:pt x="3341" y="3710"/>
                  </a:lnTo>
                  <a:lnTo>
                    <a:pt x="3401" y="3749"/>
                  </a:lnTo>
                  <a:lnTo>
                    <a:pt x="3460" y="3789"/>
                  </a:lnTo>
                  <a:lnTo>
                    <a:pt x="3521" y="3827"/>
                  </a:lnTo>
                  <a:lnTo>
                    <a:pt x="3581" y="3865"/>
                  </a:lnTo>
                  <a:lnTo>
                    <a:pt x="3642" y="3902"/>
                  </a:lnTo>
                  <a:lnTo>
                    <a:pt x="3702" y="3939"/>
                  </a:lnTo>
                  <a:lnTo>
                    <a:pt x="3764" y="3975"/>
                  </a:lnTo>
                  <a:lnTo>
                    <a:pt x="3826" y="4011"/>
                  </a:lnTo>
                  <a:lnTo>
                    <a:pt x="3887" y="4046"/>
                  </a:lnTo>
                  <a:lnTo>
                    <a:pt x="3950" y="4081"/>
                  </a:lnTo>
                  <a:lnTo>
                    <a:pt x="4012" y="4116"/>
                  </a:lnTo>
                  <a:lnTo>
                    <a:pt x="4076" y="4150"/>
                  </a:lnTo>
                  <a:lnTo>
                    <a:pt x="4139" y="4183"/>
                  </a:lnTo>
                  <a:lnTo>
                    <a:pt x="4202" y="4216"/>
                  </a:lnTo>
                  <a:lnTo>
                    <a:pt x="4267" y="4249"/>
                  </a:lnTo>
                  <a:lnTo>
                    <a:pt x="4331" y="4281"/>
                  </a:lnTo>
                  <a:lnTo>
                    <a:pt x="4395" y="4312"/>
                  </a:lnTo>
                  <a:lnTo>
                    <a:pt x="4461" y="4343"/>
                  </a:lnTo>
                  <a:lnTo>
                    <a:pt x="4525" y="4374"/>
                  </a:lnTo>
                  <a:lnTo>
                    <a:pt x="4591" y="4403"/>
                  </a:lnTo>
                  <a:lnTo>
                    <a:pt x="4657" y="4432"/>
                  </a:lnTo>
                  <a:lnTo>
                    <a:pt x="4724" y="4461"/>
                  </a:lnTo>
                  <a:lnTo>
                    <a:pt x="4789" y="4489"/>
                  </a:lnTo>
                  <a:lnTo>
                    <a:pt x="4856" y="4517"/>
                  </a:lnTo>
                  <a:lnTo>
                    <a:pt x="4822" y="4611"/>
                  </a:lnTo>
                  <a:lnTo>
                    <a:pt x="4789" y="4706"/>
                  </a:lnTo>
                  <a:lnTo>
                    <a:pt x="4756" y="4801"/>
                  </a:lnTo>
                  <a:lnTo>
                    <a:pt x="4726" y="4897"/>
                  </a:lnTo>
                  <a:lnTo>
                    <a:pt x="4695" y="4993"/>
                  </a:lnTo>
                  <a:lnTo>
                    <a:pt x="4665" y="5090"/>
                  </a:lnTo>
                  <a:lnTo>
                    <a:pt x="4637" y="5188"/>
                  </a:lnTo>
                  <a:lnTo>
                    <a:pt x="4610" y="5285"/>
                  </a:lnTo>
                  <a:lnTo>
                    <a:pt x="4583" y="5383"/>
                  </a:lnTo>
                  <a:lnTo>
                    <a:pt x="4557" y="5482"/>
                  </a:lnTo>
                  <a:lnTo>
                    <a:pt x="4533" y="5582"/>
                  </a:lnTo>
                  <a:lnTo>
                    <a:pt x="4509" y="5681"/>
                  </a:lnTo>
                  <a:lnTo>
                    <a:pt x="4486" y="5781"/>
                  </a:lnTo>
                  <a:lnTo>
                    <a:pt x="4465" y="5881"/>
                  </a:lnTo>
                  <a:lnTo>
                    <a:pt x="4444" y="5982"/>
                  </a:lnTo>
                  <a:lnTo>
                    <a:pt x="4425" y="6084"/>
                  </a:lnTo>
                  <a:lnTo>
                    <a:pt x="4406" y="6186"/>
                  </a:lnTo>
                  <a:lnTo>
                    <a:pt x="4388" y="6288"/>
                  </a:lnTo>
                  <a:lnTo>
                    <a:pt x="4372" y="6391"/>
                  </a:lnTo>
                  <a:lnTo>
                    <a:pt x="4356" y="6494"/>
                  </a:lnTo>
                  <a:lnTo>
                    <a:pt x="4342" y="6598"/>
                  </a:lnTo>
                  <a:lnTo>
                    <a:pt x="4328" y="6701"/>
                  </a:lnTo>
                  <a:lnTo>
                    <a:pt x="4315" y="6805"/>
                  </a:lnTo>
                  <a:lnTo>
                    <a:pt x="4304" y="6911"/>
                  </a:lnTo>
                  <a:lnTo>
                    <a:pt x="4294" y="7015"/>
                  </a:lnTo>
                  <a:lnTo>
                    <a:pt x="4284" y="7120"/>
                  </a:lnTo>
                  <a:lnTo>
                    <a:pt x="4275" y="7226"/>
                  </a:lnTo>
                  <a:lnTo>
                    <a:pt x="4268" y="7332"/>
                  </a:lnTo>
                  <a:lnTo>
                    <a:pt x="4262" y="7439"/>
                  </a:lnTo>
                  <a:lnTo>
                    <a:pt x="4257" y="7545"/>
                  </a:lnTo>
                  <a:lnTo>
                    <a:pt x="4253" y="7652"/>
                  </a:lnTo>
                  <a:lnTo>
                    <a:pt x="4248" y="7759"/>
                  </a:lnTo>
                  <a:lnTo>
                    <a:pt x="1073" y="7759"/>
                  </a:lnTo>
                  <a:lnTo>
                    <a:pt x="1081" y="7602"/>
                  </a:lnTo>
                  <a:lnTo>
                    <a:pt x="1092" y="7446"/>
                  </a:lnTo>
                  <a:lnTo>
                    <a:pt x="1107" y="7291"/>
                  </a:lnTo>
                  <a:lnTo>
                    <a:pt x="1125" y="7137"/>
                  </a:lnTo>
                  <a:lnTo>
                    <a:pt x="1146" y="6984"/>
                  </a:lnTo>
                  <a:lnTo>
                    <a:pt x="1171" y="6832"/>
                  </a:lnTo>
                  <a:lnTo>
                    <a:pt x="1200" y="6681"/>
                  </a:lnTo>
                  <a:lnTo>
                    <a:pt x="1231" y="6532"/>
                  </a:lnTo>
                  <a:lnTo>
                    <a:pt x="1265" y="6383"/>
                  </a:lnTo>
                  <a:lnTo>
                    <a:pt x="1304" y="6236"/>
                  </a:lnTo>
                  <a:lnTo>
                    <a:pt x="1345" y="6090"/>
                  </a:lnTo>
                  <a:lnTo>
                    <a:pt x="1389" y="5945"/>
                  </a:lnTo>
                  <a:lnTo>
                    <a:pt x="1437" y="5802"/>
                  </a:lnTo>
                  <a:lnTo>
                    <a:pt x="1487" y="5660"/>
                  </a:lnTo>
                  <a:lnTo>
                    <a:pt x="1540" y="5519"/>
                  </a:lnTo>
                  <a:lnTo>
                    <a:pt x="1597" y="5380"/>
                  </a:lnTo>
                  <a:lnTo>
                    <a:pt x="1656" y="5243"/>
                  </a:lnTo>
                  <a:lnTo>
                    <a:pt x="1719" y="5106"/>
                  </a:lnTo>
                  <a:lnTo>
                    <a:pt x="1785" y="4972"/>
                  </a:lnTo>
                  <a:lnTo>
                    <a:pt x="1852" y="4839"/>
                  </a:lnTo>
                  <a:lnTo>
                    <a:pt x="1923" y="4708"/>
                  </a:lnTo>
                  <a:lnTo>
                    <a:pt x="1997" y="4578"/>
                  </a:lnTo>
                  <a:lnTo>
                    <a:pt x="2074" y="4450"/>
                  </a:lnTo>
                  <a:lnTo>
                    <a:pt x="2153" y="4324"/>
                  </a:lnTo>
                  <a:lnTo>
                    <a:pt x="2234" y="4199"/>
                  </a:lnTo>
                  <a:lnTo>
                    <a:pt x="2319" y="4076"/>
                  </a:lnTo>
                  <a:lnTo>
                    <a:pt x="2405" y="3956"/>
                  </a:lnTo>
                  <a:lnTo>
                    <a:pt x="2496" y="3837"/>
                  </a:lnTo>
                  <a:lnTo>
                    <a:pt x="2587" y="3719"/>
                  </a:lnTo>
                  <a:lnTo>
                    <a:pt x="2681" y="3605"/>
                  </a:lnTo>
                  <a:lnTo>
                    <a:pt x="2779" y="3492"/>
                  </a:lnTo>
                  <a:lnTo>
                    <a:pt x="2878" y="3381"/>
                  </a:lnTo>
                  <a:close/>
                  <a:moveTo>
                    <a:pt x="8474" y="7759"/>
                  </a:moveTo>
                  <a:lnTo>
                    <a:pt x="8474" y="5160"/>
                  </a:lnTo>
                  <a:lnTo>
                    <a:pt x="8559" y="5157"/>
                  </a:lnTo>
                  <a:lnTo>
                    <a:pt x="8644" y="5153"/>
                  </a:lnTo>
                  <a:lnTo>
                    <a:pt x="8728" y="5149"/>
                  </a:lnTo>
                  <a:lnTo>
                    <a:pt x="8812" y="5143"/>
                  </a:lnTo>
                  <a:lnTo>
                    <a:pt x="8896" y="5137"/>
                  </a:lnTo>
                  <a:lnTo>
                    <a:pt x="8980" y="5131"/>
                  </a:lnTo>
                  <a:lnTo>
                    <a:pt x="9063" y="5122"/>
                  </a:lnTo>
                  <a:lnTo>
                    <a:pt x="9146" y="5114"/>
                  </a:lnTo>
                  <a:lnTo>
                    <a:pt x="9230" y="5105"/>
                  </a:lnTo>
                  <a:lnTo>
                    <a:pt x="9313" y="5095"/>
                  </a:lnTo>
                  <a:lnTo>
                    <a:pt x="9395" y="5084"/>
                  </a:lnTo>
                  <a:lnTo>
                    <a:pt x="9477" y="5073"/>
                  </a:lnTo>
                  <a:lnTo>
                    <a:pt x="9559" y="5061"/>
                  </a:lnTo>
                  <a:lnTo>
                    <a:pt x="9641" y="5048"/>
                  </a:lnTo>
                  <a:lnTo>
                    <a:pt x="9723" y="5035"/>
                  </a:lnTo>
                  <a:lnTo>
                    <a:pt x="9804" y="5020"/>
                  </a:lnTo>
                  <a:lnTo>
                    <a:pt x="9885" y="5005"/>
                  </a:lnTo>
                  <a:lnTo>
                    <a:pt x="9965" y="4990"/>
                  </a:lnTo>
                  <a:lnTo>
                    <a:pt x="10046" y="4973"/>
                  </a:lnTo>
                  <a:lnTo>
                    <a:pt x="10126" y="4956"/>
                  </a:lnTo>
                  <a:lnTo>
                    <a:pt x="10206" y="4938"/>
                  </a:lnTo>
                  <a:lnTo>
                    <a:pt x="10287" y="4920"/>
                  </a:lnTo>
                  <a:lnTo>
                    <a:pt x="10366" y="4900"/>
                  </a:lnTo>
                  <a:lnTo>
                    <a:pt x="10445" y="4880"/>
                  </a:lnTo>
                  <a:lnTo>
                    <a:pt x="10524" y="4860"/>
                  </a:lnTo>
                  <a:lnTo>
                    <a:pt x="10602" y="4838"/>
                  </a:lnTo>
                  <a:lnTo>
                    <a:pt x="10681" y="4816"/>
                  </a:lnTo>
                  <a:lnTo>
                    <a:pt x="10759" y="4793"/>
                  </a:lnTo>
                  <a:lnTo>
                    <a:pt x="10836" y="4770"/>
                  </a:lnTo>
                  <a:lnTo>
                    <a:pt x="10914" y="4746"/>
                  </a:lnTo>
                  <a:lnTo>
                    <a:pt x="10990" y="4721"/>
                  </a:lnTo>
                  <a:lnTo>
                    <a:pt x="11066" y="4695"/>
                  </a:lnTo>
                  <a:lnTo>
                    <a:pt x="11099" y="4784"/>
                  </a:lnTo>
                  <a:lnTo>
                    <a:pt x="11130" y="4873"/>
                  </a:lnTo>
                  <a:lnTo>
                    <a:pt x="11161" y="4963"/>
                  </a:lnTo>
                  <a:lnTo>
                    <a:pt x="11191" y="5053"/>
                  </a:lnTo>
                  <a:lnTo>
                    <a:pt x="11219" y="5145"/>
                  </a:lnTo>
                  <a:lnTo>
                    <a:pt x="11247" y="5236"/>
                  </a:lnTo>
                  <a:lnTo>
                    <a:pt x="11274" y="5328"/>
                  </a:lnTo>
                  <a:lnTo>
                    <a:pt x="11299" y="5420"/>
                  </a:lnTo>
                  <a:lnTo>
                    <a:pt x="11325" y="5513"/>
                  </a:lnTo>
                  <a:lnTo>
                    <a:pt x="11349" y="5607"/>
                  </a:lnTo>
                  <a:lnTo>
                    <a:pt x="11372" y="5701"/>
                  </a:lnTo>
                  <a:lnTo>
                    <a:pt x="11395" y="5795"/>
                  </a:lnTo>
                  <a:lnTo>
                    <a:pt x="11415" y="5889"/>
                  </a:lnTo>
                  <a:lnTo>
                    <a:pt x="11436" y="5984"/>
                  </a:lnTo>
                  <a:lnTo>
                    <a:pt x="11455" y="6080"/>
                  </a:lnTo>
                  <a:lnTo>
                    <a:pt x="11474" y="6176"/>
                  </a:lnTo>
                  <a:lnTo>
                    <a:pt x="11491" y="6272"/>
                  </a:lnTo>
                  <a:lnTo>
                    <a:pt x="11509" y="6368"/>
                  </a:lnTo>
                  <a:lnTo>
                    <a:pt x="11524" y="6466"/>
                  </a:lnTo>
                  <a:lnTo>
                    <a:pt x="11538" y="6563"/>
                  </a:lnTo>
                  <a:lnTo>
                    <a:pt x="11553" y="6661"/>
                  </a:lnTo>
                  <a:lnTo>
                    <a:pt x="11565" y="6759"/>
                  </a:lnTo>
                  <a:lnTo>
                    <a:pt x="11577" y="6857"/>
                  </a:lnTo>
                  <a:lnTo>
                    <a:pt x="11589" y="6957"/>
                  </a:lnTo>
                  <a:lnTo>
                    <a:pt x="11598" y="7056"/>
                  </a:lnTo>
                  <a:lnTo>
                    <a:pt x="11607" y="7155"/>
                  </a:lnTo>
                  <a:lnTo>
                    <a:pt x="11615" y="7255"/>
                  </a:lnTo>
                  <a:lnTo>
                    <a:pt x="11623" y="7356"/>
                  </a:lnTo>
                  <a:lnTo>
                    <a:pt x="11629" y="7456"/>
                  </a:lnTo>
                  <a:lnTo>
                    <a:pt x="11634" y="7557"/>
                  </a:lnTo>
                  <a:lnTo>
                    <a:pt x="11638" y="7658"/>
                  </a:lnTo>
                  <a:lnTo>
                    <a:pt x="11641" y="7759"/>
                  </a:lnTo>
                  <a:lnTo>
                    <a:pt x="8474" y="7759"/>
                  </a:lnTo>
                  <a:close/>
                  <a:moveTo>
                    <a:pt x="10879" y="11791"/>
                  </a:moveTo>
                  <a:lnTo>
                    <a:pt x="10807" y="11768"/>
                  </a:lnTo>
                  <a:lnTo>
                    <a:pt x="10735" y="11747"/>
                  </a:lnTo>
                  <a:lnTo>
                    <a:pt x="10663" y="11726"/>
                  </a:lnTo>
                  <a:lnTo>
                    <a:pt x="10590" y="11706"/>
                  </a:lnTo>
                  <a:lnTo>
                    <a:pt x="10518" y="11686"/>
                  </a:lnTo>
                  <a:lnTo>
                    <a:pt x="10446" y="11667"/>
                  </a:lnTo>
                  <a:lnTo>
                    <a:pt x="10373" y="11649"/>
                  </a:lnTo>
                  <a:lnTo>
                    <a:pt x="10299" y="11631"/>
                  </a:lnTo>
                  <a:lnTo>
                    <a:pt x="10226" y="11614"/>
                  </a:lnTo>
                  <a:lnTo>
                    <a:pt x="10152" y="11598"/>
                  </a:lnTo>
                  <a:lnTo>
                    <a:pt x="10078" y="11582"/>
                  </a:lnTo>
                  <a:lnTo>
                    <a:pt x="10003" y="11566"/>
                  </a:lnTo>
                  <a:lnTo>
                    <a:pt x="9929" y="11552"/>
                  </a:lnTo>
                  <a:lnTo>
                    <a:pt x="9854" y="11538"/>
                  </a:lnTo>
                  <a:lnTo>
                    <a:pt x="9780" y="11525"/>
                  </a:lnTo>
                  <a:lnTo>
                    <a:pt x="9704" y="11512"/>
                  </a:lnTo>
                  <a:lnTo>
                    <a:pt x="9629" y="11500"/>
                  </a:lnTo>
                  <a:lnTo>
                    <a:pt x="9553" y="11488"/>
                  </a:lnTo>
                  <a:lnTo>
                    <a:pt x="9477" y="11477"/>
                  </a:lnTo>
                  <a:lnTo>
                    <a:pt x="9401" y="11467"/>
                  </a:lnTo>
                  <a:lnTo>
                    <a:pt x="9325" y="11458"/>
                  </a:lnTo>
                  <a:lnTo>
                    <a:pt x="9249" y="11449"/>
                  </a:lnTo>
                  <a:lnTo>
                    <a:pt x="9172" y="11440"/>
                  </a:lnTo>
                  <a:lnTo>
                    <a:pt x="9095" y="11433"/>
                  </a:lnTo>
                  <a:lnTo>
                    <a:pt x="9018" y="11425"/>
                  </a:lnTo>
                  <a:lnTo>
                    <a:pt x="8941" y="11419"/>
                  </a:lnTo>
                  <a:lnTo>
                    <a:pt x="8864" y="11413"/>
                  </a:lnTo>
                  <a:lnTo>
                    <a:pt x="8786" y="11408"/>
                  </a:lnTo>
                  <a:lnTo>
                    <a:pt x="8708" y="11404"/>
                  </a:lnTo>
                  <a:lnTo>
                    <a:pt x="8630" y="11400"/>
                  </a:lnTo>
                  <a:lnTo>
                    <a:pt x="8552" y="11396"/>
                  </a:lnTo>
                  <a:lnTo>
                    <a:pt x="8474" y="11394"/>
                  </a:lnTo>
                  <a:lnTo>
                    <a:pt x="8474" y="8277"/>
                  </a:lnTo>
                  <a:lnTo>
                    <a:pt x="11641" y="8277"/>
                  </a:lnTo>
                  <a:lnTo>
                    <a:pt x="11637" y="8394"/>
                  </a:lnTo>
                  <a:lnTo>
                    <a:pt x="11632" y="8512"/>
                  </a:lnTo>
                  <a:lnTo>
                    <a:pt x="11626" y="8628"/>
                  </a:lnTo>
                  <a:lnTo>
                    <a:pt x="11617" y="8746"/>
                  </a:lnTo>
                  <a:lnTo>
                    <a:pt x="11608" y="8862"/>
                  </a:lnTo>
                  <a:lnTo>
                    <a:pt x="11598" y="8977"/>
                  </a:lnTo>
                  <a:lnTo>
                    <a:pt x="11586" y="9092"/>
                  </a:lnTo>
                  <a:lnTo>
                    <a:pt x="11572" y="9207"/>
                  </a:lnTo>
                  <a:lnTo>
                    <a:pt x="11558" y="9321"/>
                  </a:lnTo>
                  <a:lnTo>
                    <a:pt x="11542" y="9435"/>
                  </a:lnTo>
                  <a:lnTo>
                    <a:pt x="11525" y="9548"/>
                  </a:lnTo>
                  <a:lnTo>
                    <a:pt x="11506" y="9661"/>
                  </a:lnTo>
                  <a:lnTo>
                    <a:pt x="11486" y="9773"/>
                  </a:lnTo>
                  <a:lnTo>
                    <a:pt x="11466" y="9884"/>
                  </a:lnTo>
                  <a:lnTo>
                    <a:pt x="11443" y="9995"/>
                  </a:lnTo>
                  <a:lnTo>
                    <a:pt x="11419" y="10106"/>
                  </a:lnTo>
                  <a:lnTo>
                    <a:pt x="11395" y="10216"/>
                  </a:lnTo>
                  <a:lnTo>
                    <a:pt x="11368" y="10325"/>
                  </a:lnTo>
                  <a:lnTo>
                    <a:pt x="11341" y="10434"/>
                  </a:lnTo>
                  <a:lnTo>
                    <a:pt x="11313" y="10543"/>
                  </a:lnTo>
                  <a:lnTo>
                    <a:pt x="11283" y="10650"/>
                  </a:lnTo>
                  <a:lnTo>
                    <a:pt x="11252" y="10757"/>
                  </a:lnTo>
                  <a:lnTo>
                    <a:pt x="11220" y="10863"/>
                  </a:lnTo>
                  <a:lnTo>
                    <a:pt x="11186" y="10969"/>
                  </a:lnTo>
                  <a:lnTo>
                    <a:pt x="11152" y="11074"/>
                  </a:lnTo>
                  <a:lnTo>
                    <a:pt x="11117" y="11178"/>
                  </a:lnTo>
                  <a:lnTo>
                    <a:pt x="11080" y="11282"/>
                  </a:lnTo>
                  <a:lnTo>
                    <a:pt x="11042" y="11386"/>
                  </a:lnTo>
                  <a:lnTo>
                    <a:pt x="11003" y="11488"/>
                  </a:lnTo>
                  <a:lnTo>
                    <a:pt x="10962" y="11590"/>
                  </a:lnTo>
                  <a:lnTo>
                    <a:pt x="10921" y="11690"/>
                  </a:lnTo>
                  <a:lnTo>
                    <a:pt x="10879" y="11791"/>
                  </a:lnTo>
                  <a:close/>
                  <a:moveTo>
                    <a:pt x="11162" y="12440"/>
                  </a:moveTo>
                  <a:lnTo>
                    <a:pt x="11275" y="12484"/>
                  </a:lnTo>
                  <a:lnTo>
                    <a:pt x="11387" y="12529"/>
                  </a:lnTo>
                  <a:lnTo>
                    <a:pt x="11497" y="12575"/>
                  </a:lnTo>
                  <a:lnTo>
                    <a:pt x="11606" y="12624"/>
                  </a:lnTo>
                  <a:lnTo>
                    <a:pt x="11715" y="12674"/>
                  </a:lnTo>
                  <a:lnTo>
                    <a:pt x="11824" y="12726"/>
                  </a:lnTo>
                  <a:lnTo>
                    <a:pt x="11930" y="12779"/>
                  </a:lnTo>
                  <a:lnTo>
                    <a:pt x="12036" y="12833"/>
                  </a:lnTo>
                  <a:lnTo>
                    <a:pt x="12142" y="12889"/>
                  </a:lnTo>
                  <a:lnTo>
                    <a:pt x="12245" y="12946"/>
                  </a:lnTo>
                  <a:lnTo>
                    <a:pt x="12349" y="13005"/>
                  </a:lnTo>
                  <a:lnTo>
                    <a:pt x="12451" y="13065"/>
                  </a:lnTo>
                  <a:lnTo>
                    <a:pt x="12552" y="13127"/>
                  </a:lnTo>
                  <a:lnTo>
                    <a:pt x="12653" y="13191"/>
                  </a:lnTo>
                  <a:lnTo>
                    <a:pt x="12751" y="13255"/>
                  </a:lnTo>
                  <a:lnTo>
                    <a:pt x="12850" y="13320"/>
                  </a:lnTo>
                  <a:lnTo>
                    <a:pt x="12759" y="13395"/>
                  </a:lnTo>
                  <a:lnTo>
                    <a:pt x="12666" y="13469"/>
                  </a:lnTo>
                  <a:lnTo>
                    <a:pt x="12573" y="13540"/>
                  </a:lnTo>
                  <a:lnTo>
                    <a:pt x="12477" y="13612"/>
                  </a:lnTo>
                  <a:lnTo>
                    <a:pt x="12381" y="13681"/>
                  </a:lnTo>
                  <a:lnTo>
                    <a:pt x="12283" y="13748"/>
                  </a:lnTo>
                  <a:lnTo>
                    <a:pt x="12185" y="13814"/>
                  </a:lnTo>
                  <a:lnTo>
                    <a:pt x="12084" y="13878"/>
                  </a:lnTo>
                  <a:lnTo>
                    <a:pt x="11984" y="13940"/>
                  </a:lnTo>
                  <a:lnTo>
                    <a:pt x="11881" y="14001"/>
                  </a:lnTo>
                  <a:lnTo>
                    <a:pt x="11779" y="14062"/>
                  </a:lnTo>
                  <a:lnTo>
                    <a:pt x="11674" y="14119"/>
                  </a:lnTo>
                  <a:lnTo>
                    <a:pt x="11568" y="14175"/>
                  </a:lnTo>
                  <a:lnTo>
                    <a:pt x="11461" y="14229"/>
                  </a:lnTo>
                  <a:lnTo>
                    <a:pt x="11354" y="14282"/>
                  </a:lnTo>
                  <a:lnTo>
                    <a:pt x="11245" y="14333"/>
                  </a:lnTo>
                  <a:lnTo>
                    <a:pt x="11136" y="14382"/>
                  </a:lnTo>
                  <a:lnTo>
                    <a:pt x="11025" y="14429"/>
                  </a:lnTo>
                  <a:lnTo>
                    <a:pt x="10914" y="14475"/>
                  </a:lnTo>
                  <a:lnTo>
                    <a:pt x="10802" y="14519"/>
                  </a:lnTo>
                  <a:lnTo>
                    <a:pt x="10688" y="14561"/>
                  </a:lnTo>
                  <a:lnTo>
                    <a:pt x="10573" y="14601"/>
                  </a:lnTo>
                  <a:lnTo>
                    <a:pt x="10458" y="14639"/>
                  </a:lnTo>
                  <a:lnTo>
                    <a:pt x="10342" y="14676"/>
                  </a:lnTo>
                  <a:lnTo>
                    <a:pt x="10225" y="14710"/>
                  </a:lnTo>
                  <a:lnTo>
                    <a:pt x="10107" y="14743"/>
                  </a:lnTo>
                  <a:lnTo>
                    <a:pt x="9989" y="14774"/>
                  </a:lnTo>
                  <a:lnTo>
                    <a:pt x="9869" y="14802"/>
                  </a:lnTo>
                  <a:lnTo>
                    <a:pt x="9749" y="14829"/>
                  </a:lnTo>
                  <a:lnTo>
                    <a:pt x="9628" y="14854"/>
                  </a:lnTo>
                  <a:lnTo>
                    <a:pt x="9507" y="14877"/>
                  </a:lnTo>
                  <a:lnTo>
                    <a:pt x="9383" y="14898"/>
                  </a:lnTo>
                  <a:lnTo>
                    <a:pt x="9450" y="14833"/>
                  </a:lnTo>
                  <a:lnTo>
                    <a:pt x="9516" y="14767"/>
                  </a:lnTo>
                  <a:lnTo>
                    <a:pt x="9582" y="14700"/>
                  </a:lnTo>
                  <a:lnTo>
                    <a:pt x="9645" y="14633"/>
                  </a:lnTo>
                  <a:lnTo>
                    <a:pt x="9710" y="14564"/>
                  </a:lnTo>
                  <a:lnTo>
                    <a:pt x="9772" y="14495"/>
                  </a:lnTo>
                  <a:lnTo>
                    <a:pt x="9835" y="14424"/>
                  </a:lnTo>
                  <a:lnTo>
                    <a:pt x="9897" y="14354"/>
                  </a:lnTo>
                  <a:lnTo>
                    <a:pt x="9958" y="14282"/>
                  </a:lnTo>
                  <a:lnTo>
                    <a:pt x="10019" y="14210"/>
                  </a:lnTo>
                  <a:lnTo>
                    <a:pt x="10078" y="14137"/>
                  </a:lnTo>
                  <a:lnTo>
                    <a:pt x="10138" y="14064"/>
                  </a:lnTo>
                  <a:lnTo>
                    <a:pt x="10195" y="13988"/>
                  </a:lnTo>
                  <a:lnTo>
                    <a:pt x="10254" y="13913"/>
                  </a:lnTo>
                  <a:lnTo>
                    <a:pt x="10310" y="13837"/>
                  </a:lnTo>
                  <a:lnTo>
                    <a:pt x="10367" y="13761"/>
                  </a:lnTo>
                  <a:lnTo>
                    <a:pt x="10422" y="13684"/>
                  </a:lnTo>
                  <a:lnTo>
                    <a:pt x="10476" y="13606"/>
                  </a:lnTo>
                  <a:lnTo>
                    <a:pt x="10531" y="13526"/>
                  </a:lnTo>
                  <a:lnTo>
                    <a:pt x="10584" y="13447"/>
                  </a:lnTo>
                  <a:lnTo>
                    <a:pt x="10636" y="13367"/>
                  </a:lnTo>
                  <a:lnTo>
                    <a:pt x="10688" y="13286"/>
                  </a:lnTo>
                  <a:lnTo>
                    <a:pt x="10739" y="13204"/>
                  </a:lnTo>
                  <a:lnTo>
                    <a:pt x="10789" y="13121"/>
                  </a:lnTo>
                  <a:lnTo>
                    <a:pt x="10839" y="13039"/>
                  </a:lnTo>
                  <a:lnTo>
                    <a:pt x="10888" y="12955"/>
                  </a:lnTo>
                  <a:lnTo>
                    <a:pt x="10935" y="12871"/>
                  </a:lnTo>
                  <a:lnTo>
                    <a:pt x="10982" y="12786"/>
                  </a:lnTo>
                  <a:lnTo>
                    <a:pt x="11028" y="12701"/>
                  </a:lnTo>
                  <a:lnTo>
                    <a:pt x="11074" y="12614"/>
                  </a:lnTo>
                  <a:lnTo>
                    <a:pt x="11119" y="12528"/>
                  </a:lnTo>
                  <a:lnTo>
                    <a:pt x="11162" y="12440"/>
                  </a:lnTo>
                  <a:close/>
                  <a:moveTo>
                    <a:pt x="8474" y="14988"/>
                  </a:moveTo>
                  <a:lnTo>
                    <a:pt x="8474" y="11911"/>
                  </a:lnTo>
                  <a:lnTo>
                    <a:pt x="8545" y="11913"/>
                  </a:lnTo>
                  <a:lnTo>
                    <a:pt x="8616" y="11916"/>
                  </a:lnTo>
                  <a:lnTo>
                    <a:pt x="8687" y="11920"/>
                  </a:lnTo>
                  <a:lnTo>
                    <a:pt x="8757" y="11924"/>
                  </a:lnTo>
                  <a:lnTo>
                    <a:pt x="8828" y="11929"/>
                  </a:lnTo>
                  <a:lnTo>
                    <a:pt x="8899" y="11934"/>
                  </a:lnTo>
                  <a:lnTo>
                    <a:pt x="8969" y="11940"/>
                  </a:lnTo>
                  <a:lnTo>
                    <a:pt x="9039" y="11946"/>
                  </a:lnTo>
                  <a:lnTo>
                    <a:pt x="9108" y="11953"/>
                  </a:lnTo>
                  <a:lnTo>
                    <a:pt x="9178" y="11960"/>
                  </a:lnTo>
                  <a:lnTo>
                    <a:pt x="9248" y="11968"/>
                  </a:lnTo>
                  <a:lnTo>
                    <a:pt x="9317" y="11976"/>
                  </a:lnTo>
                  <a:lnTo>
                    <a:pt x="9387" y="11986"/>
                  </a:lnTo>
                  <a:lnTo>
                    <a:pt x="9455" y="11995"/>
                  </a:lnTo>
                  <a:lnTo>
                    <a:pt x="9524" y="12005"/>
                  </a:lnTo>
                  <a:lnTo>
                    <a:pt x="9593" y="12016"/>
                  </a:lnTo>
                  <a:lnTo>
                    <a:pt x="9661" y="12027"/>
                  </a:lnTo>
                  <a:lnTo>
                    <a:pt x="9729" y="12039"/>
                  </a:lnTo>
                  <a:lnTo>
                    <a:pt x="9797" y="12051"/>
                  </a:lnTo>
                  <a:lnTo>
                    <a:pt x="9865" y="12064"/>
                  </a:lnTo>
                  <a:lnTo>
                    <a:pt x="9932" y="12077"/>
                  </a:lnTo>
                  <a:lnTo>
                    <a:pt x="10000" y="12091"/>
                  </a:lnTo>
                  <a:lnTo>
                    <a:pt x="10067" y="12106"/>
                  </a:lnTo>
                  <a:lnTo>
                    <a:pt x="10134" y="12121"/>
                  </a:lnTo>
                  <a:lnTo>
                    <a:pt x="10200" y="12136"/>
                  </a:lnTo>
                  <a:lnTo>
                    <a:pt x="10267" y="12153"/>
                  </a:lnTo>
                  <a:lnTo>
                    <a:pt x="10334" y="12169"/>
                  </a:lnTo>
                  <a:lnTo>
                    <a:pt x="10399" y="12187"/>
                  </a:lnTo>
                  <a:lnTo>
                    <a:pt x="10465" y="12204"/>
                  </a:lnTo>
                  <a:lnTo>
                    <a:pt x="10531" y="12223"/>
                  </a:lnTo>
                  <a:lnTo>
                    <a:pt x="10596" y="12242"/>
                  </a:lnTo>
                  <a:lnTo>
                    <a:pt x="10661" y="12262"/>
                  </a:lnTo>
                  <a:lnTo>
                    <a:pt x="10610" y="12363"/>
                  </a:lnTo>
                  <a:lnTo>
                    <a:pt x="10557" y="12462"/>
                  </a:lnTo>
                  <a:lnTo>
                    <a:pt x="10504" y="12561"/>
                  </a:lnTo>
                  <a:lnTo>
                    <a:pt x="10450" y="12659"/>
                  </a:lnTo>
                  <a:lnTo>
                    <a:pt x="10393" y="12757"/>
                  </a:lnTo>
                  <a:lnTo>
                    <a:pt x="10337" y="12853"/>
                  </a:lnTo>
                  <a:lnTo>
                    <a:pt x="10279" y="12948"/>
                  </a:lnTo>
                  <a:lnTo>
                    <a:pt x="10220" y="13042"/>
                  </a:lnTo>
                  <a:lnTo>
                    <a:pt x="10159" y="13135"/>
                  </a:lnTo>
                  <a:lnTo>
                    <a:pt x="10099" y="13228"/>
                  </a:lnTo>
                  <a:lnTo>
                    <a:pt x="10036" y="13319"/>
                  </a:lnTo>
                  <a:lnTo>
                    <a:pt x="9972" y="13410"/>
                  </a:lnTo>
                  <a:lnTo>
                    <a:pt x="9909" y="13499"/>
                  </a:lnTo>
                  <a:lnTo>
                    <a:pt x="9843" y="13588"/>
                  </a:lnTo>
                  <a:lnTo>
                    <a:pt x="9776" y="13675"/>
                  </a:lnTo>
                  <a:lnTo>
                    <a:pt x="9710" y="13761"/>
                  </a:lnTo>
                  <a:lnTo>
                    <a:pt x="9641" y="13846"/>
                  </a:lnTo>
                  <a:lnTo>
                    <a:pt x="9571" y="13930"/>
                  </a:lnTo>
                  <a:lnTo>
                    <a:pt x="9501" y="14012"/>
                  </a:lnTo>
                  <a:lnTo>
                    <a:pt x="9430" y="14095"/>
                  </a:lnTo>
                  <a:lnTo>
                    <a:pt x="9358" y="14175"/>
                  </a:lnTo>
                  <a:lnTo>
                    <a:pt x="9284" y="14255"/>
                  </a:lnTo>
                  <a:lnTo>
                    <a:pt x="9210" y="14333"/>
                  </a:lnTo>
                  <a:lnTo>
                    <a:pt x="9135" y="14410"/>
                  </a:lnTo>
                  <a:lnTo>
                    <a:pt x="9059" y="14487"/>
                  </a:lnTo>
                  <a:lnTo>
                    <a:pt x="8982" y="14562"/>
                  </a:lnTo>
                  <a:lnTo>
                    <a:pt x="8904" y="14636"/>
                  </a:lnTo>
                  <a:lnTo>
                    <a:pt x="8825" y="14708"/>
                  </a:lnTo>
                  <a:lnTo>
                    <a:pt x="8746" y="14779"/>
                  </a:lnTo>
                  <a:lnTo>
                    <a:pt x="8666" y="14850"/>
                  </a:lnTo>
                  <a:lnTo>
                    <a:pt x="8584" y="14918"/>
                  </a:lnTo>
                  <a:lnTo>
                    <a:pt x="8502" y="14987"/>
                  </a:lnTo>
                  <a:lnTo>
                    <a:pt x="8474" y="14988"/>
                  </a:lnTo>
                  <a:close/>
                  <a:moveTo>
                    <a:pt x="7036" y="14898"/>
                  </a:moveTo>
                  <a:lnTo>
                    <a:pt x="6913" y="14877"/>
                  </a:lnTo>
                  <a:lnTo>
                    <a:pt x="6791" y="14854"/>
                  </a:lnTo>
                  <a:lnTo>
                    <a:pt x="6670" y="14829"/>
                  </a:lnTo>
                  <a:lnTo>
                    <a:pt x="6550" y="14802"/>
                  </a:lnTo>
                  <a:lnTo>
                    <a:pt x="6431" y="14774"/>
                  </a:lnTo>
                  <a:lnTo>
                    <a:pt x="6312" y="14743"/>
                  </a:lnTo>
                  <a:lnTo>
                    <a:pt x="6194" y="14710"/>
                  </a:lnTo>
                  <a:lnTo>
                    <a:pt x="6077" y="14676"/>
                  </a:lnTo>
                  <a:lnTo>
                    <a:pt x="5961" y="14639"/>
                  </a:lnTo>
                  <a:lnTo>
                    <a:pt x="5846" y="14601"/>
                  </a:lnTo>
                  <a:lnTo>
                    <a:pt x="5731" y="14561"/>
                  </a:lnTo>
                  <a:lnTo>
                    <a:pt x="5618" y="14519"/>
                  </a:lnTo>
                  <a:lnTo>
                    <a:pt x="5505" y="14475"/>
                  </a:lnTo>
                  <a:lnTo>
                    <a:pt x="5395" y="14429"/>
                  </a:lnTo>
                  <a:lnTo>
                    <a:pt x="5284" y="14382"/>
                  </a:lnTo>
                  <a:lnTo>
                    <a:pt x="5174" y="14333"/>
                  </a:lnTo>
                  <a:lnTo>
                    <a:pt x="5065" y="14282"/>
                  </a:lnTo>
                  <a:lnTo>
                    <a:pt x="4958" y="14229"/>
                  </a:lnTo>
                  <a:lnTo>
                    <a:pt x="4851" y="14175"/>
                  </a:lnTo>
                  <a:lnTo>
                    <a:pt x="4746" y="14119"/>
                  </a:lnTo>
                  <a:lnTo>
                    <a:pt x="4641" y="14062"/>
                  </a:lnTo>
                  <a:lnTo>
                    <a:pt x="4538" y="14001"/>
                  </a:lnTo>
                  <a:lnTo>
                    <a:pt x="4436" y="13940"/>
                  </a:lnTo>
                  <a:lnTo>
                    <a:pt x="4335" y="13878"/>
                  </a:lnTo>
                  <a:lnTo>
                    <a:pt x="4235" y="13814"/>
                  </a:lnTo>
                  <a:lnTo>
                    <a:pt x="4137" y="13748"/>
                  </a:lnTo>
                  <a:lnTo>
                    <a:pt x="4038" y="13681"/>
                  </a:lnTo>
                  <a:lnTo>
                    <a:pt x="3943" y="13612"/>
                  </a:lnTo>
                  <a:lnTo>
                    <a:pt x="3847" y="13540"/>
                  </a:lnTo>
                  <a:lnTo>
                    <a:pt x="3753" y="13469"/>
                  </a:lnTo>
                  <a:lnTo>
                    <a:pt x="3660" y="13395"/>
                  </a:lnTo>
                  <a:lnTo>
                    <a:pt x="3569" y="13320"/>
                  </a:lnTo>
                  <a:lnTo>
                    <a:pt x="3668" y="13255"/>
                  </a:lnTo>
                  <a:lnTo>
                    <a:pt x="3767" y="13191"/>
                  </a:lnTo>
                  <a:lnTo>
                    <a:pt x="3867" y="13127"/>
                  </a:lnTo>
                  <a:lnTo>
                    <a:pt x="3968" y="13065"/>
                  </a:lnTo>
                  <a:lnTo>
                    <a:pt x="4071" y="13005"/>
                  </a:lnTo>
                  <a:lnTo>
                    <a:pt x="4174" y="12946"/>
                  </a:lnTo>
                  <a:lnTo>
                    <a:pt x="4278" y="12889"/>
                  </a:lnTo>
                  <a:lnTo>
                    <a:pt x="4383" y="12833"/>
                  </a:lnTo>
                  <a:lnTo>
                    <a:pt x="4489" y="12779"/>
                  </a:lnTo>
                  <a:lnTo>
                    <a:pt x="4596" y="12726"/>
                  </a:lnTo>
                  <a:lnTo>
                    <a:pt x="4704" y="12674"/>
                  </a:lnTo>
                  <a:lnTo>
                    <a:pt x="4813" y="12624"/>
                  </a:lnTo>
                  <a:lnTo>
                    <a:pt x="4923" y="12575"/>
                  </a:lnTo>
                  <a:lnTo>
                    <a:pt x="5033" y="12529"/>
                  </a:lnTo>
                  <a:lnTo>
                    <a:pt x="5144" y="12484"/>
                  </a:lnTo>
                  <a:lnTo>
                    <a:pt x="5257" y="12440"/>
                  </a:lnTo>
                  <a:lnTo>
                    <a:pt x="5301" y="12528"/>
                  </a:lnTo>
                  <a:lnTo>
                    <a:pt x="5345" y="12614"/>
                  </a:lnTo>
                  <a:lnTo>
                    <a:pt x="5391" y="12701"/>
                  </a:lnTo>
                  <a:lnTo>
                    <a:pt x="5437" y="12786"/>
                  </a:lnTo>
                  <a:lnTo>
                    <a:pt x="5484" y="12871"/>
                  </a:lnTo>
                  <a:lnTo>
                    <a:pt x="5532" y="12955"/>
                  </a:lnTo>
                  <a:lnTo>
                    <a:pt x="5580" y="13039"/>
                  </a:lnTo>
                  <a:lnTo>
                    <a:pt x="5630" y="13121"/>
                  </a:lnTo>
                  <a:lnTo>
                    <a:pt x="5680" y="13204"/>
                  </a:lnTo>
                  <a:lnTo>
                    <a:pt x="5731" y="13286"/>
                  </a:lnTo>
                  <a:lnTo>
                    <a:pt x="5783" y="13367"/>
                  </a:lnTo>
                  <a:lnTo>
                    <a:pt x="5835" y="13447"/>
                  </a:lnTo>
                  <a:lnTo>
                    <a:pt x="5888" y="13526"/>
                  </a:lnTo>
                  <a:lnTo>
                    <a:pt x="5943" y="13606"/>
                  </a:lnTo>
                  <a:lnTo>
                    <a:pt x="5997" y="13684"/>
                  </a:lnTo>
                  <a:lnTo>
                    <a:pt x="6052" y="13761"/>
                  </a:lnTo>
                  <a:lnTo>
                    <a:pt x="6109" y="13837"/>
                  </a:lnTo>
                  <a:lnTo>
                    <a:pt x="6166" y="13913"/>
                  </a:lnTo>
                  <a:lnTo>
                    <a:pt x="6224" y="13988"/>
                  </a:lnTo>
                  <a:lnTo>
                    <a:pt x="6282" y="14064"/>
                  </a:lnTo>
                  <a:lnTo>
                    <a:pt x="6341" y="14137"/>
                  </a:lnTo>
                  <a:lnTo>
                    <a:pt x="6400" y="14210"/>
                  </a:lnTo>
                  <a:lnTo>
                    <a:pt x="6461" y="14282"/>
                  </a:lnTo>
                  <a:lnTo>
                    <a:pt x="6522" y="14354"/>
                  </a:lnTo>
                  <a:lnTo>
                    <a:pt x="6584" y="14424"/>
                  </a:lnTo>
                  <a:lnTo>
                    <a:pt x="6647" y="14495"/>
                  </a:lnTo>
                  <a:lnTo>
                    <a:pt x="6710" y="14564"/>
                  </a:lnTo>
                  <a:lnTo>
                    <a:pt x="6774" y="14633"/>
                  </a:lnTo>
                  <a:lnTo>
                    <a:pt x="6839" y="14700"/>
                  </a:lnTo>
                  <a:lnTo>
                    <a:pt x="6903" y="14767"/>
                  </a:lnTo>
                  <a:lnTo>
                    <a:pt x="6969" y="14833"/>
                  </a:lnTo>
                  <a:lnTo>
                    <a:pt x="7036" y="14898"/>
                  </a:lnTo>
                  <a:close/>
                  <a:moveTo>
                    <a:pt x="7945" y="8277"/>
                  </a:moveTo>
                  <a:lnTo>
                    <a:pt x="7945" y="11394"/>
                  </a:lnTo>
                  <a:lnTo>
                    <a:pt x="7867" y="11396"/>
                  </a:lnTo>
                  <a:lnTo>
                    <a:pt x="7789" y="11400"/>
                  </a:lnTo>
                  <a:lnTo>
                    <a:pt x="7711" y="11404"/>
                  </a:lnTo>
                  <a:lnTo>
                    <a:pt x="7633" y="11408"/>
                  </a:lnTo>
                  <a:lnTo>
                    <a:pt x="7555" y="11413"/>
                  </a:lnTo>
                  <a:lnTo>
                    <a:pt x="7478" y="11419"/>
                  </a:lnTo>
                  <a:lnTo>
                    <a:pt x="7401" y="11425"/>
                  </a:lnTo>
                  <a:lnTo>
                    <a:pt x="7324" y="11433"/>
                  </a:lnTo>
                  <a:lnTo>
                    <a:pt x="7247" y="11440"/>
                  </a:lnTo>
                  <a:lnTo>
                    <a:pt x="7170" y="11449"/>
                  </a:lnTo>
                  <a:lnTo>
                    <a:pt x="7094" y="11458"/>
                  </a:lnTo>
                  <a:lnTo>
                    <a:pt x="7018" y="11467"/>
                  </a:lnTo>
                  <a:lnTo>
                    <a:pt x="6942" y="11477"/>
                  </a:lnTo>
                  <a:lnTo>
                    <a:pt x="6866" y="11488"/>
                  </a:lnTo>
                  <a:lnTo>
                    <a:pt x="6790" y="11500"/>
                  </a:lnTo>
                  <a:lnTo>
                    <a:pt x="6715" y="11512"/>
                  </a:lnTo>
                  <a:lnTo>
                    <a:pt x="6640" y="11525"/>
                  </a:lnTo>
                  <a:lnTo>
                    <a:pt x="6565" y="11538"/>
                  </a:lnTo>
                  <a:lnTo>
                    <a:pt x="6491" y="11552"/>
                  </a:lnTo>
                  <a:lnTo>
                    <a:pt x="6416" y="11566"/>
                  </a:lnTo>
                  <a:lnTo>
                    <a:pt x="6342" y="11582"/>
                  </a:lnTo>
                  <a:lnTo>
                    <a:pt x="6268" y="11598"/>
                  </a:lnTo>
                  <a:lnTo>
                    <a:pt x="6194" y="11614"/>
                  </a:lnTo>
                  <a:lnTo>
                    <a:pt x="6120" y="11631"/>
                  </a:lnTo>
                  <a:lnTo>
                    <a:pt x="6047" y="11649"/>
                  </a:lnTo>
                  <a:lnTo>
                    <a:pt x="5973" y="11667"/>
                  </a:lnTo>
                  <a:lnTo>
                    <a:pt x="5901" y="11686"/>
                  </a:lnTo>
                  <a:lnTo>
                    <a:pt x="5829" y="11706"/>
                  </a:lnTo>
                  <a:lnTo>
                    <a:pt x="5756" y="11726"/>
                  </a:lnTo>
                  <a:lnTo>
                    <a:pt x="5684" y="11747"/>
                  </a:lnTo>
                  <a:lnTo>
                    <a:pt x="5612" y="11768"/>
                  </a:lnTo>
                  <a:lnTo>
                    <a:pt x="5540" y="11791"/>
                  </a:lnTo>
                  <a:lnTo>
                    <a:pt x="5498" y="11690"/>
                  </a:lnTo>
                  <a:lnTo>
                    <a:pt x="5457" y="11590"/>
                  </a:lnTo>
                  <a:lnTo>
                    <a:pt x="5417" y="11488"/>
                  </a:lnTo>
                  <a:lnTo>
                    <a:pt x="5377" y="11386"/>
                  </a:lnTo>
                  <a:lnTo>
                    <a:pt x="5339" y="11282"/>
                  </a:lnTo>
                  <a:lnTo>
                    <a:pt x="5303" y="11178"/>
                  </a:lnTo>
                  <a:lnTo>
                    <a:pt x="5267" y="11074"/>
                  </a:lnTo>
                  <a:lnTo>
                    <a:pt x="5233" y="10969"/>
                  </a:lnTo>
                  <a:lnTo>
                    <a:pt x="5200" y="10863"/>
                  </a:lnTo>
                  <a:lnTo>
                    <a:pt x="5167" y="10757"/>
                  </a:lnTo>
                  <a:lnTo>
                    <a:pt x="5136" y="10650"/>
                  </a:lnTo>
                  <a:lnTo>
                    <a:pt x="5106" y="10543"/>
                  </a:lnTo>
                  <a:lnTo>
                    <a:pt x="5079" y="10434"/>
                  </a:lnTo>
                  <a:lnTo>
                    <a:pt x="5051" y="10325"/>
                  </a:lnTo>
                  <a:lnTo>
                    <a:pt x="5025" y="10216"/>
                  </a:lnTo>
                  <a:lnTo>
                    <a:pt x="5000" y="10106"/>
                  </a:lnTo>
                  <a:lnTo>
                    <a:pt x="4976" y="9995"/>
                  </a:lnTo>
                  <a:lnTo>
                    <a:pt x="4954" y="9884"/>
                  </a:lnTo>
                  <a:lnTo>
                    <a:pt x="4933" y="9773"/>
                  </a:lnTo>
                  <a:lnTo>
                    <a:pt x="4913" y="9661"/>
                  </a:lnTo>
                  <a:lnTo>
                    <a:pt x="4895" y="9548"/>
                  </a:lnTo>
                  <a:lnTo>
                    <a:pt x="4877" y="9435"/>
                  </a:lnTo>
                  <a:lnTo>
                    <a:pt x="4861" y="9321"/>
                  </a:lnTo>
                  <a:lnTo>
                    <a:pt x="4847" y="9207"/>
                  </a:lnTo>
                  <a:lnTo>
                    <a:pt x="4833" y="9092"/>
                  </a:lnTo>
                  <a:lnTo>
                    <a:pt x="4822" y="8977"/>
                  </a:lnTo>
                  <a:lnTo>
                    <a:pt x="4811" y="8862"/>
                  </a:lnTo>
                  <a:lnTo>
                    <a:pt x="4802" y="8746"/>
                  </a:lnTo>
                  <a:lnTo>
                    <a:pt x="4794" y="8628"/>
                  </a:lnTo>
                  <a:lnTo>
                    <a:pt x="4787" y="8512"/>
                  </a:lnTo>
                  <a:lnTo>
                    <a:pt x="4782" y="8394"/>
                  </a:lnTo>
                  <a:lnTo>
                    <a:pt x="4779" y="8277"/>
                  </a:lnTo>
                  <a:lnTo>
                    <a:pt x="7945" y="8277"/>
                  </a:lnTo>
                  <a:close/>
                  <a:moveTo>
                    <a:pt x="5353" y="4695"/>
                  </a:moveTo>
                  <a:lnTo>
                    <a:pt x="5430" y="4721"/>
                  </a:lnTo>
                  <a:lnTo>
                    <a:pt x="5507" y="4746"/>
                  </a:lnTo>
                  <a:lnTo>
                    <a:pt x="5583" y="4770"/>
                  </a:lnTo>
                  <a:lnTo>
                    <a:pt x="5661" y="4793"/>
                  </a:lnTo>
                  <a:lnTo>
                    <a:pt x="5739" y="4816"/>
                  </a:lnTo>
                  <a:lnTo>
                    <a:pt x="5817" y="4838"/>
                  </a:lnTo>
                  <a:lnTo>
                    <a:pt x="5896" y="4860"/>
                  </a:lnTo>
                  <a:lnTo>
                    <a:pt x="5974" y="4880"/>
                  </a:lnTo>
                  <a:lnTo>
                    <a:pt x="6053" y="4900"/>
                  </a:lnTo>
                  <a:lnTo>
                    <a:pt x="6134" y="4920"/>
                  </a:lnTo>
                  <a:lnTo>
                    <a:pt x="6213" y="4938"/>
                  </a:lnTo>
                  <a:lnTo>
                    <a:pt x="6293" y="4956"/>
                  </a:lnTo>
                  <a:lnTo>
                    <a:pt x="6373" y="4973"/>
                  </a:lnTo>
                  <a:lnTo>
                    <a:pt x="6454" y="4990"/>
                  </a:lnTo>
                  <a:lnTo>
                    <a:pt x="6535" y="5005"/>
                  </a:lnTo>
                  <a:lnTo>
                    <a:pt x="6615" y="5020"/>
                  </a:lnTo>
                  <a:lnTo>
                    <a:pt x="6697" y="5035"/>
                  </a:lnTo>
                  <a:lnTo>
                    <a:pt x="6778" y="5048"/>
                  </a:lnTo>
                  <a:lnTo>
                    <a:pt x="6860" y="5061"/>
                  </a:lnTo>
                  <a:lnTo>
                    <a:pt x="6942" y="5073"/>
                  </a:lnTo>
                  <a:lnTo>
                    <a:pt x="7024" y="5084"/>
                  </a:lnTo>
                  <a:lnTo>
                    <a:pt x="7106" y="5095"/>
                  </a:lnTo>
                  <a:lnTo>
                    <a:pt x="7189" y="5105"/>
                  </a:lnTo>
                  <a:lnTo>
                    <a:pt x="7273" y="5114"/>
                  </a:lnTo>
                  <a:lnTo>
                    <a:pt x="7356" y="5122"/>
                  </a:lnTo>
                  <a:lnTo>
                    <a:pt x="7439" y="5131"/>
                  </a:lnTo>
                  <a:lnTo>
                    <a:pt x="7523" y="5137"/>
                  </a:lnTo>
                  <a:lnTo>
                    <a:pt x="7607" y="5143"/>
                  </a:lnTo>
                  <a:lnTo>
                    <a:pt x="7691" y="5149"/>
                  </a:lnTo>
                  <a:lnTo>
                    <a:pt x="7775" y="5153"/>
                  </a:lnTo>
                  <a:lnTo>
                    <a:pt x="7860" y="5157"/>
                  </a:lnTo>
                  <a:lnTo>
                    <a:pt x="7945" y="5160"/>
                  </a:lnTo>
                  <a:lnTo>
                    <a:pt x="7945" y="7759"/>
                  </a:lnTo>
                  <a:lnTo>
                    <a:pt x="4779" y="7759"/>
                  </a:lnTo>
                  <a:lnTo>
                    <a:pt x="4782" y="7658"/>
                  </a:lnTo>
                  <a:lnTo>
                    <a:pt x="4786" y="7557"/>
                  </a:lnTo>
                  <a:lnTo>
                    <a:pt x="4791" y="7456"/>
                  </a:lnTo>
                  <a:lnTo>
                    <a:pt x="4797" y="7356"/>
                  </a:lnTo>
                  <a:lnTo>
                    <a:pt x="4805" y="7255"/>
                  </a:lnTo>
                  <a:lnTo>
                    <a:pt x="4812" y="7155"/>
                  </a:lnTo>
                  <a:lnTo>
                    <a:pt x="4821" y="7056"/>
                  </a:lnTo>
                  <a:lnTo>
                    <a:pt x="4831" y="6957"/>
                  </a:lnTo>
                  <a:lnTo>
                    <a:pt x="4843" y="6857"/>
                  </a:lnTo>
                  <a:lnTo>
                    <a:pt x="4854" y="6759"/>
                  </a:lnTo>
                  <a:lnTo>
                    <a:pt x="4867" y="6661"/>
                  </a:lnTo>
                  <a:lnTo>
                    <a:pt x="4881" y="6563"/>
                  </a:lnTo>
                  <a:lnTo>
                    <a:pt x="4896" y="6466"/>
                  </a:lnTo>
                  <a:lnTo>
                    <a:pt x="4911" y="6368"/>
                  </a:lnTo>
                  <a:lnTo>
                    <a:pt x="4928" y="6272"/>
                  </a:lnTo>
                  <a:lnTo>
                    <a:pt x="4945" y="6176"/>
                  </a:lnTo>
                  <a:lnTo>
                    <a:pt x="4964" y="6080"/>
                  </a:lnTo>
                  <a:lnTo>
                    <a:pt x="4983" y="5984"/>
                  </a:lnTo>
                  <a:lnTo>
                    <a:pt x="5004" y="5889"/>
                  </a:lnTo>
                  <a:lnTo>
                    <a:pt x="5025" y="5795"/>
                  </a:lnTo>
                  <a:lnTo>
                    <a:pt x="5048" y="5701"/>
                  </a:lnTo>
                  <a:lnTo>
                    <a:pt x="5070" y="5607"/>
                  </a:lnTo>
                  <a:lnTo>
                    <a:pt x="5095" y="5513"/>
                  </a:lnTo>
                  <a:lnTo>
                    <a:pt x="5120" y="5420"/>
                  </a:lnTo>
                  <a:lnTo>
                    <a:pt x="5145" y="5328"/>
                  </a:lnTo>
                  <a:lnTo>
                    <a:pt x="5172" y="5236"/>
                  </a:lnTo>
                  <a:lnTo>
                    <a:pt x="5201" y="5145"/>
                  </a:lnTo>
                  <a:lnTo>
                    <a:pt x="5228" y="5053"/>
                  </a:lnTo>
                  <a:lnTo>
                    <a:pt x="5258" y="4963"/>
                  </a:lnTo>
                  <a:lnTo>
                    <a:pt x="5289" y="4873"/>
                  </a:lnTo>
                  <a:lnTo>
                    <a:pt x="5321" y="4784"/>
                  </a:lnTo>
                  <a:lnTo>
                    <a:pt x="5353" y="4695"/>
                  </a:lnTo>
                  <a:close/>
                  <a:moveTo>
                    <a:pt x="5056" y="4040"/>
                  </a:moveTo>
                  <a:lnTo>
                    <a:pt x="4994" y="4015"/>
                  </a:lnTo>
                  <a:lnTo>
                    <a:pt x="4934" y="3989"/>
                  </a:lnTo>
                  <a:lnTo>
                    <a:pt x="4873" y="3963"/>
                  </a:lnTo>
                  <a:lnTo>
                    <a:pt x="4813" y="3936"/>
                  </a:lnTo>
                  <a:lnTo>
                    <a:pt x="4753" y="3909"/>
                  </a:lnTo>
                  <a:lnTo>
                    <a:pt x="4693" y="3882"/>
                  </a:lnTo>
                  <a:lnTo>
                    <a:pt x="4633" y="3854"/>
                  </a:lnTo>
                  <a:lnTo>
                    <a:pt x="4575" y="3825"/>
                  </a:lnTo>
                  <a:lnTo>
                    <a:pt x="4515" y="3796"/>
                  </a:lnTo>
                  <a:lnTo>
                    <a:pt x="4457" y="3766"/>
                  </a:lnTo>
                  <a:lnTo>
                    <a:pt x="4398" y="3736"/>
                  </a:lnTo>
                  <a:lnTo>
                    <a:pt x="4341" y="3705"/>
                  </a:lnTo>
                  <a:lnTo>
                    <a:pt x="4282" y="3674"/>
                  </a:lnTo>
                  <a:lnTo>
                    <a:pt x="4225" y="3643"/>
                  </a:lnTo>
                  <a:lnTo>
                    <a:pt x="4168" y="3611"/>
                  </a:lnTo>
                  <a:lnTo>
                    <a:pt x="4111" y="3579"/>
                  </a:lnTo>
                  <a:lnTo>
                    <a:pt x="3998" y="3513"/>
                  </a:lnTo>
                  <a:lnTo>
                    <a:pt x="3886" y="3446"/>
                  </a:lnTo>
                  <a:lnTo>
                    <a:pt x="3776" y="3377"/>
                  </a:lnTo>
                  <a:lnTo>
                    <a:pt x="3667" y="3305"/>
                  </a:lnTo>
                  <a:lnTo>
                    <a:pt x="3559" y="3233"/>
                  </a:lnTo>
                  <a:lnTo>
                    <a:pt x="3451" y="3159"/>
                  </a:lnTo>
                  <a:lnTo>
                    <a:pt x="3345" y="3084"/>
                  </a:lnTo>
                  <a:lnTo>
                    <a:pt x="3241" y="3007"/>
                  </a:lnTo>
                  <a:lnTo>
                    <a:pt x="3337" y="2917"/>
                  </a:lnTo>
                  <a:lnTo>
                    <a:pt x="3436" y="2829"/>
                  </a:lnTo>
                  <a:lnTo>
                    <a:pt x="3535" y="2743"/>
                  </a:lnTo>
                  <a:lnTo>
                    <a:pt x="3637" y="2659"/>
                  </a:lnTo>
                  <a:lnTo>
                    <a:pt x="3740" y="2576"/>
                  </a:lnTo>
                  <a:lnTo>
                    <a:pt x="3845" y="2496"/>
                  </a:lnTo>
                  <a:lnTo>
                    <a:pt x="3951" y="2417"/>
                  </a:lnTo>
                  <a:lnTo>
                    <a:pt x="4059" y="2340"/>
                  </a:lnTo>
                  <a:lnTo>
                    <a:pt x="4168" y="2266"/>
                  </a:lnTo>
                  <a:lnTo>
                    <a:pt x="4279" y="2193"/>
                  </a:lnTo>
                  <a:lnTo>
                    <a:pt x="4391" y="2122"/>
                  </a:lnTo>
                  <a:lnTo>
                    <a:pt x="4505" y="2054"/>
                  </a:lnTo>
                  <a:lnTo>
                    <a:pt x="4620" y="1986"/>
                  </a:lnTo>
                  <a:lnTo>
                    <a:pt x="4736" y="1921"/>
                  </a:lnTo>
                  <a:lnTo>
                    <a:pt x="4854" y="1859"/>
                  </a:lnTo>
                  <a:lnTo>
                    <a:pt x="4973" y="1799"/>
                  </a:lnTo>
                  <a:lnTo>
                    <a:pt x="5093" y="1740"/>
                  </a:lnTo>
                  <a:lnTo>
                    <a:pt x="5215" y="1684"/>
                  </a:lnTo>
                  <a:lnTo>
                    <a:pt x="5338" y="1630"/>
                  </a:lnTo>
                  <a:lnTo>
                    <a:pt x="5461" y="1579"/>
                  </a:lnTo>
                  <a:lnTo>
                    <a:pt x="5587" y="1528"/>
                  </a:lnTo>
                  <a:lnTo>
                    <a:pt x="5714" y="1481"/>
                  </a:lnTo>
                  <a:lnTo>
                    <a:pt x="5841" y="1436"/>
                  </a:lnTo>
                  <a:lnTo>
                    <a:pt x="5969" y="1393"/>
                  </a:lnTo>
                  <a:lnTo>
                    <a:pt x="6100" y="1353"/>
                  </a:lnTo>
                  <a:lnTo>
                    <a:pt x="6230" y="1315"/>
                  </a:lnTo>
                  <a:lnTo>
                    <a:pt x="6362" y="1279"/>
                  </a:lnTo>
                  <a:lnTo>
                    <a:pt x="6495" y="1246"/>
                  </a:lnTo>
                  <a:lnTo>
                    <a:pt x="6628" y="1215"/>
                  </a:lnTo>
                  <a:lnTo>
                    <a:pt x="6764" y="1187"/>
                  </a:lnTo>
                  <a:lnTo>
                    <a:pt x="6899" y="1161"/>
                  </a:lnTo>
                  <a:lnTo>
                    <a:pt x="7036" y="1137"/>
                  </a:lnTo>
                  <a:lnTo>
                    <a:pt x="6960" y="1213"/>
                  </a:lnTo>
                  <a:lnTo>
                    <a:pt x="6884" y="1289"/>
                  </a:lnTo>
                  <a:lnTo>
                    <a:pt x="6809" y="1367"/>
                  </a:lnTo>
                  <a:lnTo>
                    <a:pt x="6735" y="1446"/>
                  </a:lnTo>
                  <a:lnTo>
                    <a:pt x="6662" y="1525"/>
                  </a:lnTo>
                  <a:lnTo>
                    <a:pt x="6589" y="1607"/>
                  </a:lnTo>
                  <a:lnTo>
                    <a:pt x="6518" y="1689"/>
                  </a:lnTo>
                  <a:lnTo>
                    <a:pt x="6448" y="1771"/>
                  </a:lnTo>
                  <a:lnTo>
                    <a:pt x="6379" y="1855"/>
                  </a:lnTo>
                  <a:lnTo>
                    <a:pt x="6310" y="1940"/>
                  </a:lnTo>
                  <a:lnTo>
                    <a:pt x="6242" y="2027"/>
                  </a:lnTo>
                  <a:lnTo>
                    <a:pt x="6176" y="2113"/>
                  </a:lnTo>
                  <a:lnTo>
                    <a:pt x="6110" y="2201"/>
                  </a:lnTo>
                  <a:lnTo>
                    <a:pt x="6045" y="2290"/>
                  </a:lnTo>
                  <a:lnTo>
                    <a:pt x="5982" y="2379"/>
                  </a:lnTo>
                  <a:lnTo>
                    <a:pt x="5919" y="2471"/>
                  </a:lnTo>
                  <a:lnTo>
                    <a:pt x="5857" y="2562"/>
                  </a:lnTo>
                  <a:lnTo>
                    <a:pt x="5797" y="2654"/>
                  </a:lnTo>
                  <a:lnTo>
                    <a:pt x="5736" y="2748"/>
                  </a:lnTo>
                  <a:lnTo>
                    <a:pt x="5678" y="2842"/>
                  </a:lnTo>
                  <a:lnTo>
                    <a:pt x="5620" y="2938"/>
                  </a:lnTo>
                  <a:lnTo>
                    <a:pt x="5564" y="3034"/>
                  </a:lnTo>
                  <a:lnTo>
                    <a:pt x="5508" y="3130"/>
                  </a:lnTo>
                  <a:lnTo>
                    <a:pt x="5453" y="3228"/>
                  </a:lnTo>
                  <a:lnTo>
                    <a:pt x="5400" y="3326"/>
                  </a:lnTo>
                  <a:lnTo>
                    <a:pt x="5347" y="3427"/>
                  </a:lnTo>
                  <a:lnTo>
                    <a:pt x="5296" y="3527"/>
                  </a:lnTo>
                  <a:lnTo>
                    <a:pt x="5246" y="3628"/>
                  </a:lnTo>
                  <a:lnTo>
                    <a:pt x="5197" y="3729"/>
                  </a:lnTo>
                  <a:lnTo>
                    <a:pt x="5148" y="3833"/>
                  </a:lnTo>
                  <a:lnTo>
                    <a:pt x="5102" y="3936"/>
                  </a:lnTo>
                  <a:lnTo>
                    <a:pt x="5056" y="4040"/>
                  </a:lnTo>
                  <a:close/>
                  <a:moveTo>
                    <a:pt x="7945" y="1047"/>
                  </a:moveTo>
                  <a:lnTo>
                    <a:pt x="7945" y="4642"/>
                  </a:lnTo>
                  <a:lnTo>
                    <a:pt x="7867" y="4639"/>
                  </a:lnTo>
                  <a:lnTo>
                    <a:pt x="7789" y="4635"/>
                  </a:lnTo>
                  <a:lnTo>
                    <a:pt x="7711" y="4631"/>
                  </a:lnTo>
                  <a:lnTo>
                    <a:pt x="7633" y="4626"/>
                  </a:lnTo>
                  <a:lnTo>
                    <a:pt x="7556" y="4621"/>
                  </a:lnTo>
                  <a:lnTo>
                    <a:pt x="7478" y="4614"/>
                  </a:lnTo>
                  <a:lnTo>
                    <a:pt x="7401" y="4607"/>
                  </a:lnTo>
                  <a:lnTo>
                    <a:pt x="7325" y="4600"/>
                  </a:lnTo>
                  <a:lnTo>
                    <a:pt x="7248" y="4591"/>
                  </a:lnTo>
                  <a:lnTo>
                    <a:pt x="7172" y="4582"/>
                  </a:lnTo>
                  <a:lnTo>
                    <a:pt x="7095" y="4573"/>
                  </a:lnTo>
                  <a:lnTo>
                    <a:pt x="7020" y="4562"/>
                  </a:lnTo>
                  <a:lnTo>
                    <a:pt x="6944" y="4551"/>
                  </a:lnTo>
                  <a:lnTo>
                    <a:pt x="6868" y="4540"/>
                  </a:lnTo>
                  <a:lnTo>
                    <a:pt x="6793" y="4527"/>
                  </a:lnTo>
                  <a:lnTo>
                    <a:pt x="6718" y="4514"/>
                  </a:lnTo>
                  <a:lnTo>
                    <a:pt x="6644" y="4501"/>
                  </a:lnTo>
                  <a:lnTo>
                    <a:pt x="6569" y="4486"/>
                  </a:lnTo>
                  <a:lnTo>
                    <a:pt x="6495" y="4471"/>
                  </a:lnTo>
                  <a:lnTo>
                    <a:pt x="6421" y="4456"/>
                  </a:lnTo>
                  <a:lnTo>
                    <a:pt x="6347" y="4439"/>
                  </a:lnTo>
                  <a:lnTo>
                    <a:pt x="6273" y="4423"/>
                  </a:lnTo>
                  <a:lnTo>
                    <a:pt x="6200" y="4405"/>
                  </a:lnTo>
                  <a:lnTo>
                    <a:pt x="6127" y="4387"/>
                  </a:lnTo>
                  <a:lnTo>
                    <a:pt x="6055" y="4368"/>
                  </a:lnTo>
                  <a:lnTo>
                    <a:pt x="5982" y="4348"/>
                  </a:lnTo>
                  <a:lnTo>
                    <a:pt x="5910" y="4328"/>
                  </a:lnTo>
                  <a:lnTo>
                    <a:pt x="5838" y="4308"/>
                  </a:lnTo>
                  <a:lnTo>
                    <a:pt x="5766" y="4286"/>
                  </a:lnTo>
                  <a:lnTo>
                    <a:pt x="5694" y="4264"/>
                  </a:lnTo>
                  <a:lnTo>
                    <a:pt x="5624" y="4242"/>
                  </a:lnTo>
                  <a:lnTo>
                    <a:pt x="5553" y="4217"/>
                  </a:lnTo>
                  <a:lnTo>
                    <a:pt x="5605" y="4099"/>
                  </a:lnTo>
                  <a:lnTo>
                    <a:pt x="5658" y="3982"/>
                  </a:lnTo>
                  <a:lnTo>
                    <a:pt x="5714" y="3866"/>
                  </a:lnTo>
                  <a:lnTo>
                    <a:pt x="5771" y="3750"/>
                  </a:lnTo>
                  <a:lnTo>
                    <a:pt x="5830" y="3637"/>
                  </a:lnTo>
                  <a:lnTo>
                    <a:pt x="5889" y="3524"/>
                  </a:lnTo>
                  <a:lnTo>
                    <a:pt x="5951" y="3412"/>
                  </a:lnTo>
                  <a:lnTo>
                    <a:pt x="6014" y="3301"/>
                  </a:lnTo>
                  <a:lnTo>
                    <a:pt x="6078" y="3192"/>
                  </a:lnTo>
                  <a:lnTo>
                    <a:pt x="6144" y="3084"/>
                  </a:lnTo>
                  <a:lnTo>
                    <a:pt x="6212" y="2978"/>
                  </a:lnTo>
                  <a:lnTo>
                    <a:pt x="6279" y="2871"/>
                  </a:lnTo>
                  <a:lnTo>
                    <a:pt x="6349" y="2767"/>
                  </a:lnTo>
                  <a:lnTo>
                    <a:pt x="6421" y="2664"/>
                  </a:lnTo>
                  <a:lnTo>
                    <a:pt x="6494" y="2563"/>
                  </a:lnTo>
                  <a:lnTo>
                    <a:pt x="6568" y="2463"/>
                  </a:lnTo>
                  <a:lnTo>
                    <a:pt x="6643" y="2363"/>
                  </a:lnTo>
                  <a:lnTo>
                    <a:pt x="6718" y="2265"/>
                  </a:lnTo>
                  <a:lnTo>
                    <a:pt x="6796" y="2169"/>
                  </a:lnTo>
                  <a:lnTo>
                    <a:pt x="6875" y="2074"/>
                  </a:lnTo>
                  <a:lnTo>
                    <a:pt x="6955" y="1980"/>
                  </a:lnTo>
                  <a:lnTo>
                    <a:pt x="7038" y="1888"/>
                  </a:lnTo>
                  <a:lnTo>
                    <a:pt x="7121" y="1798"/>
                  </a:lnTo>
                  <a:lnTo>
                    <a:pt x="7204" y="1709"/>
                  </a:lnTo>
                  <a:lnTo>
                    <a:pt x="7289" y="1621"/>
                  </a:lnTo>
                  <a:lnTo>
                    <a:pt x="7375" y="1534"/>
                  </a:lnTo>
                  <a:lnTo>
                    <a:pt x="7463" y="1449"/>
                  </a:lnTo>
                  <a:lnTo>
                    <a:pt x="7552" y="1366"/>
                  </a:lnTo>
                  <a:lnTo>
                    <a:pt x="7642" y="1285"/>
                  </a:lnTo>
                  <a:lnTo>
                    <a:pt x="7732" y="1205"/>
                  </a:lnTo>
                  <a:lnTo>
                    <a:pt x="7825" y="1126"/>
                  </a:lnTo>
                  <a:lnTo>
                    <a:pt x="7918" y="1049"/>
                  </a:lnTo>
                  <a:lnTo>
                    <a:pt x="7931" y="1048"/>
                  </a:lnTo>
                  <a:lnTo>
                    <a:pt x="7945" y="1047"/>
                  </a:lnTo>
                  <a:close/>
                  <a:moveTo>
                    <a:pt x="9383" y="1137"/>
                  </a:moveTo>
                  <a:lnTo>
                    <a:pt x="9520" y="1161"/>
                  </a:lnTo>
                  <a:lnTo>
                    <a:pt x="9656" y="1187"/>
                  </a:lnTo>
                  <a:lnTo>
                    <a:pt x="9791" y="1215"/>
                  </a:lnTo>
                  <a:lnTo>
                    <a:pt x="9924" y="1246"/>
                  </a:lnTo>
                  <a:lnTo>
                    <a:pt x="10058" y="1279"/>
                  </a:lnTo>
                  <a:lnTo>
                    <a:pt x="10189" y="1315"/>
                  </a:lnTo>
                  <a:lnTo>
                    <a:pt x="10320" y="1353"/>
                  </a:lnTo>
                  <a:lnTo>
                    <a:pt x="10450" y="1393"/>
                  </a:lnTo>
                  <a:lnTo>
                    <a:pt x="10578" y="1436"/>
                  </a:lnTo>
                  <a:lnTo>
                    <a:pt x="10706" y="1481"/>
                  </a:lnTo>
                  <a:lnTo>
                    <a:pt x="10832" y="1528"/>
                  </a:lnTo>
                  <a:lnTo>
                    <a:pt x="10958" y="1579"/>
                  </a:lnTo>
                  <a:lnTo>
                    <a:pt x="11082" y="1630"/>
                  </a:lnTo>
                  <a:lnTo>
                    <a:pt x="11205" y="1684"/>
                  </a:lnTo>
                  <a:lnTo>
                    <a:pt x="11326" y="1740"/>
                  </a:lnTo>
                  <a:lnTo>
                    <a:pt x="11446" y="1799"/>
                  </a:lnTo>
                  <a:lnTo>
                    <a:pt x="11565" y="1859"/>
                  </a:lnTo>
                  <a:lnTo>
                    <a:pt x="11683" y="1921"/>
                  </a:lnTo>
                  <a:lnTo>
                    <a:pt x="11799" y="1986"/>
                  </a:lnTo>
                  <a:lnTo>
                    <a:pt x="11914" y="2054"/>
                  </a:lnTo>
                  <a:lnTo>
                    <a:pt x="12028" y="2122"/>
                  </a:lnTo>
                  <a:lnTo>
                    <a:pt x="12140" y="2193"/>
                  </a:lnTo>
                  <a:lnTo>
                    <a:pt x="12251" y="2266"/>
                  </a:lnTo>
                  <a:lnTo>
                    <a:pt x="12360" y="2340"/>
                  </a:lnTo>
                  <a:lnTo>
                    <a:pt x="12468" y="2417"/>
                  </a:lnTo>
                  <a:lnTo>
                    <a:pt x="12574" y="2496"/>
                  </a:lnTo>
                  <a:lnTo>
                    <a:pt x="12679" y="2576"/>
                  </a:lnTo>
                  <a:lnTo>
                    <a:pt x="12782" y="2659"/>
                  </a:lnTo>
                  <a:lnTo>
                    <a:pt x="12884" y="2743"/>
                  </a:lnTo>
                  <a:lnTo>
                    <a:pt x="12983" y="2829"/>
                  </a:lnTo>
                  <a:lnTo>
                    <a:pt x="13082" y="2917"/>
                  </a:lnTo>
                  <a:lnTo>
                    <a:pt x="13178" y="3007"/>
                  </a:lnTo>
                  <a:lnTo>
                    <a:pt x="13074" y="3084"/>
                  </a:lnTo>
                  <a:lnTo>
                    <a:pt x="12968" y="3159"/>
                  </a:lnTo>
                  <a:lnTo>
                    <a:pt x="12861" y="3233"/>
                  </a:lnTo>
                  <a:lnTo>
                    <a:pt x="12752" y="3305"/>
                  </a:lnTo>
                  <a:lnTo>
                    <a:pt x="12644" y="3377"/>
                  </a:lnTo>
                  <a:lnTo>
                    <a:pt x="12533" y="3446"/>
                  </a:lnTo>
                  <a:lnTo>
                    <a:pt x="12421" y="3513"/>
                  </a:lnTo>
                  <a:lnTo>
                    <a:pt x="12308" y="3579"/>
                  </a:lnTo>
                  <a:lnTo>
                    <a:pt x="12252" y="3611"/>
                  </a:lnTo>
                  <a:lnTo>
                    <a:pt x="12194" y="3643"/>
                  </a:lnTo>
                  <a:lnTo>
                    <a:pt x="12137" y="3674"/>
                  </a:lnTo>
                  <a:lnTo>
                    <a:pt x="12078" y="3705"/>
                  </a:lnTo>
                  <a:lnTo>
                    <a:pt x="12021" y="3736"/>
                  </a:lnTo>
                  <a:lnTo>
                    <a:pt x="11962" y="3766"/>
                  </a:lnTo>
                  <a:lnTo>
                    <a:pt x="11904" y="3796"/>
                  </a:lnTo>
                  <a:lnTo>
                    <a:pt x="11844" y="3825"/>
                  </a:lnTo>
                  <a:lnTo>
                    <a:pt x="11786" y="3854"/>
                  </a:lnTo>
                  <a:lnTo>
                    <a:pt x="11726" y="3882"/>
                  </a:lnTo>
                  <a:lnTo>
                    <a:pt x="11667" y="3909"/>
                  </a:lnTo>
                  <a:lnTo>
                    <a:pt x="11606" y="3936"/>
                  </a:lnTo>
                  <a:lnTo>
                    <a:pt x="11546" y="3963"/>
                  </a:lnTo>
                  <a:lnTo>
                    <a:pt x="11485" y="3989"/>
                  </a:lnTo>
                  <a:lnTo>
                    <a:pt x="11425" y="4015"/>
                  </a:lnTo>
                  <a:lnTo>
                    <a:pt x="11363" y="4040"/>
                  </a:lnTo>
                  <a:lnTo>
                    <a:pt x="11317" y="3936"/>
                  </a:lnTo>
                  <a:lnTo>
                    <a:pt x="11271" y="3833"/>
                  </a:lnTo>
                  <a:lnTo>
                    <a:pt x="11222" y="3729"/>
                  </a:lnTo>
                  <a:lnTo>
                    <a:pt x="11173" y="3628"/>
                  </a:lnTo>
                  <a:lnTo>
                    <a:pt x="11123" y="3527"/>
                  </a:lnTo>
                  <a:lnTo>
                    <a:pt x="11072" y="3427"/>
                  </a:lnTo>
                  <a:lnTo>
                    <a:pt x="11019" y="3326"/>
                  </a:lnTo>
                  <a:lnTo>
                    <a:pt x="10966" y="3228"/>
                  </a:lnTo>
                  <a:lnTo>
                    <a:pt x="10911" y="3130"/>
                  </a:lnTo>
                  <a:lnTo>
                    <a:pt x="10855" y="3034"/>
                  </a:lnTo>
                  <a:lnTo>
                    <a:pt x="10799" y="2938"/>
                  </a:lnTo>
                  <a:lnTo>
                    <a:pt x="10741" y="2842"/>
                  </a:lnTo>
                  <a:lnTo>
                    <a:pt x="10683" y="2748"/>
                  </a:lnTo>
                  <a:lnTo>
                    <a:pt x="10623" y="2654"/>
                  </a:lnTo>
                  <a:lnTo>
                    <a:pt x="10562" y="2562"/>
                  </a:lnTo>
                  <a:lnTo>
                    <a:pt x="10500" y="2471"/>
                  </a:lnTo>
                  <a:lnTo>
                    <a:pt x="10437" y="2379"/>
                  </a:lnTo>
                  <a:lnTo>
                    <a:pt x="10374" y="2290"/>
                  </a:lnTo>
                  <a:lnTo>
                    <a:pt x="10309" y="2201"/>
                  </a:lnTo>
                  <a:lnTo>
                    <a:pt x="10243" y="2113"/>
                  </a:lnTo>
                  <a:lnTo>
                    <a:pt x="10177" y="2027"/>
                  </a:lnTo>
                  <a:lnTo>
                    <a:pt x="10109" y="1940"/>
                  </a:lnTo>
                  <a:lnTo>
                    <a:pt x="10041" y="1855"/>
                  </a:lnTo>
                  <a:lnTo>
                    <a:pt x="9971" y="1771"/>
                  </a:lnTo>
                  <a:lnTo>
                    <a:pt x="9901" y="1689"/>
                  </a:lnTo>
                  <a:lnTo>
                    <a:pt x="9830" y="1607"/>
                  </a:lnTo>
                  <a:lnTo>
                    <a:pt x="9758" y="1525"/>
                  </a:lnTo>
                  <a:lnTo>
                    <a:pt x="9685" y="1446"/>
                  </a:lnTo>
                  <a:lnTo>
                    <a:pt x="9610" y="1367"/>
                  </a:lnTo>
                  <a:lnTo>
                    <a:pt x="9536" y="1289"/>
                  </a:lnTo>
                  <a:lnTo>
                    <a:pt x="9460" y="1213"/>
                  </a:lnTo>
                  <a:lnTo>
                    <a:pt x="9383" y="1137"/>
                  </a:lnTo>
                  <a:close/>
                  <a:moveTo>
                    <a:pt x="8502" y="1049"/>
                  </a:moveTo>
                  <a:lnTo>
                    <a:pt x="8595" y="1126"/>
                  </a:lnTo>
                  <a:lnTo>
                    <a:pt x="8687" y="1205"/>
                  </a:lnTo>
                  <a:lnTo>
                    <a:pt x="8778" y="1285"/>
                  </a:lnTo>
                  <a:lnTo>
                    <a:pt x="8867" y="1366"/>
                  </a:lnTo>
                  <a:lnTo>
                    <a:pt x="8957" y="1449"/>
                  </a:lnTo>
                  <a:lnTo>
                    <a:pt x="9044" y="1534"/>
                  </a:lnTo>
                  <a:lnTo>
                    <a:pt x="9130" y="1621"/>
                  </a:lnTo>
                  <a:lnTo>
                    <a:pt x="9215" y="1709"/>
                  </a:lnTo>
                  <a:lnTo>
                    <a:pt x="9299" y="1798"/>
                  </a:lnTo>
                  <a:lnTo>
                    <a:pt x="9382" y="1888"/>
                  </a:lnTo>
                  <a:lnTo>
                    <a:pt x="9464" y="1980"/>
                  </a:lnTo>
                  <a:lnTo>
                    <a:pt x="9544" y="2074"/>
                  </a:lnTo>
                  <a:lnTo>
                    <a:pt x="9623" y="2169"/>
                  </a:lnTo>
                  <a:lnTo>
                    <a:pt x="9701" y="2265"/>
                  </a:lnTo>
                  <a:lnTo>
                    <a:pt x="9778" y="2363"/>
                  </a:lnTo>
                  <a:lnTo>
                    <a:pt x="9852" y="2463"/>
                  </a:lnTo>
                  <a:lnTo>
                    <a:pt x="9926" y="2563"/>
                  </a:lnTo>
                  <a:lnTo>
                    <a:pt x="9999" y="2664"/>
                  </a:lnTo>
                  <a:lnTo>
                    <a:pt x="10070" y="2767"/>
                  </a:lnTo>
                  <a:lnTo>
                    <a:pt x="10140" y="2871"/>
                  </a:lnTo>
                  <a:lnTo>
                    <a:pt x="10209" y="2978"/>
                  </a:lnTo>
                  <a:lnTo>
                    <a:pt x="10275" y="3084"/>
                  </a:lnTo>
                  <a:lnTo>
                    <a:pt x="10341" y="3192"/>
                  </a:lnTo>
                  <a:lnTo>
                    <a:pt x="10406" y="3301"/>
                  </a:lnTo>
                  <a:lnTo>
                    <a:pt x="10468" y="3412"/>
                  </a:lnTo>
                  <a:lnTo>
                    <a:pt x="10530" y="3524"/>
                  </a:lnTo>
                  <a:lnTo>
                    <a:pt x="10589" y="3637"/>
                  </a:lnTo>
                  <a:lnTo>
                    <a:pt x="10648" y="3750"/>
                  </a:lnTo>
                  <a:lnTo>
                    <a:pt x="10705" y="3866"/>
                  </a:lnTo>
                  <a:lnTo>
                    <a:pt x="10761" y="3982"/>
                  </a:lnTo>
                  <a:lnTo>
                    <a:pt x="10815" y="4099"/>
                  </a:lnTo>
                  <a:lnTo>
                    <a:pt x="10867" y="4217"/>
                  </a:lnTo>
                  <a:lnTo>
                    <a:pt x="10797" y="4242"/>
                  </a:lnTo>
                  <a:lnTo>
                    <a:pt x="10725" y="4264"/>
                  </a:lnTo>
                  <a:lnTo>
                    <a:pt x="10654" y="4286"/>
                  </a:lnTo>
                  <a:lnTo>
                    <a:pt x="10582" y="4308"/>
                  </a:lnTo>
                  <a:lnTo>
                    <a:pt x="10510" y="4328"/>
                  </a:lnTo>
                  <a:lnTo>
                    <a:pt x="10437" y="4348"/>
                  </a:lnTo>
                  <a:lnTo>
                    <a:pt x="10366" y="4368"/>
                  </a:lnTo>
                  <a:lnTo>
                    <a:pt x="10293" y="4387"/>
                  </a:lnTo>
                  <a:lnTo>
                    <a:pt x="10219" y="4405"/>
                  </a:lnTo>
                  <a:lnTo>
                    <a:pt x="10146" y="4423"/>
                  </a:lnTo>
                  <a:lnTo>
                    <a:pt x="10072" y="4439"/>
                  </a:lnTo>
                  <a:lnTo>
                    <a:pt x="9998" y="4456"/>
                  </a:lnTo>
                  <a:lnTo>
                    <a:pt x="9924" y="4471"/>
                  </a:lnTo>
                  <a:lnTo>
                    <a:pt x="9850" y="4486"/>
                  </a:lnTo>
                  <a:lnTo>
                    <a:pt x="9775" y="4501"/>
                  </a:lnTo>
                  <a:lnTo>
                    <a:pt x="9701" y="4514"/>
                  </a:lnTo>
                  <a:lnTo>
                    <a:pt x="9626" y="4527"/>
                  </a:lnTo>
                  <a:lnTo>
                    <a:pt x="9551" y="4540"/>
                  </a:lnTo>
                  <a:lnTo>
                    <a:pt x="9475" y="4551"/>
                  </a:lnTo>
                  <a:lnTo>
                    <a:pt x="9400" y="4562"/>
                  </a:lnTo>
                  <a:lnTo>
                    <a:pt x="9324" y="4573"/>
                  </a:lnTo>
                  <a:lnTo>
                    <a:pt x="9247" y="4582"/>
                  </a:lnTo>
                  <a:lnTo>
                    <a:pt x="9171" y="4591"/>
                  </a:lnTo>
                  <a:lnTo>
                    <a:pt x="9094" y="4600"/>
                  </a:lnTo>
                  <a:lnTo>
                    <a:pt x="9018" y="4607"/>
                  </a:lnTo>
                  <a:lnTo>
                    <a:pt x="8940" y="4614"/>
                  </a:lnTo>
                  <a:lnTo>
                    <a:pt x="8863" y="4621"/>
                  </a:lnTo>
                  <a:lnTo>
                    <a:pt x="8786" y="4626"/>
                  </a:lnTo>
                  <a:lnTo>
                    <a:pt x="8708" y="4631"/>
                  </a:lnTo>
                  <a:lnTo>
                    <a:pt x="8630" y="4635"/>
                  </a:lnTo>
                  <a:lnTo>
                    <a:pt x="8552" y="4639"/>
                  </a:lnTo>
                  <a:lnTo>
                    <a:pt x="8474" y="4642"/>
                  </a:lnTo>
                  <a:lnTo>
                    <a:pt x="8474" y="1047"/>
                  </a:lnTo>
                  <a:lnTo>
                    <a:pt x="8489" y="1048"/>
                  </a:lnTo>
                  <a:lnTo>
                    <a:pt x="8502" y="1049"/>
                  </a:lnTo>
                  <a:close/>
                  <a:moveTo>
                    <a:pt x="7917" y="14987"/>
                  </a:moveTo>
                  <a:lnTo>
                    <a:pt x="7835" y="14918"/>
                  </a:lnTo>
                  <a:lnTo>
                    <a:pt x="7754" y="14850"/>
                  </a:lnTo>
                  <a:lnTo>
                    <a:pt x="7673" y="14779"/>
                  </a:lnTo>
                  <a:lnTo>
                    <a:pt x="7594" y="14708"/>
                  </a:lnTo>
                  <a:lnTo>
                    <a:pt x="7515" y="14636"/>
                  </a:lnTo>
                  <a:lnTo>
                    <a:pt x="7437" y="14562"/>
                  </a:lnTo>
                  <a:lnTo>
                    <a:pt x="7360" y="14487"/>
                  </a:lnTo>
                  <a:lnTo>
                    <a:pt x="7284" y="14410"/>
                  </a:lnTo>
                  <a:lnTo>
                    <a:pt x="7209" y="14333"/>
                  </a:lnTo>
                  <a:lnTo>
                    <a:pt x="7135" y="14255"/>
                  </a:lnTo>
                  <a:lnTo>
                    <a:pt x="7061" y="14175"/>
                  </a:lnTo>
                  <a:lnTo>
                    <a:pt x="6989" y="14095"/>
                  </a:lnTo>
                  <a:lnTo>
                    <a:pt x="6919" y="14012"/>
                  </a:lnTo>
                  <a:lnTo>
                    <a:pt x="6848" y="13930"/>
                  </a:lnTo>
                  <a:lnTo>
                    <a:pt x="6778" y="13846"/>
                  </a:lnTo>
                  <a:lnTo>
                    <a:pt x="6710" y="13761"/>
                  </a:lnTo>
                  <a:lnTo>
                    <a:pt x="6643" y="13675"/>
                  </a:lnTo>
                  <a:lnTo>
                    <a:pt x="6576" y="13588"/>
                  </a:lnTo>
                  <a:lnTo>
                    <a:pt x="6511" y="13499"/>
                  </a:lnTo>
                  <a:lnTo>
                    <a:pt x="6447" y="13410"/>
                  </a:lnTo>
                  <a:lnTo>
                    <a:pt x="6383" y="13319"/>
                  </a:lnTo>
                  <a:lnTo>
                    <a:pt x="6321" y="13228"/>
                  </a:lnTo>
                  <a:lnTo>
                    <a:pt x="6260" y="13135"/>
                  </a:lnTo>
                  <a:lnTo>
                    <a:pt x="6199" y="13042"/>
                  </a:lnTo>
                  <a:lnTo>
                    <a:pt x="6141" y="12948"/>
                  </a:lnTo>
                  <a:lnTo>
                    <a:pt x="6082" y="12853"/>
                  </a:lnTo>
                  <a:lnTo>
                    <a:pt x="6026" y="12757"/>
                  </a:lnTo>
                  <a:lnTo>
                    <a:pt x="5969" y="12659"/>
                  </a:lnTo>
                  <a:lnTo>
                    <a:pt x="5915" y="12561"/>
                  </a:lnTo>
                  <a:lnTo>
                    <a:pt x="5862" y="12462"/>
                  </a:lnTo>
                  <a:lnTo>
                    <a:pt x="5809" y="12363"/>
                  </a:lnTo>
                  <a:lnTo>
                    <a:pt x="5758" y="12262"/>
                  </a:lnTo>
                  <a:lnTo>
                    <a:pt x="5823" y="12242"/>
                  </a:lnTo>
                  <a:lnTo>
                    <a:pt x="5888" y="12223"/>
                  </a:lnTo>
                  <a:lnTo>
                    <a:pt x="5954" y="12204"/>
                  </a:lnTo>
                  <a:lnTo>
                    <a:pt x="6020" y="12187"/>
                  </a:lnTo>
                  <a:lnTo>
                    <a:pt x="6086" y="12169"/>
                  </a:lnTo>
                  <a:lnTo>
                    <a:pt x="6152" y="12153"/>
                  </a:lnTo>
                  <a:lnTo>
                    <a:pt x="6219" y="12136"/>
                  </a:lnTo>
                  <a:lnTo>
                    <a:pt x="6285" y="12121"/>
                  </a:lnTo>
                  <a:lnTo>
                    <a:pt x="6352" y="12106"/>
                  </a:lnTo>
                  <a:lnTo>
                    <a:pt x="6420" y="12091"/>
                  </a:lnTo>
                  <a:lnTo>
                    <a:pt x="6487" y="12077"/>
                  </a:lnTo>
                  <a:lnTo>
                    <a:pt x="6554" y="12064"/>
                  </a:lnTo>
                  <a:lnTo>
                    <a:pt x="6622" y="12051"/>
                  </a:lnTo>
                  <a:lnTo>
                    <a:pt x="6691" y="12039"/>
                  </a:lnTo>
                  <a:lnTo>
                    <a:pt x="6758" y="12027"/>
                  </a:lnTo>
                  <a:lnTo>
                    <a:pt x="6827" y="12016"/>
                  </a:lnTo>
                  <a:lnTo>
                    <a:pt x="6895" y="12005"/>
                  </a:lnTo>
                  <a:lnTo>
                    <a:pt x="6964" y="11995"/>
                  </a:lnTo>
                  <a:lnTo>
                    <a:pt x="7033" y="11986"/>
                  </a:lnTo>
                  <a:lnTo>
                    <a:pt x="7102" y="11976"/>
                  </a:lnTo>
                  <a:lnTo>
                    <a:pt x="7171" y="11968"/>
                  </a:lnTo>
                  <a:lnTo>
                    <a:pt x="7241" y="11960"/>
                  </a:lnTo>
                  <a:lnTo>
                    <a:pt x="7311" y="11953"/>
                  </a:lnTo>
                  <a:lnTo>
                    <a:pt x="7380" y="11946"/>
                  </a:lnTo>
                  <a:lnTo>
                    <a:pt x="7450" y="11940"/>
                  </a:lnTo>
                  <a:lnTo>
                    <a:pt x="7521" y="11934"/>
                  </a:lnTo>
                  <a:lnTo>
                    <a:pt x="7591" y="11929"/>
                  </a:lnTo>
                  <a:lnTo>
                    <a:pt x="7662" y="11924"/>
                  </a:lnTo>
                  <a:lnTo>
                    <a:pt x="7732" y="11920"/>
                  </a:lnTo>
                  <a:lnTo>
                    <a:pt x="7803" y="11916"/>
                  </a:lnTo>
                  <a:lnTo>
                    <a:pt x="7874" y="11913"/>
                  </a:lnTo>
                  <a:lnTo>
                    <a:pt x="7945" y="11911"/>
                  </a:lnTo>
                  <a:lnTo>
                    <a:pt x="7945" y="14988"/>
                  </a:lnTo>
                  <a:lnTo>
                    <a:pt x="7917" y="14987"/>
                  </a:lnTo>
                  <a:close/>
                  <a:moveTo>
                    <a:pt x="15347" y="7759"/>
                  </a:moveTo>
                  <a:lnTo>
                    <a:pt x="12171" y="7759"/>
                  </a:lnTo>
                  <a:lnTo>
                    <a:pt x="12168" y="7652"/>
                  </a:lnTo>
                  <a:lnTo>
                    <a:pt x="12163" y="7545"/>
                  </a:lnTo>
                  <a:lnTo>
                    <a:pt x="12157" y="7439"/>
                  </a:lnTo>
                  <a:lnTo>
                    <a:pt x="12151" y="7332"/>
                  </a:lnTo>
                  <a:lnTo>
                    <a:pt x="12144" y="7226"/>
                  </a:lnTo>
                  <a:lnTo>
                    <a:pt x="12136" y="7120"/>
                  </a:lnTo>
                  <a:lnTo>
                    <a:pt x="12126" y="7015"/>
                  </a:lnTo>
                  <a:lnTo>
                    <a:pt x="12115" y="6911"/>
                  </a:lnTo>
                  <a:lnTo>
                    <a:pt x="12104" y="6805"/>
                  </a:lnTo>
                  <a:lnTo>
                    <a:pt x="12092" y="6701"/>
                  </a:lnTo>
                  <a:lnTo>
                    <a:pt x="12078" y="6598"/>
                  </a:lnTo>
                  <a:lnTo>
                    <a:pt x="12063" y="6494"/>
                  </a:lnTo>
                  <a:lnTo>
                    <a:pt x="12047" y="6391"/>
                  </a:lnTo>
                  <a:lnTo>
                    <a:pt x="12031" y="6288"/>
                  </a:lnTo>
                  <a:lnTo>
                    <a:pt x="12014" y="6186"/>
                  </a:lnTo>
                  <a:lnTo>
                    <a:pt x="11995" y="6084"/>
                  </a:lnTo>
                  <a:lnTo>
                    <a:pt x="11976" y="5982"/>
                  </a:lnTo>
                  <a:lnTo>
                    <a:pt x="11954" y="5881"/>
                  </a:lnTo>
                  <a:lnTo>
                    <a:pt x="11933" y="5781"/>
                  </a:lnTo>
                  <a:lnTo>
                    <a:pt x="11910" y="5681"/>
                  </a:lnTo>
                  <a:lnTo>
                    <a:pt x="11886" y="5582"/>
                  </a:lnTo>
                  <a:lnTo>
                    <a:pt x="11862" y="5482"/>
                  </a:lnTo>
                  <a:lnTo>
                    <a:pt x="11836" y="5383"/>
                  </a:lnTo>
                  <a:lnTo>
                    <a:pt x="11810" y="5285"/>
                  </a:lnTo>
                  <a:lnTo>
                    <a:pt x="11783" y="5188"/>
                  </a:lnTo>
                  <a:lnTo>
                    <a:pt x="11754" y="5090"/>
                  </a:lnTo>
                  <a:lnTo>
                    <a:pt x="11724" y="4993"/>
                  </a:lnTo>
                  <a:lnTo>
                    <a:pt x="11694" y="4897"/>
                  </a:lnTo>
                  <a:lnTo>
                    <a:pt x="11663" y="4801"/>
                  </a:lnTo>
                  <a:lnTo>
                    <a:pt x="11630" y="4706"/>
                  </a:lnTo>
                  <a:lnTo>
                    <a:pt x="11597" y="4611"/>
                  </a:lnTo>
                  <a:lnTo>
                    <a:pt x="11563" y="4517"/>
                  </a:lnTo>
                  <a:lnTo>
                    <a:pt x="11630" y="4489"/>
                  </a:lnTo>
                  <a:lnTo>
                    <a:pt x="11695" y="4461"/>
                  </a:lnTo>
                  <a:lnTo>
                    <a:pt x="11762" y="4432"/>
                  </a:lnTo>
                  <a:lnTo>
                    <a:pt x="11828" y="4403"/>
                  </a:lnTo>
                  <a:lnTo>
                    <a:pt x="11894" y="4374"/>
                  </a:lnTo>
                  <a:lnTo>
                    <a:pt x="11959" y="4343"/>
                  </a:lnTo>
                  <a:lnTo>
                    <a:pt x="12024" y="4312"/>
                  </a:lnTo>
                  <a:lnTo>
                    <a:pt x="12088" y="4281"/>
                  </a:lnTo>
                  <a:lnTo>
                    <a:pt x="12153" y="4249"/>
                  </a:lnTo>
                  <a:lnTo>
                    <a:pt x="12217" y="4216"/>
                  </a:lnTo>
                  <a:lnTo>
                    <a:pt x="12280" y="4183"/>
                  </a:lnTo>
                  <a:lnTo>
                    <a:pt x="12344" y="4150"/>
                  </a:lnTo>
                  <a:lnTo>
                    <a:pt x="12407" y="4116"/>
                  </a:lnTo>
                  <a:lnTo>
                    <a:pt x="12469" y="4081"/>
                  </a:lnTo>
                  <a:lnTo>
                    <a:pt x="12532" y="4046"/>
                  </a:lnTo>
                  <a:lnTo>
                    <a:pt x="12593" y="4011"/>
                  </a:lnTo>
                  <a:lnTo>
                    <a:pt x="12655" y="3975"/>
                  </a:lnTo>
                  <a:lnTo>
                    <a:pt x="12717" y="3939"/>
                  </a:lnTo>
                  <a:lnTo>
                    <a:pt x="12778" y="3902"/>
                  </a:lnTo>
                  <a:lnTo>
                    <a:pt x="12839" y="3865"/>
                  </a:lnTo>
                  <a:lnTo>
                    <a:pt x="12899" y="3827"/>
                  </a:lnTo>
                  <a:lnTo>
                    <a:pt x="12959" y="3789"/>
                  </a:lnTo>
                  <a:lnTo>
                    <a:pt x="13019" y="3749"/>
                  </a:lnTo>
                  <a:lnTo>
                    <a:pt x="13078" y="3710"/>
                  </a:lnTo>
                  <a:lnTo>
                    <a:pt x="13137" y="3670"/>
                  </a:lnTo>
                  <a:lnTo>
                    <a:pt x="13196" y="3630"/>
                  </a:lnTo>
                  <a:lnTo>
                    <a:pt x="13254" y="3590"/>
                  </a:lnTo>
                  <a:lnTo>
                    <a:pt x="13313" y="3549"/>
                  </a:lnTo>
                  <a:lnTo>
                    <a:pt x="13370" y="3507"/>
                  </a:lnTo>
                  <a:lnTo>
                    <a:pt x="13428" y="3466"/>
                  </a:lnTo>
                  <a:lnTo>
                    <a:pt x="13485" y="3423"/>
                  </a:lnTo>
                  <a:lnTo>
                    <a:pt x="13542" y="3381"/>
                  </a:lnTo>
                  <a:lnTo>
                    <a:pt x="13641" y="3492"/>
                  </a:lnTo>
                  <a:lnTo>
                    <a:pt x="13738" y="3605"/>
                  </a:lnTo>
                  <a:lnTo>
                    <a:pt x="13832" y="3719"/>
                  </a:lnTo>
                  <a:lnTo>
                    <a:pt x="13924" y="3837"/>
                  </a:lnTo>
                  <a:lnTo>
                    <a:pt x="14014" y="3956"/>
                  </a:lnTo>
                  <a:lnTo>
                    <a:pt x="14101" y="4076"/>
                  </a:lnTo>
                  <a:lnTo>
                    <a:pt x="14185" y="4199"/>
                  </a:lnTo>
                  <a:lnTo>
                    <a:pt x="14266" y="4324"/>
                  </a:lnTo>
                  <a:lnTo>
                    <a:pt x="14346" y="4450"/>
                  </a:lnTo>
                  <a:lnTo>
                    <a:pt x="14422" y="4578"/>
                  </a:lnTo>
                  <a:lnTo>
                    <a:pt x="14496" y="4708"/>
                  </a:lnTo>
                  <a:lnTo>
                    <a:pt x="14567" y="4839"/>
                  </a:lnTo>
                  <a:lnTo>
                    <a:pt x="14634" y="4972"/>
                  </a:lnTo>
                  <a:lnTo>
                    <a:pt x="14700" y="5106"/>
                  </a:lnTo>
                  <a:lnTo>
                    <a:pt x="14763" y="5243"/>
                  </a:lnTo>
                  <a:lnTo>
                    <a:pt x="14822" y="5380"/>
                  </a:lnTo>
                  <a:lnTo>
                    <a:pt x="14879" y="5519"/>
                  </a:lnTo>
                  <a:lnTo>
                    <a:pt x="14932" y="5660"/>
                  </a:lnTo>
                  <a:lnTo>
                    <a:pt x="14982" y="5802"/>
                  </a:lnTo>
                  <a:lnTo>
                    <a:pt x="15031" y="5945"/>
                  </a:lnTo>
                  <a:lnTo>
                    <a:pt x="15075" y="6090"/>
                  </a:lnTo>
                  <a:lnTo>
                    <a:pt x="15116" y="6236"/>
                  </a:lnTo>
                  <a:lnTo>
                    <a:pt x="15154" y="6383"/>
                  </a:lnTo>
                  <a:lnTo>
                    <a:pt x="15189" y="6532"/>
                  </a:lnTo>
                  <a:lnTo>
                    <a:pt x="15220" y="6681"/>
                  </a:lnTo>
                  <a:lnTo>
                    <a:pt x="15248" y="6832"/>
                  </a:lnTo>
                  <a:lnTo>
                    <a:pt x="15273" y="6984"/>
                  </a:lnTo>
                  <a:lnTo>
                    <a:pt x="15294" y="7137"/>
                  </a:lnTo>
                  <a:lnTo>
                    <a:pt x="15313" y="7291"/>
                  </a:lnTo>
                  <a:lnTo>
                    <a:pt x="15327" y="7446"/>
                  </a:lnTo>
                  <a:lnTo>
                    <a:pt x="15338" y="7602"/>
                  </a:lnTo>
                  <a:lnTo>
                    <a:pt x="15347" y="7759"/>
                  </a:lnTo>
                  <a:close/>
                  <a:moveTo>
                    <a:pt x="8210" y="0"/>
                  </a:moveTo>
                  <a:lnTo>
                    <a:pt x="7787" y="10"/>
                  </a:lnTo>
                  <a:lnTo>
                    <a:pt x="7370" y="41"/>
                  </a:lnTo>
                  <a:lnTo>
                    <a:pt x="6960" y="92"/>
                  </a:lnTo>
                  <a:lnTo>
                    <a:pt x="6555" y="162"/>
                  </a:lnTo>
                  <a:lnTo>
                    <a:pt x="6158" y="253"/>
                  </a:lnTo>
                  <a:lnTo>
                    <a:pt x="5768" y="361"/>
                  </a:lnTo>
                  <a:lnTo>
                    <a:pt x="5386" y="486"/>
                  </a:lnTo>
                  <a:lnTo>
                    <a:pt x="5014" y="630"/>
                  </a:lnTo>
                  <a:lnTo>
                    <a:pt x="4651" y="791"/>
                  </a:lnTo>
                  <a:lnTo>
                    <a:pt x="4297" y="967"/>
                  </a:lnTo>
                  <a:lnTo>
                    <a:pt x="3953" y="1161"/>
                  </a:lnTo>
                  <a:lnTo>
                    <a:pt x="3619" y="1369"/>
                  </a:lnTo>
                  <a:lnTo>
                    <a:pt x="3298" y="1593"/>
                  </a:lnTo>
                  <a:lnTo>
                    <a:pt x="2987" y="1831"/>
                  </a:lnTo>
                  <a:lnTo>
                    <a:pt x="2690" y="2083"/>
                  </a:lnTo>
                  <a:lnTo>
                    <a:pt x="2404" y="2348"/>
                  </a:lnTo>
                  <a:lnTo>
                    <a:pt x="2132" y="2627"/>
                  </a:lnTo>
                  <a:lnTo>
                    <a:pt x="1875" y="2918"/>
                  </a:lnTo>
                  <a:lnTo>
                    <a:pt x="1631" y="3220"/>
                  </a:lnTo>
                  <a:lnTo>
                    <a:pt x="1402" y="3535"/>
                  </a:lnTo>
                  <a:lnTo>
                    <a:pt x="1188" y="3861"/>
                  </a:lnTo>
                  <a:lnTo>
                    <a:pt x="991" y="4195"/>
                  </a:lnTo>
                  <a:lnTo>
                    <a:pt x="810" y="4541"/>
                  </a:lnTo>
                  <a:lnTo>
                    <a:pt x="645" y="4897"/>
                  </a:lnTo>
                  <a:lnTo>
                    <a:pt x="498" y="5261"/>
                  </a:lnTo>
                  <a:lnTo>
                    <a:pt x="369" y="5634"/>
                  </a:lnTo>
                  <a:lnTo>
                    <a:pt x="259" y="6014"/>
                  </a:lnTo>
                  <a:lnTo>
                    <a:pt x="167" y="6402"/>
                  </a:lnTo>
                  <a:lnTo>
                    <a:pt x="94" y="6797"/>
                  </a:lnTo>
                  <a:lnTo>
                    <a:pt x="42" y="7198"/>
                  </a:lnTo>
                  <a:lnTo>
                    <a:pt x="10" y="7605"/>
                  </a:lnTo>
                  <a:lnTo>
                    <a:pt x="0" y="8018"/>
                  </a:lnTo>
                  <a:lnTo>
                    <a:pt x="10" y="8431"/>
                  </a:lnTo>
                  <a:lnTo>
                    <a:pt x="42" y="8838"/>
                  </a:lnTo>
                  <a:lnTo>
                    <a:pt x="94" y="9239"/>
                  </a:lnTo>
                  <a:lnTo>
                    <a:pt x="167" y="9634"/>
                  </a:lnTo>
                  <a:lnTo>
                    <a:pt x="259" y="10021"/>
                  </a:lnTo>
                  <a:lnTo>
                    <a:pt x="369" y="10402"/>
                  </a:lnTo>
                  <a:lnTo>
                    <a:pt x="498" y="10774"/>
                  </a:lnTo>
                  <a:lnTo>
                    <a:pt x="645" y="11139"/>
                  </a:lnTo>
                  <a:lnTo>
                    <a:pt x="810" y="11494"/>
                  </a:lnTo>
                  <a:lnTo>
                    <a:pt x="991" y="11840"/>
                  </a:lnTo>
                  <a:lnTo>
                    <a:pt x="1188" y="12175"/>
                  </a:lnTo>
                  <a:lnTo>
                    <a:pt x="1402" y="12501"/>
                  </a:lnTo>
                  <a:lnTo>
                    <a:pt x="1631" y="12815"/>
                  </a:lnTo>
                  <a:lnTo>
                    <a:pt x="1875" y="13118"/>
                  </a:lnTo>
                  <a:lnTo>
                    <a:pt x="2132" y="13409"/>
                  </a:lnTo>
                  <a:lnTo>
                    <a:pt x="2404" y="13688"/>
                  </a:lnTo>
                  <a:lnTo>
                    <a:pt x="2690" y="13953"/>
                  </a:lnTo>
                  <a:lnTo>
                    <a:pt x="2987" y="14205"/>
                  </a:lnTo>
                  <a:lnTo>
                    <a:pt x="3298" y="14443"/>
                  </a:lnTo>
                  <a:lnTo>
                    <a:pt x="3619" y="14667"/>
                  </a:lnTo>
                  <a:lnTo>
                    <a:pt x="3953" y="14875"/>
                  </a:lnTo>
                  <a:lnTo>
                    <a:pt x="4297" y="15068"/>
                  </a:lnTo>
                  <a:lnTo>
                    <a:pt x="4651" y="15245"/>
                  </a:lnTo>
                  <a:lnTo>
                    <a:pt x="5014" y="15406"/>
                  </a:lnTo>
                  <a:lnTo>
                    <a:pt x="5386" y="15550"/>
                  </a:lnTo>
                  <a:lnTo>
                    <a:pt x="5768" y="15675"/>
                  </a:lnTo>
                  <a:lnTo>
                    <a:pt x="6158" y="15783"/>
                  </a:lnTo>
                  <a:lnTo>
                    <a:pt x="6555" y="15873"/>
                  </a:lnTo>
                  <a:lnTo>
                    <a:pt x="6960" y="15944"/>
                  </a:lnTo>
                  <a:lnTo>
                    <a:pt x="7370" y="15995"/>
                  </a:lnTo>
                  <a:lnTo>
                    <a:pt x="7787" y="16026"/>
                  </a:lnTo>
                  <a:lnTo>
                    <a:pt x="8210" y="16036"/>
                  </a:lnTo>
                  <a:lnTo>
                    <a:pt x="8632" y="16026"/>
                  </a:lnTo>
                  <a:lnTo>
                    <a:pt x="9049" y="15995"/>
                  </a:lnTo>
                  <a:lnTo>
                    <a:pt x="9459" y="15944"/>
                  </a:lnTo>
                  <a:lnTo>
                    <a:pt x="9864" y="15873"/>
                  </a:lnTo>
                  <a:lnTo>
                    <a:pt x="10261" y="15783"/>
                  </a:lnTo>
                  <a:lnTo>
                    <a:pt x="10651" y="15675"/>
                  </a:lnTo>
                  <a:lnTo>
                    <a:pt x="11033" y="15550"/>
                  </a:lnTo>
                  <a:lnTo>
                    <a:pt x="11405" y="15406"/>
                  </a:lnTo>
                  <a:lnTo>
                    <a:pt x="11768" y="15245"/>
                  </a:lnTo>
                  <a:lnTo>
                    <a:pt x="12122" y="15068"/>
                  </a:lnTo>
                  <a:lnTo>
                    <a:pt x="12466" y="14875"/>
                  </a:lnTo>
                  <a:lnTo>
                    <a:pt x="12800" y="14667"/>
                  </a:lnTo>
                  <a:lnTo>
                    <a:pt x="13122" y="14443"/>
                  </a:lnTo>
                  <a:lnTo>
                    <a:pt x="13432" y="14205"/>
                  </a:lnTo>
                  <a:lnTo>
                    <a:pt x="13729" y="13953"/>
                  </a:lnTo>
                  <a:lnTo>
                    <a:pt x="14015" y="13688"/>
                  </a:lnTo>
                  <a:lnTo>
                    <a:pt x="14287" y="13409"/>
                  </a:lnTo>
                  <a:lnTo>
                    <a:pt x="14544" y="13118"/>
                  </a:lnTo>
                  <a:lnTo>
                    <a:pt x="14788" y="12815"/>
                  </a:lnTo>
                  <a:lnTo>
                    <a:pt x="15017" y="12501"/>
                  </a:lnTo>
                  <a:lnTo>
                    <a:pt x="15231" y="12175"/>
                  </a:lnTo>
                  <a:lnTo>
                    <a:pt x="15428" y="11840"/>
                  </a:lnTo>
                  <a:lnTo>
                    <a:pt x="15609" y="11494"/>
                  </a:lnTo>
                  <a:lnTo>
                    <a:pt x="15774" y="11139"/>
                  </a:lnTo>
                  <a:lnTo>
                    <a:pt x="15921" y="10774"/>
                  </a:lnTo>
                  <a:lnTo>
                    <a:pt x="16050" y="10402"/>
                  </a:lnTo>
                  <a:lnTo>
                    <a:pt x="16160" y="10021"/>
                  </a:lnTo>
                  <a:lnTo>
                    <a:pt x="16253" y="9634"/>
                  </a:lnTo>
                  <a:lnTo>
                    <a:pt x="16325" y="9239"/>
                  </a:lnTo>
                  <a:lnTo>
                    <a:pt x="16377" y="8838"/>
                  </a:lnTo>
                  <a:lnTo>
                    <a:pt x="16409" y="8431"/>
                  </a:lnTo>
                  <a:lnTo>
                    <a:pt x="16419" y="8018"/>
                  </a:lnTo>
                  <a:lnTo>
                    <a:pt x="16409" y="7605"/>
                  </a:lnTo>
                  <a:lnTo>
                    <a:pt x="16377" y="7198"/>
                  </a:lnTo>
                  <a:lnTo>
                    <a:pt x="16325" y="6797"/>
                  </a:lnTo>
                  <a:lnTo>
                    <a:pt x="16253" y="6402"/>
                  </a:lnTo>
                  <a:lnTo>
                    <a:pt x="16160" y="6014"/>
                  </a:lnTo>
                  <a:lnTo>
                    <a:pt x="16050" y="5634"/>
                  </a:lnTo>
                  <a:lnTo>
                    <a:pt x="15921" y="5261"/>
                  </a:lnTo>
                  <a:lnTo>
                    <a:pt x="15774" y="4897"/>
                  </a:lnTo>
                  <a:lnTo>
                    <a:pt x="15609" y="4541"/>
                  </a:lnTo>
                  <a:lnTo>
                    <a:pt x="15428" y="4195"/>
                  </a:lnTo>
                  <a:lnTo>
                    <a:pt x="15231" y="3861"/>
                  </a:lnTo>
                  <a:lnTo>
                    <a:pt x="15017" y="3535"/>
                  </a:lnTo>
                  <a:lnTo>
                    <a:pt x="14788" y="3220"/>
                  </a:lnTo>
                  <a:lnTo>
                    <a:pt x="14544" y="2918"/>
                  </a:lnTo>
                  <a:lnTo>
                    <a:pt x="14287" y="2627"/>
                  </a:lnTo>
                  <a:lnTo>
                    <a:pt x="14015" y="2348"/>
                  </a:lnTo>
                  <a:lnTo>
                    <a:pt x="13729" y="2083"/>
                  </a:lnTo>
                  <a:lnTo>
                    <a:pt x="13432" y="1831"/>
                  </a:lnTo>
                  <a:lnTo>
                    <a:pt x="13122" y="1593"/>
                  </a:lnTo>
                  <a:lnTo>
                    <a:pt x="12800" y="1369"/>
                  </a:lnTo>
                  <a:lnTo>
                    <a:pt x="12466" y="1161"/>
                  </a:lnTo>
                  <a:lnTo>
                    <a:pt x="12122" y="967"/>
                  </a:lnTo>
                  <a:lnTo>
                    <a:pt x="11768" y="791"/>
                  </a:lnTo>
                  <a:lnTo>
                    <a:pt x="11405" y="630"/>
                  </a:lnTo>
                  <a:lnTo>
                    <a:pt x="11033" y="486"/>
                  </a:lnTo>
                  <a:lnTo>
                    <a:pt x="10651" y="361"/>
                  </a:lnTo>
                  <a:lnTo>
                    <a:pt x="10261" y="253"/>
                  </a:lnTo>
                  <a:lnTo>
                    <a:pt x="9864" y="162"/>
                  </a:lnTo>
                  <a:lnTo>
                    <a:pt x="9459" y="92"/>
                  </a:lnTo>
                  <a:lnTo>
                    <a:pt x="9049" y="41"/>
                  </a:lnTo>
                  <a:lnTo>
                    <a:pt x="8632" y="10"/>
                  </a:lnTo>
                  <a:lnTo>
                    <a:pt x="821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53" name="išľîḓe">
              <a:extLst>
                <a:ext uri="{FF2B5EF4-FFF2-40B4-BE49-F238E27FC236}">
                  <a16:creationId xmlns:a16="http://schemas.microsoft.com/office/drawing/2014/main" id="{0ED91D39-E30C-4BD3-92B5-9D8518E52C2E}"/>
                </a:ext>
              </a:extLst>
            </p:cNvPr>
            <p:cNvSpPr/>
            <p:nvPr/>
          </p:nvSpPr>
          <p:spPr bwMode="auto">
            <a:xfrm>
              <a:off x="7741686" y="547598"/>
              <a:ext cx="558350" cy="556940"/>
            </a:xfrm>
            <a:custGeom>
              <a:avLst/>
              <a:gdLst>
                <a:gd name="T0" fmla="*/ 12770 w 14656"/>
                <a:gd name="T1" fmla="*/ 6106 h 14620"/>
                <a:gd name="T2" fmla="*/ 12640 w 14656"/>
                <a:gd name="T3" fmla="*/ 6115 h 14620"/>
                <a:gd name="T4" fmla="*/ 12519 w 14656"/>
                <a:gd name="T5" fmla="*/ 6055 h 14620"/>
                <a:gd name="T6" fmla="*/ 9966 w 14656"/>
                <a:gd name="T7" fmla="*/ 5994 h 14620"/>
                <a:gd name="T8" fmla="*/ 8414 w 14656"/>
                <a:gd name="T9" fmla="*/ 5281 h 14620"/>
                <a:gd name="T10" fmla="*/ 6782 w 14656"/>
                <a:gd name="T11" fmla="*/ 4968 h 14620"/>
                <a:gd name="T12" fmla="*/ 5698 w 14656"/>
                <a:gd name="T13" fmla="*/ 4822 h 14620"/>
                <a:gd name="T14" fmla="*/ 8599 w 14656"/>
                <a:gd name="T15" fmla="*/ 2123 h 14620"/>
                <a:gd name="T16" fmla="*/ 8551 w 14656"/>
                <a:gd name="T17" fmla="*/ 1998 h 14620"/>
                <a:gd name="T18" fmla="*/ 8574 w 14656"/>
                <a:gd name="T19" fmla="*/ 1868 h 14620"/>
                <a:gd name="T20" fmla="*/ 9364 w 14656"/>
                <a:gd name="T21" fmla="*/ 1057 h 14620"/>
                <a:gd name="T22" fmla="*/ 9489 w 14656"/>
                <a:gd name="T23" fmla="*/ 1010 h 14620"/>
                <a:gd name="T24" fmla="*/ 9619 w 14656"/>
                <a:gd name="T25" fmla="*/ 1032 h 14620"/>
                <a:gd name="T26" fmla="*/ 13601 w 14656"/>
                <a:gd name="T27" fmla="*/ 5006 h 14620"/>
                <a:gd name="T28" fmla="*/ 13650 w 14656"/>
                <a:gd name="T29" fmla="*/ 5131 h 14620"/>
                <a:gd name="T30" fmla="*/ 13627 w 14656"/>
                <a:gd name="T31" fmla="*/ 5261 h 14620"/>
                <a:gd name="T32" fmla="*/ 8336 w 14656"/>
                <a:gd name="T33" fmla="*/ 13377 h 14620"/>
                <a:gd name="T34" fmla="*/ 8074 w 14656"/>
                <a:gd name="T35" fmla="*/ 13585 h 14620"/>
                <a:gd name="T36" fmla="*/ 7781 w 14656"/>
                <a:gd name="T37" fmla="*/ 13595 h 14620"/>
                <a:gd name="T38" fmla="*/ 7556 w 14656"/>
                <a:gd name="T39" fmla="*/ 13465 h 14620"/>
                <a:gd name="T40" fmla="*/ 1014 w 14656"/>
                <a:gd name="T41" fmla="*/ 6852 h 14620"/>
                <a:gd name="T42" fmla="*/ 1065 w 14656"/>
                <a:gd name="T43" fmla="*/ 6524 h 14620"/>
                <a:gd name="T44" fmla="*/ 1308 w 14656"/>
                <a:gd name="T45" fmla="*/ 6300 h 14620"/>
                <a:gd name="T46" fmla="*/ 6805 w 14656"/>
                <a:gd name="T47" fmla="*/ 5480 h 14620"/>
                <a:gd name="T48" fmla="*/ 8979 w 14656"/>
                <a:gd name="T49" fmla="*/ 6023 h 14620"/>
                <a:gd name="T50" fmla="*/ 10402 w 14656"/>
                <a:gd name="T51" fmla="*/ 369 h 14620"/>
                <a:gd name="T52" fmla="*/ 10132 w 14656"/>
                <a:gd name="T53" fmla="*/ 163 h 14620"/>
                <a:gd name="T54" fmla="*/ 9820 w 14656"/>
                <a:gd name="T55" fmla="*/ 38 h 14620"/>
                <a:gd name="T56" fmla="*/ 9482 w 14656"/>
                <a:gd name="T57" fmla="*/ 0 h 14620"/>
                <a:gd name="T58" fmla="*/ 9147 w 14656"/>
                <a:gd name="T59" fmla="*/ 55 h 14620"/>
                <a:gd name="T60" fmla="*/ 8841 w 14656"/>
                <a:gd name="T61" fmla="*/ 195 h 14620"/>
                <a:gd name="T62" fmla="*/ 7892 w 14656"/>
                <a:gd name="T63" fmla="*/ 1104 h 14620"/>
                <a:gd name="T64" fmla="*/ 7692 w 14656"/>
                <a:gd name="T65" fmla="*/ 1380 h 14620"/>
                <a:gd name="T66" fmla="*/ 7576 w 14656"/>
                <a:gd name="T67" fmla="*/ 1695 h 14620"/>
                <a:gd name="T68" fmla="*/ 7548 w 14656"/>
                <a:gd name="T69" fmla="*/ 2062 h 14620"/>
                <a:gd name="T70" fmla="*/ 7669 w 14656"/>
                <a:gd name="T71" fmla="*/ 2522 h 14620"/>
                <a:gd name="T72" fmla="*/ 623 w 14656"/>
                <a:gd name="T73" fmla="*/ 5539 h 14620"/>
                <a:gd name="T74" fmla="*/ 274 w 14656"/>
                <a:gd name="T75" fmla="*/ 5894 h 14620"/>
                <a:gd name="T76" fmla="*/ 58 w 14656"/>
                <a:gd name="T77" fmla="*/ 6345 h 14620"/>
                <a:gd name="T78" fmla="*/ 3 w 14656"/>
                <a:gd name="T79" fmla="*/ 6850 h 14620"/>
                <a:gd name="T80" fmla="*/ 114 w 14656"/>
                <a:gd name="T81" fmla="*/ 7337 h 14620"/>
                <a:gd name="T82" fmla="*/ 382 w 14656"/>
                <a:gd name="T83" fmla="*/ 7767 h 14620"/>
                <a:gd name="T84" fmla="*/ 7067 w 14656"/>
                <a:gd name="T85" fmla="*/ 14362 h 14620"/>
                <a:gd name="T86" fmla="*/ 7416 w 14656"/>
                <a:gd name="T87" fmla="*/ 14537 h 14620"/>
                <a:gd name="T88" fmla="*/ 7800 w 14656"/>
                <a:gd name="T89" fmla="*/ 14616 h 14620"/>
                <a:gd name="T90" fmla="*/ 8103 w 14656"/>
                <a:gd name="T91" fmla="*/ 14608 h 14620"/>
                <a:gd name="T92" fmla="*/ 8574 w 14656"/>
                <a:gd name="T93" fmla="*/ 14467 h 14620"/>
                <a:gd name="T94" fmla="*/ 8985 w 14656"/>
                <a:gd name="T95" fmla="*/ 14171 h 14620"/>
                <a:gd name="T96" fmla="*/ 9276 w 14656"/>
                <a:gd name="T97" fmla="*/ 13754 h 14620"/>
                <a:gd name="T98" fmla="*/ 12327 w 14656"/>
                <a:gd name="T99" fmla="*/ 7076 h 14620"/>
                <a:gd name="T100" fmla="*/ 12781 w 14656"/>
                <a:gd name="T101" fmla="*/ 7126 h 14620"/>
                <a:gd name="T102" fmla="*/ 13112 w 14656"/>
                <a:gd name="T103" fmla="*/ 7056 h 14620"/>
                <a:gd name="T104" fmla="*/ 13410 w 14656"/>
                <a:gd name="T105" fmla="*/ 6900 h 14620"/>
                <a:gd name="T106" fmla="*/ 14350 w 14656"/>
                <a:gd name="T107" fmla="*/ 5980 h 14620"/>
                <a:gd name="T108" fmla="*/ 14535 w 14656"/>
                <a:gd name="T109" fmla="*/ 5696 h 14620"/>
                <a:gd name="T110" fmla="*/ 14637 w 14656"/>
                <a:gd name="T111" fmla="*/ 5373 h 14620"/>
                <a:gd name="T112" fmla="*/ 14649 w 14656"/>
                <a:gd name="T113" fmla="*/ 5030 h 14620"/>
                <a:gd name="T114" fmla="*/ 14572 w 14656"/>
                <a:gd name="T115" fmla="*/ 4701 h 14620"/>
                <a:gd name="T116" fmla="*/ 14410 w 14656"/>
                <a:gd name="T117" fmla="*/ 4405 h 14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656" h="14620">
                  <a:moveTo>
                    <a:pt x="13576" y="5334"/>
                  </a:moveTo>
                  <a:lnTo>
                    <a:pt x="12866" y="6046"/>
                  </a:lnTo>
                  <a:lnTo>
                    <a:pt x="12856" y="6055"/>
                  </a:lnTo>
                  <a:lnTo>
                    <a:pt x="12847" y="6064"/>
                  </a:lnTo>
                  <a:lnTo>
                    <a:pt x="12837" y="6071"/>
                  </a:lnTo>
                  <a:lnTo>
                    <a:pt x="12826" y="6079"/>
                  </a:lnTo>
                  <a:lnTo>
                    <a:pt x="12816" y="6085"/>
                  </a:lnTo>
                  <a:lnTo>
                    <a:pt x="12805" y="6091"/>
                  </a:lnTo>
                  <a:lnTo>
                    <a:pt x="12794" y="6097"/>
                  </a:lnTo>
                  <a:lnTo>
                    <a:pt x="12782" y="6102"/>
                  </a:lnTo>
                  <a:lnTo>
                    <a:pt x="12770" y="6106"/>
                  </a:lnTo>
                  <a:lnTo>
                    <a:pt x="12759" y="6110"/>
                  </a:lnTo>
                  <a:lnTo>
                    <a:pt x="12747" y="6113"/>
                  </a:lnTo>
                  <a:lnTo>
                    <a:pt x="12735" y="6115"/>
                  </a:lnTo>
                  <a:lnTo>
                    <a:pt x="12723" y="6117"/>
                  </a:lnTo>
                  <a:lnTo>
                    <a:pt x="12712" y="6119"/>
                  </a:lnTo>
                  <a:lnTo>
                    <a:pt x="12700" y="6120"/>
                  </a:lnTo>
                  <a:lnTo>
                    <a:pt x="12688" y="6120"/>
                  </a:lnTo>
                  <a:lnTo>
                    <a:pt x="12676" y="6120"/>
                  </a:lnTo>
                  <a:lnTo>
                    <a:pt x="12664" y="6119"/>
                  </a:lnTo>
                  <a:lnTo>
                    <a:pt x="12652" y="6117"/>
                  </a:lnTo>
                  <a:lnTo>
                    <a:pt x="12640" y="6115"/>
                  </a:lnTo>
                  <a:lnTo>
                    <a:pt x="12628" y="6113"/>
                  </a:lnTo>
                  <a:lnTo>
                    <a:pt x="12615" y="6110"/>
                  </a:lnTo>
                  <a:lnTo>
                    <a:pt x="12604" y="6106"/>
                  </a:lnTo>
                  <a:lnTo>
                    <a:pt x="12593" y="6102"/>
                  </a:lnTo>
                  <a:lnTo>
                    <a:pt x="12581" y="6097"/>
                  </a:lnTo>
                  <a:lnTo>
                    <a:pt x="12571" y="6091"/>
                  </a:lnTo>
                  <a:lnTo>
                    <a:pt x="12560" y="6085"/>
                  </a:lnTo>
                  <a:lnTo>
                    <a:pt x="12549" y="6079"/>
                  </a:lnTo>
                  <a:lnTo>
                    <a:pt x="12539" y="6071"/>
                  </a:lnTo>
                  <a:lnTo>
                    <a:pt x="12529" y="6064"/>
                  </a:lnTo>
                  <a:lnTo>
                    <a:pt x="12519" y="6055"/>
                  </a:lnTo>
                  <a:lnTo>
                    <a:pt x="12510" y="6046"/>
                  </a:lnTo>
                  <a:lnTo>
                    <a:pt x="11621" y="5156"/>
                  </a:lnTo>
                  <a:lnTo>
                    <a:pt x="10900" y="6965"/>
                  </a:lnTo>
                  <a:lnTo>
                    <a:pt x="10961" y="6813"/>
                  </a:lnTo>
                  <a:lnTo>
                    <a:pt x="10819" y="6674"/>
                  </a:lnTo>
                  <a:lnTo>
                    <a:pt x="10677" y="6544"/>
                  </a:lnTo>
                  <a:lnTo>
                    <a:pt x="10534" y="6420"/>
                  </a:lnTo>
                  <a:lnTo>
                    <a:pt x="10392" y="6304"/>
                  </a:lnTo>
                  <a:lnTo>
                    <a:pt x="10251" y="6194"/>
                  </a:lnTo>
                  <a:lnTo>
                    <a:pt x="10108" y="6091"/>
                  </a:lnTo>
                  <a:lnTo>
                    <a:pt x="9966" y="5994"/>
                  </a:lnTo>
                  <a:lnTo>
                    <a:pt x="9823" y="5905"/>
                  </a:lnTo>
                  <a:lnTo>
                    <a:pt x="9681" y="5820"/>
                  </a:lnTo>
                  <a:lnTo>
                    <a:pt x="9539" y="5740"/>
                  </a:lnTo>
                  <a:lnTo>
                    <a:pt x="9397" y="5667"/>
                  </a:lnTo>
                  <a:lnTo>
                    <a:pt x="9257" y="5598"/>
                  </a:lnTo>
                  <a:lnTo>
                    <a:pt x="9115" y="5535"/>
                  </a:lnTo>
                  <a:lnTo>
                    <a:pt x="8974" y="5475"/>
                  </a:lnTo>
                  <a:lnTo>
                    <a:pt x="8833" y="5421"/>
                  </a:lnTo>
                  <a:lnTo>
                    <a:pt x="8693" y="5370"/>
                  </a:lnTo>
                  <a:lnTo>
                    <a:pt x="8553" y="5324"/>
                  </a:lnTo>
                  <a:lnTo>
                    <a:pt x="8414" y="5281"/>
                  </a:lnTo>
                  <a:lnTo>
                    <a:pt x="8275" y="5241"/>
                  </a:lnTo>
                  <a:lnTo>
                    <a:pt x="8136" y="5205"/>
                  </a:lnTo>
                  <a:lnTo>
                    <a:pt x="7997" y="5172"/>
                  </a:lnTo>
                  <a:lnTo>
                    <a:pt x="7860" y="5141"/>
                  </a:lnTo>
                  <a:lnTo>
                    <a:pt x="7723" y="5113"/>
                  </a:lnTo>
                  <a:lnTo>
                    <a:pt x="7587" y="5088"/>
                  </a:lnTo>
                  <a:lnTo>
                    <a:pt x="7451" y="5065"/>
                  </a:lnTo>
                  <a:lnTo>
                    <a:pt x="7315" y="5043"/>
                  </a:lnTo>
                  <a:lnTo>
                    <a:pt x="7180" y="5022"/>
                  </a:lnTo>
                  <a:lnTo>
                    <a:pt x="7047" y="5003"/>
                  </a:lnTo>
                  <a:lnTo>
                    <a:pt x="6782" y="4968"/>
                  </a:lnTo>
                  <a:lnTo>
                    <a:pt x="6519" y="4936"/>
                  </a:lnTo>
                  <a:lnTo>
                    <a:pt x="6436" y="4926"/>
                  </a:lnTo>
                  <a:lnTo>
                    <a:pt x="6354" y="4915"/>
                  </a:lnTo>
                  <a:lnTo>
                    <a:pt x="6270" y="4905"/>
                  </a:lnTo>
                  <a:lnTo>
                    <a:pt x="6188" y="4893"/>
                  </a:lnTo>
                  <a:lnTo>
                    <a:pt x="6105" y="4882"/>
                  </a:lnTo>
                  <a:lnTo>
                    <a:pt x="6024" y="4871"/>
                  </a:lnTo>
                  <a:lnTo>
                    <a:pt x="5942" y="4859"/>
                  </a:lnTo>
                  <a:lnTo>
                    <a:pt x="5861" y="4847"/>
                  </a:lnTo>
                  <a:lnTo>
                    <a:pt x="5779" y="4835"/>
                  </a:lnTo>
                  <a:lnTo>
                    <a:pt x="5698" y="4822"/>
                  </a:lnTo>
                  <a:lnTo>
                    <a:pt x="5617" y="4809"/>
                  </a:lnTo>
                  <a:lnTo>
                    <a:pt x="5537" y="4795"/>
                  </a:lnTo>
                  <a:lnTo>
                    <a:pt x="5456" y="4779"/>
                  </a:lnTo>
                  <a:lnTo>
                    <a:pt x="5376" y="4764"/>
                  </a:lnTo>
                  <a:lnTo>
                    <a:pt x="5296" y="4748"/>
                  </a:lnTo>
                  <a:lnTo>
                    <a:pt x="5216" y="4731"/>
                  </a:lnTo>
                  <a:lnTo>
                    <a:pt x="9487" y="3017"/>
                  </a:lnTo>
                  <a:lnTo>
                    <a:pt x="8624" y="2152"/>
                  </a:lnTo>
                  <a:lnTo>
                    <a:pt x="8615" y="2143"/>
                  </a:lnTo>
                  <a:lnTo>
                    <a:pt x="8607" y="2133"/>
                  </a:lnTo>
                  <a:lnTo>
                    <a:pt x="8599" y="2123"/>
                  </a:lnTo>
                  <a:lnTo>
                    <a:pt x="8592" y="2113"/>
                  </a:lnTo>
                  <a:lnTo>
                    <a:pt x="8586" y="2102"/>
                  </a:lnTo>
                  <a:lnTo>
                    <a:pt x="8580" y="2091"/>
                  </a:lnTo>
                  <a:lnTo>
                    <a:pt x="8574" y="2080"/>
                  </a:lnTo>
                  <a:lnTo>
                    <a:pt x="8569" y="2068"/>
                  </a:lnTo>
                  <a:lnTo>
                    <a:pt x="8565" y="2057"/>
                  </a:lnTo>
                  <a:lnTo>
                    <a:pt x="8561" y="2046"/>
                  </a:lnTo>
                  <a:lnTo>
                    <a:pt x="8558" y="2034"/>
                  </a:lnTo>
                  <a:lnTo>
                    <a:pt x="8555" y="2022"/>
                  </a:lnTo>
                  <a:lnTo>
                    <a:pt x="8553" y="2010"/>
                  </a:lnTo>
                  <a:lnTo>
                    <a:pt x="8551" y="1998"/>
                  </a:lnTo>
                  <a:lnTo>
                    <a:pt x="8550" y="1986"/>
                  </a:lnTo>
                  <a:lnTo>
                    <a:pt x="8550" y="1974"/>
                  </a:lnTo>
                  <a:lnTo>
                    <a:pt x="8550" y="1961"/>
                  </a:lnTo>
                  <a:lnTo>
                    <a:pt x="8551" y="1949"/>
                  </a:lnTo>
                  <a:lnTo>
                    <a:pt x="8553" y="1938"/>
                  </a:lnTo>
                  <a:lnTo>
                    <a:pt x="8555" y="1926"/>
                  </a:lnTo>
                  <a:lnTo>
                    <a:pt x="8558" y="1914"/>
                  </a:lnTo>
                  <a:lnTo>
                    <a:pt x="8562" y="1902"/>
                  </a:lnTo>
                  <a:lnTo>
                    <a:pt x="8565" y="1891"/>
                  </a:lnTo>
                  <a:lnTo>
                    <a:pt x="8570" y="1879"/>
                  </a:lnTo>
                  <a:lnTo>
                    <a:pt x="8574" y="1868"/>
                  </a:lnTo>
                  <a:lnTo>
                    <a:pt x="8580" y="1857"/>
                  </a:lnTo>
                  <a:lnTo>
                    <a:pt x="8586" y="1845"/>
                  </a:lnTo>
                  <a:lnTo>
                    <a:pt x="8593" y="1835"/>
                  </a:lnTo>
                  <a:lnTo>
                    <a:pt x="8600" y="1825"/>
                  </a:lnTo>
                  <a:lnTo>
                    <a:pt x="8608" y="1815"/>
                  </a:lnTo>
                  <a:lnTo>
                    <a:pt x="8616" y="1805"/>
                  </a:lnTo>
                  <a:lnTo>
                    <a:pt x="8625" y="1796"/>
                  </a:lnTo>
                  <a:lnTo>
                    <a:pt x="9335" y="1082"/>
                  </a:lnTo>
                  <a:lnTo>
                    <a:pt x="9344" y="1073"/>
                  </a:lnTo>
                  <a:lnTo>
                    <a:pt x="9354" y="1065"/>
                  </a:lnTo>
                  <a:lnTo>
                    <a:pt x="9364" y="1057"/>
                  </a:lnTo>
                  <a:lnTo>
                    <a:pt x="9374" y="1050"/>
                  </a:lnTo>
                  <a:lnTo>
                    <a:pt x="9385" y="1043"/>
                  </a:lnTo>
                  <a:lnTo>
                    <a:pt x="9396" y="1037"/>
                  </a:lnTo>
                  <a:lnTo>
                    <a:pt x="9408" y="1032"/>
                  </a:lnTo>
                  <a:lnTo>
                    <a:pt x="9419" y="1027"/>
                  </a:lnTo>
                  <a:lnTo>
                    <a:pt x="9430" y="1023"/>
                  </a:lnTo>
                  <a:lnTo>
                    <a:pt x="9442" y="1019"/>
                  </a:lnTo>
                  <a:lnTo>
                    <a:pt x="9454" y="1016"/>
                  </a:lnTo>
                  <a:lnTo>
                    <a:pt x="9465" y="1013"/>
                  </a:lnTo>
                  <a:lnTo>
                    <a:pt x="9477" y="1011"/>
                  </a:lnTo>
                  <a:lnTo>
                    <a:pt x="9489" y="1010"/>
                  </a:lnTo>
                  <a:lnTo>
                    <a:pt x="9501" y="1009"/>
                  </a:lnTo>
                  <a:lnTo>
                    <a:pt x="9513" y="1009"/>
                  </a:lnTo>
                  <a:lnTo>
                    <a:pt x="9525" y="1009"/>
                  </a:lnTo>
                  <a:lnTo>
                    <a:pt x="9537" y="1010"/>
                  </a:lnTo>
                  <a:lnTo>
                    <a:pt x="9549" y="1011"/>
                  </a:lnTo>
                  <a:lnTo>
                    <a:pt x="9561" y="1013"/>
                  </a:lnTo>
                  <a:lnTo>
                    <a:pt x="9574" y="1016"/>
                  </a:lnTo>
                  <a:lnTo>
                    <a:pt x="9585" y="1019"/>
                  </a:lnTo>
                  <a:lnTo>
                    <a:pt x="9597" y="1023"/>
                  </a:lnTo>
                  <a:lnTo>
                    <a:pt x="9608" y="1027"/>
                  </a:lnTo>
                  <a:lnTo>
                    <a:pt x="9619" y="1032"/>
                  </a:lnTo>
                  <a:lnTo>
                    <a:pt x="9630" y="1037"/>
                  </a:lnTo>
                  <a:lnTo>
                    <a:pt x="9641" y="1043"/>
                  </a:lnTo>
                  <a:lnTo>
                    <a:pt x="9651" y="1050"/>
                  </a:lnTo>
                  <a:lnTo>
                    <a:pt x="9662" y="1057"/>
                  </a:lnTo>
                  <a:lnTo>
                    <a:pt x="9672" y="1065"/>
                  </a:lnTo>
                  <a:lnTo>
                    <a:pt x="9681" y="1073"/>
                  </a:lnTo>
                  <a:lnTo>
                    <a:pt x="9691" y="1082"/>
                  </a:lnTo>
                  <a:lnTo>
                    <a:pt x="13576" y="4978"/>
                  </a:lnTo>
                  <a:lnTo>
                    <a:pt x="13585" y="4987"/>
                  </a:lnTo>
                  <a:lnTo>
                    <a:pt x="13593" y="4996"/>
                  </a:lnTo>
                  <a:lnTo>
                    <a:pt x="13601" y="5006"/>
                  </a:lnTo>
                  <a:lnTo>
                    <a:pt x="13608" y="5017"/>
                  </a:lnTo>
                  <a:lnTo>
                    <a:pt x="13615" y="5028"/>
                  </a:lnTo>
                  <a:lnTo>
                    <a:pt x="13621" y="5039"/>
                  </a:lnTo>
                  <a:lnTo>
                    <a:pt x="13627" y="5050"/>
                  </a:lnTo>
                  <a:lnTo>
                    <a:pt x="13631" y="5061"/>
                  </a:lnTo>
                  <a:lnTo>
                    <a:pt x="13636" y="5073"/>
                  </a:lnTo>
                  <a:lnTo>
                    <a:pt x="13641" y="5084"/>
                  </a:lnTo>
                  <a:lnTo>
                    <a:pt x="13644" y="5096"/>
                  </a:lnTo>
                  <a:lnTo>
                    <a:pt x="13646" y="5107"/>
                  </a:lnTo>
                  <a:lnTo>
                    <a:pt x="13648" y="5119"/>
                  </a:lnTo>
                  <a:lnTo>
                    <a:pt x="13650" y="5131"/>
                  </a:lnTo>
                  <a:lnTo>
                    <a:pt x="13651" y="5143"/>
                  </a:lnTo>
                  <a:lnTo>
                    <a:pt x="13651" y="5156"/>
                  </a:lnTo>
                  <a:lnTo>
                    <a:pt x="13651" y="5168"/>
                  </a:lnTo>
                  <a:lnTo>
                    <a:pt x="13650" y="5180"/>
                  </a:lnTo>
                  <a:lnTo>
                    <a:pt x="13648" y="5192"/>
                  </a:lnTo>
                  <a:lnTo>
                    <a:pt x="13646" y="5204"/>
                  </a:lnTo>
                  <a:lnTo>
                    <a:pt x="13644" y="5216"/>
                  </a:lnTo>
                  <a:lnTo>
                    <a:pt x="13641" y="5227"/>
                  </a:lnTo>
                  <a:lnTo>
                    <a:pt x="13636" y="5239"/>
                  </a:lnTo>
                  <a:lnTo>
                    <a:pt x="13631" y="5250"/>
                  </a:lnTo>
                  <a:lnTo>
                    <a:pt x="13627" y="5261"/>
                  </a:lnTo>
                  <a:lnTo>
                    <a:pt x="13621" y="5273"/>
                  </a:lnTo>
                  <a:lnTo>
                    <a:pt x="13615" y="5284"/>
                  </a:lnTo>
                  <a:lnTo>
                    <a:pt x="13608" y="5295"/>
                  </a:lnTo>
                  <a:lnTo>
                    <a:pt x="13601" y="5305"/>
                  </a:lnTo>
                  <a:lnTo>
                    <a:pt x="13593" y="5315"/>
                  </a:lnTo>
                  <a:lnTo>
                    <a:pt x="13585" y="5325"/>
                  </a:lnTo>
                  <a:lnTo>
                    <a:pt x="13576" y="5334"/>
                  </a:lnTo>
                  <a:close/>
                  <a:moveTo>
                    <a:pt x="8378" y="13292"/>
                  </a:moveTo>
                  <a:lnTo>
                    <a:pt x="8366" y="13321"/>
                  </a:lnTo>
                  <a:lnTo>
                    <a:pt x="8352" y="13350"/>
                  </a:lnTo>
                  <a:lnTo>
                    <a:pt x="8336" y="13377"/>
                  </a:lnTo>
                  <a:lnTo>
                    <a:pt x="8318" y="13403"/>
                  </a:lnTo>
                  <a:lnTo>
                    <a:pt x="8300" y="13427"/>
                  </a:lnTo>
                  <a:lnTo>
                    <a:pt x="8280" y="13450"/>
                  </a:lnTo>
                  <a:lnTo>
                    <a:pt x="8258" y="13473"/>
                  </a:lnTo>
                  <a:lnTo>
                    <a:pt x="8235" y="13494"/>
                  </a:lnTo>
                  <a:lnTo>
                    <a:pt x="8210" y="13513"/>
                  </a:lnTo>
                  <a:lnTo>
                    <a:pt x="8185" y="13530"/>
                  </a:lnTo>
                  <a:lnTo>
                    <a:pt x="8159" y="13546"/>
                  </a:lnTo>
                  <a:lnTo>
                    <a:pt x="8132" y="13560"/>
                  </a:lnTo>
                  <a:lnTo>
                    <a:pt x="8104" y="13573"/>
                  </a:lnTo>
                  <a:lnTo>
                    <a:pt x="8074" y="13585"/>
                  </a:lnTo>
                  <a:lnTo>
                    <a:pt x="8044" y="13594"/>
                  </a:lnTo>
                  <a:lnTo>
                    <a:pt x="8013" y="13601"/>
                  </a:lnTo>
                  <a:lnTo>
                    <a:pt x="7985" y="13607"/>
                  </a:lnTo>
                  <a:lnTo>
                    <a:pt x="7956" y="13610"/>
                  </a:lnTo>
                  <a:lnTo>
                    <a:pt x="7927" y="13612"/>
                  </a:lnTo>
                  <a:lnTo>
                    <a:pt x="7899" y="13612"/>
                  </a:lnTo>
                  <a:lnTo>
                    <a:pt x="7874" y="13611"/>
                  </a:lnTo>
                  <a:lnTo>
                    <a:pt x="7850" y="13609"/>
                  </a:lnTo>
                  <a:lnTo>
                    <a:pt x="7827" y="13605"/>
                  </a:lnTo>
                  <a:lnTo>
                    <a:pt x="7804" y="13601"/>
                  </a:lnTo>
                  <a:lnTo>
                    <a:pt x="7781" y="13595"/>
                  </a:lnTo>
                  <a:lnTo>
                    <a:pt x="7758" y="13589"/>
                  </a:lnTo>
                  <a:lnTo>
                    <a:pt x="7736" y="13580"/>
                  </a:lnTo>
                  <a:lnTo>
                    <a:pt x="7714" y="13571"/>
                  </a:lnTo>
                  <a:lnTo>
                    <a:pt x="7691" y="13562"/>
                  </a:lnTo>
                  <a:lnTo>
                    <a:pt x="7670" y="13551"/>
                  </a:lnTo>
                  <a:lnTo>
                    <a:pt x="7650" y="13539"/>
                  </a:lnTo>
                  <a:lnTo>
                    <a:pt x="7630" y="13526"/>
                  </a:lnTo>
                  <a:lnTo>
                    <a:pt x="7610" y="13512"/>
                  </a:lnTo>
                  <a:lnTo>
                    <a:pt x="7591" y="13497"/>
                  </a:lnTo>
                  <a:lnTo>
                    <a:pt x="7573" y="13482"/>
                  </a:lnTo>
                  <a:lnTo>
                    <a:pt x="7556" y="13465"/>
                  </a:lnTo>
                  <a:lnTo>
                    <a:pt x="1154" y="7119"/>
                  </a:lnTo>
                  <a:lnTo>
                    <a:pt x="1133" y="7096"/>
                  </a:lnTo>
                  <a:lnTo>
                    <a:pt x="1113" y="7072"/>
                  </a:lnTo>
                  <a:lnTo>
                    <a:pt x="1094" y="7048"/>
                  </a:lnTo>
                  <a:lnTo>
                    <a:pt x="1078" y="7022"/>
                  </a:lnTo>
                  <a:lnTo>
                    <a:pt x="1063" y="6996"/>
                  </a:lnTo>
                  <a:lnTo>
                    <a:pt x="1050" y="6967"/>
                  </a:lnTo>
                  <a:lnTo>
                    <a:pt x="1038" y="6940"/>
                  </a:lnTo>
                  <a:lnTo>
                    <a:pt x="1029" y="6911"/>
                  </a:lnTo>
                  <a:lnTo>
                    <a:pt x="1021" y="6882"/>
                  </a:lnTo>
                  <a:lnTo>
                    <a:pt x="1014" y="6852"/>
                  </a:lnTo>
                  <a:lnTo>
                    <a:pt x="1010" y="6822"/>
                  </a:lnTo>
                  <a:lnTo>
                    <a:pt x="1007" y="6792"/>
                  </a:lnTo>
                  <a:lnTo>
                    <a:pt x="1006" y="6761"/>
                  </a:lnTo>
                  <a:lnTo>
                    <a:pt x="1007" y="6730"/>
                  </a:lnTo>
                  <a:lnTo>
                    <a:pt x="1010" y="6699"/>
                  </a:lnTo>
                  <a:lnTo>
                    <a:pt x="1015" y="6668"/>
                  </a:lnTo>
                  <a:lnTo>
                    <a:pt x="1022" y="6638"/>
                  </a:lnTo>
                  <a:lnTo>
                    <a:pt x="1030" y="6608"/>
                  </a:lnTo>
                  <a:lnTo>
                    <a:pt x="1040" y="6579"/>
                  </a:lnTo>
                  <a:lnTo>
                    <a:pt x="1052" y="6551"/>
                  </a:lnTo>
                  <a:lnTo>
                    <a:pt x="1065" y="6524"/>
                  </a:lnTo>
                  <a:lnTo>
                    <a:pt x="1080" y="6498"/>
                  </a:lnTo>
                  <a:lnTo>
                    <a:pt x="1097" y="6472"/>
                  </a:lnTo>
                  <a:lnTo>
                    <a:pt x="1116" y="6448"/>
                  </a:lnTo>
                  <a:lnTo>
                    <a:pt x="1136" y="6425"/>
                  </a:lnTo>
                  <a:lnTo>
                    <a:pt x="1156" y="6403"/>
                  </a:lnTo>
                  <a:lnTo>
                    <a:pt x="1179" y="6383"/>
                  </a:lnTo>
                  <a:lnTo>
                    <a:pt x="1202" y="6363"/>
                  </a:lnTo>
                  <a:lnTo>
                    <a:pt x="1227" y="6345"/>
                  </a:lnTo>
                  <a:lnTo>
                    <a:pt x="1252" y="6329"/>
                  </a:lnTo>
                  <a:lnTo>
                    <a:pt x="1280" y="6314"/>
                  </a:lnTo>
                  <a:lnTo>
                    <a:pt x="1308" y="6300"/>
                  </a:lnTo>
                  <a:lnTo>
                    <a:pt x="4434" y="5046"/>
                  </a:lnTo>
                  <a:lnTo>
                    <a:pt x="4632" y="5107"/>
                  </a:lnTo>
                  <a:lnTo>
                    <a:pt x="4830" y="5162"/>
                  </a:lnTo>
                  <a:lnTo>
                    <a:pt x="5027" y="5210"/>
                  </a:lnTo>
                  <a:lnTo>
                    <a:pt x="5225" y="5252"/>
                  </a:lnTo>
                  <a:lnTo>
                    <a:pt x="5422" y="5290"/>
                  </a:lnTo>
                  <a:lnTo>
                    <a:pt x="5620" y="5323"/>
                  </a:lnTo>
                  <a:lnTo>
                    <a:pt x="5817" y="5353"/>
                  </a:lnTo>
                  <a:lnTo>
                    <a:pt x="6016" y="5380"/>
                  </a:lnTo>
                  <a:lnTo>
                    <a:pt x="6410" y="5431"/>
                  </a:lnTo>
                  <a:lnTo>
                    <a:pt x="6805" y="5480"/>
                  </a:lnTo>
                  <a:lnTo>
                    <a:pt x="7003" y="5507"/>
                  </a:lnTo>
                  <a:lnTo>
                    <a:pt x="7201" y="5536"/>
                  </a:lnTo>
                  <a:lnTo>
                    <a:pt x="7398" y="5568"/>
                  </a:lnTo>
                  <a:lnTo>
                    <a:pt x="7596" y="5603"/>
                  </a:lnTo>
                  <a:lnTo>
                    <a:pt x="7793" y="5643"/>
                  </a:lnTo>
                  <a:lnTo>
                    <a:pt x="7991" y="5688"/>
                  </a:lnTo>
                  <a:lnTo>
                    <a:pt x="8188" y="5739"/>
                  </a:lnTo>
                  <a:lnTo>
                    <a:pt x="8385" y="5798"/>
                  </a:lnTo>
                  <a:lnTo>
                    <a:pt x="8584" y="5864"/>
                  </a:lnTo>
                  <a:lnTo>
                    <a:pt x="8781" y="5939"/>
                  </a:lnTo>
                  <a:lnTo>
                    <a:pt x="8979" y="6023"/>
                  </a:lnTo>
                  <a:lnTo>
                    <a:pt x="9176" y="6116"/>
                  </a:lnTo>
                  <a:lnTo>
                    <a:pt x="9373" y="6221"/>
                  </a:lnTo>
                  <a:lnTo>
                    <a:pt x="9571" y="6337"/>
                  </a:lnTo>
                  <a:lnTo>
                    <a:pt x="9769" y="6466"/>
                  </a:lnTo>
                  <a:lnTo>
                    <a:pt x="9967" y="6608"/>
                  </a:lnTo>
                  <a:lnTo>
                    <a:pt x="10164" y="6765"/>
                  </a:lnTo>
                  <a:lnTo>
                    <a:pt x="10361" y="6935"/>
                  </a:lnTo>
                  <a:lnTo>
                    <a:pt x="10559" y="7122"/>
                  </a:lnTo>
                  <a:lnTo>
                    <a:pt x="10756" y="7324"/>
                  </a:lnTo>
                  <a:lnTo>
                    <a:pt x="8378" y="13292"/>
                  </a:lnTo>
                  <a:close/>
                  <a:moveTo>
                    <a:pt x="10402" y="369"/>
                  </a:moveTo>
                  <a:lnTo>
                    <a:pt x="10379" y="347"/>
                  </a:lnTo>
                  <a:lnTo>
                    <a:pt x="10356" y="326"/>
                  </a:lnTo>
                  <a:lnTo>
                    <a:pt x="10333" y="305"/>
                  </a:lnTo>
                  <a:lnTo>
                    <a:pt x="10310" y="286"/>
                  </a:lnTo>
                  <a:lnTo>
                    <a:pt x="10286" y="266"/>
                  </a:lnTo>
                  <a:lnTo>
                    <a:pt x="10261" y="247"/>
                  </a:lnTo>
                  <a:lnTo>
                    <a:pt x="10235" y="229"/>
                  </a:lnTo>
                  <a:lnTo>
                    <a:pt x="10210" y="211"/>
                  </a:lnTo>
                  <a:lnTo>
                    <a:pt x="10184" y="195"/>
                  </a:lnTo>
                  <a:lnTo>
                    <a:pt x="10158" y="179"/>
                  </a:lnTo>
                  <a:lnTo>
                    <a:pt x="10132" y="163"/>
                  </a:lnTo>
                  <a:lnTo>
                    <a:pt x="10105" y="148"/>
                  </a:lnTo>
                  <a:lnTo>
                    <a:pt x="10077" y="133"/>
                  </a:lnTo>
                  <a:lnTo>
                    <a:pt x="10050" y="120"/>
                  </a:lnTo>
                  <a:lnTo>
                    <a:pt x="10022" y="108"/>
                  </a:lnTo>
                  <a:lnTo>
                    <a:pt x="9994" y="96"/>
                  </a:lnTo>
                  <a:lnTo>
                    <a:pt x="9966" y="84"/>
                  </a:lnTo>
                  <a:lnTo>
                    <a:pt x="9938" y="74"/>
                  </a:lnTo>
                  <a:lnTo>
                    <a:pt x="9908" y="64"/>
                  </a:lnTo>
                  <a:lnTo>
                    <a:pt x="9879" y="55"/>
                  </a:lnTo>
                  <a:lnTo>
                    <a:pt x="9850" y="46"/>
                  </a:lnTo>
                  <a:lnTo>
                    <a:pt x="9820" y="38"/>
                  </a:lnTo>
                  <a:lnTo>
                    <a:pt x="9791" y="31"/>
                  </a:lnTo>
                  <a:lnTo>
                    <a:pt x="9761" y="25"/>
                  </a:lnTo>
                  <a:lnTo>
                    <a:pt x="9730" y="19"/>
                  </a:lnTo>
                  <a:lnTo>
                    <a:pt x="9699" y="14"/>
                  </a:lnTo>
                  <a:lnTo>
                    <a:pt x="9669" y="9"/>
                  </a:lnTo>
                  <a:lnTo>
                    <a:pt x="9638" y="6"/>
                  </a:lnTo>
                  <a:lnTo>
                    <a:pt x="9607" y="3"/>
                  </a:lnTo>
                  <a:lnTo>
                    <a:pt x="9577" y="2"/>
                  </a:lnTo>
                  <a:lnTo>
                    <a:pt x="9544" y="0"/>
                  </a:lnTo>
                  <a:lnTo>
                    <a:pt x="9513" y="0"/>
                  </a:lnTo>
                  <a:lnTo>
                    <a:pt x="9482" y="0"/>
                  </a:lnTo>
                  <a:lnTo>
                    <a:pt x="9451" y="2"/>
                  </a:lnTo>
                  <a:lnTo>
                    <a:pt x="9420" y="3"/>
                  </a:lnTo>
                  <a:lnTo>
                    <a:pt x="9388" y="6"/>
                  </a:lnTo>
                  <a:lnTo>
                    <a:pt x="9357" y="9"/>
                  </a:lnTo>
                  <a:lnTo>
                    <a:pt x="9327" y="14"/>
                  </a:lnTo>
                  <a:lnTo>
                    <a:pt x="9297" y="19"/>
                  </a:lnTo>
                  <a:lnTo>
                    <a:pt x="9266" y="25"/>
                  </a:lnTo>
                  <a:lnTo>
                    <a:pt x="9236" y="31"/>
                  </a:lnTo>
                  <a:lnTo>
                    <a:pt x="9206" y="38"/>
                  </a:lnTo>
                  <a:lnTo>
                    <a:pt x="9176" y="46"/>
                  </a:lnTo>
                  <a:lnTo>
                    <a:pt x="9147" y="55"/>
                  </a:lnTo>
                  <a:lnTo>
                    <a:pt x="9118" y="64"/>
                  </a:lnTo>
                  <a:lnTo>
                    <a:pt x="9089" y="74"/>
                  </a:lnTo>
                  <a:lnTo>
                    <a:pt x="9060" y="84"/>
                  </a:lnTo>
                  <a:lnTo>
                    <a:pt x="9031" y="96"/>
                  </a:lnTo>
                  <a:lnTo>
                    <a:pt x="9003" y="108"/>
                  </a:lnTo>
                  <a:lnTo>
                    <a:pt x="8976" y="120"/>
                  </a:lnTo>
                  <a:lnTo>
                    <a:pt x="8948" y="134"/>
                  </a:lnTo>
                  <a:lnTo>
                    <a:pt x="8921" y="149"/>
                  </a:lnTo>
                  <a:lnTo>
                    <a:pt x="8894" y="163"/>
                  </a:lnTo>
                  <a:lnTo>
                    <a:pt x="8867" y="179"/>
                  </a:lnTo>
                  <a:lnTo>
                    <a:pt x="8841" y="195"/>
                  </a:lnTo>
                  <a:lnTo>
                    <a:pt x="8816" y="211"/>
                  </a:lnTo>
                  <a:lnTo>
                    <a:pt x="8790" y="229"/>
                  </a:lnTo>
                  <a:lnTo>
                    <a:pt x="8766" y="247"/>
                  </a:lnTo>
                  <a:lnTo>
                    <a:pt x="8741" y="267"/>
                  </a:lnTo>
                  <a:lnTo>
                    <a:pt x="8716" y="286"/>
                  </a:lnTo>
                  <a:lnTo>
                    <a:pt x="8692" y="306"/>
                  </a:lnTo>
                  <a:lnTo>
                    <a:pt x="8669" y="326"/>
                  </a:lnTo>
                  <a:lnTo>
                    <a:pt x="8646" y="348"/>
                  </a:lnTo>
                  <a:lnTo>
                    <a:pt x="8624" y="369"/>
                  </a:lnTo>
                  <a:lnTo>
                    <a:pt x="7914" y="1081"/>
                  </a:lnTo>
                  <a:lnTo>
                    <a:pt x="7892" y="1104"/>
                  </a:lnTo>
                  <a:lnTo>
                    <a:pt x="7870" y="1128"/>
                  </a:lnTo>
                  <a:lnTo>
                    <a:pt x="7850" y="1151"/>
                  </a:lnTo>
                  <a:lnTo>
                    <a:pt x="7829" y="1174"/>
                  </a:lnTo>
                  <a:lnTo>
                    <a:pt x="7810" y="1199"/>
                  </a:lnTo>
                  <a:lnTo>
                    <a:pt x="7792" y="1223"/>
                  </a:lnTo>
                  <a:lnTo>
                    <a:pt x="7773" y="1249"/>
                  </a:lnTo>
                  <a:lnTo>
                    <a:pt x="7756" y="1274"/>
                  </a:lnTo>
                  <a:lnTo>
                    <a:pt x="7739" y="1300"/>
                  </a:lnTo>
                  <a:lnTo>
                    <a:pt x="7723" y="1326"/>
                  </a:lnTo>
                  <a:lnTo>
                    <a:pt x="7707" y="1352"/>
                  </a:lnTo>
                  <a:lnTo>
                    <a:pt x="7692" y="1380"/>
                  </a:lnTo>
                  <a:lnTo>
                    <a:pt x="7678" y="1407"/>
                  </a:lnTo>
                  <a:lnTo>
                    <a:pt x="7665" y="1434"/>
                  </a:lnTo>
                  <a:lnTo>
                    <a:pt x="7652" y="1462"/>
                  </a:lnTo>
                  <a:lnTo>
                    <a:pt x="7640" y="1491"/>
                  </a:lnTo>
                  <a:lnTo>
                    <a:pt x="7629" y="1519"/>
                  </a:lnTo>
                  <a:lnTo>
                    <a:pt x="7618" y="1547"/>
                  </a:lnTo>
                  <a:lnTo>
                    <a:pt x="7608" y="1576"/>
                  </a:lnTo>
                  <a:lnTo>
                    <a:pt x="7599" y="1606"/>
                  </a:lnTo>
                  <a:lnTo>
                    <a:pt x="7591" y="1636"/>
                  </a:lnTo>
                  <a:lnTo>
                    <a:pt x="7583" y="1665"/>
                  </a:lnTo>
                  <a:lnTo>
                    <a:pt x="7576" y="1695"/>
                  </a:lnTo>
                  <a:lnTo>
                    <a:pt x="7569" y="1725"/>
                  </a:lnTo>
                  <a:lnTo>
                    <a:pt x="7564" y="1756"/>
                  </a:lnTo>
                  <a:lnTo>
                    <a:pt x="7559" y="1786"/>
                  </a:lnTo>
                  <a:lnTo>
                    <a:pt x="7555" y="1817"/>
                  </a:lnTo>
                  <a:lnTo>
                    <a:pt x="7551" y="1848"/>
                  </a:lnTo>
                  <a:lnTo>
                    <a:pt x="7549" y="1879"/>
                  </a:lnTo>
                  <a:lnTo>
                    <a:pt x="7547" y="1911"/>
                  </a:lnTo>
                  <a:lnTo>
                    <a:pt x="7546" y="1942"/>
                  </a:lnTo>
                  <a:lnTo>
                    <a:pt x="7545" y="1974"/>
                  </a:lnTo>
                  <a:lnTo>
                    <a:pt x="7546" y="2018"/>
                  </a:lnTo>
                  <a:lnTo>
                    <a:pt x="7548" y="2062"/>
                  </a:lnTo>
                  <a:lnTo>
                    <a:pt x="7552" y="2106"/>
                  </a:lnTo>
                  <a:lnTo>
                    <a:pt x="7557" y="2150"/>
                  </a:lnTo>
                  <a:lnTo>
                    <a:pt x="7564" y="2192"/>
                  </a:lnTo>
                  <a:lnTo>
                    <a:pt x="7572" y="2236"/>
                  </a:lnTo>
                  <a:lnTo>
                    <a:pt x="7582" y="2278"/>
                  </a:lnTo>
                  <a:lnTo>
                    <a:pt x="7593" y="2319"/>
                  </a:lnTo>
                  <a:lnTo>
                    <a:pt x="7605" y="2361"/>
                  </a:lnTo>
                  <a:lnTo>
                    <a:pt x="7619" y="2402"/>
                  </a:lnTo>
                  <a:lnTo>
                    <a:pt x="7634" y="2442"/>
                  </a:lnTo>
                  <a:lnTo>
                    <a:pt x="7651" y="2483"/>
                  </a:lnTo>
                  <a:lnTo>
                    <a:pt x="7669" y="2522"/>
                  </a:lnTo>
                  <a:lnTo>
                    <a:pt x="7688" y="2560"/>
                  </a:lnTo>
                  <a:lnTo>
                    <a:pt x="7710" y="2599"/>
                  </a:lnTo>
                  <a:lnTo>
                    <a:pt x="7732" y="2635"/>
                  </a:lnTo>
                  <a:lnTo>
                    <a:pt x="902" y="5377"/>
                  </a:lnTo>
                  <a:lnTo>
                    <a:pt x="860" y="5397"/>
                  </a:lnTo>
                  <a:lnTo>
                    <a:pt x="819" y="5418"/>
                  </a:lnTo>
                  <a:lnTo>
                    <a:pt x="778" y="5440"/>
                  </a:lnTo>
                  <a:lnTo>
                    <a:pt x="737" y="5462"/>
                  </a:lnTo>
                  <a:lnTo>
                    <a:pt x="699" y="5486"/>
                  </a:lnTo>
                  <a:lnTo>
                    <a:pt x="660" y="5511"/>
                  </a:lnTo>
                  <a:lnTo>
                    <a:pt x="623" y="5539"/>
                  </a:lnTo>
                  <a:lnTo>
                    <a:pt x="586" y="5566"/>
                  </a:lnTo>
                  <a:lnTo>
                    <a:pt x="550" y="5594"/>
                  </a:lnTo>
                  <a:lnTo>
                    <a:pt x="516" y="5623"/>
                  </a:lnTo>
                  <a:lnTo>
                    <a:pt x="482" y="5655"/>
                  </a:lnTo>
                  <a:lnTo>
                    <a:pt x="450" y="5686"/>
                  </a:lnTo>
                  <a:lnTo>
                    <a:pt x="417" y="5718"/>
                  </a:lnTo>
                  <a:lnTo>
                    <a:pt x="386" y="5751"/>
                  </a:lnTo>
                  <a:lnTo>
                    <a:pt x="357" y="5786"/>
                  </a:lnTo>
                  <a:lnTo>
                    <a:pt x="328" y="5821"/>
                  </a:lnTo>
                  <a:lnTo>
                    <a:pt x="301" y="5857"/>
                  </a:lnTo>
                  <a:lnTo>
                    <a:pt x="274" y="5894"/>
                  </a:lnTo>
                  <a:lnTo>
                    <a:pt x="248" y="5931"/>
                  </a:lnTo>
                  <a:lnTo>
                    <a:pt x="224" y="5969"/>
                  </a:lnTo>
                  <a:lnTo>
                    <a:pt x="200" y="6009"/>
                  </a:lnTo>
                  <a:lnTo>
                    <a:pt x="179" y="6049"/>
                  </a:lnTo>
                  <a:lnTo>
                    <a:pt x="158" y="6089"/>
                  </a:lnTo>
                  <a:lnTo>
                    <a:pt x="138" y="6131"/>
                  </a:lnTo>
                  <a:lnTo>
                    <a:pt x="120" y="6172"/>
                  </a:lnTo>
                  <a:lnTo>
                    <a:pt x="103" y="6214"/>
                  </a:lnTo>
                  <a:lnTo>
                    <a:pt x="87" y="6258"/>
                  </a:lnTo>
                  <a:lnTo>
                    <a:pt x="71" y="6301"/>
                  </a:lnTo>
                  <a:lnTo>
                    <a:pt x="58" y="6345"/>
                  </a:lnTo>
                  <a:lnTo>
                    <a:pt x="46" y="6390"/>
                  </a:lnTo>
                  <a:lnTo>
                    <a:pt x="36" y="6435"/>
                  </a:lnTo>
                  <a:lnTo>
                    <a:pt x="26" y="6481"/>
                  </a:lnTo>
                  <a:lnTo>
                    <a:pt x="18" y="6527"/>
                  </a:lnTo>
                  <a:lnTo>
                    <a:pt x="12" y="6573"/>
                  </a:lnTo>
                  <a:lnTo>
                    <a:pt x="7" y="6620"/>
                  </a:lnTo>
                  <a:lnTo>
                    <a:pt x="3" y="6666"/>
                  </a:lnTo>
                  <a:lnTo>
                    <a:pt x="1" y="6712"/>
                  </a:lnTo>
                  <a:lnTo>
                    <a:pt x="0" y="6759"/>
                  </a:lnTo>
                  <a:lnTo>
                    <a:pt x="1" y="6804"/>
                  </a:lnTo>
                  <a:lnTo>
                    <a:pt x="3" y="6850"/>
                  </a:lnTo>
                  <a:lnTo>
                    <a:pt x="6" y="6896"/>
                  </a:lnTo>
                  <a:lnTo>
                    <a:pt x="11" y="6941"/>
                  </a:lnTo>
                  <a:lnTo>
                    <a:pt x="17" y="6987"/>
                  </a:lnTo>
                  <a:lnTo>
                    <a:pt x="24" y="7032"/>
                  </a:lnTo>
                  <a:lnTo>
                    <a:pt x="33" y="7076"/>
                  </a:lnTo>
                  <a:lnTo>
                    <a:pt x="43" y="7121"/>
                  </a:lnTo>
                  <a:lnTo>
                    <a:pt x="55" y="7165"/>
                  </a:lnTo>
                  <a:lnTo>
                    <a:pt x="67" y="7209"/>
                  </a:lnTo>
                  <a:lnTo>
                    <a:pt x="81" y="7253"/>
                  </a:lnTo>
                  <a:lnTo>
                    <a:pt x="98" y="7295"/>
                  </a:lnTo>
                  <a:lnTo>
                    <a:pt x="114" y="7337"/>
                  </a:lnTo>
                  <a:lnTo>
                    <a:pt x="132" y="7380"/>
                  </a:lnTo>
                  <a:lnTo>
                    <a:pt x="152" y="7421"/>
                  </a:lnTo>
                  <a:lnTo>
                    <a:pt x="172" y="7462"/>
                  </a:lnTo>
                  <a:lnTo>
                    <a:pt x="194" y="7503"/>
                  </a:lnTo>
                  <a:lnTo>
                    <a:pt x="217" y="7542"/>
                  </a:lnTo>
                  <a:lnTo>
                    <a:pt x="241" y="7581"/>
                  </a:lnTo>
                  <a:lnTo>
                    <a:pt x="268" y="7620"/>
                  </a:lnTo>
                  <a:lnTo>
                    <a:pt x="294" y="7658"/>
                  </a:lnTo>
                  <a:lnTo>
                    <a:pt x="322" y="7695"/>
                  </a:lnTo>
                  <a:lnTo>
                    <a:pt x="351" y="7732"/>
                  </a:lnTo>
                  <a:lnTo>
                    <a:pt x="382" y="7767"/>
                  </a:lnTo>
                  <a:lnTo>
                    <a:pt x="413" y="7801"/>
                  </a:lnTo>
                  <a:lnTo>
                    <a:pt x="447" y="7835"/>
                  </a:lnTo>
                  <a:lnTo>
                    <a:pt x="6844" y="14177"/>
                  </a:lnTo>
                  <a:lnTo>
                    <a:pt x="6871" y="14203"/>
                  </a:lnTo>
                  <a:lnTo>
                    <a:pt x="6897" y="14228"/>
                  </a:lnTo>
                  <a:lnTo>
                    <a:pt x="6924" y="14252"/>
                  </a:lnTo>
                  <a:lnTo>
                    <a:pt x="6952" y="14275"/>
                  </a:lnTo>
                  <a:lnTo>
                    <a:pt x="6979" y="14298"/>
                  </a:lnTo>
                  <a:lnTo>
                    <a:pt x="7008" y="14320"/>
                  </a:lnTo>
                  <a:lnTo>
                    <a:pt x="7038" y="14341"/>
                  </a:lnTo>
                  <a:lnTo>
                    <a:pt x="7067" y="14362"/>
                  </a:lnTo>
                  <a:lnTo>
                    <a:pt x="7097" y="14381"/>
                  </a:lnTo>
                  <a:lnTo>
                    <a:pt x="7127" y="14400"/>
                  </a:lnTo>
                  <a:lnTo>
                    <a:pt x="7157" y="14418"/>
                  </a:lnTo>
                  <a:lnTo>
                    <a:pt x="7188" y="14436"/>
                  </a:lnTo>
                  <a:lnTo>
                    <a:pt x="7221" y="14453"/>
                  </a:lnTo>
                  <a:lnTo>
                    <a:pt x="7252" y="14469"/>
                  </a:lnTo>
                  <a:lnTo>
                    <a:pt x="7284" y="14484"/>
                  </a:lnTo>
                  <a:lnTo>
                    <a:pt x="7316" y="14499"/>
                  </a:lnTo>
                  <a:lnTo>
                    <a:pt x="7349" y="14512"/>
                  </a:lnTo>
                  <a:lnTo>
                    <a:pt x="7383" y="14525"/>
                  </a:lnTo>
                  <a:lnTo>
                    <a:pt x="7416" y="14537"/>
                  </a:lnTo>
                  <a:lnTo>
                    <a:pt x="7450" y="14548"/>
                  </a:lnTo>
                  <a:lnTo>
                    <a:pt x="7484" y="14558"/>
                  </a:lnTo>
                  <a:lnTo>
                    <a:pt x="7518" y="14569"/>
                  </a:lnTo>
                  <a:lnTo>
                    <a:pt x="7553" y="14578"/>
                  </a:lnTo>
                  <a:lnTo>
                    <a:pt x="7588" y="14586"/>
                  </a:lnTo>
                  <a:lnTo>
                    <a:pt x="7623" y="14593"/>
                  </a:lnTo>
                  <a:lnTo>
                    <a:pt x="7657" y="14599"/>
                  </a:lnTo>
                  <a:lnTo>
                    <a:pt x="7693" y="14605"/>
                  </a:lnTo>
                  <a:lnTo>
                    <a:pt x="7729" y="14609"/>
                  </a:lnTo>
                  <a:lnTo>
                    <a:pt x="7765" y="14613"/>
                  </a:lnTo>
                  <a:lnTo>
                    <a:pt x="7800" y="14616"/>
                  </a:lnTo>
                  <a:lnTo>
                    <a:pt x="7836" y="14618"/>
                  </a:lnTo>
                  <a:lnTo>
                    <a:pt x="7872" y="14619"/>
                  </a:lnTo>
                  <a:lnTo>
                    <a:pt x="7882" y="14620"/>
                  </a:lnTo>
                  <a:lnTo>
                    <a:pt x="7892" y="14620"/>
                  </a:lnTo>
                  <a:lnTo>
                    <a:pt x="7903" y="14620"/>
                  </a:lnTo>
                  <a:lnTo>
                    <a:pt x="7911" y="14620"/>
                  </a:lnTo>
                  <a:lnTo>
                    <a:pt x="7949" y="14619"/>
                  </a:lnTo>
                  <a:lnTo>
                    <a:pt x="7987" y="14618"/>
                  </a:lnTo>
                  <a:lnTo>
                    <a:pt x="8025" y="14616"/>
                  </a:lnTo>
                  <a:lnTo>
                    <a:pt x="8065" y="14612"/>
                  </a:lnTo>
                  <a:lnTo>
                    <a:pt x="8103" y="14608"/>
                  </a:lnTo>
                  <a:lnTo>
                    <a:pt x="8141" y="14602"/>
                  </a:lnTo>
                  <a:lnTo>
                    <a:pt x="8179" y="14596"/>
                  </a:lnTo>
                  <a:lnTo>
                    <a:pt x="8219" y="14589"/>
                  </a:lnTo>
                  <a:lnTo>
                    <a:pt x="8265" y="14578"/>
                  </a:lnTo>
                  <a:lnTo>
                    <a:pt x="8311" y="14566"/>
                  </a:lnTo>
                  <a:lnTo>
                    <a:pt x="8356" y="14552"/>
                  </a:lnTo>
                  <a:lnTo>
                    <a:pt x="8401" y="14538"/>
                  </a:lnTo>
                  <a:lnTo>
                    <a:pt x="8445" y="14522"/>
                  </a:lnTo>
                  <a:lnTo>
                    <a:pt x="8489" y="14505"/>
                  </a:lnTo>
                  <a:lnTo>
                    <a:pt x="8531" y="14487"/>
                  </a:lnTo>
                  <a:lnTo>
                    <a:pt x="8574" y="14467"/>
                  </a:lnTo>
                  <a:lnTo>
                    <a:pt x="8616" y="14446"/>
                  </a:lnTo>
                  <a:lnTo>
                    <a:pt x="8656" y="14423"/>
                  </a:lnTo>
                  <a:lnTo>
                    <a:pt x="8696" y="14400"/>
                  </a:lnTo>
                  <a:lnTo>
                    <a:pt x="8736" y="14375"/>
                  </a:lnTo>
                  <a:lnTo>
                    <a:pt x="8774" y="14350"/>
                  </a:lnTo>
                  <a:lnTo>
                    <a:pt x="8811" y="14323"/>
                  </a:lnTo>
                  <a:lnTo>
                    <a:pt x="8847" y="14294"/>
                  </a:lnTo>
                  <a:lnTo>
                    <a:pt x="8883" y="14265"/>
                  </a:lnTo>
                  <a:lnTo>
                    <a:pt x="8918" y="14235"/>
                  </a:lnTo>
                  <a:lnTo>
                    <a:pt x="8952" y="14204"/>
                  </a:lnTo>
                  <a:lnTo>
                    <a:pt x="8985" y="14171"/>
                  </a:lnTo>
                  <a:lnTo>
                    <a:pt x="9017" y="14138"/>
                  </a:lnTo>
                  <a:lnTo>
                    <a:pt x="9047" y="14104"/>
                  </a:lnTo>
                  <a:lnTo>
                    <a:pt x="9078" y="14068"/>
                  </a:lnTo>
                  <a:lnTo>
                    <a:pt x="9106" y="14032"/>
                  </a:lnTo>
                  <a:lnTo>
                    <a:pt x="9134" y="13995"/>
                  </a:lnTo>
                  <a:lnTo>
                    <a:pt x="9160" y="13957"/>
                  </a:lnTo>
                  <a:lnTo>
                    <a:pt x="9186" y="13918"/>
                  </a:lnTo>
                  <a:lnTo>
                    <a:pt x="9210" y="13878"/>
                  </a:lnTo>
                  <a:lnTo>
                    <a:pt x="9232" y="13838"/>
                  </a:lnTo>
                  <a:lnTo>
                    <a:pt x="9255" y="13796"/>
                  </a:lnTo>
                  <a:lnTo>
                    <a:pt x="9276" y="13754"/>
                  </a:lnTo>
                  <a:lnTo>
                    <a:pt x="9295" y="13711"/>
                  </a:lnTo>
                  <a:lnTo>
                    <a:pt x="9313" y="13666"/>
                  </a:lnTo>
                  <a:lnTo>
                    <a:pt x="12000" y="6923"/>
                  </a:lnTo>
                  <a:lnTo>
                    <a:pt x="12038" y="6948"/>
                  </a:lnTo>
                  <a:lnTo>
                    <a:pt x="12077" y="6970"/>
                  </a:lnTo>
                  <a:lnTo>
                    <a:pt x="12118" y="6993"/>
                  </a:lnTo>
                  <a:lnTo>
                    <a:pt x="12158" y="7012"/>
                  </a:lnTo>
                  <a:lnTo>
                    <a:pt x="12199" y="7031"/>
                  </a:lnTo>
                  <a:lnTo>
                    <a:pt x="12241" y="7047"/>
                  </a:lnTo>
                  <a:lnTo>
                    <a:pt x="12284" y="7063"/>
                  </a:lnTo>
                  <a:lnTo>
                    <a:pt x="12327" y="7076"/>
                  </a:lnTo>
                  <a:lnTo>
                    <a:pt x="12370" y="7088"/>
                  </a:lnTo>
                  <a:lnTo>
                    <a:pt x="12414" y="7099"/>
                  </a:lnTo>
                  <a:lnTo>
                    <a:pt x="12459" y="7109"/>
                  </a:lnTo>
                  <a:lnTo>
                    <a:pt x="12504" y="7116"/>
                  </a:lnTo>
                  <a:lnTo>
                    <a:pt x="12549" y="7122"/>
                  </a:lnTo>
                  <a:lnTo>
                    <a:pt x="12595" y="7126"/>
                  </a:lnTo>
                  <a:lnTo>
                    <a:pt x="12642" y="7129"/>
                  </a:lnTo>
                  <a:lnTo>
                    <a:pt x="12688" y="7130"/>
                  </a:lnTo>
                  <a:lnTo>
                    <a:pt x="12719" y="7129"/>
                  </a:lnTo>
                  <a:lnTo>
                    <a:pt x="12750" y="7128"/>
                  </a:lnTo>
                  <a:lnTo>
                    <a:pt x="12781" y="7126"/>
                  </a:lnTo>
                  <a:lnTo>
                    <a:pt x="12813" y="7123"/>
                  </a:lnTo>
                  <a:lnTo>
                    <a:pt x="12844" y="7120"/>
                  </a:lnTo>
                  <a:lnTo>
                    <a:pt x="12874" y="7116"/>
                  </a:lnTo>
                  <a:lnTo>
                    <a:pt x="12905" y="7111"/>
                  </a:lnTo>
                  <a:lnTo>
                    <a:pt x="12935" y="7105"/>
                  </a:lnTo>
                  <a:lnTo>
                    <a:pt x="12966" y="7098"/>
                  </a:lnTo>
                  <a:lnTo>
                    <a:pt x="12995" y="7091"/>
                  </a:lnTo>
                  <a:lnTo>
                    <a:pt x="13025" y="7083"/>
                  </a:lnTo>
                  <a:lnTo>
                    <a:pt x="13054" y="7075"/>
                  </a:lnTo>
                  <a:lnTo>
                    <a:pt x="13083" y="7066"/>
                  </a:lnTo>
                  <a:lnTo>
                    <a:pt x="13112" y="7056"/>
                  </a:lnTo>
                  <a:lnTo>
                    <a:pt x="13141" y="7045"/>
                  </a:lnTo>
                  <a:lnTo>
                    <a:pt x="13170" y="7034"/>
                  </a:lnTo>
                  <a:lnTo>
                    <a:pt x="13198" y="7022"/>
                  </a:lnTo>
                  <a:lnTo>
                    <a:pt x="13225" y="7009"/>
                  </a:lnTo>
                  <a:lnTo>
                    <a:pt x="13253" y="6996"/>
                  </a:lnTo>
                  <a:lnTo>
                    <a:pt x="13280" y="6981"/>
                  </a:lnTo>
                  <a:lnTo>
                    <a:pt x="13307" y="6966"/>
                  </a:lnTo>
                  <a:lnTo>
                    <a:pt x="13334" y="6950"/>
                  </a:lnTo>
                  <a:lnTo>
                    <a:pt x="13360" y="6934"/>
                  </a:lnTo>
                  <a:lnTo>
                    <a:pt x="13385" y="6918"/>
                  </a:lnTo>
                  <a:lnTo>
                    <a:pt x="13410" y="6900"/>
                  </a:lnTo>
                  <a:lnTo>
                    <a:pt x="13435" y="6882"/>
                  </a:lnTo>
                  <a:lnTo>
                    <a:pt x="13460" y="6863"/>
                  </a:lnTo>
                  <a:lnTo>
                    <a:pt x="13485" y="6843"/>
                  </a:lnTo>
                  <a:lnTo>
                    <a:pt x="13508" y="6823"/>
                  </a:lnTo>
                  <a:lnTo>
                    <a:pt x="13532" y="6803"/>
                  </a:lnTo>
                  <a:lnTo>
                    <a:pt x="13554" y="6781"/>
                  </a:lnTo>
                  <a:lnTo>
                    <a:pt x="13577" y="6759"/>
                  </a:lnTo>
                  <a:lnTo>
                    <a:pt x="14285" y="6050"/>
                  </a:lnTo>
                  <a:lnTo>
                    <a:pt x="14307" y="6028"/>
                  </a:lnTo>
                  <a:lnTo>
                    <a:pt x="14329" y="6005"/>
                  </a:lnTo>
                  <a:lnTo>
                    <a:pt x="14350" y="5980"/>
                  </a:lnTo>
                  <a:lnTo>
                    <a:pt x="14370" y="5957"/>
                  </a:lnTo>
                  <a:lnTo>
                    <a:pt x="14389" y="5932"/>
                  </a:lnTo>
                  <a:lnTo>
                    <a:pt x="14408" y="5908"/>
                  </a:lnTo>
                  <a:lnTo>
                    <a:pt x="14426" y="5883"/>
                  </a:lnTo>
                  <a:lnTo>
                    <a:pt x="14444" y="5857"/>
                  </a:lnTo>
                  <a:lnTo>
                    <a:pt x="14460" y="5831"/>
                  </a:lnTo>
                  <a:lnTo>
                    <a:pt x="14477" y="5805"/>
                  </a:lnTo>
                  <a:lnTo>
                    <a:pt x="14493" y="5778"/>
                  </a:lnTo>
                  <a:lnTo>
                    <a:pt x="14508" y="5751"/>
                  </a:lnTo>
                  <a:lnTo>
                    <a:pt x="14522" y="5724"/>
                  </a:lnTo>
                  <a:lnTo>
                    <a:pt x="14535" y="5696"/>
                  </a:lnTo>
                  <a:lnTo>
                    <a:pt x="14548" y="5668"/>
                  </a:lnTo>
                  <a:lnTo>
                    <a:pt x="14560" y="5640"/>
                  </a:lnTo>
                  <a:lnTo>
                    <a:pt x="14572" y="5611"/>
                  </a:lnTo>
                  <a:lnTo>
                    <a:pt x="14582" y="5583"/>
                  </a:lnTo>
                  <a:lnTo>
                    <a:pt x="14592" y="5554"/>
                  </a:lnTo>
                  <a:lnTo>
                    <a:pt x="14602" y="5525"/>
                  </a:lnTo>
                  <a:lnTo>
                    <a:pt x="14610" y="5494"/>
                  </a:lnTo>
                  <a:lnTo>
                    <a:pt x="14618" y="5465"/>
                  </a:lnTo>
                  <a:lnTo>
                    <a:pt x="14625" y="5435"/>
                  </a:lnTo>
                  <a:lnTo>
                    <a:pt x="14631" y="5405"/>
                  </a:lnTo>
                  <a:lnTo>
                    <a:pt x="14637" y="5373"/>
                  </a:lnTo>
                  <a:lnTo>
                    <a:pt x="14642" y="5343"/>
                  </a:lnTo>
                  <a:lnTo>
                    <a:pt x="14646" y="5312"/>
                  </a:lnTo>
                  <a:lnTo>
                    <a:pt x="14649" y="5282"/>
                  </a:lnTo>
                  <a:lnTo>
                    <a:pt x="14652" y="5250"/>
                  </a:lnTo>
                  <a:lnTo>
                    <a:pt x="14654" y="5219"/>
                  </a:lnTo>
                  <a:lnTo>
                    <a:pt x="14656" y="5187"/>
                  </a:lnTo>
                  <a:lnTo>
                    <a:pt x="14656" y="5156"/>
                  </a:lnTo>
                  <a:lnTo>
                    <a:pt x="14656" y="5124"/>
                  </a:lnTo>
                  <a:lnTo>
                    <a:pt x="14654" y="5092"/>
                  </a:lnTo>
                  <a:lnTo>
                    <a:pt x="14652" y="5061"/>
                  </a:lnTo>
                  <a:lnTo>
                    <a:pt x="14649" y="5030"/>
                  </a:lnTo>
                  <a:lnTo>
                    <a:pt x="14646" y="4999"/>
                  </a:lnTo>
                  <a:lnTo>
                    <a:pt x="14642" y="4968"/>
                  </a:lnTo>
                  <a:lnTo>
                    <a:pt x="14637" y="4938"/>
                  </a:lnTo>
                  <a:lnTo>
                    <a:pt x="14631" y="4908"/>
                  </a:lnTo>
                  <a:lnTo>
                    <a:pt x="14625" y="4877"/>
                  </a:lnTo>
                  <a:lnTo>
                    <a:pt x="14618" y="4847"/>
                  </a:lnTo>
                  <a:lnTo>
                    <a:pt x="14610" y="4817"/>
                  </a:lnTo>
                  <a:lnTo>
                    <a:pt x="14602" y="4788"/>
                  </a:lnTo>
                  <a:lnTo>
                    <a:pt x="14592" y="4758"/>
                  </a:lnTo>
                  <a:lnTo>
                    <a:pt x="14583" y="4729"/>
                  </a:lnTo>
                  <a:lnTo>
                    <a:pt x="14572" y="4701"/>
                  </a:lnTo>
                  <a:lnTo>
                    <a:pt x="14561" y="4672"/>
                  </a:lnTo>
                  <a:lnTo>
                    <a:pt x="14549" y="4643"/>
                  </a:lnTo>
                  <a:lnTo>
                    <a:pt x="14536" y="4616"/>
                  </a:lnTo>
                  <a:lnTo>
                    <a:pt x="14523" y="4589"/>
                  </a:lnTo>
                  <a:lnTo>
                    <a:pt x="14509" y="4562"/>
                  </a:lnTo>
                  <a:lnTo>
                    <a:pt x="14494" y="4534"/>
                  </a:lnTo>
                  <a:lnTo>
                    <a:pt x="14478" y="4508"/>
                  </a:lnTo>
                  <a:lnTo>
                    <a:pt x="14462" y="4482"/>
                  </a:lnTo>
                  <a:lnTo>
                    <a:pt x="14445" y="4456"/>
                  </a:lnTo>
                  <a:lnTo>
                    <a:pt x="14428" y="4431"/>
                  </a:lnTo>
                  <a:lnTo>
                    <a:pt x="14410" y="4405"/>
                  </a:lnTo>
                  <a:lnTo>
                    <a:pt x="14391" y="4381"/>
                  </a:lnTo>
                  <a:lnTo>
                    <a:pt x="14372" y="4357"/>
                  </a:lnTo>
                  <a:lnTo>
                    <a:pt x="14352" y="4333"/>
                  </a:lnTo>
                  <a:lnTo>
                    <a:pt x="14331" y="4310"/>
                  </a:lnTo>
                  <a:lnTo>
                    <a:pt x="14309" y="4287"/>
                  </a:lnTo>
                  <a:lnTo>
                    <a:pt x="14288" y="4265"/>
                  </a:lnTo>
                  <a:lnTo>
                    <a:pt x="10402" y="3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54" name="îSlîḍê">
              <a:extLst>
                <a:ext uri="{FF2B5EF4-FFF2-40B4-BE49-F238E27FC236}">
                  <a16:creationId xmlns:a16="http://schemas.microsoft.com/office/drawing/2014/main" id="{1C323E3B-424F-4B5C-9CAB-2458B57D640E}"/>
                </a:ext>
              </a:extLst>
            </p:cNvPr>
            <p:cNvSpPr/>
            <p:nvPr/>
          </p:nvSpPr>
          <p:spPr bwMode="auto">
            <a:xfrm>
              <a:off x="8009581" y="797163"/>
              <a:ext cx="95878" cy="95878"/>
            </a:xfrm>
            <a:custGeom>
              <a:avLst/>
              <a:gdLst>
                <a:gd name="T0" fmla="*/ 1409 w 2514"/>
                <a:gd name="T1" fmla="*/ 519 h 2521"/>
                <a:gd name="T2" fmla="*/ 1584 w 2514"/>
                <a:gd name="T3" fmla="*/ 579 h 2521"/>
                <a:gd name="T4" fmla="*/ 1737 w 2514"/>
                <a:gd name="T5" fmla="*/ 677 h 2521"/>
                <a:gd name="T6" fmla="*/ 1862 w 2514"/>
                <a:gd name="T7" fmla="*/ 808 h 2521"/>
                <a:gd name="T8" fmla="*/ 1952 w 2514"/>
                <a:gd name="T9" fmla="*/ 966 h 2521"/>
                <a:gd name="T10" fmla="*/ 2002 w 2514"/>
                <a:gd name="T11" fmla="*/ 1145 h 2521"/>
                <a:gd name="T12" fmla="*/ 2007 w 2514"/>
                <a:gd name="T13" fmla="*/ 1338 h 2521"/>
                <a:gd name="T14" fmla="*/ 1966 w 2514"/>
                <a:gd name="T15" fmla="*/ 1520 h 2521"/>
                <a:gd name="T16" fmla="*/ 1883 w 2514"/>
                <a:gd name="T17" fmla="*/ 1683 h 2521"/>
                <a:gd name="T18" fmla="*/ 1765 w 2514"/>
                <a:gd name="T19" fmla="*/ 1820 h 2521"/>
                <a:gd name="T20" fmla="*/ 1617 w 2514"/>
                <a:gd name="T21" fmla="*/ 1925 h 2521"/>
                <a:gd name="T22" fmla="*/ 1446 w 2514"/>
                <a:gd name="T23" fmla="*/ 1992 h 2521"/>
                <a:gd name="T24" fmla="*/ 1257 w 2514"/>
                <a:gd name="T25" fmla="*/ 2017 h 2521"/>
                <a:gd name="T26" fmla="*/ 1069 w 2514"/>
                <a:gd name="T27" fmla="*/ 1992 h 2521"/>
                <a:gd name="T28" fmla="*/ 897 w 2514"/>
                <a:gd name="T29" fmla="*/ 1925 h 2521"/>
                <a:gd name="T30" fmla="*/ 750 w 2514"/>
                <a:gd name="T31" fmla="*/ 1820 h 2521"/>
                <a:gd name="T32" fmla="*/ 631 w 2514"/>
                <a:gd name="T33" fmla="*/ 1683 h 2521"/>
                <a:gd name="T34" fmla="*/ 549 w 2514"/>
                <a:gd name="T35" fmla="*/ 1520 h 2521"/>
                <a:gd name="T36" fmla="*/ 507 w 2514"/>
                <a:gd name="T37" fmla="*/ 1338 h 2521"/>
                <a:gd name="T38" fmla="*/ 512 w 2514"/>
                <a:gd name="T39" fmla="*/ 1145 h 2521"/>
                <a:gd name="T40" fmla="*/ 562 w 2514"/>
                <a:gd name="T41" fmla="*/ 966 h 2521"/>
                <a:gd name="T42" fmla="*/ 652 w 2514"/>
                <a:gd name="T43" fmla="*/ 808 h 2521"/>
                <a:gd name="T44" fmla="*/ 777 w 2514"/>
                <a:gd name="T45" fmla="*/ 677 h 2521"/>
                <a:gd name="T46" fmla="*/ 930 w 2514"/>
                <a:gd name="T47" fmla="*/ 579 h 2521"/>
                <a:gd name="T48" fmla="*/ 1105 w 2514"/>
                <a:gd name="T49" fmla="*/ 519 h 2521"/>
                <a:gd name="T50" fmla="*/ 1257 w 2514"/>
                <a:gd name="T51" fmla="*/ 2521 h 2521"/>
                <a:gd name="T52" fmla="*/ 1571 w 2514"/>
                <a:gd name="T53" fmla="*/ 2481 h 2521"/>
                <a:gd name="T54" fmla="*/ 1856 w 2514"/>
                <a:gd name="T55" fmla="*/ 2368 h 2521"/>
                <a:gd name="T56" fmla="*/ 2102 w 2514"/>
                <a:gd name="T57" fmla="*/ 2193 h 2521"/>
                <a:gd name="T58" fmla="*/ 2299 w 2514"/>
                <a:gd name="T59" fmla="*/ 1964 h 2521"/>
                <a:gd name="T60" fmla="*/ 2438 w 2514"/>
                <a:gd name="T61" fmla="*/ 1693 h 2521"/>
                <a:gd name="T62" fmla="*/ 2508 w 2514"/>
                <a:gd name="T63" fmla="*/ 1389 h 2521"/>
                <a:gd name="T64" fmla="*/ 2500 w 2514"/>
                <a:gd name="T65" fmla="*/ 1069 h 2521"/>
                <a:gd name="T66" fmla="*/ 2416 w 2514"/>
                <a:gd name="T67" fmla="*/ 770 h 2521"/>
                <a:gd name="T68" fmla="*/ 2264 w 2514"/>
                <a:gd name="T69" fmla="*/ 506 h 2521"/>
                <a:gd name="T70" fmla="*/ 2057 w 2514"/>
                <a:gd name="T71" fmla="*/ 288 h 2521"/>
                <a:gd name="T72" fmla="*/ 1801 w 2514"/>
                <a:gd name="T73" fmla="*/ 124 h 2521"/>
                <a:gd name="T74" fmla="*/ 1510 w 2514"/>
                <a:gd name="T75" fmla="*/ 25 h 2521"/>
                <a:gd name="T76" fmla="*/ 1193 w 2514"/>
                <a:gd name="T77" fmla="*/ 2 h 2521"/>
                <a:gd name="T78" fmla="*/ 884 w 2514"/>
                <a:gd name="T79" fmla="*/ 56 h 2521"/>
                <a:gd name="T80" fmla="*/ 606 w 2514"/>
                <a:gd name="T81" fmla="*/ 182 h 2521"/>
                <a:gd name="T82" fmla="*/ 369 w 2514"/>
                <a:gd name="T83" fmla="*/ 369 h 2521"/>
                <a:gd name="T84" fmla="*/ 182 w 2514"/>
                <a:gd name="T85" fmla="*/ 607 h 2521"/>
                <a:gd name="T86" fmla="*/ 57 w 2514"/>
                <a:gd name="T87" fmla="*/ 886 h 2521"/>
                <a:gd name="T88" fmla="*/ 2 w 2514"/>
                <a:gd name="T89" fmla="*/ 1196 h 2521"/>
                <a:gd name="T90" fmla="*/ 26 w 2514"/>
                <a:gd name="T91" fmla="*/ 1514 h 2521"/>
                <a:gd name="T92" fmla="*/ 124 w 2514"/>
                <a:gd name="T93" fmla="*/ 1806 h 2521"/>
                <a:gd name="T94" fmla="*/ 287 w 2514"/>
                <a:gd name="T95" fmla="*/ 2062 h 2521"/>
                <a:gd name="T96" fmla="*/ 506 w 2514"/>
                <a:gd name="T97" fmla="*/ 2270 h 2521"/>
                <a:gd name="T98" fmla="*/ 768 w 2514"/>
                <a:gd name="T99" fmla="*/ 2422 h 2521"/>
                <a:gd name="T100" fmla="*/ 1066 w 2514"/>
                <a:gd name="T101" fmla="*/ 2507 h 2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14" h="2521">
                  <a:moveTo>
                    <a:pt x="1257" y="504"/>
                  </a:moveTo>
                  <a:lnTo>
                    <a:pt x="1296" y="505"/>
                  </a:lnTo>
                  <a:lnTo>
                    <a:pt x="1334" y="508"/>
                  </a:lnTo>
                  <a:lnTo>
                    <a:pt x="1372" y="513"/>
                  </a:lnTo>
                  <a:lnTo>
                    <a:pt x="1409" y="519"/>
                  </a:lnTo>
                  <a:lnTo>
                    <a:pt x="1446" y="528"/>
                  </a:lnTo>
                  <a:lnTo>
                    <a:pt x="1481" y="538"/>
                  </a:lnTo>
                  <a:lnTo>
                    <a:pt x="1517" y="551"/>
                  </a:lnTo>
                  <a:lnTo>
                    <a:pt x="1551" y="564"/>
                  </a:lnTo>
                  <a:lnTo>
                    <a:pt x="1584" y="579"/>
                  </a:lnTo>
                  <a:lnTo>
                    <a:pt x="1617" y="596"/>
                  </a:lnTo>
                  <a:lnTo>
                    <a:pt x="1648" y="614"/>
                  </a:lnTo>
                  <a:lnTo>
                    <a:pt x="1679" y="633"/>
                  </a:lnTo>
                  <a:lnTo>
                    <a:pt x="1709" y="654"/>
                  </a:lnTo>
                  <a:lnTo>
                    <a:pt x="1737" y="677"/>
                  </a:lnTo>
                  <a:lnTo>
                    <a:pt x="1765" y="701"/>
                  </a:lnTo>
                  <a:lnTo>
                    <a:pt x="1791" y="726"/>
                  </a:lnTo>
                  <a:lnTo>
                    <a:pt x="1815" y="752"/>
                  </a:lnTo>
                  <a:lnTo>
                    <a:pt x="1839" y="779"/>
                  </a:lnTo>
                  <a:lnTo>
                    <a:pt x="1862" y="808"/>
                  </a:lnTo>
                  <a:lnTo>
                    <a:pt x="1883" y="838"/>
                  </a:lnTo>
                  <a:lnTo>
                    <a:pt x="1903" y="868"/>
                  </a:lnTo>
                  <a:lnTo>
                    <a:pt x="1921" y="900"/>
                  </a:lnTo>
                  <a:lnTo>
                    <a:pt x="1937" y="933"/>
                  </a:lnTo>
                  <a:lnTo>
                    <a:pt x="1952" y="966"/>
                  </a:lnTo>
                  <a:lnTo>
                    <a:pt x="1966" y="1000"/>
                  </a:lnTo>
                  <a:lnTo>
                    <a:pt x="1977" y="1035"/>
                  </a:lnTo>
                  <a:lnTo>
                    <a:pt x="1988" y="1072"/>
                  </a:lnTo>
                  <a:lnTo>
                    <a:pt x="1996" y="1108"/>
                  </a:lnTo>
                  <a:lnTo>
                    <a:pt x="2002" y="1145"/>
                  </a:lnTo>
                  <a:lnTo>
                    <a:pt x="2007" y="1183"/>
                  </a:lnTo>
                  <a:lnTo>
                    <a:pt x="2010" y="1221"/>
                  </a:lnTo>
                  <a:lnTo>
                    <a:pt x="2011" y="1260"/>
                  </a:lnTo>
                  <a:lnTo>
                    <a:pt x="2010" y="1300"/>
                  </a:lnTo>
                  <a:lnTo>
                    <a:pt x="2007" y="1338"/>
                  </a:lnTo>
                  <a:lnTo>
                    <a:pt x="2002" y="1375"/>
                  </a:lnTo>
                  <a:lnTo>
                    <a:pt x="1996" y="1413"/>
                  </a:lnTo>
                  <a:lnTo>
                    <a:pt x="1988" y="1449"/>
                  </a:lnTo>
                  <a:lnTo>
                    <a:pt x="1977" y="1485"/>
                  </a:lnTo>
                  <a:lnTo>
                    <a:pt x="1966" y="1520"/>
                  </a:lnTo>
                  <a:lnTo>
                    <a:pt x="1952" y="1555"/>
                  </a:lnTo>
                  <a:lnTo>
                    <a:pt x="1937" y="1588"/>
                  </a:lnTo>
                  <a:lnTo>
                    <a:pt x="1921" y="1620"/>
                  </a:lnTo>
                  <a:lnTo>
                    <a:pt x="1903" y="1653"/>
                  </a:lnTo>
                  <a:lnTo>
                    <a:pt x="1883" y="1683"/>
                  </a:lnTo>
                  <a:lnTo>
                    <a:pt x="1862" y="1713"/>
                  </a:lnTo>
                  <a:lnTo>
                    <a:pt x="1839" y="1741"/>
                  </a:lnTo>
                  <a:lnTo>
                    <a:pt x="1815" y="1768"/>
                  </a:lnTo>
                  <a:lnTo>
                    <a:pt x="1791" y="1795"/>
                  </a:lnTo>
                  <a:lnTo>
                    <a:pt x="1765" y="1820"/>
                  </a:lnTo>
                  <a:lnTo>
                    <a:pt x="1737" y="1844"/>
                  </a:lnTo>
                  <a:lnTo>
                    <a:pt x="1709" y="1866"/>
                  </a:lnTo>
                  <a:lnTo>
                    <a:pt x="1679" y="1887"/>
                  </a:lnTo>
                  <a:lnTo>
                    <a:pt x="1648" y="1907"/>
                  </a:lnTo>
                  <a:lnTo>
                    <a:pt x="1617" y="1925"/>
                  </a:lnTo>
                  <a:lnTo>
                    <a:pt x="1584" y="1942"/>
                  </a:lnTo>
                  <a:lnTo>
                    <a:pt x="1551" y="1957"/>
                  </a:lnTo>
                  <a:lnTo>
                    <a:pt x="1517" y="1970"/>
                  </a:lnTo>
                  <a:lnTo>
                    <a:pt x="1481" y="1982"/>
                  </a:lnTo>
                  <a:lnTo>
                    <a:pt x="1446" y="1992"/>
                  </a:lnTo>
                  <a:lnTo>
                    <a:pt x="1409" y="2001"/>
                  </a:lnTo>
                  <a:lnTo>
                    <a:pt x="1372" y="2007"/>
                  </a:lnTo>
                  <a:lnTo>
                    <a:pt x="1334" y="2012"/>
                  </a:lnTo>
                  <a:lnTo>
                    <a:pt x="1296" y="2015"/>
                  </a:lnTo>
                  <a:lnTo>
                    <a:pt x="1257" y="2017"/>
                  </a:lnTo>
                  <a:lnTo>
                    <a:pt x="1219" y="2015"/>
                  </a:lnTo>
                  <a:lnTo>
                    <a:pt x="1180" y="2012"/>
                  </a:lnTo>
                  <a:lnTo>
                    <a:pt x="1142" y="2007"/>
                  </a:lnTo>
                  <a:lnTo>
                    <a:pt x="1105" y="2001"/>
                  </a:lnTo>
                  <a:lnTo>
                    <a:pt x="1069" y="1992"/>
                  </a:lnTo>
                  <a:lnTo>
                    <a:pt x="1033" y="1982"/>
                  </a:lnTo>
                  <a:lnTo>
                    <a:pt x="997" y="1970"/>
                  </a:lnTo>
                  <a:lnTo>
                    <a:pt x="963" y="1957"/>
                  </a:lnTo>
                  <a:lnTo>
                    <a:pt x="930" y="1942"/>
                  </a:lnTo>
                  <a:lnTo>
                    <a:pt x="897" y="1925"/>
                  </a:lnTo>
                  <a:lnTo>
                    <a:pt x="866" y="1907"/>
                  </a:lnTo>
                  <a:lnTo>
                    <a:pt x="835" y="1887"/>
                  </a:lnTo>
                  <a:lnTo>
                    <a:pt x="805" y="1866"/>
                  </a:lnTo>
                  <a:lnTo>
                    <a:pt x="777" y="1844"/>
                  </a:lnTo>
                  <a:lnTo>
                    <a:pt x="750" y="1820"/>
                  </a:lnTo>
                  <a:lnTo>
                    <a:pt x="724" y="1795"/>
                  </a:lnTo>
                  <a:lnTo>
                    <a:pt x="699" y="1768"/>
                  </a:lnTo>
                  <a:lnTo>
                    <a:pt x="675" y="1741"/>
                  </a:lnTo>
                  <a:lnTo>
                    <a:pt x="652" y="1713"/>
                  </a:lnTo>
                  <a:lnTo>
                    <a:pt x="631" y="1683"/>
                  </a:lnTo>
                  <a:lnTo>
                    <a:pt x="612" y="1653"/>
                  </a:lnTo>
                  <a:lnTo>
                    <a:pt x="594" y="1620"/>
                  </a:lnTo>
                  <a:lnTo>
                    <a:pt x="577" y="1588"/>
                  </a:lnTo>
                  <a:lnTo>
                    <a:pt x="562" y="1555"/>
                  </a:lnTo>
                  <a:lnTo>
                    <a:pt x="549" y="1520"/>
                  </a:lnTo>
                  <a:lnTo>
                    <a:pt x="537" y="1485"/>
                  </a:lnTo>
                  <a:lnTo>
                    <a:pt x="527" y="1449"/>
                  </a:lnTo>
                  <a:lnTo>
                    <a:pt x="518" y="1413"/>
                  </a:lnTo>
                  <a:lnTo>
                    <a:pt x="512" y="1375"/>
                  </a:lnTo>
                  <a:lnTo>
                    <a:pt x="507" y="1338"/>
                  </a:lnTo>
                  <a:lnTo>
                    <a:pt x="504" y="1300"/>
                  </a:lnTo>
                  <a:lnTo>
                    <a:pt x="503" y="1260"/>
                  </a:lnTo>
                  <a:lnTo>
                    <a:pt x="504" y="1221"/>
                  </a:lnTo>
                  <a:lnTo>
                    <a:pt x="507" y="1183"/>
                  </a:lnTo>
                  <a:lnTo>
                    <a:pt x="512" y="1145"/>
                  </a:lnTo>
                  <a:lnTo>
                    <a:pt x="518" y="1108"/>
                  </a:lnTo>
                  <a:lnTo>
                    <a:pt x="527" y="1072"/>
                  </a:lnTo>
                  <a:lnTo>
                    <a:pt x="537" y="1035"/>
                  </a:lnTo>
                  <a:lnTo>
                    <a:pt x="549" y="1000"/>
                  </a:lnTo>
                  <a:lnTo>
                    <a:pt x="562" y="966"/>
                  </a:lnTo>
                  <a:lnTo>
                    <a:pt x="577" y="933"/>
                  </a:lnTo>
                  <a:lnTo>
                    <a:pt x="594" y="900"/>
                  </a:lnTo>
                  <a:lnTo>
                    <a:pt x="612" y="868"/>
                  </a:lnTo>
                  <a:lnTo>
                    <a:pt x="631" y="838"/>
                  </a:lnTo>
                  <a:lnTo>
                    <a:pt x="652" y="808"/>
                  </a:lnTo>
                  <a:lnTo>
                    <a:pt x="675" y="779"/>
                  </a:lnTo>
                  <a:lnTo>
                    <a:pt x="699" y="752"/>
                  </a:lnTo>
                  <a:lnTo>
                    <a:pt x="724" y="726"/>
                  </a:lnTo>
                  <a:lnTo>
                    <a:pt x="750" y="701"/>
                  </a:lnTo>
                  <a:lnTo>
                    <a:pt x="777" y="677"/>
                  </a:lnTo>
                  <a:lnTo>
                    <a:pt x="805" y="654"/>
                  </a:lnTo>
                  <a:lnTo>
                    <a:pt x="835" y="633"/>
                  </a:lnTo>
                  <a:lnTo>
                    <a:pt x="866" y="614"/>
                  </a:lnTo>
                  <a:lnTo>
                    <a:pt x="897" y="596"/>
                  </a:lnTo>
                  <a:lnTo>
                    <a:pt x="930" y="579"/>
                  </a:lnTo>
                  <a:lnTo>
                    <a:pt x="963" y="564"/>
                  </a:lnTo>
                  <a:lnTo>
                    <a:pt x="997" y="551"/>
                  </a:lnTo>
                  <a:lnTo>
                    <a:pt x="1033" y="538"/>
                  </a:lnTo>
                  <a:lnTo>
                    <a:pt x="1069" y="528"/>
                  </a:lnTo>
                  <a:lnTo>
                    <a:pt x="1105" y="519"/>
                  </a:lnTo>
                  <a:lnTo>
                    <a:pt x="1142" y="513"/>
                  </a:lnTo>
                  <a:lnTo>
                    <a:pt x="1180" y="508"/>
                  </a:lnTo>
                  <a:lnTo>
                    <a:pt x="1219" y="505"/>
                  </a:lnTo>
                  <a:lnTo>
                    <a:pt x="1257" y="504"/>
                  </a:lnTo>
                  <a:close/>
                  <a:moveTo>
                    <a:pt x="1257" y="2521"/>
                  </a:moveTo>
                  <a:lnTo>
                    <a:pt x="1321" y="2519"/>
                  </a:lnTo>
                  <a:lnTo>
                    <a:pt x="1386" y="2515"/>
                  </a:lnTo>
                  <a:lnTo>
                    <a:pt x="1448" y="2507"/>
                  </a:lnTo>
                  <a:lnTo>
                    <a:pt x="1510" y="2495"/>
                  </a:lnTo>
                  <a:lnTo>
                    <a:pt x="1571" y="2481"/>
                  </a:lnTo>
                  <a:lnTo>
                    <a:pt x="1630" y="2464"/>
                  </a:lnTo>
                  <a:lnTo>
                    <a:pt x="1689" y="2444"/>
                  </a:lnTo>
                  <a:lnTo>
                    <a:pt x="1746" y="2422"/>
                  </a:lnTo>
                  <a:lnTo>
                    <a:pt x="1801" y="2396"/>
                  </a:lnTo>
                  <a:lnTo>
                    <a:pt x="1856" y="2368"/>
                  </a:lnTo>
                  <a:lnTo>
                    <a:pt x="1909" y="2338"/>
                  </a:lnTo>
                  <a:lnTo>
                    <a:pt x="1959" y="2305"/>
                  </a:lnTo>
                  <a:lnTo>
                    <a:pt x="2008" y="2270"/>
                  </a:lnTo>
                  <a:lnTo>
                    <a:pt x="2057" y="2232"/>
                  </a:lnTo>
                  <a:lnTo>
                    <a:pt x="2102" y="2193"/>
                  </a:lnTo>
                  <a:lnTo>
                    <a:pt x="2145" y="2151"/>
                  </a:lnTo>
                  <a:lnTo>
                    <a:pt x="2187" y="2107"/>
                  </a:lnTo>
                  <a:lnTo>
                    <a:pt x="2227" y="2062"/>
                  </a:lnTo>
                  <a:lnTo>
                    <a:pt x="2264" y="2013"/>
                  </a:lnTo>
                  <a:lnTo>
                    <a:pt x="2299" y="1964"/>
                  </a:lnTo>
                  <a:lnTo>
                    <a:pt x="2332" y="1914"/>
                  </a:lnTo>
                  <a:lnTo>
                    <a:pt x="2363" y="1860"/>
                  </a:lnTo>
                  <a:lnTo>
                    <a:pt x="2391" y="1806"/>
                  </a:lnTo>
                  <a:lnTo>
                    <a:pt x="2416" y="1750"/>
                  </a:lnTo>
                  <a:lnTo>
                    <a:pt x="2438" y="1693"/>
                  </a:lnTo>
                  <a:lnTo>
                    <a:pt x="2458" y="1634"/>
                  </a:lnTo>
                  <a:lnTo>
                    <a:pt x="2475" y="1575"/>
                  </a:lnTo>
                  <a:lnTo>
                    <a:pt x="2489" y="1514"/>
                  </a:lnTo>
                  <a:lnTo>
                    <a:pt x="2500" y="1452"/>
                  </a:lnTo>
                  <a:lnTo>
                    <a:pt x="2508" y="1389"/>
                  </a:lnTo>
                  <a:lnTo>
                    <a:pt x="2512" y="1325"/>
                  </a:lnTo>
                  <a:lnTo>
                    <a:pt x="2514" y="1260"/>
                  </a:lnTo>
                  <a:lnTo>
                    <a:pt x="2512" y="1196"/>
                  </a:lnTo>
                  <a:lnTo>
                    <a:pt x="2508" y="1131"/>
                  </a:lnTo>
                  <a:lnTo>
                    <a:pt x="2500" y="1069"/>
                  </a:lnTo>
                  <a:lnTo>
                    <a:pt x="2489" y="1006"/>
                  </a:lnTo>
                  <a:lnTo>
                    <a:pt x="2475" y="946"/>
                  </a:lnTo>
                  <a:lnTo>
                    <a:pt x="2458" y="886"/>
                  </a:lnTo>
                  <a:lnTo>
                    <a:pt x="2438" y="828"/>
                  </a:lnTo>
                  <a:lnTo>
                    <a:pt x="2416" y="770"/>
                  </a:lnTo>
                  <a:lnTo>
                    <a:pt x="2391" y="714"/>
                  </a:lnTo>
                  <a:lnTo>
                    <a:pt x="2363" y="659"/>
                  </a:lnTo>
                  <a:lnTo>
                    <a:pt x="2332" y="607"/>
                  </a:lnTo>
                  <a:lnTo>
                    <a:pt x="2299" y="556"/>
                  </a:lnTo>
                  <a:lnTo>
                    <a:pt x="2264" y="506"/>
                  </a:lnTo>
                  <a:lnTo>
                    <a:pt x="2227" y="459"/>
                  </a:lnTo>
                  <a:lnTo>
                    <a:pt x="2187" y="413"/>
                  </a:lnTo>
                  <a:lnTo>
                    <a:pt x="2145" y="369"/>
                  </a:lnTo>
                  <a:lnTo>
                    <a:pt x="2102" y="328"/>
                  </a:lnTo>
                  <a:lnTo>
                    <a:pt x="2057" y="288"/>
                  </a:lnTo>
                  <a:lnTo>
                    <a:pt x="2008" y="251"/>
                  </a:lnTo>
                  <a:lnTo>
                    <a:pt x="1959" y="216"/>
                  </a:lnTo>
                  <a:lnTo>
                    <a:pt x="1909" y="182"/>
                  </a:lnTo>
                  <a:lnTo>
                    <a:pt x="1856" y="152"/>
                  </a:lnTo>
                  <a:lnTo>
                    <a:pt x="1801" y="124"/>
                  </a:lnTo>
                  <a:lnTo>
                    <a:pt x="1746" y="99"/>
                  </a:lnTo>
                  <a:lnTo>
                    <a:pt x="1689" y="77"/>
                  </a:lnTo>
                  <a:lnTo>
                    <a:pt x="1630" y="56"/>
                  </a:lnTo>
                  <a:lnTo>
                    <a:pt x="1571" y="39"/>
                  </a:lnTo>
                  <a:lnTo>
                    <a:pt x="1510" y="25"/>
                  </a:lnTo>
                  <a:lnTo>
                    <a:pt x="1448" y="14"/>
                  </a:lnTo>
                  <a:lnTo>
                    <a:pt x="1386" y="6"/>
                  </a:lnTo>
                  <a:lnTo>
                    <a:pt x="1321" y="2"/>
                  </a:lnTo>
                  <a:lnTo>
                    <a:pt x="1257" y="0"/>
                  </a:lnTo>
                  <a:lnTo>
                    <a:pt x="1193" y="2"/>
                  </a:lnTo>
                  <a:lnTo>
                    <a:pt x="1129" y="6"/>
                  </a:lnTo>
                  <a:lnTo>
                    <a:pt x="1066" y="14"/>
                  </a:lnTo>
                  <a:lnTo>
                    <a:pt x="1004" y="25"/>
                  </a:lnTo>
                  <a:lnTo>
                    <a:pt x="943" y="39"/>
                  </a:lnTo>
                  <a:lnTo>
                    <a:pt x="884" y="56"/>
                  </a:lnTo>
                  <a:lnTo>
                    <a:pt x="825" y="77"/>
                  </a:lnTo>
                  <a:lnTo>
                    <a:pt x="768" y="99"/>
                  </a:lnTo>
                  <a:lnTo>
                    <a:pt x="713" y="124"/>
                  </a:lnTo>
                  <a:lnTo>
                    <a:pt x="658" y="152"/>
                  </a:lnTo>
                  <a:lnTo>
                    <a:pt x="606" y="182"/>
                  </a:lnTo>
                  <a:lnTo>
                    <a:pt x="555" y="216"/>
                  </a:lnTo>
                  <a:lnTo>
                    <a:pt x="506" y="251"/>
                  </a:lnTo>
                  <a:lnTo>
                    <a:pt x="458" y="288"/>
                  </a:lnTo>
                  <a:lnTo>
                    <a:pt x="412" y="328"/>
                  </a:lnTo>
                  <a:lnTo>
                    <a:pt x="369" y="369"/>
                  </a:lnTo>
                  <a:lnTo>
                    <a:pt x="326" y="413"/>
                  </a:lnTo>
                  <a:lnTo>
                    <a:pt x="287" y="459"/>
                  </a:lnTo>
                  <a:lnTo>
                    <a:pt x="250" y="506"/>
                  </a:lnTo>
                  <a:lnTo>
                    <a:pt x="215" y="556"/>
                  </a:lnTo>
                  <a:lnTo>
                    <a:pt x="182" y="607"/>
                  </a:lnTo>
                  <a:lnTo>
                    <a:pt x="151" y="659"/>
                  </a:lnTo>
                  <a:lnTo>
                    <a:pt x="124" y="714"/>
                  </a:lnTo>
                  <a:lnTo>
                    <a:pt x="99" y="770"/>
                  </a:lnTo>
                  <a:lnTo>
                    <a:pt x="76" y="828"/>
                  </a:lnTo>
                  <a:lnTo>
                    <a:pt x="57" y="886"/>
                  </a:lnTo>
                  <a:lnTo>
                    <a:pt x="40" y="946"/>
                  </a:lnTo>
                  <a:lnTo>
                    <a:pt x="26" y="1006"/>
                  </a:lnTo>
                  <a:lnTo>
                    <a:pt x="15" y="1069"/>
                  </a:lnTo>
                  <a:lnTo>
                    <a:pt x="7" y="1131"/>
                  </a:lnTo>
                  <a:lnTo>
                    <a:pt x="2" y="1196"/>
                  </a:lnTo>
                  <a:lnTo>
                    <a:pt x="0" y="1260"/>
                  </a:lnTo>
                  <a:lnTo>
                    <a:pt x="2" y="1325"/>
                  </a:lnTo>
                  <a:lnTo>
                    <a:pt x="7" y="1389"/>
                  </a:lnTo>
                  <a:lnTo>
                    <a:pt x="15" y="1452"/>
                  </a:lnTo>
                  <a:lnTo>
                    <a:pt x="26" y="1514"/>
                  </a:lnTo>
                  <a:lnTo>
                    <a:pt x="40" y="1575"/>
                  </a:lnTo>
                  <a:lnTo>
                    <a:pt x="57" y="1634"/>
                  </a:lnTo>
                  <a:lnTo>
                    <a:pt x="76" y="1693"/>
                  </a:lnTo>
                  <a:lnTo>
                    <a:pt x="99" y="1750"/>
                  </a:lnTo>
                  <a:lnTo>
                    <a:pt x="124" y="1806"/>
                  </a:lnTo>
                  <a:lnTo>
                    <a:pt x="151" y="1860"/>
                  </a:lnTo>
                  <a:lnTo>
                    <a:pt x="182" y="1914"/>
                  </a:lnTo>
                  <a:lnTo>
                    <a:pt x="215" y="1964"/>
                  </a:lnTo>
                  <a:lnTo>
                    <a:pt x="250" y="2013"/>
                  </a:lnTo>
                  <a:lnTo>
                    <a:pt x="287" y="2062"/>
                  </a:lnTo>
                  <a:lnTo>
                    <a:pt x="326" y="2107"/>
                  </a:lnTo>
                  <a:lnTo>
                    <a:pt x="369" y="2151"/>
                  </a:lnTo>
                  <a:lnTo>
                    <a:pt x="412" y="2193"/>
                  </a:lnTo>
                  <a:lnTo>
                    <a:pt x="458" y="2232"/>
                  </a:lnTo>
                  <a:lnTo>
                    <a:pt x="506" y="2270"/>
                  </a:lnTo>
                  <a:lnTo>
                    <a:pt x="555" y="2305"/>
                  </a:lnTo>
                  <a:lnTo>
                    <a:pt x="606" y="2338"/>
                  </a:lnTo>
                  <a:lnTo>
                    <a:pt x="658" y="2368"/>
                  </a:lnTo>
                  <a:lnTo>
                    <a:pt x="713" y="2396"/>
                  </a:lnTo>
                  <a:lnTo>
                    <a:pt x="768" y="2422"/>
                  </a:lnTo>
                  <a:lnTo>
                    <a:pt x="825" y="2444"/>
                  </a:lnTo>
                  <a:lnTo>
                    <a:pt x="884" y="2464"/>
                  </a:lnTo>
                  <a:lnTo>
                    <a:pt x="943" y="2481"/>
                  </a:lnTo>
                  <a:lnTo>
                    <a:pt x="1004" y="2495"/>
                  </a:lnTo>
                  <a:lnTo>
                    <a:pt x="1066" y="2507"/>
                  </a:lnTo>
                  <a:lnTo>
                    <a:pt x="1129" y="2515"/>
                  </a:lnTo>
                  <a:lnTo>
                    <a:pt x="1193" y="2519"/>
                  </a:lnTo>
                  <a:lnTo>
                    <a:pt x="1257" y="25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55" name="íŝḻiḓè">
              <a:extLst>
                <a:ext uri="{FF2B5EF4-FFF2-40B4-BE49-F238E27FC236}">
                  <a16:creationId xmlns:a16="http://schemas.microsoft.com/office/drawing/2014/main" id="{058A492F-7097-45F9-98C7-8A6FAB389A0D}"/>
                </a:ext>
              </a:extLst>
            </p:cNvPr>
            <p:cNvSpPr/>
            <p:nvPr/>
          </p:nvSpPr>
          <p:spPr bwMode="auto">
            <a:xfrm>
              <a:off x="8259147" y="489789"/>
              <a:ext cx="95878" cy="95878"/>
            </a:xfrm>
            <a:custGeom>
              <a:avLst/>
              <a:gdLst>
                <a:gd name="T0" fmla="*/ 1106 w 2515"/>
                <a:gd name="T1" fmla="*/ 2001 h 2521"/>
                <a:gd name="T2" fmla="*/ 931 w 2515"/>
                <a:gd name="T3" fmla="*/ 1942 h 2521"/>
                <a:gd name="T4" fmla="*/ 778 w 2515"/>
                <a:gd name="T5" fmla="*/ 1844 h 2521"/>
                <a:gd name="T6" fmla="*/ 653 w 2515"/>
                <a:gd name="T7" fmla="*/ 1713 h 2521"/>
                <a:gd name="T8" fmla="*/ 562 w 2515"/>
                <a:gd name="T9" fmla="*/ 1555 h 2521"/>
                <a:gd name="T10" fmla="*/ 512 w 2515"/>
                <a:gd name="T11" fmla="*/ 1375 h 2521"/>
                <a:gd name="T12" fmla="*/ 507 w 2515"/>
                <a:gd name="T13" fmla="*/ 1183 h 2521"/>
                <a:gd name="T14" fmla="*/ 548 w 2515"/>
                <a:gd name="T15" fmla="*/ 1000 h 2521"/>
                <a:gd name="T16" fmla="*/ 632 w 2515"/>
                <a:gd name="T17" fmla="*/ 838 h 2521"/>
                <a:gd name="T18" fmla="*/ 751 w 2515"/>
                <a:gd name="T19" fmla="*/ 701 h 2521"/>
                <a:gd name="T20" fmla="*/ 897 w 2515"/>
                <a:gd name="T21" fmla="*/ 596 h 2521"/>
                <a:gd name="T22" fmla="*/ 1068 w 2515"/>
                <a:gd name="T23" fmla="*/ 528 h 2521"/>
                <a:gd name="T24" fmla="*/ 1258 w 2515"/>
                <a:gd name="T25" fmla="*/ 504 h 2521"/>
                <a:gd name="T26" fmla="*/ 1447 w 2515"/>
                <a:gd name="T27" fmla="*/ 528 h 2521"/>
                <a:gd name="T28" fmla="*/ 1618 w 2515"/>
                <a:gd name="T29" fmla="*/ 596 h 2521"/>
                <a:gd name="T30" fmla="*/ 1765 w 2515"/>
                <a:gd name="T31" fmla="*/ 701 h 2521"/>
                <a:gd name="T32" fmla="*/ 1883 w 2515"/>
                <a:gd name="T33" fmla="*/ 838 h 2521"/>
                <a:gd name="T34" fmla="*/ 1967 w 2515"/>
                <a:gd name="T35" fmla="*/ 1000 h 2521"/>
                <a:gd name="T36" fmla="*/ 2008 w 2515"/>
                <a:gd name="T37" fmla="*/ 1183 h 2521"/>
                <a:gd name="T38" fmla="*/ 2003 w 2515"/>
                <a:gd name="T39" fmla="*/ 1375 h 2521"/>
                <a:gd name="T40" fmla="*/ 1953 w 2515"/>
                <a:gd name="T41" fmla="*/ 1555 h 2521"/>
                <a:gd name="T42" fmla="*/ 1862 w 2515"/>
                <a:gd name="T43" fmla="*/ 1713 h 2521"/>
                <a:gd name="T44" fmla="*/ 1737 w 2515"/>
                <a:gd name="T45" fmla="*/ 1844 h 2521"/>
                <a:gd name="T46" fmla="*/ 1585 w 2515"/>
                <a:gd name="T47" fmla="*/ 1942 h 2521"/>
                <a:gd name="T48" fmla="*/ 1409 w 2515"/>
                <a:gd name="T49" fmla="*/ 2001 h 2521"/>
                <a:gd name="T50" fmla="*/ 1258 w 2515"/>
                <a:gd name="T51" fmla="*/ 0 h 2521"/>
                <a:gd name="T52" fmla="*/ 944 w 2515"/>
                <a:gd name="T53" fmla="*/ 39 h 2521"/>
                <a:gd name="T54" fmla="*/ 659 w 2515"/>
                <a:gd name="T55" fmla="*/ 152 h 2521"/>
                <a:gd name="T56" fmla="*/ 413 w 2515"/>
                <a:gd name="T57" fmla="*/ 328 h 2521"/>
                <a:gd name="T58" fmla="*/ 215 w 2515"/>
                <a:gd name="T59" fmla="*/ 556 h 2521"/>
                <a:gd name="T60" fmla="*/ 77 w 2515"/>
                <a:gd name="T61" fmla="*/ 827 h 2521"/>
                <a:gd name="T62" fmla="*/ 7 w 2515"/>
                <a:gd name="T63" fmla="*/ 1131 h 2521"/>
                <a:gd name="T64" fmla="*/ 14 w 2515"/>
                <a:gd name="T65" fmla="*/ 1452 h 2521"/>
                <a:gd name="T66" fmla="*/ 99 w 2515"/>
                <a:gd name="T67" fmla="*/ 1750 h 2521"/>
                <a:gd name="T68" fmla="*/ 251 w 2515"/>
                <a:gd name="T69" fmla="*/ 2014 h 2521"/>
                <a:gd name="T70" fmla="*/ 458 w 2515"/>
                <a:gd name="T71" fmla="*/ 2232 h 2521"/>
                <a:gd name="T72" fmla="*/ 713 w 2515"/>
                <a:gd name="T73" fmla="*/ 2397 h 2521"/>
                <a:gd name="T74" fmla="*/ 1004 w 2515"/>
                <a:gd name="T75" fmla="*/ 2495 h 2521"/>
                <a:gd name="T76" fmla="*/ 1322 w 2515"/>
                <a:gd name="T77" fmla="*/ 2519 h 2521"/>
                <a:gd name="T78" fmla="*/ 1631 w 2515"/>
                <a:gd name="T79" fmla="*/ 2464 h 2521"/>
                <a:gd name="T80" fmla="*/ 1908 w 2515"/>
                <a:gd name="T81" fmla="*/ 2338 h 2521"/>
                <a:gd name="T82" fmla="*/ 2146 w 2515"/>
                <a:gd name="T83" fmla="*/ 2152 h 2521"/>
                <a:gd name="T84" fmla="*/ 2333 w 2515"/>
                <a:gd name="T85" fmla="*/ 1914 h 2521"/>
                <a:gd name="T86" fmla="*/ 2459 w 2515"/>
                <a:gd name="T87" fmla="*/ 1634 h 2521"/>
                <a:gd name="T88" fmla="*/ 2513 w 2515"/>
                <a:gd name="T89" fmla="*/ 1325 h 2521"/>
                <a:gd name="T90" fmla="*/ 2490 w 2515"/>
                <a:gd name="T91" fmla="*/ 1006 h 2521"/>
                <a:gd name="T92" fmla="*/ 2390 w 2515"/>
                <a:gd name="T93" fmla="*/ 714 h 2521"/>
                <a:gd name="T94" fmla="*/ 2227 w 2515"/>
                <a:gd name="T95" fmla="*/ 459 h 2521"/>
                <a:gd name="T96" fmla="*/ 2009 w 2515"/>
                <a:gd name="T97" fmla="*/ 251 h 2521"/>
                <a:gd name="T98" fmla="*/ 1746 w 2515"/>
                <a:gd name="T99" fmla="*/ 99 h 2521"/>
                <a:gd name="T100" fmla="*/ 1449 w 2515"/>
                <a:gd name="T101" fmla="*/ 14 h 2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15" h="2521">
                  <a:moveTo>
                    <a:pt x="1258" y="2017"/>
                  </a:moveTo>
                  <a:lnTo>
                    <a:pt x="1218" y="2015"/>
                  </a:lnTo>
                  <a:lnTo>
                    <a:pt x="1180" y="2012"/>
                  </a:lnTo>
                  <a:lnTo>
                    <a:pt x="1143" y="2007"/>
                  </a:lnTo>
                  <a:lnTo>
                    <a:pt x="1106" y="2001"/>
                  </a:lnTo>
                  <a:lnTo>
                    <a:pt x="1068" y="1992"/>
                  </a:lnTo>
                  <a:lnTo>
                    <a:pt x="1033" y="1982"/>
                  </a:lnTo>
                  <a:lnTo>
                    <a:pt x="998" y="1970"/>
                  </a:lnTo>
                  <a:lnTo>
                    <a:pt x="964" y="1957"/>
                  </a:lnTo>
                  <a:lnTo>
                    <a:pt x="931" y="1942"/>
                  </a:lnTo>
                  <a:lnTo>
                    <a:pt x="897" y="1925"/>
                  </a:lnTo>
                  <a:lnTo>
                    <a:pt x="866" y="1907"/>
                  </a:lnTo>
                  <a:lnTo>
                    <a:pt x="836" y="1887"/>
                  </a:lnTo>
                  <a:lnTo>
                    <a:pt x="806" y="1866"/>
                  </a:lnTo>
                  <a:lnTo>
                    <a:pt x="778" y="1844"/>
                  </a:lnTo>
                  <a:lnTo>
                    <a:pt x="751" y="1820"/>
                  </a:lnTo>
                  <a:lnTo>
                    <a:pt x="723" y="1795"/>
                  </a:lnTo>
                  <a:lnTo>
                    <a:pt x="699" y="1768"/>
                  </a:lnTo>
                  <a:lnTo>
                    <a:pt x="675" y="1741"/>
                  </a:lnTo>
                  <a:lnTo>
                    <a:pt x="653" y="1713"/>
                  </a:lnTo>
                  <a:lnTo>
                    <a:pt x="632" y="1683"/>
                  </a:lnTo>
                  <a:lnTo>
                    <a:pt x="612" y="1653"/>
                  </a:lnTo>
                  <a:lnTo>
                    <a:pt x="594" y="1620"/>
                  </a:lnTo>
                  <a:lnTo>
                    <a:pt x="578" y="1588"/>
                  </a:lnTo>
                  <a:lnTo>
                    <a:pt x="562" y="1555"/>
                  </a:lnTo>
                  <a:lnTo>
                    <a:pt x="548" y="1520"/>
                  </a:lnTo>
                  <a:lnTo>
                    <a:pt x="537" y="1485"/>
                  </a:lnTo>
                  <a:lnTo>
                    <a:pt x="527" y="1449"/>
                  </a:lnTo>
                  <a:lnTo>
                    <a:pt x="518" y="1413"/>
                  </a:lnTo>
                  <a:lnTo>
                    <a:pt x="512" y="1375"/>
                  </a:lnTo>
                  <a:lnTo>
                    <a:pt x="507" y="1338"/>
                  </a:lnTo>
                  <a:lnTo>
                    <a:pt x="504" y="1299"/>
                  </a:lnTo>
                  <a:lnTo>
                    <a:pt x="503" y="1260"/>
                  </a:lnTo>
                  <a:lnTo>
                    <a:pt x="504" y="1221"/>
                  </a:lnTo>
                  <a:lnTo>
                    <a:pt x="507" y="1183"/>
                  </a:lnTo>
                  <a:lnTo>
                    <a:pt x="512" y="1145"/>
                  </a:lnTo>
                  <a:lnTo>
                    <a:pt x="518" y="1108"/>
                  </a:lnTo>
                  <a:lnTo>
                    <a:pt x="527" y="1072"/>
                  </a:lnTo>
                  <a:lnTo>
                    <a:pt x="537" y="1035"/>
                  </a:lnTo>
                  <a:lnTo>
                    <a:pt x="548" y="1000"/>
                  </a:lnTo>
                  <a:lnTo>
                    <a:pt x="562" y="966"/>
                  </a:lnTo>
                  <a:lnTo>
                    <a:pt x="578" y="933"/>
                  </a:lnTo>
                  <a:lnTo>
                    <a:pt x="594" y="900"/>
                  </a:lnTo>
                  <a:lnTo>
                    <a:pt x="612" y="868"/>
                  </a:lnTo>
                  <a:lnTo>
                    <a:pt x="632" y="838"/>
                  </a:lnTo>
                  <a:lnTo>
                    <a:pt x="653" y="808"/>
                  </a:lnTo>
                  <a:lnTo>
                    <a:pt x="675" y="779"/>
                  </a:lnTo>
                  <a:lnTo>
                    <a:pt x="699" y="752"/>
                  </a:lnTo>
                  <a:lnTo>
                    <a:pt x="723" y="726"/>
                  </a:lnTo>
                  <a:lnTo>
                    <a:pt x="751" y="701"/>
                  </a:lnTo>
                  <a:lnTo>
                    <a:pt x="778" y="677"/>
                  </a:lnTo>
                  <a:lnTo>
                    <a:pt x="806" y="654"/>
                  </a:lnTo>
                  <a:lnTo>
                    <a:pt x="836" y="633"/>
                  </a:lnTo>
                  <a:lnTo>
                    <a:pt x="866" y="614"/>
                  </a:lnTo>
                  <a:lnTo>
                    <a:pt x="897" y="596"/>
                  </a:lnTo>
                  <a:lnTo>
                    <a:pt x="931" y="579"/>
                  </a:lnTo>
                  <a:lnTo>
                    <a:pt x="964" y="564"/>
                  </a:lnTo>
                  <a:lnTo>
                    <a:pt x="998" y="549"/>
                  </a:lnTo>
                  <a:lnTo>
                    <a:pt x="1033" y="538"/>
                  </a:lnTo>
                  <a:lnTo>
                    <a:pt x="1068" y="528"/>
                  </a:lnTo>
                  <a:lnTo>
                    <a:pt x="1106" y="519"/>
                  </a:lnTo>
                  <a:lnTo>
                    <a:pt x="1143" y="513"/>
                  </a:lnTo>
                  <a:lnTo>
                    <a:pt x="1180" y="508"/>
                  </a:lnTo>
                  <a:lnTo>
                    <a:pt x="1218" y="505"/>
                  </a:lnTo>
                  <a:lnTo>
                    <a:pt x="1258" y="504"/>
                  </a:lnTo>
                  <a:lnTo>
                    <a:pt x="1297" y="505"/>
                  </a:lnTo>
                  <a:lnTo>
                    <a:pt x="1335" y="508"/>
                  </a:lnTo>
                  <a:lnTo>
                    <a:pt x="1372" y="513"/>
                  </a:lnTo>
                  <a:lnTo>
                    <a:pt x="1409" y="519"/>
                  </a:lnTo>
                  <a:lnTo>
                    <a:pt x="1447" y="528"/>
                  </a:lnTo>
                  <a:lnTo>
                    <a:pt x="1482" y="538"/>
                  </a:lnTo>
                  <a:lnTo>
                    <a:pt x="1517" y="549"/>
                  </a:lnTo>
                  <a:lnTo>
                    <a:pt x="1551" y="564"/>
                  </a:lnTo>
                  <a:lnTo>
                    <a:pt x="1585" y="579"/>
                  </a:lnTo>
                  <a:lnTo>
                    <a:pt x="1618" y="596"/>
                  </a:lnTo>
                  <a:lnTo>
                    <a:pt x="1649" y="614"/>
                  </a:lnTo>
                  <a:lnTo>
                    <a:pt x="1679" y="633"/>
                  </a:lnTo>
                  <a:lnTo>
                    <a:pt x="1709" y="654"/>
                  </a:lnTo>
                  <a:lnTo>
                    <a:pt x="1737" y="677"/>
                  </a:lnTo>
                  <a:lnTo>
                    <a:pt x="1765" y="701"/>
                  </a:lnTo>
                  <a:lnTo>
                    <a:pt x="1791" y="726"/>
                  </a:lnTo>
                  <a:lnTo>
                    <a:pt x="1816" y="752"/>
                  </a:lnTo>
                  <a:lnTo>
                    <a:pt x="1840" y="779"/>
                  </a:lnTo>
                  <a:lnTo>
                    <a:pt x="1862" y="808"/>
                  </a:lnTo>
                  <a:lnTo>
                    <a:pt x="1883" y="838"/>
                  </a:lnTo>
                  <a:lnTo>
                    <a:pt x="1902" y="868"/>
                  </a:lnTo>
                  <a:lnTo>
                    <a:pt x="1920" y="900"/>
                  </a:lnTo>
                  <a:lnTo>
                    <a:pt x="1938" y="933"/>
                  </a:lnTo>
                  <a:lnTo>
                    <a:pt x="1953" y="966"/>
                  </a:lnTo>
                  <a:lnTo>
                    <a:pt x="1967" y="1000"/>
                  </a:lnTo>
                  <a:lnTo>
                    <a:pt x="1978" y="1035"/>
                  </a:lnTo>
                  <a:lnTo>
                    <a:pt x="1988" y="1072"/>
                  </a:lnTo>
                  <a:lnTo>
                    <a:pt x="1997" y="1108"/>
                  </a:lnTo>
                  <a:lnTo>
                    <a:pt x="2003" y="1145"/>
                  </a:lnTo>
                  <a:lnTo>
                    <a:pt x="2008" y="1183"/>
                  </a:lnTo>
                  <a:lnTo>
                    <a:pt x="2011" y="1221"/>
                  </a:lnTo>
                  <a:lnTo>
                    <a:pt x="2012" y="1260"/>
                  </a:lnTo>
                  <a:lnTo>
                    <a:pt x="2011" y="1299"/>
                  </a:lnTo>
                  <a:lnTo>
                    <a:pt x="2008" y="1338"/>
                  </a:lnTo>
                  <a:lnTo>
                    <a:pt x="2003" y="1375"/>
                  </a:lnTo>
                  <a:lnTo>
                    <a:pt x="1997" y="1413"/>
                  </a:lnTo>
                  <a:lnTo>
                    <a:pt x="1988" y="1449"/>
                  </a:lnTo>
                  <a:lnTo>
                    <a:pt x="1978" y="1485"/>
                  </a:lnTo>
                  <a:lnTo>
                    <a:pt x="1967" y="1520"/>
                  </a:lnTo>
                  <a:lnTo>
                    <a:pt x="1953" y="1555"/>
                  </a:lnTo>
                  <a:lnTo>
                    <a:pt x="1938" y="1588"/>
                  </a:lnTo>
                  <a:lnTo>
                    <a:pt x="1920" y="1620"/>
                  </a:lnTo>
                  <a:lnTo>
                    <a:pt x="1902" y="1653"/>
                  </a:lnTo>
                  <a:lnTo>
                    <a:pt x="1883" y="1683"/>
                  </a:lnTo>
                  <a:lnTo>
                    <a:pt x="1862" y="1713"/>
                  </a:lnTo>
                  <a:lnTo>
                    <a:pt x="1840" y="1741"/>
                  </a:lnTo>
                  <a:lnTo>
                    <a:pt x="1816" y="1768"/>
                  </a:lnTo>
                  <a:lnTo>
                    <a:pt x="1791" y="1795"/>
                  </a:lnTo>
                  <a:lnTo>
                    <a:pt x="1765" y="1820"/>
                  </a:lnTo>
                  <a:lnTo>
                    <a:pt x="1737" y="1844"/>
                  </a:lnTo>
                  <a:lnTo>
                    <a:pt x="1709" y="1866"/>
                  </a:lnTo>
                  <a:lnTo>
                    <a:pt x="1679" y="1887"/>
                  </a:lnTo>
                  <a:lnTo>
                    <a:pt x="1649" y="1907"/>
                  </a:lnTo>
                  <a:lnTo>
                    <a:pt x="1618" y="1925"/>
                  </a:lnTo>
                  <a:lnTo>
                    <a:pt x="1585" y="1942"/>
                  </a:lnTo>
                  <a:lnTo>
                    <a:pt x="1551" y="1957"/>
                  </a:lnTo>
                  <a:lnTo>
                    <a:pt x="1517" y="1970"/>
                  </a:lnTo>
                  <a:lnTo>
                    <a:pt x="1482" y="1982"/>
                  </a:lnTo>
                  <a:lnTo>
                    <a:pt x="1447" y="1992"/>
                  </a:lnTo>
                  <a:lnTo>
                    <a:pt x="1409" y="2001"/>
                  </a:lnTo>
                  <a:lnTo>
                    <a:pt x="1372" y="2007"/>
                  </a:lnTo>
                  <a:lnTo>
                    <a:pt x="1335" y="2012"/>
                  </a:lnTo>
                  <a:lnTo>
                    <a:pt x="1297" y="2015"/>
                  </a:lnTo>
                  <a:lnTo>
                    <a:pt x="1258" y="2017"/>
                  </a:lnTo>
                  <a:close/>
                  <a:moveTo>
                    <a:pt x="1258" y="0"/>
                  </a:moveTo>
                  <a:lnTo>
                    <a:pt x="1193" y="2"/>
                  </a:lnTo>
                  <a:lnTo>
                    <a:pt x="1129" y="6"/>
                  </a:lnTo>
                  <a:lnTo>
                    <a:pt x="1066" y="14"/>
                  </a:lnTo>
                  <a:lnTo>
                    <a:pt x="1004" y="25"/>
                  </a:lnTo>
                  <a:lnTo>
                    <a:pt x="944" y="39"/>
                  </a:lnTo>
                  <a:lnTo>
                    <a:pt x="884" y="56"/>
                  </a:lnTo>
                  <a:lnTo>
                    <a:pt x="826" y="77"/>
                  </a:lnTo>
                  <a:lnTo>
                    <a:pt x="769" y="99"/>
                  </a:lnTo>
                  <a:lnTo>
                    <a:pt x="713" y="124"/>
                  </a:lnTo>
                  <a:lnTo>
                    <a:pt x="659" y="152"/>
                  </a:lnTo>
                  <a:lnTo>
                    <a:pt x="606" y="182"/>
                  </a:lnTo>
                  <a:lnTo>
                    <a:pt x="555" y="216"/>
                  </a:lnTo>
                  <a:lnTo>
                    <a:pt x="506" y="251"/>
                  </a:lnTo>
                  <a:lnTo>
                    <a:pt x="458" y="288"/>
                  </a:lnTo>
                  <a:lnTo>
                    <a:pt x="413" y="328"/>
                  </a:lnTo>
                  <a:lnTo>
                    <a:pt x="369" y="369"/>
                  </a:lnTo>
                  <a:lnTo>
                    <a:pt x="327" y="413"/>
                  </a:lnTo>
                  <a:lnTo>
                    <a:pt x="288" y="459"/>
                  </a:lnTo>
                  <a:lnTo>
                    <a:pt x="251" y="506"/>
                  </a:lnTo>
                  <a:lnTo>
                    <a:pt x="215" y="556"/>
                  </a:lnTo>
                  <a:lnTo>
                    <a:pt x="182" y="607"/>
                  </a:lnTo>
                  <a:lnTo>
                    <a:pt x="152" y="659"/>
                  </a:lnTo>
                  <a:lnTo>
                    <a:pt x="124" y="714"/>
                  </a:lnTo>
                  <a:lnTo>
                    <a:pt x="99" y="770"/>
                  </a:lnTo>
                  <a:lnTo>
                    <a:pt x="77" y="827"/>
                  </a:lnTo>
                  <a:lnTo>
                    <a:pt x="56" y="886"/>
                  </a:lnTo>
                  <a:lnTo>
                    <a:pt x="39" y="946"/>
                  </a:lnTo>
                  <a:lnTo>
                    <a:pt x="25" y="1006"/>
                  </a:lnTo>
                  <a:lnTo>
                    <a:pt x="14" y="1069"/>
                  </a:lnTo>
                  <a:lnTo>
                    <a:pt x="7" y="1131"/>
                  </a:lnTo>
                  <a:lnTo>
                    <a:pt x="2" y="1196"/>
                  </a:lnTo>
                  <a:lnTo>
                    <a:pt x="0" y="1260"/>
                  </a:lnTo>
                  <a:lnTo>
                    <a:pt x="2" y="1325"/>
                  </a:lnTo>
                  <a:lnTo>
                    <a:pt x="7" y="1389"/>
                  </a:lnTo>
                  <a:lnTo>
                    <a:pt x="14" y="1452"/>
                  </a:lnTo>
                  <a:lnTo>
                    <a:pt x="25" y="1514"/>
                  </a:lnTo>
                  <a:lnTo>
                    <a:pt x="39" y="1575"/>
                  </a:lnTo>
                  <a:lnTo>
                    <a:pt x="56" y="1634"/>
                  </a:lnTo>
                  <a:lnTo>
                    <a:pt x="77" y="1693"/>
                  </a:lnTo>
                  <a:lnTo>
                    <a:pt x="99" y="1750"/>
                  </a:lnTo>
                  <a:lnTo>
                    <a:pt x="124" y="1806"/>
                  </a:lnTo>
                  <a:lnTo>
                    <a:pt x="152" y="1860"/>
                  </a:lnTo>
                  <a:lnTo>
                    <a:pt x="182" y="1914"/>
                  </a:lnTo>
                  <a:lnTo>
                    <a:pt x="215" y="1964"/>
                  </a:lnTo>
                  <a:lnTo>
                    <a:pt x="251" y="2014"/>
                  </a:lnTo>
                  <a:lnTo>
                    <a:pt x="288" y="2062"/>
                  </a:lnTo>
                  <a:lnTo>
                    <a:pt x="327" y="2107"/>
                  </a:lnTo>
                  <a:lnTo>
                    <a:pt x="369" y="2152"/>
                  </a:lnTo>
                  <a:lnTo>
                    <a:pt x="413" y="2193"/>
                  </a:lnTo>
                  <a:lnTo>
                    <a:pt x="458" y="2232"/>
                  </a:lnTo>
                  <a:lnTo>
                    <a:pt x="506" y="2270"/>
                  </a:lnTo>
                  <a:lnTo>
                    <a:pt x="555" y="2305"/>
                  </a:lnTo>
                  <a:lnTo>
                    <a:pt x="606" y="2338"/>
                  </a:lnTo>
                  <a:lnTo>
                    <a:pt x="659" y="2368"/>
                  </a:lnTo>
                  <a:lnTo>
                    <a:pt x="713" y="2397"/>
                  </a:lnTo>
                  <a:lnTo>
                    <a:pt x="769" y="2422"/>
                  </a:lnTo>
                  <a:lnTo>
                    <a:pt x="826" y="2444"/>
                  </a:lnTo>
                  <a:lnTo>
                    <a:pt x="884" y="2464"/>
                  </a:lnTo>
                  <a:lnTo>
                    <a:pt x="944" y="2481"/>
                  </a:lnTo>
                  <a:lnTo>
                    <a:pt x="1004" y="2495"/>
                  </a:lnTo>
                  <a:lnTo>
                    <a:pt x="1066" y="2507"/>
                  </a:lnTo>
                  <a:lnTo>
                    <a:pt x="1129" y="2515"/>
                  </a:lnTo>
                  <a:lnTo>
                    <a:pt x="1193" y="2519"/>
                  </a:lnTo>
                  <a:lnTo>
                    <a:pt x="1258" y="2521"/>
                  </a:lnTo>
                  <a:lnTo>
                    <a:pt x="1322" y="2519"/>
                  </a:lnTo>
                  <a:lnTo>
                    <a:pt x="1385" y="2515"/>
                  </a:lnTo>
                  <a:lnTo>
                    <a:pt x="1449" y="2507"/>
                  </a:lnTo>
                  <a:lnTo>
                    <a:pt x="1510" y="2495"/>
                  </a:lnTo>
                  <a:lnTo>
                    <a:pt x="1571" y="2481"/>
                  </a:lnTo>
                  <a:lnTo>
                    <a:pt x="1631" y="2464"/>
                  </a:lnTo>
                  <a:lnTo>
                    <a:pt x="1689" y="2444"/>
                  </a:lnTo>
                  <a:lnTo>
                    <a:pt x="1746" y="2422"/>
                  </a:lnTo>
                  <a:lnTo>
                    <a:pt x="1802" y="2397"/>
                  </a:lnTo>
                  <a:lnTo>
                    <a:pt x="1856" y="2368"/>
                  </a:lnTo>
                  <a:lnTo>
                    <a:pt x="1908" y="2338"/>
                  </a:lnTo>
                  <a:lnTo>
                    <a:pt x="1960" y="2305"/>
                  </a:lnTo>
                  <a:lnTo>
                    <a:pt x="2009" y="2270"/>
                  </a:lnTo>
                  <a:lnTo>
                    <a:pt x="2056" y="2232"/>
                  </a:lnTo>
                  <a:lnTo>
                    <a:pt x="2103" y="2193"/>
                  </a:lnTo>
                  <a:lnTo>
                    <a:pt x="2146" y="2152"/>
                  </a:lnTo>
                  <a:lnTo>
                    <a:pt x="2188" y="2107"/>
                  </a:lnTo>
                  <a:lnTo>
                    <a:pt x="2227" y="2062"/>
                  </a:lnTo>
                  <a:lnTo>
                    <a:pt x="2265" y="2014"/>
                  </a:lnTo>
                  <a:lnTo>
                    <a:pt x="2300" y="1964"/>
                  </a:lnTo>
                  <a:lnTo>
                    <a:pt x="2333" y="1914"/>
                  </a:lnTo>
                  <a:lnTo>
                    <a:pt x="2363" y="1860"/>
                  </a:lnTo>
                  <a:lnTo>
                    <a:pt x="2390" y="1806"/>
                  </a:lnTo>
                  <a:lnTo>
                    <a:pt x="2416" y="1750"/>
                  </a:lnTo>
                  <a:lnTo>
                    <a:pt x="2439" y="1693"/>
                  </a:lnTo>
                  <a:lnTo>
                    <a:pt x="2459" y="1634"/>
                  </a:lnTo>
                  <a:lnTo>
                    <a:pt x="2476" y="1575"/>
                  </a:lnTo>
                  <a:lnTo>
                    <a:pt x="2490" y="1514"/>
                  </a:lnTo>
                  <a:lnTo>
                    <a:pt x="2501" y="1452"/>
                  </a:lnTo>
                  <a:lnTo>
                    <a:pt x="2508" y="1389"/>
                  </a:lnTo>
                  <a:lnTo>
                    <a:pt x="2513" y="1325"/>
                  </a:lnTo>
                  <a:lnTo>
                    <a:pt x="2515" y="1260"/>
                  </a:lnTo>
                  <a:lnTo>
                    <a:pt x="2513" y="1196"/>
                  </a:lnTo>
                  <a:lnTo>
                    <a:pt x="2508" y="1131"/>
                  </a:lnTo>
                  <a:lnTo>
                    <a:pt x="2501" y="1069"/>
                  </a:lnTo>
                  <a:lnTo>
                    <a:pt x="2490" y="1006"/>
                  </a:lnTo>
                  <a:lnTo>
                    <a:pt x="2476" y="946"/>
                  </a:lnTo>
                  <a:lnTo>
                    <a:pt x="2459" y="886"/>
                  </a:lnTo>
                  <a:lnTo>
                    <a:pt x="2439" y="827"/>
                  </a:lnTo>
                  <a:lnTo>
                    <a:pt x="2416" y="770"/>
                  </a:lnTo>
                  <a:lnTo>
                    <a:pt x="2390" y="714"/>
                  </a:lnTo>
                  <a:lnTo>
                    <a:pt x="2363" y="659"/>
                  </a:lnTo>
                  <a:lnTo>
                    <a:pt x="2333" y="607"/>
                  </a:lnTo>
                  <a:lnTo>
                    <a:pt x="2300" y="556"/>
                  </a:lnTo>
                  <a:lnTo>
                    <a:pt x="2265" y="506"/>
                  </a:lnTo>
                  <a:lnTo>
                    <a:pt x="2227" y="459"/>
                  </a:lnTo>
                  <a:lnTo>
                    <a:pt x="2188" y="413"/>
                  </a:lnTo>
                  <a:lnTo>
                    <a:pt x="2146" y="369"/>
                  </a:lnTo>
                  <a:lnTo>
                    <a:pt x="2103" y="328"/>
                  </a:lnTo>
                  <a:lnTo>
                    <a:pt x="2056" y="288"/>
                  </a:lnTo>
                  <a:lnTo>
                    <a:pt x="2009" y="251"/>
                  </a:lnTo>
                  <a:lnTo>
                    <a:pt x="1960" y="216"/>
                  </a:lnTo>
                  <a:lnTo>
                    <a:pt x="1908" y="182"/>
                  </a:lnTo>
                  <a:lnTo>
                    <a:pt x="1856" y="152"/>
                  </a:lnTo>
                  <a:lnTo>
                    <a:pt x="1802" y="124"/>
                  </a:lnTo>
                  <a:lnTo>
                    <a:pt x="1746" y="99"/>
                  </a:lnTo>
                  <a:lnTo>
                    <a:pt x="1689" y="77"/>
                  </a:lnTo>
                  <a:lnTo>
                    <a:pt x="1631" y="56"/>
                  </a:lnTo>
                  <a:lnTo>
                    <a:pt x="1571" y="39"/>
                  </a:lnTo>
                  <a:lnTo>
                    <a:pt x="1510" y="25"/>
                  </a:lnTo>
                  <a:lnTo>
                    <a:pt x="1449" y="14"/>
                  </a:lnTo>
                  <a:lnTo>
                    <a:pt x="1385" y="6"/>
                  </a:lnTo>
                  <a:lnTo>
                    <a:pt x="1322" y="2"/>
                  </a:lnTo>
                  <a:lnTo>
                    <a:pt x="125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56" name="işļïde">
              <a:extLst>
                <a:ext uri="{FF2B5EF4-FFF2-40B4-BE49-F238E27FC236}">
                  <a16:creationId xmlns:a16="http://schemas.microsoft.com/office/drawing/2014/main" id="{AEB8FE2A-2309-41B6-8AD7-401F47624958}"/>
                </a:ext>
              </a:extLst>
            </p:cNvPr>
            <p:cNvSpPr/>
            <p:nvPr/>
          </p:nvSpPr>
          <p:spPr bwMode="auto">
            <a:xfrm>
              <a:off x="7895374" y="777423"/>
              <a:ext cx="76139" cy="77549"/>
            </a:xfrm>
            <a:custGeom>
              <a:avLst/>
              <a:gdLst>
                <a:gd name="T0" fmla="*/ 1107 w 2012"/>
                <a:gd name="T1" fmla="*/ 514 h 2016"/>
                <a:gd name="T2" fmla="*/ 1224 w 2012"/>
                <a:gd name="T3" fmla="*/ 553 h 2016"/>
                <a:gd name="T4" fmla="*/ 1326 w 2012"/>
                <a:gd name="T5" fmla="*/ 619 h 2016"/>
                <a:gd name="T6" fmla="*/ 1409 w 2012"/>
                <a:gd name="T7" fmla="*/ 707 h 2016"/>
                <a:gd name="T8" fmla="*/ 1469 w 2012"/>
                <a:gd name="T9" fmla="*/ 812 h 2016"/>
                <a:gd name="T10" fmla="*/ 1503 w 2012"/>
                <a:gd name="T11" fmla="*/ 931 h 2016"/>
                <a:gd name="T12" fmla="*/ 1507 w 2012"/>
                <a:gd name="T13" fmla="*/ 1060 h 2016"/>
                <a:gd name="T14" fmla="*/ 1478 w 2012"/>
                <a:gd name="T15" fmla="*/ 1182 h 2016"/>
                <a:gd name="T16" fmla="*/ 1423 w 2012"/>
                <a:gd name="T17" fmla="*/ 1290 h 2016"/>
                <a:gd name="T18" fmla="*/ 1344 w 2012"/>
                <a:gd name="T19" fmla="*/ 1381 h 2016"/>
                <a:gd name="T20" fmla="*/ 1245 w 2012"/>
                <a:gd name="T21" fmla="*/ 1452 h 2016"/>
                <a:gd name="T22" fmla="*/ 1131 w 2012"/>
                <a:gd name="T23" fmla="*/ 1496 h 2016"/>
                <a:gd name="T24" fmla="*/ 1006 w 2012"/>
                <a:gd name="T25" fmla="*/ 1512 h 2016"/>
                <a:gd name="T26" fmla="*/ 880 w 2012"/>
                <a:gd name="T27" fmla="*/ 1496 h 2016"/>
                <a:gd name="T28" fmla="*/ 766 w 2012"/>
                <a:gd name="T29" fmla="*/ 1452 h 2016"/>
                <a:gd name="T30" fmla="*/ 668 w 2012"/>
                <a:gd name="T31" fmla="*/ 1381 h 2016"/>
                <a:gd name="T32" fmla="*/ 589 w 2012"/>
                <a:gd name="T33" fmla="*/ 1290 h 2016"/>
                <a:gd name="T34" fmla="*/ 534 w 2012"/>
                <a:gd name="T35" fmla="*/ 1182 h 2016"/>
                <a:gd name="T36" fmla="*/ 506 w 2012"/>
                <a:gd name="T37" fmla="*/ 1060 h 2016"/>
                <a:gd name="T38" fmla="*/ 509 w 2012"/>
                <a:gd name="T39" fmla="*/ 931 h 2016"/>
                <a:gd name="T40" fmla="*/ 543 w 2012"/>
                <a:gd name="T41" fmla="*/ 812 h 2016"/>
                <a:gd name="T42" fmla="*/ 603 w 2012"/>
                <a:gd name="T43" fmla="*/ 707 h 2016"/>
                <a:gd name="T44" fmla="*/ 686 w 2012"/>
                <a:gd name="T45" fmla="*/ 619 h 2016"/>
                <a:gd name="T46" fmla="*/ 787 w 2012"/>
                <a:gd name="T47" fmla="*/ 553 h 2016"/>
                <a:gd name="T48" fmla="*/ 904 w 2012"/>
                <a:gd name="T49" fmla="*/ 514 h 2016"/>
                <a:gd name="T50" fmla="*/ 0 w 2012"/>
                <a:gd name="T51" fmla="*/ 1008 h 2016"/>
                <a:gd name="T52" fmla="*/ 32 w 2012"/>
                <a:gd name="T53" fmla="*/ 1260 h 2016"/>
                <a:gd name="T54" fmla="*/ 121 w 2012"/>
                <a:gd name="T55" fmla="*/ 1488 h 2016"/>
                <a:gd name="T56" fmla="*/ 261 w 2012"/>
                <a:gd name="T57" fmla="*/ 1686 h 2016"/>
                <a:gd name="T58" fmla="*/ 443 w 2012"/>
                <a:gd name="T59" fmla="*/ 1844 h 2016"/>
                <a:gd name="T60" fmla="*/ 661 w 2012"/>
                <a:gd name="T61" fmla="*/ 1955 h 2016"/>
                <a:gd name="T62" fmla="*/ 903 w 2012"/>
                <a:gd name="T63" fmla="*/ 2011 h 2016"/>
                <a:gd name="T64" fmla="*/ 1159 w 2012"/>
                <a:gd name="T65" fmla="*/ 2004 h 2016"/>
                <a:gd name="T66" fmla="*/ 1397 w 2012"/>
                <a:gd name="T67" fmla="*/ 1937 h 2016"/>
                <a:gd name="T68" fmla="*/ 1607 w 2012"/>
                <a:gd name="T69" fmla="*/ 1816 h 2016"/>
                <a:gd name="T70" fmla="*/ 1782 w 2012"/>
                <a:gd name="T71" fmla="*/ 1649 h 2016"/>
                <a:gd name="T72" fmla="*/ 1912 w 2012"/>
                <a:gd name="T73" fmla="*/ 1445 h 2016"/>
                <a:gd name="T74" fmla="*/ 1992 w 2012"/>
                <a:gd name="T75" fmla="*/ 1211 h 2016"/>
                <a:gd name="T76" fmla="*/ 2011 w 2012"/>
                <a:gd name="T77" fmla="*/ 957 h 2016"/>
                <a:gd name="T78" fmla="*/ 1966 w 2012"/>
                <a:gd name="T79" fmla="*/ 709 h 2016"/>
                <a:gd name="T80" fmla="*/ 1866 w 2012"/>
                <a:gd name="T81" fmla="*/ 486 h 2016"/>
                <a:gd name="T82" fmla="*/ 1717 w 2012"/>
                <a:gd name="T83" fmla="*/ 295 h 2016"/>
                <a:gd name="T84" fmla="*/ 1527 w 2012"/>
                <a:gd name="T85" fmla="*/ 146 h 2016"/>
                <a:gd name="T86" fmla="*/ 1304 w 2012"/>
                <a:gd name="T87" fmla="*/ 45 h 2016"/>
                <a:gd name="T88" fmla="*/ 1057 w 2012"/>
                <a:gd name="T89" fmla="*/ 1 h 2016"/>
                <a:gd name="T90" fmla="*/ 803 w 2012"/>
                <a:gd name="T91" fmla="*/ 20 h 2016"/>
                <a:gd name="T92" fmla="*/ 570 w 2012"/>
                <a:gd name="T93" fmla="*/ 100 h 2016"/>
                <a:gd name="T94" fmla="*/ 366 w 2012"/>
                <a:gd name="T95" fmla="*/ 231 h 2016"/>
                <a:gd name="T96" fmla="*/ 200 w 2012"/>
                <a:gd name="T97" fmla="*/ 405 h 2016"/>
                <a:gd name="T98" fmla="*/ 79 w 2012"/>
                <a:gd name="T99" fmla="*/ 616 h 2016"/>
                <a:gd name="T100" fmla="*/ 12 w 2012"/>
                <a:gd name="T101" fmla="*/ 855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012" h="2016">
                  <a:moveTo>
                    <a:pt x="1006" y="504"/>
                  </a:moveTo>
                  <a:lnTo>
                    <a:pt x="1032" y="505"/>
                  </a:lnTo>
                  <a:lnTo>
                    <a:pt x="1057" y="507"/>
                  </a:lnTo>
                  <a:lnTo>
                    <a:pt x="1082" y="510"/>
                  </a:lnTo>
                  <a:lnTo>
                    <a:pt x="1107" y="514"/>
                  </a:lnTo>
                  <a:lnTo>
                    <a:pt x="1131" y="520"/>
                  </a:lnTo>
                  <a:lnTo>
                    <a:pt x="1156" y="526"/>
                  </a:lnTo>
                  <a:lnTo>
                    <a:pt x="1179" y="534"/>
                  </a:lnTo>
                  <a:lnTo>
                    <a:pt x="1202" y="543"/>
                  </a:lnTo>
                  <a:lnTo>
                    <a:pt x="1224" y="553"/>
                  </a:lnTo>
                  <a:lnTo>
                    <a:pt x="1245" y="564"/>
                  </a:lnTo>
                  <a:lnTo>
                    <a:pt x="1266" y="577"/>
                  </a:lnTo>
                  <a:lnTo>
                    <a:pt x="1287" y="590"/>
                  </a:lnTo>
                  <a:lnTo>
                    <a:pt x="1306" y="604"/>
                  </a:lnTo>
                  <a:lnTo>
                    <a:pt x="1326" y="619"/>
                  </a:lnTo>
                  <a:lnTo>
                    <a:pt x="1344" y="635"/>
                  </a:lnTo>
                  <a:lnTo>
                    <a:pt x="1362" y="651"/>
                  </a:lnTo>
                  <a:lnTo>
                    <a:pt x="1378" y="669"/>
                  </a:lnTo>
                  <a:lnTo>
                    <a:pt x="1394" y="688"/>
                  </a:lnTo>
                  <a:lnTo>
                    <a:pt x="1409" y="707"/>
                  </a:lnTo>
                  <a:lnTo>
                    <a:pt x="1423" y="726"/>
                  </a:lnTo>
                  <a:lnTo>
                    <a:pt x="1436" y="747"/>
                  </a:lnTo>
                  <a:lnTo>
                    <a:pt x="1448" y="768"/>
                  </a:lnTo>
                  <a:lnTo>
                    <a:pt x="1459" y="789"/>
                  </a:lnTo>
                  <a:lnTo>
                    <a:pt x="1469" y="812"/>
                  </a:lnTo>
                  <a:lnTo>
                    <a:pt x="1478" y="835"/>
                  </a:lnTo>
                  <a:lnTo>
                    <a:pt x="1487" y="858"/>
                  </a:lnTo>
                  <a:lnTo>
                    <a:pt x="1493" y="882"/>
                  </a:lnTo>
                  <a:lnTo>
                    <a:pt x="1499" y="906"/>
                  </a:lnTo>
                  <a:lnTo>
                    <a:pt x="1503" y="931"/>
                  </a:lnTo>
                  <a:lnTo>
                    <a:pt x="1507" y="957"/>
                  </a:lnTo>
                  <a:lnTo>
                    <a:pt x="1508" y="982"/>
                  </a:lnTo>
                  <a:lnTo>
                    <a:pt x="1509" y="1008"/>
                  </a:lnTo>
                  <a:lnTo>
                    <a:pt x="1508" y="1034"/>
                  </a:lnTo>
                  <a:lnTo>
                    <a:pt x="1507" y="1060"/>
                  </a:lnTo>
                  <a:lnTo>
                    <a:pt x="1503" y="1085"/>
                  </a:lnTo>
                  <a:lnTo>
                    <a:pt x="1499" y="1110"/>
                  </a:lnTo>
                  <a:lnTo>
                    <a:pt x="1493" y="1134"/>
                  </a:lnTo>
                  <a:lnTo>
                    <a:pt x="1487" y="1158"/>
                  </a:lnTo>
                  <a:lnTo>
                    <a:pt x="1478" y="1182"/>
                  </a:lnTo>
                  <a:lnTo>
                    <a:pt x="1469" y="1205"/>
                  </a:lnTo>
                  <a:lnTo>
                    <a:pt x="1459" y="1227"/>
                  </a:lnTo>
                  <a:lnTo>
                    <a:pt x="1448" y="1248"/>
                  </a:lnTo>
                  <a:lnTo>
                    <a:pt x="1436" y="1269"/>
                  </a:lnTo>
                  <a:lnTo>
                    <a:pt x="1423" y="1290"/>
                  </a:lnTo>
                  <a:lnTo>
                    <a:pt x="1409" y="1310"/>
                  </a:lnTo>
                  <a:lnTo>
                    <a:pt x="1394" y="1329"/>
                  </a:lnTo>
                  <a:lnTo>
                    <a:pt x="1378" y="1347"/>
                  </a:lnTo>
                  <a:lnTo>
                    <a:pt x="1362" y="1365"/>
                  </a:lnTo>
                  <a:lnTo>
                    <a:pt x="1344" y="1381"/>
                  </a:lnTo>
                  <a:lnTo>
                    <a:pt x="1326" y="1397"/>
                  </a:lnTo>
                  <a:lnTo>
                    <a:pt x="1306" y="1412"/>
                  </a:lnTo>
                  <a:lnTo>
                    <a:pt x="1287" y="1427"/>
                  </a:lnTo>
                  <a:lnTo>
                    <a:pt x="1266" y="1440"/>
                  </a:lnTo>
                  <a:lnTo>
                    <a:pt x="1245" y="1452"/>
                  </a:lnTo>
                  <a:lnTo>
                    <a:pt x="1224" y="1463"/>
                  </a:lnTo>
                  <a:lnTo>
                    <a:pt x="1202" y="1473"/>
                  </a:lnTo>
                  <a:lnTo>
                    <a:pt x="1179" y="1482"/>
                  </a:lnTo>
                  <a:lnTo>
                    <a:pt x="1156" y="1490"/>
                  </a:lnTo>
                  <a:lnTo>
                    <a:pt x="1131" y="1496"/>
                  </a:lnTo>
                  <a:lnTo>
                    <a:pt x="1107" y="1502"/>
                  </a:lnTo>
                  <a:lnTo>
                    <a:pt x="1082" y="1506"/>
                  </a:lnTo>
                  <a:lnTo>
                    <a:pt x="1057" y="1509"/>
                  </a:lnTo>
                  <a:lnTo>
                    <a:pt x="1032" y="1511"/>
                  </a:lnTo>
                  <a:lnTo>
                    <a:pt x="1006" y="1512"/>
                  </a:lnTo>
                  <a:lnTo>
                    <a:pt x="980" y="1511"/>
                  </a:lnTo>
                  <a:lnTo>
                    <a:pt x="954" y="1509"/>
                  </a:lnTo>
                  <a:lnTo>
                    <a:pt x="929" y="1506"/>
                  </a:lnTo>
                  <a:lnTo>
                    <a:pt x="904" y="1502"/>
                  </a:lnTo>
                  <a:lnTo>
                    <a:pt x="880" y="1496"/>
                  </a:lnTo>
                  <a:lnTo>
                    <a:pt x="856" y="1490"/>
                  </a:lnTo>
                  <a:lnTo>
                    <a:pt x="833" y="1482"/>
                  </a:lnTo>
                  <a:lnTo>
                    <a:pt x="811" y="1473"/>
                  </a:lnTo>
                  <a:lnTo>
                    <a:pt x="787" y="1463"/>
                  </a:lnTo>
                  <a:lnTo>
                    <a:pt x="766" y="1452"/>
                  </a:lnTo>
                  <a:lnTo>
                    <a:pt x="745" y="1440"/>
                  </a:lnTo>
                  <a:lnTo>
                    <a:pt x="725" y="1427"/>
                  </a:lnTo>
                  <a:lnTo>
                    <a:pt x="705" y="1412"/>
                  </a:lnTo>
                  <a:lnTo>
                    <a:pt x="686" y="1397"/>
                  </a:lnTo>
                  <a:lnTo>
                    <a:pt x="668" y="1381"/>
                  </a:lnTo>
                  <a:lnTo>
                    <a:pt x="651" y="1365"/>
                  </a:lnTo>
                  <a:lnTo>
                    <a:pt x="633" y="1347"/>
                  </a:lnTo>
                  <a:lnTo>
                    <a:pt x="617" y="1329"/>
                  </a:lnTo>
                  <a:lnTo>
                    <a:pt x="603" y="1310"/>
                  </a:lnTo>
                  <a:lnTo>
                    <a:pt x="589" y="1290"/>
                  </a:lnTo>
                  <a:lnTo>
                    <a:pt x="576" y="1269"/>
                  </a:lnTo>
                  <a:lnTo>
                    <a:pt x="564" y="1248"/>
                  </a:lnTo>
                  <a:lnTo>
                    <a:pt x="553" y="1227"/>
                  </a:lnTo>
                  <a:lnTo>
                    <a:pt x="543" y="1205"/>
                  </a:lnTo>
                  <a:lnTo>
                    <a:pt x="534" y="1182"/>
                  </a:lnTo>
                  <a:lnTo>
                    <a:pt x="526" y="1158"/>
                  </a:lnTo>
                  <a:lnTo>
                    <a:pt x="519" y="1134"/>
                  </a:lnTo>
                  <a:lnTo>
                    <a:pt x="513" y="1110"/>
                  </a:lnTo>
                  <a:lnTo>
                    <a:pt x="509" y="1085"/>
                  </a:lnTo>
                  <a:lnTo>
                    <a:pt x="506" y="1060"/>
                  </a:lnTo>
                  <a:lnTo>
                    <a:pt x="504" y="1034"/>
                  </a:lnTo>
                  <a:lnTo>
                    <a:pt x="503" y="1008"/>
                  </a:lnTo>
                  <a:lnTo>
                    <a:pt x="504" y="982"/>
                  </a:lnTo>
                  <a:lnTo>
                    <a:pt x="506" y="957"/>
                  </a:lnTo>
                  <a:lnTo>
                    <a:pt x="509" y="931"/>
                  </a:lnTo>
                  <a:lnTo>
                    <a:pt x="513" y="906"/>
                  </a:lnTo>
                  <a:lnTo>
                    <a:pt x="519" y="882"/>
                  </a:lnTo>
                  <a:lnTo>
                    <a:pt x="526" y="858"/>
                  </a:lnTo>
                  <a:lnTo>
                    <a:pt x="534" y="835"/>
                  </a:lnTo>
                  <a:lnTo>
                    <a:pt x="543" y="812"/>
                  </a:lnTo>
                  <a:lnTo>
                    <a:pt x="553" y="789"/>
                  </a:lnTo>
                  <a:lnTo>
                    <a:pt x="564" y="768"/>
                  </a:lnTo>
                  <a:lnTo>
                    <a:pt x="576" y="747"/>
                  </a:lnTo>
                  <a:lnTo>
                    <a:pt x="589" y="726"/>
                  </a:lnTo>
                  <a:lnTo>
                    <a:pt x="603" y="707"/>
                  </a:lnTo>
                  <a:lnTo>
                    <a:pt x="617" y="688"/>
                  </a:lnTo>
                  <a:lnTo>
                    <a:pt x="633" y="669"/>
                  </a:lnTo>
                  <a:lnTo>
                    <a:pt x="651" y="651"/>
                  </a:lnTo>
                  <a:lnTo>
                    <a:pt x="668" y="635"/>
                  </a:lnTo>
                  <a:lnTo>
                    <a:pt x="686" y="619"/>
                  </a:lnTo>
                  <a:lnTo>
                    <a:pt x="705" y="604"/>
                  </a:lnTo>
                  <a:lnTo>
                    <a:pt x="725" y="590"/>
                  </a:lnTo>
                  <a:lnTo>
                    <a:pt x="745" y="577"/>
                  </a:lnTo>
                  <a:lnTo>
                    <a:pt x="766" y="564"/>
                  </a:lnTo>
                  <a:lnTo>
                    <a:pt x="787" y="553"/>
                  </a:lnTo>
                  <a:lnTo>
                    <a:pt x="811" y="543"/>
                  </a:lnTo>
                  <a:lnTo>
                    <a:pt x="833" y="534"/>
                  </a:lnTo>
                  <a:lnTo>
                    <a:pt x="856" y="526"/>
                  </a:lnTo>
                  <a:lnTo>
                    <a:pt x="880" y="520"/>
                  </a:lnTo>
                  <a:lnTo>
                    <a:pt x="904" y="514"/>
                  </a:lnTo>
                  <a:lnTo>
                    <a:pt x="929" y="510"/>
                  </a:lnTo>
                  <a:lnTo>
                    <a:pt x="954" y="507"/>
                  </a:lnTo>
                  <a:lnTo>
                    <a:pt x="980" y="505"/>
                  </a:lnTo>
                  <a:lnTo>
                    <a:pt x="1006" y="504"/>
                  </a:lnTo>
                  <a:close/>
                  <a:moveTo>
                    <a:pt x="0" y="1008"/>
                  </a:moveTo>
                  <a:lnTo>
                    <a:pt x="2" y="1060"/>
                  </a:lnTo>
                  <a:lnTo>
                    <a:pt x="5" y="1111"/>
                  </a:lnTo>
                  <a:lnTo>
                    <a:pt x="12" y="1161"/>
                  </a:lnTo>
                  <a:lnTo>
                    <a:pt x="21" y="1211"/>
                  </a:lnTo>
                  <a:lnTo>
                    <a:pt x="32" y="1260"/>
                  </a:lnTo>
                  <a:lnTo>
                    <a:pt x="45" y="1308"/>
                  </a:lnTo>
                  <a:lnTo>
                    <a:pt x="61" y="1355"/>
                  </a:lnTo>
                  <a:lnTo>
                    <a:pt x="79" y="1400"/>
                  </a:lnTo>
                  <a:lnTo>
                    <a:pt x="99" y="1445"/>
                  </a:lnTo>
                  <a:lnTo>
                    <a:pt x="121" y="1488"/>
                  </a:lnTo>
                  <a:lnTo>
                    <a:pt x="146" y="1530"/>
                  </a:lnTo>
                  <a:lnTo>
                    <a:pt x="172" y="1572"/>
                  </a:lnTo>
                  <a:lnTo>
                    <a:pt x="200" y="1611"/>
                  </a:lnTo>
                  <a:lnTo>
                    <a:pt x="230" y="1649"/>
                  </a:lnTo>
                  <a:lnTo>
                    <a:pt x="261" y="1686"/>
                  </a:lnTo>
                  <a:lnTo>
                    <a:pt x="294" y="1721"/>
                  </a:lnTo>
                  <a:lnTo>
                    <a:pt x="330" y="1754"/>
                  </a:lnTo>
                  <a:lnTo>
                    <a:pt x="366" y="1785"/>
                  </a:lnTo>
                  <a:lnTo>
                    <a:pt x="404" y="1816"/>
                  </a:lnTo>
                  <a:lnTo>
                    <a:pt x="443" y="1844"/>
                  </a:lnTo>
                  <a:lnTo>
                    <a:pt x="485" y="1870"/>
                  </a:lnTo>
                  <a:lnTo>
                    <a:pt x="527" y="1894"/>
                  </a:lnTo>
                  <a:lnTo>
                    <a:pt x="570" y="1917"/>
                  </a:lnTo>
                  <a:lnTo>
                    <a:pt x="614" y="1937"/>
                  </a:lnTo>
                  <a:lnTo>
                    <a:pt x="661" y="1955"/>
                  </a:lnTo>
                  <a:lnTo>
                    <a:pt x="707" y="1971"/>
                  </a:lnTo>
                  <a:lnTo>
                    <a:pt x="754" y="1984"/>
                  </a:lnTo>
                  <a:lnTo>
                    <a:pt x="803" y="1995"/>
                  </a:lnTo>
                  <a:lnTo>
                    <a:pt x="853" y="2004"/>
                  </a:lnTo>
                  <a:lnTo>
                    <a:pt x="903" y="2011"/>
                  </a:lnTo>
                  <a:lnTo>
                    <a:pt x="954" y="2015"/>
                  </a:lnTo>
                  <a:lnTo>
                    <a:pt x="1006" y="2016"/>
                  </a:lnTo>
                  <a:lnTo>
                    <a:pt x="1057" y="2015"/>
                  </a:lnTo>
                  <a:lnTo>
                    <a:pt x="1108" y="2011"/>
                  </a:lnTo>
                  <a:lnTo>
                    <a:pt x="1159" y="2004"/>
                  </a:lnTo>
                  <a:lnTo>
                    <a:pt x="1208" y="1995"/>
                  </a:lnTo>
                  <a:lnTo>
                    <a:pt x="1257" y="1984"/>
                  </a:lnTo>
                  <a:lnTo>
                    <a:pt x="1304" y="1971"/>
                  </a:lnTo>
                  <a:lnTo>
                    <a:pt x="1352" y="1955"/>
                  </a:lnTo>
                  <a:lnTo>
                    <a:pt x="1397" y="1937"/>
                  </a:lnTo>
                  <a:lnTo>
                    <a:pt x="1441" y="1917"/>
                  </a:lnTo>
                  <a:lnTo>
                    <a:pt x="1485" y="1894"/>
                  </a:lnTo>
                  <a:lnTo>
                    <a:pt x="1527" y="1870"/>
                  </a:lnTo>
                  <a:lnTo>
                    <a:pt x="1568" y="1844"/>
                  </a:lnTo>
                  <a:lnTo>
                    <a:pt x="1607" y="1816"/>
                  </a:lnTo>
                  <a:lnTo>
                    <a:pt x="1645" y="1785"/>
                  </a:lnTo>
                  <a:lnTo>
                    <a:pt x="1682" y="1754"/>
                  </a:lnTo>
                  <a:lnTo>
                    <a:pt x="1717" y="1721"/>
                  </a:lnTo>
                  <a:lnTo>
                    <a:pt x="1750" y="1686"/>
                  </a:lnTo>
                  <a:lnTo>
                    <a:pt x="1782" y="1649"/>
                  </a:lnTo>
                  <a:lnTo>
                    <a:pt x="1811" y="1611"/>
                  </a:lnTo>
                  <a:lnTo>
                    <a:pt x="1840" y="1572"/>
                  </a:lnTo>
                  <a:lnTo>
                    <a:pt x="1866" y="1530"/>
                  </a:lnTo>
                  <a:lnTo>
                    <a:pt x="1890" y="1488"/>
                  </a:lnTo>
                  <a:lnTo>
                    <a:pt x="1912" y="1445"/>
                  </a:lnTo>
                  <a:lnTo>
                    <a:pt x="1932" y="1400"/>
                  </a:lnTo>
                  <a:lnTo>
                    <a:pt x="1950" y="1355"/>
                  </a:lnTo>
                  <a:lnTo>
                    <a:pt x="1966" y="1308"/>
                  </a:lnTo>
                  <a:lnTo>
                    <a:pt x="1980" y="1260"/>
                  </a:lnTo>
                  <a:lnTo>
                    <a:pt x="1992" y="1211"/>
                  </a:lnTo>
                  <a:lnTo>
                    <a:pt x="2001" y="1161"/>
                  </a:lnTo>
                  <a:lnTo>
                    <a:pt x="2007" y="1111"/>
                  </a:lnTo>
                  <a:lnTo>
                    <a:pt x="2011" y="1060"/>
                  </a:lnTo>
                  <a:lnTo>
                    <a:pt x="2012" y="1008"/>
                  </a:lnTo>
                  <a:lnTo>
                    <a:pt x="2011" y="957"/>
                  </a:lnTo>
                  <a:lnTo>
                    <a:pt x="2007" y="905"/>
                  </a:lnTo>
                  <a:lnTo>
                    <a:pt x="2001" y="855"/>
                  </a:lnTo>
                  <a:lnTo>
                    <a:pt x="1992" y="805"/>
                  </a:lnTo>
                  <a:lnTo>
                    <a:pt x="1980" y="756"/>
                  </a:lnTo>
                  <a:lnTo>
                    <a:pt x="1966" y="709"/>
                  </a:lnTo>
                  <a:lnTo>
                    <a:pt x="1950" y="661"/>
                  </a:lnTo>
                  <a:lnTo>
                    <a:pt x="1932" y="616"/>
                  </a:lnTo>
                  <a:lnTo>
                    <a:pt x="1912" y="572"/>
                  </a:lnTo>
                  <a:lnTo>
                    <a:pt x="1890" y="528"/>
                  </a:lnTo>
                  <a:lnTo>
                    <a:pt x="1866" y="486"/>
                  </a:lnTo>
                  <a:lnTo>
                    <a:pt x="1840" y="445"/>
                  </a:lnTo>
                  <a:lnTo>
                    <a:pt x="1811" y="405"/>
                  </a:lnTo>
                  <a:lnTo>
                    <a:pt x="1782" y="367"/>
                  </a:lnTo>
                  <a:lnTo>
                    <a:pt x="1750" y="331"/>
                  </a:lnTo>
                  <a:lnTo>
                    <a:pt x="1717" y="295"/>
                  </a:lnTo>
                  <a:lnTo>
                    <a:pt x="1682" y="262"/>
                  </a:lnTo>
                  <a:lnTo>
                    <a:pt x="1645" y="231"/>
                  </a:lnTo>
                  <a:lnTo>
                    <a:pt x="1607" y="201"/>
                  </a:lnTo>
                  <a:lnTo>
                    <a:pt x="1568" y="172"/>
                  </a:lnTo>
                  <a:lnTo>
                    <a:pt x="1527" y="146"/>
                  </a:lnTo>
                  <a:lnTo>
                    <a:pt x="1485" y="122"/>
                  </a:lnTo>
                  <a:lnTo>
                    <a:pt x="1441" y="100"/>
                  </a:lnTo>
                  <a:lnTo>
                    <a:pt x="1397" y="80"/>
                  </a:lnTo>
                  <a:lnTo>
                    <a:pt x="1352" y="61"/>
                  </a:lnTo>
                  <a:lnTo>
                    <a:pt x="1304" y="45"/>
                  </a:lnTo>
                  <a:lnTo>
                    <a:pt x="1257" y="31"/>
                  </a:lnTo>
                  <a:lnTo>
                    <a:pt x="1208" y="20"/>
                  </a:lnTo>
                  <a:lnTo>
                    <a:pt x="1159" y="11"/>
                  </a:lnTo>
                  <a:lnTo>
                    <a:pt x="1108" y="5"/>
                  </a:lnTo>
                  <a:lnTo>
                    <a:pt x="1057" y="1"/>
                  </a:lnTo>
                  <a:lnTo>
                    <a:pt x="1006" y="0"/>
                  </a:lnTo>
                  <a:lnTo>
                    <a:pt x="954" y="1"/>
                  </a:lnTo>
                  <a:lnTo>
                    <a:pt x="903" y="5"/>
                  </a:lnTo>
                  <a:lnTo>
                    <a:pt x="853" y="11"/>
                  </a:lnTo>
                  <a:lnTo>
                    <a:pt x="803" y="20"/>
                  </a:lnTo>
                  <a:lnTo>
                    <a:pt x="754" y="31"/>
                  </a:lnTo>
                  <a:lnTo>
                    <a:pt x="707" y="45"/>
                  </a:lnTo>
                  <a:lnTo>
                    <a:pt x="661" y="61"/>
                  </a:lnTo>
                  <a:lnTo>
                    <a:pt x="614" y="80"/>
                  </a:lnTo>
                  <a:lnTo>
                    <a:pt x="570" y="100"/>
                  </a:lnTo>
                  <a:lnTo>
                    <a:pt x="527" y="122"/>
                  </a:lnTo>
                  <a:lnTo>
                    <a:pt x="485" y="146"/>
                  </a:lnTo>
                  <a:lnTo>
                    <a:pt x="443" y="172"/>
                  </a:lnTo>
                  <a:lnTo>
                    <a:pt x="404" y="201"/>
                  </a:lnTo>
                  <a:lnTo>
                    <a:pt x="366" y="231"/>
                  </a:lnTo>
                  <a:lnTo>
                    <a:pt x="330" y="262"/>
                  </a:lnTo>
                  <a:lnTo>
                    <a:pt x="294" y="295"/>
                  </a:lnTo>
                  <a:lnTo>
                    <a:pt x="261" y="331"/>
                  </a:lnTo>
                  <a:lnTo>
                    <a:pt x="230" y="367"/>
                  </a:lnTo>
                  <a:lnTo>
                    <a:pt x="200" y="405"/>
                  </a:lnTo>
                  <a:lnTo>
                    <a:pt x="172" y="445"/>
                  </a:lnTo>
                  <a:lnTo>
                    <a:pt x="146" y="486"/>
                  </a:lnTo>
                  <a:lnTo>
                    <a:pt x="121" y="528"/>
                  </a:lnTo>
                  <a:lnTo>
                    <a:pt x="99" y="572"/>
                  </a:lnTo>
                  <a:lnTo>
                    <a:pt x="79" y="616"/>
                  </a:lnTo>
                  <a:lnTo>
                    <a:pt x="61" y="661"/>
                  </a:lnTo>
                  <a:lnTo>
                    <a:pt x="45" y="709"/>
                  </a:lnTo>
                  <a:lnTo>
                    <a:pt x="32" y="756"/>
                  </a:lnTo>
                  <a:lnTo>
                    <a:pt x="21" y="805"/>
                  </a:lnTo>
                  <a:lnTo>
                    <a:pt x="12" y="855"/>
                  </a:lnTo>
                  <a:lnTo>
                    <a:pt x="5" y="905"/>
                  </a:lnTo>
                  <a:lnTo>
                    <a:pt x="2" y="957"/>
                  </a:lnTo>
                  <a:lnTo>
                    <a:pt x="0" y="10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57" name="iśľíde">
              <a:extLst>
                <a:ext uri="{FF2B5EF4-FFF2-40B4-BE49-F238E27FC236}">
                  <a16:creationId xmlns:a16="http://schemas.microsoft.com/office/drawing/2014/main" id="{2D5B88AF-B9C9-443F-89FF-F19D32A61845}"/>
                </a:ext>
              </a:extLst>
            </p:cNvPr>
            <p:cNvSpPr/>
            <p:nvPr/>
          </p:nvSpPr>
          <p:spPr bwMode="auto">
            <a:xfrm>
              <a:off x="7971512" y="912781"/>
              <a:ext cx="38070" cy="38070"/>
            </a:xfrm>
            <a:custGeom>
              <a:avLst/>
              <a:gdLst>
                <a:gd name="T0" fmla="*/ 554 w 1006"/>
                <a:gd name="T1" fmla="*/ 1005 h 1008"/>
                <a:gd name="T2" fmla="*/ 628 w 1006"/>
                <a:gd name="T3" fmla="*/ 992 h 1008"/>
                <a:gd name="T4" fmla="*/ 699 w 1006"/>
                <a:gd name="T5" fmla="*/ 969 h 1008"/>
                <a:gd name="T6" fmla="*/ 763 w 1006"/>
                <a:gd name="T7" fmla="*/ 935 h 1008"/>
                <a:gd name="T8" fmla="*/ 822 w 1006"/>
                <a:gd name="T9" fmla="*/ 893 h 1008"/>
                <a:gd name="T10" fmla="*/ 875 w 1006"/>
                <a:gd name="T11" fmla="*/ 843 h 1008"/>
                <a:gd name="T12" fmla="*/ 920 w 1006"/>
                <a:gd name="T13" fmla="*/ 786 h 1008"/>
                <a:gd name="T14" fmla="*/ 956 w 1006"/>
                <a:gd name="T15" fmla="*/ 723 h 1008"/>
                <a:gd name="T16" fmla="*/ 983 w 1006"/>
                <a:gd name="T17" fmla="*/ 654 h 1008"/>
                <a:gd name="T18" fmla="*/ 1000 w 1006"/>
                <a:gd name="T19" fmla="*/ 581 h 1008"/>
                <a:gd name="T20" fmla="*/ 1006 w 1006"/>
                <a:gd name="T21" fmla="*/ 504 h 1008"/>
                <a:gd name="T22" fmla="*/ 1000 w 1006"/>
                <a:gd name="T23" fmla="*/ 427 h 1008"/>
                <a:gd name="T24" fmla="*/ 983 w 1006"/>
                <a:gd name="T25" fmla="*/ 354 h 1008"/>
                <a:gd name="T26" fmla="*/ 956 w 1006"/>
                <a:gd name="T27" fmla="*/ 285 h 1008"/>
                <a:gd name="T28" fmla="*/ 920 w 1006"/>
                <a:gd name="T29" fmla="*/ 222 h 1008"/>
                <a:gd name="T30" fmla="*/ 875 w 1006"/>
                <a:gd name="T31" fmla="*/ 165 h 1008"/>
                <a:gd name="T32" fmla="*/ 822 w 1006"/>
                <a:gd name="T33" fmla="*/ 115 h 1008"/>
                <a:gd name="T34" fmla="*/ 763 w 1006"/>
                <a:gd name="T35" fmla="*/ 72 h 1008"/>
                <a:gd name="T36" fmla="*/ 699 w 1006"/>
                <a:gd name="T37" fmla="*/ 39 h 1008"/>
                <a:gd name="T38" fmla="*/ 628 w 1006"/>
                <a:gd name="T39" fmla="*/ 16 h 1008"/>
                <a:gd name="T40" fmla="*/ 554 w 1006"/>
                <a:gd name="T41" fmla="*/ 3 h 1008"/>
                <a:gd name="T42" fmla="*/ 476 w 1006"/>
                <a:gd name="T43" fmla="*/ 1 h 1008"/>
                <a:gd name="T44" fmla="*/ 401 w 1006"/>
                <a:gd name="T45" fmla="*/ 10 h 1008"/>
                <a:gd name="T46" fmla="*/ 330 w 1006"/>
                <a:gd name="T47" fmla="*/ 30 h 1008"/>
                <a:gd name="T48" fmla="*/ 263 w 1006"/>
                <a:gd name="T49" fmla="*/ 60 h 1008"/>
                <a:gd name="T50" fmla="*/ 202 w 1006"/>
                <a:gd name="T51" fmla="*/ 100 h 1008"/>
                <a:gd name="T52" fmla="*/ 147 w 1006"/>
                <a:gd name="T53" fmla="*/ 147 h 1008"/>
                <a:gd name="T54" fmla="*/ 99 w 1006"/>
                <a:gd name="T55" fmla="*/ 202 h 1008"/>
                <a:gd name="T56" fmla="*/ 61 w 1006"/>
                <a:gd name="T57" fmla="*/ 264 h 1008"/>
                <a:gd name="T58" fmla="*/ 30 w 1006"/>
                <a:gd name="T59" fmla="*/ 330 h 1008"/>
                <a:gd name="T60" fmla="*/ 10 w 1006"/>
                <a:gd name="T61" fmla="*/ 402 h 1008"/>
                <a:gd name="T62" fmla="*/ 1 w 1006"/>
                <a:gd name="T63" fmla="*/ 478 h 1008"/>
                <a:gd name="T64" fmla="*/ 3 w 1006"/>
                <a:gd name="T65" fmla="*/ 555 h 1008"/>
                <a:gd name="T66" fmla="*/ 16 w 1006"/>
                <a:gd name="T67" fmla="*/ 630 h 1008"/>
                <a:gd name="T68" fmla="*/ 39 w 1006"/>
                <a:gd name="T69" fmla="*/ 700 h 1008"/>
                <a:gd name="T70" fmla="*/ 73 w 1006"/>
                <a:gd name="T71" fmla="*/ 765 h 1008"/>
                <a:gd name="T72" fmla="*/ 114 w 1006"/>
                <a:gd name="T73" fmla="*/ 824 h 1008"/>
                <a:gd name="T74" fmla="*/ 165 w 1006"/>
                <a:gd name="T75" fmla="*/ 877 h 1008"/>
                <a:gd name="T76" fmla="*/ 222 w 1006"/>
                <a:gd name="T77" fmla="*/ 922 h 1008"/>
                <a:gd name="T78" fmla="*/ 284 w 1006"/>
                <a:gd name="T79" fmla="*/ 959 h 1008"/>
                <a:gd name="T80" fmla="*/ 353 w 1006"/>
                <a:gd name="T81" fmla="*/ 985 h 1008"/>
                <a:gd name="T82" fmla="*/ 426 w 1006"/>
                <a:gd name="T83" fmla="*/ 1002 h 1008"/>
                <a:gd name="T84" fmla="*/ 503 w 1006"/>
                <a:gd name="T85" fmla="*/ 1008 h 1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" h="1008">
                  <a:moveTo>
                    <a:pt x="503" y="1008"/>
                  </a:moveTo>
                  <a:lnTo>
                    <a:pt x="529" y="1007"/>
                  </a:lnTo>
                  <a:lnTo>
                    <a:pt x="554" y="1005"/>
                  </a:lnTo>
                  <a:lnTo>
                    <a:pt x="579" y="1002"/>
                  </a:lnTo>
                  <a:lnTo>
                    <a:pt x="604" y="998"/>
                  </a:lnTo>
                  <a:lnTo>
                    <a:pt x="628" y="992"/>
                  </a:lnTo>
                  <a:lnTo>
                    <a:pt x="652" y="985"/>
                  </a:lnTo>
                  <a:lnTo>
                    <a:pt x="676" y="978"/>
                  </a:lnTo>
                  <a:lnTo>
                    <a:pt x="699" y="969"/>
                  </a:lnTo>
                  <a:lnTo>
                    <a:pt x="721" y="959"/>
                  </a:lnTo>
                  <a:lnTo>
                    <a:pt x="742" y="948"/>
                  </a:lnTo>
                  <a:lnTo>
                    <a:pt x="763" y="935"/>
                  </a:lnTo>
                  <a:lnTo>
                    <a:pt x="784" y="922"/>
                  </a:lnTo>
                  <a:lnTo>
                    <a:pt x="803" y="908"/>
                  </a:lnTo>
                  <a:lnTo>
                    <a:pt x="822" y="893"/>
                  </a:lnTo>
                  <a:lnTo>
                    <a:pt x="841" y="877"/>
                  </a:lnTo>
                  <a:lnTo>
                    <a:pt x="859" y="861"/>
                  </a:lnTo>
                  <a:lnTo>
                    <a:pt x="875" y="843"/>
                  </a:lnTo>
                  <a:lnTo>
                    <a:pt x="891" y="824"/>
                  </a:lnTo>
                  <a:lnTo>
                    <a:pt x="906" y="805"/>
                  </a:lnTo>
                  <a:lnTo>
                    <a:pt x="920" y="786"/>
                  </a:lnTo>
                  <a:lnTo>
                    <a:pt x="933" y="765"/>
                  </a:lnTo>
                  <a:lnTo>
                    <a:pt x="945" y="744"/>
                  </a:lnTo>
                  <a:lnTo>
                    <a:pt x="956" y="723"/>
                  </a:lnTo>
                  <a:lnTo>
                    <a:pt x="966" y="700"/>
                  </a:lnTo>
                  <a:lnTo>
                    <a:pt x="975" y="677"/>
                  </a:lnTo>
                  <a:lnTo>
                    <a:pt x="983" y="654"/>
                  </a:lnTo>
                  <a:lnTo>
                    <a:pt x="989" y="630"/>
                  </a:lnTo>
                  <a:lnTo>
                    <a:pt x="996" y="606"/>
                  </a:lnTo>
                  <a:lnTo>
                    <a:pt x="1000" y="581"/>
                  </a:lnTo>
                  <a:lnTo>
                    <a:pt x="1004" y="555"/>
                  </a:lnTo>
                  <a:lnTo>
                    <a:pt x="1006" y="530"/>
                  </a:lnTo>
                  <a:lnTo>
                    <a:pt x="1006" y="504"/>
                  </a:lnTo>
                  <a:lnTo>
                    <a:pt x="1006" y="478"/>
                  </a:lnTo>
                  <a:lnTo>
                    <a:pt x="1004" y="452"/>
                  </a:lnTo>
                  <a:lnTo>
                    <a:pt x="1000" y="427"/>
                  </a:lnTo>
                  <a:lnTo>
                    <a:pt x="996" y="402"/>
                  </a:lnTo>
                  <a:lnTo>
                    <a:pt x="989" y="378"/>
                  </a:lnTo>
                  <a:lnTo>
                    <a:pt x="983" y="354"/>
                  </a:lnTo>
                  <a:lnTo>
                    <a:pt x="975" y="330"/>
                  </a:lnTo>
                  <a:lnTo>
                    <a:pt x="966" y="307"/>
                  </a:lnTo>
                  <a:lnTo>
                    <a:pt x="956" y="285"/>
                  </a:lnTo>
                  <a:lnTo>
                    <a:pt x="945" y="264"/>
                  </a:lnTo>
                  <a:lnTo>
                    <a:pt x="933" y="243"/>
                  </a:lnTo>
                  <a:lnTo>
                    <a:pt x="920" y="222"/>
                  </a:lnTo>
                  <a:lnTo>
                    <a:pt x="906" y="202"/>
                  </a:lnTo>
                  <a:lnTo>
                    <a:pt x="891" y="183"/>
                  </a:lnTo>
                  <a:lnTo>
                    <a:pt x="875" y="165"/>
                  </a:lnTo>
                  <a:lnTo>
                    <a:pt x="859" y="147"/>
                  </a:lnTo>
                  <a:lnTo>
                    <a:pt x="841" y="131"/>
                  </a:lnTo>
                  <a:lnTo>
                    <a:pt x="822" y="115"/>
                  </a:lnTo>
                  <a:lnTo>
                    <a:pt x="803" y="100"/>
                  </a:lnTo>
                  <a:lnTo>
                    <a:pt x="784" y="85"/>
                  </a:lnTo>
                  <a:lnTo>
                    <a:pt x="763" y="72"/>
                  </a:lnTo>
                  <a:lnTo>
                    <a:pt x="742" y="60"/>
                  </a:lnTo>
                  <a:lnTo>
                    <a:pt x="721" y="49"/>
                  </a:lnTo>
                  <a:lnTo>
                    <a:pt x="699" y="39"/>
                  </a:lnTo>
                  <a:lnTo>
                    <a:pt x="676" y="30"/>
                  </a:lnTo>
                  <a:lnTo>
                    <a:pt x="652" y="22"/>
                  </a:lnTo>
                  <a:lnTo>
                    <a:pt x="628" y="16"/>
                  </a:lnTo>
                  <a:lnTo>
                    <a:pt x="604" y="10"/>
                  </a:lnTo>
                  <a:lnTo>
                    <a:pt x="579" y="6"/>
                  </a:lnTo>
                  <a:lnTo>
                    <a:pt x="554" y="3"/>
                  </a:lnTo>
                  <a:lnTo>
                    <a:pt x="529" y="1"/>
                  </a:lnTo>
                  <a:lnTo>
                    <a:pt x="503" y="0"/>
                  </a:lnTo>
                  <a:lnTo>
                    <a:pt x="476" y="1"/>
                  </a:lnTo>
                  <a:lnTo>
                    <a:pt x="451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4" y="49"/>
                  </a:lnTo>
                  <a:lnTo>
                    <a:pt x="263" y="60"/>
                  </a:lnTo>
                  <a:lnTo>
                    <a:pt x="242" y="72"/>
                  </a:lnTo>
                  <a:lnTo>
                    <a:pt x="222" y="85"/>
                  </a:lnTo>
                  <a:lnTo>
                    <a:pt x="202" y="100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0" y="165"/>
                  </a:lnTo>
                  <a:lnTo>
                    <a:pt x="114" y="183"/>
                  </a:lnTo>
                  <a:lnTo>
                    <a:pt x="99" y="202"/>
                  </a:lnTo>
                  <a:lnTo>
                    <a:pt x="86" y="222"/>
                  </a:lnTo>
                  <a:lnTo>
                    <a:pt x="73" y="243"/>
                  </a:lnTo>
                  <a:lnTo>
                    <a:pt x="61" y="264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3" y="354"/>
                  </a:lnTo>
                  <a:lnTo>
                    <a:pt x="16" y="378"/>
                  </a:lnTo>
                  <a:lnTo>
                    <a:pt x="10" y="402"/>
                  </a:lnTo>
                  <a:lnTo>
                    <a:pt x="6" y="427"/>
                  </a:lnTo>
                  <a:lnTo>
                    <a:pt x="3" y="452"/>
                  </a:lnTo>
                  <a:lnTo>
                    <a:pt x="1" y="478"/>
                  </a:lnTo>
                  <a:lnTo>
                    <a:pt x="0" y="504"/>
                  </a:lnTo>
                  <a:lnTo>
                    <a:pt x="1" y="530"/>
                  </a:lnTo>
                  <a:lnTo>
                    <a:pt x="3" y="555"/>
                  </a:lnTo>
                  <a:lnTo>
                    <a:pt x="6" y="581"/>
                  </a:lnTo>
                  <a:lnTo>
                    <a:pt x="10" y="606"/>
                  </a:lnTo>
                  <a:lnTo>
                    <a:pt x="16" y="630"/>
                  </a:lnTo>
                  <a:lnTo>
                    <a:pt x="23" y="654"/>
                  </a:lnTo>
                  <a:lnTo>
                    <a:pt x="30" y="677"/>
                  </a:lnTo>
                  <a:lnTo>
                    <a:pt x="39" y="700"/>
                  </a:lnTo>
                  <a:lnTo>
                    <a:pt x="49" y="723"/>
                  </a:lnTo>
                  <a:lnTo>
                    <a:pt x="61" y="744"/>
                  </a:lnTo>
                  <a:lnTo>
                    <a:pt x="73" y="765"/>
                  </a:lnTo>
                  <a:lnTo>
                    <a:pt x="86" y="786"/>
                  </a:lnTo>
                  <a:lnTo>
                    <a:pt x="99" y="805"/>
                  </a:lnTo>
                  <a:lnTo>
                    <a:pt x="114" y="824"/>
                  </a:lnTo>
                  <a:lnTo>
                    <a:pt x="130" y="843"/>
                  </a:lnTo>
                  <a:lnTo>
                    <a:pt x="147" y="861"/>
                  </a:lnTo>
                  <a:lnTo>
                    <a:pt x="165" y="877"/>
                  </a:lnTo>
                  <a:lnTo>
                    <a:pt x="183" y="893"/>
                  </a:lnTo>
                  <a:lnTo>
                    <a:pt x="202" y="908"/>
                  </a:lnTo>
                  <a:lnTo>
                    <a:pt x="222" y="922"/>
                  </a:lnTo>
                  <a:lnTo>
                    <a:pt x="242" y="935"/>
                  </a:lnTo>
                  <a:lnTo>
                    <a:pt x="263" y="948"/>
                  </a:lnTo>
                  <a:lnTo>
                    <a:pt x="284" y="959"/>
                  </a:lnTo>
                  <a:lnTo>
                    <a:pt x="307" y="969"/>
                  </a:lnTo>
                  <a:lnTo>
                    <a:pt x="330" y="978"/>
                  </a:lnTo>
                  <a:lnTo>
                    <a:pt x="353" y="985"/>
                  </a:lnTo>
                  <a:lnTo>
                    <a:pt x="377" y="992"/>
                  </a:lnTo>
                  <a:lnTo>
                    <a:pt x="401" y="998"/>
                  </a:lnTo>
                  <a:lnTo>
                    <a:pt x="426" y="1002"/>
                  </a:lnTo>
                  <a:lnTo>
                    <a:pt x="451" y="1005"/>
                  </a:lnTo>
                  <a:lnTo>
                    <a:pt x="476" y="1007"/>
                  </a:lnTo>
                  <a:lnTo>
                    <a:pt x="503" y="10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58" name="ïṧḷîḓé">
              <a:extLst>
                <a:ext uri="{FF2B5EF4-FFF2-40B4-BE49-F238E27FC236}">
                  <a16:creationId xmlns:a16="http://schemas.microsoft.com/office/drawing/2014/main" id="{BC9EE6CC-9DCC-43A4-BC24-2032CD70191A}"/>
                </a:ext>
              </a:extLst>
            </p:cNvPr>
            <p:cNvSpPr/>
            <p:nvPr/>
          </p:nvSpPr>
          <p:spPr bwMode="auto">
            <a:xfrm>
              <a:off x="8278886" y="623737"/>
              <a:ext cx="38070" cy="39479"/>
            </a:xfrm>
            <a:custGeom>
              <a:avLst/>
              <a:gdLst>
                <a:gd name="T0" fmla="*/ 452 w 1006"/>
                <a:gd name="T1" fmla="*/ 3 h 1008"/>
                <a:gd name="T2" fmla="*/ 377 w 1006"/>
                <a:gd name="T3" fmla="*/ 16 h 1008"/>
                <a:gd name="T4" fmla="*/ 307 w 1006"/>
                <a:gd name="T5" fmla="*/ 39 h 1008"/>
                <a:gd name="T6" fmla="*/ 243 w 1006"/>
                <a:gd name="T7" fmla="*/ 72 h 1008"/>
                <a:gd name="T8" fmla="*/ 183 w 1006"/>
                <a:gd name="T9" fmla="*/ 115 h 1008"/>
                <a:gd name="T10" fmla="*/ 131 w 1006"/>
                <a:gd name="T11" fmla="*/ 165 h 1008"/>
                <a:gd name="T12" fmla="*/ 86 w 1006"/>
                <a:gd name="T13" fmla="*/ 222 h 1008"/>
                <a:gd name="T14" fmla="*/ 49 w 1006"/>
                <a:gd name="T15" fmla="*/ 285 h 1008"/>
                <a:gd name="T16" fmla="*/ 22 w 1006"/>
                <a:gd name="T17" fmla="*/ 354 h 1008"/>
                <a:gd name="T18" fmla="*/ 6 w 1006"/>
                <a:gd name="T19" fmla="*/ 427 h 1008"/>
                <a:gd name="T20" fmla="*/ 0 w 1006"/>
                <a:gd name="T21" fmla="*/ 504 h 1008"/>
                <a:gd name="T22" fmla="*/ 6 w 1006"/>
                <a:gd name="T23" fmla="*/ 581 h 1008"/>
                <a:gd name="T24" fmla="*/ 22 w 1006"/>
                <a:gd name="T25" fmla="*/ 654 h 1008"/>
                <a:gd name="T26" fmla="*/ 49 w 1006"/>
                <a:gd name="T27" fmla="*/ 723 h 1008"/>
                <a:gd name="T28" fmla="*/ 86 w 1006"/>
                <a:gd name="T29" fmla="*/ 786 h 1008"/>
                <a:gd name="T30" fmla="*/ 131 w 1006"/>
                <a:gd name="T31" fmla="*/ 843 h 1008"/>
                <a:gd name="T32" fmla="*/ 183 w 1006"/>
                <a:gd name="T33" fmla="*/ 893 h 1008"/>
                <a:gd name="T34" fmla="*/ 243 w 1006"/>
                <a:gd name="T35" fmla="*/ 936 h 1008"/>
                <a:gd name="T36" fmla="*/ 307 w 1006"/>
                <a:gd name="T37" fmla="*/ 969 h 1008"/>
                <a:gd name="T38" fmla="*/ 377 w 1006"/>
                <a:gd name="T39" fmla="*/ 992 h 1008"/>
                <a:gd name="T40" fmla="*/ 452 w 1006"/>
                <a:gd name="T41" fmla="*/ 1005 h 1008"/>
                <a:gd name="T42" fmla="*/ 529 w 1006"/>
                <a:gd name="T43" fmla="*/ 1007 h 1008"/>
                <a:gd name="T44" fmla="*/ 605 w 1006"/>
                <a:gd name="T45" fmla="*/ 998 h 1008"/>
                <a:gd name="T46" fmla="*/ 676 w 1006"/>
                <a:gd name="T47" fmla="*/ 978 h 1008"/>
                <a:gd name="T48" fmla="*/ 743 w 1006"/>
                <a:gd name="T49" fmla="*/ 948 h 1008"/>
                <a:gd name="T50" fmla="*/ 804 w 1006"/>
                <a:gd name="T51" fmla="*/ 908 h 1008"/>
                <a:gd name="T52" fmla="*/ 858 w 1006"/>
                <a:gd name="T53" fmla="*/ 861 h 1008"/>
                <a:gd name="T54" fmla="*/ 906 w 1006"/>
                <a:gd name="T55" fmla="*/ 805 h 1008"/>
                <a:gd name="T56" fmla="*/ 946 w 1006"/>
                <a:gd name="T57" fmla="*/ 744 h 1008"/>
                <a:gd name="T58" fmla="*/ 976 w 1006"/>
                <a:gd name="T59" fmla="*/ 677 h 1008"/>
                <a:gd name="T60" fmla="*/ 996 w 1006"/>
                <a:gd name="T61" fmla="*/ 606 h 1008"/>
                <a:gd name="T62" fmla="*/ 1005 w 1006"/>
                <a:gd name="T63" fmla="*/ 530 h 1008"/>
                <a:gd name="T64" fmla="*/ 1003 w 1006"/>
                <a:gd name="T65" fmla="*/ 453 h 1008"/>
                <a:gd name="T66" fmla="*/ 990 w 1006"/>
                <a:gd name="T67" fmla="*/ 378 h 1008"/>
                <a:gd name="T68" fmla="*/ 967 w 1006"/>
                <a:gd name="T69" fmla="*/ 307 h 1008"/>
                <a:gd name="T70" fmla="*/ 934 w 1006"/>
                <a:gd name="T71" fmla="*/ 243 h 1008"/>
                <a:gd name="T72" fmla="*/ 891 w 1006"/>
                <a:gd name="T73" fmla="*/ 183 h 1008"/>
                <a:gd name="T74" fmla="*/ 841 w 1006"/>
                <a:gd name="T75" fmla="*/ 131 h 1008"/>
                <a:gd name="T76" fmla="*/ 784 w 1006"/>
                <a:gd name="T77" fmla="*/ 86 h 1008"/>
                <a:gd name="T78" fmla="*/ 721 w 1006"/>
                <a:gd name="T79" fmla="*/ 49 h 1008"/>
                <a:gd name="T80" fmla="*/ 653 w 1006"/>
                <a:gd name="T81" fmla="*/ 22 h 1008"/>
                <a:gd name="T82" fmla="*/ 580 w 1006"/>
                <a:gd name="T83" fmla="*/ 6 h 1008"/>
                <a:gd name="T84" fmla="*/ 503 w 1006"/>
                <a:gd name="T85" fmla="*/ 0 h 1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" h="1008">
                  <a:moveTo>
                    <a:pt x="503" y="0"/>
                  </a:moveTo>
                  <a:lnTo>
                    <a:pt x="477" y="1"/>
                  </a:lnTo>
                  <a:lnTo>
                    <a:pt x="452" y="3"/>
                  </a:lnTo>
                  <a:lnTo>
                    <a:pt x="427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5" y="49"/>
                  </a:lnTo>
                  <a:lnTo>
                    <a:pt x="264" y="60"/>
                  </a:lnTo>
                  <a:lnTo>
                    <a:pt x="243" y="72"/>
                  </a:lnTo>
                  <a:lnTo>
                    <a:pt x="221" y="86"/>
                  </a:lnTo>
                  <a:lnTo>
                    <a:pt x="202" y="100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100" y="203"/>
                  </a:lnTo>
                  <a:lnTo>
                    <a:pt x="86" y="222"/>
                  </a:lnTo>
                  <a:lnTo>
                    <a:pt x="73" y="243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1"/>
                  </a:lnTo>
                  <a:lnTo>
                    <a:pt x="22" y="354"/>
                  </a:lnTo>
                  <a:lnTo>
                    <a:pt x="16" y="378"/>
                  </a:lnTo>
                  <a:lnTo>
                    <a:pt x="10" y="402"/>
                  </a:lnTo>
                  <a:lnTo>
                    <a:pt x="6" y="427"/>
                  </a:lnTo>
                  <a:lnTo>
                    <a:pt x="3" y="453"/>
                  </a:lnTo>
                  <a:lnTo>
                    <a:pt x="1" y="478"/>
                  </a:lnTo>
                  <a:lnTo>
                    <a:pt x="0" y="504"/>
                  </a:lnTo>
                  <a:lnTo>
                    <a:pt x="1" y="530"/>
                  </a:lnTo>
                  <a:lnTo>
                    <a:pt x="3" y="555"/>
                  </a:lnTo>
                  <a:lnTo>
                    <a:pt x="6" y="581"/>
                  </a:lnTo>
                  <a:lnTo>
                    <a:pt x="10" y="606"/>
                  </a:lnTo>
                  <a:lnTo>
                    <a:pt x="16" y="630"/>
                  </a:lnTo>
                  <a:lnTo>
                    <a:pt x="22" y="654"/>
                  </a:lnTo>
                  <a:lnTo>
                    <a:pt x="30" y="677"/>
                  </a:lnTo>
                  <a:lnTo>
                    <a:pt x="39" y="701"/>
                  </a:lnTo>
                  <a:lnTo>
                    <a:pt x="49" y="723"/>
                  </a:lnTo>
                  <a:lnTo>
                    <a:pt x="60" y="744"/>
                  </a:lnTo>
                  <a:lnTo>
                    <a:pt x="73" y="765"/>
                  </a:lnTo>
                  <a:lnTo>
                    <a:pt x="86" y="786"/>
                  </a:lnTo>
                  <a:lnTo>
                    <a:pt x="100" y="805"/>
                  </a:lnTo>
                  <a:lnTo>
                    <a:pt x="115" y="825"/>
                  </a:lnTo>
                  <a:lnTo>
                    <a:pt x="131" y="843"/>
                  </a:lnTo>
                  <a:lnTo>
                    <a:pt x="147" y="861"/>
                  </a:lnTo>
                  <a:lnTo>
                    <a:pt x="165" y="877"/>
                  </a:lnTo>
                  <a:lnTo>
                    <a:pt x="183" y="893"/>
                  </a:lnTo>
                  <a:lnTo>
                    <a:pt x="202" y="908"/>
                  </a:lnTo>
                  <a:lnTo>
                    <a:pt x="221" y="922"/>
                  </a:lnTo>
                  <a:lnTo>
                    <a:pt x="243" y="936"/>
                  </a:lnTo>
                  <a:lnTo>
                    <a:pt x="264" y="948"/>
                  </a:lnTo>
                  <a:lnTo>
                    <a:pt x="285" y="959"/>
                  </a:lnTo>
                  <a:lnTo>
                    <a:pt x="307" y="969"/>
                  </a:lnTo>
                  <a:lnTo>
                    <a:pt x="330" y="978"/>
                  </a:lnTo>
                  <a:lnTo>
                    <a:pt x="353" y="986"/>
                  </a:lnTo>
                  <a:lnTo>
                    <a:pt x="377" y="992"/>
                  </a:lnTo>
                  <a:lnTo>
                    <a:pt x="401" y="998"/>
                  </a:lnTo>
                  <a:lnTo>
                    <a:pt x="427" y="1002"/>
                  </a:lnTo>
                  <a:lnTo>
                    <a:pt x="452" y="1005"/>
                  </a:lnTo>
                  <a:lnTo>
                    <a:pt x="477" y="1007"/>
                  </a:lnTo>
                  <a:lnTo>
                    <a:pt x="503" y="1008"/>
                  </a:lnTo>
                  <a:lnTo>
                    <a:pt x="529" y="1007"/>
                  </a:lnTo>
                  <a:lnTo>
                    <a:pt x="554" y="1005"/>
                  </a:lnTo>
                  <a:lnTo>
                    <a:pt x="580" y="1002"/>
                  </a:lnTo>
                  <a:lnTo>
                    <a:pt x="605" y="998"/>
                  </a:lnTo>
                  <a:lnTo>
                    <a:pt x="629" y="992"/>
                  </a:lnTo>
                  <a:lnTo>
                    <a:pt x="653" y="986"/>
                  </a:lnTo>
                  <a:lnTo>
                    <a:pt x="676" y="978"/>
                  </a:lnTo>
                  <a:lnTo>
                    <a:pt x="699" y="969"/>
                  </a:lnTo>
                  <a:lnTo>
                    <a:pt x="721" y="959"/>
                  </a:lnTo>
                  <a:lnTo>
                    <a:pt x="743" y="948"/>
                  </a:lnTo>
                  <a:lnTo>
                    <a:pt x="764" y="936"/>
                  </a:lnTo>
                  <a:lnTo>
                    <a:pt x="784" y="922"/>
                  </a:lnTo>
                  <a:lnTo>
                    <a:pt x="804" y="908"/>
                  </a:lnTo>
                  <a:lnTo>
                    <a:pt x="823" y="893"/>
                  </a:lnTo>
                  <a:lnTo>
                    <a:pt x="841" y="877"/>
                  </a:lnTo>
                  <a:lnTo>
                    <a:pt x="858" y="861"/>
                  </a:lnTo>
                  <a:lnTo>
                    <a:pt x="875" y="843"/>
                  </a:lnTo>
                  <a:lnTo>
                    <a:pt x="891" y="825"/>
                  </a:lnTo>
                  <a:lnTo>
                    <a:pt x="906" y="805"/>
                  </a:lnTo>
                  <a:lnTo>
                    <a:pt x="921" y="786"/>
                  </a:lnTo>
                  <a:lnTo>
                    <a:pt x="934" y="765"/>
                  </a:lnTo>
                  <a:lnTo>
                    <a:pt x="946" y="744"/>
                  </a:lnTo>
                  <a:lnTo>
                    <a:pt x="957" y="723"/>
                  </a:lnTo>
                  <a:lnTo>
                    <a:pt x="967" y="701"/>
                  </a:lnTo>
                  <a:lnTo>
                    <a:pt x="976" y="677"/>
                  </a:lnTo>
                  <a:lnTo>
                    <a:pt x="983" y="654"/>
                  </a:lnTo>
                  <a:lnTo>
                    <a:pt x="990" y="630"/>
                  </a:lnTo>
                  <a:lnTo>
                    <a:pt x="996" y="606"/>
                  </a:lnTo>
                  <a:lnTo>
                    <a:pt x="1000" y="581"/>
                  </a:lnTo>
                  <a:lnTo>
                    <a:pt x="1003" y="555"/>
                  </a:lnTo>
                  <a:lnTo>
                    <a:pt x="1005" y="530"/>
                  </a:lnTo>
                  <a:lnTo>
                    <a:pt x="1006" y="504"/>
                  </a:lnTo>
                  <a:lnTo>
                    <a:pt x="1005" y="478"/>
                  </a:lnTo>
                  <a:lnTo>
                    <a:pt x="1003" y="453"/>
                  </a:lnTo>
                  <a:lnTo>
                    <a:pt x="1000" y="427"/>
                  </a:lnTo>
                  <a:lnTo>
                    <a:pt x="996" y="402"/>
                  </a:lnTo>
                  <a:lnTo>
                    <a:pt x="990" y="378"/>
                  </a:lnTo>
                  <a:lnTo>
                    <a:pt x="983" y="354"/>
                  </a:lnTo>
                  <a:lnTo>
                    <a:pt x="976" y="331"/>
                  </a:lnTo>
                  <a:lnTo>
                    <a:pt x="967" y="307"/>
                  </a:lnTo>
                  <a:lnTo>
                    <a:pt x="957" y="285"/>
                  </a:lnTo>
                  <a:lnTo>
                    <a:pt x="946" y="263"/>
                  </a:lnTo>
                  <a:lnTo>
                    <a:pt x="934" y="243"/>
                  </a:lnTo>
                  <a:lnTo>
                    <a:pt x="921" y="222"/>
                  </a:lnTo>
                  <a:lnTo>
                    <a:pt x="906" y="203"/>
                  </a:lnTo>
                  <a:lnTo>
                    <a:pt x="891" y="183"/>
                  </a:lnTo>
                  <a:lnTo>
                    <a:pt x="875" y="165"/>
                  </a:lnTo>
                  <a:lnTo>
                    <a:pt x="858" y="147"/>
                  </a:lnTo>
                  <a:lnTo>
                    <a:pt x="841" y="131"/>
                  </a:lnTo>
                  <a:lnTo>
                    <a:pt x="823" y="115"/>
                  </a:lnTo>
                  <a:lnTo>
                    <a:pt x="804" y="100"/>
                  </a:lnTo>
                  <a:lnTo>
                    <a:pt x="784" y="86"/>
                  </a:lnTo>
                  <a:lnTo>
                    <a:pt x="764" y="72"/>
                  </a:lnTo>
                  <a:lnTo>
                    <a:pt x="743" y="60"/>
                  </a:lnTo>
                  <a:lnTo>
                    <a:pt x="721" y="49"/>
                  </a:lnTo>
                  <a:lnTo>
                    <a:pt x="699" y="39"/>
                  </a:lnTo>
                  <a:lnTo>
                    <a:pt x="676" y="30"/>
                  </a:lnTo>
                  <a:lnTo>
                    <a:pt x="653" y="22"/>
                  </a:lnTo>
                  <a:lnTo>
                    <a:pt x="629" y="16"/>
                  </a:lnTo>
                  <a:lnTo>
                    <a:pt x="605" y="10"/>
                  </a:lnTo>
                  <a:lnTo>
                    <a:pt x="580" y="6"/>
                  </a:lnTo>
                  <a:lnTo>
                    <a:pt x="554" y="3"/>
                  </a:lnTo>
                  <a:lnTo>
                    <a:pt x="529" y="1"/>
                  </a:lnTo>
                  <a:lnTo>
                    <a:pt x="50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59" name="islide">
              <a:extLst>
                <a:ext uri="{FF2B5EF4-FFF2-40B4-BE49-F238E27FC236}">
                  <a16:creationId xmlns:a16="http://schemas.microsoft.com/office/drawing/2014/main" id="{AC5A71F9-64A7-409B-927D-F232E55B8D1E}"/>
                </a:ext>
              </a:extLst>
            </p:cNvPr>
            <p:cNvSpPr/>
            <p:nvPr/>
          </p:nvSpPr>
          <p:spPr bwMode="auto">
            <a:xfrm>
              <a:off x="9537158" y="147300"/>
              <a:ext cx="236122" cy="151900"/>
            </a:xfrm>
            <a:custGeom>
              <a:avLst/>
              <a:gdLst>
                <a:gd name="T0" fmla="*/ 4713 w 5797"/>
                <a:gd name="T1" fmla="*/ 41 h 3756"/>
                <a:gd name="T2" fmla="*/ 3661 w 5797"/>
                <a:gd name="T3" fmla="*/ 216 h 3756"/>
                <a:gd name="T4" fmla="*/ 2695 w 5797"/>
                <a:gd name="T5" fmla="*/ 516 h 3756"/>
                <a:gd name="T6" fmla="*/ 1839 w 5797"/>
                <a:gd name="T7" fmla="*/ 924 h 3756"/>
                <a:gd name="T8" fmla="*/ 1118 w 5797"/>
                <a:gd name="T9" fmla="*/ 1423 h 3756"/>
                <a:gd name="T10" fmla="*/ 556 w 5797"/>
                <a:gd name="T11" fmla="*/ 2001 h 3756"/>
                <a:gd name="T12" fmla="*/ 178 w 5797"/>
                <a:gd name="T13" fmla="*/ 2641 h 3756"/>
                <a:gd name="T14" fmla="*/ 7 w 5797"/>
                <a:gd name="T15" fmla="*/ 3329 h 3756"/>
                <a:gd name="T16" fmla="*/ 3 w 5797"/>
                <a:gd name="T17" fmla="*/ 3544 h 3756"/>
                <a:gd name="T18" fmla="*/ 15 w 5797"/>
                <a:gd name="T19" fmla="*/ 3592 h 3756"/>
                <a:gd name="T20" fmla="*/ 36 w 5797"/>
                <a:gd name="T21" fmla="*/ 3636 h 3756"/>
                <a:gd name="T22" fmla="*/ 65 w 5797"/>
                <a:gd name="T23" fmla="*/ 3674 h 3756"/>
                <a:gd name="T24" fmla="*/ 100 w 5797"/>
                <a:gd name="T25" fmla="*/ 3706 h 3756"/>
                <a:gd name="T26" fmla="*/ 143 w 5797"/>
                <a:gd name="T27" fmla="*/ 3731 h 3756"/>
                <a:gd name="T28" fmla="*/ 189 w 5797"/>
                <a:gd name="T29" fmla="*/ 3748 h 3756"/>
                <a:gd name="T30" fmla="*/ 239 w 5797"/>
                <a:gd name="T31" fmla="*/ 3756 h 3756"/>
                <a:gd name="T32" fmla="*/ 290 w 5797"/>
                <a:gd name="T33" fmla="*/ 3753 h 3756"/>
                <a:gd name="T34" fmla="*/ 338 w 5797"/>
                <a:gd name="T35" fmla="*/ 3741 h 3756"/>
                <a:gd name="T36" fmla="*/ 383 w 5797"/>
                <a:gd name="T37" fmla="*/ 3720 h 3756"/>
                <a:gd name="T38" fmla="*/ 421 w 5797"/>
                <a:gd name="T39" fmla="*/ 3691 h 3756"/>
                <a:gd name="T40" fmla="*/ 453 w 5797"/>
                <a:gd name="T41" fmla="*/ 3655 h 3756"/>
                <a:gd name="T42" fmla="*/ 479 w 5797"/>
                <a:gd name="T43" fmla="*/ 3614 h 3756"/>
                <a:gd name="T44" fmla="*/ 496 w 5797"/>
                <a:gd name="T45" fmla="*/ 3568 h 3756"/>
                <a:gd name="T46" fmla="*/ 504 w 5797"/>
                <a:gd name="T47" fmla="*/ 3519 h 3756"/>
                <a:gd name="T48" fmla="*/ 564 w 5797"/>
                <a:gd name="T49" fmla="*/ 3062 h 3756"/>
                <a:gd name="T50" fmla="*/ 820 w 5797"/>
                <a:gd name="T51" fmla="*/ 2496 h 3756"/>
                <a:gd name="T52" fmla="*/ 1257 w 5797"/>
                <a:gd name="T53" fmla="*/ 1973 h 3756"/>
                <a:gd name="T54" fmla="*/ 1848 w 5797"/>
                <a:gd name="T55" fmla="*/ 1509 h 3756"/>
                <a:gd name="T56" fmla="*/ 2572 w 5797"/>
                <a:gd name="T57" fmla="*/ 1115 h 3756"/>
                <a:gd name="T58" fmla="*/ 3402 w 5797"/>
                <a:gd name="T59" fmla="*/ 807 h 3756"/>
                <a:gd name="T60" fmla="*/ 4318 w 5797"/>
                <a:gd name="T61" fmla="*/ 599 h 3756"/>
                <a:gd name="T62" fmla="*/ 5294 w 5797"/>
                <a:gd name="T63" fmla="*/ 505 h 3756"/>
                <a:gd name="T64" fmla="*/ 5583 w 5797"/>
                <a:gd name="T65" fmla="*/ 498 h 3756"/>
                <a:gd name="T66" fmla="*/ 5632 w 5797"/>
                <a:gd name="T67" fmla="*/ 486 h 3756"/>
                <a:gd name="T68" fmla="*/ 5676 w 5797"/>
                <a:gd name="T69" fmla="*/ 465 h 3756"/>
                <a:gd name="T70" fmla="*/ 5714 w 5797"/>
                <a:gd name="T71" fmla="*/ 436 h 3756"/>
                <a:gd name="T72" fmla="*/ 5747 w 5797"/>
                <a:gd name="T73" fmla="*/ 401 h 3756"/>
                <a:gd name="T74" fmla="*/ 5772 w 5797"/>
                <a:gd name="T75" fmla="*/ 359 h 3756"/>
                <a:gd name="T76" fmla="*/ 5789 w 5797"/>
                <a:gd name="T77" fmla="*/ 313 h 3756"/>
                <a:gd name="T78" fmla="*/ 5797 w 5797"/>
                <a:gd name="T79" fmla="*/ 264 h 3756"/>
                <a:gd name="T80" fmla="*/ 5794 w 5797"/>
                <a:gd name="T81" fmla="*/ 212 h 3756"/>
                <a:gd name="T82" fmla="*/ 5782 w 5797"/>
                <a:gd name="T83" fmla="*/ 164 h 3756"/>
                <a:gd name="T84" fmla="*/ 5761 w 5797"/>
                <a:gd name="T85" fmla="*/ 120 h 3756"/>
                <a:gd name="T86" fmla="*/ 5732 w 5797"/>
                <a:gd name="T87" fmla="*/ 82 h 3756"/>
                <a:gd name="T88" fmla="*/ 5696 w 5797"/>
                <a:gd name="T89" fmla="*/ 50 h 3756"/>
                <a:gd name="T90" fmla="*/ 5654 w 5797"/>
                <a:gd name="T91" fmla="*/ 25 h 3756"/>
                <a:gd name="T92" fmla="*/ 5609 w 5797"/>
                <a:gd name="T93" fmla="*/ 8 h 3756"/>
                <a:gd name="T94" fmla="*/ 5558 w 5797"/>
                <a:gd name="T95" fmla="*/ 0 h 3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797" h="3756">
                  <a:moveTo>
                    <a:pt x="5545" y="0"/>
                  </a:moveTo>
                  <a:lnTo>
                    <a:pt x="5265" y="5"/>
                  </a:lnTo>
                  <a:lnTo>
                    <a:pt x="4987" y="18"/>
                  </a:lnTo>
                  <a:lnTo>
                    <a:pt x="4713" y="41"/>
                  </a:lnTo>
                  <a:lnTo>
                    <a:pt x="4444" y="73"/>
                  </a:lnTo>
                  <a:lnTo>
                    <a:pt x="4178" y="112"/>
                  </a:lnTo>
                  <a:lnTo>
                    <a:pt x="3917" y="160"/>
                  </a:lnTo>
                  <a:lnTo>
                    <a:pt x="3661" y="216"/>
                  </a:lnTo>
                  <a:lnTo>
                    <a:pt x="3411" y="281"/>
                  </a:lnTo>
                  <a:lnTo>
                    <a:pt x="3166" y="352"/>
                  </a:lnTo>
                  <a:lnTo>
                    <a:pt x="2927" y="431"/>
                  </a:lnTo>
                  <a:lnTo>
                    <a:pt x="2695" y="516"/>
                  </a:lnTo>
                  <a:lnTo>
                    <a:pt x="2470" y="608"/>
                  </a:lnTo>
                  <a:lnTo>
                    <a:pt x="2251" y="707"/>
                  </a:lnTo>
                  <a:lnTo>
                    <a:pt x="2041" y="812"/>
                  </a:lnTo>
                  <a:lnTo>
                    <a:pt x="1839" y="924"/>
                  </a:lnTo>
                  <a:lnTo>
                    <a:pt x="1645" y="1041"/>
                  </a:lnTo>
                  <a:lnTo>
                    <a:pt x="1460" y="1163"/>
                  </a:lnTo>
                  <a:lnTo>
                    <a:pt x="1284" y="1291"/>
                  </a:lnTo>
                  <a:lnTo>
                    <a:pt x="1118" y="1423"/>
                  </a:lnTo>
                  <a:lnTo>
                    <a:pt x="961" y="1562"/>
                  </a:lnTo>
                  <a:lnTo>
                    <a:pt x="815" y="1704"/>
                  </a:lnTo>
                  <a:lnTo>
                    <a:pt x="680" y="1851"/>
                  </a:lnTo>
                  <a:lnTo>
                    <a:pt x="556" y="2001"/>
                  </a:lnTo>
                  <a:lnTo>
                    <a:pt x="443" y="2157"/>
                  </a:lnTo>
                  <a:lnTo>
                    <a:pt x="342" y="2315"/>
                  </a:lnTo>
                  <a:lnTo>
                    <a:pt x="254" y="2477"/>
                  </a:lnTo>
                  <a:lnTo>
                    <a:pt x="178" y="2641"/>
                  </a:lnTo>
                  <a:lnTo>
                    <a:pt x="115" y="2810"/>
                  </a:lnTo>
                  <a:lnTo>
                    <a:pt x="65" y="2980"/>
                  </a:lnTo>
                  <a:lnTo>
                    <a:pt x="29" y="3153"/>
                  </a:lnTo>
                  <a:lnTo>
                    <a:pt x="7" y="3329"/>
                  </a:lnTo>
                  <a:lnTo>
                    <a:pt x="0" y="3506"/>
                  </a:lnTo>
                  <a:lnTo>
                    <a:pt x="0" y="3519"/>
                  </a:lnTo>
                  <a:lnTo>
                    <a:pt x="1" y="3531"/>
                  </a:lnTo>
                  <a:lnTo>
                    <a:pt x="3" y="3544"/>
                  </a:lnTo>
                  <a:lnTo>
                    <a:pt x="5" y="3556"/>
                  </a:lnTo>
                  <a:lnTo>
                    <a:pt x="8" y="3568"/>
                  </a:lnTo>
                  <a:lnTo>
                    <a:pt x="11" y="3580"/>
                  </a:lnTo>
                  <a:lnTo>
                    <a:pt x="15" y="3592"/>
                  </a:lnTo>
                  <a:lnTo>
                    <a:pt x="20" y="3603"/>
                  </a:lnTo>
                  <a:lnTo>
                    <a:pt x="25" y="3614"/>
                  </a:lnTo>
                  <a:lnTo>
                    <a:pt x="30" y="3625"/>
                  </a:lnTo>
                  <a:lnTo>
                    <a:pt x="36" y="3636"/>
                  </a:lnTo>
                  <a:lnTo>
                    <a:pt x="43" y="3646"/>
                  </a:lnTo>
                  <a:lnTo>
                    <a:pt x="50" y="3655"/>
                  </a:lnTo>
                  <a:lnTo>
                    <a:pt x="57" y="3665"/>
                  </a:lnTo>
                  <a:lnTo>
                    <a:pt x="65" y="3674"/>
                  </a:lnTo>
                  <a:lnTo>
                    <a:pt x="73" y="3683"/>
                  </a:lnTo>
                  <a:lnTo>
                    <a:pt x="82" y="3691"/>
                  </a:lnTo>
                  <a:lnTo>
                    <a:pt x="91" y="3699"/>
                  </a:lnTo>
                  <a:lnTo>
                    <a:pt x="100" y="3706"/>
                  </a:lnTo>
                  <a:lnTo>
                    <a:pt x="111" y="3713"/>
                  </a:lnTo>
                  <a:lnTo>
                    <a:pt x="121" y="3720"/>
                  </a:lnTo>
                  <a:lnTo>
                    <a:pt x="132" y="3726"/>
                  </a:lnTo>
                  <a:lnTo>
                    <a:pt x="143" y="3731"/>
                  </a:lnTo>
                  <a:lnTo>
                    <a:pt x="154" y="3736"/>
                  </a:lnTo>
                  <a:lnTo>
                    <a:pt x="165" y="3741"/>
                  </a:lnTo>
                  <a:lnTo>
                    <a:pt x="177" y="3745"/>
                  </a:lnTo>
                  <a:lnTo>
                    <a:pt x="189" y="3748"/>
                  </a:lnTo>
                  <a:lnTo>
                    <a:pt x="201" y="3751"/>
                  </a:lnTo>
                  <a:lnTo>
                    <a:pt x="213" y="3753"/>
                  </a:lnTo>
                  <a:lnTo>
                    <a:pt x="226" y="3755"/>
                  </a:lnTo>
                  <a:lnTo>
                    <a:pt x="239" y="3756"/>
                  </a:lnTo>
                  <a:lnTo>
                    <a:pt x="252" y="3756"/>
                  </a:lnTo>
                  <a:lnTo>
                    <a:pt x="265" y="3756"/>
                  </a:lnTo>
                  <a:lnTo>
                    <a:pt x="278" y="3755"/>
                  </a:lnTo>
                  <a:lnTo>
                    <a:pt x="290" y="3753"/>
                  </a:lnTo>
                  <a:lnTo>
                    <a:pt x="302" y="3751"/>
                  </a:lnTo>
                  <a:lnTo>
                    <a:pt x="315" y="3748"/>
                  </a:lnTo>
                  <a:lnTo>
                    <a:pt x="326" y="3745"/>
                  </a:lnTo>
                  <a:lnTo>
                    <a:pt x="338" y="3741"/>
                  </a:lnTo>
                  <a:lnTo>
                    <a:pt x="349" y="3736"/>
                  </a:lnTo>
                  <a:lnTo>
                    <a:pt x="361" y="3731"/>
                  </a:lnTo>
                  <a:lnTo>
                    <a:pt x="372" y="3726"/>
                  </a:lnTo>
                  <a:lnTo>
                    <a:pt x="383" y="3720"/>
                  </a:lnTo>
                  <a:lnTo>
                    <a:pt x="393" y="3713"/>
                  </a:lnTo>
                  <a:lnTo>
                    <a:pt x="403" y="3706"/>
                  </a:lnTo>
                  <a:lnTo>
                    <a:pt x="412" y="3699"/>
                  </a:lnTo>
                  <a:lnTo>
                    <a:pt x="421" y="3691"/>
                  </a:lnTo>
                  <a:lnTo>
                    <a:pt x="430" y="3683"/>
                  </a:lnTo>
                  <a:lnTo>
                    <a:pt x="438" y="3674"/>
                  </a:lnTo>
                  <a:lnTo>
                    <a:pt x="446" y="3665"/>
                  </a:lnTo>
                  <a:lnTo>
                    <a:pt x="453" y="3655"/>
                  </a:lnTo>
                  <a:lnTo>
                    <a:pt x="460" y="3646"/>
                  </a:lnTo>
                  <a:lnTo>
                    <a:pt x="467" y="3636"/>
                  </a:lnTo>
                  <a:lnTo>
                    <a:pt x="474" y="3625"/>
                  </a:lnTo>
                  <a:lnTo>
                    <a:pt x="479" y="3614"/>
                  </a:lnTo>
                  <a:lnTo>
                    <a:pt x="484" y="3603"/>
                  </a:lnTo>
                  <a:lnTo>
                    <a:pt x="489" y="3592"/>
                  </a:lnTo>
                  <a:lnTo>
                    <a:pt x="493" y="3580"/>
                  </a:lnTo>
                  <a:lnTo>
                    <a:pt x="496" y="3568"/>
                  </a:lnTo>
                  <a:lnTo>
                    <a:pt x="499" y="3556"/>
                  </a:lnTo>
                  <a:lnTo>
                    <a:pt x="501" y="3544"/>
                  </a:lnTo>
                  <a:lnTo>
                    <a:pt x="503" y="3531"/>
                  </a:lnTo>
                  <a:lnTo>
                    <a:pt x="504" y="3519"/>
                  </a:lnTo>
                  <a:lnTo>
                    <a:pt x="504" y="3506"/>
                  </a:lnTo>
                  <a:lnTo>
                    <a:pt x="511" y="3357"/>
                  </a:lnTo>
                  <a:lnTo>
                    <a:pt x="531" y="3208"/>
                  </a:lnTo>
                  <a:lnTo>
                    <a:pt x="564" y="3062"/>
                  </a:lnTo>
                  <a:lnTo>
                    <a:pt x="611" y="2917"/>
                  </a:lnTo>
                  <a:lnTo>
                    <a:pt x="669" y="2775"/>
                  </a:lnTo>
                  <a:lnTo>
                    <a:pt x="739" y="2634"/>
                  </a:lnTo>
                  <a:lnTo>
                    <a:pt x="820" y="2496"/>
                  </a:lnTo>
                  <a:lnTo>
                    <a:pt x="914" y="2361"/>
                  </a:lnTo>
                  <a:lnTo>
                    <a:pt x="1018" y="2229"/>
                  </a:lnTo>
                  <a:lnTo>
                    <a:pt x="1132" y="2100"/>
                  </a:lnTo>
                  <a:lnTo>
                    <a:pt x="1257" y="1973"/>
                  </a:lnTo>
                  <a:lnTo>
                    <a:pt x="1391" y="1851"/>
                  </a:lnTo>
                  <a:lnTo>
                    <a:pt x="1534" y="1733"/>
                  </a:lnTo>
                  <a:lnTo>
                    <a:pt x="1686" y="1619"/>
                  </a:lnTo>
                  <a:lnTo>
                    <a:pt x="1848" y="1509"/>
                  </a:lnTo>
                  <a:lnTo>
                    <a:pt x="2017" y="1403"/>
                  </a:lnTo>
                  <a:lnTo>
                    <a:pt x="2195" y="1302"/>
                  </a:lnTo>
                  <a:lnTo>
                    <a:pt x="2379" y="1206"/>
                  </a:lnTo>
                  <a:lnTo>
                    <a:pt x="2572" y="1115"/>
                  </a:lnTo>
                  <a:lnTo>
                    <a:pt x="2769" y="1030"/>
                  </a:lnTo>
                  <a:lnTo>
                    <a:pt x="2975" y="950"/>
                  </a:lnTo>
                  <a:lnTo>
                    <a:pt x="3186" y="876"/>
                  </a:lnTo>
                  <a:lnTo>
                    <a:pt x="3402" y="807"/>
                  </a:lnTo>
                  <a:lnTo>
                    <a:pt x="3624" y="745"/>
                  </a:lnTo>
                  <a:lnTo>
                    <a:pt x="3851" y="690"/>
                  </a:lnTo>
                  <a:lnTo>
                    <a:pt x="4083" y="641"/>
                  </a:lnTo>
                  <a:lnTo>
                    <a:pt x="4318" y="599"/>
                  </a:lnTo>
                  <a:lnTo>
                    <a:pt x="4557" y="564"/>
                  </a:lnTo>
                  <a:lnTo>
                    <a:pt x="4800" y="537"/>
                  </a:lnTo>
                  <a:lnTo>
                    <a:pt x="5046" y="517"/>
                  </a:lnTo>
                  <a:lnTo>
                    <a:pt x="5294" y="505"/>
                  </a:lnTo>
                  <a:lnTo>
                    <a:pt x="5545" y="501"/>
                  </a:lnTo>
                  <a:lnTo>
                    <a:pt x="5558" y="501"/>
                  </a:lnTo>
                  <a:lnTo>
                    <a:pt x="5571" y="500"/>
                  </a:lnTo>
                  <a:lnTo>
                    <a:pt x="5583" y="498"/>
                  </a:lnTo>
                  <a:lnTo>
                    <a:pt x="5595" y="496"/>
                  </a:lnTo>
                  <a:lnTo>
                    <a:pt x="5609" y="493"/>
                  </a:lnTo>
                  <a:lnTo>
                    <a:pt x="5620" y="490"/>
                  </a:lnTo>
                  <a:lnTo>
                    <a:pt x="5632" y="486"/>
                  </a:lnTo>
                  <a:lnTo>
                    <a:pt x="5643" y="481"/>
                  </a:lnTo>
                  <a:lnTo>
                    <a:pt x="5654" y="476"/>
                  </a:lnTo>
                  <a:lnTo>
                    <a:pt x="5665" y="471"/>
                  </a:lnTo>
                  <a:lnTo>
                    <a:pt x="5676" y="465"/>
                  </a:lnTo>
                  <a:lnTo>
                    <a:pt x="5686" y="458"/>
                  </a:lnTo>
                  <a:lnTo>
                    <a:pt x="5696" y="451"/>
                  </a:lnTo>
                  <a:lnTo>
                    <a:pt x="5705" y="444"/>
                  </a:lnTo>
                  <a:lnTo>
                    <a:pt x="5714" y="436"/>
                  </a:lnTo>
                  <a:lnTo>
                    <a:pt x="5723" y="428"/>
                  </a:lnTo>
                  <a:lnTo>
                    <a:pt x="5732" y="419"/>
                  </a:lnTo>
                  <a:lnTo>
                    <a:pt x="5740" y="410"/>
                  </a:lnTo>
                  <a:lnTo>
                    <a:pt x="5747" y="401"/>
                  </a:lnTo>
                  <a:lnTo>
                    <a:pt x="5754" y="391"/>
                  </a:lnTo>
                  <a:lnTo>
                    <a:pt x="5761" y="381"/>
                  </a:lnTo>
                  <a:lnTo>
                    <a:pt x="5767" y="370"/>
                  </a:lnTo>
                  <a:lnTo>
                    <a:pt x="5772" y="359"/>
                  </a:lnTo>
                  <a:lnTo>
                    <a:pt x="5777" y="348"/>
                  </a:lnTo>
                  <a:lnTo>
                    <a:pt x="5782" y="337"/>
                  </a:lnTo>
                  <a:lnTo>
                    <a:pt x="5786" y="325"/>
                  </a:lnTo>
                  <a:lnTo>
                    <a:pt x="5789" y="313"/>
                  </a:lnTo>
                  <a:lnTo>
                    <a:pt x="5792" y="301"/>
                  </a:lnTo>
                  <a:lnTo>
                    <a:pt x="5794" y="289"/>
                  </a:lnTo>
                  <a:lnTo>
                    <a:pt x="5796" y="277"/>
                  </a:lnTo>
                  <a:lnTo>
                    <a:pt x="5797" y="264"/>
                  </a:lnTo>
                  <a:lnTo>
                    <a:pt x="5797" y="251"/>
                  </a:lnTo>
                  <a:lnTo>
                    <a:pt x="5797" y="237"/>
                  </a:lnTo>
                  <a:lnTo>
                    <a:pt x="5796" y="225"/>
                  </a:lnTo>
                  <a:lnTo>
                    <a:pt x="5794" y="212"/>
                  </a:lnTo>
                  <a:lnTo>
                    <a:pt x="5792" y="200"/>
                  </a:lnTo>
                  <a:lnTo>
                    <a:pt x="5789" y="188"/>
                  </a:lnTo>
                  <a:lnTo>
                    <a:pt x="5786" y="176"/>
                  </a:lnTo>
                  <a:lnTo>
                    <a:pt x="5782" y="164"/>
                  </a:lnTo>
                  <a:lnTo>
                    <a:pt x="5777" y="153"/>
                  </a:lnTo>
                  <a:lnTo>
                    <a:pt x="5772" y="142"/>
                  </a:lnTo>
                  <a:lnTo>
                    <a:pt x="5767" y="131"/>
                  </a:lnTo>
                  <a:lnTo>
                    <a:pt x="5761" y="120"/>
                  </a:lnTo>
                  <a:lnTo>
                    <a:pt x="5754" y="110"/>
                  </a:lnTo>
                  <a:lnTo>
                    <a:pt x="5747" y="100"/>
                  </a:lnTo>
                  <a:lnTo>
                    <a:pt x="5740" y="91"/>
                  </a:lnTo>
                  <a:lnTo>
                    <a:pt x="5732" y="82"/>
                  </a:lnTo>
                  <a:lnTo>
                    <a:pt x="5723" y="73"/>
                  </a:lnTo>
                  <a:lnTo>
                    <a:pt x="5714" y="65"/>
                  </a:lnTo>
                  <a:lnTo>
                    <a:pt x="5705" y="57"/>
                  </a:lnTo>
                  <a:lnTo>
                    <a:pt x="5696" y="50"/>
                  </a:lnTo>
                  <a:lnTo>
                    <a:pt x="5686" y="43"/>
                  </a:lnTo>
                  <a:lnTo>
                    <a:pt x="5676" y="36"/>
                  </a:lnTo>
                  <a:lnTo>
                    <a:pt x="5665" y="30"/>
                  </a:lnTo>
                  <a:lnTo>
                    <a:pt x="5654" y="25"/>
                  </a:lnTo>
                  <a:lnTo>
                    <a:pt x="5643" y="20"/>
                  </a:lnTo>
                  <a:lnTo>
                    <a:pt x="5632" y="15"/>
                  </a:lnTo>
                  <a:lnTo>
                    <a:pt x="5620" y="11"/>
                  </a:lnTo>
                  <a:lnTo>
                    <a:pt x="5609" y="8"/>
                  </a:lnTo>
                  <a:lnTo>
                    <a:pt x="5595" y="5"/>
                  </a:lnTo>
                  <a:lnTo>
                    <a:pt x="5583" y="3"/>
                  </a:lnTo>
                  <a:lnTo>
                    <a:pt x="5571" y="1"/>
                  </a:lnTo>
                  <a:lnTo>
                    <a:pt x="5558" y="0"/>
                  </a:lnTo>
                  <a:lnTo>
                    <a:pt x="55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60" name="íṥļiḓè">
              <a:extLst>
                <a:ext uri="{FF2B5EF4-FFF2-40B4-BE49-F238E27FC236}">
                  <a16:creationId xmlns:a16="http://schemas.microsoft.com/office/drawing/2014/main" id="{67FCA1BB-BCD9-411E-BAD6-DACD45170D01}"/>
                </a:ext>
              </a:extLst>
            </p:cNvPr>
            <p:cNvSpPr/>
            <p:nvPr/>
          </p:nvSpPr>
          <p:spPr bwMode="auto">
            <a:xfrm>
              <a:off x="9434889" y="45031"/>
              <a:ext cx="655727" cy="570000"/>
            </a:xfrm>
            <a:custGeom>
              <a:avLst/>
              <a:gdLst>
                <a:gd name="T0" fmla="*/ 7365 w 16132"/>
                <a:gd name="T1" fmla="*/ 10992 h 14023"/>
                <a:gd name="T2" fmla="*/ 6620 w 16132"/>
                <a:gd name="T3" fmla="*/ 10910 h 14023"/>
                <a:gd name="T4" fmla="*/ 6344 w 16132"/>
                <a:gd name="T5" fmla="*/ 10917 h 14023"/>
                <a:gd name="T6" fmla="*/ 6106 w 16132"/>
                <a:gd name="T7" fmla="*/ 10988 h 14023"/>
                <a:gd name="T8" fmla="*/ 5892 w 16132"/>
                <a:gd name="T9" fmla="*/ 11114 h 14023"/>
                <a:gd name="T10" fmla="*/ 5710 w 16132"/>
                <a:gd name="T11" fmla="*/ 11296 h 14023"/>
                <a:gd name="T12" fmla="*/ 5336 w 16132"/>
                <a:gd name="T13" fmla="*/ 11674 h 14023"/>
                <a:gd name="T14" fmla="*/ 4873 w 16132"/>
                <a:gd name="T15" fmla="*/ 12065 h 14023"/>
                <a:gd name="T16" fmla="*/ 4310 w 16132"/>
                <a:gd name="T17" fmla="*/ 12459 h 14023"/>
                <a:gd name="T18" fmla="*/ 4388 w 16132"/>
                <a:gd name="T19" fmla="*/ 11971 h 14023"/>
                <a:gd name="T20" fmla="*/ 4488 w 16132"/>
                <a:gd name="T21" fmla="*/ 11553 h 14023"/>
                <a:gd name="T22" fmla="*/ 4535 w 16132"/>
                <a:gd name="T23" fmla="*/ 11121 h 14023"/>
                <a:gd name="T24" fmla="*/ 4531 w 16132"/>
                <a:gd name="T25" fmla="*/ 10842 h 14023"/>
                <a:gd name="T26" fmla="*/ 4442 w 16132"/>
                <a:gd name="T27" fmla="*/ 10547 h 14023"/>
                <a:gd name="T28" fmla="*/ 4269 w 16132"/>
                <a:gd name="T29" fmla="*/ 10296 h 14023"/>
                <a:gd name="T30" fmla="*/ 4023 w 16132"/>
                <a:gd name="T31" fmla="*/ 10106 h 14023"/>
                <a:gd name="T32" fmla="*/ 2737 w 16132"/>
                <a:gd name="T33" fmla="*/ 9277 h 14023"/>
                <a:gd name="T34" fmla="*/ 1706 w 16132"/>
                <a:gd name="T35" fmla="*/ 8163 h 14023"/>
                <a:gd name="T36" fmla="*/ 1123 w 16132"/>
                <a:gd name="T37" fmla="*/ 6901 h 14023"/>
                <a:gd name="T38" fmla="*/ 1090 w 16132"/>
                <a:gd name="T39" fmla="*/ 5248 h 14023"/>
                <a:gd name="T40" fmla="*/ 2215 w 16132"/>
                <a:gd name="T41" fmla="*/ 3211 h 14023"/>
                <a:gd name="T42" fmla="*/ 4409 w 16132"/>
                <a:gd name="T43" fmla="*/ 1728 h 14023"/>
                <a:gd name="T44" fmla="*/ 7345 w 16132"/>
                <a:gd name="T45" fmla="*/ 1028 h 14023"/>
                <a:gd name="T46" fmla="*/ 10490 w 16132"/>
                <a:gd name="T47" fmla="*/ 1306 h 14023"/>
                <a:gd name="T48" fmla="*/ 13054 w 16132"/>
                <a:gd name="T49" fmla="*/ 2470 h 14023"/>
                <a:gd name="T50" fmla="*/ 14695 w 16132"/>
                <a:gd name="T51" fmla="*/ 4290 h 14023"/>
                <a:gd name="T52" fmla="*/ 15087 w 16132"/>
                <a:gd name="T53" fmla="*/ 6521 h 14023"/>
                <a:gd name="T54" fmla="*/ 14100 w 16132"/>
                <a:gd name="T55" fmla="*/ 8605 h 14023"/>
                <a:gd name="T56" fmla="*/ 12009 w 16132"/>
                <a:gd name="T57" fmla="*/ 10162 h 14023"/>
                <a:gd name="T58" fmla="*/ 9140 w 16132"/>
                <a:gd name="T59" fmla="*/ 10960 h 14023"/>
                <a:gd name="T60" fmla="*/ 6051 w 16132"/>
                <a:gd name="T61" fmla="*/ 189 h 14023"/>
                <a:gd name="T62" fmla="*/ 2935 w 16132"/>
                <a:gd name="T63" fmla="*/ 1372 h 14023"/>
                <a:gd name="T64" fmla="*/ 796 w 16132"/>
                <a:gd name="T65" fmla="*/ 3405 h 14023"/>
                <a:gd name="T66" fmla="*/ 0 w 16132"/>
                <a:gd name="T67" fmla="*/ 6010 h 14023"/>
                <a:gd name="T68" fmla="*/ 318 w 16132"/>
                <a:gd name="T69" fmla="*/ 7685 h 14023"/>
                <a:gd name="T70" fmla="*/ 1211 w 16132"/>
                <a:gd name="T71" fmla="*/ 9177 h 14023"/>
                <a:gd name="T72" fmla="*/ 2590 w 16132"/>
                <a:gd name="T73" fmla="*/ 10421 h 14023"/>
                <a:gd name="T74" fmla="*/ 3529 w 16132"/>
                <a:gd name="T75" fmla="*/ 11018 h 14023"/>
                <a:gd name="T76" fmla="*/ 3392 w 16132"/>
                <a:gd name="T77" fmla="*/ 11780 h 14023"/>
                <a:gd name="T78" fmla="*/ 3075 w 16132"/>
                <a:gd name="T79" fmla="*/ 12505 h 14023"/>
                <a:gd name="T80" fmla="*/ 2616 w 16132"/>
                <a:gd name="T81" fmla="*/ 13290 h 14023"/>
                <a:gd name="T82" fmla="*/ 2522 w 16132"/>
                <a:gd name="T83" fmla="*/ 13545 h 14023"/>
                <a:gd name="T84" fmla="*/ 2556 w 16132"/>
                <a:gd name="T85" fmla="*/ 13746 h 14023"/>
                <a:gd name="T86" fmla="*/ 2670 w 16132"/>
                <a:gd name="T87" fmla="*/ 13905 h 14023"/>
                <a:gd name="T88" fmla="*/ 2841 w 16132"/>
                <a:gd name="T89" fmla="*/ 14003 h 14023"/>
                <a:gd name="T90" fmla="*/ 3078 w 16132"/>
                <a:gd name="T91" fmla="*/ 14016 h 14023"/>
                <a:gd name="T92" fmla="*/ 3690 w 16132"/>
                <a:gd name="T93" fmla="*/ 13870 h 14023"/>
                <a:gd name="T94" fmla="*/ 4910 w 16132"/>
                <a:gd name="T95" fmla="*/ 13267 h 14023"/>
                <a:gd name="T96" fmla="*/ 5885 w 16132"/>
                <a:gd name="T97" fmla="*/ 12528 h 14023"/>
                <a:gd name="T98" fmla="*/ 6475 w 16132"/>
                <a:gd name="T99" fmla="*/ 11947 h 14023"/>
                <a:gd name="T100" fmla="*/ 7278 w 16132"/>
                <a:gd name="T101" fmla="*/ 11990 h 14023"/>
                <a:gd name="T102" fmla="*/ 8481 w 16132"/>
                <a:gd name="T103" fmla="*/ 12012 h 14023"/>
                <a:gd name="T104" fmla="*/ 11910 w 16132"/>
                <a:gd name="T105" fmla="*/ 11295 h 14023"/>
                <a:gd name="T106" fmla="*/ 14530 w 16132"/>
                <a:gd name="T107" fmla="*/ 9606 h 14023"/>
                <a:gd name="T108" fmla="*/ 15968 w 16132"/>
                <a:gd name="T109" fmla="*/ 7221 h 14023"/>
                <a:gd name="T110" fmla="*/ 15878 w 16132"/>
                <a:gd name="T111" fmla="*/ 4508 h 14023"/>
                <a:gd name="T112" fmla="*/ 14290 w 16132"/>
                <a:gd name="T113" fmla="*/ 2188 h 14023"/>
                <a:gd name="T114" fmla="*/ 11563 w 16132"/>
                <a:gd name="T115" fmla="*/ 593 h 14023"/>
                <a:gd name="T116" fmla="*/ 8066 w 16132"/>
                <a:gd name="T117" fmla="*/ 0 h 14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132" h="14023">
                  <a:moveTo>
                    <a:pt x="8066" y="11018"/>
                  </a:moveTo>
                  <a:lnTo>
                    <a:pt x="7979" y="11018"/>
                  </a:lnTo>
                  <a:lnTo>
                    <a:pt x="7893" y="11016"/>
                  </a:lnTo>
                  <a:lnTo>
                    <a:pt x="7805" y="11014"/>
                  </a:lnTo>
                  <a:lnTo>
                    <a:pt x="7717" y="11012"/>
                  </a:lnTo>
                  <a:lnTo>
                    <a:pt x="7629" y="11008"/>
                  </a:lnTo>
                  <a:lnTo>
                    <a:pt x="7542" y="11003"/>
                  </a:lnTo>
                  <a:lnTo>
                    <a:pt x="7454" y="10998"/>
                  </a:lnTo>
                  <a:lnTo>
                    <a:pt x="7365" y="10992"/>
                  </a:lnTo>
                  <a:lnTo>
                    <a:pt x="7278" y="10985"/>
                  </a:lnTo>
                  <a:lnTo>
                    <a:pt x="7189" y="10978"/>
                  </a:lnTo>
                  <a:lnTo>
                    <a:pt x="7100" y="10969"/>
                  </a:lnTo>
                  <a:lnTo>
                    <a:pt x="7011" y="10960"/>
                  </a:lnTo>
                  <a:lnTo>
                    <a:pt x="6923" y="10950"/>
                  </a:lnTo>
                  <a:lnTo>
                    <a:pt x="6834" y="10939"/>
                  </a:lnTo>
                  <a:lnTo>
                    <a:pt x="6745" y="10927"/>
                  </a:lnTo>
                  <a:lnTo>
                    <a:pt x="6656" y="10914"/>
                  </a:lnTo>
                  <a:lnTo>
                    <a:pt x="6620" y="10910"/>
                  </a:lnTo>
                  <a:lnTo>
                    <a:pt x="6583" y="10906"/>
                  </a:lnTo>
                  <a:lnTo>
                    <a:pt x="6547" y="10904"/>
                  </a:lnTo>
                  <a:lnTo>
                    <a:pt x="6510" y="10903"/>
                  </a:lnTo>
                  <a:lnTo>
                    <a:pt x="6482" y="10904"/>
                  </a:lnTo>
                  <a:lnTo>
                    <a:pt x="6455" y="10905"/>
                  </a:lnTo>
                  <a:lnTo>
                    <a:pt x="6427" y="10907"/>
                  </a:lnTo>
                  <a:lnTo>
                    <a:pt x="6398" y="10910"/>
                  </a:lnTo>
                  <a:lnTo>
                    <a:pt x="6371" y="10913"/>
                  </a:lnTo>
                  <a:lnTo>
                    <a:pt x="6344" y="10917"/>
                  </a:lnTo>
                  <a:lnTo>
                    <a:pt x="6317" y="10922"/>
                  </a:lnTo>
                  <a:lnTo>
                    <a:pt x="6289" y="10928"/>
                  </a:lnTo>
                  <a:lnTo>
                    <a:pt x="6262" y="10934"/>
                  </a:lnTo>
                  <a:lnTo>
                    <a:pt x="6236" y="10941"/>
                  </a:lnTo>
                  <a:lnTo>
                    <a:pt x="6210" y="10949"/>
                  </a:lnTo>
                  <a:lnTo>
                    <a:pt x="6183" y="10958"/>
                  </a:lnTo>
                  <a:lnTo>
                    <a:pt x="6157" y="10967"/>
                  </a:lnTo>
                  <a:lnTo>
                    <a:pt x="6131" y="10977"/>
                  </a:lnTo>
                  <a:lnTo>
                    <a:pt x="6106" y="10988"/>
                  </a:lnTo>
                  <a:lnTo>
                    <a:pt x="6081" y="10999"/>
                  </a:lnTo>
                  <a:lnTo>
                    <a:pt x="6056" y="11011"/>
                  </a:lnTo>
                  <a:lnTo>
                    <a:pt x="6031" y="11024"/>
                  </a:lnTo>
                  <a:lnTo>
                    <a:pt x="6007" y="11037"/>
                  </a:lnTo>
                  <a:lnTo>
                    <a:pt x="5983" y="11051"/>
                  </a:lnTo>
                  <a:lnTo>
                    <a:pt x="5960" y="11066"/>
                  </a:lnTo>
                  <a:lnTo>
                    <a:pt x="5937" y="11081"/>
                  </a:lnTo>
                  <a:lnTo>
                    <a:pt x="5914" y="11097"/>
                  </a:lnTo>
                  <a:lnTo>
                    <a:pt x="5892" y="11114"/>
                  </a:lnTo>
                  <a:lnTo>
                    <a:pt x="5870" y="11131"/>
                  </a:lnTo>
                  <a:lnTo>
                    <a:pt x="5849" y="11149"/>
                  </a:lnTo>
                  <a:lnTo>
                    <a:pt x="5828" y="11167"/>
                  </a:lnTo>
                  <a:lnTo>
                    <a:pt x="5808" y="11187"/>
                  </a:lnTo>
                  <a:lnTo>
                    <a:pt x="5787" y="11206"/>
                  </a:lnTo>
                  <a:lnTo>
                    <a:pt x="5768" y="11227"/>
                  </a:lnTo>
                  <a:lnTo>
                    <a:pt x="5749" y="11248"/>
                  </a:lnTo>
                  <a:lnTo>
                    <a:pt x="5731" y="11269"/>
                  </a:lnTo>
                  <a:lnTo>
                    <a:pt x="5710" y="11296"/>
                  </a:lnTo>
                  <a:lnTo>
                    <a:pt x="5686" y="11323"/>
                  </a:lnTo>
                  <a:lnTo>
                    <a:pt x="5660" y="11352"/>
                  </a:lnTo>
                  <a:lnTo>
                    <a:pt x="5632" y="11382"/>
                  </a:lnTo>
                  <a:lnTo>
                    <a:pt x="5570" y="11448"/>
                  </a:lnTo>
                  <a:lnTo>
                    <a:pt x="5499" y="11518"/>
                  </a:lnTo>
                  <a:lnTo>
                    <a:pt x="5461" y="11556"/>
                  </a:lnTo>
                  <a:lnTo>
                    <a:pt x="5420" y="11594"/>
                  </a:lnTo>
                  <a:lnTo>
                    <a:pt x="5379" y="11633"/>
                  </a:lnTo>
                  <a:lnTo>
                    <a:pt x="5336" y="11674"/>
                  </a:lnTo>
                  <a:lnTo>
                    <a:pt x="5290" y="11715"/>
                  </a:lnTo>
                  <a:lnTo>
                    <a:pt x="5243" y="11757"/>
                  </a:lnTo>
                  <a:lnTo>
                    <a:pt x="5195" y="11799"/>
                  </a:lnTo>
                  <a:lnTo>
                    <a:pt x="5145" y="11842"/>
                  </a:lnTo>
                  <a:lnTo>
                    <a:pt x="5093" y="11886"/>
                  </a:lnTo>
                  <a:lnTo>
                    <a:pt x="5040" y="11931"/>
                  </a:lnTo>
                  <a:lnTo>
                    <a:pt x="4986" y="11975"/>
                  </a:lnTo>
                  <a:lnTo>
                    <a:pt x="4930" y="12020"/>
                  </a:lnTo>
                  <a:lnTo>
                    <a:pt x="4873" y="12065"/>
                  </a:lnTo>
                  <a:lnTo>
                    <a:pt x="4814" y="12109"/>
                  </a:lnTo>
                  <a:lnTo>
                    <a:pt x="4755" y="12154"/>
                  </a:lnTo>
                  <a:lnTo>
                    <a:pt x="4694" y="12199"/>
                  </a:lnTo>
                  <a:lnTo>
                    <a:pt x="4633" y="12243"/>
                  </a:lnTo>
                  <a:lnTo>
                    <a:pt x="4570" y="12287"/>
                  </a:lnTo>
                  <a:lnTo>
                    <a:pt x="4507" y="12331"/>
                  </a:lnTo>
                  <a:lnTo>
                    <a:pt x="4442" y="12374"/>
                  </a:lnTo>
                  <a:lnTo>
                    <a:pt x="4377" y="12417"/>
                  </a:lnTo>
                  <a:lnTo>
                    <a:pt x="4310" y="12459"/>
                  </a:lnTo>
                  <a:lnTo>
                    <a:pt x="4244" y="12501"/>
                  </a:lnTo>
                  <a:lnTo>
                    <a:pt x="4176" y="12542"/>
                  </a:lnTo>
                  <a:lnTo>
                    <a:pt x="4212" y="12456"/>
                  </a:lnTo>
                  <a:lnTo>
                    <a:pt x="4248" y="12371"/>
                  </a:lnTo>
                  <a:lnTo>
                    <a:pt x="4281" y="12284"/>
                  </a:lnTo>
                  <a:lnTo>
                    <a:pt x="4313" y="12196"/>
                  </a:lnTo>
                  <a:lnTo>
                    <a:pt x="4345" y="12107"/>
                  </a:lnTo>
                  <a:lnTo>
                    <a:pt x="4374" y="12017"/>
                  </a:lnTo>
                  <a:lnTo>
                    <a:pt x="4388" y="11971"/>
                  </a:lnTo>
                  <a:lnTo>
                    <a:pt x="4401" y="11926"/>
                  </a:lnTo>
                  <a:lnTo>
                    <a:pt x="4414" y="11879"/>
                  </a:lnTo>
                  <a:lnTo>
                    <a:pt x="4426" y="11833"/>
                  </a:lnTo>
                  <a:lnTo>
                    <a:pt x="4438" y="11787"/>
                  </a:lnTo>
                  <a:lnTo>
                    <a:pt x="4449" y="11740"/>
                  </a:lnTo>
                  <a:lnTo>
                    <a:pt x="4459" y="11694"/>
                  </a:lnTo>
                  <a:lnTo>
                    <a:pt x="4470" y="11647"/>
                  </a:lnTo>
                  <a:lnTo>
                    <a:pt x="4480" y="11600"/>
                  </a:lnTo>
                  <a:lnTo>
                    <a:pt x="4488" y="11553"/>
                  </a:lnTo>
                  <a:lnTo>
                    <a:pt x="4496" y="11506"/>
                  </a:lnTo>
                  <a:lnTo>
                    <a:pt x="4504" y="11458"/>
                  </a:lnTo>
                  <a:lnTo>
                    <a:pt x="4510" y="11411"/>
                  </a:lnTo>
                  <a:lnTo>
                    <a:pt x="4516" y="11363"/>
                  </a:lnTo>
                  <a:lnTo>
                    <a:pt x="4522" y="11315"/>
                  </a:lnTo>
                  <a:lnTo>
                    <a:pt x="4526" y="11266"/>
                  </a:lnTo>
                  <a:lnTo>
                    <a:pt x="4530" y="11218"/>
                  </a:lnTo>
                  <a:lnTo>
                    <a:pt x="4533" y="11170"/>
                  </a:lnTo>
                  <a:lnTo>
                    <a:pt x="4535" y="11121"/>
                  </a:lnTo>
                  <a:lnTo>
                    <a:pt x="4537" y="11073"/>
                  </a:lnTo>
                  <a:lnTo>
                    <a:pt x="4538" y="11049"/>
                  </a:lnTo>
                  <a:lnTo>
                    <a:pt x="4540" y="11025"/>
                  </a:lnTo>
                  <a:lnTo>
                    <a:pt x="4541" y="11002"/>
                  </a:lnTo>
                  <a:lnTo>
                    <a:pt x="4541" y="10981"/>
                  </a:lnTo>
                  <a:lnTo>
                    <a:pt x="4540" y="10946"/>
                  </a:lnTo>
                  <a:lnTo>
                    <a:pt x="4539" y="10911"/>
                  </a:lnTo>
                  <a:lnTo>
                    <a:pt x="4536" y="10876"/>
                  </a:lnTo>
                  <a:lnTo>
                    <a:pt x="4531" y="10842"/>
                  </a:lnTo>
                  <a:lnTo>
                    <a:pt x="4526" y="10808"/>
                  </a:lnTo>
                  <a:lnTo>
                    <a:pt x="4519" y="10774"/>
                  </a:lnTo>
                  <a:lnTo>
                    <a:pt x="4512" y="10741"/>
                  </a:lnTo>
                  <a:lnTo>
                    <a:pt x="4503" y="10707"/>
                  </a:lnTo>
                  <a:lnTo>
                    <a:pt x="4493" y="10675"/>
                  </a:lnTo>
                  <a:lnTo>
                    <a:pt x="4482" y="10641"/>
                  </a:lnTo>
                  <a:lnTo>
                    <a:pt x="4470" y="10610"/>
                  </a:lnTo>
                  <a:lnTo>
                    <a:pt x="4456" y="10578"/>
                  </a:lnTo>
                  <a:lnTo>
                    <a:pt x="4442" y="10547"/>
                  </a:lnTo>
                  <a:lnTo>
                    <a:pt x="4426" y="10517"/>
                  </a:lnTo>
                  <a:lnTo>
                    <a:pt x="4410" y="10487"/>
                  </a:lnTo>
                  <a:lnTo>
                    <a:pt x="4393" y="10458"/>
                  </a:lnTo>
                  <a:lnTo>
                    <a:pt x="4375" y="10429"/>
                  </a:lnTo>
                  <a:lnTo>
                    <a:pt x="4356" y="10401"/>
                  </a:lnTo>
                  <a:lnTo>
                    <a:pt x="4334" y="10374"/>
                  </a:lnTo>
                  <a:lnTo>
                    <a:pt x="4313" y="10347"/>
                  </a:lnTo>
                  <a:lnTo>
                    <a:pt x="4291" y="10321"/>
                  </a:lnTo>
                  <a:lnTo>
                    <a:pt x="4269" y="10296"/>
                  </a:lnTo>
                  <a:lnTo>
                    <a:pt x="4245" y="10271"/>
                  </a:lnTo>
                  <a:lnTo>
                    <a:pt x="4220" y="10248"/>
                  </a:lnTo>
                  <a:lnTo>
                    <a:pt x="4194" y="10225"/>
                  </a:lnTo>
                  <a:lnTo>
                    <a:pt x="4168" y="10203"/>
                  </a:lnTo>
                  <a:lnTo>
                    <a:pt x="4140" y="10182"/>
                  </a:lnTo>
                  <a:lnTo>
                    <a:pt x="4112" y="10161"/>
                  </a:lnTo>
                  <a:lnTo>
                    <a:pt x="4083" y="10142"/>
                  </a:lnTo>
                  <a:lnTo>
                    <a:pt x="4053" y="10123"/>
                  </a:lnTo>
                  <a:lnTo>
                    <a:pt x="4023" y="10106"/>
                  </a:lnTo>
                  <a:lnTo>
                    <a:pt x="3992" y="10089"/>
                  </a:lnTo>
                  <a:lnTo>
                    <a:pt x="3819" y="9998"/>
                  </a:lnTo>
                  <a:lnTo>
                    <a:pt x="3650" y="9904"/>
                  </a:lnTo>
                  <a:lnTo>
                    <a:pt x="3487" y="9807"/>
                  </a:lnTo>
                  <a:lnTo>
                    <a:pt x="3327" y="9707"/>
                  </a:lnTo>
                  <a:lnTo>
                    <a:pt x="3173" y="9604"/>
                  </a:lnTo>
                  <a:lnTo>
                    <a:pt x="3023" y="9499"/>
                  </a:lnTo>
                  <a:lnTo>
                    <a:pt x="2878" y="9389"/>
                  </a:lnTo>
                  <a:lnTo>
                    <a:pt x="2737" y="9277"/>
                  </a:lnTo>
                  <a:lnTo>
                    <a:pt x="2602" y="9163"/>
                  </a:lnTo>
                  <a:lnTo>
                    <a:pt x="2472" y="9046"/>
                  </a:lnTo>
                  <a:lnTo>
                    <a:pt x="2346" y="8927"/>
                  </a:lnTo>
                  <a:lnTo>
                    <a:pt x="2226" y="8805"/>
                  </a:lnTo>
                  <a:lnTo>
                    <a:pt x="2112" y="8681"/>
                  </a:lnTo>
                  <a:lnTo>
                    <a:pt x="2002" y="8555"/>
                  </a:lnTo>
                  <a:lnTo>
                    <a:pt x="1899" y="8427"/>
                  </a:lnTo>
                  <a:lnTo>
                    <a:pt x="1800" y="8297"/>
                  </a:lnTo>
                  <a:lnTo>
                    <a:pt x="1706" y="8163"/>
                  </a:lnTo>
                  <a:lnTo>
                    <a:pt x="1618" y="8030"/>
                  </a:lnTo>
                  <a:lnTo>
                    <a:pt x="1537" y="7894"/>
                  </a:lnTo>
                  <a:lnTo>
                    <a:pt x="1460" y="7757"/>
                  </a:lnTo>
                  <a:lnTo>
                    <a:pt x="1388" y="7617"/>
                  </a:lnTo>
                  <a:lnTo>
                    <a:pt x="1324" y="7476"/>
                  </a:lnTo>
                  <a:lnTo>
                    <a:pt x="1264" y="7335"/>
                  </a:lnTo>
                  <a:lnTo>
                    <a:pt x="1212" y="7192"/>
                  </a:lnTo>
                  <a:lnTo>
                    <a:pt x="1165" y="7047"/>
                  </a:lnTo>
                  <a:lnTo>
                    <a:pt x="1123" y="6901"/>
                  </a:lnTo>
                  <a:lnTo>
                    <a:pt x="1089" y="6755"/>
                  </a:lnTo>
                  <a:lnTo>
                    <a:pt x="1060" y="6608"/>
                  </a:lnTo>
                  <a:lnTo>
                    <a:pt x="1037" y="6459"/>
                  </a:lnTo>
                  <a:lnTo>
                    <a:pt x="1021" y="6309"/>
                  </a:lnTo>
                  <a:lnTo>
                    <a:pt x="1011" y="6160"/>
                  </a:lnTo>
                  <a:lnTo>
                    <a:pt x="1008" y="6010"/>
                  </a:lnTo>
                  <a:lnTo>
                    <a:pt x="1017" y="5752"/>
                  </a:lnTo>
                  <a:lnTo>
                    <a:pt x="1045" y="5498"/>
                  </a:lnTo>
                  <a:lnTo>
                    <a:pt x="1090" y="5248"/>
                  </a:lnTo>
                  <a:lnTo>
                    <a:pt x="1151" y="5002"/>
                  </a:lnTo>
                  <a:lnTo>
                    <a:pt x="1231" y="4760"/>
                  </a:lnTo>
                  <a:lnTo>
                    <a:pt x="1326" y="4522"/>
                  </a:lnTo>
                  <a:lnTo>
                    <a:pt x="1437" y="4290"/>
                  </a:lnTo>
                  <a:lnTo>
                    <a:pt x="1564" y="4063"/>
                  </a:lnTo>
                  <a:lnTo>
                    <a:pt x="1705" y="3840"/>
                  </a:lnTo>
                  <a:lnTo>
                    <a:pt x="1861" y="3625"/>
                  </a:lnTo>
                  <a:lnTo>
                    <a:pt x="2032" y="3415"/>
                  </a:lnTo>
                  <a:lnTo>
                    <a:pt x="2215" y="3211"/>
                  </a:lnTo>
                  <a:lnTo>
                    <a:pt x="2412" y="3015"/>
                  </a:lnTo>
                  <a:lnTo>
                    <a:pt x="2621" y="2826"/>
                  </a:lnTo>
                  <a:lnTo>
                    <a:pt x="2844" y="2644"/>
                  </a:lnTo>
                  <a:lnTo>
                    <a:pt x="3078" y="2470"/>
                  </a:lnTo>
                  <a:lnTo>
                    <a:pt x="3323" y="2304"/>
                  </a:lnTo>
                  <a:lnTo>
                    <a:pt x="3579" y="2147"/>
                  </a:lnTo>
                  <a:lnTo>
                    <a:pt x="3845" y="1998"/>
                  </a:lnTo>
                  <a:lnTo>
                    <a:pt x="4123" y="1858"/>
                  </a:lnTo>
                  <a:lnTo>
                    <a:pt x="4409" y="1728"/>
                  </a:lnTo>
                  <a:lnTo>
                    <a:pt x="4704" y="1607"/>
                  </a:lnTo>
                  <a:lnTo>
                    <a:pt x="5009" y="1496"/>
                  </a:lnTo>
                  <a:lnTo>
                    <a:pt x="5322" y="1395"/>
                  </a:lnTo>
                  <a:lnTo>
                    <a:pt x="5642" y="1306"/>
                  </a:lnTo>
                  <a:lnTo>
                    <a:pt x="5970" y="1227"/>
                  </a:lnTo>
                  <a:lnTo>
                    <a:pt x="6305" y="1160"/>
                  </a:lnTo>
                  <a:lnTo>
                    <a:pt x="6645" y="1104"/>
                  </a:lnTo>
                  <a:lnTo>
                    <a:pt x="6992" y="1060"/>
                  </a:lnTo>
                  <a:lnTo>
                    <a:pt x="7345" y="1028"/>
                  </a:lnTo>
                  <a:lnTo>
                    <a:pt x="7703" y="1008"/>
                  </a:lnTo>
                  <a:lnTo>
                    <a:pt x="8066" y="1002"/>
                  </a:lnTo>
                  <a:lnTo>
                    <a:pt x="8429" y="1008"/>
                  </a:lnTo>
                  <a:lnTo>
                    <a:pt x="8787" y="1028"/>
                  </a:lnTo>
                  <a:lnTo>
                    <a:pt x="9140" y="1060"/>
                  </a:lnTo>
                  <a:lnTo>
                    <a:pt x="9487" y="1104"/>
                  </a:lnTo>
                  <a:lnTo>
                    <a:pt x="9827" y="1160"/>
                  </a:lnTo>
                  <a:lnTo>
                    <a:pt x="10162" y="1227"/>
                  </a:lnTo>
                  <a:lnTo>
                    <a:pt x="10490" y="1306"/>
                  </a:lnTo>
                  <a:lnTo>
                    <a:pt x="10810" y="1395"/>
                  </a:lnTo>
                  <a:lnTo>
                    <a:pt x="11123" y="1496"/>
                  </a:lnTo>
                  <a:lnTo>
                    <a:pt x="11428" y="1607"/>
                  </a:lnTo>
                  <a:lnTo>
                    <a:pt x="11723" y="1728"/>
                  </a:lnTo>
                  <a:lnTo>
                    <a:pt x="12009" y="1858"/>
                  </a:lnTo>
                  <a:lnTo>
                    <a:pt x="12287" y="1998"/>
                  </a:lnTo>
                  <a:lnTo>
                    <a:pt x="12553" y="2147"/>
                  </a:lnTo>
                  <a:lnTo>
                    <a:pt x="12809" y="2304"/>
                  </a:lnTo>
                  <a:lnTo>
                    <a:pt x="13054" y="2470"/>
                  </a:lnTo>
                  <a:lnTo>
                    <a:pt x="13288" y="2644"/>
                  </a:lnTo>
                  <a:lnTo>
                    <a:pt x="13511" y="2826"/>
                  </a:lnTo>
                  <a:lnTo>
                    <a:pt x="13720" y="3015"/>
                  </a:lnTo>
                  <a:lnTo>
                    <a:pt x="13917" y="3211"/>
                  </a:lnTo>
                  <a:lnTo>
                    <a:pt x="14100" y="3415"/>
                  </a:lnTo>
                  <a:lnTo>
                    <a:pt x="14271" y="3625"/>
                  </a:lnTo>
                  <a:lnTo>
                    <a:pt x="14427" y="3840"/>
                  </a:lnTo>
                  <a:lnTo>
                    <a:pt x="14568" y="4063"/>
                  </a:lnTo>
                  <a:lnTo>
                    <a:pt x="14695" y="4290"/>
                  </a:lnTo>
                  <a:lnTo>
                    <a:pt x="14806" y="4522"/>
                  </a:lnTo>
                  <a:lnTo>
                    <a:pt x="14901" y="4760"/>
                  </a:lnTo>
                  <a:lnTo>
                    <a:pt x="14981" y="5002"/>
                  </a:lnTo>
                  <a:lnTo>
                    <a:pt x="15042" y="5248"/>
                  </a:lnTo>
                  <a:lnTo>
                    <a:pt x="15087" y="5498"/>
                  </a:lnTo>
                  <a:lnTo>
                    <a:pt x="15115" y="5752"/>
                  </a:lnTo>
                  <a:lnTo>
                    <a:pt x="15124" y="6010"/>
                  </a:lnTo>
                  <a:lnTo>
                    <a:pt x="15115" y="6267"/>
                  </a:lnTo>
                  <a:lnTo>
                    <a:pt x="15087" y="6521"/>
                  </a:lnTo>
                  <a:lnTo>
                    <a:pt x="15042" y="6771"/>
                  </a:lnTo>
                  <a:lnTo>
                    <a:pt x="14981" y="7018"/>
                  </a:lnTo>
                  <a:lnTo>
                    <a:pt x="14901" y="7260"/>
                  </a:lnTo>
                  <a:lnTo>
                    <a:pt x="14806" y="7497"/>
                  </a:lnTo>
                  <a:lnTo>
                    <a:pt x="14695" y="7730"/>
                  </a:lnTo>
                  <a:lnTo>
                    <a:pt x="14568" y="7957"/>
                  </a:lnTo>
                  <a:lnTo>
                    <a:pt x="14427" y="8179"/>
                  </a:lnTo>
                  <a:lnTo>
                    <a:pt x="14271" y="8395"/>
                  </a:lnTo>
                  <a:lnTo>
                    <a:pt x="14100" y="8605"/>
                  </a:lnTo>
                  <a:lnTo>
                    <a:pt x="13917" y="8807"/>
                  </a:lnTo>
                  <a:lnTo>
                    <a:pt x="13720" y="9005"/>
                  </a:lnTo>
                  <a:lnTo>
                    <a:pt x="13511" y="9194"/>
                  </a:lnTo>
                  <a:lnTo>
                    <a:pt x="13288" y="9375"/>
                  </a:lnTo>
                  <a:lnTo>
                    <a:pt x="13054" y="9550"/>
                  </a:lnTo>
                  <a:lnTo>
                    <a:pt x="12809" y="9715"/>
                  </a:lnTo>
                  <a:lnTo>
                    <a:pt x="12553" y="9873"/>
                  </a:lnTo>
                  <a:lnTo>
                    <a:pt x="12287" y="10021"/>
                  </a:lnTo>
                  <a:lnTo>
                    <a:pt x="12009" y="10162"/>
                  </a:lnTo>
                  <a:lnTo>
                    <a:pt x="11723" y="10292"/>
                  </a:lnTo>
                  <a:lnTo>
                    <a:pt x="11428" y="10413"/>
                  </a:lnTo>
                  <a:lnTo>
                    <a:pt x="11123" y="10523"/>
                  </a:lnTo>
                  <a:lnTo>
                    <a:pt x="10810" y="10623"/>
                  </a:lnTo>
                  <a:lnTo>
                    <a:pt x="10490" y="10714"/>
                  </a:lnTo>
                  <a:lnTo>
                    <a:pt x="10162" y="10793"/>
                  </a:lnTo>
                  <a:lnTo>
                    <a:pt x="9827" y="10860"/>
                  </a:lnTo>
                  <a:lnTo>
                    <a:pt x="9487" y="10916"/>
                  </a:lnTo>
                  <a:lnTo>
                    <a:pt x="9140" y="10960"/>
                  </a:lnTo>
                  <a:lnTo>
                    <a:pt x="8787" y="10992"/>
                  </a:lnTo>
                  <a:lnTo>
                    <a:pt x="8429" y="11011"/>
                  </a:lnTo>
                  <a:lnTo>
                    <a:pt x="8066" y="11018"/>
                  </a:lnTo>
                  <a:close/>
                  <a:moveTo>
                    <a:pt x="8066" y="0"/>
                  </a:moveTo>
                  <a:lnTo>
                    <a:pt x="7651" y="8"/>
                  </a:lnTo>
                  <a:lnTo>
                    <a:pt x="7241" y="31"/>
                  </a:lnTo>
                  <a:lnTo>
                    <a:pt x="6838" y="69"/>
                  </a:lnTo>
                  <a:lnTo>
                    <a:pt x="6441" y="122"/>
                  </a:lnTo>
                  <a:lnTo>
                    <a:pt x="6051" y="189"/>
                  </a:lnTo>
                  <a:lnTo>
                    <a:pt x="5667" y="270"/>
                  </a:lnTo>
                  <a:lnTo>
                    <a:pt x="5292" y="365"/>
                  </a:lnTo>
                  <a:lnTo>
                    <a:pt x="4926" y="473"/>
                  </a:lnTo>
                  <a:lnTo>
                    <a:pt x="4569" y="593"/>
                  </a:lnTo>
                  <a:lnTo>
                    <a:pt x="4222" y="725"/>
                  </a:lnTo>
                  <a:lnTo>
                    <a:pt x="3884" y="870"/>
                  </a:lnTo>
                  <a:lnTo>
                    <a:pt x="3556" y="1027"/>
                  </a:lnTo>
                  <a:lnTo>
                    <a:pt x="3240" y="1194"/>
                  </a:lnTo>
                  <a:lnTo>
                    <a:pt x="2935" y="1372"/>
                  </a:lnTo>
                  <a:lnTo>
                    <a:pt x="2643" y="1562"/>
                  </a:lnTo>
                  <a:lnTo>
                    <a:pt x="2362" y="1760"/>
                  </a:lnTo>
                  <a:lnTo>
                    <a:pt x="2095" y="1969"/>
                  </a:lnTo>
                  <a:lnTo>
                    <a:pt x="1842" y="2188"/>
                  </a:lnTo>
                  <a:lnTo>
                    <a:pt x="1602" y="2414"/>
                  </a:lnTo>
                  <a:lnTo>
                    <a:pt x="1377" y="2649"/>
                  </a:lnTo>
                  <a:lnTo>
                    <a:pt x="1168" y="2894"/>
                  </a:lnTo>
                  <a:lnTo>
                    <a:pt x="974" y="3145"/>
                  </a:lnTo>
                  <a:lnTo>
                    <a:pt x="796" y="3405"/>
                  </a:lnTo>
                  <a:lnTo>
                    <a:pt x="634" y="3671"/>
                  </a:lnTo>
                  <a:lnTo>
                    <a:pt x="489" y="3943"/>
                  </a:lnTo>
                  <a:lnTo>
                    <a:pt x="363" y="4223"/>
                  </a:lnTo>
                  <a:lnTo>
                    <a:pt x="254" y="4508"/>
                  </a:lnTo>
                  <a:lnTo>
                    <a:pt x="163" y="4799"/>
                  </a:lnTo>
                  <a:lnTo>
                    <a:pt x="93" y="5094"/>
                  </a:lnTo>
                  <a:lnTo>
                    <a:pt x="41" y="5396"/>
                  </a:lnTo>
                  <a:lnTo>
                    <a:pt x="10" y="5700"/>
                  </a:lnTo>
                  <a:lnTo>
                    <a:pt x="0" y="6010"/>
                  </a:lnTo>
                  <a:lnTo>
                    <a:pt x="4" y="6203"/>
                  </a:lnTo>
                  <a:lnTo>
                    <a:pt x="16" y="6394"/>
                  </a:lnTo>
                  <a:lnTo>
                    <a:pt x="36" y="6584"/>
                  </a:lnTo>
                  <a:lnTo>
                    <a:pt x="65" y="6772"/>
                  </a:lnTo>
                  <a:lnTo>
                    <a:pt x="100" y="6958"/>
                  </a:lnTo>
                  <a:lnTo>
                    <a:pt x="143" y="7144"/>
                  </a:lnTo>
                  <a:lnTo>
                    <a:pt x="195" y="7326"/>
                  </a:lnTo>
                  <a:lnTo>
                    <a:pt x="252" y="7506"/>
                  </a:lnTo>
                  <a:lnTo>
                    <a:pt x="318" y="7685"/>
                  </a:lnTo>
                  <a:lnTo>
                    <a:pt x="390" y="7861"/>
                  </a:lnTo>
                  <a:lnTo>
                    <a:pt x="470" y="8034"/>
                  </a:lnTo>
                  <a:lnTo>
                    <a:pt x="556" y="8205"/>
                  </a:lnTo>
                  <a:lnTo>
                    <a:pt x="648" y="8375"/>
                  </a:lnTo>
                  <a:lnTo>
                    <a:pt x="748" y="8541"/>
                  </a:lnTo>
                  <a:lnTo>
                    <a:pt x="855" y="8704"/>
                  </a:lnTo>
                  <a:lnTo>
                    <a:pt x="967" y="8865"/>
                  </a:lnTo>
                  <a:lnTo>
                    <a:pt x="1086" y="9023"/>
                  </a:lnTo>
                  <a:lnTo>
                    <a:pt x="1211" y="9177"/>
                  </a:lnTo>
                  <a:lnTo>
                    <a:pt x="1341" y="9329"/>
                  </a:lnTo>
                  <a:lnTo>
                    <a:pt x="1478" y="9478"/>
                  </a:lnTo>
                  <a:lnTo>
                    <a:pt x="1620" y="9623"/>
                  </a:lnTo>
                  <a:lnTo>
                    <a:pt x="1768" y="9765"/>
                  </a:lnTo>
                  <a:lnTo>
                    <a:pt x="1923" y="9903"/>
                  </a:lnTo>
                  <a:lnTo>
                    <a:pt x="2081" y="10038"/>
                  </a:lnTo>
                  <a:lnTo>
                    <a:pt x="2245" y="10170"/>
                  </a:lnTo>
                  <a:lnTo>
                    <a:pt x="2415" y="10298"/>
                  </a:lnTo>
                  <a:lnTo>
                    <a:pt x="2590" y="10421"/>
                  </a:lnTo>
                  <a:lnTo>
                    <a:pt x="2769" y="10541"/>
                  </a:lnTo>
                  <a:lnTo>
                    <a:pt x="2953" y="10657"/>
                  </a:lnTo>
                  <a:lnTo>
                    <a:pt x="3142" y="10770"/>
                  </a:lnTo>
                  <a:lnTo>
                    <a:pt x="3335" y="10878"/>
                  </a:lnTo>
                  <a:lnTo>
                    <a:pt x="3533" y="10981"/>
                  </a:lnTo>
                  <a:lnTo>
                    <a:pt x="3532" y="10990"/>
                  </a:lnTo>
                  <a:lnTo>
                    <a:pt x="3531" y="10999"/>
                  </a:lnTo>
                  <a:lnTo>
                    <a:pt x="3530" y="11008"/>
                  </a:lnTo>
                  <a:lnTo>
                    <a:pt x="3529" y="11018"/>
                  </a:lnTo>
                  <a:lnTo>
                    <a:pt x="3527" y="11102"/>
                  </a:lnTo>
                  <a:lnTo>
                    <a:pt x="3521" y="11187"/>
                  </a:lnTo>
                  <a:lnTo>
                    <a:pt x="3512" y="11271"/>
                  </a:lnTo>
                  <a:lnTo>
                    <a:pt x="3500" y="11357"/>
                  </a:lnTo>
                  <a:lnTo>
                    <a:pt x="3484" y="11442"/>
                  </a:lnTo>
                  <a:lnTo>
                    <a:pt x="3464" y="11527"/>
                  </a:lnTo>
                  <a:lnTo>
                    <a:pt x="3443" y="11612"/>
                  </a:lnTo>
                  <a:lnTo>
                    <a:pt x="3419" y="11696"/>
                  </a:lnTo>
                  <a:lnTo>
                    <a:pt x="3392" y="11780"/>
                  </a:lnTo>
                  <a:lnTo>
                    <a:pt x="3364" y="11863"/>
                  </a:lnTo>
                  <a:lnTo>
                    <a:pt x="3332" y="11947"/>
                  </a:lnTo>
                  <a:lnTo>
                    <a:pt x="3300" y="12030"/>
                  </a:lnTo>
                  <a:lnTo>
                    <a:pt x="3266" y="12111"/>
                  </a:lnTo>
                  <a:lnTo>
                    <a:pt x="3229" y="12192"/>
                  </a:lnTo>
                  <a:lnTo>
                    <a:pt x="3192" y="12271"/>
                  </a:lnTo>
                  <a:lnTo>
                    <a:pt x="3155" y="12350"/>
                  </a:lnTo>
                  <a:lnTo>
                    <a:pt x="3115" y="12428"/>
                  </a:lnTo>
                  <a:lnTo>
                    <a:pt x="3075" y="12505"/>
                  </a:lnTo>
                  <a:lnTo>
                    <a:pt x="3036" y="12580"/>
                  </a:lnTo>
                  <a:lnTo>
                    <a:pt x="2995" y="12653"/>
                  </a:lnTo>
                  <a:lnTo>
                    <a:pt x="2954" y="12726"/>
                  </a:lnTo>
                  <a:lnTo>
                    <a:pt x="2914" y="12796"/>
                  </a:lnTo>
                  <a:lnTo>
                    <a:pt x="2874" y="12864"/>
                  </a:lnTo>
                  <a:lnTo>
                    <a:pt x="2834" y="12931"/>
                  </a:lnTo>
                  <a:lnTo>
                    <a:pt x="2757" y="13059"/>
                  </a:lnTo>
                  <a:lnTo>
                    <a:pt x="2684" y="13180"/>
                  </a:lnTo>
                  <a:lnTo>
                    <a:pt x="2616" y="13290"/>
                  </a:lnTo>
                  <a:lnTo>
                    <a:pt x="2557" y="13390"/>
                  </a:lnTo>
                  <a:lnTo>
                    <a:pt x="2558" y="13390"/>
                  </a:lnTo>
                  <a:lnTo>
                    <a:pt x="2550" y="13411"/>
                  </a:lnTo>
                  <a:lnTo>
                    <a:pt x="2542" y="13432"/>
                  </a:lnTo>
                  <a:lnTo>
                    <a:pt x="2536" y="13454"/>
                  </a:lnTo>
                  <a:lnTo>
                    <a:pt x="2531" y="13476"/>
                  </a:lnTo>
                  <a:lnTo>
                    <a:pt x="2527" y="13499"/>
                  </a:lnTo>
                  <a:lnTo>
                    <a:pt x="2523" y="13522"/>
                  </a:lnTo>
                  <a:lnTo>
                    <a:pt x="2522" y="13545"/>
                  </a:lnTo>
                  <a:lnTo>
                    <a:pt x="2521" y="13569"/>
                  </a:lnTo>
                  <a:lnTo>
                    <a:pt x="2522" y="13592"/>
                  </a:lnTo>
                  <a:lnTo>
                    <a:pt x="2523" y="13615"/>
                  </a:lnTo>
                  <a:lnTo>
                    <a:pt x="2526" y="13638"/>
                  </a:lnTo>
                  <a:lnTo>
                    <a:pt x="2530" y="13660"/>
                  </a:lnTo>
                  <a:lnTo>
                    <a:pt x="2535" y="13682"/>
                  </a:lnTo>
                  <a:lnTo>
                    <a:pt x="2541" y="13704"/>
                  </a:lnTo>
                  <a:lnTo>
                    <a:pt x="2548" y="13726"/>
                  </a:lnTo>
                  <a:lnTo>
                    <a:pt x="2556" y="13746"/>
                  </a:lnTo>
                  <a:lnTo>
                    <a:pt x="2566" y="13766"/>
                  </a:lnTo>
                  <a:lnTo>
                    <a:pt x="2576" y="13786"/>
                  </a:lnTo>
                  <a:lnTo>
                    <a:pt x="2586" y="13805"/>
                  </a:lnTo>
                  <a:lnTo>
                    <a:pt x="2598" y="13823"/>
                  </a:lnTo>
                  <a:lnTo>
                    <a:pt x="2611" y="13841"/>
                  </a:lnTo>
                  <a:lnTo>
                    <a:pt x="2624" y="13858"/>
                  </a:lnTo>
                  <a:lnTo>
                    <a:pt x="2640" y="13875"/>
                  </a:lnTo>
                  <a:lnTo>
                    <a:pt x="2655" y="13890"/>
                  </a:lnTo>
                  <a:lnTo>
                    <a:pt x="2670" y="13905"/>
                  </a:lnTo>
                  <a:lnTo>
                    <a:pt x="2687" y="13920"/>
                  </a:lnTo>
                  <a:lnTo>
                    <a:pt x="2704" y="13933"/>
                  </a:lnTo>
                  <a:lnTo>
                    <a:pt x="2722" y="13946"/>
                  </a:lnTo>
                  <a:lnTo>
                    <a:pt x="2740" y="13958"/>
                  </a:lnTo>
                  <a:lnTo>
                    <a:pt x="2760" y="13968"/>
                  </a:lnTo>
                  <a:lnTo>
                    <a:pt x="2779" y="13978"/>
                  </a:lnTo>
                  <a:lnTo>
                    <a:pt x="2800" y="13987"/>
                  </a:lnTo>
                  <a:lnTo>
                    <a:pt x="2820" y="13996"/>
                  </a:lnTo>
                  <a:lnTo>
                    <a:pt x="2841" y="14003"/>
                  </a:lnTo>
                  <a:lnTo>
                    <a:pt x="2863" y="14009"/>
                  </a:lnTo>
                  <a:lnTo>
                    <a:pt x="2886" y="14014"/>
                  </a:lnTo>
                  <a:lnTo>
                    <a:pt x="2908" y="14018"/>
                  </a:lnTo>
                  <a:lnTo>
                    <a:pt x="2931" y="14021"/>
                  </a:lnTo>
                  <a:lnTo>
                    <a:pt x="2954" y="14022"/>
                  </a:lnTo>
                  <a:lnTo>
                    <a:pt x="2977" y="14023"/>
                  </a:lnTo>
                  <a:lnTo>
                    <a:pt x="3018" y="14021"/>
                  </a:lnTo>
                  <a:lnTo>
                    <a:pt x="3060" y="14017"/>
                  </a:lnTo>
                  <a:lnTo>
                    <a:pt x="3078" y="14016"/>
                  </a:lnTo>
                  <a:lnTo>
                    <a:pt x="3093" y="14015"/>
                  </a:lnTo>
                  <a:lnTo>
                    <a:pt x="3099" y="14015"/>
                  </a:lnTo>
                  <a:lnTo>
                    <a:pt x="3103" y="14015"/>
                  </a:lnTo>
                  <a:lnTo>
                    <a:pt x="3105" y="14016"/>
                  </a:lnTo>
                  <a:lnTo>
                    <a:pt x="3106" y="14016"/>
                  </a:lnTo>
                  <a:lnTo>
                    <a:pt x="3254" y="13989"/>
                  </a:lnTo>
                  <a:lnTo>
                    <a:pt x="3400" y="13955"/>
                  </a:lnTo>
                  <a:lnTo>
                    <a:pt x="3546" y="13915"/>
                  </a:lnTo>
                  <a:lnTo>
                    <a:pt x="3690" y="13870"/>
                  </a:lnTo>
                  <a:lnTo>
                    <a:pt x="3833" y="13819"/>
                  </a:lnTo>
                  <a:lnTo>
                    <a:pt x="3976" y="13763"/>
                  </a:lnTo>
                  <a:lnTo>
                    <a:pt x="4116" y="13701"/>
                  </a:lnTo>
                  <a:lnTo>
                    <a:pt x="4254" y="13637"/>
                  </a:lnTo>
                  <a:lnTo>
                    <a:pt x="4390" y="13569"/>
                  </a:lnTo>
                  <a:lnTo>
                    <a:pt x="4524" y="13497"/>
                  </a:lnTo>
                  <a:lnTo>
                    <a:pt x="4656" y="13423"/>
                  </a:lnTo>
                  <a:lnTo>
                    <a:pt x="4784" y="13346"/>
                  </a:lnTo>
                  <a:lnTo>
                    <a:pt x="4910" y="13267"/>
                  </a:lnTo>
                  <a:lnTo>
                    <a:pt x="5033" y="13186"/>
                  </a:lnTo>
                  <a:lnTo>
                    <a:pt x="5153" y="13104"/>
                  </a:lnTo>
                  <a:lnTo>
                    <a:pt x="5269" y="13021"/>
                  </a:lnTo>
                  <a:lnTo>
                    <a:pt x="5382" y="12938"/>
                  </a:lnTo>
                  <a:lnTo>
                    <a:pt x="5491" y="12854"/>
                  </a:lnTo>
                  <a:lnTo>
                    <a:pt x="5596" y="12771"/>
                  </a:lnTo>
                  <a:lnTo>
                    <a:pt x="5697" y="12689"/>
                  </a:lnTo>
                  <a:lnTo>
                    <a:pt x="5793" y="12608"/>
                  </a:lnTo>
                  <a:lnTo>
                    <a:pt x="5885" y="12528"/>
                  </a:lnTo>
                  <a:lnTo>
                    <a:pt x="5972" y="12450"/>
                  </a:lnTo>
                  <a:lnTo>
                    <a:pt x="6055" y="12375"/>
                  </a:lnTo>
                  <a:lnTo>
                    <a:pt x="6131" y="12302"/>
                  </a:lnTo>
                  <a:lnTo>
                    <a:pt x="6203" y="12233"/>
                  </a:lnTo>
                  <a:lnTo>
                    <a:pt x="6269" y="12167"/>
                  </a:lnTo>
                  <a:lnTo>
                    <a:pt x="6330" y="12105"/>
                  </a:lnTo>
                  <a:lnTo>
                    <a:pt x="6384" y="12048"/>
                  </a:lnTo>
                  <a:lnTo>
                    <a:pt x="6433" y="11995"/>
                  </a:lnTo>
                  <a:lnTo>
                    <a:pt x="6475" y="11947"/>
                  </a:lnTo>
                  <a:lnTo>
                    <a:pt x="6510" y="11906"/>
                  </a:lnTo>
                  <a:lnTo>
                    <a:pt x="6605" y="11919"/>
                  </a:lnTo>
                  <a:lnTo>
                    <a:pt x="6700" y="11932"/>
                  </a:lnTo>
                  <a:lnTo>
                    <a:pt x="6796" y="11943"/>
                  </a:lnTo>
                  <a:lnTo>
                    <a:pt x="6891" y="11954"/>
                  </a:lnTo>
                  <a:lnTo>
                    <a:pt x="6987" y="11965"/>
                  </a:lnTo>
                  <a:lnTo>
                    <a:pt x="7083" y="11974"/>
                  </a:lnTo>
                  <a:lnTo>
                    <a:pt x="7180" y="11983"/>
                  </a:lnTo>
                  <a:lnTo>
                    <a:pt x="7278" y="11990"/>
                  </a:lnTo>
                  <a:lnTo>
                    <a:pt x="7374" y="11997"/>
                  </a:lnTo>
                  <a:lnTo>
                    <a:pt x="7472" y="12003"/>
                  </a:lnTo>
                  <a:lnTo>
                    <a:pt x="7571" y="12008"/>
                  </a:lnTo>
                  <a:lnTo>
                    <a:pt x="7669" y="12012"/>
                  </a:lnTo>
                  <a:lnTo>
                    <a:pt x="7768" y="12016"/>
                  </a:lnTo>
                  <a:lnTo>
                    <a:pt x="7867" y="12018"/>
                  </a:lnTo>
                  <a:lnTo>
                    <a:pt x="7966" y="12019"/>
                  </a:lnTo>
                  <a:lnTo>
                    <a:pt x="8066" y="12020"/>
                  </a:lnTo>
                  <a:lnTo>
                    <a:pt x="8481" y="12012"/>
                  </a:lnTo>
                  <a:lnTo>
                    <a:pt x="8891" y="11989"/>
                  </a:lnTo>
                  <a:lnTo>
                    <a:pt x="9294" y="11951"/>
                  </a:lnTo>
                  <a:lnTo>
                    <a:pt x="9691" y="11898"/>
                  </a:lnTo>
                  <a:lnTo>
                    <a:pt x="10081" y="11830"/>
                  </a:lnTo>
                  <a:lnTo>
                    <a:pt x="10465" y="11749"/>
                  </a:lnTo>
                  <a:lnTo>
                    <a:pt x="10840" y="11655"/>
                  </a:lnTo>
                  <a:lnTo>
                    <a:pt x="11206" y="11547"/>
                  </a:lnTo>
                  <a:lnTo>
                    <a:pt x="11563" y="11427"/>
                  </a:lnTo>
                  <a:lnTo>
                    <a:pt x="11910" y="11295"/>
                  </a:lnTo>
                  <a:lnTo>
                    <a:pt x="12248" y="11149"/>
                  </a:lnTo>
                  <a:lnTo>
                    <a:pt x="12576" y="10993"/>
                  </a:lnTo>
                  <a:lnTo>
                    <a:pt x="12891" y="10826"/>
                  </a:lnTo>
                  <a:lnTo>
                    <a:pt x="13197" y="10647"/>
                  </a:lnTo>
                  <a:lnTo>
                    <a:pt x="13489" y="10458"/>
                  </a:lnTo>
                  <a:lnTo>
                    <a:pt x="13770" y="10260"/>
                  </a:lnTo>
                  <a:lnTo>
                    <a:pt x="14037" y="10050"/>
                  </a:lnTo>
                  <a:lnTo>
                    <a:pt x="14290" y="9832"/>
                  </a:lnTo>
                  <a:lnTo>
                    <a:pt x="14530" y="9606"/>
                  </a:lnTo>
                  <a:lnTo>
                    <a:pt x="14755" y="9370"/>
                  </a:lnTo>
                  <a:lnTo>
                    <a:pt x="14964" y="9126"/>
                  </a:lnTo>
                  <a:lnTo>
                    <a:pt x="15158" y="8875"/>
                  </a:lnTo>
                  <a:lnTo>
                    <a:pt x="15336" y="8615"/>
                  </a:lnTo>
                  <a:lnTo>
                    <a:pt x="15498" y="8349"/>
                  </a:lnTo>
                  <a:lnTo>
                    <a:pt x="15643" y="8076"/>
                  </a:lnTo>
                  <a:lnTo>
                    <a:pt x="15769" y="7797"/>
                  </a:lnTo>
                  <a:lnTo>
                    <a:pt x="15878" y="7511"/>
                  </a:lnTo>
                  <a:lnTo>
                    <a:pt x="15968" y="7221"/>
                  </a:lnTo>
                  <a:lnTo>
                    <a:pt x="16039" y="6925"/>
                  </a:lnTo>
                  <a:lnTo>
                    <a:pt x="16091" y="6624"/>
                  </a:lnTo>
                  <a:lnTo>
                    <a:pt x="16122" y="6319"/>
                  </a:lnTo>
                  <a:lnTo>
                    <a:pt x="16132" y="6010"/>
                  </a:lnTo>
                  <a:lnTo>
                    <a:pt x="16122" y="5700"/>
                  </a:lnTo>
                  <a:lnTo>
                    <a:pt x="16091" y="5396"/>
                  </a:lnTo>
                  <a:lnTo>
                    <a:pt x="16039" y="5094"/>
                  </a:lnTo>
                  <a:lnTo>
                    <a:pt x="15968" y="4799"/>
                  </a:lnTo>
                  <a:lnTo>
                    <a:pt x="15878" y="4508"/>
                  </a:lnTo>
                  <a:lnTo>
                    <a:pt x="15769" y="4223"/>
                  </a:lnTo>
                  <a:lnTo>
                    <a:pt x="15643" y="3943"/>
                  </a:lnTo>
                  <a:lnTo>
                    <a:pt x="15498" y="3671"/>
                  </a:lnTo>
                  <a:lnTo>
                    <a:pt x="15336" y="3405"/>
                  </a:lnTo>
                  <a:lnTo>
                    <a:pt x="15158" y="3145"/>
                  </a:lnTo>
                  <a:lnTo>
                    <a:pt x="14964" y="2894"/>
                  </a:lnTo>
                  <a:lnTo>
                    <a:pt x="14755" y="2649"/>
                  </a:lnTo>
                  <a:lnTo>
                    <a:pt x="14530" y="2414"/>
                  </a:lnTo>
                  <a:lnTo>
                    <a:pt x="14290" y="2188"/>
                  </a:lnTo>
                  <a:lnTo>
                    <a:pt x="14037" y="1969"/>
                  </a:lnTo>
                  <a:lnTo>
                    <a:pt x="13770" y="1760"/>
                  </a:lnTo>
                  <a:lnTo>
                    <a:pt x="13489" y="1562"/>
                  </a:lnTo>
                  <a:lnTo>
                    <a:pt x="13197" y="1372"/>
                  </a:lnTo>
                  <a:lnTo>
                    <a:pt x="12891" y="1194"/>
                  </a:lnTo>
                  <a:lnTo>
                    <a:pt x="12576" y="1027"/>
                  </a:lnTo>
                  <a:lnTo>
                    <a:pt x="12248" y="870"/>
                  </a:lnTo>
                  <a:lnTo>
                    <a:pt x="11910" y="725"/>
                  </a:lnTo>
                  <a:lnTo>
                    <a:pt x="11563" y="593"/>
                  </a:lnTo>
                  <a:lnTo>
                    <a:pt x="11206" y="473"/>
                  </a:lnTo>
                  <a:lnTo>
                    <a:pt x="10840" y="365"/>
                  </a:lnTo>
                  <a:lnTo>
                    <a:pt x="10465" y="270"/>
                  </a:lnTo>
                  <a:lnTo>
                    <a:pt x="10081" y="189"/>
                  </a:lnTo>
                  <a:lnTo>
                    <a:pt x="9691" y="122"/>
                  </a:lnTo>
                  <a:lnTo>
                    <a:pt x="9294" y="69"/>
                  </a:lnTo>
                  <a:lnTo>
                    <a:pt x="8891" y="31"/>
                  </a:lnTo>
                  <a:lnTo>
                    <a:pt x="8481" y="8"/>
                  </a:lnTo>
                  <a:lnTo>
                    <a:pt x="80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61" name="ïSlîdè">
              <a:extLst>
                <a:ext uri="{FF2B5EF4-FFF2-40B4-BE49-F238E27FC236}">
                  <a16:creationId xmlns:a16="http://schemas.microsoft.com/office/drawing/2014/main" id="{87B40133-077E-4631-8290-5732328ADFB2}"/>
                </a:ext>
              </a:extLst>
            </p:cNvPr>
            <p:cNvSpPr/>
            <p:nvPr/>
          </p:nvSpPr>
          <p:spPr bwMode="auto">
            <a:xfrm>
              <a:off x="9309166" y="584180"/>
              <a:ext cx="131262" cy="131262"/>
            </a:xfrm>
            <a:custGeom>
              <a:avLst/>
              <a:gdLst>
                <a:gd name="T0" fmla="*/ 3521 w 6031"/>
                <a:gd name="T1" fmla="*/ 553 h 6022"/>
                <a:gd name="T2" fmla="*/ 4104 w 6031"/>
                <a:gd name="T3" fmla="*/ 750 h 6022"/>
                <a:gd name="T4" fmla="*/ 4613 w 6031"/>
                <a:gd name="T5" fmla="*/ 1076 h 6022"/>
                <a:gd name="T6" fmla="*/ 5029 w 6031"/>
                <a:gd name="T7" fmla="*/ 1511 h 6022"/>
                <a:gd name="T8" fmla="*/ 5330 w 6031"/>
                <a:gd name="T9" fmla="*/ 2036 h 6022"/>
                <a:gd name="T10" fmla="*/ 5499 w 6031"/>
                <a:gd name="T11" fmla="*/ 2630 h 6022"/>
                <a:gd name="T12" fmla="*/ 5515 w 6031"/>
                <a:gd name="T13" fmla="*/ 3268 h 6022"/>
                <a:gd name="T14" fmla="*/ 5375 w 6031"/>
                <a:gd name="T15" fmla="*/ 3873 h 6022"/>
                <a:gd name="T16" fmla="*/ 5098 w 6031"/>
                <a:gd name="T17" fmla="*/ 4413 h 6022"/>
                <a:gd name="T18" fmla="*/ 4704 w 6031"/>
                <a:gd name="T19" fmla="*/ 4868 h 6022"/>
                <a:gd name="T20" fmla="*/ 4213 w 6031"/>
                <a:gd name="T21" fmla="*/ 5217 h 6022"/>
                <a:gd name="T22" fmla="*/ 3643 w 6031"/>
                <a:gd name="T23" fmla="*/ 5441 h 6022"/>
                <a:gd name="T24" fmla="*/ 3016 w 6031"/>
                <a:gd name="T25" fmla="*/ 5520 h 6022"/>
                <a:gd name="T26" fmla="*/ 2388 w 6031"/>
                <a:gd name="T27" fmla="*/ 5441 h 6022"/>
                <a:gd name="T28" fmla="*/ 1818 w 6031"/>
                <a:gd name="T29" fmla="*/ 5217 h 6022"/>
                <a:gd name="T30" fmla="*/ 1327 w 6031"/>
                <a:gd name="T31" fmla="*/ 4868 h 6022"/>
                <a:gd name="T32" fmla="*/ 932 w 6031"/>
                <a:gd name="T33" fmla="*/ 4413 h 6022"/>
                <a:gd name="T34" fmla="*/ 656 w 6031"/>
                <a:gd name="T35" fmla="*/ 3873 h 6022"/>
                <a:gd name="T36" fmla="*/ 516 w 6031"/>
                <a:gd name="T37" fmla="*/ 3268 h 6022"/>
                <a:gd name="T38" fmla="*/ 532 w 6031"/>
                <a:gd name="T39" fmla="*/ 2630 h 6022"/>
                <a:gd name="T40" fmla="*/ 701 w 6031"/>
                <a:gd name="T41" fmla="*/ 2036 h 6022"/>
                <a:gd name="T42" fmla="*/ 1002 w 6031"/>
                <a:gd name="T43" fmla="*/ 1511 h 6022"/>
                <a:gd name="T44" fmla="*/ 1417 w 6031"/>
                <a:gd name="T45" fmla="*/ 1076 h 6022"/>
                <a:gd name="T46" fmla="*/ 1927 w 6031"/>
                <a:gd name="T47" fmla="*/ 750 h 6022"/>
                <a:gd name="T48" fmla="*/ 2510 w 6031"/>
                <a:gd name="T49" fmla="*/ 553 h 6022"/>
                <a:gd name="T50" fmla="*/ 3016 w 6031"/>
                <a:gd name="T51" fmla="*/ 6022 h 6022"/>
                <a:gd name="T52" fmla="*/ 3768 w 6031"/>
                <a:gd name="T53" fmla="*/ 5928 h 6022"/>
                <a:gd name="T54" fmla="*/ 4452 w 6031"/>
                <a:gd name="T55" fmla="*/ 5659 h 6022"/>
                <a:gd name="T56" fmla="*/ 5042 w 6031"/>
                <a:gd name="T57" fmla="*/ 5239 h 6022"/>
                <a:gd name="T58" fmla="*/ 5515 w 6031"/>
                <a:gd name="T59" fmla="*/ 4693 h 6022"/>
                <a:gd name="T60" fmla="*/ 5848 w 6031"/>
                <a:gd name="T61" fmla="*/ 4046 h 6022"/>
                <a:gd name="T62" fmla="*/ 6015 w 6031"/>
                <a:gd name="T63" fmla="*/ 3318 h 6022"/>
                <a:gd name="T64" fmla="*/ 5996 w 6031"/>
                <a:gd name="T65" fmla="*/ 2554 h 6022"/>
                <a:gd name="T66" fmla="*/ 5794 w 6031"/>
                <a:gd name="T67" fmla="*/ 1840 h 6022"/>
                <a:gd name="T68" fmla="*/ 5431 w 6031"/>
                <a:gd name="T69" fmla="*/ 1211 h 6022"/>
                <a:gd name="T70" fmla="*/ 4932 w 6031"/>
                <a:gd name="T71" fmla="*/ 689 h 6022"/>
                <a:gd name="T72" fmla="*/ 4322 w 6031"/>
                <a:gd name="T73" fmla="*/ 297 h 6022"/>
                <a:gd name="T74" fmla="*/ 3623 w 6031"/>
                <a:gd name="T75" fmla="*/ 62 h 6022"/>
                <a:gd name="T76" fmla="*/ 2861 w 6031"/>
                <a:gd name="T77" fmla="*/ 4 h 6022"/>
                <a:gd name="T78" fmla="*/ 2120 w 6031"/>
                <a:gd name="T79" fmla="*/ 136 h 6022"/>
                <a:gd name="T80" fmla="*/ 1453 w 6031"/>
                <a:gd name="T81" fmla="*/ 437 h 6022"/>
                <a:gd name="T82" fmla="*/ 884 w 6031"/>
                <a:gd name="T83" fmla="*/ 884 h 6022"/>
                <a:gd name="T84" fmla="*/ 437 w 6031"/>
                <a:gd name="T85" fmla="*/ 1452 h 6022"/>
                <a:gd name="T86" fmla="*/ 136 w 6031"/>
                <a:gd name="T87" fmla="*/ 2117 h 6022"/>
                <a:gd name="T88" fmla="*/ 4 w 6031"/>
                <a:gd name="T89" fmla="*/ 2857 h 6022"/>
                <a:gd name="T90" fmla="*/ 62 w 6031"/>
                <a:gd name="T91" fmla="*/ 3617 h 6022"/>
                <a:gd name="T92" fmla="*/ 298 w 6031"/>
                <a:gd name="T93" fmla="*/ 4316 h 6022"/>
                <a:gd name="T94" fmla="*/ 690 w 6031"/>
                <a:gd name="T95" fmla="*/ 4925 h 6022"/>
                <a:gd name="T96" fmla="*/ 1212 w 6031"/>
                <a:gd name="T97" fmla="*/ 5424 h 6022"/>
                <a:gd name="T98" fmla="*/ 1843 w 6031"/>
                <a:gd name="T99" fmla="*/ 5785 h 6022"/>
                <a:gd name="T100" fmla="*/ 2557 w 6031"/>
                <a:gd name="T101" fmla="*/ 5988 h 6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31" h="6022">
                  <a:moveTo>
                    <a:pt x="3016" y="502"/>
                  </a:moveTo>
                  <a:lnTo>
                    <a:pt x="3144" y="505"/>
                  </a:lnTo>
                  <a:lnTo>
                    <a:pt x="3272" y="515"/>
                  </a:lnTo>
                  <a:lnTo>
                    <a:pt x="3397" y="531"/>
                  </a:lnTo>
                  <a:lnTo>
                    <a:pt x="3521" y="553"/>
                  </a:lnTo>
                  <a:lnTo>
                    <a:pt x="3643" y="582"/>
                  </a:lnTo>
                  <a:lnTo>
                    <a:pt x="3762" y="616"/>
                  </a:lnTo>
                  <a:lnTo>
                    <a:pt x="3879" y="655"/>
                  </a:lnTo>
                  <a:lnTo>
                    <a:pt x="3992" y="700"/>
                  </a:lnTo>
                  <a:lnTo>
                    <a:pt x="4104" y="750"/>
                  </a:lnTo>
                  <a:lnTo>
                    <a:pt x="4213" y="805"/>
                  </a:lnTo>
                  <a:lnTo>
                    <a:pt x="4318" y="866"/>
                  </a:lnTo>
                  <a:lnTo>
                    <a:pt x="4420" y="932"/>
                  </a:lnTo>
                  <a:lnTo>
                    <a:pt x="4518" y="1001"/>
                  </a:lnTo>
                  <a:lnTo>
                    <a:pt x="4613" y="1076"/>
                  </a:lnTo>
                  <a:lnTo>
                    <a:pt x="4704" y="1155"/>
                  </a:lnTo>
                  <a:lnTo>
                    <a:pt x="4791" y="1238"/>
                  </a:lnTo>
                  <a:lnTo>
                    <a:pt x="4875" y="1325"/>
                  </a:lnTo>
                  <a:lnTo>
                    <a:pt x="4954" y="1417"/>
                  </a:lnTo>
                  <a:lnTo>
                    <a:pt x="5029" y="1511"/>
                  </a:lnTo>
                  <a:lnTo>
                    <a:pt x="5098" y="1609"/>
                  </a:lnTo>
                  <a:lnTo>
                    <a:pt x="5164" y="1712"/>
                  </a:lnTo>
                  <a:lnTo>
                    <a:pt x="5225" y="1816"/>
                  </a:lnTo>
                  <a:lnTo>
                    <a:pt x="5280" y="1924"/>
                  </a:lnTo>
                  <a:lnTo>
                    <a:pt x="5330" y="2036"/>
                  </a:lnTo>
                  <a:lnTo>
                    <a:pt x="5375" y="2149"/>
                  </a:lnTo>
                  <a:lnTo>
                    <a:pt x="5415" y="2266"/>
                  </a:lnTo>
                  <a:lnTo>
                    <a:pt x="5449" y="2385"/>
                  </a:lnTo>
                  <a:lnTo>
                    <a:pt x="5477" y="2506"/>
                  </a:lnTo>
                  <a:lnTo>
                    <a:pt x="5499" y="2630"/>
                  </a:lnTo>
                  <a:lnTo>
                    <a:pt x="5515" y="2755"/>
                  </a:lnTo>
                  <a:lnTo>
                    <a:pt x="5525" y="2883"/>
                  </a:lnTo>
                  <a:lnTo>
                    <a:pt x="5528" y="3011"/>
                  </a:lnTo>
                  <a:lnTo>
                    <a:pt x="5525" y="3141"/>
                  </a:lnTo>
                  <a:lnTo>
                    <a:pt x="5515" y="3268"/>
                  </a:lnTo>
                  <a:lnTo>
                    <a:pt x="5499" y="3394"/>
                  </a:lnTo>
                  <a:lnTo>
                    <a:pt x="5477" y="3517"/>
                  </a:lnTo>
                  <a:lnTo>
                    <a:pt x="5449" y="3638"/>
                  </a:lnTo>
                  <a:lnTo>
                    <a:pt x="5415" y="3757"/>
                  </a:lnTo>
                  <a:lnTo>
                    <a:pt x="5375" y="3873"/>
                  </a:lnTo>
                  <a:lnTo>
                    <a:pt x="5330" y="3988"/>
                  </a:lnTo>
                  <a:lnTo>
                    <a:pt x="5280" y="4098"/>
                  </a:lnTo>
                  <a:lnTo>
                    <a:pt x="5225" y="4207"/>
                  </a:lnTo>
                  <a:lnTo>
                    <a:pt x="5164" y="4312"/>
                  </a:lnTo>
                  <a:lnTo>
                    <a:pt x="5098" y="4413"/>
                  </a:lnTo>
                  <a:lnTo>
                    <a:pt x="5029" y="4512"/>
                  </a:lnTo>
                  <a:lnTo>
                    <a:pt x="4954" y="4607"/>
                  </a:lnTo>
                  <a:lnTo>
                    <a:pt x="4875" y="4697"/>
                  </a:lnTo>
                  <a:lnTo>
                    <a:pt x="4791" y="4785"/>
                  </a:lnTo>
                  <a:lnTo>
                    <a:pt x="4704" y="4868"/>
                  </a:lnTo>
                  <a:lnTo>
                    <a:pt x="4613" y="4947"/>
                  </a:lnTo>
                  <a:lnTo>
                    <a:pt x="4518" y="5022"/>
                  </a:lnTo>
                  <a:lnTo>
                    <a:pt x="4420" y="5092"/>
                  </a:lnTo>
                  <a:lnTo>
                    <a:pt x="4318" y="5157"/>
                  </a:lnTo>
                  <a:lnTo>
                    <a:pt x="4213" y="5217"/>
                  </a:lnTo>
                  <a:lnTo>
                    <a:pt x="4104" y="5272"/>
                  </a:lnTo>
                  <a:lnTo>
                    <a:pt x="3992" y="5324"/>
                  </a:lnTo>
                  <a:lnTo>
                    <a:pt x="3879" y="5368"/>
                  </a:lnTo>
                  <a:lnTo>
                    <a:pt x="3762" y="5408"/>
                  </a:lnTo>
                  <a:lnTo>
                    <a:pt x="3643" y="5441"/>
                  </a:lnTo>
                  <a:lnTo>
                    <a:pt x="3521" y="5469"/>
                  </a:lnTo>
                  <a:lnTo>
                    <a:pt x="3397" y="5491"/>
                  </a:lnTo>
                  <a:lnTo>
                    <a:pt x="3272" y="5507"/>
                  </a:lnTo>
                  <a:lnTo>
                    <a:pt x="3144" y="5517"/>
                  </a:lnTo>
                  <a:lnTo>
                    <a:pt x="3016" y="5520"/>
                  </a:lnTo>
                  <a:lnTo>
                    <a:pt x="2886" y="5517"/>
                  </a:lnTo>
                  <a:lnTo>
                    <a:pt x="2759" y="5507"/>
                  </a:lnTo>
                  <a:lnTo>
                    <a:pt x="2634" y="5491"/>
                  </a:lnTo>
                  <a:lnTo>
                    <a:pt x="2510" y="5469"/>
                  </a:lnTo>
                  <a:lnTo>
                    <a:pt x="2388" y="5441"/>
                  </a:lnTo>
                  <a:lnTo>
                    <a:pt x="2269" y="5408"/>
                  </a:lnTo>
                  <a:lnTo>
                    <a:pt x="2152" y="5368"/>
                  </a:lnTo>
                  <a:lnTo>
                    <a:pt x="2039" y="5324"/>
                  </a:lnTo>
                  <a:lnTo>
                    <a:pt x="1927" y="5272"/>
                  </a:lnTo>
                  <a:lnTo>
                    <a:pt x="1818" y="5217"/>
                  </a:lnTo>
                  <a:lnTo>
                    <a:pt x="1713" y="5157"/>
                  </a:lnTo>
                  <a:lnTo>
                    <a:pt x="1611" y="5092"/>
                  </a:lnTo>
                  <a:lnTo>
                    <a:pt x="1513" y="5022"/>
                  </a:lnTo>
                  <a:lnTo>
                    <a:pt x="1417" y="4947"/>
                  </a:lnTo>
                  <a:lnTo>
                    <a:pt x="1327" y="4868"/>
                  </a:lnTo>
                  <a:lnTo>
                    <a:pt x="1240" y="4785"/>
                  </a:lnTo>
                  <a:lnTo>
                    <a:pt x="1156" y="4697"/>
                  </a:lnTo>
                  <a:lnTo>
                    <a:pt x="1077" y="4607"/>
                  </a:lnTo>
                  <a:lnTo>
                    <a:pt x="1002" y="4512"/>
                  </a:lnTo>
                  <a:lnTo>
                    <a:pt x="932" y="4413"/>
                  </a:lnTo>
                  <a:lnTo>
                    <a:pt x="867" y="4312"/>
                  </a:lnTo>
                  <a:lnTo>
                    <a:pt x="806" y="4207"/>
                  </a:lnTo>
                  <a:lnTo>
                    <a:pt x="751" y="4098"/>
                  </a:lnTo>
                  <a:lnTo>
                    <a:pt x="701" y="3988"/>
                  </a:lnTo>
                  <a:lnTo>
                    <a:pt x="656" y="3873"/>
                  </a:lnTo>
                  <a:lnTo>
                    <a:pt x="615" y="3757"/>
                  </a:lnTo>
                  <a:lnTo>
                    <a:pt x="582" y="3638"/>
                  </a:lnTo>
                  <a:lnTo>
                    <a:pt x="554" y="3517"/>
                  </a:lnTo>
                  <a:lnTo>
                    <a:pt x="532" y="3394"/>
                  </a:lnTo>
                  <a:lnTo>
                    <a:pt x="516" y="3268"/>
                  </a:lnTo>
                  <a:lnTo>
                    <a:pt x="506" y="3141"/>
                  </a:lnTo>
                  <a:lnTo>
                    <a:pt x="503" y="3011"/>
                  </a:lnTo>
                  <a:lnTo>
                    <a:pt x="506" y="2883"/>
                  </a:lnTo>
                  <a:lnTo>
                    <a:pt x="516" y="2755"/>
                  </a:lnTo>
                  <a:lnTo>
                    <a:pt x="532" y="2630"/>
                  </a:lnTo>
                  <a:lnTo>
                    <a:pt x="554" y="2506"/>
                  </a:lnTo>
                  <a:lnTo>
                    <a:pt x="582" y="2385"/>
                  </a:lnTo>
                  <a:lnTo>
                    <a:pt x="615" y="2266"/>
                  </a:lnTo>
                  <a:lnTo>
                    <a:pt x="656" y="2149"/>
                  </a:lnTo>
                  <a:lnTo>
                    <a:pt x="701" y="2036"/>
                  </a:lnTo>
                  <a:lnTo>
                    <a:pt x="751" y="1924"/>
                  </a:lnTo>
                  <a:lnTo>
                    <a:pt x="806" y="1816"/>
                  </a:lnTo>
                  <a:lnTo>
                    <a:pt x="867" y="1712"/>
                  </a:lnTo>
                  <a:lnTo>
                    <a:pt x="932" y="1609"/>
                  </a:lnTo>
                  <a:lnTo>
                    <a:pt x="1002" y="1511"/>
                  </a:lnTo>
                  <a:lnTo>
                    <a:pt x="1077" y="1417"/>
                  </a:lnTo>
                  <a:lnTo>
                    <a:pt x="1156" y="1325"/>
                  </a:lnTo>
                  <a:lnTo>
                    <a:pt x="1240" y="1238"/>
                  </a:lnTo>
                  <a:lnTo>
                    <a:pt x="1327" y="1155"/>
                  </a:lnTo>
                  <a:lnTo>
                    <a:pt x="1417" y="1076"/>
                  </a:lnTo>
                  <a:lnTo>
                    <a:pt x="1513" y="1001"/>
                  </a:lnTo>
                  <a:lnTo>
                    <a:pt x="1611" y="932"/>
                  </a:lnTo>
                  <a:lnTo>
                    <a:pt x="1713" y="866"/>
                  </a:lnTo>
                  <a:lnTo>
                    <a:pt x="1818" y="805"/>
                  </a:lnTo>
                  <a:lnTo>
                    <a:pt x="1927" y="750"/>
                  </a:lnTo>
                  <a:lnTo>
                    <a:pt x="2039" y="700"/>
                  </a:lnTo>
                  <a:lnTo>
                    <a:pt x="2152" y="655"/>
                  </a:lnTo>
                  <a:lnTo>
                    <a:pt x="2269" y="616"/>
                  </a:lnTo>
                  <a:lnTo>
                    <a:pt x="2388" y="582"/>
                  </a:lnTo>
                  <a:lnTo>
                    <a:pt x="2510" y="553"/>
                  </a:lnTo>
                  <a:lnTo>
                    <a:pt x="2634" y="531"/>
                  </a:lnTo>
                  <a:lnTo>
                    <a:pt x="2759" y="515"/>
                  </a:lnTo>
                  <a:lnTo>
                    <a:pt x="2886" y="505"/>
                  </a:lnTo>
                  <a:lnTo>
                    <a:pt x="3016" y="502"/>
                  </a:lnTo>
                  <a:close/>
                  <a:moveTo>
                    <a:pt x="3016" y="6022"/>
                  </a:moveTo>
                  <a:lnTo>
                    <a:pt x="3170" y="6018"/>
                  </a:lnTo>
                  <a:lnTo>
                    <a:pt x="3323" y="6007"/>
                  </a:lnTo>
                  <a:lnTo>
                    <a:pt x="3474" y="5988"/>
                  </a:lnTo>
                  <a:lnTo>
                    <a:pt x="3623" y="5961"/>
                  </a:lnTo>
                  <a:lnTo>
                    <a:pt x="3768" y="5928"/>
                  </a:lnTo>
                  <a:lnTo>
                    <a:pt x="3911" y="5887"/>
                  </a:lnTo>
                  <a:lnTo>
                    <a:pt x="4052" y="5840"/>
                  </a:lnTo>
                  <a:lnTo>
                    <a:pt x="4188" y="5785"/>
                  </a:lnTo>
                  <a:lnTo>
                    <a:pt x="4322" y="5725"/>
                  </a:lnTo>
                  <a:lnTo>
                    <a:pt x="4452" y="5659"/>
                  </a:lnTo>
                  <a:lnTo>
                    <a:pt x="4577" y="5586"/>
                  </a:lnTo>
                  <a:lnTo>
                    <a:pt x="4700" y="5507"/>
                  </a:lnTo>
                  <a:lnTo>
                    <a:pt x="4819" y="5424"/>
                  </a:lnTo>
                  <a:lnTo>
                    <a:pt x="4932" y="5334"/>
                  </a:lnTo>
                  <a:lnTo>
                    <a:pt x="5042" y="5239"/>
                  </a:lnTo>
                  <a:lnTo>
                    <a:pt x="5146" y="5140"/>
                  </a:lnTo>
                  <a:lnTo>
                    <a:pt x="5247" y="5035"/>
                  </a:lnTo>
                  <a:lnTo>
                    <a:pt x="5341" y="4925"/>
                  </a:lnTo>
                  <a:lnTo>
                    <a:pt x="5431" y="4812"/>
                  </a:lnTo>
                  <a:lnTo>
                    <a:pt x="5515" y="4693"/>
                  </a:lnTo>
                  <a:lnTo>
                    <a:pt x="5594" y="4572"/>
                  </a:lnTo>
                  <a:lnTo>
                    <a:pt x="5666" y="4445"/>
                  </a:lnTo>
                  <a:lnTo>
                    <a:pt x="5733" y="4316"/>
                  </a:lnTo>
                  <a:lnTo>
                    <a:pt x="5794" y="4183"/>
                  </a:lnTo>
                  <a:lnTo>
                    <a:pt x="5848" y="4046"/>
                  </a:lnTo>
                  <a:lnTo>
                    <a:pt x="5895" y="3906"/>
                  </a:lnTo>
                  <a:lnTo>
                    <a:pt x="5935" y="3763"/>
                  </a:lnTo>
                  <a:lnTo>
                    <a:pt x="5969" y="3617"/>
                  </a:lnTo>
                  <a:lnTo>
                    <a:pt x="5996" y="3469"/>
                  </a:lnTo>
                  <a:lnTo>
                    <a:pt x="6015" y="3318"/>
                  </a:lnTo>
                  <a:lnTo>
                    <a:pt x="6027" y="3166"/>
                  </a:lnTo>
                  <a:lnTo>
                    <a:pt x="6031" y="3011"/>
                  </a:lnTo>
                  <a:lnTo>
                    <a:pt x="6027" y="2857"/>
                  </a:lnTo>
                  <a:lnTo>
                    <a:pt x="6015" y="2704"/>
                  </a:lnTo>
                  <a:lnTo>
                    <a:pt x="5996" y="2554"/>
                  </a:lnTo>
                  <a:lnTo>
                    <a:pt x="5969" y="2405"/>
                  </a:lnTo>
                  <a:lnTo>
                    <a:pt x="5935" y="2260"/>
                  </a:lnTo>
                  <a:lnTo>
                    <a:pt x="5895" y="2117"/>
                  </a:lnTo>
                  <a:lnTo>
                    <a:pt x="5848" y="1978"/>
                  </a:lnTo>
                  <a:lnTo>
                    <a:pt x="5794" y="1840"/>
                  </a:lnTo>
                  <a:lnTo>
                    <a:pt x="5733" y="1708"/>
                  </a:lnTo>
                  <a:lnTo>
                    <a:pt x="5666" y="1577"/>
                  </a:lnTo>
                  <a:lnTo>
                    <a:pt x="5594" y="1452"/>
                  </a:lnTo>
                  <a:lnTo>
                    <a:pt x="5515" y="1329"/>
                  </a:lnTo>
                  <a:lnTo>
                    <a:pt x="5431" y="1211"/>
                  </a:lnTo>
                  <a:lnTo>
                    <a:pt x="5341" y="1097"/>
                  </a:lnTo>
                  <a:lnTo>
                    <a:pt x="5247" y="988"/>
                  </a:lnTo>
                  <a:lnTo>
                    <a:pt x="5146" y="884"/>
                  </a:lnTo>
                  <a:lnTo>
                    <a:pt x="5042" y="783"/>
                  </a:lnTo>
                  <a:lnTo>
                    <a:pt x="4932" y="689"/>
                  </a:lnTo>
                  <a:lnTo>
                    <a:pt x="4819" y="600"/>
                  </a:lnTo>
                  <a:lnTo>
                    <a:pt x="4700" y="515"/>
                  </a:lnTo>
                  <a:lnTo>
                    <a:pt x="4577" y="437"/>
                  </a:lnTo>
                  <a:lnTo>
                    <a:pt x="4452" y="365"/>
                  </a:lnTo>
                  <a:lnTo>
                    <a:pt x="4322" y="297"/>
                  </a:lnTo>
                  <a:lnTo>
                    <a:pt x="4188" y="237"/>
                  </a:lnTo>
                  <a:lnTo>
                    <a:pt x="4052" y="183"/>
                  </a:lnTo>
                  <a:lnTo>
                    <a:pt x="3911" y="136"/>
                  </a:lnTo>
                  <a:lnTo>
                    <a:pt x="3768" y="96"/>
                  </a:lnTo>
                  <a:lnTo>
                    <a:pt x="3623" y="62"/>
                  </a:lnTo>
                  <a:lnTo>
                    <a:pt x="3474" y="36"/>
                  </a:lnTo>
                  <a:lnTo>
                    <a:pt x="3323" y="16"/>
                  </a:lnTo>
                  <a:lnTo>
                    <a:pt x="3170" y="4"/>
                  </a:lnTo>
                  <a:lnTo>
                    <a:pt x="3016" y="0"/>
                  </a:lnTo>
                  <a:lnTo>
                    <a:pt x="2861" y="4"/>
                  </a:lnTo>
                  <a:lnTo>
                    <a:pt x="2708" y="16"/>
                  </a:lnTo>
                  <a:lnTo>
                    <a:pt x="2557" y="36"/>
                  </a:lnTo>
                  <a:lnTo>
                    <a:pt x="2408" y="62"/>
                  </a:lnTo>
                  <a:lnTo>
                    <a:pt x="2263" y="96"/>
                  </a:lnTo>
                  <a:lnTo>
                    <a:pt x="2120" y="136"/>
                  </a:lnTo>
                  <a:lnTo>
                    <a:pt x="1979" y="183"/>
                  </a:lnTo>
                  <a:lnTo>
                    <a:pt x="1843" y="237"/>
                  </a:lnTo>
                  <a:lnTo>
                    <a:pt x="1709" y="297"/>
                  </a:lnTo>
                  <a:lnTo>
                    <a:pt x="1579" y="365"/>
                  </a:lnTo>
                  <a:lnTo>
                    <a:pt x="1453" y="437"/>
                  </a:lnTo>
                  <a:lnTo>
                    <a:pt x="1331" y="515"/>
                  </a:lnTo>
                  <a:lnTo>
                    <a:pt x="1212" y="600"/>
                  </a:lnTo>
                  <a:lnTo>
                    <a:pt x="1099" y="689"/>
                  </a:lnTo>
                  <a:lnTo>
                    <a:pt x="989" y="783"/>
                  </a:lnTo>
                  <a:lnTo>
                    <a:pt x="884" y="884"/>
                  </a:lnTo>
                  <a:lnTo>
                    <a:pt x="784" y="988"/>
                  </a:lnTo>
                  <a:lnTo>
                    <a:pt x="690" y="1097"/>
                  </a:lnTo>
                  <a:lnTo>
                    <a:pt x="600" y="1211"/>
                  </a:lnTo>
                  <a:lnTo>
                    <a:pt x="516" y="1329"/>
                  </a:lnTo>
                  <a:lnTo>
                    <a:pt x="437" y="1452"/>
                  </a:lnTo>
                  <a:lnTo>
                    <a:pt x="364" y="1577"/>
                  </a:lnTo>
                  <a:lnTo>
                    <a:pt x="298" y="1708"/>
                  </a:lnTo>
                  <a:lnTo>
                    <a:pt x="237" y="1840"/>
                  </a:lnTo>
                  <a:lnTo>
                    <a:pt x="183" y="1978"/>
                  </a:lnTo>
                  <a:lnTo>
                    <a:pt x="136" y="2117"/>
                  </a:lnTo>
                  <a:lnTo>
                    <a:pt x="95" y="2260"/>
                  </a:lnTo>
                  <a:lnTo>
                    <a:pt x="62" y="2405"/>
                  </a:lnTo>
                  <a:lnTo>
                    <a:pt x="35" y="2554"/>
                  </a:lnTo>
                  <a:lnTo>
                    <a:pt x="15" y="2704"/>
                  </a:lnTo>
                  <a:lnTo>
                    <a:pt x="4" y="2857"/>
                  </a:lnTo>
                  <a:lnTo>
                    <a:pt x="0" y="3011"/>
                  </a:lnTo>
                  <a:lnTo>
                    <a:pt x="4" y="3166"/>
                  </a:lnTo>
                  <a:lnTo>
                    <a:pt x="15" y="3318"/>
                  </a:lnTo>
                  <a:lnTo>
                    <a:pt x="35" y="3469"/>
                  </a:lnTo>
                  <a:lnTo>
                    <a:pt x="62" y="3617"/>
                  </a:lnTo>
                  <a:lnTo>
                    <a:pt x="95" y="3763"/>
                  </a:lnTo>
                  <a:lnTo>
                    <a:pt x="136" y="3906"/>
                  </a:lnTo>
                  <a:lnTo>
                    <a:pt x="183" y="4046"/>
                  </a:lnTo>
                  <a:lnTo>
                    <a:pt x="237" y="4183"/>
                  </a:lnTo>
                  <a:lnTo>
                    <a:pt x="298" y="4316"/>
                  </a:lnTo>
                  <a:lnTo>
                    <a:pt x="364" y="4445"/>
                  </a:lnTo>
                  <a:lnTo>
                    <a:pt x="437" y="4572"/>
                  </a:lnTo>
                  <a:lnTo>
                    <a:pt x="516" y="4693"/>
                  </a:lnTo>
                  <a:lnTo>
                    <a:pt x="600" y="4812"/>
                  </a:lnTo>
                  <a:lnTo>
                    <a:pt x="690" y="4925"/>
                  </a:lnTo>
                  <a:lnTo>
                    <a:pt x="784" y="5035"/>
                  </a:lnTo>
                  <a:lnTo>
                    <a:pt x="884" y="5140"/>
                  </a:lnTo>
                  <a:lnTo>
                    <a:pt x="989" y="5239"/>
                  </a:lnTo>
                  <a:lnTo>
                    <a:pt x="1099" y="5334"/>
                  </a:lnTo>
                  <a:lnTo>
                    <a:pt x="1212" y="5424"/>
                  </a:lnTo>
                  <a:lnTo>
                    <a:pt x="1331" y="5507"/>
                  </a:lnTo>
                  <a:lnTo>
                    <a:pt x="1453" y="5586"/>
                  </a:lnTo>
                  <a:lnTo>
                    <a:pt x="1579" y="5659"/>
                  </a:lnTo>
                  <a:lnTo>
                    <a:pt x="1709" y="5725"/>
                  </a:lnTo>
                  <a:lnTo>
                    <a:pt x="1843" y="5785"/>
                  </a:lnTo>
                  <a:lnTo>
                    <a:pt x="1979" y="5840"/>
                  </a:lnTo>
                  <a:lnTo>
                    <a:pt x="2120" y="5887"/>
                  </a:lnTo>
                  <a:lnTo>
                    <a:pt x="2263" y="5928"/>
                  </a:lnTo>
                  <a:lnTo>
                    <a:pt x="2408" y="5961"/>
                  </a:lnTo>
                  <a:lnTo>
                    <a:pt x="2557" y="5988"/>
                  </a:lnTo>
                  <a:lnTo>
                    <a:pt x="2708" y="6007"/>
                  </a:lnTo>
                  <a:lnTo>
                    <a:pt x="2861" y="6018"/>
                  </a:lnTo>
                  <a:lnTo>
                    <a:pt x="3016" y="60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62" name="í$ḷiḑè">
              <a:extLst>
                <a:ext uri="{FF2B5EF4-FFF2-40B4-BE49-F238E27FC236}">
                  <a16:creationId xmlns:a16="http://schemas.microsoft.com/office/drawing/2014/main" id="{1914652B-86BF-446C-ACBD-540E7537B473}"/>
                </a:ext>
              </a:extLst>
            </p:cNvPr>
            <p:cNvSpPr/>
            <p:nvPr/>
          </p:nvSpPr>
          <p:spPr bwMode="auto">
            <a:xfrm>
              <a:off x="9243132" y="521368"/>
              <a:ext cx="262524" cy="349494"/>
            </a:xfrm>
            <a:custGeom>
              <a:avLst/>
              <a:gdLst>
                <a:gd name="T0" fmla="*/ 6018 w 12062"/>
                <a:gd name="T1" fmla="*/ 15039 h 16058"/>
                <a:gd name="T2" fmla="*/ 5780 w 12062"/>
                <a:gd name="T3" fmla="*/ 14775 h 16058"/>
                <a:gd name="T4" fmla="*/ 4611 w 12062"/>
                <a:gd name="T5" fmla="*/ 13399 h 16058"/>
                <a:gd name="T6" fmla="*/ 3378 w 12062"/>
                <a:gd name="T7" fmla="*/ 11797 h 16058"/>
                <a:gd name="T8" fmla="*/ 2251 w 12062"/>
                <a:gd name="T9" fmla="*/ 10038 h 16058"/>
                <a:gd name="T10" fmla="*/ 1406 w 12062"/>
                <a:gd name="T11" fmla="*/ 8193 h 16058"/>
                <a:gd name="T12" fmla="*/ 1014 w 12062"/>
                <a:gd name="T13" fmla="*/ 6330 h 16058"/>
                <a:gd name="T14" fmla="*/ 1164 w 12062"/>
                <a:gd name="T15" fmla="*/ 4770 h 16058"/>
                <a:gd name="T16" fmla="*/ 1734 w 12062"/>
                <a:gd name="T17" fmla="*/ 3422 h 16058"/>
                <a:gd name="T18" fmla="*/ 2653 w 12062"/>
                <a:gd name="T19" fmla="*/ 2309 h 16058"/>
                <a:gd name="T20" fmla="*/ 3854 w 12062"/>
                <a:gd name="T21" fmla="*/ 1499 h 16058"/>
                <a:gd name="T22" fmla="*/ 5267 w 12062"/>
                <a:gd name="T23" fmla="*/ 1062 h 16058"/>
                <a:gd name="T24" fmla="*/ 6795 w 12062"/>
                <a:gd name="T25" fmla="*/ 1062 h 16058"/>
                <a:gd name="T26" fmla="*/ 8208 w 12062"/>
                <a:gd name="T27" fmla="*/ 1499 h 16058"/>
                <a:gd name="T28" fmla="*/ 9409 w 12062"/>
                <a:gd name="T29" fmla="*/ 2309 h 16058"/>
                <a:gd name="T30" fmla="*/ 10328 w 12062"/>
                <a:gd name="T31" fmla="*/ 3422 h 16058"/>
                <a:gd name="T32" fmla="*/ 10898 w 12062"/>
                <a:gd name="T33" fmla="*/ 4770 h 16058"/>
                <a:gd name="T34" fmla="*/ 11048 w 12062"/>
                <a:gd name="T35" fmla="*/ 6330 h 16058"/>
                <a:gd name="T36" fmla="*/ 10656 w 12062"/>
                <a:gd name="T37" fmla="*/ 8193 h 16058"/>
                <a:gd name="T38" fmla="*/ 9810 w 12062"/>
                <a:gd name="T39" fmla="*/ 10039 h 16058"/>
                <a:gd name="T40" fmla="*/ 8681 w 12062"/>
                <a:gd name="T41" fmla="*/ 11801 h 16058"/>
                <a:gd name="T42" fmla="*/ 7443 w 12062"/>
                <a:gd name="T43" fmla="*/ 13407 h 16058"/>
                <a:gd name="T44" fmla="*/ 6267 w 12062"/>
                <a:gd name="T45" fmla="*/ 14791 h 16058"/>
                <a:gd name="T46" fmla="*/ 4817 w 12062"/>
                <a:gd name="T47" fmla="*/ 121 h 16058"/>
                <a:gd name="T48" fmla="*/ 3159 w 12062"/>
                <a:gd name="T49" fmla="*/ 722 h 16058"/>
                <a:gd name="T50" fmla="*/ 1768 w 12062"/>
                <a:gd name="T51" fmla="*/ 1753 h 16058"/>
                <a:gd name="T52" fmla="*/ 729 w 12062"/>
                <a:gd name="T53" fmla="*/ 3139 h 16058"/>
                <a:gd name="T54" fmla="*/ 123 w 12062"/>
                <a:gd name="T55" fmla="*/ 4801 h 16058"/>
                <a:gd name="T56" fmla="*/ 34 w 12062"/>
                <a:gd name="T57" fmla="*/ 6682 h 16058"/>
                <a:gd name="T58" fmla="*/ 506 w 12062"/>
                <a:gd name="T59" fmla="*/ 8654 h 16058"/>
                <a:gd name="T60" fmla="*/ 1411 w 12062"/>
                <a:gd name="T61" fmla="*/ 10583 h 16058"/>
                <a:gd name="T62" fmla="*/ 2598 w 12062"/>
                <a:gd name="T63" fmla="*/ 12423 h 16058"/>
                <a:gd name="T64" fmla="*/ 3917 w 12062"/>
                <a:gd name="T65" fmla="*/ 14129 h 16058"/>
                <a:gd name="T66" fmla="*/ 5214 w 12062"/>
                <a:gd name="T67" fmla="*/ 15655 h 16058"/>
                <a:gd name="T68" fmla="*/ 5355 w 12062"/>
                <a:gd name="T69" fmla="*/ 15786 h 16058"/>
                <a:gd name="T70" fmla="*/ 5509 w 12062"/>
                <a:gd name="T71" fmla="*/ 15897 h 16058"/>
                <a:gd name="T72" fmla="*/ 5705 w 12062"/>
                <a:gd name="T73" fmla="*/ 15997 h 16058"/>
                <a:gd name="T74" fmla="*/ 5931 w 12062"/>
                <a:gd name="T75" fmla="*/ 16054 h 16058"/>
                <a:gd name="T76" fmla="*/ 6170 w 12062"/>
                <a:gd name="T77" fmla="*/ 16048 h 16058"/>
                <a:gd name="T78" fmla="*/ 6392 w 12062"/>
                <a:gd name="T79" fmla="*/ 15982 h 16058"/>
                <a:gd name="T80" fmla="*/ 6581 w 12062"/>
                <a:gd name="T81" fmla="*/ 15878 h 16058"/>
                <a:gd name="T82" fmla="*/ 6747 w 12062"/>
                <a:gd name="T83" fmla="*/ 15752 h 16058"/>
                <a:gd name="T84" fmla="*/ 7056 w 12062"/>
                <a:gd name="T85" fmla="*/ 15415 h 16058"/>
                <a:gd name="T86" fmla="*/ 8368 w 12062"/>
                <a:gd name="T87" fmla="*/ 13856 h 16058"/>
                <a:gd name="T88" fmla="*/ 9675 w 12062"/>
                <a:gd name="T89" fmla="*/ 12125 h 16058"/>
                <a:gd name="T90" fmla="*/ 10826 w 12062"/>
                <a:gd name="T91" fmla="*/ 10267 h 16058"/>
                <a:gd name="T92" fmla="*/ 11669 w 12062"/>
                <a:gd name="T93" fmla="*/ 8328 h 16058"/>
                <a:gd name="T94" fmla="*/ 12053 w 12062"/>
                <a:gd name="T95" fmla="*/ 6352 h 16058"/>
                <a:gd name="T96" fmla="*/ 11872 w 12062"/>
                <a:gd name="T97" fmla="*/ 4508 h 16058"/>
                <a:gd name="T98" fmla="*/ 11188 w 12062"/>
                <a:gd name="T99" fmla="*/ 2887 h 16058"/>
                <a:gd name="T100" fmla="*/ 10084 w 12062"/>
                <a:gd name="T101" fmla="*/ 1555 h 16058"/>
                <a:gd name="T102" fmla="*/ 8644 w 12062"/>
                <a:gd name="T103" fmla="*/ 589 h 16058"/>
                <a:gd name="T104" fmla="*/ 6948 w 12062"/>
                <a:gd name="T105" fmla="*/ 68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062" h="16058">
                  <a:moveTo>
                    <a:pt x="6090" y="14996"/>
                  </a:moveTo>
                  <a:lnTo>
                    <a:pt x="6078" y="15005"/>
                  </a:lnTo>
                  <a:lnTo>
                    <a:pt x="6062" y="15018"/>
                  </a:lnTo>
                  <a:lnTo>
                    <a:pt x="6042" y="15032"/>
                  </a:lnTo>
                  <a:lnTo>
                    <a:pt x="6021" y="15045"/>
                  </a:lnTo>
                  <a:lnTo>
                    <a:pt x="6018" y="15039"/>
                  </a:lnTo>
                  <a:lnTo>
                    <a:pt x="6012" y="15032"/>
                  </a:lnTo>
                  <a:lnTo>
                    <a:pt x="6004" y="15024"/>
                  </a:lnTo>
                  <a:lnTo>
                    <a:pt x="5995" y="15015"/>
                  </a:lnTo>
                  <a:lnTo>
                    <a:pt x="5975" y="14996"/>
                  </a:lnTo>
                  <a:lnTo>
                    <a:pt x="5956" y="14978"/>
                  </a:lnTo>
                  <a:lnTo>
                    <a:pt x="5780" y="14775"/>
                  </a:lnTo>
                  <a:lnTo>
                    <a:pt x="5597" y="14565"/>
                  </a:lnTo>
                  <a:lnTo>
                    <a:pt x="5408" y="14346"/>
                  </a:lnTo>
                  <a:lnTo>
                    <a:pt x="5215" y="14120"/>
                  </a:lnTo>
                  <a:lnTo>
                    <a:pt x="5017" y="13886"/>
                  </a:lnTo>
                  <a:lnTo>
                    <a:pt x="4815" y="13646"/>
                  </a:lnTo>
                  <a:lnTo>
                    <a:pt x="4611" y="13399"/>
                  </a:lnTo>
                  <a:lnTo>
                    <a:pt x="4406" y="13145"/>
                  </a:lnTo>
                  <a:lnTo>
                    <a:pt x="4199" y="12887"/>
                  </a:lnTo>
                  <a:lnTo>
                    <a:pt x="3992" y="12622"/>
                  </a:lnTo>
                  <a:lnTo>
                    <a:pt x="3785" y="12352"/>
                  </a:lnTo>
                  <a:lnTo>
                    <a:pt x="3580" y="12077"/>
                  </a:lnTo>
                  <a:lnTo>
                    <a:pt x="3378" y="11797"/>
                  </a:lnTo>
                  <a:lnTo>
                    <a:pt x="3178" y="11513"/>
                  </a:lnTo>
                  <a:lnTo>
                    <a:pt x="2982" y="11225"/>
                  </a:lnTo>
                  <a:lnTo>
                    <a:pt x="2790" y="10932"/>
                  </a:lnTo>
                  <a:lnTo>
                    <a:pt x="2604" y="10637"/>
                  </a:lnTo>
                  <a:lnTo>
                    <a:pt x="2424" y="10339"/>
                  </a:lnTo>
                  <a:lnTo>
                    <a:pt x="2251" y="10038"/>
                  </a:lnTo>
                  <a:lnTo>
                    <a:pt x="2087" y="9734"/>
                  </a:lnTo>
                  <a:lnTo>
                    <a:pt x="1930" y="9429"/>
                  </a:lnTo>
                  <a:lnTo>
                    <a:pt x="1782" y="9122"/>
                  </a:lnTo>
                  <a:lnTo>
                    <a:pt x="1645" y="8813"/>
                  </a:lnTo>
                  <a:lnTo>
                    <a:pt x="1520" y="8504"/>
                  </a:lnTo>
                  <a:lnTo>
                    <a:pt x="1406" y="8193"/>
                  </a:lnTo>
                  <a:lnTo>
                    <a:pt x="1305" y="7881"/>
                  </a:lnTo>
                  <a:lnTo>
                    <a:pt x="1216" y="7570"/>
                  </a:lnTo>
                  <a:lnTo>
                    <a:pt x="1142" y="7259"/>
                  </a:lnTo>
                  <a:lnTo>
                    <a:pt x="1083" y="6948"/>
                  </a:lnTo>
                  <a:lnTo>
                    <a:pt x="1040" y="6639"/>
                  </a:lnTo>
                  <a:lnTo>
                    <a:pt x="1014" y="6330"/>
                  </a:lnTo>
                  <a:lnTo>
                    <a:pt x="1005" y="6023"/>
                  </a:lnTo>
                  <a:lnTo>
                    <a:pt x="1011" y="5765"/>
                  </a:lnTo>
                  <a:lnTo>
                    <a:pt x="1031" y="5510"/>
                  </a:lnTo>
                  <a:lnTo>
                    <a:pt x="1063" y="5259"/>
                  </a:lnTo>
                  <a:lnTo>
                    <a:pt x="1108" y="5012"/>
                  </a:lnTo>
                  <a:lnTo>
                    <a:pt x="1164" y="4770"/>
                  </a:lnTo>
                  <a:lnTo>
                    <a:pt x="1231" y="4532"/>
                  </a:lnTo>
                  <a:lnTo>
                    <a:pt x="1311" y="4299"/>
                  </a:lnTo>
                  <a:lnTo>
                    <a:pt x="1401" y="4071"/>
                  </a:lnTo>
                  <a:lnTo>
                    <a:pt x="1502" y="3849"/>
                  </a:lnTo>
                  <a:lnTo>
                    <a:pt x="1612" y="3632"/>
                  </a:lnTo>
                  <a:lnTo>
                    <a:pt x="1734" y="3422"/>
                  </a:lnTo>
                  <a:lnTo>
                    <a:pt x="1864" y="3219"/>
                  </a:lnTo>
                  <a:lnTo>
                    <a:pt x="2005" y="3022"/>
                  </a:lnTo>
                  <a:lnTo>
                    <a:pt x="2154" y="2832"/>
                  </a:lnTo>
                  <a:lnTo>
                    <a:pt x="2313" y="2650"/>
                  </a:lnTo>
                  <a:lnTo>
                    <a:pt x="2479" y="2475"/>
                  </a:lnTo>
                  <a:lnTo>
                    <a:pt x="2653" y="2309"/>
                  </a:lnTo>
                  <a:lnTo>
                    <a:pt x="2836" y="2151"/>
                  </a:lnTo>
                  <a:lnTo>
                    <a:pt x="3026" y="2002"/>
                  </a:lnTo>
                  <a:lnTo>
                    <a:pt x="3223" y="1862"/>
                  </a:lnTo>
                  <a:lnTo>
                    <a:pt x="3427" y="1731"/>
                  </a:lnTo>
                  <a:lnTo>
                    <a:pt x="3637" y="1610"/>
                  </a:lnTo>
                  <a:lnTo>
                    <a:pt x="3854" y="1499"/>
                  </a:lnTo>
                  <a:lnTo>
                    <a:pt x="4077" y="1399"/>
                  </a:lnTo>
                  <a:lnTo>
                    <a:pt x="4305" y="1309"/>
                  </a:lnTo>
                  <a:lnTo>
                    <a:pt x="4538" y="1229"/>
                  </a:lnTo>
                  <a:lnTo>
                    <a:pt x="4776" y="1162"/>
                  </a:lnTo>
                  <a:lnTo>
                    <a:pt x="5019" y="1106"/>
                  </a:lnTo>
                  <a:lnTo>
                    <a:pt x="5267" y="1062"/>
                  </a:lnTo>
                  <a:lnTo>
                    <a:pt x="5518" y="1030"/>
                  </a:lnTo>
                  <a:lnTo>
                    <a:pt x="5773" y="1010"/>
                  </a:lnTo>
                  <a:lnTo>
                    <a:pt x="6032" y="1004"/>
                  </a:lnTo>
                  <a:lnTo>
                    <a:pt x="6289" y="1010"/>
                  </a:lnTo>
                  <a:lnTo>
                    <a:pt x="6544" y="1030"/>
                  </a:lnTo>
                  <a:lnTo>
                    <a:pt x="6795" y="1062"/>
                  </a:lnTo>
                  <a:lnTo>
                    <a:pt x="7043" y="1106"/>
                  </a:lnTo>
                  <a:lnTo>
                    <a:pt x="7286" y="1162"/>
                  </a:lnTo>
                  <a:lnTo>
                    <a:pt x="7524" y="1229"/>
                  </a:lnTo>
                  <a:lnTo>
                    <a:pt x="7757" y="1309"/>
                  </a:lnTo>
                  <a:lnTo>
                    <a:pt x="7985" y="1399"/>
                  </a:lnTo>
                  <a:lnTo>
                    <a:pt x="8208" y="1499"/>
                  </a:lnTo>
                  <a:lnTo>
                    <a:pt x="8425" y="1610"/>
                  </a:lnTo>
                  <a:lnTo>
                    <a:pt x="8635" y="1731"/>
                  </a:lnTo>
                  <a:lnTo>
                    <a:pt x="8839" y="1862"/>
                  </a:lnTo>
                  <a:lnTo>
                    <a:pt x="9036" y="2002"/>
                  </a:lnTo>
                  <a:lnTo>
                    <a:pt x="9226" y="2151"/>
                  </a:lnTo>
                  <a:lnTo>
                    <a:pt x="9409" y="2309"/>
                  </a:lnTo>
                  <a:lnTo>
                    <a:pt x="9583" y="2475"/>
                  </a:lnTo>
                  <a:lnTo>
                    <a:pt x="9749" y="2650"/>
                  </a:lnTo>
                  <a:lnTo>
                    <a:pt x="9908" y="2832"/>
                  </a:lnTo>
                  <a:lnTo>
                    <a:pt x="10057" y="3022"/>
                  </a:lnTo>
                  <a:lnTo>
                    <a:pt x="10198" y="3219"/>
                  </a:lnTo>
                  <a:lnTo>
                    <a:pt x="10328" y="3422"/>
                  </a:lnTo>
                  <a:lnTo>
                    <a:pt x="10450" y="3632"/>
                  </a:lnTo>
                  <a:lnTo>
                    <a:pt x="10560" y="3849"/>
                  </a:lnTo>
                  <a:lnTo>
                    <a:pt x="10661" y="4071"/>
                  </a:lnTo>
                  <a:lnTo>
                    <a:pt x="10751" y="4299"/>
                  </a:lnTo>
                  <a:lnTo>
                    <a:pt x="10831" y="4532"/>
                  </a:lnTo>
                  <a:lnTo>
                    <a:pt x="10898" y="4770"/>
                  </a:lnTo>
                  <a:lnTo>
                    <a:pt x="10954" y="5012"/>
                  </a:lnTo>
                  <a:lnTo>
                    <a:pt x="10999" y="5259"/>
                  </a:lnTo>
                  <a:lnTo>
                    <a:pt x="11031" y="5510"/>
                  </a:lnTo>
                  <a:lnTo>
                    <a:pt x="11051" y="5765"/>
                  </a:lnTo>
                  <a:lnTo>
                    <a:pt x="11057" y="6023"/>
                  </a:lnTo>
                  <a:lnTo>
                    <a:pt x="11048" y="6330"/>
                  </a:lnTo>
                  <a:lnTo>
                    <a:pt x="11022" y="6639"/>
                  </a:lnTo>
                  <a:lnTo>
                    <a:pt x="10979" y="6948"/>
                  </a:lnTo>
                  <a:lnTo>
                    <a:pt x="10920" y="7259"/>
                  </a:lnTo>
                  <a:lnTo>
                    <a:pt x="10846" y="7570"/>
                  </a:lnTo>
                  <a:lnTo>
                    <a:pt x="10757" y="7881"/>
                  </a:lnTo>
                  <a:lnTo>
                    <a:pt x="10656" y="8193"/>
                  </a:lnTo>
                  <a:lnTo>
                    <a:pt x="10542" y="8504"/>
                  </a:lnTo>
                  <a:lnTo>
                    <a:pt x="10416" y="8814"/>
                  </a:lnTo>
                  <a:lnTo>
                    <a:pt x="10279" y="9122"/>
                  </a:lnTo>
                  <a:lnTo>
                    <a:pt x="10132" y="9430"/>
                  </a:lnTo>
                  <a:lnTo>
                    <a:pt x="9975" y="9735"/>
                  </a:lnTo>
                  <a:lnTo>
                    <a:pt x="9810" y="10039"/>
                  </a:lnTo>
                  <a:lnTo>
                    <a:pt x="9637" y="10340"/>
                  </a:lnTo>
                  <a:lnTo>
                    <a:pt x="9457" y="10639"/>
                  </a:lnTo>
                  <a:lnTo>
                    <a:pt x="9270" y="10934"/>
                  </a:lnTo>
                  <a:lnTo>
                    <a:pt x="9078" y="11227"/>
                  </a:lnTo>
                  <a:lnTo>
                    <a:pt x="8882" y="11516"/>
                  </a:lnTo>
                  <a:lnTo>
                    <a:pt x="8681" y="11801"/>
                  </a:lnTo>
                  <a:lnTo>
                    <a:pt x="8478" y="12081"/>
                  </a:lnTo>
                  <a:lnTo>
                    <a:pt x="8272" y="12357"/>
                  </a:lnTo>
                  <a:lnTo>
                    <a:pt x="8065" y="12628"/>
                  </a:lnTo>
                  <a:lnTo>
                    <a:pt x="7857" y="12893"/>
                  </a:lnTo>
                  <a:lnTo>
                    <a:pt x="7650" y="13154"/>
                  </a:lnTo>
                  <a:lnTo>
                    <a:pt x="7443" y="13407"/>
                  </a:lnTo>
                  <a:lnTo>
                    <a:pt x="7238" y="13655"/>
                  </a:lnTo>
                  <a:lnTo>
                    <a:pt x="7036" y="13897"/>
                  </a:lnTo>
                  <a:lnTo>
                    <a:pt x="6837" y="14132"/>
                  </a:lnTo>
                  <a:lnTo>
                    <a:pt x="6642" y="14359"/>
                  </a:lnTo>
                  <a:lnTo>
                    <a:pt x="6452" y="14579"/>
                  </a:lnTo>
                  <a:lnTo>
                    <a:pt x="6267" y="14791"/>
                  </a:lnTo>
                  <a:lnTo>
                    <a:pt x="6090" y="14996"/>
                  </a:lnTo>
                  <a:close/>
                  <a:moveTo>
                    <a:pt x="6032" y="0"/>
                  </a:moveTo>
                  <a:lnTo>
                    <a:pt x="5721" y="8"/>
                  </a:lnTo>
                  <a:lnTo>
                    <a:pt x="5415" y="31"/>
                  </a:lnTo>
                  <a:lnTo>
                    <a:pt x="5114" y="68"/>
                  </a:lnTo>
                  <a:lnTo>
                    <a:pt x="4817" y="121"/>
                  </a:lnTo>
                  <a:lnTo>
                    <a:pt x="4526" y="188"/>
                  </a:lnTo>
                  <a:lnTo>
                    <a:pt x="4239" y="268"/>
                  </a:lnTo>
                  <a:lnTo>
                    <a:pt x="3959" y="362"/>
                  </a:lnTo>
                  <a:lnTo>
                    <a:pt x="3686" y="470"/>
                  </a:lnTo>
                  <a:lnTo>
                    <a:pt x="3418" y="589"/>
                  </a:lnTo>
                  <a:lnTo>
                    <a:pt x="3159" y="722"/>
                  </a:lnTo>
                  <a:lnTo>
                    <a:pt x="2906" y="865"/>
                  </a:lnTo>
                  <a:lnTo>
                    <a:pt x="2661" y="1021"/>
                  </a:lnTo>
                  <a:lnTo>
                    <a:pt x="2424" y="1188"/>
                  </a:lnTo>
                  <a:lnTo>
                    <a:pt x="2197" y="1366"/>
                  </a:lnTo>
                  <a:lnTo>
                    <a:pt x="1978" y="1555"/>
                  </a:lnTo>
                  <a:lnTo>
                    <a:pt x="1768" y="1753"/>
                  </a:lnTo>
                  <a:lnTo>
                    <a:pt x="1569" y="1962"/>
                  </a:lnTo>
                  <a:lnTo>
                    <a:pt x="1379" y="2180"/>
                  </a:lnTo>
                  <a:lnTo>
                    <a:pt x="1200" y="2407"/>
                  </a:lnTo>
                  <a:lnTo>
                    <a:pt x="1031" y="2643"/>
                  </a:lnTo>
                  <a:lnTo>
                    <a:pt x="874" y="2887"/>
                  </a:lnTo>
                  <a:lnTo>
                    <a:pt x="729" y="3139"/>
                  </a:lnTo>
                  <a:lnTo>
                    <a:pt x="596" y="3399"/>
                  </a:lnTo>
                  <a:lnTo>
                    <a:pt x="474" y="3666"/>
                  </a:lnTo>
                  <a:lnTo>
                    <a:pt x="367" y="3940"/>
                  </a:lnTo>
                  <a:lnTo>
                    <a:pt x="271" y="4221"/>
                  </a:lnTo>
                  <a:lnTo>
                    <a:pt x="190" y="4508"/>
                  </a:lnTo>
                  <a:lnTo>
                    <a:pt x="123" y="4801"/>
                  </a:lnTo>
                  <a:lnTo>
                    <a:pt x="69" y="5099"/>
                  </a:lnTo>
                  <a:lnTo>
                    <a:pt x="31" y="5403"/>
                  </a:lnTo>
                  <a:lnTo>
                    <a:pt x="8" y="5711"/>
                  </a:lnTo>
                  <a:lnTo>
                    <a:pt x="0" y="6023"/>
                  </a:lnTo>
                  <a:lnTo>
                    <a:pt x="9" y="6352"/>
                  </a:lnTo>
                  <a:lnTo>
                    <a:pt x="34" y="6682"/>
                  </a:lnTo>
                  <a:lnTo>
                    <a:pt x="76" y="7012"/>
                  </a:lnTo>
                  <a:lnTo>
                    <a:pt x="134" y="7342"/>
                  </a:lnTo>
                  <a:lnTo>
                    <a:pt x="206" y="7671"/>
                  </a:lnTo>
                  <a:lnTo>
                    <a:pt x="292" y="8000"/>
                  </a:lnTo>
                  <a:lnTo>
                    <a:pt x="393" y="8328"/>
                  </a:lnTo>
                  <a:lnTo>
                    <a:pt x="506" y="8654"/>
                  </a:lnTo>
                  <a:lnTo>
                    <a:pt x="630" y="8980"/>
                  </a:lnTo>
                  <a:lnTo>
                    <a:pt x="767" y="9305"/>
                  </a:lnTo>
                  <a:lnTo>
                    <a:pt x="914" y="9628"/>
                  </a:lnTo>
                  <a:lnTo>
                    <a:pt x="1070" y="9948"/>
                  </a:lnTo>
                  <a:lnTo>
                    <a:pt x="1236" y="10267"/>
                  </a:lnTo>
                  <a:lnTo>
                    <a:pt x="1411" y="10583"/>
                  </a:lnTo>
                  <a:lnTo>
                    <a:pt x="1593" y="10897"/>
                  </a:lnTo>
                  <a:lnTo>
                    <a:pt x="1783" y="11208"/>
                  </a:lnTo>
                  <a:lnTo>
                    <a:pt x="1979" y="11518"/>
                  </a:lnTo>
                  <a:lnTo>
                    <a:pt x="2180" y="11823"/>
                  </a:lnTo>
                  <a:lnTo>
                    <a:pt x="2387" y="12125"/>
                  </a:lnTo>
                  <a:lnTo>
                    <a:pt x="2598" y="12423"/>
                  </a:lnTo>
                  <a:lnTo>
                    <a:pt x="2813" y="12718"/>
                  </a:lnTo>
                  <a:lnTo>
                    <a:pt x="3030" y="13009"/>
                  </a:lnTo>
                  <a:lnTo>
                    <a:pt x="3250" y="13296"/>
                  </a:lnTo>
                  <a:lnTo>
                    <a:pt x="3473" y="13578"/>
                  </a:lnTo>
                  <a:lnTo>
                    <a:pt x="3695" y="13856"/>
                  </a:lnTo>
                  <a:lnTo>
                    <a:pt x="3917" y="14129"/>
                  </a:lnTo>
                  <a:lnTo>
                    <a:pt x="4139" y="14397"/>
                  </a:lnTo>
                  <a:lnTo>
                    <a:pt x="4359" y="14659"/>
                  </a:lnTo>
                  <a:lnTo>
                    <a:pt x="4577" y="14917"/>
                  </a:lnTo>
                  <a:lnTo>
                    <a:pt x="4793" y="15169"/>
                  </a:lnTo>
                  <a:lnTo>
                    <a:pt x="5006" y="15415"/>
                  </a:lnTo>
                  <a:lnTo>
                    <a:pt x="5214" y="15655"/>
                  </a:lnTo>
                  <a:lnTo>
                    <a:pt x="5219" y="15661"/>
                  </a:lnTo>
                  <a:lnTo>
                    <a:pt x="5233" y="15675"/>
                  </a:lnTo>
                  <a:lnTo>
                    <a:pt x="5254" y="15695"/>
                  </a:lnTo>
                  <a:lnTo>
                    <a:pt x="5281" y="15722"/>
                  </a:lnTo>
                  <a:lnTo>
                    <a:pt x="5315" y="15752"/>
                  </a:lnTo>
                  <a:lnTo>
                    <a:pt x="5355" y="15786"/>
                  </a:lnTo>
                  <a:lnTo>
                    <a:pt x="5377" y="15804"/>
                  </a:lnTo>
                  <a:lnTo>
                    <a:pt x="5401" y="15822"/>
                  </a:lnTo>
                  <a:lnTo>
                    <a:pt x="5426" y="15841"/>
                  </a:lnTo>
                  <a:lnTo>
                    <a:pt x="5453" y="15860"/>
                  </a:lnTo>
                  <a:lnTo>
                    <a:pt x="5480" y="15878"/>
                  </a:lnTo>
                  <a:lnTo>
                    <a:pt x="5509" y="15897"/>
                  </a:lnTo>
                  <a:lnTo>
                    <a:pt x="5539" y="15915"/>
                  </a:lnTo>
                  <a:lnTo>
                    <a:pt x="5570" y="15933"/>
                  </a:lnTo>
                  <a:lnTo>
                    <a:pt x="5602" y="15950"/>
                  </a:lnTo>
                  <a:lnTo>
                    <a:pt x="5635" y="15967"/>
                  </a:lnTo>
                  <a:lnTo>
                    <a:pt x="5670" y="15982"/>
                  </a:lnTo>
                  <a:lnTo>
                    <a:pt x="5705" y="15997"/>
                  </a:lnTo>
                  <a:lnTo>
                    <a:pt x="5740" y="16010"/>
                  </a:lnTo>
                  <a:lnTo>
                    <a:pt x="5777" y="16022"/>
                  </a:lnTo>
                  <a:lnTo>
                    <a:pt x="5814" y="16032"/>
                  </a:lnTo>
                  <a:lnTo>
                    <a:pt x="5853" y="16041"/>
                  </a:lnTo>
                  <a:lnTo>
                    <a:pt x="5892" y="16048"/>
                  </a:lnTo>
                  <a:lnTo>
                    <a:pt x="5931" y="16054"/>
                  </a:lnTo>
                  <a:lnTo>
                    <a:pt x="5971" y="16057"/>
                  </a:lnTo>
                  <a:lnTo>
                    <a:pt x="6011" y="16058"/>
                  </a:lnTo>
                  <a:lnTo>
                    <a:pt x="6051" y="16058"/>
                  </a:lnTo>
                  <a:lnTo>
                    <a:pt x="6091" y="16057"/>
                  </a:lnTo>
                  <a:lnTo>
                    <a:pt x="6131" y="16054"/>
                  </a:lnTo>
                  <a:lnTo>
                    <a:pt x="6170" y="16048"/>
                  </a:lnTo>
                  <a:lnTo>
                    <a:pt x="6209" y="16041"/>
                  </a:lnTo>
                  <a:lnTo>
                    <a:pt x="6248" y="16032"/>
                  </a:lnTo>
                  <a:lnTo>
                    <a:pt x="6285" y="16022"/>
                  </a:lnTo>
                  <a:lnTo>
                    <a:pt x="6322" y="16010"/>
                  </a:lnTo>
                  <a:lnTo>
                    <a:pt x="6357" y="15997"/>
                  </a:lnTo>
                  <a:lnTo>
                    <a:pt x="6392" y="15982"/>
                  </a:lnTo>
                  <a:lnTo>
                    <a:pt x="6427" y="15967"/>
                  </a:lnTo>
                  <a:lnTo>
                    <a:pt x="6460" y="15950"/>
                  </a:lnTo>
                  <a:lnTo>
                    <a:pt x="6492" y="15933"/>
                  </a:lnTo>
                  <a:lnTo>
                    <a:pt x="6523" y="15915"/>
                  </a:lnTo>
                  <a:lnTo>
                    <a:pt x="6553" y="15897"/>
                  </a:lnTo>
                  <a:lnTo>
                    <a:pt x="6581" y="15878"/>
                  </a:lnTo>
                  <a:lnTo>
                    <a:pt x="6609" y="15860"/>
                  </a:lnTo>
                  <a:lnTo>
                    <a:pt x="6636" y="15841"/>
                  </a:lnTo>
                  <a:lnTo>
                    <a:pt x="6661" y="15822"/>
                  </a:lnTo>
                  <a:lnTo>
                    <a:pt x="6684" y="15804"/>
                  </a:lnTo>
                  <a:lnTo>
                    <a:pt x="6707" y="15786"/>
                  </a:lnTo>
                  <a:lnTo>
                    <a:pt x="6747" y="15752"/>
                  </a:lnTo>
                  <a:lnTo>
                    <a:pt x="6780" y="15722"/>
                  </a:lnTo>
                  <a:lnTo>
                    <a:pt x="6808" y="15695"/>
                  </a:lnTo>
                  <a:lnTo>
                    <a:pt x="6829" y="15675"/>
                  </a:lnTo>
                  <a:lnTo>
                    <a:pt x="6842" y="15661"/>
                  </a:lnTo>
                  <a:lnTo>
                    <a:pt x="6848" y="15655"/>
                  </a:lnTo>
                  <a:lnTo>
                    <a:pt x="7056" y="15415"/>
                  </a:lnTo>
                  <a:lnTo>
                    <a:pt x="7269" y="15169"/>
                  </a:lnTo>
                  <a:lnTo>
                    <a:pt x="7485" y="14917"/>
                  </a:lnTo>
                  <a:lnTo>
                    <a:pt x="7703" y="14659"/>
                  </a:lnTo>
                  <a:lnTo>
                    <a:pt x="7924" y="14397"/>
                  </a:lnTo>
                  <a:lnTo>
                    <a:pt x="8145" y="14129"/>
                  </a:lnTo>
                  <a:lnTo>
                    <a:pt x="8368" y="13856"/>
                  </a:lnTo>
                  <a:lnTo>
                    <a:pt x="8590" y="13578"/>
                  </a:lnTo>
                  <a:lnTo>
                    <a:pt x="8812" y="13296"/>
                  </a:lnTo>
                  <a:lnTo>
                    <a:pt x="9032" y="13009"/>
                  </a:lnTo>
                  <a:lnTo>
                    <a:pt x="9249" y="12718"/>
                  </a:lnTo>
                  <a:lnTo>
                    <a:pt x="9464" y="12423"/>
                  </a:lnTo>
                  <a:lnTo>
                    <a:pt x="9675" y="12125"/>
                  </a:lnTo>
                  <a:lnTo>
                    <a:pt x="9882" y="11823"/>
                  </a:lnTo>
                  <a:lnTo>
                    <a:pt x="10084" y="11518"/>
                  </a:lnTo>
                  <a:lnTo>
                    <a:pt x="10280" y="11208"/>
                  </a:lnTo>
                  <a:lnTo>
                    <a:pt x="10469" y="10897"/>
                  </a:lnTo>
                  <a:lnTo>
                    <a:pt x="10652" y="10583"/>
                  </a:lnTo>
                  <a:lnTo>
                    <a:pt x="10826" y="10267"/>
                  </a:lnTo>
                  <a:lnTo>
                    <a:pt x="10992" y="9948"/>
                  </a:lnTo>
                  <a:lnTo>
                    <a:pt x="11148" y="9628"/>
                  </a:lnTo>
                  <a:lnTo>
                    <a:pt x="11295" y="9305"/>
                  </a:lnTo>
                  <a:lnTo>
                    <a:pt x="11432" y="8980"/>
                  </a:lnTo>
                  <a:lnTo>
                    <a:pt x="11556" y="8654"/>
                  </a:lnTo>
                  <a:lnTo>
                    <a:pt x="11669" y="8328"/>
                  </a:lnTo>
                  <a:lnTo>
                    <a:pt x="11770" y="8000"/>
                  </a:lnTo>
                  <a:lnTo>
                    <a:pt x="11856" y="7671"/>
                  </a:lnTo>
                  <a:lnTo>
                    <a:pt x="11928" y="7342"/>
                  </a:lnTo>
                  <a:lnTo>
                    <a:pt x="11986" y="7012"/>
                  </a:lnTo>
                  <a:lnTo>
                    <a:pt x="12028" y="6682"/>
                  </a:lnTo>
                  <a:lnTo>
                    <a:pt x="12053" y="6352"/>
                  </a:lnTo>
                  <a:lnTo>
                    <a:pt x="12062" y="6023"/>
                  </a:lnTo>
                  <a:lnTo>
                    <a:pt x="12054" y="5711"/>
                  </a:lnTo>
                  <a:lnTo>
                    <a:pt x="12031" y="5403"/>
                  </a:lnTo>
                  <a:lnTo>
                    <a:pt x="11993" y="5099"/>
                  </a:lnTo>
                  <a:lnTo>
                    <a:pt x="11939" y="4801"/>
                  </a:lnTo>
                  <a:lnTo>
                    <a:pt x="11872" y="4508"/>
                  </a:lnTo>
                  <a:lnTo>
                    <a:pt x="11791" y="4221"/>
                  </a:lnTo>
                  <a:lnTo>
                    <a:pt x="11695" y="3940"/>
                  </a:lnTo>
                  <a:lnTo>
                    <a:pt x="11588" y="3666"/>
                  </a:lnTo>
                  <a:lnTo>
                    <a:pt x="11466" y="3399"/>
                  </a:lnTo>
                  <a:lnTo>
                    <a:pt x="11333" y="3139"/>
                  </a:lnTo>
                  <a:lnTo>
                    <a:pt x="11188" y="2887"/>
                  </a:lnTo>
                  <a:lnTo>
                    <a:pt x="11031" y="2643"/>
                  </a:lnTo>
                  <a:lnTo>
                    <a:pt x="10862" y="2407"/>
                  </a:lnTo>
                  <a:lnTo>
                    <a:pt x="10683" y="2180"/>
                  </a:lnTo>
                  <a:lnTo>
                    <a:pt x="10493" y="1962"/>
                  </a:lnTo>
                  <a:lnTo>
                    <a:pt x="10294" y="1753"/>
                  </a:lnTo>
                  <a:lnTo>
                    <a:pt x="10084" y="1555"/>
                  </a:lnTo>
                  <a:lnTo>
                    <a:pt x="9865" y="1366"/>
                  </a:lnTo>
                  <a:lnTo>
                    <a:pt x="9638" y="1188"/>
                  </a:lnTo>
                  <a:lnTo>
                    <a:pt x="9401" y="1021"/>
                  </a:lnTo>
                  <a:lnTo>
                    <a:pt x="9156" y="865"/>
                  </a:lnTo>
                  <a:lnTo>
                    <a:pt x="8903" y="722"/>
                  </a:lnTo>
                  <a:lnTo>
                    <a:pt x="8644" y="589"/>
                  </a:lnTo>
                  <a:lnTo>
                    <a:pt x="8376" y="470"/>
                  </a:lnTo>
                  <a:lnTo>
                    <a:pt x="8103" y="362"/>
                  </a:lnTo>
                  <a:lnTo>
                    <a:pt x="7823" y="268"/>
                  </a:lnTo>
                  <a:lnTo>
                    <a:pt x="7536" y="188"/>
                  </a:lnTo>
                  <a:lnTo>
                    <a:pt x="7245" y="121"/>
                  </a:lnTo>
                  <a:lnTo>
                    <a:pt x="6948" y="68"/>
                  </a:lnTo>
                  <a:lnTo>
                    <a:pt x="6647" y="31"/>
                  </a:lnTo>
                  <a:lnTo>
                    <a:pt x="6341" y="8"/>
                  </a:lnTo>
                  <a:lnTo>
                    <a:pt x="60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63" name="ï$ḻiḓé">
              <a:extLst>
                <a:ext uri="{FF2B5EF4-FFF2-40B4-BE49-F238E27FC236}">
                  <a16:creationId xmlns:a16="http://schemas.microsoft.com/office/drawing/2014/main" id="{5D77F4FC-FD4B-46BD-863F-819480DB1C5E}"/>
                </a:ext>
              </a:extLst>
            </p:cNvPr>
            <p:cNvSpPr/>
            <p:nvPr/>
          </p:nvSpPr>
          <p:spPr bwMode="auto">
            <a:xfrm>
              <a:off x="5381470" y="2978323"/>
              <a:ext cx="461060" cy="305964"/>
            </a:xfrm>
            <a:custGeom>
              <a:avLst/>
              <a:gdLst>
                <a:gd name="T0" fmla="*/ 503 w 12071"/>
                <a:gd name="T1" fmla="*/ 502 h 8033"/>
                <a:gd name="T2" fmla="*/ 11568 w 12071"/>
                <a:gd name="T3" fmla="*/ 0 h 8033"/>
                <a:gd name="T4" fmla="*/ 452 w 12071"/>
                <a:gd name="T5" fmla="*/ 5 h 8033"/>
                <a:gd name="T6" fmla="*/ 377 w 12071"/>
                <a:gd name="T7" fmla="*/ 18 h 8033"/>
                <a:gd name="T8" fmla="*/ 307 w 12071"/>
                <a:gd name="T9" fmla="*/ 41 h 8033"/>
                <a:gd name="T10" fmla="*/ 242 w 12071"/>
                <a:gd name="T11" fmla="*/ 74 h 8033"/>
                <a:gd name="T12" fmla="*/ 183 w 12071"/>
                <a:gd name="T13" fmla="*/ 116 h 8033"/>
                <a:gd name="T14" fmla="*/ 131 w 12071"/>
                <a:gd name="T15" fmla="*/ 166 h 8033"/>
                <a:gd name="T16" fmla="*/ 85 w 12071"/>
                <a:gd name="T17" fmla="*/ 222 h 8033"/>
                <a:gd name="T18" fmla="*/ 49 w 12071"/>
                <a:gd name="T19" fmla="*/ 284 h 8033"/>
                <a:gd name="T20" fmla="*/ 22 w 12071"/>
                <a:gd name="T21" fmla="*/ 353 h 8033"/>
                <a:gd name="T22" fmla="*/ 6 w 12071"/>
                <a:gd name="T23" fmla="*/ 426 h 8033"/>
                <a:gd name="T24" fmla="*/ 0 w 12071"/>
                <a:gd name="T25" fmla="*/ 502 h 8033"/>
                <a:gd name="T26" fmla="*/ 3 w 12071"/>
                <a:gd name="T27" fmla="*/ 7582 h 8033"/>
                <a:gd name="T28" fmla="*/ 16 w 12071"/>
                <a:gd name="T29" fmla="*/ 7656 h 8033"/>
                <a:gd name="T30" fmla="*/ 39 w 12071"/>
                <a:gd name="T31" fmla="*/ 7726 h 8033"/>
                <a:gd name="T32" fmla="*/ 72 w 12071"/>
                <a:gd name="T33" fmla="*/ 7792 h 8033"/>
                <a:gd name="T34" fmla="*/ 115 w 12071"/>
                <a:gd name="T35" fmla="*/ 7850 h 8033"/>
                <a:gd name="T36" fmla="*/ 165 w 12071"/>
                <a:gd name="T37" fmla="*/ 7902 h 8033"/>
                <a:gd name="T38" fmla="*/ 221 w 12071"/>
                <a:gd name="T39" fmla="*/ 7947 h 8033"/>
                <a:gd name="T40" fmla="*/ 285 w 12071"/>
                <a:gd name="T41" fmla="*/ 7983 h 8033"/>
                <a:gd name="T42" fmla="*/ 353 w 12071"/>
                <a:gd name="T43" fmla="*/ 8011 h 8033"/>
                <a:gd name="T44" fmla="*/ 426 w 12071"/>
                <a:gd name="T45" fmla="*/ 8027 h 8033"/>
                <a:gd name="T46" fmla="*/ 503 w 12071"/>
                <a:gd name="T47" fmla="*/ 8033 h 8033"/>
                <a:gd name="T48" fmla="*/ 11619 w 12071"/>
                <a:gd name="T49" fmla="*/ 8030 h 8033"/>
                <a:gd name="T50" fmla="*/ 11694 w 12071"/>
                <a:gd name="T51" fmla="*/ 8017 h 8033"/>
                <a:gd name="T52" fmla="*/ 11764 w 12071"/>
                <a:gd name="T53" fmla="*/ 7994 h 8033"/>
                <a:gd name="T54" fmla="*/ 11829 w 12071"/>
                <a:gd name="T55" fmla="*/ 7960 h 8033"/>
                <a:gd name="T56" fmla="*/ 11888 w 12071"/>
                <a:gd name="T57" fmla="*/ 7918 h 8033"/>
                <a:gd name="T58" fmla="*/ 11940 w 12071"/>
                <a:gd name="T59" fmla="*/ 7868 h 8033"/>
                <a:gd name="T60" fmla="*/ 11986 w 12071"/>
                <a:gd name="T61" fmla="*/ 7812 h 8033"/>
                <a:gd name="T62" fmla="*/ 12022 w 12071"/>
                <a:gd name="T63" fmla="*/ 7749 h 8033"/>
                <a:gd name="T64" fmla="*/ 12049 w 12071"/>
                <a:gd name="T65" fmla="*/ 7680 h 8033"/>
                <a:gd name="T66" fmla="*/ 12065 w 12071"/>
                <a:gd name="T67" fmla="*/ 7607 h 8033"/>
                <a:gd name="T68" fmla="*/ 12071 w 12071"/>
                <a:gd name="T69" fmla="*/ 7531 h 8033"/>
                <a:gd name="T70" fmla="*/ 12068 w 12071"/>
                <a:gd name="T71" fmla="*/ 451 h 8033"/>
                <a:gd name="T72" fmla="*/ 12055 w 12071"/>
                <a:gd name="T73" fmla="*/ 377 h 8033"/>
                <a:gd name="T74" fmla="*/ 12032 w 12071"/>
                <a:gd name="T75" fmla="*/ 306 h 8033"/>
                <a:gd name="T76" fmla="*/ 11999 w 12071"/>
                <a:gd name="T77" fmla="*/ 242 h 8033"/>
                <a:gd name="T78" fmla="*/ 11956 w 12071"/>
                <a:gd name="T79" fmla="*/ 183 h 8033"/>
                <a:gd name="T80" fmla="*/ 11906 w 12071"/>
                <a:gd name="T81" fmla="*/ 131 h 8033"/>
                <a:gd name="T82" fmla="*/ 11850 w 12071"/>
                <a:gd name="T83" fmla="*/ 85 h 8033"/>
                <a:gd name="T84" fmla="*/ 11786 w 12071"/>
                <a:gd name="T85" fmla="*/ 49 h 8033"/>
                <a:gd name="T86" fmla="*/ 11718 w 12071"/>
                <a:gd name="T87" fmla="*/ 22 h 8033"/>
                <a:gd name="T88" fmla="*/ 11645 w 12071"/>
                <a:gd name="T89" fmla="*/ 6 h 8033"/>
                <a:gd name="T90" fmla="*/ 11568 w 12071"/>
                <a:gd name="T91" fmla="*/ 0 h 8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071" h="8033">
                  <a:moveTo>
                    <a:pt x="11568" y="7533"/>
                  </a:moveTo>
                  <a:lnTo>
                    <a:pt x="503" y="7533"/>
                  </a:lnTo>
                  <a:lnTo>
                    <a:pt x="503" y="502"/>
                  </a:lnTo>
                  <a:lnTo>
                    <a:pt x="11568" y="502"/>
                  </a:lnTo>
                  <a:lnTo>
                    <a:pt x="11568" y="7533"/>
                  </a:lnTo>
                  <a:close/>
                  <a:moveTo>
                    <a:pt x="11568" y="0"/>
                  </a:moveTo>
                  <a:lnTo>
                    <a:pt x="503" y="2"/>
                  </a:lnTo>
                  <a:lnTo>
                    <a:pt x="477" y="3"/>
                  </a:lnTo>
                  <a:lnTo>
                    <a:pt x="452" y="5"/>
                  </a:lnTo>
                  <a:lnTo>
                    <a:pt x="426" y="8"/>
                  </a:lnTo>
                  <a:lnTo>
                    <a:pt x="401" y="12"/>
                  </a:lnTo>
                  <a:lnTo>
                    <a:pt x="377" y="18"/>
                  </a:lnTo>
                  <a:lnTo>
                    <a:pt x="353" y="24"/>
                  </a:lnTo>
                  <a:lnTo>
                    <a:pt x="330" y="32"/>
                  </a:lnTo>
                  <a:lnTo>
                    <a:pt x="307" y="41"/>
                  </a:lnTo>
                  <a:lnTo>
                    <a:pt x="285" y="51"/>
                  </a:lnTo>
                  <a:lnTo>
                    <a:pt x="263" y="62"/>
                  </a:lnTo>
                  <a:lnTo>
                    <a:pt x="242" y="74"/>
                  </a:lnTo>
                  <a:lnTo>
                    <a:pt x="221" y="87"/>
                  </a:lnTo>
                  <a:lnTo>
                    <a:pt x="202" y="102"/>
                  </a:lnTo>
                  <a:lnTo>
                    <a:pt x="183" y="116"/>
                  </a:lnTo>
                  <a:lnTo>
                    <a:pt x="165" y="132"/>
                  </a:lnTo>
                  <a:lnTo>
                    <a:pt x="147" y="148"/>
                  </a:lnTo>
                  <a:lnTo>
                    <a:pt x="131" y="166"/>
                  </a:lnTo>
                  <a:lnTo>
                    <a:pt x="115" y="184"/>
                  </a:lnTo>
                  <a:lnTo>
                    <a:pt x="99" y="202"/>
                  </a:lnTo>
                  <a:lnTo>
                    <a:pt x="85" y="222"/>
                  </a:lnTo>
                  <a:lnTo>
                    <a:pt x="72" y="242"/>
                  </a:lnTo>
                  <a:lnTo>
                    <a:pt x="60" y="263"/>
                  </a:lnTo>
                  <a:lnTo>
                    <a:pt x="49" y="284"/>
                  </a:lnTo>
                  <a:lnTo>
                    <a:pt x="39" y="307"/>
                  </a:lnTo>
                  <a:lnTo>
                    <a:pt x="30" y="329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1"/>
                  </a:lnTo>
                  <a:lnTo>
                    <a:pt x="1" y="476"/>
                  </a:lnTo>
                  <a:lnTo>
                    <a:pt x="0" y="502"/>
                  </a:lnTo>
                  <a:lnTo>
                    <a:pt x="0" y="7531"/>
                  </a:lnTo>
                  <a:lnTo>
                    <a:pt x="1" y="7557"/>
                  </a:lnTo>
                  <a:lnTo>
                    <a:pt x="3" y="7582"/>
                  </a:lnTo>
                  <a:lnTo>
                    <a:pt x="6" y="7607"/>
                  </a:lnTo>
                  <a:lnTo>
                    <a:pt x="10" y="7632"/>
                  </a:lnTo>
                  <a:lnTo>
                    <a:pt x="16" y="7656"/>
                  </a:lnTo>
                  <a:lnTo>
                    <a:pt x="22" y="7680"/>
                  </a:lnTo>
                  <a:lnTo>
                    <a:pt x="30" y="7703"/>
                  </a:lnTo>
                  <a:lnTo>
                    <a:pt x="39" y="7726"/>
                  </a:lnTo>
                  <a:lnTo>
                    <a:pt x="49" y="7749"/>
                  </a:lnTo>
                  <a:lnTo>
                    <a:pt x="60" y="7771"/>
                  </a:lnTo>
                  <a:lnTo>
                    <a:pt x="72" y="7792"/>
                  </a:lnTo>
                  <a:lnTo>
                    <a:pt x="85" y="7812"/>
                  </a:lnTo>
                  <a:lnTo>
                    <a:pt x="99" y="7831"/>
                  </a:lnTo>
                  <a:lnTo>
                    <a:pt x="115" y="7850"/>
                  </a:lnTo>
                  <a:lnTo>
                    <a:pt x="131" y="7868"/>
                  </a:lnTo>
                  <a:lnTo>
                    <a:pt x="147" y="7886"/>
                  </a:lnTo>
                  <a:lnTo>
                    <a:pt x="165" y="7902"/>
                  </a:lnTo>
                  <a:lnTo>
                    <a:pt x="183" y="7918"/>
                  </a:lnTo>
                  <a:lnTo>
                    <a:pt x="202" y="7933"/>
                  </a:lnTo>
                  <a:lnTo>
                    <a:pt x="221" y="7947"/>
                  </a:lnTo>
                  <a:lnTo>
                    <a:pt x="242" y="7960"/>
                  </a:lnTo>
                  <a:lnTo>
                    <a:pt x="263" y="7972"/>
                  </a:lnTo>
                  <a:lnTo>
                    <a:pt x="285" y="7983"/>
                  </a:lnTo>
                  <a:lnTo>
                    <a:pt x="307" y="7994"/>
                  </a:lnTo>
                  <a:lnTo>
                    <a:pt x="330" y="8003"/>
                  </a:lnTo>
                  <a:lnTo>
                    <a:pt x="353" y="8011"/>
                  </a:lnTo>
                  <a:lnTo>
                    <a:pt x="377" y="8017"/>
                  </a:lnTo>
                  <a:lnTo>
                    <a:pt x="401" y="8023"/>
                  </a:lnTo>
                  <a:lnTo>
                    <a:pt x="426" y="8027"/>
                  </a:lnTo>
                  <a:lnTo>
                    <a:pt x="452" y="8030"/>
                  </a:lnTo>
                  <a:lnTo>
                    <a:pt x="477" y="8032"/>
                  </a:lnTo>
                  <a:lnTo>
                    <a:pt x="503" y="8033"/>
                  </a:lnTo>
                  <a:lnTo>
                    <a:pt x="11568" y="8033"/>
                  </a:lnTo>
                  <a:lnTo>
                    <a:pt x="11594" y="8032"/>
                  </a:lnTo>
                  <a:lnTo>
                    <a:pt x="11619" y="8030"/>
                  </a:lnTo>
                  <a:lnTo>
                    <a:pt x="11645" y="8027"/>
                  </a:lnTo>
                  <a:lnTo>
                    <a:pt x="11670" y="8023"/>
                  </a:lnTo>
                  <a:lnTo>
                    <a:pt x="11694" y="8017"/>
                  </a:lnTo>
                  <a:lnTo>
                    <a:pt x="11718" y="8011"/>
                  </a:lnTo>
                  <a:lnTo>
                    <a:pt x="11741" y="8003"/>
                  </a:lnTo>
                  <a:lnTo>
                    <a:pt x="11764" y="7994"/>
                  </a:lnTo>
                  <a:lnTo>
                    <a:pt x="11786" y="7983"/>
                  </a:lnTo>
                  <a:lnTo>
                    <a:pt x="11809" y="7972"/>
                  </a:lnTo>
                  <a:lnTo>
                    <a:pt x="11829" y="7960"/>
                  </a:lnTo>
                  <a:lnTo>
                    <a:pt x="11850" y="7947"/>
                  </a:lnTo>
                  <a:lnTo>
                    <a:pt x="11869" y="7933"/>
                  </a:lnTo>
                  <a:lnTo>
                    <a:pt x="11888" y="7918"/>
                  </a:lnTo>
                  <a:lnTo>
                    <a:pt x="11906" y="7902"/>
                  </a:lnTo>
                  <a:lnTo>
                    <a:pt x="11924" y="7886"/>
                  </a:lnTo>
                  <a:lnTo>
                    <a:pt x="11940" y="7868"/>
                  </a:lnTo>
                  <a:lnTo>
                    <a:pt x="11956" y="7850"/>
                  </a:lnTo>
                  <a:lnTo>
                    <a:pt x="11972" y="7831"/>
                  </a:lnTo>
                  <a:lnTo>
                    <a:pt x="11986" y="7812"/>
                  </a:lnTo>
                  <a:lnTo>
                    <a:pt x="11999" y="7792"/>
                  </a:lnTo>
                  <a:lnTo>
                    <a:pt x="12011" y="7771"/>
                  </a:lnTo>
                  <a:lnTo>
                    <a:pt x="12022" y="7749"/>
                  </a:lnTo>
                  <a:lnTo>
                    <a:pt x="12032" y="7726"/>
                  </a:lnTo>
                  <a:lnTo>
                    <a:pt x="12041" y="7703"/>
                  </a:lnTo>
                  <a:lnTo>
                    <a:pt x="12049" y="7680"/>
                  </a:lnTo>
                  <a:lnTo>
                    <a:pt x="12055" y="7656"/>
                  </a:lnTo>
                  <a:lnTo>
                    <a:pt x="12061" y="7632"/>
                  </a:lnTo>
                  <a:lnTo>
                    <a:pt x="12065" y="7607"/>
                  </a:lnTo>
                  <a:lnTo>
                    <a:pt x="12068" y="7582"/>
                  </a:lnTo>
                  <a:lnTo>
                    <a:pt x="12070" y="7557"/>
                  </a:lnTo>
                  <a:lnTo>
                    <a:pt x="12071" y="7531"/>
                  </a:lnTo>
                  <a:lnTo>
                    <a:pt x="12071" y="502"/>
                  </a:lnTo>
                  <a:lnTo>
                    <a:pt x="12070" y="476"/>
                  </a:lnTo>
                  <a:lnTo>
                    <a:pt x="12068" y="451"/>
                  </a:lnTo>
                  <a:lnTo>
                    <a:pt x="12065" y="426"/>
                  </a:lnTo>
                  <a:lnTo>
                    <a:pt x="12061" y="401"/>
                  </a:lnTo>
                  <a:lnTo>
                    <a:pt x="12055" y="377"/>
                  </a:lnTo>
                  <a:lnTo>
                    <a:pt x="12049" y="353"/>
                  </a:lnTo>
                  <a:lnTo>
                    <a:pt x="12041" y="329"/>
                  </a:lnTo>
                  <a:lnTo>
                    <a:pt x="12032" y="306"/>
                  </a:lnTo>
                  <a:lnTo>
                    <a:pt x="12022" y="284"/>
                  </a:lnTo>
                  <a:lnTo>
                    <a:pt x="12011" y="263"/>
                  </a:lnTo>
                  <a:lnTo>
                    <a:pt x="11999" y="242"/>
                  </a:lnTo>
                  <a:lnTo>
                    <a:pt x="11986" y="221"/>
                  </a:lnTo>
                  <a:lnTo>
                    <a:pt x="11972" y="202"/>
                  </a:lnTo>
                  <a:lnTo>
                    <a:pt x="11956" y="183"/>
                  </a:lnTo>
                  <a:lnTo>
                    <a:pt x="11940" y="165"/>
                  </a:lnTo>
                  <a:lnTo>
                    <a:pt x="11924" y="147"/>
                  </a:lnTo>
                  <a:lnTo>
                    <a:pt x="11906" y="131"/>
                  </a:lnTo>
                  <a:lnTo>
                    <a:pt x="11888" y="115"/>
                  </a:lnTo>
                  <a:lnTo>
                    <a:pt x="11869" y="100"/>
                  </a:lnTo>
                  <a:lnTo>
                    <a:pt x="11850" y="85"/>
                  </a:lnTo>
                  <a:lnTo>
                    <a:pt x="11829" y="72"/>
                  </a:lnTo>
                  <a:lnTo>
                    <a:pt x="11809" y="60"/>
                  </a:lnTo>
                  <a:lnTo>
                    <a:pt x="11786" y="49"/>
                  </a:lnTo>
                  <a:lnTo>
                    <a:pt x="11764" y="39"/>
                  </a:lnTo>
                  <a:lnTo>
                    <a:pt x="11741" y="30"/>
                  </a:lnTo>
                  <a:lnTo>
                    <a:pt x="11718" y="22"/>
                  </a:lnTo>
                  <a:lnTo>
                    <a:pt x="11694" y="16"/>
                  </a:lnTo>
                  <a:lnTo>
                    <a:pt x="11670" y="10"/>
                  </a:lnTo>
                  <a:lnTo>
                    <a:pt x="11645" y="6"/>
                  </a:lnTo>
                  <a:lnTo>
                    <a:pt x="11619" y="3"/>
                  </a:lnTo>
                  <a:lnTo>
                    <a:pt x="11594" y="1"/>
                  </a:lnTo>
                  <a:lnTo>
                    <a:pt x="1156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64" name="iš1íḋé">
              <a:extLst>
                <a:ext uri="{FF2B5EF4-FFF2-40B4-BE49-F238E27FC236}">
                  <a16:creationId xmlns:a16="http://schemas.microsoft.com/office/drawing/2014/main" id="{175458FE-1523-467B-921D-7874F6BB8674}"/>
                </a:ext>
              </a:extLst>
            </p:cNvPr>
            <p:cNvSpPr/>
            <p:nvPr/>
          </p:nvSpPr>
          <p:spPr bwMode="auto">
            <a:xfrm>
              <a:off x="5305332" y="2902185"/>
              <a:ext cx="613337" cy="573859"/>
            </a:xfrm>
            <a:custGeom>
              <a:avLst/>
              <a:gdLst>
                <a:gd name="T0" fmla="*/ 15066 w 16095"/>
                <a:gd name="T1" fmla="*/ 11696 h 15059"/>
                <a:gd name="T2" fmla="*/ 14988 w 16095"/>
                <a:gd name="T3" fmla="*/ 11847 h 15059"/>
                <a:gd name="T4" fmla="*/ 14867 w 16095"/>
                <a:gd name="T5" fmla="*/ 11963 h 15059"/>
                <a:gd name="T6" fmla="*/ 14712 w 16095"/>
                <a:gd name="T7" fmla="*/ 12033 h 15059"/>
                <a:gd name="T8" fmla="*/ 6036 w 16095"/>
                <a:gd name="T9" fmla="*/ 12049 h 15059"/>
                <a:gd name="T10" fmla="*/ 1359 w 16095"/>
                <a:gd name="T11" fmla="*/ 12027 h 15059"/>
                <a:gd name="T12" fmla="*/ 1208 w 16095"/>
                <a:gd name="T13" fmla="*/ 11949 h 15059"/>
                <a:gd name="T14" fmla="*/ 1091 w 16095"/>
                <a:gd name="T15" fmla="*/ 11828 h 15059"/>
                <a:gd name="T16" fmla="*/ 1022 w 16095"/>
                <a:gd name="T17" fmla="*/ 11672 h 15059"/>
                <a:gd name="T18" fmla="*/ 1007 w 16095"/>
                <a:gd name="T19" fmla="*/ 1480 h 15059"/>
                <a:gd name="T20" fmla="*/ 1045 w 16095"/>
                <a:gd name="T21" fmla="*/ 1310 h 15059"/>
                <a:gd name="T22" fmla="*/ 1137 w 16095"/>
                <a:gd name="T23" fmla="*/ 1169 h 15059"/>
                <a:gd name="T24" fmla="*/ 1268 w 16095"/>
                <a:gd name="T25" fmla="*/ 1064 h 15059"/>
                <a:gd name="T26" fmla="*/ 1432 w 16095"/>
                <a:gd name="T27" fmla="*/ 1010 h 15059"/>
                <a:gd name="T28" fmla="*/ 14663 w 16095"/>
                <a:gd name="T29" fmla="*/ 1010 h 15059"/>
                <a:gd name="T30" fmla="*/ 14826 w 16095"/>
                <a:gd name="T31" fmla="*/ 1064 h 15059"/>
                <a:gd name="T32" fmla="*/ 14958 w 16095"/>
                <a:gd name="T33" fmla="*/ 1169 h 15059"/>
                <a:gd name="T34" fmla="*/ 15050 w 16095"/>
                <a:gd name="T35" fmla="*/ 1310 h 15059"/>
                <a:gd name="T36" fmla="*/ 15088 w 16095"/>
                <a:gd name="T37" fmla="*/ 1480 h 15059"/>
                <a:gd name="T38" fmla="*/ 1279 w 16095"/>
                <a:gd name="T39" fmla="*/ 17 h 15059"/>
                <a:gd name="T40" fmla="*/ 790 w 16095"/>
                <a:gd name="T41" fmla="*/ 182 h 15059"/>
                <a:gd name="T42" fmla="*/ 391 w 16095"/>
                <a:gd name="T43" fmla="*/ 493 h 15059"/>
                <a:gd name="T44" fmla="*/ 119 w 16095"/>
                <a:gd name="T45" fmla="*/ 920 h 15059"/>
                <a:gd name="T46" fmla="*/ 2 w 16095"/>
                <a:gd name="T47" fmla="*/ 1429 h 15059"/>
                <a:gd name="T48" fmla="*/ 47 w 16095"/>
                <a:gd name="T49" fmla="*/ 11922 h 15059"/>
                <a:gd name="T50" fmla="*/ 257 w 16095"/>
                <a:gd name="T51" fmla="*/ 12387 h 15059"/>
                <a:gd name="T52" fmla="*/ 604 w 16095"/>
                <a:gd name="T53" fmla="*/ 12752 h 15059"/>
                <a:gd name="T54" fmla="*/ 1056 w 16095"/>
                <a:gd name="T55" fmla="*/ 12984 h 15059"/>
                <a:gd name="T56" fmla="*/ 6539 w 16095"/>
                <a:gd name="T57" fmla="*/ 13053 h 15059"/>
                <a:gd name="T58" fmla="*/ 3299 w 16095"/>
                <a:gd name="T59" fmla="*/ 14106 h 15059"/>
                <a:gd name="T60" fmla="*/ 3180 w 16095"/>
                <a:gd name="T61" fmla="*/ 14188 h 15059"/>
                <a:gd name="T62" fmla="*/ 3089 w 16095"/>
                <a:gd name="T63" fmla="*/ 14299 h 15059"/>
                <a:gd name="T64" fmla="*/ 3034 w 16095"/>
                <a:gd name="T65" fmla="*/ 14431 h 15059"/>
                <a:gd name="T66" fmla="*/ 3019 w 16095"/>
                <a:gd name="T67" fmla="*/ 14583 h 15059"/>
                <a:gd name="T68" fmla="*/ 3057 w 16095"/>
                <a:gd name="T69" fmla="*/ 14753 h 15059"/>
                <a:gd name="T70" fmla="*/ 3149 w 16095"/>
                <a:gd name="T71" fmla="*/ 14894 h 15059"/>
                <a:gd name="T72" fmla="*/ 3280 w 16095"/>
                <a:gd name="T73" fmla="*/ 14999 h 15059"/>
                <a:gd name="T74" fmla="*/ 3444 w 16095"/>
                <a:gd name="T75" fmla="*/ 15053 h 15059"/>
                <a:gd name="T76" fmla="*/ 12651 w 16095"/>
                <a:gd name="T77" fmla="*/ 15053 h 15059"/>
                <a:gd name="T78" fmla="*/ 12814 w 16095"/>
                <a:gd name="T79" fmla="*/ 14999 h 15059"/>
                <a:gd name="T80" fmla="*/ 12946 w 16095"/>
                <a:gd name="T81" fmla="*/ 14894 h 15059"/>
                <a:gd name="T82" fmla="*/ 13038 w 16095"/>
                <a:gd name="T83" fmla="*/ 14753 h 15059"/>
                <a:gd name="T84" fmla="*/ 13076 w 16095"/>
                <a:gd name="T85" fmla="*/ 14583 h 15059"/>
                <a:gd name="T86" fmla="*/ 13061 w 16095"/>
                <a:gd name="T87" fmla="*/ 14431 h 15059"/>
                <a:gd name="T88" fmla="*/ 13006 w 16095"/>
                <a:gd name="T89" fmla="*/ 14299 h 15059"/>
                <a:gd name="T90" fmla="*/ 12915 w 16095"/>
                <a:gd name="T91" fmla="*/ 14188 h 15059"/>
                <a:gd name="T92" fmla="*/ 12796 w 16095"/>
                <a:gd name="T93" fmla="*/ 14106 h 15059"/>
                <a:gd name="T94" fmla="*/ 9556 w 16095"/>
                <a:gd name="T95" fmla="*/ 13053 h 15059"/>
                <a:gd name="T96" fmla="*/ 15039 w 16095"/>
                <a:gd name="T97" fmla="*/ 12984 h 15059"/>
                <a:gd name="T98" fmla="*/ 15491 w 16095"/>
                <a:gd name="T99" fmla="*/ 12752 h 15059"/>
                <a:gd name="T100" fmla="*/ 15838 w 16095"/>
                <a:gd name="T101" fmla="*/ 12387 h 15059"/>
                <a:gd name="T102" fmla="*/ 16048 w 16095"/>
                <a:gd name="T103" fmla="*/ 11922 h 15059"/>
                <a:gd name="T104" fmla="*/ 16093 w 16095"/>
                <a:gd name="T105" fmla="*/ 1429 h 15059"/>
                <a:gd name="T106" fmla="*/ 15976 w 16095"/>
                <a:gd name="T107" fmla="*/ 920 h 15059"/>
                <a:gd name="T108" fmla="*/ 15703 w 16095"/>
                <a:gd name="T109" fmla="*/ 493 h 15059"/>
                <a:gd name="T110" fmla="*/ 15305 w 16095"/>
                <a:gd name="T111" fmla="*/ 182 h 15059"/>
                <a:gd name="T112" fmla="*/ 14815 w 16095"/>
                <a:gd name="T113" fmla="*/ 17 h 15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5059">
                  <a:moveTo>
                    <a:pt x="15089" y="11547"/>
                  </a:moveTo>
                  <a:lnTo>
                    <a:pt x="15088" y="11573"/>
                  </a:lnTo>
                  <a:lnTo>
                    <a:pt x="15086" y="11598"/>
                  </a:lnTo>
                  <a:lnTo>
                    <a:pt x="15083" y="11623"/>
                  </a:lnTo>
                  <a:lnTo>
                    <a:pt x="15079" y="11648"/>
                  </a:lnTo>
                  <a:lnTo>
                    <a:pt x="15073" y="11672"/>
                  </a:lnTo>
                  <a:lnTo>
                    <a:pt x="15066" y="11696"/>
                  </a:lnTo>
                  <a:lnTo>
                    <a:pt x="15059" y="11719"/>
                  </a:lnTo>
                  <a:lnTo>
                    <a:pt x="15050" y="11743"/>
                  </a:lnTo>
                  <a:lnTo>
                    <a:pt x="15040" y="11765"/>
                  </a:lnTo>
                  <a:lnTo>
                    <a:pt x="15029" y="11786"/>
                  </a:lnTo>
                  <a:lnTo>
                    <a:pt x="15016" y="11807"/>
                  </a:lnTo>
                  <a:lnTo>
                    <a:pt x="15003" y="11828"/>
                  </a:lnTo>
                  <a:lnTo>
                    <a:pt x="14988" y="11847"/>
                  </a:lnTo>
                  <a:lnTo>
                    <a:pt x="14974" y="11866"/>
                  </a:lnTo>
                  <a:lnTo>
                    <a:pt x="14958" y="11884"/>
                  </a:lnTo>
                  <a:lnTo>
                    <a:pt x="14941" y="11902"/>
                  </a:lnTo>
                  <a:lnTo>
                    <a:pt x="14924" y="11918"/>
                  </a:lnTo>
                  <a:lnTo>
                    <a:pt x="14906" y="11934"/>
                  </a:lnTo>
                  <a:lnTo>
                    <a:pt x="14887" y="11949"/>
                  </a:lnTo>
                  <a:lnTo>
                    <a:pt x="14867" y="11963"/>
                  </a:lnTo>
                  <a:lnTo>
                    <a:pt x="14847" y="11977"/>
                  </a:lnTo>
                  <a:lnTo>
                    <a:pt x="14826" y="11989"/>
                  </a:lnTo>
                  <a:lnTo>
                    <a:pt x="14803" y="12000"/>
                  </a:lnTo>
                  <a:lnTo>
                    <a:pt x="14781" y="12010"/>
                  </a:lnTo>
                  <a:lnTo>
                    <a:pt x="14759" y="12019"/>
                  </a:lnTo>
                  <a:lnTo>
                    <a:pt x="14735" y="12027"/>
                  </a:lnTo>
                  <a:lnTo>
                    <a:pt x="14712" y="12033"/>
                  </a:lnTo>
                  <a:lnTo>
                    <a:pt x="14687" y="12039"/>
                  </a:lnTo>
                  <a:lnTo>
                    <a:pt x="14663" y="12043"/>
                  </a:lnTo>
                  <a:lnTo>
                    <a:pt x="14637" y="12047"/>
                  </a:lnTo>
                  <a:lnTo>
                    <a:pt x="14612" y="12048"/>
                  </a:lnTo>
                  <a:lnTo>
                    <a:pt x="14586" y="12049"/>
                  </a:lnTo>
                  <a:lnTo>
                    <a:pt x="10059" y="12049"/>
                  </a:lnTo>
                  <a:lnTo>
                    <a:pt x="6036" y="12049"/>
                  </a:lnTo>
                  <a:lnTo>
                    <a:pt x="1509" y="12049"/>
                  </a:lnTo>
                  <a:lnTo>
                    <a:pt x="1483" y="12048"/>
                  </a:lnTo>
                  <a:lnTo>
                    <a:pt x="1458" y="12047"/>
                  </a:lnTo>
                  <a:lnTo>
                    <a:pt x="1432" y="12043"/>
                  </a:lnTo>
                  <a:lnTo>
                    <a:pt x="1407" y="12039"/>
                  </a:lnTo>
                  <a:lnTo>
                    <a:pt x="1383" y="12033"/>
                  </a:lnTo>
                  <a:lnTo>
                    <a:pt x="1359" y="12027"/>
                  </a:lnTo>
                  <a:lnTo>
                    <a:pt x="1336" y="12019"/>
                  </a:lnTo>
                  <a:lnTo>
                    <a:pt x="1313" y="12010"/>
                  </a:lnTo>
                  <a:lnTo>
                    <a:pt x="1291" y="12000"/>
                  </a:lnTo>
                  <a:lnTo>
                    <a:pt x="1268" y="11989"/>
                  </a:lnTo>
                  <a:lnTo>
                    <a:pt x="1248" y="11977"/>
                  </a:lnTo>
                  <a:lnTo>
                    <a:pt x="1227" y="11963"/>
                  </a:lnTo>
                  <a:lnTo>
                    <a:pt x="1208" y="11949"/>
                  </a:lnTo>
                  <a:lnTo>
                    <a:pt x="1189" y="11934"/>
                  </a:lnTo>
                  <a:lnTo>
                    <a:pt x="1171" y="11918"/>
                  </a:lnTo>
                  <a:lnTo>
                    <a:pt x="1153" y="11902"/>
                  </a:lnTo>
                  <a:lnTo>
                    <a:pt x="1137" y="11884"/>
                  </a:lnTo>
                  <a:lnTo>
                    <a:pt x="1121" y="11866"/>
                  </a:lnTo>
                  <a:lnTo>
                    <a:pt x="1106" y="11847"/>
                  </a:lnTo>
                  <a:lnTo>
                    <a:pt x="1091" y="11828"/>
                  </a:lnTo>
                  <a:lnTo>
                    <a:pt x="1078" y="11807"/>
                  </a:lnTo>
                  <a:lnTo>
                    <a:pt x="1066" y="11786"/>
                  </a:lnTo>
                  <a:lnTo>
                    <a:pt x="1055" y="11765"/>
                  </a:lnTo>
                  <a:lnTo>
                    <a:pt x="1045" y="11743"/>
                  </a:lnTo>
                  <a:lnTo>
                    <a:pt x="1036" y="11719"/>
                  </a:lnTo>
                  <a:lnTo>
                    <a:pt x="1028" y="11696"/>
                  </a:lnTo>
                  <a:lnTo>
                    <a:pt x="1022" y="11672"/>
                  </a:lnTo>
                  <a:lnTo>
                    <a:pt x="1016" y="11648"/>
                  </a:lnTo>
                  <a:lnTo>
                    <a:pt x="1012" y="11623"/>
                  </a:lnTo>
                  <a:lnTo>
                    <a:pt x="1009" y="11598"/>
                  </a:lnTo>
                  <a:lnTo>
                    <a:pt x="1007" y="11573"/>
                  </a:lnTo>
                  <a:lnTo>
                    <a:pt x="1006" y="11547"/>
                  </a:lnTo>
                  <a:lnTo>
                    <a:pt x="1006" y="1506"/>
                  </a:lnTo>
                  <a:lnTo>
                    <a:pt x="1007" y="1480"/>
                  </a:lnTo>
                  <a:lnTo>
                    <a:pt x="1009" y="1455"/>
                  </a:lnTo>
                  <a:lnTo>
                    <a:pt x="1012" y="1430"/>
                  </a:lnTo>
                  <a:lnTo>
                    <a:pt x="1016" y="1405"/>
                  </a:lnTo>
                  <a:lnTo>
                    <a:pt x="1022" y="1381"/>
                  </a:lnTo>
                  <a:lnTo>
                    <a:pt x="1028" y="1356"/>
                  </a:lnTo>
                  <a:lnTo>
                    <a:pt x="1036" y="1333"/>
                  </a:lnTo>
                  <a:lnTo>
                    <a:pt x="1045" y="1310"/>
                  </a:lnTo>
                  <a:lnTo>
                    <a:pt x="1055" y="1288"/>
                  </a:lnTo>
                  <a:lnTo>
                    <a:pt x="1066" y="1267"/>
                  </a:lnTo>
                  <a:lnTo>
                    <a:pt x="1078" y="1246"/>
                  </a:lnTo>
                  <a:lnTo>
                    <a:pt x="1091" y="1225"/>
                  </a:lnTo>
                  <a:lnTo>
                    <a:pt x="1106" y="1206"/>
                  </a:lnTo>
                  <a:lnTo>
                    <a:pt x="1121" y="1187"/>
                  </a:lnTo>
                  <a:lnTo>
                    <a:pt x="1137" y="1169"/>
                  </a:lnTo>
                  <a:lnTo>
                    <a:pt x="1153" y="1151"/>
                  </a:lnTo>
                  <a:lnTo>
                    <a:pt x="1171" y="1135"/>
                  </a:lnTo>
                  <a:lnTo>
                    <a:pt x="1189" y="1119"/>
                  </a:lnTo>
                  <a:lnTo>
                    <a:pt x="1208" y="1103"/>
                  </a:lnTo>
                  <a:lnTo>
                    <a:pt x="1227" y="1090"/>
                  </a:lnTo>
                  <a:lnTo>
                    <a:pt x="1248" y="1077"/>
                  </a:lnTo>
                  <a:lnTo>
                    <a:pt x="1268" y="1064"/>
                  </a:lnTo>
                  <a:lnTo>
                    <a:pt x="1291" y="1053"/>
                  </a:lnTo>
                  <a:lnTo>
                    <a:pt x="1313" y="1043"/>
                  </a:lnTo>
                  <a:lnTo>
                    <a:pt x="1336" y="1034"/>
                  </a:lnTo>
                  <a:lnTo>
                    <a:pt x="1359" y="1027"/>
                  </a:lnTo>
                  <a:lnTo>
                    <a:pt x="1383" y="1020"/>
                  </a:lnTo>
                  <a:lnTo>
                    <a:pt x="1407" y="1014"/>
                  </a:lnTo>
                  <a:lnTo>
                    <a:pt x="1432" y="1010"/>
                  </a:lnTo>
                  <a:lnTo>
                    <a:pt x="1458" y="1007"/>
                  </a:lnTo>
                  <a:lnTo>
                    <a:pt x="1483" y="1005"/>
                  </a:lnTo>
                  <a:lnTo>
                    <a:pt x="1509" y="1004"/>
                  </a:lnTo>
                  <a:lnTo>
                    <a:pt x="14586" y="1004"/>
                  </a:lnTo>
                  <a:lnTo>
                    <a:pt x="14612" y="1005"/>
                  </a:lnTo>
                  <a:lnTo>
                    <a:pt x="14637" y="1007"/>
                  </a:lnTo>
                  <a:lnTo>
                    <a:pt x="14663" y="1010"/>
                  </a:lnTo>
                  <a:lnTo>
                    <a:pt x="14687" y="1014"/>
                  </a:lnTo>
                  <a:lnTo>
                    <a:pt x="14712" y="1020"/>
                  </a:lnTo>
                  <a:lnTo>
                    <a:pt x="14735" y="1027"/>
                  </a:lnTo>
                  <a:lnTo>
                    <a:pt x="14759" y="1034"/>
                  </a:lnTo>
                  <a:lnTo>
                    <a:pt x="14781" y="1043"/>
                  </a:lnTo>
                  <a:lnTo>
                    <a:pt x="14803" y="1053"/>
                  </a:lnTo>
                  <a:lnTo>
                    <a:pt x="14826" y="1064"/>
                  </a:lnTo>
                  <a:lnTo>
                    <a:pt x="14847" y="1077"/>
                  </a:lnTo>
                  <a:lnTo>
                    <a:pt x="14867" y="1090"/>
                  </a:lnTo>
                  <a:lnTo>
                    <a:pt x="14887" y="1103"/>
                  </a:lnTo>
                  <a:lnTo>
                    <a:pt x="14906" y="1119"/>
                  </a:lnTo>
                  <a:lnTo>
                    <a:pt x="14924" y="1135"/>
                  </a:lnTo>
                  <a:lnTo>
                    <a:pt x="14941" y="1151"/>
                  </a:lnTo>
                  <a:lnTo>
                    <a:pt x="14958" y="1169"/>
                  </a:lnTo>
                  <a:lnTo>
                    <a:pt x="14974" y="1187"/>
                  </a:lnTo>
                  <a:lnTo>
                    <a:pt x="14988" y="1206"/>
                  </a:lnTo>
                  <a:lnTo>
                    <a:pt x="15003" y="1225"/>
                  </a:lnTo>
                  <a:lnTo>
                    <a:pt x="15016" y="1246"/>
                  </a:lnTo>
                  <a:lnTo>
                    <a:pt x="15029" y="1267"/>
                  </a:lnTo>
                  <a:lnTo>
                    <a:pt x="15040" y="1288"/>
                  </a:lnTo>
                  <a:lnTo>
                    <a:pt x="15050" y="1310"/>
                  </a:lnTo>
                  <a:lnTo>
                    <a:pt x="15059" y="1333"/>
                  </a:lnTo>
                  <a:lnTo>
                    <a:pt x="15066" y="1356"/>
                  </a:lnTo>
                  <a:lnTo>
                    <a:pt x="15073" y="1381"/>
                  </a:lnTo>
                  <a:lnTo>
                    <a:pt x="15079" y="1405"/>
                  </a:lnTo>
                  <a:lnTo>
                    <a:pt x="15083" y="1430"/>
                  </a:lnTo>
                  <a:lnTo>
                    <a:pt x="15086" y="1455"/>
                  </a:lnTo>
                  <a:lnTo>
                    <a:pt x="15088" y="1480"/>
                  </a:lnTo>
                  <a:lnTo>
                    <a:pt x="15089" y="1506"/>
                  </a:lnTo>
                  <a:lnTo>
                    <a:pt x="15089" y="11547"/>
                  </a:lnTo>
                  <a:close/>
                  <a:moveTo>
                    <a:pt x="14586" y="0"/>
                  </a:moveTo>
                  <a:lnTo>
                    <a:pt x="1509" y="0"/>
                  </a:lnTo>
                  <a:lnTo>
                    <a:pt x="1431" y="2"/>
                  </a:lnTo>
                  <a:lnTo>
                    <a:pt x="1354" y="8"/>
                  </a:lnTo>
                  <a:lnTo>
                    <a:pt x="1279" y="17"/>
                  </a:lnTo>
                  <a:lnTo>
                    <a:pt x="1204" y="30"/>
                  </a:lnTo>
                  <a:lnTo>
                    <a:pt x="1132" y="47"/>
                  </a:lnTo>
                  <a:lnTo>
                    <a:pt x="1060" y="67"/>
                  </a:lnTo>
                  <a:lnTo>
                    <a:pt x="990" y="91"/>
                  </a:lnTo>
                  <a:lnTo>
                    <a:pt x="921" y="118"/>
                  </a:lnTo>
                  <a:lnTo>
                    <a:pt x="854" y="149"/>
                  </a:lnTo>
                  <a:lnTo>
                    <a:pt x="790" y="182"/>
                  </a:lnTo>
                  <a:lnTo>
                    <a:pt x="726" y="218"/>
                  </a:lnTo>
                  <a:lnTo>
                    <a:pt x="665" y="257"/>
                  </a:lnTo>
                  <a:lnTo>
                    <a:pt x="606" y="299"/>
                  </a:lnTo>
                  <a:lnTo>
                    <a:pt x="549" y="344"/>
                  </a:lnTo>
                  <a:lnTo>
                    <a:pt x="494" y="392"/>
                  </a:lnTo>
                  <a:lnTo>
                    <a:pt x="442" y="441"/>
                  </a:lnTo>
                  <a:lnTo>
                    <a:pt x="391" y="493"/>
                  </a:lnTo>
                  <a:lnTo>
                    <a:pt x="344" y="548"/>
                  </a:lnTo>
                  <a:lnTo>
                    <a:pt x="300" y="605"/>
                  </a:lnTo>
                  <a:lnTo>
                    <a:pt x="258" y="664"/>
                  </a:lnTo>
                  <a:lnTo>
                    <a:pt x="218" y="725"/>
                  </a:lnTo>
                  <a:lnTo>
                    <a:pt x="182" y="788"/>
                  </a:lnTo>
                  <a:lnTo>
                    <a:pt x="149" y="853"/>
                  </a:lnTo>
                  <a:lnTo>
                    <a:pt x="119" y="920"/>
                  </a:lnTo>
                  <a:lnTo>
                    <a:pt x="92" y="988"/>
                  </a:lnTo>
                  <a:lnTo>
                    <a:pt x="67" y="1058"/>
                  </a:lnTo>
                  <a:lnTo>
                    <a:pt x="47" y="1130"/>
                  </a:lnTo>
                  <a:lnTo>
                    <a:pt x="30" y="1203"/>
                  </a:lnTo>
                  <a:lnTo>
                    <a:pt x="17" y="1277"/>
                  </a:lnTo>
                  <a:lnTo>
                    <a:pt x="8" y="1352"/>
                  </a:lnTo>
                  <a:lnTo>
                    <a:pt x="2" y="1429"/>
                  </a:lnTo>
                  <a:lnTo>
                    <a:pt x="0" y="1506"/>
                  </a:lnTo>
                  <a:lnTo>
                    <a:pt x="0" y="11547"/>
                  </a:lnTo>
                  <a:lnTo>
                    <a:pt x="2" y="11624"/>
                  </a:lnTo>
                  <a:lnTo>
                    <a:pt x="8" y="11700"/>
                  </a:lnTo>
                  <a:lnTo>
                    <a:pt x="17" y="11776"/>
                  </a:lnTo>
                  <a:lnTo>
                    <a:pt x="30" y="11850"/>
                  </a:lnTo>
                  <a:lnTo>
                    <a:pt x="47" y="11922"/>
                  </a:lnTo>
                  <a:lnTo>
                    <a:pt x="67" y="11994"/>
                  </a:lnTo>
                  <a:lnTo>
                    <a:pt x="92" y="12064"/>
                  </a:lnTo>
                  <a:lnTo>
                    <a:pt x="118" y="12132"/>
                  </a:lnTo>
                  <a:lnTo>
                    <a:pt x="148" y="12198"/>
                  </a:lnTo>
                  <a:lnTo>
                    <a:pt x="181" y="12264"/>
                  </a:lnTo>
                  <a:lnTo>
                    <a:pt x="217" y="12326"/>
                  </a:lnTo>
                  <a:lnTo>
                    <a:pt x="257" y="12387"/>
                  </a:lnTo>
                  <a:lnTo>
                    <a:pt x="299" y="12446"/>
                  </a:lnTo>
                  <a:lnTo>
                    <a:pt x="343" y="12504"/>
                  </a:lnTo>
                  <a:lnTo>
                    <a:pt x="390" y="12558"/>
                  </a:lnTo>
                  <a:lnTo>
                    <a:pt x="441" y="12610"/>
                  </a:lnTo>
                  <a:lnTo>
                    <a:pt x="493" y="12660"/>
                  </a:lnTo>
                  <a:lnTo>
                    <a:pt x="547" y="12707"/>
                  </a:lnTo>
                  <a:lnTo>
                    <a:pt x="604" y="12752"/>
                  </a:lnTo>
                  <a:lnTo>
                    <a:pt x="663" y="12794"/>
                  </a:lnTo>
                  <a:lnTo>
                    <a:pt x="724" y="12833"/>
                  </a:lnTo>
                  <a:lnTo>
                    <a:pt x="787" y="12869"/>
                  </a:lnTo>
                  <a:lnTo>
                    <a:pt x="852" y="12902"/>
                  </a:lnTo>
                  <a:lnTo>
                    <a:pt x="918" y="12933"/>
                  </a:lnTo>
                  <a:lnTo>
                    <a:pt x="987" y="12959"/>
                  </a:lnTo>
                  <a:lnTo>
                    <a:pt x="1056" y="12984"/>
                  </a:lnTo>
                  <a:lnTo>
                    <a:pt x="1128" y="13004"/>
                  </a:lnTo>
                  <a:lnTo>
                    <a:pt x="1201" y="13021"/>
                  </a:lnTo>
                  <a:lnTo>
                    <a:pt x="1275" y="13035"/>
                  </a:lnTo>
                  <a:lnTo>
                    <a:pt x="1350" y="13044"/>
                  </a:lnTo>
                  <a:lnTo>
                    <a:pt x="1426" y="13050"/>
                  </a:lnTo>
                  <a:lnTo>
                    <a:pt x="1504" y="13053"/>
                  </a:lnTo>
                  <a:lnTo>
                    <a:pt x="6539" y="13053"/>
                  </a:lnTo>
                  <a:lnTo>
                    <a:pt x="6539" y="13663"/>
                  </a:lnTo>
                  <a:lnTo>
                    <a:pt x="3399" y="14070"/>
                  </a:lnTo>
                  <a:lnTo>
                    <a:pt x="3378" y="14076"/>
                  </a:lnTo>
                  <a:lnTo>
                    <a:pt x="3358" y="14082"/>
                  </a:lnTo>
                  <a:lnTo>
                    <a:pt x="3338" y="14090"/>
                  </a:lnTo>
                  <a:lnTo>
                    <a:pt x="3319" y="14098"/>
                  </a:lnTo>
                  <a:lnTo>
                    <a:pt x="3299" y="14106"/>
                  </a:lnTo>
                  <a:lnTo>
                    <a:pt x="3280" y="14116"/>
                  </a:lnTo>
                  <a:lnTo>
                    <a:pt x="3262" y="14126"/>
                  </a:lnTo>
                  <a:lnTo>
                    <a:pt x="3245" y="14137"/>
                  </a:lnTo>
                  <a:lnTo>
                    <a:pt x="3228" y="14149"/>
                  </a:lnTo>
                  <a:lnTo>
                    <a:pt x="3211" y="14161"/>
                  </a:lnTo>
                  <a:lnTo>
                    <a:pt x="3196" y="14174"/>
                  </a:lnTo>
                  <a:lnTo>
                    <a:pt x="3180" y="14188"/>
                  </a:lnTo>
                  <a:lnTo>
                    <a:pt x="3166" y="14203"/>
                  </a:lnTo>
                  <a:lnTo>
                    <a:pt x="3151" y="14217"/>
                  </a:lnTo>
                  <a:lnTo>
                    <a:pt x="3138" y="14233"/>
                  </a:lnTo>
                  <a:lnTo>
                    <a:pt x="3124" y="14249"/>
                  </a:lnTo>
                  <a:lnTo>
                    <a:pt x="3112" y="14265"/>
                  </a:lnTo>
                  <a:lnTo>
                    <a:pt x="3100" y="14282"/>
                  </a:lnTo>
                  <a:lnTo>
                    <a:pt x="3089" y="14299"/>
                  </a:lnTo>
                  <a:lnTo>
                    <a:pt x="3079" y="14316"/>
                  </a:lnTo>
                  <a:lnTo>
                    <a:pt x="3070" y="14335"/>
                  </a:lnTo>
                  <a:lnTo>
                    <a:pt x="3061" y="14353"/>
                  </a:lnTo>
                  <a:lnTo>
                    <a:pt x="3053" y="14372"/>
                  </a:lnTo>
                  <a:lnTo>
                    <a:pt x="3046" y="14391"/>
                  </a:lnTo>
                  <a:lnTo>
                    <a:pt x="3039" y="14411"/>
                  </a:lnTo>
                  <a:lnTo>
                    <a:pt x="3034" y="14431"/>
                  </a:lnTo>
                  <a:lnTo>
                    <a:pt x="3029" y="14452"/>
                  </a:lnTo>
                  <a:lnTo>
                    <a:pt x="3025" y="14473"/>
                  </a:lnTo>
                  <a:lnTo>
                    <a:pt x="3022" y="14493"/>
                  </a:lnTo>
                  <a:lnTo>
                    <a:pt x="3020" y="14514"/>
                  </a:lnTo>
                  <a:lnTo>
                    <a:pt x="3018" y="14536"/>
                  </a:lnTo>
                  <a:lnTo>
                    <a:pt x="3018" y="14557"/>
                  </a:lnTo>
                  <a:lnTo>
                    <a:pt x="3019" y="14583"/>
                  </a:lnTo>
                  <a:lnTo>
                    <a:pt x="3020" y="14608"/>
                  </a:lnTo>
                  <a:lnTo>
                    <a:pt x="3024" y="14633"/>
                  </a:lnTo>
                  <a:lnTo>
                    <a:pt x="3028" y="14658"/>
                  </a:lnTo>
                  <a:lnTo>
                    <a:pt x="3034" y="14682"/>
                  </a:lnTo>
                  <a:lnTo>
                    <a:pt x="3040" y="14707"/>
                  </a:lnTo>
                  <a:lnTo>
                    <a:pt x="3048" y="14730"/>
                  </a:lnTo>
                  <a:lnTo>
                    <a:pt x="3057" y="14753"/>
                  </a:lnTo>
                  <a:lnTo>
                    <a:pt x="3067" y="14775"/>
                  </a:lnTo>
                  <a:lnTo>
                    <a:pt x="3078" y="14797"/>
                  </a:lnTo>
                  <a:lnTo>
                    <a:pt x="3090" y="14818"/>
                  </a:lnTo>
                  <a:lnTo>
                    <a:pt x="3103" y="14838"/>
                  </a:lnTo>
                  <a:lnTo>
                    <a:pt x="3117" y="14857"/>
                  </a:lnTo>
                  <a:lnTo>
                    <a:pt x="3132" y="14876"/>
                  </a:lnTo>
                  <a:lnTo>
                    <a:pt x="3149" y="14894"/>
                  </a:lnTo>
                  <a:lnTo>
                    <a:pt x="3165" y="14912"/>
                  </a:lnTo>
                  <a:lnTo>
                    <a:pt x="3183" y="14928"/>
                  </a:lnTo>
                  <a:lnTo>
                    <a:pt x="3201" y="14945"/>
                  </a:lnTo>
                  <a:lnTo>
                    <a:pt x="3220" y="14960"/>
                  </a:lnTo>
                  <a:lnTo>
                    <a:pt x="3239" y="14974"/>
                  </a:lnTo>
                  <a:lnTo>
                    <a:pt x="3260" y="14987"/>
                  </a:lnTo>
                  <a:lnTo>
                    <a:pt x="3280" y="14999"/>
                  </a:lnTo>
                  <a:lnTo>
                    <a:pt x="3302" y="15010"/>
                  </a:lnTo>
                  <a:lnTo>
                    <a:pt x="3325" y="15020"/>
                  </a:lnTo>
                  <a:lnTo>
                    <a:pt x="3348" y="15029"/>
                  </a:lnTo>
                  <a:lnTo>
                    <a:pt x="3371" y="15037"/>
                  </a:lnTo>
                  <a:lnTo>
                    <a:pt x="3395" y="15043"/>
                  </a:lnTo>
                  <a:lnTo>
                    <a:pt x="3419" y="15049"/>
                  </a:lnTo>
                  <a:lnTo>
                    <a:pt x="3444" y="15053"/>
                  </a:lnTo>
                  <a:lnTo>
                    <a:pt x="3469" y="15056"/>
                  </a:lnTo>
                  <a:lnTo>
                    <a:pt x="3495" y="15058"/>
                  </a:lnTo>
                  <a:lnTo>
                    <a:pt x="3521" y="15059"/>
                  </a:lnTo>
                  <a:lnTo>
                    <a:pt x="12574" y="15059"/>
                  </a:lnTo>
                  <a:lnTo>
                    <a:pt x="12600" y="15058"/>
                  </a:lnTo>
                  <a:lnTo>
                    <a:pt x="12626" y="15056"/>
                  </a:lnTo>
                  <a:lnTo>
                    <a:pt x="12651" y="15053"/>
                  </a:lnTo>
                  <a:lnTo>
                    <a:pt x="12676" y="15049"/>
                  </a:lnTo>
                  <a:lnTo>
                    <a:pt x="12700" y="15043"/>
                  </a:lnTo>
                  <a:lnTo>
                    <a:pt x="12724" y="15037"/>
                  </a:lnTo>
                  <a:lnTo>
                    <a:pt x="12747" y="15029"/>
                  </a:lnTo>
                  <a:lnTo>
                    <a:pt x="12770" y="15020"/>
                  </a:lnTo>
                  <a:lnTo>
                    <a:pt x="12793" y="15010"/>
                  </a:lnTo>
                  <a:lnTo>
                    <a:pt x="12814" y="14999"/>
                  </a:lnTo>
                  <a:lnTo>
                    <a:pt x="12835" y="14987"/>
                  </a:lnTo>
                  <a:lnTo>
                    <a:pt x="12856" y="14974"/>
                  </a:lnTo>
                  <a:lnTo>
                    <a:pt x="12875" y="14960"/>
                  </a:lnTo>
                  <a:lnTo>
                    <a:pt x="12894" y="14945"/>
                  </a:lnTo>
                  <a:lnTo>
                    <a:pt x="12912" y="14928"/>
                  </a:lnTo>
                  <a:lnTo>
                    <a:pt x="12930" y="14912"/>
                  </a:lnTo>
                  <a:lnTo>
                    <a:pt x="12946" y="14894"/>
                  </a:lnTo>
                  <a:lnTo>
                    <a:pt x="12963" y="14876"/>
                  </a:lnTo>
                  <a:lnTo>
                    <a:pt x="12978" y="14857"/>
                  </a:lnTo>
                  <a:lnTo>
                    <a:pt x="12992" y="14838"/>
                  </a:lnTo>
                  <a:lnTo>
                    <a:pt x="13005" y="14818"/>
                  </a:lnTo>
                  <a:lnTo>
                    <a:pt x="13017" y="14797"/>
                  </a:lnTo>
                  <a:lnTo>
                    <a:pt x="13028" y="14775"/>
                  </a:lnTo>
                  <a:lnTo>
                    <a:pt x="13038" y="14753"/>
                  </a:lnTo>
                  <a:lnTo>
                    <a:pt x="13047" y="14730"/>
                  </a:lnTo>
                  <a:lnTo>
                    <a:pt x="13055" y="14707"/>
                  </a:lnTo>
                  <a:lnTo>
                    <a:pt x="13061" y="14682"/>
                  </a:lnTo>
                  <a:lnTo>
                    <a:pt x="13067" y="14658"/>
                  </a:lnTo>
                  <a:lnTo>
                    <a:pt x="13071" y="14633"/>
                  </a:lnTo>
                  <a:lnTo>
                    <a:pt x="13074" y="14608"/>
                  </a:lnTo>
                  <a:lnTo>
                    <a:pt x="13076" y="14583"/>
                  </a:lnTo>
                  <a:lnTo>
                    <a:pt x="13077" y="14557"/>
                  </a:lnTo>
                  <a:lnTo>
                    <a:pt x="13077" y="14536"/>
                  </a:lnTo>
                  <a:lnTo>
                    <a:pt x="13075" y="14514"/>
                  </a:lnTo>
                  <a:lnTo>
                    <a:pt x="13073" y="14493"/>
                  </a:lnTo>
                  <a:lnTo>
                    <a:pt x="13070" y="14473"/>
                  </a:lnTo>
                  <a:lnTo>
                    <a:pt x="13066" y="14452"/>
                  </a:lnTo>
                  <a:lnTo>
                    <a:pt x="13061" y="14431"/>
                  </a:lnTo>
                  <a:lnTo>
                    <a:pt x="13056" y="14411"/>
                  </a:lnTo>
                  <a:lnTo>
                    <a:pt x="13049" y="14391"/>
                  </a:lnTo>
                  <a:lnTo>
                    <a:pt x="13042" y="14372"/>
                  </a:lnTo>
                  <a:lnTo>
                    <a:pt x="13034" y="14353"/>
                  </a:lnTo>
                  <a:lnTo>
                    <a:pt x="13025" y="14335"/>
                  </a:lnTo>
                  <a:lnTo>
                    <a:pt x="13016" y="14316"/>
                  </a:lnTo>
                  <a:lnTo>
                    <a:pt x="13006" y="14299"/>
                  </a:lnTo>
                  <a:lnTo>
                    <a:pt x="12995" y="14282"/>
                  </a:lnTo>
                  <a:lnTo>
                    <a:pt x="12983" y="14265"/>
                  </a:lnTo>
                  <a:lnTo>
                    <a:pt x="12971" y="14249"/>
                  </a:lnTo>
                  <a:lnTo>
                    <a:pt x="12957" y="14233"/>
                  </a:lnTo>
                  <a:lnTo>
                    <a:pt x="12944" y="14217"/>
                  </a:lnTo>
                  <a:lnTo>
                    <a:pt x="12930" y="14203"/>
                  </a:lnTo>
                  <a:lnTo>
                    <a:pt x="12915" y="14188"/>
                  </a:lnTo>
                  <a:lnTo>
                    <a:pt x="12900" y="14174"/>
                  </a:lnTo>
                  <a:lnTo>
                    <a:pt x="12884" y="14161"/>
                  </a:lnTo>
                  <a:lnTo>
                    <a:pt x="12867" y="14149"/>
                  </a:lnTo>
                  <a:lnTo>
                    <a:pt x="12850" y="14137"/>
                  </a:lnTo>
                  <a:lnTo>
                    <a:pt x="12833" y="14126"/>
                  </a:lnTo>
                  <a:lnTo>
                    <a:pt x="12815" y="14116"/>
                  </a:lnTo>
                  <a:lnTo>
                    <a:pt x="12796" y="14106"/>
                  </a:lnTo>
                  <a:lnTo>
                    <a:pt x="12776" y="14098"/>
                  </a:lnTo>
                  <a:lnTo>
                    <a:pt x="12757" y="14090"/>
                  </a:lnTo>
                  <a:lnTo>
                    <a:pt x="12737" y="14082"/>
                  </a:lnTo>
                  <a:lnTo>
                    <a:pt x="12717" y="14076"/>
                  </a:lnTo>
                  <a:lnTo>
                    <a:pt x="12696" y="14070"/>
                  </a:lnTo>
                  <a:lnTo>
                    <a:pt x="9556" y="13663"/>
                  </a:lnTo>
                  <a:lnTo>
                    <a:pt x="9556" y="13053"/>
                  </a:lnTo>
                  <a:lnTo>
                    <a:pt x="14591" y="13053"/>
                  </a:lnTo>
                  <a:lnTo>
                    <a:pt x="14669" y="13050"/>
                  </a:lnTo>
                  <a:lnTo>
                    <a:pt x="14745" y="13044"/>
                  </a:lnTo>
                  <a:lnTo>
                    <a:pt x="14820" y="13035"/>
                  </a:lnTo>
                  <a:lnTo>
                    <a:pt x="14894" y="13021"/>
                  </a:lnTo>
                  <a:lnTo>
                    <a:pt x="14967" y="13004"/>
                  </a:lnTo>
                  <a:lnTo>
                    <a:pt x="15039" y="12984"/>
                  </a:lnTo>
                  <a:lnTo>
                    <a:pt x="15108" y="12959"/>
                  </a:lnTo>
                  <a:lnTo>
                    <a:pt x="15177" y="12933"/>
                  </a:lnTo>
                  <a:lnTo>
                    <a:pt x="15243" y="12902"/>
                  </a:lnTo>
                  <a:lnTo>
                    <a:pt x="15308" y="12869"/>
                  </a:lnTo>
                  <a:lnTo>
                    <a:pt x="15371" y="12833"/>
                  </a:lnTo>
                  <a:lnTo>
                    <a:pt x="15432" y="12794"/>
                  </a:lnTo>
                  <a:lnTo>
                    <a:pt x="15491" y="12752"/>
                  </a:lnTo>
                  <a:lnTo>
                    <a:pt x="15548" y="12707"/>
                  </a:lnTo>
                  <a:lnTo>
                    <a:pt x="15602" y="12660"/>
                  </a:lnTo>
                  <a:lnTo>
                    <a:pt x="15654" y="12610"/>
                  </a:lnTo>
                  <a:lnTo>
                    <a:pt x="15705" y="12558"/>
                  </a:lnTo>
                  <a:lnTo>
                    <a:pt x="15752" y="12504"/>
                  </a:lnTo>
                  <a:lnTo>
                    <a:pt x="15796" y="12446"/>
                  </a:lnTo>
                  <a:lnTo>
                    <a:pt x="15838" y="12387"/>
                  </a:lnTo>
                  <a:lnTo>
                    <a:pt x="15878" y="12326"/>
                  </a:lnTo>
                  <a:lnTo>
                    <a:pt x="15914" y="12264"/>
                  </a:lnTo>
                  <a:lnTo>
                    <a:pt x="15947" y="12198"/>
                  </a:lnTo>
                  <a:lnTo>
                    <a:pt x="15977" y="12132"/>
                  </a:lnTo>
                  <a:lnTo>
                    <a:pt x="16003" y="12064"/>
                  </a:lnTo>
                  <a:lnTo>
                    <a:pt x="16028" y="11994"/>
                  </a:lnTo>
                  <a:lnTo>
                    <a:pt x="16048" y="11922"/>
                  </a:lnTo>
                  <a:lnTo>
                    <a:pt x="16065" y="11850"/>
                  </a:lnTo>
                  <a:lnTo>
                    <a:pt x="16078" y="11776"/>
                  </a:lnTo>
                  <a:lnTo>
                    <a:pt x="16087" y="11700"/>
                  </a:lnTo>
                  <a:lnTo>
                    <a:pt x="16093" y="11624"/>
                  </a:lnTo>
                  <a:lnTo>
                    <a:pt x="16095" y="11547"/>
                  </a:lnTo>
                  <a:lnTo>
                    <a:pt x="16095" y="1506"/>
                  </a:lnTo>
                  <a:lnTo>
                    <a:pt x="16093" y="1429"/>
                  </a:lnTo>
                  <a:lnTo>
                    <a:pt x="16087" y="1352"/>
                  </a:lnTo>
                  <a:lnTo>
                    <a:pt x="16078" y="1277"/>
                  </a:lnTo>
                  <a:lnTo>
                    <a:pt x="16064" y="1203"/>
                  </a:lnTo>
                  <a:lnTo>
                    <a:pt x="16048" y="1130"/>
                  </a:lnTo>
                  <a:lnTo>
                    <a:pt x="16028" y="1058"/>
                  </a:lnTo>
                  <a:lnTo>
                    <a:pt x="16003" y="988"/>
                  </a:lnTo>
                  <a:lnTo>
                    <a:pt x="15976" y="920"/>
                  </a:lnTo>
                  <a:lnTo>
                    <a:pt x="15946" y="853"/>
                  </a:lnTo>
                  <a:lnTo>
                    <a:pt x="15913" y="788"/>
                  </a:lnTo>
                  <a:lnTo>
                    <a:pt x="15877" y="725"/>
                  </a:lnTo>
                  <a:lnTo>
                    <a:pt x="15837" y="664"/>
                  </a:lnTo>
                  <a:lnTo>
                    <a:pt x="15795" y="605"/>
                  </a:lnTo>
                  <a:lnTo>
                    <a:pt x="15750" y="548"/>
                  </a:lnTo>
                  <a:lnTo>
                    <a:pt x="15703" y="493"/>
                  </a:lnTo>
                  <a:lnTo>
                    <a:pt x="15652" y="441"/>
                  </a:lnTo>
                  <a:lnTo>
                    <a:pt x="15600" y="392"/>
                  </a:lnTo>
                  <a:lnTo>
                    <a:pt x="15546" y="344"/>
                  </a:lnTo>
                  <a:lnTo>
                    <a:pt x="15488" y="299"/>
                  </a:lnTo>
                  <a:lnTo>
                    <a:pt x="15429" y="257"/>
                  </a:lnTo>
                  <a:lnTo>
                    <a:pt x="15369" y="218"/>
                  </a:lnTo>
                  <a:lnTo>
                    <a:pt x="15305" y="182"/>
                  </a:lnTo>
                  <a:lnTo>
                    <a:pt x="15240" y="149"/>
                  </a:lnTo>
                  <a:lnTo>
                    <a:pt x="15174" y="118"/>
                  </a:lnTo>
                  <a:lnTo>
                    <a:pt x="15105" y="91"/>
                  </a:lnTo>
                  <a:lnTo>
                    <a:pt x="15035" y="67"/>
                  </a:lnTo>
                  <a:lnTo>
                    <a:pt x="14963" y="47"/>
                  </a:lnTo>
                  <a:lnTo>
                    <a:pt x="14890" y="30"/>
                  </a:lnTo>
                  <a:lnTo>
                    <a:pt x="14815" y="17"/>
                  </a:lnTo>
                  <a:lnTo>
                    <a:pt x="14740" y="8"/>
                  </a:lnTo>
                  <a:lnTo>
                    <a:pt x="14664" y="2"/>
                  </a:lnTo>
                  <a:lnTo>
                    <a:pt x="1458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65" name="işḻîḍé">
              <a:extLst>
                <a:ext uri="{FF2B5EF4-FFF2-40B4-BE49-F238E27FC236}">
                  <a16:creationId xmlns:a16="http://schemas.microsoft.com/office/drawing/2014/main" id="{172B2BF1-5B63-4E58-8346-1FD456246D2C}"/>
                </a:ext>
              </a:extLst>
            </p:cNvPr>
            <p:cNvSpPr/>
            <p:nvPr/>
          </p:nvSpPr>
          <p:spPr bwMode="auto">
            <a:xfrm>
              <a:off x="5476739" y="2411481"/>
              <a:ext cx="127257" cy="407036"/>
            </a:xfrm>
            <a:custGeom>
              <a:avLst/>
              <a:gdLst>
                <a:gd name="T0" fmla="*/ 3784 w 5030"/>
                <a:gd name="T1" fmla="*/ 5837 h 16095"/>
                <a:gd name="T2" fmla="*/ 3571 w 5030"/>
                <a:gd name="T3" fmla="*/ 6098 h 16095"/>
                <a:gd name="T4" fmla="*/ 3350 w 5030"/>
                <a:gd name="T5" fmla="*/ 6279 h 16095"/>
                <a:gd name="T6" fmla="*/ 3045 w 5030"/>
                <a:gd name="T7" fmla="*/ 6436 h 16095"/>
                <a:gd name="T8" fmla="*/ 2678 w 5030"/>
                <a:gd name="T9" fmla="*/ 6529 h 16095"/>
                <a:gd name="T10" fmla="*/ 2288 w 5030"/>
                <a:gd name="T11" fmla="*/ 6519 h 16095"/>
                <a:gd name="T12" fmla="*/ 1931 w 5030"/>
                <a:gd name="T13" fmla="*/ 6415 h 16095"/>
                <a:gd name="T14" fmla="*/ 1633 w 5030"/>
                <a:gd name="T15" fmla="*/ 6246 h 16095"/>
                <a:gd name="T16" fmla="*/ 1400 w 5030"/>
                <a:gd name="T17" fmla="*/ 6039 h 16095"/>
                <a:gd name="T18" fmla="*/ 1158 w 5030"/>
                <a:gd name="T19" fmla="*/ 5678 h 16095"/>
                <a:gd name="T20" fmla="*/ 1020 w 5030"/>
                <a:gd name="T21" fmla="*/ 5219 h 16095"/>
                <a:gd name="T22" fmla="*/ 1014 w 5030"/>
                <a:gd name="T23" fmla="*/ 4893 h 16095"/>
                <a:gd name="T24" fmla="*/ 1117 w 5030"/>
                <a:gd name="T25" fmla="*/ 4478 h 16095"/>
                <a:gd name="T26" fmla="*/ 1329 w 5030"/>
                <a:gd name="T27" fmla="*/ 4104 h 16095"/>
                <a:gd name="T28" fmla="*/ 1607 w 5030"/>
                <a:gd name="T29" fmla="*/ 3832 h 16095"/>
                <a:gd name="T30" fmla="*/ 1879 w 5030"/>
                <a:gd name="T31" fmla="*/ 3669 h 16095"/>
                <a:gd name="T32" fmla="*/ 2225 w 5030"/>
                <a:gd name="T33" fmla="*/ 3552 h 16095"/>
                <a:gd name="T34" fmla="*/ 2613 w 5030"/>
                <a:gd name="T35" fmla="*/ 3525 h 16095"/>
                <a:gd name="T36" fmla="*/ 2988 w 5030"/>
                <a:gd name="T37" fmla="*/ 3603 h 16095"/>
                <a:gd name="T38" fmla="*/ 3301 w 5030"/>
                <a:gd name="T39" fmla="*/ 3750 h 16095"/>
                <a:gd name="T40" fmla="*/ 3571 w 5030"/>
                <a:gd name="T41" fmla="*/ 3960 h 16095"/>
                <a:gd name="T42" fmla="*/ 3825 w 5030"/>
                <a:gd name="T43" fmla="*/ 4288 h 16095"/>
                <a:gd name="T44" fmla="*/ 3996 w 5030"/>
                <a:gd name="T45" fmla="*/ 4760 h 16095"/>
                <a:gd name="T46" fmla="*/ 4021 w 5030"/>
                <a:gd name="T47" fmla="*/ 5112 h 16095"/>
                <a:gd name="T48" fmla="*/ 3015 w 5030"/>
                <a:gd name="T49" fmla="*/ 14637 h 16095"/>
                <a:gd name="T50" fmla="*/ 2903 w 5030"/>
                <a:gd name="T51" fmla="*/ 14906 h 16095"/>
                <a:gd name="T52" fmla="*/ 2665 w 5030"/>
                <a:gd name="T53" fmla="*/ 15067 h 16095"/>
                <a:gd name="T54" fmla="*/ 2365 w 5030"/>
                <a:gd name="T55" fmla="*/ 15067 h 16095"/>
                <a:gd name="T56" fmla="*/ 2127 w 5030"/>
                <a:gd name="T57" fmla="*/ 14906 h 16095"/>
                <a:gd name="T58" fmla="*/ 2015 w 5030"/>
                <a:gd name="T59" fmla="*/ 14637 h 16095"/>
                <a:gd name="T60" fmla="*/ 2579 w 5030"/>
                <a:gd name="T61" fmla="*/ 7544 h 16095"/>
                <a:gd name="T62" fmla="*/ 2018 w 5030"/>
                <a:gd name="T63" fmla="*/ 1432 h 16095"/>
                <a:gd name="T64" fmla="*/ 2143 w 5030"/>
                <a:gd name="T65" fmla="*/ 1171 h 16095"/>
                <a:gd name="T66" fmla="*/ 2389 w 5030"/>
                <a:gd name="T67" fmla="*/ 1022 h 16095"/>
                <a:gd name="T68" fmla="*/ 2688 w 5030"/>
                <a:gd name="T69" fmla="*/ 1036 h 16095"/>
                <a:gd name="T70" fmla="*/ 2918 w 5030"/>
                <a:gd name="T71" fmla="*/ 1208 h 16095"/>
                <a:gd name="T72" fmla="*/ 3017 w 5030"/>
                <a:gd name="T73" fmla="*/ 1483 h 16095"/>
                <a:gd name="T74" fmla="*/ 2386 w 5030"/>
                <a:gd name="T75" fmla="*/ 2518 h 16095"/>
                <a:gd name="T76" fmla="*/ 4007 w 5030"/>
                <a:gd name="T77" fmla="*/ 1280 h 16095"/>
                <a:gd name="T78" fmla="*/ 3631 w 5030"/>
                <a:gd name="T79" fmla="*/ 495 h 16095"/>
                <a:gd name="T80" fmla="*/ 2891 w 5030"/>
                <a:gd name="T81" fmla="*/ 47 h 16095"/>
                <a:gd name="T82" fmla="*/ 1997 w 5030"/>
                <a:gd name="T83" fmla="*/ 92 h 16095"/>
                <a:gd name="T84" fmla="*/ 1306 w 5030"/>
                <a:gd name="T85" fmla="*/ 607 h 16095"/>
                <a:gd name="T86" fmla="*/ 1008 w 5030"/>
                <a:gd name="T87" fmla="*/ 1431 h 16095"/>
                <a:gd name="T88" fmla="*/ 503 w 5030"/>
                <a:gd name="T89" fmla="*/ 3532 h 16095"/>
                <a:gd name="T90" fmla="*/ 111 w 5030"/>
                <a:gd name="T91" fmla="*/ 4294 h 16095"/>
                <a:gd name="T92" fmla="*/ 5 w 5030"/>
                <a:gd name="T93" fmla="*/ 5183 h 16095"/>
                <a:gd name="T94" fmla="*/ 213 w 5030"/>
                <a:gd name="T95" fmla="*/ 6036 h 16095"/>
                <a:gd name="T96" fmla="*/ 687 w 5030"/>
                <a:gd name="T97" fmla="*/ 6746 h 16095"/>
                <a:gd name="T98" fmla="*/ 1053 w 5030"/>
                <a:gd name="T99" fmla="*/ 14962 h 16095"/>
                <a:gd name="T100" fmla="*/ 1501 w 5030"/>
                <a:gd name="T101" fmla="*/ 15703 h 16095"/>
                <a:gd name="T102" fmla="*/ 2285 w 5030"/>
                <a:gd name="T103" fmla="*/ 16078 h 16095"/>
                <a:gd name="T104" fmla="*/ 3169 w 5030"/>
                <a:gd name="T105" fmla="*/ 15946 h 16095"/>
                <a:gd name="T106" fmla="*/ 3805 w 5030"/>
                <a:gd name="T107" fmla="*/ 15368 h 16095"/>
                <a:gd name="T108" fmla="*/ 4024 w 5030"/>
                <a:gd name="T109" fmla="*/ 7030 h 16095"/>
                <a:gd name="T110" fmla="*/ 4609 w 5030"/>
                <a:gd name="T111" fmla="*/ 6412 h 16095"/>
                <a:gd name="T112" fmla="*/ 4958 w 5030"/>
                <a:gd name="T113" fmla="*/ 5624 h 16095"/>
                <a:gd name="T114" fmla="*/ 5012 w 5030"/>
                <a:gd name="T115" fmla="*/ 4727 h 16095"/>
                <a:gd name="T116" fmla="*/ 4754 w 5030"/>
                <a:gd name="T117" fmla="*/ 3894 h 16095"/>
                <a:gd name="T118" fmla="*/ 4241 w 5030"/>
                <a:gd name="T119" fmla="*/ 3213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30" h="16095">
                  <a:moveTo>
                    <a:pt x="3955" y="5452"/>
                  </a:moveTo>
                  <a:lnTo>
                    <a:pt x="3950" y="5472"/>
                  </a:lnTo>
                  <a:lnTo>
                    <a:pt x="3944" y="5492"/>
                  </a:lnTo>
                  <a:lnTo>
                    <a:pt x="3938" y="5512"/>
                  </a:lnTo>
                  <a:lnTo>
                    <a:pt x="3931" y="5532"/>
                  </a:lnTo>
                  <a:lnTo>
                    <a:pt x="3913" y="5581"/>
                  </a:lnTo>
                  <a:lnTo>
                    <a:pt x="3893" y="5630"/>
                  </a:lnTo>
                  <a:lnTo>
                    <a:pt x="3872" y="5678"/>
                  </a:lnTo>
                  <a:lnTo>
                    <a:pt x="3849" y="5725"/>
                  </a:lnTo>
                  <a:lnTo>
                    <a:pt x="3825" y="5771"/>
                  </a:lnTo>
                  <a:lnTo>
                    <a:pt x="3798" y="5815"/>
                  </a:lnTo>
                  <a:lnTo>
                    <a:pt x="3784" y="5837"/>
                  </a:lnTo>
                  <a:lnTo>
                    <a:pt x="3770" y="5860"/>
                  </a:lnTo>
                  <a:lnTo>
                    <a:pt x="3756" y="5881"/>
                  </a:lnTo>
                  <a:lnTo>
                    <a:pt x="3741" y="5903"/>
                  </a:lnTo>
                  <a:lnTo>
                    <a:pt x="3738" y="5906"/>
                  </a:lnTo>
                  <a:lnTo>
                    <a:pt x="3735" y="5910"/>
                  </a:lnTo>
                  <a:lnTo>
                    <a:pt x="3701" y="5954"/>
                  </a:lnTo>
                  <a:lnTo>
                    <a:pt x="3666" y="5997"/>
                  </a:lnTo>
                  <a:lnTo>
                    <a:pt x="3648" y="6019"/>
                  </a:lnTo>
                  <a:lnTo>
                    <a:pt x="3629" y="6039"/>
                  </a:lnTo>
                  <a:lnTo>
                    <a:pt x="3610" y="6059"/>
                  </a:lnTo>
                  <a:lnTo>
                    <a:pt x="3591" y="6079"/>
                  </a:lnTo>
                  <a:lnTo>
                    <a:pt x="3571" y="6098"/>
                  </a:lnTo>
                  <a:lnTo>
                    <a:pt x="3552" y="6118"/>
                  </a:lnTo>
                  <a:lnTo>
                    <a:pt x="3531" y="6136"/>
                  </a:lnTo>
                  <a:lnTo>
                    <a:pt x="3511" y="6155"/>
                  </a:lnTo>
                  <a:lnTo>
                    <a:pt x="3490" y="6173"/>
                  </a:lnTo>
                  <a:lnTo>
                    <a:pt x="3468" y="6191"/>
                  </a:lnTo>
                  <a:lnTo>
                    <a:pt x="3446" y="6209"/>
                  </a:lnTo>
                  <a:lnTo>
                    <a:pt x="3424" y="6225"/>
                  </a:lnTo>
                  <a:lnTo>
                    <a:pt x="3422" y="6228"/>
                  </a:lnTo>
                  <a:lnTo>
                    <a:pt x="3420" y="6230"/>
                  </a:lnTo>
                  <a:lnTo>
                    <a:pt x="3397" y="6246"/>
                  </a:lnTo>
                  <a:lnTo>
                    <a:pt x="3374" y="6263"/>
                  </a:lnTo>
                  <a:lnTo>
                    <a:pt x="3350" y="6279"/>
                  </a:lnTo>
                  <a:lnTo>
                    <a:pt x="3326" y="6294"/>
                  </a:lnTo>
                  <a:lnTo>
                    <a:pt x="3301" y="6309"/>
                  </a:lnTo>
                  <a:lnTo>
                    <a:pt x="3277" y="6324"/>
                  </a:lnTo>
                  <a:lnTo>
                    <a:pt x="3252" y="6338"/>
                  </a:lnTo>
                  <a:lnTo>
                    <a:pt x="3228" y="6352"/>
                  </a:lnTo>
                  <a:lnTo>
                    <a:pt x="3202" y="6366"/>
                  </a:lnTo>
                  <a:lnTo>
                    <a:pt x="3177" y="6379"/>
                  </a:lnTo>
                  <a:lnTo>
                    <a:pt x="3151" y="6391"/>
                  </a:lnTo>
                  <a:lnTo>
                    <a:pt x="3124" y="6403"/>
                  </a:lnTo>
                  <a:lnTo>
                    <a:pt x="3098" y="6415"/>
                  </a:lnTo>
                  <a:lnTo>
                    <a:pt x="3072" y="6425"/>
                  </a:lnTo>
                  <a:lnTo>
                    <a:pt x="3045" y="6436"/>
                  </a:lnTo>
                  <a:lnTo>
                    <a:pt x="3018" y="6446"/>
                  </a:lnTo>
                  <a:lnTo>
                    <a:pt x="2988" y="6456"/>
                  </a:lnTo>
                  <a:lnTo>
                    <a:pt x="2958" y="6466"/>
                  </a:lnTo>
                  <a:lnTo>
                    <a:pt x="2928" y="6475"/>
                  </a:lnTo>
                  <a:lnTo>
                    <a:pt x="2897" y="6484"/>
                  </a:lnTo>
                  <a:lnTo>
                    <a:pt x="2867" y="6492"/>
                  </a:lnTo>
                  <a:lnTo>
                    <a:pt x="2836" y="6500"/>
                  </a:lnTo>
                  <a:lnTo>
                    <a:pt x="2805" y="6507"/>
                  </a:lnTo>
                  <a:lnTo>
                    <a:pt x="2773" y="6513"/>
                  </a:lnTo>
                  <a:lnTo>
                    <a:pt x="2742" y="6519"/>
                  </a:lnTo>
                  <a:lnTo>
                    <a:pt x="2710" y="6525"/>
                  </a:lnTo>
                  <a:lnTo>
                    <a:pt x="2678" y="6529"/>
                  </a:lnTo>
                  <a:lnTo>
                    <a:pt x="2646" y="6533"/>
                  </a:lnTo>
                  <a:lnTo>
                    <a:pt x="2613" y="6535"/>
                  </a:lnTo>
                  <a:lnTo>
                    <a:pt x="2581" y="6537"/>
                  </a:lnTo>
                  <a:lnTo>
                    <a:pt x="2548" y="6539"/>
                  </a:lnTo>
                  <a:lnTo>
                    <a:pt x="2515" y="6539"/>
                  </a:lnTo>
                  <a:lnTo>
                    <a:pt x="2482" y="6539"/>
                  </a:lnTo>
                  <a:lnTo>
                    <a:pt x="2448" y="6537"/>
                  </a:lnTo>
                  <a:lnTo>
                    <a:pt x="2416" y="6535"/>
                  </a:lnTo>
                  <a:lnTo>
                    <a:pt x="2383" y="6533"/>
                  </a:lnTo>
                  <a:lnTo>
                    <a:pt x="2351" y="6529"/>
                  </a:lnTo>
                  <a:lnTo>
                    <a:pt x="2320" y="6525"/>
                  </a:lnTo>
                  <a:lnTo>
                    <a:pt x="2288" y="6519"/>
                  </a:lnTo>
                  <a:lnTo>
                    <a:pt x="2256" y="6513"/>
                  </a:lnTo>
                  <a:lnTo>
                    <a:pt x="2225" y="6507"/>
                  </a:lnTo>
                  <a:lnTo>
                    <a:pt x="2194" y="6500"/>
                  </a:lnTo>
                  <a:lnTo>
                    <a:pt x="2163" y="6492"/>
                  </a:lnTo>
                  <a:lnTo>
                    <a:pt x="2133" y="6484"/>
                  </a:lnTo>
                  <a:lnTo>
                    <a:pt x="2101" y="6475"/>
                  </a:lnTo>
                  <a:lnTo>
                    <a:pt x="2071" y="6466"/>
                  </a:lnTo>
                  <a:lnTo>
                    <a:pt x="2041" y="6456"/>
                  </a:lnTo>
                  <a:lnTo>
                    <a:pt x="2012" y="6446"/>
                  </a:lnTo>
                  <a:lnTo>
                    <a:pt x="1985" y="6436"/>
                  </a:lnTo>
                  <a:lnTo>
                    <a:pt x="1958" y="6425"/>
                  </a:lnTo>
                  <a:lnTo>
                    <a:pt x="1931" y="6415"/>
                  </a:lnTo>
                  <a:lnTo>
                    <a:pt x="1905" y="6403"/>
                  </a:lnTo>
                  <a:lnTo>
                    <a:pt x="1879" y="6391"/>
                  </a:lnTo>
                  <a:lnTo>
                    <a:pt x="1853" y="6379"/>
                  </a:lnTo>
                  <a:lnTo>
                    <a:pt x="1827" y="6366"/>
                  </a:lnTo>
                  <a:lnTo>
                    <a:pt x="1802" y="6352"/>
                  </a:lnTo>
                  <a:lnTo>
                    <a:pt x="1776" y="6338"/>
                  </a:lnTo>
                  <a:lnTo>
                    <a:pt x="1752" y="6324"/>
                  </a:lnTo>
                  <a:lnTo>
                    <a:pt x="1727" y="6309"/>
                  </a:lnTo>
                  <a:lnTo>
                    <a:pt x="1703" y="6294"/>
                  </a:lnTo>
                  <a:lnTo>
                    <a:pt x="1680" y="6279"/>
                  </a:lnTo>
                  <a:lnTo>
                    <a:pt x="1656" y="6263"/>
                  </a:lnTo>
                  <a:lnTo>
                    <a:pt x="1633" y="6246"/>
                  </a:lnTo>
                  <a:lnTo>
                    <a:pt x="1611" y="6230"/>
                  </a:lnTo>
                  <a:lnTo>
                    <a:pt x="1607" y="6228"/>
                  </a:lnTo>
                  <a:lnTo>
                    <a:pt x="1605" y="6225"/>
                  </a:lnTo>
                  <a:lnTo>
                    <a:pt x="1583" y="6209"/>
                  </a:lnTo>
                  <a:lnTo>
                    <a:pt x="1561" y="6191"/>
                  </a:lnTo>
                  <a:lnTo>
                    <a:pt x="1540" y="6173"/>
                  </a:lnTo>
                  <a:lnTo>
                    <a:pt x="1519" y="6155"/>
                  </a:lnTo>
                  <a:lnTo>
                    <a:pt x="1499" y="6136"/>
                  </a:lnTo>
                  <a:lnTo>
                    <a:pt x="1478" y="6118"/>
                  </a:lnTo>
                  <a:lnTo>
                    <a:pt x="1458" y="6098"/>
                  </a:lnTo>
                  <a:lnTo>
                    <a:pt x="1438" y="6079"/>
                  </a:lnTo>
                  <a:lnTo>
                    <a:pt x="1400" y="6039"/>
                  </a:lnTo>
                  <a:lnTo>
                    <a:pt x="1364" y="5997"/>
                  </a:lnTo>
                  <a:lnTo>
                    <a:pt x="1329" y="5954"/>
                  </a:lnTo>
                  <a:lnTo>
                    <a:pt x="1295" y="5910"/>
                  </a:lnTo>
                  <a:lnTo>
                    <a:pt x="1292" y="5906"/>
                  </a:lnTo>
                  <a:lnTo>
                    <a:pt x="1289" y="5903"/>
                  </a:lnTo>
                  <a:lnTo>
                    <a:pt x="1274" y="5881"/>
                  </a:lnTo>
                  <a:lnTo>
                    <a:pt x="1258" y="5860"/>
                  </a:lnTo>
                  <a:lnTo>
                    <a:pt x="1244" y="5837"/>
                  </a:lnTo>
                  <a:lnTo>
                    <a:pt x="1231" y="5815"/>
                  </a:lnTo>
                  <a:lnTo>
                    <a:pt x="1205" y="5771"/>
                  </a:lnTo>
                  <a:lnTo>
                    <a:pt x="1181" y="5725"/>
                  </a:lnTo>
                  <a:lnTo>
                    <a:pt x="1158" y="5678"/>
                  </a:lnTo>
                  <a:lnTo>
                    <a:pt x="1137" y="5630"/>
                  </a:lnTo>
                  <a:lnTo>
                    <a:pt x="1117" y="5581"/>
                  </a:lnTo>
                  <a:lnTo>
                    <a:pt x="1098" y="5532"/>
                  </a:lnTo>
                  <a:lnTo>
                    <a:pt x="1091" y="5512"/>
                  </a:lnTo>
                  <a:lnTo>
                    <a:pt x="1085" y="5492"/>
                  </a:lnTo>
                  <a:lnTo>
                    <a:pt x="1079" y="5472"/>
                  </a:lnTo>
                  <a:lnTo>
                    <a:pt x="1074" y="5452"/>
                  </a:lnTo>
                  <a:lnTo>
                    <a:pt x="1059" y="5402"/>
                  </a:lnTo>
                  <a:lnTo>
                    <a:pt x="1046" y="5350"/>
                  </a:lnTo>
                  <a:lnTo>
                    <a:pt x="1034" y="5298"/>
                  </a:lnTo>
                  <a:lnTo>
                    <a:pt x="1025" y="5246"/>
                  </a:lnTo>
                  <a:lnTo>
                    <a:pt x="1020" y="5219"/>
                  </a:lnTo>
                  <a:lnTo>
                    <a:pt x="1017" y="5193"/>
                  </a:lnTo>
                  <a:lnTo>
                    <a:pt x="1014" y="5165"/>
                  </a:lnTo>
                  <a:lnTo>
                    <a:pt x="1011" y="5139"/>
                  </a:lnTo>
                  <a:lnTo>
                    <a:pt x="1009" y="5112"/>
                  </a:lnTo>
                  <a:lnTo>
                    <a:pt x="1007" y="5085"/>
                  </a:lnTo>
                  <a:lnTo>
                    <a:pt x="1006" y="5057"/>
                  </a:lnTo>
                  <a:lnTo>
                    <a:pt x="1006" y="5030"/>
                  </a:lnTo>
                  <a:lnTo>
                    <a:pt x="1006" y="5002"/>
                  </a:lnTo>
                  <a:lnTo>
                    <a:pt x="1007" y="4974"/>
                  </a:lnTo>
                  <a:lnTo>
                    <a:pt x="1009" y="4947"/>
                  </a:lnTo>
                  <a:lnTo>
                    <a:pt x="1011" y="4920"/>
                  </a:lnTo>
                  <a:lnTo>
                    <a:pt x="1014" y="4893"/>
                  </a:lnTo>
                  <a:lnTo>
                    <a:pt x="1017" y="4866"/>
                  </a:lnTo>
                  <a:lnTo>
                    <a:pt x="1020" y="4840"/>
                  </a:lnTo>
                  <a:lnTo>
                    <a:pt x="1025" y="4812"/>
                  </a:lnTo>
                  <a:lnTo>
                    <a:pt x="1034" y="4760"/>
                  </a:lnTo>
                  <a:lnTo>
                    <a:pt x="1046" y="4709"/>
                  </a:lnTo>
                  <a:lnTo>
                    <a:pt x="1059" y="4657"/>
                  </a:lnTo>
                  <a:lnTo>
                    <a:pt x="1074" y="4606"/>
                  </a:lnTo>
                  <a:lnTo>
                    <a:pt x="1079" y="4586"/>
                  </a:lnTo>
                  <a:lnTo>
                    <a:pt x="1085" y="4567"/>
                  </a:lnTo>
                  <a:lnTo>
                    <a:pt x="1091" y="4547"/>
                  </a:lnTo>
                  <a:lnTo>
                    <a:pt x="1098" y="4528"/>
                  </a:lnTo>
                  <a:lnTo>
                    <a:pt x="1117" y="4478"/>
                  </a:lnTo>
                  <a:lnTo>
                    <a:pt x="1137" y="4429"/>
                  </a:lnTo>
                  <a:lnTo>
                    <a:pt x="1158" y="4382"/>
                  </a:lnTo>
                  <a:lnTo>
                    <a:pt x="1181" y="4335"/>
                  </a:lnTo>
                  <a:lnTo>
                    <a:pt x="1205" y="4288"/>
                  </a:lnTo>
                  <a:lnTo>
                    <a:pt x="1231" y="4243"/>
                  </a:lnTo>
                  <a:lnTo>
                    <a:pt x="1244" y="4221"/>
                  </a:lnTo>
                  <a:lnTo>
                    <a:pt x="1258" y="4200"/>
                  </a:lnTo>
                  <a:lnTo>
                    <a:pt x="1274" y="4178"/>
                  </a:lnTo>
                  <a:lnTo>
                    <a:pt x="1289" y="4157"/>
                  </a:lnTo>
                  <a:lnTo>
                    <a:pt x="1292" y="4153"/>
                  </a:lnTo>
                  <a:lnTo>
                    <a:pt x="1295" y="4148"/>
                  </a:lnTo>
                  <a:lnTo>
                    <a:pt x="1329" y="4104"/>
                  </a:lnTo>
                  <a:lnTo>
                    <a:pt x="1364" y="4062"/>
                  </a:lnTo>
                  <a:lnTo>
                    <a:pt x="1400" y="4020"/>
                  </a:lnTo>
                  <a:lnTo>
                    <a:pt x="1438" y="3979"/>
                  </a:lnTo>
                  <a:lnTo>
                    <a:pt x="1458" y="3960"/>
                  </a:lnTo>
                  <a:lnTo>
                    <a:pt x="1478" y="3941"/>
                  </a:lnTo>
                  <a:lnTo>
                    <a:pt x="1499" y="3922"/>
                  </a:lnTo>
                  <a:lnTo>
                    <a:pt x="1519" y="3903"/>
                  </a:lnTo>
                  <a:lnTo>
                    <a:pt x="1540" y="3885"/>
                  </a:lnTo>
                  <a:lnTo>
                    <a:pt x="1561" y="3868"/>
                  </a:lnTo>
                  <a:lnTo>
                    <a:pt x="1583" y="3850"/>
                  </a:lnTo>
                  <a:lnTo>
                    <a:pt x="1605" y="3833"/>
                  </a:lnTo>
                  <a:lnTo>
                    <a:pt x="1607" y="3832"/>
                  </a:lnTo>
                  <a:lnTo>
                    <a:pt x="1611" y="3830"/>
                  </a:lnTo>
                  <a:lnTo>
                    <a:pt x="1633" y="3813"/>
                  </a:lnTo>
                  <a:lnTo>
                    <a:pt x="1656" y="3796"/>
                  </a:lnTo>
                  <a:lnTo>
                    <a:pt x="1680" y="3780"/>
                  </a:lnTo>
                  <a:lnTo>
                    <a:pt x="1703" y="3765"/>
                  </a:lnTo>
                  <a:lnTo>
                    <a:pt x="1727" y="3750"/>
                  </a:lnTo>
                  <a:lnTo>
                    <a:pt x="1752" y="3735"/>
                  </a:lnTo>
                  <a:lnTo>
                    <a:pt x="1776" y="3721"/>
                  </a:lnTo>
                  <a:lnTo>
                    <a:pt x="1802" y="3707"/>
                  </a:lnTo>
                  <a:lnTo>
                    <a:pt x="1827" y="3694"/>
                  </a:lnTo>
                  <a:lnTo>
                    <a:pt x="1853" y="3681"/>
                  </a:lnTo>
                  <a:lnTo>
                    <a:pt x="1879" y="3669"/>
                  </a:lnTo>
                  <a:lnTo>
                    <a:pt x="1905" y="3657"/>
                  </a:lnTo>
                  <a:lnTo>
                    <a:pt x="1931" y="3645"/>
                  </a:lnTo>
                  <a:lnTo>
                    <a:pt x="1958" y="3633"/>
                  </a:lnTo>
                  <a:lnTo>
                    <a:pt x="1985" y="3623"/>
                  </a:lnTo>
                  <a:lnTo>
                    <a:pt x="2012" y="3613"/>
                  </a:lnTo>
                  <a:lnTo>
                    <a:pt x="2041" y="3603"/>
                  </a:lnTo>
                  <a:lnTo>
                    <a:pt x="2071" y="3593"/>
                  </a:lnTo>
                  <a:lnTo>
                    <a:pt x="2101" y="3584"/>
                  </a:lnTo>
                  <a:lnTo>
                    <a:pt x="2133" y="3575"/>
                  </a:lnTo>
                  <a:lnTo>
                    <a:pt x="2163" y="3567"/>
                  </a:lnTo>
                  <a:lnTo>
                    <a:pt x="2194" y="3559"/>
                  </a:lnTo>
                  <a:lnTo>
                    <a:pt x="2225" y="3552"/>
                  </a:lnTo>
                  <a:lnTo>
                    <a:pt x="2256" y="3546"/>
                  </a:lnTo>
                  <a:lnTo>
                    <a:pt x="2288" y="3540"/>
                  </a:lnTo>
                  <a:lnTo>
                    <a:pt x="2320" y="3535"/>
                  </a:lnTo>
                  <a:lnTo>
                    <a:pt x="2351" y="3531"/>
                  </a:lnTo>
                  <a:lnTo>
                    <a:pt x="2383" y="3528"/>
                  </a:lnTo>
                  <a:lnTo>
                    <a:pt x="2416" y="3525"/>
                  </a:lnTo>
                  <a:lnTo>
                    <a:pt x="2448" y="3523"/>
                  </a:lnTo>
                  <a:lnTo>
                    <a:pt x="2482" y="3521"/>
                  </a:lnTo>
                  <a:lnTo>
                    <a:pt x="2515" y="3521"/>
                  </a:lnTo>
                  <a:lnTo>
                    <a:pt x="2548" y="3521"/>
                  </a:lnTo>
                  <a:lnTo>
                    <a:pt x="2581" y="3523"/>
                  </a:lnTo>
                  <a:lnTo>
                    <a:pt x="2613" y="3525"/>
                  </a:lnTo>
                  <a:lnTo>
                    <a:pt x="2646" y="3528"/>
                  </a:lnTo>
                  <a:lnTo>
                    <a:pt x="2678" y="3531"/>
                  </a:lnTo>
                  <a:lnTo>
                    <a:pt x="2710" y="3535"/>
                  </a:lnTo>
                  <a:lnTo>
                    <a:pt x="2742" y="3540"/>
                  </a:lnTo>
                  <a:lnTo>
                    <a:pt x="2773" y="3546"/>
                  </a:lnTo>
                  <a:lnTo>
                    <a:pt x="2805" y="3552"/>
                  </a:lnTo>
                  <a:lnTo>
                    <a:pt x="2836" y="3559"/>
                  </a:lnTo>
                  <a:lnTo>
                    <a:pt x="2867" y="3567"/>
                  </a:lnTo>
                  <a:lnTo>
                    <a:pt x="2897" y="3575"/>
                  </a:lnTo>
                  <a:lnTo>
                    <a:pt x="2928" y="3584"/>
                  </a:lnTo>
                  <a:lnTo>
                    <a:pt x="2958" y="3593"/>
                  </a:lnTo>
                  <a:lnTo>
                    <a:pt x="2988" y="3603"/>
                  </a:lnTo>
                  <a:lnTo>
                    <a:pt x="3018" y="3613"/>
                  </a:lnTo>
                  <a:lnTo>
                    <a:pt x="3045" y="3623"/>
                  </a:lnTo>
                  <a:lnTo>
                    <a:pt x="3072" y="3633"/>
                  </a:lnTo>
                  <a:lnTo>
                    <a:pt x="3098" y="3645"/>
                  </a:lnTo>
                  <a:lnTo>
                    <a:pt x="3124" y="3657"/>
                  </a:lnTo>
                  <a:lnTo>
                    <a:pt x="3151" y="3669"/>
                  </a:lnTo>
                  <a:lnTo>
                    <a:pt x="3177" y="3681"/>
                  </a:lnTo>
                  <a:lnTo>
                    <a:pt x="3202" y="3694"/>
                  </a:lnTo>
                  <a:lnTo>
                    <a:pt x="3228" y="3707"/>
                  </a:lnTo>
                  <a:lnTo>
                    <a:pt x="3252" y="3721"/>
                  </a:lnTo>
                  <a:lnTo>
                    <a:pt x="3277" y="3735"/>
                  </a:lnTo>
                  <a:lnTo>
                    <a:pt x="3301" y="3750"/>
                  </a:lnTo>
                  <a:lnTo>
                    <a:pt x="3326" y="3765"/>
                  </a:lnTo>
                  <a:lnTo>
                    <a:pt x="3374" y="3796"/>
                  </a:lnTo>
                  <a:lnTo>
                    <a:pt x="3420" y="3830"/>
                  </a:lnTo>
                  <a:lnTo>
                    <a:pt x="3422" y="3832"/>
                  </a:lnTo>
                  <a:lnTo>
                    <a:pt x="3424" y="3833"/>
                  </a:lnTo>
                  <a:lnTo>
                    <a:pt x="3446" y="3850"/>
                  </a:lnTo>
                  <a:lnTo>
                    <a:pt x="3468" y="3868"/>
                  </a:lnTo>
                  <a:lnTo>
                    <a:pt x="3490" y="3885"/>
                  </a:lnTo>
                  <a:lnTo>
                    <a:pt x="3511" y="3903"/>
                  </a:lnTo>
                  <a:lnTo>
                    <a:pt x="3531" y="3922"/>
                  </a:lnTo>
                  <a:lnTo>
                    <a:pt x="3552" y="3941"/>
                  </a:lnTo>
                  <a:lnTo>
                    <a:pt x="3571" y="3960"/>
                  </a:lnTo>
                  <a:lnTo>
                    <a:pt x="3591" y="3979"/>
                  </a:lnTo>
                  <a:lnTo>
                    <a:pt x="3629" y="4020"/>
                  </a:lnTo>
                  <a:lnTo>
                    <a:pt x="3666" y="4062"/>
                  </a:lnTo>
                  <a:lnTo>
                    <a:pt x="3701" y="4104"/>
                  </a:lnTo>
                  <a:lnTo>
                    <a:pt x="3735" y="4148"/>
                  </a:lnTo>
                  <a:lnTo>
                    <a:pt x="3738" y="4153"/>
                  </a:lnTo>
                  <a:lnTo>
                    <a:pt x="3741" y="4157"/>
                  </a:lnTo>
                  <a:lnTo>
                    <a:pt x="3756" y="4178"/>
                  </a:lnTo>
                  <a:lnTo>
                    <a:pt x="3770" y="4200"/>
                  </a:lnTo>
                  <a:lnTo>
                    <a:pt x="3784" y="4221"/>
                  </a:lnTo>
                  <a:lnTo>
                    <a:pt x="3798" y="4243"/>
                  </a:lnTo>
                  <a:lnTo>
                    <a:pt x="3825" y="4288"/>
                  </a:lnTo>
                  <a:lnTo>
                    <a:pt x="3849" y="4335"/>
                  </a:lnTo>
                  <a:lnTo>
                    <a:pt x="3872" y="4382"/>
                  </a:lnTo>
                  <a:lnTo>
                    <a:pt x="3893" y="4429"/>
                  </a:lnTo>
                  <a:lnTo>
                    <a:pt x="3913" y="4478"/>
                  </a:lnTo>
                  <a:lnTo>
                    <a:pt x="3931" y="4528"/>
                  </a:lnTo>
                  <a:lnTo>
                    <a:pt x="3938" y="4547"/>
                  </a:lnTo>
                  <a:lnTo>
                    <a:pt x="3944" y="4567"/>
                  </a:lnTo>
                  <a:lnTo>
                    <a:pt x="3950" y="4586"/>
                  </a:lnTo>
                  <a:lnTo>
                    <a:pt x="3955" y="4606"/>
                  </a:lnTo>
                  <a:lnTo>
                    <a:pt x="3970" y="4657"/>
                  </a:lnTo>
                  <a:lnTo>
                    <a:pt x="3984" y="4709"/>
                  </a:lnTo>
                  <a:lnTo>
                    <a:pt x="3996" y="4760"/>
                  </a:lnTo>
                  <a:lnTo>
                    <a:pt x="4005" y="4812"/>
                  </a:lnTo>
                  <a:lnTo>
                    <a:pt x="4010" y="4840"/>
                  </a:lnTo>
                  <a:lnTo>
                    <a:pt x="4013" y="4866"/>
                  </a:lnTo>
                  <a:lnTo>
                    <a:pt x="4016" y="4893"/>
                  </a:lnTo>
                  <a:lnTo>
                    <a:pt x="4019" y="4920"/>
                  </a:lnTo>
                  <a:lnTo>
                    <a:pt x="4021" y="4947"/>
                  </a:lnTo>
                  <a:lnTo>
                    <a:pt x="4023" y="4974"/>
                  </a:lnTo>
                  <a:lnTo>
                    <a:pt x="4024" y="5002"/>
                  </a:lnTo>
                  <a:lnTo>
                    <a:pt x="4024" y="5030"/>
                  </a:lnTo>
                  <a:lnTo>
                    <a:pt x="4024" y="5057"/>
                  </a:lnTo>
                  <a:lnTo>
                    <a:pt x="4023" y="5085"/>
                  </a:lnTo>
                  <a:lnTo>
                    <a:pt x="4021" y="5112"/>
                  </a:lnTo>
                  <a:lnTo>
                    <a:pt x="4019" y="5139"/>
                  </a:lnTo>
                  <a:lnTo>
                    <a:pt x="4016" y="5165"/>
                  </a:lnTo>
                  <a:lnTo>
                    <a:pt x="4013" y="5193"/>
                  </a:lnTo>
                  <a:lnTo>
                    <a:pt x="4010" y="5219"/>
                  </a:lnTo>
                  <a:lnTo>
                    <a:pt x="4005" y="5246"/>
                  </a:lnTo>
                  <a:lnTo>
                    <a:pt x="3996" y="5298"/>
                  </a:lnTo>
                  <a:lnTo>
                    <a:pt x="3984" y="5350"/>
                  </a:lnTo>
                  <a:lnTo>
                    <a:pt x="3970" y="5402"/>
                  </a:lnTo>
                  <a:lnTo>
                    <a:pt x="3955" y="5452"/>
                  </a:lnTo>
                  <a:close/>
                  <a:moveTo>
                    <a:pt x="3018" y="14586"/>
                  </a:moveTo>
                  <a:lnTo>
                    <a:pt x="3017" y="14612"/>
                  </a:lnTo>
                  <a:lnTo>
                    <a:pt x="3015" y="14637"/>
                  </a:lnTo>
                  <a:lnTo>
                    <a:pt x="3012" y="14663"/>
                  </a:lnTo>
                  <a:lnTo>
                    <a:pt x="3008" y="14688"/>
                  </a:lnTo>
                  <a:lnTo>
                    <a:pt x="3002" y="14712"/>
                  </a:lnTo>
                  <a:lnTo>
                    <a:pt x="2996" y="14736"/>
                  </a:lnTo>
                  <a:lnTo>
                    <a:pt x="2988" y="14759"/>
                  </a:lnTo>
                  <a:lnTo>
                    <a:pt x="2979" y="14782"/>
                  </a:lnTo>
                  <a:lnTo>
                    <a:pt x="2969" y="14804"/>
                  </a:lnTo>
                  <a:lnTo>
                    <a:pt x="2957" y="14827"/>
                  </a:lnTo>
                  <a:lnTo>
                    <a:pt x="2945" y="14847"/>
                  </a:lnTo>
                  <a:lnTo>
                    <a:pt x="2932" y="14868"/>
                  </a:lnTo>
                  <a:lnTo>
                    <a:pt x="2918" y="14887"/>
                  </a:lnTo>
                  <a:lnTo>
                    <a:pt x="2903" y="14906"/>
                  </a:lnTo>
                  <a:lnTo>
                    <a:pt x="2887" y="14924"/>
                  </a:lnTo>
                  <a:lnTo>
                    <a:pt x="2871" y="14942"/>
                  </a:lnTo>
                  <a:lnTo>
                    <a:pt x="2853" y="14958"/>
                  </a:lnTo>
                  <a:lnTo>
                    <a:pt x="2835" y="14974"/>
                  </a:lnTo>
                  <a:lnTo>
                    <a:pt x="2816" y="14989"/>
                  </a:lnTo>
                  <a:lnTo>
                    <a:pt x="2796" y="15004"/>
                  </a:lnTo>
                  <a:lnTo>
                    <a:pt x="2775" y="15017"/>
                  </a:lnTo>
                  <a:lnTo>
                    <a:pt x="2754" y="15029"/>
                  </a:lnTo>
                  <a:lnTo>
                    <a:pt x="2733" y="15040"/>
                  </a:lnTo>
                  <a:lnTo>
                    <a:pt x="2711" y="15050"/>
                  </a:lnTo>
                  <a:lnTo>
                    <a:pt x="2688" y="15059"/>
                  </a:lnTo>
                  <a:lnTo>
                    <a:pt x="2665" y="15067"/>
                  </a:lnTo>
                  <a:lnTo>
                    <a:pt x="2641" y="15073"/>
                  </a:lnTo>
                  <a:lnTo>
                    <a:pt x="2616" y="15079"/>
                  </a:lnTo>
                  <a:lnTo>
                    <a:pt x="2591" y="15083"/>
                  </a:lnTo>
                  <a:lnTo>
                    <a:pt x="2566" y="15086"/>
                  </a:lnTo>
                  <a:lnTo>
                    <a:pt x="2541" y="15088"/>
                  </a:lnTo>
                  <a:lnTo>
                    <a:pt x="2515" y="15089"/>
                  </a:lnTo>
                  <a:lnTo>
                    <a:pt x="2489" y="15088"/>
                  </a:lnTo>
                  <a:lnTo>
                    <a:pt x="2464" y="15086"/>
                  </a:lnTo>
                  <a:lnTo>
                    <a:pt x="2438" y="15083"/>
                  </a:lnTo>
                  <a:lnTo>
                    <a:pt x="2413" y="15079"/>
                  </a:lnTo>
                  <a:lnTo>
                    <a:pt x="2389" y="15073"/>
                  </a:lnTo>
                  <a:lnTo>
                    <a:pt x="2365" y="15067"/>
                  </a:lnTo>
                  <a:lnTo>
                    <a:pt x="2342" y="15059"/>
                  </a:lnTo>
                  <a:lnTo>
                    <a:pt x="2319" y="15050"/>
                  </a:lnTo>
                  <a:lnTo>
                    <a:pt x="2297" y="15040"/>
                  </a:lnTo>
                  <a:lnTo>
                    <a:pt x="2274" y="15029"/>
                  </a:lnTo>
                  <a:lnTo>
                    <a:pt x="2254" y="15017"/>
                  </a:lnTo>
                  <a:lnTo>
                    <a:pt x="2233" y="15004"/>
                  </a:lnTo>
                  <a:lnTo>
                    <a:pt x="2214" y="14989"/>
                  </a:lnTo>
                  <a:lnTo>
                    <a:pt x="2195" y="14974"/>
                  </a:lnTo>
                  <a:lnTo>
                    <a:pt x="2177" y="14958"/>
                  </a:lnTo>
                  <a:lnTo>
                    <a:pt x="2159" y="14942"/>
                  </a:lnTo>
                  <a:lnTo>
                    <a:pt x="2143" y="14924"/>
                  </a:lnTo>
                  <a:lnTo>
                    <a:pt x="2127" y="14906"/>
                  </a:lnTo>
                  <a:lnTo>
                    <a:pt x="2111" y="14887"/>
                  </a:lnTo>
                  <a:lnTo>
                    <a:pt x="2097" y="14868"/>
                  </a:lnTo>
                  <a:lnTo>
                    <a:pt x="2084" y="14847"/>
                  </a:lnTo>
                  <a:lnTo>
                    <a:pt x="2072" y="14827"/>
                  </a:lnTo>
                  <a:lnTo>
                    <a:pt x="2061" y="14804"/>
                  </a:lnTo>
                  <a:lnTo>
                    <a:pt x="2051" y="14782"/>
                  </a:lnTo>
                  <a:lnTo>
                    <a:pt x="2042" y="14759"/>
                  </a:lnTo>
                  <a:lnTo>
                    <a:pt x="2034" y="14736"/>
                  </a:lnTo>
                  <a:lnTo>
                    <a:pt x="2028" y="14712"/>
                  </a:lnTo>
                  <a:lnTo>
                    <a:pt x="2022" y="14688"/>
                  </a:lnTo>
                  <a:lnTo>
                    <a:pt x="2018" y="14663"/>
                  </a:lnTo>
                  <a:lnTo>
                    <a:pt x="2015" y="14637"/>
                  </a:lnTo>
                  <a:lnTo>
                    <a:pt x="2013" y="14612"/>
                  </a:lnTo>
                  <a:lnTo>
                    <a:pt x="2012" y="14586"/>
                  </a:lnTo>
                  <a:lnTo>
                    <a:pt x="2012" y="7493"/>
                  </a:lnTo>
                  <a:lnTo>
                    <a:pt x="2073" y="7505"/>
                  </a:lnTo>
                  <a:lnTo>
                    <a:pt x="2135" y="7515"/>
                  </a:lnTo>
                  <a:lnTo>
                    <a:pt x="2197" y="7524"/>
                  </a:lnTo>
                  <a:lnTo>
                    <a:pt x="2259" y="7531"/>
                  </a:lnTo>
                  <a:lnTo>
                    <a:pt x="2323" y="7537"/>
                  </a:lnTo>
                  <a:lnTo>
                    <a:pt x="2386" y="7542"/>
                  </a:lnTo>
                  <a:lnTo>
                    <a:pt x="2450" y="7544"/>
                  </a:lnTo>
                  <a:lnTo>
                    <a:pt x="2515" y="7545"/>
                  </a:lnTo>
                  <a:lnTo>
                    <a:pt x="2579" y="7544"/>
                  </a:lnTo>
                  <a:lnTo>
                    <a:pt x="2644" y="7542"/>
                  </a:lnTo>
                  <a:lnTo>
                    <a:pt x="2707" y="7537"/>
                  </a:lnTo>
                  <a:lnTo>
                    <a:pt x="2770" y="7531"/>
                  </a:lnTo>
                  <a:lnTo>
                    <a:pt x="2833" y="7524"/>
                  </a:lnTo>
                  <a:lnTo>
                    <a:pt x="2895" y="7515"/>
                  </a:lnTo>
                  <a:lnTo>
                    <a:pt x="2956" y="7505"/>
                  </a:lnTo>
                  <a:lnTo>
                    <a:pt x="3018" y="7493"/>
                  </a:lnTo>
                  <a:lnTo>
                    <a:pt x="3018" y="14586"/>
                  </a:lnTo>
                  <a:close/>
                  <a:moveTo>
                    <a:pt x="2012" y="1509"/>
                  </a:moveTo>
                  <a:lnTo>
                    <a:pt x="2013" y="1483"/>
                  </a:lnTo>
                  <a:lnTo>
                    <a:pt x="2015" y="1458"/>
                  </a:lnTo>
                  <a:lnTo>
                    <a:pt x="2018" y="1432"/>
                  </a:lnTo>
                  <a:lnTo>
                    <a:pt x="2022" y="1407"/>
                  </a:lnTo>
                  <a:lnTo>
                    <a:pt x="2028" y="1383"/>
                  </a:lnTo>
                  <a:lnTo>
                    <a:pt x="2034" y="1359"/>
                  </a:lnTo>
                  <a:lnTo>
                    <a:pt x="2042" y="1336"/>
                  </a:lnTo>
                  <a:lnTo>
                    <a:pt x="2051" y="1313"/>
                  </a:lnTo>
                  <a:lnTo>
                    <a:pt x="2061" y="1291"/>
                  </a:lnTo>
                  <a:lnTo>
                    <a:pt x="2072" y="1269"/>
                  </a:lnTo>
                  <a:lnTo>
                    <a:pt x="2084" y="1248"/>
                  </a:lnTo>
                  <a:lnTo>
                    <a:pt x="2097" y="1227"/>
                  </a:lnTo>
                  <a:lnTo>
                    <a:pt x="2111" y="1208"/>
                  </a:lnTo>
                  <a:lnTo>
                    <a:pt x="2127" y="1189"/>
                  </a:lnTo>
                  <a:lnTo>
                    <a:pt x="2143" y="1171"/>
                  </a:lnTo>
                  <a:lnTo>
                    <a:pt x="2159" y="1153"/>
                  </a:lnTo>
                  <a:lnTo>
                    <a:pt x="2177" y="1137"/>
                  </a:lnTo>
                  <a:lnTo>
                    <a:pt x="2195" y="1121"/>
                  </a:lnTo>
                  <a:lnTo>
                    <a:pt x="2214" y="1106"/>
                  </a:lnTo>
                  <a:lnTo>
                    <a:pt x="2233" y="1091"/>
                  </a:lnTo>
                  <a:lnTo>
                    <a:pt x="2254" y="1078"/>
                  </a:lnTo>
                  <a:lnTo>
                    <a:pt x="2274" y="1066"/>
                  </a:lnTo>
                  <a:lnTo>
                    <a:pt x="2297" y="1055"/>
                  </a:lnTo>
                  <a:lnTo>
                    <a:pt x="2319" y="1045"/>
                  </a:lnTo>
                  <a:lnTo>
                    <a:pt x="2342" y="1036"/>
                  </a:lnTo>
                  <a:lnTo>
                    <a:pt x="2365" y="1029"/>
                  </a:lnTo>
                  <a:lnTo>
                    <a:pt x="2389" y="1022"/>
                  </a:lnTo>
                  <a:lnTo>
                    <a:pt x="2413" y="1016"/>
                  </a:lnTo>
                  <a:lnTo>
                    <a:pt x="2438" y="1012"/>
                  </a:lnTo>
                  <a:lnTo>
                    <a:pt x="2464" y="1009"/>
                  </a:lnTo>
                  <a:lnTo>
                    <a:pt x="2489" y="1007"/>
                  </a:lnTo>
                  <a:lnTo>
                    <a:pt x="2515" y="1006"/>
                  </a:lnTo>
                  <a:lnTo>
                    <a:pt x="2541" y="1007"/>
                  </a:lnTo>
                  <a:lnTo>
                    <a:pt x="2566" y="1009"/>
                  </a:lnTo>
                  <a:lnTo>
                    <a:pt x="2591" y="1012"/>
                  </a:lnTo>
                  <a:lnTo>
                    <a:pt x="2616" y="1016"/>
                  </a:lnTo>
                  <a:lnTo>
                    <a:pt x="2641" y="1022"/>
                  </a:lnTo>
                  <a:lnTo>
                    <a:pt x="2665" y="1029"/>
                  </a:lnTo>
                  <a:lnTo>
                    <a:pt x="2688" y="1036"/>
                  </a:lnTo>
                  <a:lnTo>
                    <a:pt x="2711" y="1045"/>
                  </a:lnTo>
                  <a:lnTo>
                    <a:pt x="2733" y="1055"/>
                  </a:lnTo>
                  <a:lnTo>
                    <a:pt x="2754" y="1066"/>
                  </a:lnTo>
                  <a:lnTo>
                    <a:pt x="2775" y="1078"/>
                  </a:lnTo>
                  <a:lnTo>
                    <a:pt x="2796" y="1091"/>
                  </a:lnTo>
                  <a:lnTo>
                    <a:pt x="2816" y="1106"/>
                  </a:lnTo>
                  <a:lnTo>
                    <a:pt x="2835" y="1121"/>
                  </a:lnTo>
                  <a:lnTo>
                    <a:pt x="2853" y="1137"/>
                  </a:lnTo>
                  <a:lnTo>
                    <a:pt x="2871" y="1153"/>
                  </a:lnTo>
                  <a:lnTo>
                    <a:pt x="2887" y="1171"/>
                  </a:lnTo>
                  <a:lnTo>
                    <a:pt x="2903" y="1189"/>
                  </a:lnTo>
                  <a:lnTo>
                    <a:pt x="2918" y="1208"/>
                  </a:lnTo>
                  <a:lnTo>
                    <a:pt x="2932" y="1227"/>
                  </a:lnTo>
                  <a:lnTo>
                    <a:pt x="2945" y="1248"/>
                  </a:lnTo>
                  <a:lnTo>
                    <a:pt x="2957" y="1269"/>
                  </a:lnTo>
                  <a:lnTo>
                    <a:pt x="2969" y="1291"/>
                  </a:lnTo>
                  <a:lnTo>
                    <a:pt x="2979" y="1313"/>
                  </a:lnTo>
                  <a:lnTo>
                    <a:pt x="2988" y="1336"/>
                  </a:lnTo>
                  <a:lnTo>
                    <a:pt x="2996" y="1359"/>
                  </a:lnTo>
                  <a:lnTo>
                    <a:pt x="3002" y="1383"/>
                  </a:lnTo>
                  <a:lnTo>
                    <a:pt x="3008" y="1407"/>
                  </a:lnTo>
                  <a:lnTo>
                    <a:pt x="3012" y="1432"/>
                  </a:lnTo>
                  <a:lnTo>
                    <a:pt x="3015" y="1458"/>
                  </a:lnTo>
                  <a:lnTo>
                    <a:pt x="3017" y="1483"/>
                  </a:lnTo>
                  <a:lnTo>
                    <a:pt x="3018" y="1509"/>
                  </a:lnTo>
                  <a:lnTo>
                    <a:pt x="3018" y="2565"/>
                  </a:lnTo>
                  <a:lnTo>
                    <a:pt x="2956" y="2554"/>
                  </a:lnTo>
                  <a:lnTo>
                    <a:pt x="2895" y="2543"/>
                  </a:lnTo>
                  <a:lnTo>
                    <a:pt x="2833" y="2535"/>
                  </a:lnTo>
                  <a:lnTo>
                    <a:pt x="2770" y="2528"/>
                  </a:lnTo>
                  <a:lnTo>
                    <a:pt x="2707" y="2522"/>
                  </a:lnTo>
                  <a:lnTo>
                    <a:pt x="2644" y="2518"/>
                  </a:lnTo>
                  <a:lnTo>
                    <a:pt x="2579" y="2516"/>
                  </a:lnTo>
                  <a:lnTo>
                    <a:pt x="2515" y="2515"/>
                  </a:lnTo>
                  <a:lnTo>
                    <a:pt x="2450" y="2516"/>
                  </a:lnTo>
                  <a:lnTo>
                    <a:pt x="2386" y="2518"/>
                  </a:lnTo>
                  <a:lnTo>
                    <a:pt x="2323" y="2522"/>
                  </a:lnTo>
                  <a:lnTo>
                    <a:pt x="2259" y="2528"/>
                  </a:lnTo>
                  <a:lnTo>
                    <a:pt x="2197" y="2535"/>
                  </a:lnTo>
                  <a:lnTo>
                    <a:pt x="2135" y="2543"/>
                  </a:lnTo>
                  <a:lnTo>
                    <a:pt x="2073" y="2554"/>
                  </a:lnTo>
                  <a:lnTo>
                    <a:pt x="2012" y="2565"/>
                  </a:lnTo>
                  <a:lnTo>
                    <a:pt x="2012" y="1509"/>
                  </a:lnTo>
                  <a:close/>
                  <a:moveTo>
                    <a:pt x="4024" y="3029"/>
                  </a:moveTo>
                  <a:lnTo>
                    <a:pt x="4024" y="1509"/>
                  </a:lnTo>
                  <a:lnTo>
                    <a:pt x="4022" y="1431"/>
                  </a:lnTo>
                  <a:lnTo>
                    <a:pt x="4016" y="1355"/>
                  </a:lnTo>
                  <a:lnTo>
                    <a:pt x="4007" y="1280"/>
                  </a:lnTo>
                  <a:lnTo>
                    <a:pt x="3994" y="1205"/>
                  </a:lnTo>
                  <a:lnTo>
                    <a:pt x="3976" y="1133"/>
                  </a:lnTo>
                  <a:lnTo>
                    <a:pt x="3955" y="1060"/>
                  </a:lnTo>
                  <a:lnTo>
                    <a:pt x="3932" y="991"/>
                  </a:lnTo>
                  <a:lnTo>
                    <a:pt x="3905" y="922"/>
                  </a:lnTo>
                  <a:lnTo>
                    <a:pt x="3875" y="855"/>
                  </a:lnTo>
                  <a:lnTo>
                    <a:pt x="3842" y="791"/>
                  </a:lnTo>
                  <a:lnTo>
                    <a:pt x="3805" y="727"/>
                  </a:lnTo>
                  <a:lnTo>
                    <a:pt x="3765" y="666"/>
                  </a:lnTo>
                  <a:lnTo>
                    <a:pt x="3724" y="607"/>
                  </a:lnTo>
                  <a:lnTo>
                    <a:pt x="3679" y="549"/>
                  </a:lnTo>
                  <a:lnTo>
                    <a:pt x="3631" y="495"/>
                  </a:lnTo>
                  <a:lnTo>
                    <a:pt x="3581" y="443"/>
                  </a:lnTo>
                  <a:lnTo>
                    <a:pt x="3529" y="392"/>
                  </a:lnTo>
                  <a:lnTo>
                    <a:pt x="3475" y="345"/>
                  </a:lnTo>
                  <a:lnTo>
                    <a:pt x="3417" y="300"/>
                  </a:lnTo>
                  <a:lnTo>
                    <a:pt x="3358" y="259"/>
                  </a:lnTo>
                  <a:lnTo>
                    <a:pt x="3296" y="219"/>
                  </a:lnTo>
                  <a:lnTo>
                    <a:pt x="3233" y="182"/>
                  </a:lnTo>
                  <a:lnTo>
                    <a:pt x="3169" y="149"/>
                  </a:lnTo>
                  <a:lnTo>
                    <a:pt x="3101" y="119"/>
                  </a:lnTo>
                  <a:lnTo>
                    <a:pt x="3033" y="92"/>
                  </a:lnTo>
                  <a:lnTo>
                    <a:pt x="2962" y="68"/>
                  </a:lnTo>
                  <a:lnTo>
                    <a:pt x="2891" y="47"/>
                  </a:lnTo>
                  <a:lnTo>
                    <a:pt x="2819" y="31"/>
                  </a:lnTo>
                  <a:lnTo>
                    <a:pt x="2744" y="17"/>
                  </a:lnTo>
                  <a:lnTo>
                    <a:pt x="2669" y="8"/>
                  </a:lnTo>
                  <a:lnTo>
                    <a:pt x="2592" y="2"/>
                  </a:lnTo>
                  <a:lnTo>
                    <a:pt x="2515" y="0"/>
                  </a:lnTo>
                  <a:lnTo>
                    <a:pt x="2437" y="2"/>
                  </a:lnTo>
                  <a:lnTo>
                    <a:pt x="2361" y="8"/>
                  </a:lnTo>
                  <a:lnTo>
                    <a:pt x="2285" y="17"/>
                  </a:lnTo>
                  <a:lnTo>
                    <a:pt x="2211" y="31"/>
                  </a:lnTo>
                  <a:lnTo>
                    <a:pt x="2138" y="47"/>
                  </a:lnTo>
                  <a:lnTo>
                    <a:pt x="2066" y="68"/>
                  </a:lnTo>
                  <a:lnTo>
                    <a:pt x="1997" y="92"/>
                  </a:lnTo>
                  <a:lnTo>
                    <a:pt x="1928" y="119"/>
                  </a:lnTo>
                  <a:lnTo>
                    <a:pt x="1861" y="149"/>
                  </a:lnTo>
                  <a:lnTo>
                    <a:pt x="1796" y="182"/>
                  </a:lnTo>
                  <a:lnTo>
                    <a:pt x="1733" y="219"/>
                  </a:lnTo>
                  <a:lnTo>
                    <a:pt x="1672" y="259"/>
                  </a:lnTo>
                  <a:lnTo>
                    <a:pt x="1613" y="300"/>
                  </a:lnTo>
                  <a:lnTo>
                    <a:pt x="1555" y="345"/>
                  </a:lnTo>
                  <a:lnTo>
                    <a:pt x="1501" y="392"/>
                  </a:lnTo>
                  <a:lnTo>
                    <a:pt x="1449" y="443"/>
                  </a:lnTo>
                  <a:lnTo>
                    <a:pt x="1398" y="495"/>
                  </a:lnTo>
                  <a:lnTo>
                    <a:pt x="1351" y="549"/>
                  </a:lnTo>
                  <a:lnTo>
                    <a:pt x="1306" y="607"/>
                  </a:lnTo>
                  <a:lnTo>
                    <a:pt x="1263" y="666"/>
                  </a:lnTo>
                  <a:lnTo>
                    <a:pt x="1224" y="727"/>
                  </a:lnTo>
                  <a:lnTo>
                    <a:pt x="1188" y="791"/>
                  </a:lnTo>
                  <a:lnTo>
                    <a:pt x="1155" y="855"/>
                  </a:lnTo>
                  <a:lnTo>
                    <a:pt x="1125" y="922"/>
                  </a:lnTo>
                  <a:lnTo>
                    <a:pt x="1097" y="991"/>
                  </a:lnTo>
                  <a:lnTo>
                    <a:pt x="1074" y="1060"/>
                  </a:lnTo>
                  <a:lnTo>
                    <a:pt x="1053" y="1133"/>
                  </a:lnTo>
                  <a:lnTo>
                    <a:pt x="1037" y="1205"/>
                  </a:lnTo>
                  <a:lnTo>
                    <a:pt x="1023" y="1280"/>
                  </a:lnTo>
                  <a:lnTo>
                    <a:pt x="1014" y="1355"/>
                  </a:lnTo>
                  <a:lnTo>
                    <a:pt x="1008" y="1431"/>
                  </a:lnTo>
                  <a:lnTo>
                    <a:pt x="1006" y="1509"/>
                  </a:lnTo>
                  <a:lnTo>
                    <a:pt x="1006" y="3029"/>
                  </a:lnTo>
                  <a:lnTo>
                    <a:pt x="950" y="3073"/>
                  </a:lnTo>
                  <a:lnTo>
                    <a:pt x="894" y="3118"/>
                  </a:lnTo>
                  <a:lnTo>
                    <a:pt x="841" y="3165"/>
                  </a:lnTo>
                  <a:lnTo>
                    <a:pt x="789" y="3213"/>
                  </a:lnTo>
                  <a:lnTo>
                    <a:pt x="737" y="3263"/>
                  </a:lnTo>
                  <a:lnTo>
                    <a:pt x="687" y="3314"/>
                  </a:lnTo>
                  <a:lnTo>
                    <a:pt x="639" y="3366"/>
                  </a:lnTo>
                  <a:lnTo>
                    <a:pt x="592" y="3420"/>
                  </a:lnTo>
                  <a:lnTo>
                    <a:pt x="547" y="3476"/>
                  </a:lnTo>
                  <a:lnTo>
                    <a:pt x="503" y="3532"/>
                  </a:lnTo>
                  <a:lnTo>
                    <a:pt x="461" y="3589"/>
                  </a:lnTo>
                  <a:lnTo>
                    <a:pt x="420" y="3648"/>
                  </a:lnTo>
                  <a:lnTo>
                    <a:pt x="381" y="3708"/>
                  </a:lnTo>
                  <a:lnTo>
                    <a:pt x="344" y="3768"/>
                  </a:lnTo>
                  <a:lnTo>
                    <a:pt x="309" y="3831"/>
                  </a:lnTo>
                  <a:lnTo>
                    <a:pt x="276" y="3894"/>
                  </a:lnTo>
                  <a:lnTo>
                    <a:pt x="243" y="3958"/>
                  </a:lnTo>
                  <a:lnTo>
                    <a:pt x="213" y="4024"/>
                  </a:lnTo>
                  <a:lnTo>
                    <a:pt x="184" y="4090"/>
                  </a:lnTo>
                  <a:lnTo>
                    <a:pt x="158" y="4158"/>
                  </a:lnTo>
                  <a:lnTo>
                    <a:pt x="134" y="4226"/>
                  </a:lnTo>
                  <a:lnTo>
                    <a:pt x="111" y="4294"/>
                  </a:lnTo>
                  <a:lnTo>
                    <a:pt x="91" y="4365"/>
                  </a:lnTo>
                  <a:lnTo>
                    <a:pt x="71" y="4435"/>
                  </a:lnTo>
                  <a:lnTo>
                    <a:pt x="55" y="4508"/>
                  </a:lnTo>
                  <a:lnTo>
                    <a:pt x="41" y="4580"/>
                  </a:lnTo>
                  <a:lnTo>
                    <a:pt x="28" y="4653"/>
                  </a:lnTo>
                  <a:lnTo>
                    <a:pt x="18" y="4727"/>
                  </a:lnTo>
                  <a:lnTo>
                    <a:pt x="10" y="4801"/>
                  </a:lnTo>
                  <a:lnTo>
                    <a:pt x="5" y="4877"/>
                  </a:lnTo>
                  <a:lnTo>
                    <a:pt x="1" y="4953"/>
                  </a:lnTo>
                  <a:lnTo>
                    <a:pt x="0" y="5030"/>
                  </a:lnTo>
                  <a:lnTo>
                    <a:pt x="1" y="5106"/>
                  </a:lnTo>
                  <a:lnTo>
                    <a:pt x="5" y="5183"/>
                  </a:lnTo>
                  <a:lnTo>
                    <a:pt x="10" y="5258"/>
                  </a:lnTo>
                  <a:lnTo>
                    <a:pt x="18" y="5332"/>
                  </a:lnTo>
                  <a:lnTo>
                    <a:pt x="28" y="5407"/>
                  </a:lnTo>
                  <a:lnTo>
                    <a:pt x="41" y="5479"/>
                  </a:lnTo>
                  <a:lnTo>
                    <a:pt x="55" y="5552"/>
                  </a:lnTo>
                  <a:lnTo>
                    <a:pt x="71" y="5624"/>
                  </a:lnTo>
                  <a:lnTo>
                    <a:pt x="91" y="5695"/>
                  </a:lnTo>
                  <a:lnTo>
                    <a:pt x="111" y="5765"/>
                  </a:lnTo>
                  <a:lnTo>
                    <a:pt x="134" y="5834"/>
                  </a:lnTo>
                  <a:lnTo>
                    <a:pt x="158" y="5902"/>
                  </a:lnTo>
                  <a:lnTo>
                    <a:pt x="184" y="5969"/>
                  </a:lnTo>
                  <a:lnTo>
                    <a:pt x="213" y="6036"/>
                  </a:lnTo>
                  <a:lnTo>
                    <a:pt x="243" y="6101"/>
                  </a:lnTo>
                  <a:lnTo>
                    <a:pt x="276" y="6165"/>
                  </a:lnTo>
                  <a:lnTo>
                    <a:pt x="309" y="6229"/>
                  </a:lnTo>
                  <a:lnTo>
                    <a:pt x="344" y="6291"/>
                  </a:lnTo>
                  <a:lnTo>
                    <a:pt x="381" y="6351"/>
                  </a:lnTo>
                  <a:lnTo>
                    <a:pt x="420" y="6412"/>
                  </a:lnTo>
                  <a:lnTo>
                    <a:pt x="461" y="6470"/>
                  </a:lnTo>
                  <a:lnTo>
                    <a:pt x="503" y="6529"/>
                  </a:lnTo>
                  <a:lnTo>
                    <a:pt x="547" y="6584"/>
                  </a:lnTo>
                  <a:lnTo>
                    <a:pt x="592" y="6639"/>
                  </a:lnTo>
                  <a:lnTo>
                    <a:pt x="639" y="6694"/>
                  </a:lnTo>
                  <a:lnTo>
                    <a:pt x="687" y="6746"/>
                  </a:lnTo>
                  <a:lnTo>
                    <a:pt x="737" y="6796"/>
                  </a:lnTo>
                  <a:lnTo>
                    <a:pt x="789" y="6846"/>
                  </a:lnTo>
                  <a:lnTo>
                    <a:pt x="841" y="6895"/>
                  </a:lnTo>
                  <a:lnTo>
                    <a:pt x="894" y="6941"/>
                  </a:lnTo>
                  <a:lnTo>
                    <a:pt x="950" y="6986"/>
                  </a:lnTo>
                  <a:lnTo>
                    <a:pt x="1006" y="7030"/>
                  </a:lnTo>
                  <a:lnTo>
                    <a:pt x="1006" y="14586"/>
                  </a:lnTo>
                  <a:lnTo>
                    <a:pt x="1008" y="14664"/>
                  </a:lnTo>
                  <a:lnTo>
                    <a:pt x="1014" y="14740"/>
                  </a:lnTo>
                  <a:lnTo>
                    <a:pt x="1023" y="14815"/>
                  </a:lnTo>
                  <a:lnTo>
                    <a:pt x="1037" y="14890"/>
                  </a:lnTo>
                  <a:lnTo>
                    <a:pt x="1053" y="14962"/>
                  </a:lnTo>
                  <a:lnTo>
                    <a:pt x="1074" y="15035"/>
                  </a:lnTo>
                  <a:lnTo>
                    <a:pt x="1097" y="15104"/>
                  </a:lnTo>
                  <a:lnTo>
                    <a:pt x="1125" y="15173"/>
                  </a:lnTo>
                  <a:lnTo>
                    <a:pt x="1155" y="15240"/>
                  </a:lnTo>
                  <a:lnTo>
                    <a:pt x="1188" y="15304"/>
                  </a:lnTo>
                  <a:lnTo>
                    <a:pt x="1224" y="15368"/>
                  </a:lnTo>
                  <a:lnTo>
                    <a:pt x="1263" y="15429"/>
                  </a:lnTo>
                  <a:lnTo>
                    <a:pt x="1306" y="15488"/>
                  </a:lnTo>
                  <a:lnTo>
                    <a:pt x="1351" y="15546"/>
                  </a:lnTo>
                  <a:lnTo>
                    <a:pt x="1398" y="15600"/>
                  </a:lnTo>
                  <a:lnTo>
                    <a:pt x="1449" y="15652"/>
                  </a:lnTo>
                  <a:lnTo>
                    <a:pt x="1501" y="15703"/>
                  </a:lnTo>
                  <a:lnTo>
                    <a:pt x="1555" y="15750"/>
                  </a:lnTo>
                  <a:lnTo>
                    <a:pt x="1613" y="15795"/>
                  </a:lnTo>
                  <a:lnTo>
                    <a:pt x="1672" y="15836"/>
                  </a:lnTo>
                  <a:lnTo>
                    <a:pt x="1733" y="15877"/>
                  </a:lnTo>
                  <a:lnTo>
                    <a:pt x="1796" y="15913"/>
                  </a:lnTo>
                  <a:lnTo>
                    <a:pt x="1861" y="15946"/>
                  </a:lnTo>
                  <a:lnTo>
                    <a:pt x="1928" y="15976"/>
                  </a:lnTo>
                  <a:lnTo>
                    <a:pt x="1997" y="16003"/>
                  </a:lnTo>
                  <a:lnTo>
                    <a:pt x="2066" y="16027"/>
                  </a:lnTo>
                  <a:lnTo>
                    <a:pt x="2138" y="16048"/>
                  </a:lnTo>
                  <a:lnTo>
                    <a:pt x="2211" y="16064"/>
                  </a:lnTo>
                  <a:lnTo>
                    <a:pt x="2285" y="16078"/>
                  </a:lnTo>
                  <a:lnTo>
                    <a:pt x="2361" y="16087"/>
                  </a:lnTo>
                  <a:lnTo>
                    <a:pt x="2437" y="16093"/>
                  </a:lnTo>
                  <a:lnTo>
                    <a:pt x="2515" y="16095"/>
                  </a:lnTo>
                  <a:lnTo>
                    <a:pt x="2592" y="16093"/>
                  </a:lnTo>
                  <a:lnTo>
                    <a:pt x="2669" y="16087"/>
                  </a:lnTo>
                  <a:lnTo>
                    <a:pt x="2744" y="16078"/>
                  </a:lnTo>
                  <a:lnTo>
                    <a:pt x="2819" y="16064"/>
                  </a:lnTo>
                  <a:lnTo>
                    <a:pt x="2891" y="16048"/>
                  </a:lnTo>
                  <a:lnTo>
                    <a:pt x="2962" y="16027"/>
                  </a:lnTo>
                  <a:lnTo>
                    <a:pt x="3033" y="16003"/>
                  </a:lnTo>
                  <a:lnTo>
                    <a:pt x="3101" y="15976"/>
                  </a:lnTo>
                  <a:lnTo>
                    <a:pt x="3169" y="15946"/>
                  </a:lnTo>
                  <a:lnTo>
                    <a:pt x="3233" y="15913"/>
                  </a:lnTo>
                  <a:lnTo>
                    <a:pt x="3296" y="15877"/>
                  </a:lnTo>
                  <a:lnTo>
                    <a:pt x="3358" y="15836"/>
                  </a:lnTo>
                  <a:lnTo>
                    <a:pt x="3417" y="15795"/>
                  </a:lnTo>
                  <a:lnTo>
                    <a:pt x="3475" y="15750"/>
                  </a:lnTo>
                  <a:lnTo>
                    <a:pt x="3529" y="15703"/>
                  </a:lnTo>
                  <a:lnTo>
                    <a:pt x="3581" y="15652"/>
                  </a:lnTo>
                  <a:lnTo>
                    <a:pt x="3631" y="15600"/>
                  </a:lnTo>
                  <a:lnTo>
                    <a:pt x="3679" y="15546"/>
                  </a:lnTo>
                  <a:lnTo>
                    <a:pt x="3724" y="15488"/>
                  </a:lnTo>
                  <a:lnTo>
                    <a:pt x="3765" y="15429"/>
                  </a:lnTo>
                  <a:lnTo>
                    <a:pt x="3805" y="15368"/>
                  </a:lnTo>
                  <a:lnTo>
                    <a:pt x="3842" y="15304"/>
                  </a:lnTo>
                  <a:lnTo>
                    <a:pt x="3875" y="15240"/>
                  </a:lnTo>
                  <a:lnTo>
                    <a:pt x="3905" y="15173"/>
                  </a:lnTo>
                  <a:lnTo>
                    <a:pt x="3932" y="15104"/>
                  </a:lnTo>
                  <a:lnTo>
                    <a:pt x="3955" y="15035"/>
                  </a:lnTo>
                  <a:lnTo>
                    <a:pt x="3976" y="14962"/>
                  </a:lnTo>
                  <a:lnTo>
                    <a:pt x="3994" y="14890"/>
                  </a:lnTo>
                  <a:lnTo>
                    <a:pt x="4007" y="14815"/>
                  </a:lnTo>
                  <a:lnTo>
                    <a:pt x="4016" y="14740"/>
                  </a:lnTo>
                  <a:lnTo>
                    <a:pt x="4022" y="14664"/>
                  </a:lnTo>
                  <a:lnTo>
                    <a:pt x="4024" y="14586"/>
                  </a:lnTo>
                  <a:lnTo>
                    <a:pt x="4024" y="7030"/>
                  </a:lnTo>
                  <a:lnTo>
                    <a:pt x="4080" y="6986"/>
                  </a:lnTo>
                  <a:lnTo>
                    <a:pt x="4135" y="6941"/>
                  </a:lnTo>
                  <a:lnTo>
                    <a:pt x="4189" y="6895"/>
                  </a:lnTo>
                  <a:lnTo>
                    <a:pt x="4241" y="6846"/>
                  </a:lnTo>
                  <a:lnTo>
                    <a:pt x="4292" y="6796"/>
                  </a:lnTo>
                  <a:lnTo>
                    <a:pt x="4343" y="6746"/>
                  </a:lnTo>
                  <a:lnTo>
                    <a:pt x="4391" y="6694"/>
                  </a:lnTo>
                  <a:lnTo>
                    <a:pt x="4437" y="6639"/>
                  </a:lnTo>
                  <a:lnTo>
                    <a:pt x="4482" y="6584"/>
                  </a:lnTo>
                  <a:lnTo>
                    <a:pt x="4527" y="6529"/>
                  </a:lnTo>
                  <a:lnTo>
                    <a:pt x="4569" y="6470"/>
                  </a:lnTo>
                  <a:lnTo>
                    <a:pt x="4609" y="6412"/>
                  </a:lnTo>
                  <a:lnTo>
                    <a:pt x="4648" y="6351"/>
                  </a:lnTo>
                  <a:lnTo>
                    <a:pt x="4686" y="6291"/>
                  </a:lnTo>
                  <a:lnTo>
                    <a:pt x="4721" y="6229"/>
                  </a:lnTo>
                  <a:lnTo>
                    <a:pt x="4754" y="6165"/>
                  </a:lnTo>
                  <a:lnTo>
                    <a:pt x="4786" y="6101"/>
                  </a:lnTo>
                  <a:lnTo>
                    <a:pt x="4816" y="6036"/>
                  </a:lnTo>
                  <a:lnTo>
                    <a:pt x="4846" y="5969"/>
                  </a:lnTo>
                  <a:lnTo>
                    <a:pt x="4872" y="5902"/>
                  </a:lnTo>
                  <a:lnTo>
                    <a:pt x="4896" y="5834"/>
                  </a:lnTo>
                  <a:lnTo>
                    <a:pt x="4919" y="5765"/>
                  </a:lnTo>
                  <a:lnTo>
                    <a:pt x="4939" y="5695"/>
                  </a:lnTo>
                  <a:lnTo>
                    <a:pt x="4958" y="5624"/>
                  </a:lnTo>
                  <a:lnTo>
                    <a:pt x="4974" y="5552"/>
                  </a:lnTo>
                  <a:lnTo>
                    <a:pt x="4988" y="5479"/>
                  </a:lnTo>
                  <a:lnTo>
                    <a:pt x="5002" y="5407"/>
                  </a:lnTo>
                  <a:lnTo>
                    <a:pt x="5012" y="5332"/>
                  </a:lnTo>
                  <a:lnTo>
                    <a:pt x="5020" y="5258"/>
                  </a:lnTo>
                  <a:lnTo>
                    <a:pt x="5025" y="5183"/>
                  </a:lnTo>
                  <a:lnTo>
                    <a:pt x="5029" y="5106"/>
                  </a:lnTo>
                  <a:lnTo>
                    <a:pt x="5030" y="5030"/>
                  </a:lnTo>
                  <a:lnTo>
                    <a:pt x="5029" y="4953"/>
                  </a:lnTo>
                  <a:lnTo>
                    <a:pt x="5025" y="4877"/>
                  </a:lnTo>
                  <a:lnTo>
                    <a:pt x="5020" y="4801"/>
                  </a:lnTo>
                  <a:lnTo>
                    <a:pt x="5012" y="4727"/>
                  </a:lnTo>
                  <a:lnTo>
                    <a:pt x="5002" y="4653"/>
                  </a:lnTo>
                  <a:lnTo>
                    <a:pt x="4988" y="4580"/>
                  </a:lnTo>
                  <a:lnTo>
                    <a:pt x="4974" y="4508"/>
                  </a:lnTo>
                  <a:lnTo>
                    <a:pt x="4958" y="4435"/>
                  </a:lnTo>
                  <a:lnTo>
                    <a:pt x="4939" y="4365"/>
                  </a:lnTo>
                  <a:lnTo>
                    <a:pt x="4919" y="4294"/>
                  </a:lnTo>
                  <a:lnTo>
                    <a:pt x="4896" y="4226"/>
                  </a:lnTo>
                  <a:lnTo>
                    <a:pt x="4872" y="4158"/>
                  </a:lnTo>
                  <a:lnTo>
                    <a:pt x="4846" y="4090"/>
                  </a:lnTo>
                  <a:lnTo>
                    <a:pt x="4816" y="4024"/>
                  </a:lnTo>
                  <a:lnTo>
                    <a:pt x="4786" y="3958"/>
                  </a:lnTo>
                  <a:lnTo>
                    <a:pt x="4754" y="3894"/>
                  </a:lnTo>
                  <a:lnTo>
                    <a:pt x="4721" y="3831"/>
                  </a:lnTo>
                  <a:lnTo>
                    <a:pt x="4686" y="3768"/>
                  </a:lnTo>
                  <a:lnTo>
                    <a:pt x="4648" y="3708"/>
                  </a:lnTo>
                  <a:lnTo>
                    <a:pt x="4609" y="3648"/>
                  </a:lnTo>
                  <a:lnTo>
                    <a:pt x="4569" y="3589"/>
                  </a:lnTo>
                  <a:lnTo>
                    <a:pt x="4527" y="3532"/>
                  </a:lnTo>
                  <a:lnTo>
                    <a:pt x="4482" y="3476"/>
                  </a:lnTo>
                  <a:lnTo>
                    <a:pt x="4437" y="3420"/>
                  </a:lnTo>
                  <a:lnTo>
                    <a:pt x="4391" y="3366"/>
                  </a:lnTo>
                  <a:lnTo>
                    <a:pt x="4343" y="3314"/>
                  </a:lnTo>
                  <a:lnTo>
                    <a:pt x="4292" y="3263"/>
                  </a:lnTo>
                  <a:lnTo>
                    <a:pt x="4241" y="3213"/>
                  </a:lnTo>
                  <a:lnTo>
                    <a:pt x="4189" y="3165"/>
                  </a:lnTo>
                  <a:lnTo>
                    <a:pt x="4135" y="3118"/>
                  </a:lnTo>
                  <a:lnTo>
                    <a:pt x="4080" y="3073"/>
                  </a:lnTo>
                  <a:lnTo>
                    <a:pt x="4024" y="30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66" name="ísļiḍe">
              <a:extLst>
                <a:ext uri="{FF2B5EF4-FFF2-40B4-BE49-F238E27FC236}">
                  <a16:creationId xmlns:a16="http://schemas.microsoft.com/office/drawing/2014/main" id="{FFF1A60C-B71C-4188-B343-0530857EDC0A}"/>
                </a:ext>
              </a:extLst>
            </p:cNvPr>
            <p:cNvSpPr/>
            <p:nvPr/>
          </p:nvSpPr>
          <p:spPr bwMode="auto">
            <a:xfrm>
              <a:off x="5756519" y="2411481"/>
              <a:ext cx="127257" cy="407036"/>
            </a:xfrm>
            <a:custGeom>
              <a:avLst/>
              <a:gdLst>
                <a:gd name="T0" fmla="*/ 3785 w 5030"/>
                <a:gd name="T1" fmla="*/ 5837 h 16095"/>
                <a:gd name="T2" fmla="*/ 3571 w 5030"/>
                <a:gd name="T3" fmla="*/ 6098 h 16095"/>
                <a:gd name="T4" fmla="*/ 3350 w 5030"/>
                <a:gd name="T5" fmla="*/ 6279 h 16095"/>
                <a:gd name="T6" fmla="*/ 3045 w 5030"/>
                <a:gd name="T7" fmla="*/ 6436 h 16095"/>
                <a:gd name="T8" fmla="*/ 2678 w 5030"/>
                <a:gd name="T9" fmla="*/ 6529 h 16095"/>
                <a:gd name="T10" fmla="*/ 2288 w 5030"/>
                <a:gd name="T11" fmla="*/ 6519 h 16095"/>
                <a:gd name="T12" fmla="*/ 1932 w 5030"/>
                <a:gd name="T13" fmla="*/ 6415 h 16095"/>
                <a:gd name="T14" fmla="*/ 1633 w 5030"/>
                <a:gd name="T15" fmla="*/ 6246 h 16095"/>
                <a:gd name="T16" fmla="*/ 1420 w 5030"/>
                <a:gd name="T17" fmla="*/ 6059 h 16095"/>
                <a:gd name="T18" fmla="*/ 1245 w 5030"/>
                <a:gd name="T19" fmla="*/ 5837 h 16095"/>
                <a:gd name="T20" fmla="*/ 1060 w 5030"/>
                <a:gd name="T21" fmla="*/ 5402 h 16095"/>
                <a:gd name="T22" fmla="*/ 1006 w 5030"/>
                <a:gd name="T23" fmla="*/ 5002 h 16095"/>
                <a:gd name="T24" fmla="*/ 1080 w 5030"/>
                <a:gd name="T25" fmla="*/ 4586 h 16095"/>
                <a:gd name="T26" fmla="*/ 1274 w 5030"/>
                <a:gd name="T27" fmla="*/ 4178 h 16095"/>
                <a:gd name="T28" fmla="*/ 1540 w 5030"/>
                <a:gd name="T29" fmla="*/ 3885 h 16095"/>
                <a:gd name="T30" fmla="*/ 1777 w 5030"/>
                <a:gd name="T31" fmla="*/ 3721 h 16095"/>
                <a:gd name="T32" fmla="*/ 2102 w 5030"/>
                <a:gd name="T33" fmla="*/ 3584 h 16095"/>
                <a:gd name="T34" fmla="*/ 2482 w 5030"/>
                <a:gd name="T35" fmla="*/ 3521 h 16095"/>
                <a:gd name="T36" fmla="*/ 2867 w 5030"/>
                <a:gd name="T37" fmla="*/ 3567 h 16095"/>
                <a:gd name="T38" fmla="*/ 3202 w 5030"/>
                <a:gd name="T39" fmla="*/ 3694 h 16095"/>
                <a:gd name="T40" fmla="*/ 3490 w 5030"/>
                <a:gd name="T41" fmla="*/ 3885 h 16095"/>
                <a:gd name="T42" fmla="*/ 3756 w 5030"/>
                <a:gd name="T43" fmla="*/ 4178 h 16095"/>
                <a:gd name="T44" fmla="*/ 3951 w 5030"/>
                <a:gd name="T45" fmla="*/ 4586 h 16095"/>
                <a:gd name="T46" fmla="*/ 4024 w 5030"/>
                <a:gd name="T47" fmla="*/ 5002 h 16095"/>
                <a:gd name="T48" fmla="*/ 3971 w 5030"/>
                <a:gd name="T49" fmla="*/ 5402 h 16095"/>
                <a:gd name="T50" fmla="*/ 2958 w 5030"/>
                <a:gd name="T51" fmla="*/ 14827 h 16095"/>
                <a:gd name="T52" fmla="*/ 2755 w 5030"/>
                <a:gd name="T53" fmla="*/ 15029 h 16095"/>
                <a:gd name="T54" fmla="*/ 2464 w 5030"/>
                <a:gd name="T55" fmla="*/ 15086 h 16095"/>
                <a:gd name="T56" fmla="*/ 2195 w 5030"/>
                <a:gd name="T57" fmla="*/ 14974 h 16095"/>
                <a:gd name="T58" fmla="*/ 2035 w 5030"/>
                <a:gd name="T59" fmla="*/ 14736 h 16095"/>
                <a:gd name="T60" fmla="*/ 2323 w 5030"/>
                <a:gd name="T61" fmla="*/ 7537 h 16095"/>
                <a:gd name="T62" fmla="*/ 3018 w 5030"/>
                <a:gd name="T63" fmla="*/ 14586 h 16095"/>
                <a:gd name="T64" fmla="*/ 2085 w 5030"/>
                <a:gd name="T65" fmla="*/ 1248 h 16095"/>
                <a:gd name="T66" fmla="*/ 2297 w 5030"/>
                <a:gd name="T67" fmla="*/ 1055 h 16095"/>
                <a:gd name="T68" fmla="*/ 2592 w 5030"/>
                <a:gd name="T69" fmla="*/ 1012 h 16095"/>
                <a:gd name="T70" fmla="*/ 2853 w 5030"/>
                <a:gd name="T71" fmla="*/ 1137 h 16095"/>
                <a:gd name="T72" fmla="*/ 3002 w 5030"/>
                <a:gd name="T73" fmla="*/ 1383 h 16095"/>
                <a:gd name="T74" fmla="*/ 2644 w 5030"/>
                <a:gd name="T75" fmla="*/ 2518 h 16095"/>
                <a:gd name="T76" fmla="*/ 4024 w 5030"/>
                <a:gd name="T77" fmla="*/ 3029 h 16095"/>
                <a:gd name="T78" fmla="*/ 3806 w 5030"/>
                <a:gd name="T79" fmla="*/ 727 h 16095"/>
                <a:gd name="T80" fmla="*/ 3169 w 5030"/>
                <a:gd name="T81" fmla="*/ 149 h 16095"/>
                <a:gd name="T82" fmla="*/ 2286 w 5030"/>
                <a:gd name="T83" fmla="*/ 17 h 16095"/>
                <a:gd name="T84" fmla="*/ 1501 w 5030"/>
                <a:gd name="T85" fmla="*/ 392 h 16095"/>
                <a:gd name="T86" fmla="*/ 1054 w 5030"/>
                <a:gd name="T87" fmla="*/ 1133 h 16095"/>
                <a:gd name="T88" fmla="*/ 687 w 5030"/>
                <a:gd name="T89" fmla="*/ 3314 h 16095"/>
                <a:gd name="T90" fmla="*/ 214 w 5030"/>
                <a:gd name="T91" fmla="*/ 4024 h 16095"/>
                <a:gd name="T92" fmla="*/ 5 w 5030"/>
                <a:gd name="T93" fmla="*/ 4877 h 16095"/>
                <a:gd name="T94" fmla="*/ 111 w 5030"/>
                <a:gd name="T95" fmla="*/ 5765 h 16095"/>
                <a:gd name="T96" fmla="*/ 503 w 5030"/>
                <a:gd name="T97" fmla="*/ 6529 h 16095"/>
                <a:gd name="T98" fmla="*/ 1008 w 5030"/>
                <a:gd name="T99" fmla="*/ 14664 h 16095"/>
                <a:gd name="T100" fmla="*/ 1306 w 5030"/>
                <a:gd name="T101" fmla="*/ 15488 h 16095"/>
                <a:gd name="T102" fmla="*/ 1997 w 5030"/>
                <a:gd name="T103" fmla="*/ 16003 h 16095"/>
                <a:gd name="T104" fmla="*/ 2891 w 5030"/>
                <a:gd name="T105" fmla="*/ 16048 h 16095"/>
                <a:gd name="T106" fmla="*/ 3632 w 5030"/>
                <a:gd name="T107" fmla="*/ 15600 h 16095"/>
                <a:gd name="T108" fmla="*/ 4007 w 5030"/>
                <a:gd name="T109" fmla="*/ 14815 h 16095"/>
                <a:gd name="T110" fmla="*/ 4438 w 5030"/>
                <a:gd name="T111" fmla="*/ 6639 h 16095"/>
                <a:gd name="T112" fmla="*/ 4872 w 5030"/>
                <a:gd name="T113" fmla="*/ 5902 h 16095"/>
                <a:gd name="T114" fmla="*/ 5030 w 5030"/>
                <a:gd name="T115" fmla="*/ 5030 h 16095"/>
                <a:gd name="T116" fmla="*/ 4872 w 5030"/>
                <a:gd name="T117" fmla="*/ 4158 h 16095"/>
                <a:gd name="T118" fmla="*/ 4438 w 5030"/>
                <a:gd name="T119" fmla="*/ 3420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30" h="16095">
                  <a:moveTo>
                    <a:pt x="3956" y="5452"/>
                  </a:moveTo>
                  <a:lnTo>
                    <a:pt x="3951" y="5472"/>
                  </a:lnTo>
                  <a:lnTo>
                    <a:pt x="3945" y="5492"/>
                  </a:lnTo>
                  <a:lnTo>
                    <a:pt x="3939" y="5512"/>
                  </a:lnTo>
                  <a:lnTo>
                    <a:pt x="3932" y="5532"/>
                  </a:lnTo>
                  <a:lnTo>
                    <a:pt x="3913" y="5581"/>
                  </a:lnTo>
                  <a:lnTo>
                    <a:pt x="3893" y="5630"/>
                  </a:lnTo>
                  <a:lnTo>
                    <a:pt x="3872" y="5678"/>
                  </a:lnTo>
                  <a:lnTo>
                    <a:pt x="3849" y="5725"/>
                  </a:lnTo>
                  <a:lnTo>
                    <a:pt x="3825" y="5771"/>
                  </a:lnTo>
                  <a:lnTo>
                    <a:pt x="3799" y="5815"/>
                  </a:lnTo>
                  <a:lnTo>
                    <a:pt x="3785" y="5837"/>
                  </a:lnTo>
                  <a:lnTo>
                    <a:pt x="3771" y="5860"/>
                  </a:lnTo>
                  <a:lnTo>
                    <a:pt x="3756" y="5881"/>
                  </a:lnTo>
                  <a:lnTo>
                    <a:pt x="3741" y="5903"/>
                  </a:lnTo>
                  <a:lnTo>
                    <a:pt x="3738" y="5906"/>
                  </a:lnTo>
                  <a:lnTo>
                    <a:pt x="3735" y="5910"/>
                  </a:lnTo>
                  <a:lnTo>
                    <a:pt x="3701" y="5954"/>
                  </a:lnTo>
                  <a:lnTo>
                    <a:pt x="3666" y="5997"/>
                  </a:lnTo>
                  <a:lnTo>
                    <a:pt x="3648" y="6019"/>
                  </a:lnTo>
                  <a:lnTo>
                    <a:pt x="3630" y="6039"/>
                  </a:lnTo>
                  <a:lnTo>
                    <a:pt x="3611" y="6059"/>
                  </a:lnTo>
                  <a:lnTo>
                    <a:pt x="3592" y="6079"/>
                  </a:lnTo>
                  <a:lnTo>
                    <a:pt x="3571" y="6098"/>
                  </a:lnTo>
                  <a:lnTo>
                    <a:pt x="3552" y="6118"/>
                  </a:lnTo>
                  <a:lnTo>
                    <a:pt x="3531" y="6136"/>
                  </a:lnTo>
                  <a:lnTo>
                    <a:pt x="3511" y="6155"/>
                  </a:lnTo>
                  <a:lnTo>
                    <a:pt x="3490" y="6173"/>
                  </a:lnTo>
                  <a:lnTo>
                    <a:pt x="3469" y="6191"/>
                  </a:lnTo>
                  <a:lnTo>
                    <a:pt x="3447" y="6209"/>
                  </a:lnTo>
                  <a:lnTo>
                    <a:pt x="3425" y="6225"/>
                  </a:lnTo>
                  <a:lnTo>
                    <a:pt x="3423" y="6228"/>
                  </a:lnTo>
                  <a:lnTo>
                    <a:pt x="3421" y="6230"/>
                  </a:lnTo>
                  <a:lnTo>
                    <a:pt x="3397" y="6246"/>
                  </a:lnTo>
                  <a:lnTo>
                    <a:pt x="3374" y="6263"/>
                  </a:lnTo>
                  <a:lnTo>
                    <a:pt x="3350" y="6279"/>
                  </a:lnTo>
                  <a:lnTo>
                    <a:pt x="3326" y="6294"/>
                  </a:lnTo>
                  <a:lnTo>
                    <a:pt x="3302" y="6309"/>
                  </a:lnTo>
                  <a:lnTo>
                    <a:pt x="3278" y="6324"/>
                  </a:lnTo>
                  <a:lnTo>
                    <a:pt x="3253" y="6338"/>
                  </a:lnTo>
                  <a:lnTo>
                    <a:pt x="3228" y="6352"/>
                  </a:lnTo>
                  <a:lnTo>
                    <a:pt x="3202" y="6366"/>
                  </a:lnTo>
                  <a:lnTo>
                    <a:pt x="3177" y="6379"/>
                  </a:lnTo>
                  <a:lnTo>
                    <a:pt x="3151" y="6391"/>
                  </a:lnTo>
                  <a:lnTo>
                    <a:pt x="3125" y="6403"/>
                  </a:lnTo>
                  <a:lnTo>
                    <a:pt x="3099" y="6415"/>
                  </a:lnTo>
                  <a:lnTo>
                    <a:pt x="3072" y="6425"/>
                  </a:lnTo>
                  <a:lnTo>
                    <a:pt x="3045" y="6436"/>
                  </a:lnTo>
                  <a:lnTo>
                    <a:pt x="3018" y="6446"/>
                  </a:lnTo>
                  <a:lnTo>
                    <a:pt x="2988" y="6456"/>
                  </a:lnTo>
                  <a:lnTo>
                    <a:pt x="2959" y="6466"/>
                  </a:lnTo>
                  <a:lnTo>
                    <a:pt x="2929" y="6475"/>
                  </a:lnTo>
                  <a:lnTo>
                    <a:pt x="2897" y="6484"/>
                  </a:lnTo>
                  <a:lnTo>
                    <a:pt x="2867" y="6492"/>
                  </a:lnTo>
                  <a:lnTo>
                    <a:pt x="2836" y="6500"/>
                  </a:lnTo>
                  <a:lnTo>
                    <a:pt x="2805" y="6507"/>
                  </a:lnTo>
                  <a:lnTo>
                    <a:pt x="2774" y="6513"/>
                  </a:lnTo>
                  <a:lnTo>
                    <a:pt x="2742" y="6519"/>
                  </a:lnTo>
                  <a:lnTo>
                    <a:pt x="2710" y="6525"/>
                  </a:lnTo>
                  <a:lnTo>
                    <a:pt x="2678" y="6529"/>
                  </a:lnTo>
                  <a:lnTo>
                    <a:pt x="2646" y="6533"/>
                  </a:lnTo>
                  <a:lnTo>
                    <a:pt x="2614" y="6535"/>
                  </a:lnTo>
                  <a:lnTo>
                    <a:pt x="2582" y="6537"/>
                  </a:lnTo>
                  <a:lnTo>
                    <a:pt x="2548" y="6539"/>
                  </a:lnTo>
                  <a:lnTo>
                    <a:pt x="2515" y="6539"/>
                  </a:lnTo>
                  <a:lnTo>
                    <a:pt x="2482" y="6539"/>
                  </a:lnTo>
                  <a:lnTo>
                    <a:pt x="2449" y="6537"/>
                  </a:lnTo>
                  <a:lnTo>
                    <a:pt x="2417" y="6535"/>
                  </a:lnTo>
                  <a:lnTo>
                    <a:pt x="2383" y="6533"/>
                  </a:lnTo>
                  <a:lnTo>
                    <a:pt x="2351" y="6529"/>
                  </a:lnTo>
                  <a:lnTo>
                    <a:pt x="2320" y="6525"/>
                  </a:lnTo>
                  <a:lnTo>
                    <a:pt x="2288" y="6519"/>
                  </a:lnTo>
                  <a:lnTo>
                    <a:pt x="2257" y="6513"/>
                  </a:lnTo>
                  <a:lnTo>
                    <a:pt x="2225" y="6507"/>
                  </a:lnTo>
                  <a:lnTo>
                    <a:pt x="2194" y="6500"/>
                  </a:lnTo>
                  <a:lnTo>
                    <a:pt x="2163" y="6492"/>
                  </a:lnTo>
                  <a:lnTo>
                    <a:pt x="2133" y="6484"/>
                  </a:lnTo>
                  <a:lnTo>
                    <a:pt x="2102" y="6475"/>
                  </a:lnTo>
                  <a:lnTo>
                    <a:pt x="2072" y="6466"/>
                  </a:lnTo>
                  <a:lnTo>
                    <a:pt x="2042" y="6456"/>
                  </a:lnTo>
                  <a:lnTo>
                    <a:pt x="2012" y="6446"/>
                  </a:lnTo>
                  <a:lnTo>
                    <a:pt x="1985" y="6436"/>
                  </a:lnTo>
                  <a:lnTo>
                    <a:pt x="1958" y="6425"/>
                  </a:lnTo>
                  <a:lnTo>
                    <a:pt x="1932" y="6415"/>
                  </a:lnTo>
                  <a:lnTo>
                    <a:pt x="1906" y="6403"/>
                  </a:lnTo>
                  <a:lnTo>
                    <a:pt x="1879" y="6391"/>
                  </a:lnTo>
                  <a:lnTo>
                    <a:pt x="1853" y="6379"/>
                  </a:lnTo>
                  <a:lnTo>
                    <a:pt x="1827" y="6366"/>
                  </a:lnTo>
                  <a:lnTo>
                    <a:pt x="1802" y="6352"/>
                  </a:lnTo>
                  <a:lnTo>
                    <a:pt x="1777" y="6338"/>
                  </a:lnTo>
                  <a:lnTo>
                    <a:pt x="1753" y="6324"/>
                  </a:lnTo>
                  <a:lnTo>
                    <a:pt x="1728" y="6309"/>
                  </a:lnTo>
                  <a:lnTo>
                    <a:pt x="1703" y="6294"/>
                  </a:lnTo>
                  <a:lnTo>
                    <a:pt x="1680" y="6279"/>
                  </a:lnTo>
                  <a:lnTo>
                    <a:pt x="1656" y="6263"/>
                  </a:lnTo>
                  <a:lnTo>
                    <a:pt x="1633" y="6246"/>
                  </a:lnTo>
                  <a:lnTo>
                    <a:pt x="1611" y="6230"/>
                  </a:lnTo>
                  <a:lnTo>
                    <a:pt x="1608" y="6228"/>
                  </a:lnTo>
                  <a:lnTo>
                    <a:pt x="1606" y="6225"/>
                  </a:lnTo>
                  <a:lnTo>
                    <a:pt x="1584" y="6209"/>
                  </a:lnTo>
                  <a:lnTo>
                    <a:pt x="1562" y="6191"/>
                  </a:lnTo>
                  <a:lnTo>
                    <a:pt x="1540" y="6173"/>
                  </a:lnTo>
                  <a:lnTo>
                    <a:pt x="1519" y="6155"/>
                  </a:lnTo>
                  <a:lnTo>
                    <a:pt x="1499" y="6136"/>
                  </a:lnTo>
                  <a:lnTo>
                    <a:pt x="1478" y="6118"/>
                  </a:lnTo>
                  <a:lnTo>
                    <a:pt x="1459" y="6098"/>
                  </a:lnTo>
                  <a:lnTo>
                    <a:pt x="1439" y="6079"/>
                  </a:lnTo>
                  <a:lnTo>
                    <a:pt x="1420" y="6059"/>
                  </a:lnTo>
                  <a:lnTo>
                    <a:pt x="1401" y="6039"/>
                  </a:lnTo>
                  <a:lnTo>
                    <a:pt x="1382" y="6019"/>
                  </a:lnTo>
                  <a:lnTo>
                    <a:pt x="1364" y="5997"/>
                  </a:lnTo>
                  <a:lnTo>
                    <a:pt x="1346" y="5976"/>
                  </a:lnTo>
                  <a:lnTo>
                    <a:pt x="1329" y="5954"/>
                  </a:lnTo>
                  <a:lnTo>
                    <a:pt x="1312" y="5932"/>
                  </a:lnTo>
                  <a:lnTo>
                    <a:pt x="1296" y="5910"/>
                  </a:lnTo>
                  <a:lnTo>
                    <a:pt x="1292" y="5906"/>
                  </a:lnTo>
                  <a:lnTo>
                    <a:pt x="1289" y="5903"/>
                  </a:lnTo>
                  <a:lnTo>
                    <a:pt x="1274" y="5881"/>
                  </a:lnTo>
                  <a:lnTo>
                    <a:pt x="1259" y="5860"/>
                  </a:lnTo>
                  <a:lnTo>
                    <a:pt x="1245" y="5837"/>
                  </a:lnTo>
                  <a:lnTo>
                    <a:pt x="1232" y="5815"/>
                  </a:lnTo>
                  <a:lnTo>
                    <a:pt x="1205" y="5771"/>
                  </a:lnTo>
                  <a:lnTo>
                    <a:pt x="1181" y="5725"/>
                  </a:lnTo>
                  <a:lnTo>
                    <a:pt x="1158" y="5678"/>
                  </a:lnTo>
                  <a:lnTo>
                    <a:pt x="1137" y="5630"/>
                  </a:lnTo>
                  <a:lnTo>
                    <a:pt x="1117" y="5581"/>
                  </a:lnTo>
                  <a:lnTo>
                    <a:pt x="1099" y="5532"/>
                  </a:lnTo>
                  <a:lnTo>
                    <a:pt x="1092" y="5512"/>
                  </a:lnTo>
                  <a:lnTo>
                    <a:pt x="1086" y="5492"/>
                  </a:lnTo>
                  <a:lnTo>
                    <a:pt x="1080" y="5472"/>
                  </a:lnTo>
                  <a:lnTo>
                    <a:pt x="1075" y="5452"/>
                  </a:lnTo>
                  <a:lnTo>
                    <a:pt x="1060" y="5402"/>
                  </a:lnTo>
                  <a:lnTo>
                    <a:pt x="1046" y="5350"/>
                  </a:lnTo>
                  <a:lnTo>
                    <a:pt x="1034" y="5298"/>
                  </a:lnTo>
                  <a:lnTo>
                    <a:pt x="1025" y="5246"/>
                  </a:lnTo>
                  <a:lnTo>
                    <a:pt x="1020" y="5219"/>
                  </a:lnTo>
                  <a:lnTo>
                    <a:pt x="1017" y="5193"/>
                  </a:lnTo>
                  <a:lnTo>
                    <a:pt x="1014" y="5165"/>
                  </a:lnTo>
                  <a:lnTo>
                    <a:pt x="1011" y="5139"/>
                  </a:lnTo>
                  <a:lnTo>
                    <a:pt x="1009" y="5112"/>
                  </a:lnTo>
                  <a:lnTo>
                    <a:pt x="1007" y="5085"/>
                  </a:lnTo>
                  <a:lnTo>
                    <a:pt x="1006" y="5057"/>
                  </a:lnTo>
                  <a:lnTo>
                    <a:pt x="1006" y="5030"/>
                  </a:lnTo>
                  <a:lnTo>
                    <a:pt x="1006" y="5002"/>
                  </a:lnTo>
                  <a:lnTo>
                    <a:pt x="1007" y="4974"/>
                  </a:lnTo>
                  <a:lnTo>
                    <a:pt x="1009" y="4947"/>
                  </a:lnTo>
                  <a:lnTo>
                    <a:pt x="1011" y="4920"/>
                  </a:lnTo>
                  <a:lnTo>
                    <a:pt x="1014" y="4893"/>
                  </a:lnTo>
                  <a:lnTo>
                    <a:pt x="1017" y="4866"/>
                  </a:lnTo>
                  <a:lnTo>
                    <a:pt x="1020" y="4840"/>
                  </a:lnTo>
                  <a:lnTo>
                    <a:pt x="1025" y="4812"/>
                  </a:lnTo>
                  <a:lnTo>
                    <a:pt x="1034" y="4760"/>
                  </a:lnTo>
                  <a:lnTo>
                    <a:pt x="1046" y="4709"/>
                  </a:lnTo>
                  <a:lnTo>
                    <a:pt x="1060" y="4657"/>
                  </a:lnTo>
                  <a:lnTo>
                    <a:pt x="1075" y="4606"/>
                  </a:lnTo>
                  <a:lnTo>
                    <a:pt x="1080" y="4586"/>
                  </a:lnTo>
                  <a:lnTo>
                    <a:pt x="1086" y="4567"/>
                  </a:lnTo>
                  <a:lnTo>
                    <a:pt x="1092" y="4547"/>
                  </a:lnTo>
                  <a:lnTo>
                    <a:pt x="1099" y="4528"/>
                  </a:lnTo>
                  <a:lnTo>
                    <a:pt x="1117" y="4478"/>
                  </a:lnTo>
                  <a:lnTo>
                    <a:pt x="1137" y="4429"/>
                  </a:lnTo>
                  <a:lnTo>
                    <a:pt x="1158" y="4382"/>
                  </a:lnTo>
                  <a:lnTo>
                    <a:pt x="1181" y="4335"/>
                  </a:lnTo>
                  <a:lnTo>
                    <a:pt x="1205" y="4288"/>
                  </a:lnTo>
                  <a:lnTo>
                    <a:pt x="1232" y="4243"/>
                  </a:lnTo>
                  <a:lnTo>
                    <a:pt x="1245" y="4221"/>
                  </a:lnTo>
                  <a:lnTo>
                    <a:pt x="1259" y="4200"/>
                  </a:lnTo>
                  <a:lnTo>
                    <a:pt x="1274" y="4178"/>
                  </a:lnTo>
                  <a:lnTo>
                    <a:pt x="1289" y="4157"/>
                  </a:lnTo>
                  <a:lnTo>
                    <a:pt x="1292" y="4153"/>
                  </a:lnTo>
                  <a:lnTo>
                    <a:pt x="1296" y="4148"/>
                  </a:lnTo>
                  <a:lnTo>
                    <a:pt x="1329" y="4104"/>
                  </a:lnTo>
                  <a:lnTo>
                    <a:pt x="1364" y="4062"/>
                  </a:lnTo>
                  <a:lnTo>
                    <a:pt x="1401" y="4020"/>
                  </a:lnTo>
                  <a:lnTo>
                    <a:pt x="1439" y="3979"/>
                  </a:lnTo>
                  <a:lnTo>
                    <a:pt x="1459" y="3960"/>
                  </a:lnTo>
                  <a:lnTo>
                    <a:pt x="1478" y="3941"/>
                  </a:lnTo>
                  <a:lnTo>
                    <a:pt x="1499" y="3922"/>
                  </a:lnTo>
                  <a:lnTo>
                    <a:pt x="1519" y="3903"/>
                  </a:lnTo>
                  <a:lnTo>
                    <a:pt x="1540" y="3885"/>
                  </a:lnTo>
                  <a:lnTo>
                    <a:pt x="1562" y="3868"/>
                  </a:lnTo>
                  <a:lnTo>
                    <a:pt x="1584" y="3850"/>
                  </a:lnTo>
                  <a:lnTo>
                    <a:pt x="1606" y="3833"/>
                  </a:lnTo>
                  <a:lnTo>
                    <a:pt x="1608" y="3832"/>
                  </a:lnTo>
                  <a:lnTo>
                    <a:pt x="1611" y="3830"/>
                  </a:lnTo>
                  <a:lnTo>
                    <a:pt x="1633" y="3813"/>
                  </a:lnTo>
                  <a:lnTo>
                    <a:pt x="1656" y="3796"/>
                  </a:lnTo>
                  <a:lnTo>
                    <a:pt x="1680" y="3780"/>
                  </a:lnTo>
                  <a:lnTo>
                    <a:pt x="1703" y="3765"/>
                  </a:lnTo>
                  <a:lnTo>
                    <a:pt x="1728" y="3750"/>
                  </a:lnTo>
                  <a:lnTo>
                    <a:pt x="1753" y="3735"/>
                  </a:lnTo>
                  <a:lnTo>
                    <a:pt x="1777" y="3721"/>
                  </a:lnTo>
                  <a:lnTo>
                    <a:pt x="1802" y="3707"/>
                  </a:lnTo>
                  <a:lnTo>
                    <a:pt x="1827" y="3694"/>
                  </a:lnTo>
                  <a:lnTo>
                    <a:pt x="1853" y="3681"/>
                  </a:lnTo>
                  <a:lnTo>
                    <a:pt x="1879" y="3669"/>
                  </a:lnTo>
                  <a:lnTo>
                    <a:pt x="1906" y="3657"/>
                  </a:lnTo>
                  <a:lnTo>
                    <a:pt x="1932" y="3645"/>
                  </a:lnTo>
                  <a:lnTo>
                    <a:pt x="1958" y="3633"/>
                  </a:lnTo>
                  <a:lnTo>
                    <a:pt x="1985" y="3623"/>
                  </a:lnTo>
                  <a:lnTo>
                    <a:pt x="2012" y="3613"/>
                  </a:lnTo>
                  <a:lnTo>
                    <a:pt x="2042" y="3603"/>
                  </a:lnTo>
                  <a:lnTo>
                    <a:pt x="2072" y="3593"/>
                  </a:lnTo>
                  <a:lnTo>
                    <a:pt x="2102" y="3584"/>
                  </a:lnTo>
                  <a:lnTo>
                    <a:pt x="2133" y="3575"/>
                  </a:lnTo>
                  <a:lnTo>
                    <a:pt x="2163" y="3567"/>
                  </a:lnTo>
                  <a:lnTo>
                    <a:pt x="2194" y="3559"/>
                  </a:lnTo>
                  <a:lnTo>
                    <a:pt x="2225" y="3552"/>
                  </a:lnTo>
                  <a:lnTo>
                    <a:pt x="2257" y="3546"/>
                  </a:lnTo>
                  <a:lnTo>
                    <a:pt x="2288" y="3540"/>
                  </a:lnTo>
                  <a:lnTo>
                    <a:pt x="2320" y="3535"/>
                  </a:lnTo>
                  <a:lnTo>
                    <a:pt x="2351" y="3531"/>
                  </a:lnTo>
                  <a:lnTo>
                    <a:pt x="2383" y="3528"/>
                  </a:lnTo>
                  <a:lnTo>
                    <a:pt x="2417" y="3525"/>
                  </a:lnTo>
                  <a:lnTo>
                    <a:pt x="2449" y="3523"/>
                  </a:lnTo>
                  <a:lnTo>
                    <a:pt x="2482" y="3521"/>
                  </a:lnTo>
                  <a:lnTo>
                    <a:pt x="2515" y="3521"/>
                  </a:lnTo>
                  <a:lnTo>
                    <a:pt x="2548" y="3521"/>
                  </a:lnTo>
                  <a:lnTo>
                    <a:pt x="2582" y="3523"/>
                  </a:lnTo>
                  <a:lnTo>
                    <a:pt x="2614" y="3525"/>
                  </a:lnTo>
                  <a:lnTo>
                    <a:pt x="2646" y="3528"/>
                  </a:lnTo>
                  <a:lnTo>
                    <a:pt x="2678" y="3531"/>
                  </a:lnTo>
                  <a:lnTo>
                    <a:pt x="2710" y="3535"/>
                  </a:lnTo>
                  <a:lnTo>
                    <a:pt x="2742" y="3540"/>
                  </a:lnTo>
                  <a:lnTo>
                    <a:pt x="2774" y="3546"/>
                  </a:lnTo>
                  <a:lnTo>
                    <a:pt x="2805" y="3552"/>
                  </a:lnTo>
                  <a:lnTo>
                    <a:pt x="2836" y="3559"/>
                  </a:lnTo>
                  <a:lnTo>
                    <a:pt x="2867" y="3567"/>
                  </a:lnTo>
                  <a:lnTo>
                    <a:pt x="2897" y="3575"/>
                  </a:lnTo>
                  <a:lnTo>
                    <a:pt x="2929" y="3584"/>
                  </a:lnTo>
                  <a:lnTo>
                    <a:pt x="2959" y="3593"/>
                  </a:lnTo>
                  <a:lnTo>
                    <a:pt x="2988" y="3603"/>
                  </a:lnTo>
                  <a:lnTo>
                    <a:pt x="3018" y="3613"/>
                  </a:lnTo>
                  <a:lnTo>
                    <a:pt x="3045" y="3623"/>
                  </a:lnTo>
                  <a:lnTo>
                    <a:pt x="3072" y="3633"/>
                  </a:lnTo>
                  <a:lnTo>
                    <a:pt x="3099" y="3645"/>
                  </a:lnTo>
                  <a:lnTo>
                    <a:pt x="3125" y="3657"/>
                  </a:lnTo>
                  <a:lnTo>
                    <a:pt x="3151" y="3669"/>
                  </a:lnTo>
                  <a:lnTo>
                    <a:pt x="3177" y="3681"/>
                  </a:lnTo>
                  <a:lnTo>
                    <a:pt x="3202" y="3694"/>
                  </a:lnTo>
                  <a:lnTo>
                    <a:pt x="3228" y="3707"/>
                  </a:lnTo>
                  <a:lnTo>
                    <a:pt x="3253" y="3721"/>
                  </a:lnTo>
                  <a:lnTo>
                    <a:pt x="3278" y="3735"/>
                  </a:lnTo>
                  <a:lnTo>
                    <a:pt x="3302" y="3750"/>
                  </a:lnTo>
                  <a:lnTo>
                    <a:pt x="3326" y="3765"/>
                  </a:lnTo>
                  <a:lnTo>
                    <a:pt x="3374" y="3796"/>
                  </a:lnTo>
                  <a:lnTo>
                    <a:pt x="3421" y="3830"/>
                  </a:lnTo>
                  <a:lnTo>
                    <a:pt x="3423" y="3832"/>
                  </a:lnTo>
                  <a:lnTo>
                    <a:pt x="3425" y="3833"/>
                  </a:lnTo>
                  <a:lnTo>
                    <a:pt x="3447" y="3850"/>
                  </a:lnTo>
                  <a:lnTo>
                    <a:pt x="3469" y="3868"/>
                  </a:lnTo>
                  <a:lnTo>
                    <a:pt x="3490" y="3885"/>
                  </a:lnTo>
                  <a:lnTo>
                    <a:pt x="3511" y="3903"/>
                  </a:lnTo>
                  <a:lnTo>
                    <a:pt x="3531" y="3922"/>
                  </a:lnTo>
                  <a:lnTo>
                    <a:pt x="3552" y="3941"/>
                  </a:lnTo>
                  <a:lnTo>
                    <a:pt x="3571" y="3960"/>
                  </a:lnTo>
                  <a:lnTo>
                    <a:pt x="3592" y="3979"/>
                  </a:lnTo>
                  <a:lnTo>
                    <a:pt x="3630" y="4020"/>
                  </a:lnTo>
                  <a:lnTo>
                    <a:pt x="3666" y="4062"/>
                  </a:lnTo>
                  <a:lnTo>
                    <a:pt x="3701" y="4104"/>
                  </a:lnTo>
                  <a:lnTo>
                    <a:pt x="3735" y="4148"/>
                  </a:lnTo>
                  <a:lnTo>
                    <a:pt x="3738" y="4153"/>
                  </a:lnTo>
                  <a:lnTo>
                    <a:pt x="3741" y="4157"/>
                  </a:lnTo>
                  <a:lnTo>
                    <a:pt x="3756" y="4178"/>
                  </a:lnTo>
                  <a:lnTo>
                    <a:pt x="3771" y="4200"/>
                  </a:lnTo>
                  <a:lnTo>
                    <a:pt x="3785" y="4221"/>
                  </a:lnTo>
                  <a:lnTo>
                    <a:pt x="3799" y="4243"/>
                  </a:lnTo>
                  <a:lnTo>
                    <a:pt x="3825" y="4288"/>
                  </a:lnTo>
                  <a:lnTo>
                    <a:pt x="3849" y="4335"/>
                  </a:lnTo>
                  <a:lnTo>
                    <a:pt x="3872" y="4382"/>
                  </a:lnTo>
                  <a:lnTo>
                    <a:pt x="3893" y="4429"/>
                  </a:lnTo>
                  <a:lnTo>
                    <a:pt x="3913" y="4478"/>
                  </a:lnTo>
                  <a:lnTo>
                    <a:pt x="3932" y="4528"/>
                  </a:lnTo>
                  <a:lnTo>
                    <a:pt x="3939" y="4547"/>
                  </a:lnTo>
                  <a:lnTo>
                    <a:pt x="3945" y="4567"/>
                  </a:lnTo>
                  <a:lnTo>
                    <a:pt x="3951" y="4586"/>
                  </a:lnTo>
                  <a:lnTo>
                    <a:pt x="3956" y="4606"/>
                  </a:lnTo>
                  <a:lnTo>
                    <a:pt x="3971" y="4657"/>
                  </a:lnTo>
                  <a:lnTo>
                    <a:pt x="3984" y="4709"/>
                  </a:lnTo>
                  <a:lnTo>
                    <a:pt x="3996" y="4760"/>
                  </a:lnTo>
                  <a:lnTo>
                    <a:pt x="4005" y="4812"/>
                  </a:lnTo>
                  <a:lnTo>
                    <a:pt x="4010" y="4840"/>
                  </a:lnTo>
                  <a:lnTo>
                    <a:pt x="4013" y="4866"/>
                  </a:lnTo>
                  <a:lnTo>
                    <a:pt x="4016" y="4893"/>
                  </a:lnTo>
                  <a:lnTo>
                    <a:pt x="4019" y="4920"/>
                  </a:lnTo>
                  <a:lnTo>
                    <a:pt x="4021" y="4947"/>
                  </a:lnTo>
                  <a:lnTo>
                    <a:pt x="4023" y="4974"/>
                  </a:lnTo>
                  <a:lnTo>
                    <a:pt x="4024" y="5002"/>
                  </a:lnTo>
                  <a:lnTo>
                    <a:pt x="4024" y="5030"/>
                  </a:lnTo>
                  <a:lnTo>
                    <a:pt x="4024" y="5057"/>
                  </a:lnTo>
                  <a:lnTo>
                    <a:pt x="4023" y="5085"/>
                  </a:lnTo>
                  <a:lnTo>
                    <a:pt x="4021" y="5112"/>
                  </a:lnTo>
                  <a:lnTo>
                    <a:pt x="4019" y="5139"/>
                  </a:lnTo>
                  <a:lnTo>
                    <a:pt x="4016" y="5165"/>
                  </a:lnTo>
                  <a:lnTo>
                    <a:pt x="4013" y="5193"/>
                  </a:lnTo>
                  <a:lnTo>
                    <a:pt x="4010" y="5219"/>
                  </a:lnTo>
                  <a:lnTo>
                    <a:pt x="4005" y="5246"/>
                  </a:lnTo>
                  <a:lnTo>
                    <a:pt x="3996" y="5298"/>
                  </a:lnTo>
                  <a:lnTo>
                    <a:pt x="3984" y="5350"/>
                  </a:lnTo>
                  <a:lnTo>
                    <a:pt x="3971" y="5402"/>
                  </a:lnTo>
                  <a:lnTo>
                    <a:pt x="3956" y="5452"/>
                  </a:lnTo>
                  <a:close/>
                  <a:moveTo>
                    <a:pt x="3018" y="14586"/>
                  </a:moveTo>
                  <a:lnTo>
                    <a:pt x="3017" y="14612"/>
                  </a:lnTo>
                  <a:lnTo>
                    <a:pt x="3015" y="14637"/>
                  </a:lnTo>
                  <a:lnTo>
                    <a:pt x="3012" y="14663"/>
                  </a:lnTo>
                  <a:lnTo>
                    <a:pt x="3008" y="14688"/>
                  </a:lnTo>
                  <a:lnTo>
                    <a:pt x="3002" y="14712"/>
                  </a:lnTo>
                  <a:lnTo>
                    <a:pt x="2996" y="14736"/>
                  </a:lnTo>
                  <a:lnTo>
                    <a:pt x="2988" y="14759"/>
                  </a:lnTo>
                  <a:lnTo>
                    <a:pt x="2979" y="14782"/>
                  </a:lnTo>
                  <a:lnTo>
                    <a:pt x="2969" y="14804"/>
                  </a:lnTo>
                  <a:lnTo>
                    <a:pt x="2958" y="14827"/>
                  </a:lnTo>
                  <a:lnTo>
                    <a:pt x="2946" y="14847"/>
                  </a:lnTo>
                  <a:lnTo>
                    <a:pt x="2933" y="14868"/>
                  </a:lnTo>
                  <a:lnTo>
                    <a:pt x="2919" y="14887"/>
                  </a:lnTo>
                  <a:lnTo>
                    <a:pt x="2903" y="14906"/>
                  </a:lnTo>
                  <a:lnTo>
                    <a:pt x="2887" y="14924"/>
                  </a:lnTo>
                  <a:lnTo>
                    <a:pt x="2871" y="14942"/>
                  </a:lnTo>
                  <a:lnTo>
                    <a:pt x="2853" y="14958"/>
                  </a:lnTo>
                  <a:lnTo>
                    <a:pt x="2835" y="14974"/>
                  </a:lnTo>
                  <a:lnTo>
                    <a:pt x="2816" y="14989"/>
                  </a:lnTo>
                  <a:lnTo>
                    <a:pt x="2796" y="15004"/>
                  </a:lnTo>
                  <a:lnTo>
                    <a:pt x="2776" y="15017"/>
                  </a:lnTo>
                  <a:lnTo>
                    <a:pt x="2755" y="15029"/>
                  </a:lnTo>
                  <a:lnTo>
                    <a:pt x="2733" y="15040"/>
                  </a:lnTo>
                  <a:lnTo>
                    <a:pt x="2711" y="15050"/>
                  </a:lnTo>
                  <a:lnTo>
                    <a:pt x="2688" y="15059"/>
                  </a:lnTo>
                  <a:lnTo>
                    <a:pt x="2665" y="15067"/>
                  </a:lnTo>
                  <a:lnTo>
                    <a:pt x="2641" y="15073"/>
                  </a:lnTo>
                  <a:lnTo>
                    <a:pt x="2617" y="15079"/>
                  </a:lnTo>
                  <a:lnTo>
                    <a:pt x="2592" y="15083"/>
                  </a:lnTo>
                  <a:lnTo>
                    <a:pt x="2566" y="15086"/>
                  </a:lnTo>
                  <a:lnTo>
                    <a:pt x="2541" y="15088"/>
                  </a:lnTo>
                  <a:lnTo>
                    <a:pt x="2515" y="15089"/>
                  </a:lnTo>
                  <a:lnTo>
                    <a:pt x="2489" y="15088"/>
                  </a:lnTo>
                  <a:lnTo>
                    <a:pt x="2464" y="15086"/>
                  </a:lnTo>
                  <a:lnTo>
                    <a:pt x="2439" y="15083"/>
                  </a:lnTo>
                  <a:lnTo>
                    <a:pt x="2414" y="15079"/>
                  </a:lnTo>
                  <a:lnTo>
                    <a:pt x="2389" y="15073"/>
                  </a:lnTo>
                  <a:lnTo>
                    <a:pt x="2365" y="15067"/>
                  </a:lnTo>
                  <a:lnTo>
                    <a:pt x="2342" y="15059"/>
                  </a:lnTo>
                  <a:lnTo>
                    <a:pt x="2319" y="15050"/>
                  </a:lnTo>
                  <a:lnTo>
                    <a:pt x="2297" y="15040"/>
                  </a:lnTo>
                  <a:lnTo>
                    <a:pt x="2276" y="15029"/>
                  </a:lnTo>
                  <a:lnTo>
                    <a:pt x="2255" y="15017"/>
                  </a:lnTo>
                  <a:lnTo>
                    <a:pt x="2233" y="15004"/>
                  </a:lnTo>
                  <a:lnTo>
                    <a:pt x="2214" y="14989"/>
                  </a:lnTo>
                  <a:lnTo>
                    <a:pt x="2195" y="14974"/>
                  </a:lnTo>
                  <a:lnTo>
                    <a:pt x="2177" y="14958"/>
                  </a:lnTo>
                  <a:lnTo>
                    <a:pt x="2159" y="14942"/>
                  </a:lnTo>
                  <a:lnTo>
                    <a:pt x="2143" y="14924"/>
                  </a:lnTo>
                  <a:lnTo>
                    <a:pt x="2127" y="14906"/>
                  </a:lnTo>
                  <a:lnTo>
                    <a:pt x="2112" y="14887"/>
                  </a:lnTo>
                  <a:lnTo>
                    <a:pt x="2098" y="14868"/>
                  </a:lnTo>
                  <a:lnTo>
                    <a:pt x="2085" y="14847"/>
                  </a:lnTo>
                  <a:lnTo>
                    <a:pt x="2073" y="14827"/>
                  </a:lnTo>
                  <a:lnTo>
                    <a:pt x="2061" y="14804"/>
                  </a:lnTo>
                  <a:lnTo>
                    <a:pt x="2051" y="14782"/>
                  </a:lnTo>
                  <a:lnTo>
                    <a:pt x="2042" y="14759"/>
                  </a:lnTo>
                  <a:lnTo>
                    <a:pt x="2035" y="14736"/>
                  </a:lnTo>
                  <a:lnTo>
                    <a:pt x="2028" y="14712"/>
                  </a:lnTo>
                  <a:lnTo>
                    <a:pt x="2022" y="14688"/>
                  </a:lnTo>
                  <a:lnTo>
                    <a:pt x="2018" y="14663"/>
                  </a:lnTo>
                  <a:lnTo>
                    <a:pt x="2015" y="14637"/>
                  </a:lnTo>
                  <a:lnTo>
                    <a:pt x="2013" y="14612"/>
                  </a:lnTo>
                  <a:lnTo>
                    <a:pt x="2012" y="14586"/>
                  </a:lnTo>
                  <a:lnTo>
                    <a:pt x="2012" y="7493"/>
                  </a:lnTo>
                  <a:lnTo>
                    <a:pt x="2074" y="7505"/>
                  </a:lnTo>
                  <a:lnTo>
                    <a:pt x="2135" y="7515"/>
                  </a:lnTo>
                  <a:lnTo>
                    <a:pt x="2197" y="7524"/>
                  </a:lnTo>
                  <a:lnTo>
                    <a:pt x="2260" y="7531"/>
                  </a:lnTo>
                  <a:lnTo>
                    <a:pt x="2323" y="7537"/>
                  </a:lnTo>
                  <a:lnTo>
                    <a:pt x="2386" y="7542"/>
                  </a:lnTo>
                  <a:lnTo>
                    <a:pt x="2451" y="7544"/>
                  </a:lnTo>
                  <a:lnTo>
                    <a:pt x="2515" y="7545"/>
                  </a:lnTo>
                  <a:lnTo>
                    <a:pt x="2580" y="7544"/>
                  </a:lnTo>
                  <a:lnTo>
                    <a:pt x="2644" y="7542"/>
                  </a:lnTo>
                  <a:lnTo>
                    <a:pt x="2707" y="7537"/>
                  </a:lnTo>
                  <a:lnTo>
                    <a:pt x="2771" y="7531"/>
                  </a:lnTo>
                  <a:lnTo>
                    <a:pt x="2833" y="7524"/>
                  </a:lnTo>
                  <a:lnTo>
                    <a:pt x="2895" y="7515"/>
                  </a:lnTo>
                  <a:lnTo>
                    <a:pt x="2957" y="7505"/>
                  </a:lnTo>
                  <a:lnTo>
                    <a:pt x="3018" y="7493"/>
                  </a:lnTo>
                  <a:lnTo>
                    <a:pt x="3018" y="14586"/>
                  </a:lnTo>
                  <a:close/>
                  <a:moveTo>
                    <a:pt x="2012" y="1509"/>
                  </a:moveTo>
                  <a:lnTo>
                    <a:pt x="2013" y="1483"/>
                  </a:lnTo>
                  <a:lnTo>
                    <a:pt x="2015" y="1458"/>
                  </a:lnTo>
                  <a:lnTo>
                    <a:pt x="2018" y="1432"/>
                  </a:lnTo>
                  <a:lnTo>
                    <a:pt x="2022" y="1407"/>
                  </a:lnTo>
                  <a:lnTo>
                    <a:pt x="2028" y="1383"/>
                  </a:lnTo>
                  <a:lnTo>
                    <a:pt x="2035" y="1359"/>
                  </a:lnTo>
                  <a:lnTo>
                    <a:pt x="2042" y="1336"/>
                  </a:lnTo>
                  <a:lnTo>
                    <a:pt x="2051" y="1313"/>
                  </a:lnTo>
                  <a:lnTo>
                    <a:pt x="2061" y="1291"/>
                  </a:lnTo>
                  <a:lnTo>
                    <a:pt x="2073" y="1269"/>
                  </a:lnTo>
                  <a:lnTo>
                    <a:pt x="2085" y="1248"/>
                  </a:lnTo>
                  <a:lnTo>
                    <a:pt x="2098" y="1227"/>
                  </a:lnTo>
                  <a:lnTo>
                    <a:pt x="2112" y="1208"/>
                  </a:lnTo>
                  <a:lnTo>
                    <a:pt x="2127" y="1189"/>
                  </a:lnTo>
                  <a:lnTo>
                    <a:pt x="2143" y="1171"/>
                  </a:lnTo>
                  <a:lnTo>
                    <a:pt x="2159" y="1153"/>
                  </a:lnTo>
                  <a:lnTo>
                    <a:pt x="2177" y="1137"/>
                  </a:lnTo>
                  <a:lnTo>
                    <a:pt x="2195" y="1121"/>
                  </a:lnTo>
                  <a:lnTo>
                    <a:pt x="2214" y="1106"/>
                  </a:lnTo>
                  <a:lnTo>
                    <a:pt x="2233" y="1091"/>
                  </a:lnTo>
                  <a:lnTo>
                    <a:pt x="2255" y="1078"/>
                  </a:lnTo>
                  <a:lnTo>
                    <a:pt x="2276" y="1066"/>
                  </a:lnTo>
                  <a:lnTo>
                    <a:pt x="2297" y="1055"/>
                  </a:lnTo>
                  <a:lnTo>
                    <a:pt x="2319" y="1045"/>
                  </a:lnTo>
                  <a:lnTo>
                    <a:pt x="2342" y="1036"/>
                  </a:lnTo>
                  <a:lnTo>
                    <a:pt x="2365" y="1029"/>
                  </a:lnTo>
                  <a:lnTo>
                    <a:pt x="2389" y="1022"/>
                  </a:lnTo>
                  <a:lnTo>
                    <a:pt x="2414" y="1016"/>
                  </a:lnTo>
                  <a:lnTo>
                    <a:pt x="2439" y="1012"/>
                  </a:lnTo>
                  <a:lnTo>
                    <a:pt x="2464" y="1009"/>
                  </a:lnTo>
                  <a:lnTo>
                    <a:pt x="2489" y="1007"/>
                  </a:lnTo>
                  <a:lnTo>
                    <a:pt x="2515" y="1006"/>
                  </a:lnTo>
                  <a:lnTo>
                    <a:pt x="2541" y="1007"/>
                  </a:lnTo>
                  <a:lnTo>
                    <a:pt x="2566" y="1009"/>
                  </a:lnTo>
                  <a:lnTo>
                    <a:pt x="2592" y="1012"/>
                  </a:lnTo>
                  <a:lnTo>
                    <a:pt x="2617" y="1016"/>
                  </a:lnTo>
                  <a:lnTo>
                    <a:pt x="2641" y="1022"/>
                  </a:lnTo>
                  <a:lnTo>
                    <a:pt x="2665" y="1029"/>
                  </a:lnTo>
                  <a:lnTo>
                    <a:pt x="2688" y="1036"/>
                  </a:lnTo>
                  <a:lnTo>
                    <a:pt x="2711" y="1045"/>
                  </a:lnTo>
                  <a:lnTo>
                    <a:pt x="2733" y="1055"/>
                  </a:lnTo>
                  <a:lnTo>
                    <a:pt x="2755" y="1066"/>
                  </a:lnTo>
                  <a:lnTo>
                    <a:pt x="2776" y="1078"/>
                  </a:lnTo>
                  <a:lnTo>
                    <a:pt x="2796" y="1091"/>
                  </a:lnTo>
                  <a:lnTo>
                    <a:pt x="2816" y="1106"/>
                  </a:lnTo>
                  <a:lnTo>
                    <a:pt x="2835" y="1121"/>
                  </a:lnTo>
                  <a:lnTo>
                    <a:pt x="2853" y="1137"/>
                  </a:lnTo>
                  <a:lnTo>
                    <a:pt x="2871" y="1153"/>
                  </a:lnTo>
                  <a:lnTo>
                    <a:pt x="2887" y="1171"/>
                  </a:lnTo>
                  <a:lnTo>
                    <a:pt x="2903" y="1189"/>
                  </a:lnTo>
                  <a:lnTo>
                    <a:pt x="2919" y="1208"/>
                  </a:lnTo>
                  <a:lnTo>
                    <a:pt x="2933" y="1227"/>
                  </a:lnTo>
                  <a:lnTo>
                    <a:pt x="2946" y="1248"/>
                  </a:lnTo>
                  <a:lnTo>
                    <a:pt x="2958" y="1269"/>
                  </a:lnTo>
                  <a:lnTo>
                    <a:pt x="2969" y="1291"/>
                  </a:lnTo>
                  <a:lnTo>
                    <a:pt x="2979" y="1313"/>
                  </a:lnTo>
                  <a:lnTo>
                    <a:pt x="2988" y="1336"/>
                  </a:lnTo>
                  <a:lnTo>
                    <a:pt x="2996" y="1359"/>
                  </a:lnTo>
                  <a:lnTo>
                    <a:pt x="3002" y="1383"/>
                  </a:lnTo>
                  <a:lnTo>
                    <a:pt x="3008" y="1407"/>
                  </a:lnTo>
                  <a:lnTo>
                    <a:pt x="3012" y="1432"/>
                  </a:lnTo>
                  <a:lnTo>
                    <a:pt x="3015" y="1458"/>
                  </a:lnTo>
                  <a:lnTo>
                    <a:pt x="3017" y="1483"/>
                  </a:lnTo>
                  <a:lnTo>
                    <a:pt x="3018" y="1509"/>
                  </a:lnTo>
                  <a:lnTo>
                    <a:pt x="3018" y="2565"/>
                  </a:lnTo>
                  <a:lnTo>
                    <a:pt x="2957" y="2554"/>
                  </a:lnTo>
                  <a:lnTo>
                    <a:pt x="2895" y="2543"/>
                  </a:lnTo>
                  <a:lnTo>
                    <a:pt x="2833" y="2535"/>
                  </a:lnTo>
                  <a:lnTo>
                    <a:pt x="2771" y="2528"/>
                  </a:lnTo>
                  <a:lnTo>
                    <a:pt x="2707" y="2522"/>
                  </a:lnTo>
                  <a:lnTo>
                    <a:pt x="2644" y="2518"/>
                  </a:lnTo>
                  <a:lnTo>
                    <a:pt x="2580" y="2516"/>
                  </a:lnTo>
                  <a:lnTo>
                    <a:pt x="2515" y="2515"/>
                  </a:lnTo>
                  <a:lnTo>
                    <a:pt x="2451" y="2516"/>
                  </a:lnTo>
                  <a:lnTo>
                    <a:pt x="2386" y="2518"/>
                  </a:lnTo>
                  <a:lnTo>
                    <a:pt x="2323" y="2522"/>
                  </a:lnTo>
                  <a:lnTo>
                    <a:pt x="2260" y="2528"/>
                  </a:lnTo>
                  <a:lnTo>
                    <a:pt x="2197" y="2535"/>
                  </a:lnTo>
                  <a:lnTo>
                    <a:pt x="2135" y="2543"/>
                  </a:lnTo>
                  <a:lnTo>
                    <a:pt x="2074" y="2554"/>
                  </a:lnTo>
                  <a:lnTo>
                    <a:pt x="2012" y="2565"/>
                  </a:lnTo>
                  <a:lnTo>
                    <a:pt x="2012" y="1509"/>
                  </a:lnTo>
                  <a:close/>
                  <a:moveTo>
                    <a:pt x="4024" y="3029"/>
                  </a:moveTo>
                  <a:lnTo>
                    <a:pt x="4024" y="1509"/>
                  </a:lnTo>
                  <a:lnTo>
                    <a:pt x="4022" y="1431"/>
                  </a:lnTo>
                  <a:lnTo>
                    <a:pt x="4016" y="1355"/>
                  </a:lnTo>
                  <a:lnTo>
                    <a:pt x="4007" y="1280"/>
                  </a:lnTo>
                  <a:lnTo>
                    <a:pt x="3994" y="1205"/>
                  </a:lnTo>
                  <a:lnTo>
                    <a:pt x="3977" y="1133"/>
                  </a:lnTo>
                  <a:lnTo>
                    <a:pt x="3956" y="1060"/>
                  </a:lnTo>
                  <a:lnTo>
                    <a:pt x="3933" y="991"/>
                  </a:lnTo>
                  <a:lnTo>
                    <a:pt x="3905" y="922"/>
                  </a:lnTo>
                  <a:lnTo>
                    <a:pt x="3875" y="855"/>
                  </a:lnTo>
                  <a:lnTo>
                    <a:pt x="3842" y="791"/>
                  </a:lnTo>
                  <a:lnTo>
                    <a:pt x="3806" y="727"/>
                  </a:lnTo>
                  <a:lnTo>
                    <a:pt x="3766" y="666"/>
                  </a:lnTo>
                  <a:lnTo>
                    <a:pt x="3724" y="607"/>
                  </a:lnTo>
                  <a:lnTo>
                    <a:pt x="3679" y="549"/>
                  </a:lnTo>
                  <a:lnTo>
                    <a:pt x="3632" y="495"/>
                  </a:lnTo>
                  <a:lnTo>
                    <a:pt x="3581" y="443"/>
                  </a:lnTo>
                  <a:lnTo>
                    <a:pt x="3529" y="392"/>
                  </a:lnTo>
                  <a:lnTo>
                    <a:pt x="3475" y="345"/>
                  </a:lnTo>
                  <a:lnTo>
                    <a:pt x="3417" y="300"/>
                  </a:lnTo>
                  <a:lnTo>
                    <a:pt x="3358" y="259"/>
                  </a:lnTo>
                  <a:lnTo>
                    <a:pt x="3297" y="219"/>
                  </a:lnTo>
                  <a:lnTo>
                    <a:pt x="3233" y="182"/>
                  </a:lnTo>
                  <a:lnTo>
                    <a:pt x="3169" y="149"/>
                  </a:lnTo>
                  <a:lnTo>
                    <a:pt x="3102" y="119"/>
                  </a:lnTo>
                  <a:lnTo>
                    <a:pt x="3033" y="92"/>
                  </a:lnTo>
                  <a:lnTo>
                    <a:pt x="2963" y="68"/>
                  </a:lnTo>
                  <a:lnTo>
                    <a:pt x="2891" y="47"/>
                  </a:lnTo>
                  <a:lnTo>
                    <a:pt x="2819" y="31"/>
                  </a:lnTo>
                  <a:lnTo>
                    <a:pt x="2745" y="17"/>
                  </a:lnTo>
                  <a:lnTo>
                    <a:pt x="2669" y="8"/>
                  </a:lnTo>
                  <a:lnTo>
                    <a:pt x="2593" y="2"/>
                  </a:lnTo>
                  <a:lnTo>
                    <a:pt x="2515" y="0"/>
                  </a:lnTo>
                  <a:lnTo>
                    <a:pt x="2438" y="2"/>
                  </a:lnTo>
                  <a:lnTo>
                    <a:pt x="2361" y="8"/>
                  </a:lnTo>
                  <a:lnTo>
                    <a:pt x="2286" y="17"/>
                  </a:lnTo>
                  <a:lnTo>
                    <a:pt x="2211" y="31"/>
                  </a:lnTo>
                  <a:lnTo>
                    <a:pt x="2138" y="47"/>
                  </a:lnTo>
                  <a:lnTo>
                    <a:pt x="2067" y="68"/>
                  </a:lnTo>
                  <a:lnTo>
                    <a:pt x="1997" y="92"/>
                  </a:lnTo>
                  <a:lnTo>
                    <a:pt x="1929" y="119"/>
                  </a:lnTo>
                  <a:lnTo>
                    <a:pt x="1861" y="149"/>
                  </a:lnTo>
                  <a:lnTo>
                    <a:pt x="1796" y="182"/>
                  </a:lnTo>
                  <a:lnTo>
                    <a:pt x="1734" y="219"/>
                  </a:lnTo>
                  <a:lnTo>
                    <a:pt x="1672" y="259"/>
                  </a:lnTo>
                  <a:lnTo>
                    <a:pt x="1613" y="300"/>
                  </a:lnTo>
                  <a:lnTo>
                    <a:pt x="1555" y="345"/>
                  </a:lnTo>
                  <a:lnTo>
                    <a:pt x="1501" y="392"/>
                  </a:lnTo>
                  <a:lnTo>
                    <a:pt x="1449" y="443"/>
                  </a:lnTo>
                  <a:lnTo>
                    <a:pt x="1399" y="495"/>
                  </a:lnTo>
                  <a:lnTo>
                    <a:pt x="1351" y="549"/>
                  </a:lnTo>
                  <a:lnTo>
                    <a:pt x="1306" y="607"/>
                  </a:lnTo>
                  <a:lnTo>
                    <a:pt x="1264" y="666"/>
                  </a:lnTo>
                  <a:lnTo>
                    <a:pt x="1225" y="727"/>
                  </a:lnTo>
                  <a:lnTo>
                    <a:pt x="1188" y="791"/>
                  </a:lnTo>
                  <a:lnTo>
                    <a:pt x="1155" y="855"/>
                  </a:lnTo>
                  <a:lnTo>
                    <a:pt x="1125" y="922"/>
                  </a:lnTo>
                  <a:lnTo>
                    <a:pt x="1098" y="991"/>
                  </a:lnTo>
                  <a:lnTo>
                    <a:pt x="1075" y="1060"/>
                  </a:lnTo>
                  <a:lnTo>
                    <a:pt x="1054" y="1133"/>
                  </a:lnTo>
                  <a:lnTo>
                    <a:pt x="1037" y="1205"/>
                  </a:lnTo>
                  <a:lnTo>
                    <a:pt x="1023" y="1280"/>
                  </a:lnTo>
                  <a:lnTo>
                    <a:pt x="1014" y="1355"/>
                  </a:lnTo>
                  <a:lnTo>
                    <a:pt x="1008" y="1431"/>
                  </a:lnTo>
                  <a:lnTo>
                    <a:pt x="1006" y="1509"/>
                  </a:lnTo>
                  <a:lnTo>
                    <a:pt x="1006" y="3029"/>
                  </a:lnTo>
                  <a:lnTo>
                    <a:pt x="950" y="3073"/>
                  </a:lnTo>
                  <a:lnTo>
                    <a:pt x="895" y="3118"/>
                  </a:lnTo>
                  <a:lnTo>
                    <a:pt x="841" y="3165"/>
                  </a:lnTo>
                  <a:lnTo>
                    <a:pt x="789" y="3213"/>
                  </a:lnTo>
                  <a:lnTo>
                    <a:pt x="738" y="3263"/>
                  </a:lnTo>
                  <a:lnTo>
                    <a:pt x="687" y="3314"/>
                  </a:lnTo>
                  <a:lnTo>
                    <a:pt x="639" y="3366"/>
                  </a:lnTo>
                  <a:lnTo>
                    <a:pt x="593" y="3420"/>
                  </a:lnTo>
                  <a:lnTo>
                    <a:pt x="548" y="3476"/>
                  </a:lnTo>
                  <a:lnTo>
                    <a:pt x="503" y="3532"/>
                  </a:lnTo>
                  <a:lnTo>
                    <a:pt x="461" y="3589"/>
                  </a:lnTo>
                  <a:lnTo>
                    <a:pt x="421" y="3648"/>
                  </a:lnTo>
                  <a:lnTo>
                    <a:pt x="382" y="3708"/>
                  </a:lnTo>
                  <a:lnTo>
                    <a:pt x="344" y="3768"/>
                  </a:lnTo>
                  <a:lnTo>
                    <a:pt x="309" y="3831"/>
                  </a:lnTo>
                  <a:lnTo>
                    <a:pt x="276" y="3894"/>
                  </a:lnTo>
                  <a:lnTo>
                    <a:pt x="244" y="3958"/>
                  </a:lnTo>
                  <a:lnTo>
                    <a:pt x="214" y="4024"/>
                  </a:lnTo>
                  <a:lnTo>
                    <a:pt x="184" y="4090"/>
                  </a:lnTo>
                  <a:lnTo>
                    <a:pt x="158" y="4158"/>
                  </a:lnTo>
                  <a:lnTo>
                    <a:pt x="134" y="4226"/>
                  </a:lnTo>
                  <a:lnTo>
                    <a:pt x="111" y="4294"/>
                  </a:lnTo>
                  <a:lnTo>
                    <a:pt x="91" y="4365"/>
                  </a:lnTo>
                  <a:lnTo>
                    <a:pt x="72" y="4435"/>
                  </a:lnTo>
                  <a:lnTo>
                    <a:pt x="56" y="4508"/>
                  </a:lnTo>
                  <a:lnTo>
                    <a:pt x="42" y="4580"/>
                  </a:lnTo>
                  <a:lnTo>
                    <a:pt x="28" y="4653"/>
                  </a:lnTo>
                  <a:lnTo>
                    <a:pt x="18" y="4727"/>
                  </a:lnTo>
                  <a:lnTo>
                    <a:pt x="10" y="4801"/>
                  </a:lnTo>
                  <a:lnTo>
                    <a:pt x="5" y="4877"/>
                  </a:lnTo>
                  <a:lnTo>
                    <a:pt x="1" y="4953"/>
                  </a:lnTo>
                  <a:lnTo>
                    <a:pt x="0" y="5030"/>
                  </a:lnTo>
                  <a:lnTo>
                    <a:pt x="1" y="5106"/>
                  </a:lnTo>
                  <a:lnTo>
                    <a:pt x="5" y="5183"/>
                  </a:lnTo>
                  <a:lnTo>
                    <a:pt x="10" y="5258"/>
                  </a:lnTo>
                  <a:lnTo>
                    <a:pt x="18" y="5332"/>
                  </a:lnTo>
                  <a:lnTo>
                    <a:pt x="28" y="5407"/>
                  </a:lnTo>
                  <a:lnTo>
                    <a:pt x="42" y="5479"/>
                  </a:lnTo>
                  <a:lnTo>
                    <a:pt x="56" y="5552"/>
                  </a:lnTo>
                  <a:lnTo>
                    <a:pt x="72" y="5624"/>
                  </a:lnTo>
                  <a:lnTo>
                    <a:pt x="91" y="5695"/>
                  </a:lnTo>
                  <a:lnTo>
                    <a:pt x="111" y="5765"/>
                  </a:lnTo>
                  <a:lnTo>
                    <a:pt x="134" y="5834"/>
                  </a:lnTo>
                  <a:lnTo>
                    <a:pt x="158" y="5902"/>
                  </a:lnTo>
                  <a:lnTo>
                    <a:pt x="184" y="5969"/>
                  </a:lnTo>
                  <a:lnTo>
                    <a:pt x="214" y="6036"/>
                  </a:lnTo>
                  <a:lnTo>
                    <a:pt x="244" y="6101"/>
                  </a:lnTo>
                  <a:lnTo>
                    <a:pt x="276" y="6165"/>
                  </a:lnTo>
                  <a:lnTo>
                    <a:pt x="309" y="6229"/>
                  </a:lnTo>
                  <a:lnTo>
                    <a:pt x="344" y="6291"/>
                  </a:lnTo>
                  <a:lnTo>
                    <a:pt x="382" y="6351"/>
                  </a:lnTo>
                  <a:lnTo>
                    <a:pt x="421" y="6412"/>
                  </a:lnTo>
                  <a:lnTo>
                    <a:pt x="461" y="6470"/>
                  </a:lnTo>
                  <a:lnTo>
                    <a:pt x="503" y="6529"/>
                  </a:lnTo>
                  <a:lnTo>
                    <a:pt x="548" y="6584"/>
                  </a:lnTo>
                  <a:lnTo>
                    <a:pt x="593" y="6639"/>
                  </a:lnTo>
                  <a:lnTo>
                    <a:pt x="639" y="6694"/>
                  </a:lnTo>
                  <a:lnTo>
                    <a:pt x="687" y="6746"/>
                  </a:lnTo>
                  <a:lnTo>
                    <a:pt x="738" y="6796"/>
                  </a:lnTo>
                  <a:lnTo>
                    <a:pt x="789" y="6846"/>
                  </a:lnTo>
                  <a:lnTo>
                    <a:pt x="841" y="6895"/>
                  </a:lnTo>
                  <a:lnTo>
                    <a:pt x="895" y="6941"/>
                  </a:lnTo>
                  <a:lnTo>
                    <a:pt x="950" y="6986"/>
                  </a:lnTo>
                  <a:lnTo>
                    <a:pt x="1006" y="7030"/>
                  </a:lnTo>
                  <a:lnTo>
                    <a:pt x="1006" y="14586"/>
                  </a:lnTo>
                  <a:lnTo>
                    <a:pt x="1008" y="14664"/>
                  </a:lnTo>
                  <a:lnTo>
                    <a:pt x="1014" y="14740"/>
                  </a:lnTo>
                  <a:lnTo>
                    <a:pt x="1023" y="14815"/>
                  </a:lnTo>
                  <a:lnTo>
                    <a:pt x="1037" y="14890"/>
                  </a:lnTo>
                  <a:lnTo>
                    <a:pt x="1054" y="14962"/>
                  </a:lnTo>
                  <a:lnTo>
                    <a:pt x="1075" y="15035"/>
                  </a:lnTo>
                  <a:lnTo>
                    <a:pt x="1098" y="15104"/>
                  </a:lnTo>
                  <a:lnTo>
                    <a:pt x="1125" y="15173"/>
                  </a:lnTo>
                  <a:lnTo>
                    <a:pt x="1155" y="15240"/>
                  </a:lnTo>
                  <a:lnTo>
                    <a:pt x="1188" y="15304"/>
                  </a:lnTo>
                  <a:lnTo>
                    <a:pt x="1225" y="15368"/>
                  </a:lnTo>
                  <a:lnTo>
                    <a:pt x="1264" y="15429"/>
                  </a:lnTo>
                  <a:lnTo>
                    <a:pt x="1306" y="15488"/>
                  </a:lnTo>
                  <a:lnTo>
                    <a:pt x="1351" y="15546"/>
                  </a:lnTo>
                  <a:lnTo>
                    <a:pt x="1399" y="15600"/>
                  </a:lnTo>
                  <a:lnTo>
                    <a:pt x="1449" y="15652"/>
                  </a:lnTo>
                  <a:lnTo>
                    <a:pt x="1501" y="15703"/>
                  </a:lnTo>
                  <a:lnTo>
                    <a:pt x="1555" y="15750"/>
                  </a:lnTo>
                  <a:lnTo>
                    <a:pt x="1613" y="15795"/>
                  </a:lnTo>
                  <a:lnTo>
                    <a:pt x="1672" y="15836"/>
                  </a:lnTo>
                  <a:lnTo>
                    <a:pt x="1734" y="15877"/>
                  </a:lnTo>
                  <a:lnTo>
                    <a:pt x="1796" y="15913"/>
                  </a:lnTo>
                  <a:lnTo>
                    <a:pt x="1861" y="15946"/>
                  </a:lnTo>
                  <a:lnTo>
                    <a:pt x="1929" y="15976"/>
                  </a:lnTo>
                  <a:lnTo>
                    <a:pt x="1997" y="16003"/>
                  </a:lnTo>
                  <a:lnTo>
                    <a:pt x="2067" y="16027"/>
                  </a:lnTo>
                  <a:lnTo>
                    <a:pt x="2138" y="16048"/>
                  </a:lnTo>
                  <a:lnTo>
                    <a:pt x="2211" y="16064"/>
                  </a:lnTo>
                  <a:lnTo>
                    <a:pt x="2286" y="16078"/>
                  </a:lnTo>
                  <a:lnTo>
                    <a:pt x="2361" y="16087"/>
                  </a:lnTo>
                  <a:lnTo>
                    <a:pt x="2438" y="16093"/>
                  </a:lnTo>
                  <a:lnTo>
                    <a:pt x="2515" y="16095"/>
                  </a:lnTo>
                  <a:lnTo>
                    <a:pt x="2593" y="16093"/>
                  </a:lnTo>
                  <a:lnTo>
                    <a:pt x="2669" y="16087"/>
                  </a:lnTo>
                  <a:lnTo>
                    <a:pt x="2745" y="16078"/>
                  </a:lnTo>
                  <a:lnTo>
                    <a:pt x="2819" y="16064"/>
                  </a:lnTo>
                  <a:lnTo>
                    <a:pt x="2891" y="16048"/>
                  </a:lnTo>
                  <a:lnTo>
                    <a:pt x="2963" y="16027"/>
                  </a:lnTo>
                  <a:lnTo>
                    <a:pt x="3033" y="16003"/>
                  </a:lnTo>
                  <a:lnTo>
                    <a:pt x="3102" y="15976"/>
                  </a:lnTo>
                  <a:lnTo>
                    <a:pt x="3169" y="15946"/>
                  </a:lnTo>
                  <a:lnTo>
                    <a:pt x="3233" y="15913"/>
                  </a:lnTo>
                  <a:lnTo>
                    <a:pt x="3297" y="15877"/>
                  </a:lnTo>
                  <a:lnTo>
                    <a:pt x="3358" y="15836"/>
                  </a:lnTo>
                  <a:lnTo>
                    <a:pt x="3417" y="15795"/>
                  </a:lnTo>
                  <a:lnTo>
                    <a:pt x="3475" y="15750"/>
                  </a:lnTo>
                  <a:lnTo>
                    <a:pt x="3529" y="15703"/>
                  </a:lnTo>
                  <a:lnTo>
                    <a:pt x="3581" y="15652"/>
                  </a:lnTo>
                  <a:lnTo>
                    <a:pt x="3632" y="15600"/>
                  </a:lnTo>
                  <a:lnTo>
                    <a:pt x="3679" y="15546"/>
                  </a:lnTo>
                  <a:lnTo>
                    <a:pt x="3724" y="15488"/>
                  </a:lnTo>
                  <a:lnTo>
                    <a:pt x="3766" y="15429"/>
                  </a:lnTo>
                  <a:lnTo>
                    <a:pt x="3806" y="15368"/>
                  </a:lnTo>
                  <a:lnTo>
                    <a:pt x="3842" y="15304"/>
                  </a:lnTo>
                  <a:lnTo>
                    <a:pt x="3875" y="15240"/>
                  </a:lnTo>
                  <a:lnTo>
                    <a:pt x="3905" y="15173"/>
                  </a:lnTo>
                  <a:lnTo>
                    <a:pt x="3933" y="15104"/>
                  </a:lnTo>
                  <a:lnTo>
                    <a:pt x="3956" y="15035"/>
                  </a:lnTo>
                  <a:lnTo>
                    <a:pt x="3977" y="14962"/>
                  </a:lnTo>
                  <a:lnTo>
                    <a:pt x="3994" y="14890"/>
                  </a:lnTo>
                  <a:lnTo>
                    <a:pt x="4007" y="14815"/>
                  </a:lnTo>
                  <a:lnTo>
                    <a:pt x="4016" y="14740"/>
                  </a:lnTo>
                  <a:lnTo>
                    <a:pt x="4022" y="14664"/>
                  </a:lnTo>
                  <a:lnTo>
                    <a:pt x="4024" y="14586"/>
                  </a:lnTo>
                  <a:lnTo>
                    <a:pt x="4024" y="7030"/>
                  </a:lnTo>
                  <a:lnTo>
                    <a:pt x="4080" y="6986"/>
                  </a:lnTo>
                  <a:lnTo>
                    <a:pt x="4136" y="6941"/>
                  </a:lnTo>
                  <a:lnTo>
                    <a:pt x="4189" y="6895"/>
                  </a:lnTo>
                  <a:lnTo>
                    <a:pt x="4241" y="6846"/>
                  </a:lnTo>
                  <a:lnTo>
                    <a:pt x="4293" y="6796"/>
                  </a:lnTo>
                  <a:lnTo>
                    <a:pt x="4343" y="6746"/>
                  </a:lnTo>
                  <a:lnTo>
                    <a:pt x="4391" y="6694"/>
                  </a:lnTo>
                  <a:lnTo>
                    <a:pt x="4438" y="6639"/>
                  </a:lnTo>
                  <a:lnTo>
                    <a:pt x="4483" y="6584"/>
                  </a:lnTo>
                  <a:lnTo>
                    <a:pt x="4527" y="6529"/>
                  </a:lnTo>
                  <a:lnTo>
                    <a:pt x="4569" y="6470"/>
                  </a:lnTo>
                  <a:lnTo>
                    <a:pt x="4610" y="6412"/>
                  </a:lnTo>
                  <a:lnTo>
                    <a:pt x="4649" y="6351"/>
                  </a:lnTo>
                  <a:lnTo>
                    <a:pt x="4686" y="6291"/>
                  </a:lnTo>
                  <a:lnTo>
                    <a:pt x="4721" y="6229"/>
                  </a:lnTo>
                  <a:lnTo>
                    <a:pt x="4754" y="6165"/>
                  </a:lnTo>
                  <a:lnTo>
                    <a:pt x="4787" y="6101"/>
                  </a:lnTo>
                  <a:lnTo>
                    <a:pt x="4817" y="6036"/>
                  </a:lnTo>
                  <a:lnTo>
                    <a:pt x="4846" y="5969"/>
                  </a:lnTo>
                  <a:lnTo>
                    <a:pt x="4872" y="5902"/>
                  </a:lnTo>
                  <a:lnTo>
                    <a:pt x="4896" y="5834"/>
                  </a:lnTo>
                  <a:lnTo>
                    <a:pt x="4919" y="5765"/>
                  </a:lnTo>
                  <a:lnTo>
                    <a:pt x="4939" y="5695"/>
                  </a:lnTo>
                  <a:lnTo>
                    <a:pt x="4959" y="5624"/>
                  </a:lnTo>
                  <a:lnTo>
                    <a:pt x="4975" y="5552"/>
                  </a:lnTo>
                  <a:lnTo>
                    <a:pt x="4989" y="5479"/>
                  </a:lnTo>
                  <a:lnTo>
                    <a:pt x="5002" y="5407"/>
                  </a:lnTo>
                  <a:lnTo>
                    <a:pt x="5012" y="5332"/>
                  </a:lnTo>
                  <a:lnTo>
                    <a:pt x="5020" y="5258"/>
                  </a:lnTo>
                  <a:lnTo>
                    <a:pt x="5025" y="5183"/>
                  </a:lnTo>
                  <a:lnTo>
                    <a:pt x="5029" y="5106"/>
                  </a:lnTo>
                  <a:lnTo>
                    <a:pt x="5030" y="5030"/>
                  </a:lnTo>
                  <a:lnTo>
                    <a:pt x="5029" y="4953"/>
                  </a:lnTo>
                  <a:lnTo>
                    <a:pt x="5025" y="4877"/>
                  </a:lnTo>
                  <a:lnTo>
                    <a:pt x="5020" y="4801"/>
                  </a:lnTo>
                  <a:lnTo>
                    <a:pt x="5012" y="4727"/>
                  </a:lnTo>
                  <a:lnTo>
                    <a:pt x="5002" y="4653"/>
                  </a:lnTo>
                  <a:lnTo>
                    <a:pt x="4989" y="4580"/>
                  </a:lnTo>
                  <a:lnTo>
                    <a:pt x="4975" y="4508"/>
                  </a:lnTo>
                  <a:lnTo>
                    <a:pt x="4959" y="4435"/>
                  </a:lnTo>
                  <a:lnTo>
                    <a:pt x="4939" y="4365"/>
                  </a:lnTo>
                  <a:lnTo>
                    <a:pt x="4919" y="4294"/>
                  </a:lnTo>
                  <a:lnTo>
                    <a:pt x="4896" y="4226"/>
                  </a:lnTo>
                  <a:lnTo>
                    <a:pt x="4872" y="4158"/>
                  </a:lnTo>
                  <a:lnTo>
                    <a:pt x="4846" y="4090"/>
                  </a:lnTo>
                  <a:lnTo>
                    <a:pt x="4817" y="4024"/>
                  </a:lnTo>
                  <a:lnTo>
                    <a:pt x="4787" y="3958"/>
                  </a:lnTo>
                  <a:lnTo>
                    <a:pt x="4754" y="3894"/>
                  </a:lnTo>
                  <a:lnTo>
                    <a:pt x="4721" y="3831"/>
                  </a:lnTo>
                  <a:lnTo>
                    <a:pt x="4686" y="3768"/>
                  </a:lnTo>
                  <a:lnTo>
                    <a:pt x="4649" y="3708"/>
                  </a:lnTo>
                  <a:lnTo>
                    <a:pt x="4610" y="3648"/>
                  </a:lnTo>
                  <a:lnTo>
                    <a:pt x="4569" y="3589"/>
                  </a:lnTo>
                  <a:lnTo>
                    <a:pt x="4527" y="3532"/>
                  </a:lnTo>
                  <a:lnTo>
                    <a:pt x="4483" y="3476"/>
                  </a:lnTo>
                  <a:lnTo>
                    <a:pt x="4438" y="3420"/>
                  </a:lnTo>
                  <a:lnTo>
                    <a:pt x="4391" y="3366"/>
                  </a:lnTo>
                  <a:lnTo>
                    <a:pt x="4343" y="3314"/>
                  </a:lnTo>
                  <a:lnTo>
                    <a:pt x="4293" y="3263"/>
                  </a:lnTo>
                  <a:lnTo>
                    <a:pt x="4241" y="3213"/>
                  </a:lnTo>
                  <a:lnTo>
                    <a:pt x="4189" y="3165"/>
                  </a:lnTo>
                  <a:lnTo>
                    <a:pt x="4136" y="3118"/>
                  </a:lnTo>
                  <a:lnTo>
                    <a:pt x="4080" y="3073"/>
                  </a:lnTo>
                  <a:lnTo>
                    <a:pt x="4024" y="30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67" name="ïṡļídè">
              <a:extLst>
                <a:ext uri="{FF2B5EF4-FFF2-40B4-BE49-F238E27FC236}">
                  <a16:creationId xmlns:a16="http://schemas.microsoft.com/office/drawing/2014/main" id="{5A4451F9-4F4E-4827-93E2-961051E9C21E}"/>
                </a:ext>
              </a:extLst>
            </p:cNvPr>
            <p:cNvSpPr/>
            <p:nvPr/>
          </p:nvSpPr>
          <p:spPr bwMode="auto">
            <a:xfrm>
              <a:off x="5617096" y="2411481"/>
              <a:ext cx="126322" cy="407036"/>
            </a:xfrm>
            <a:custGeom>
              <a:avLst/>
              <a:gdLst>
                <a:gd name="T0" fmla="*/ 3784 w 5029"/>
                <a:gd name="T1" fmla="*/ 11873 h 16095"/>
                <a:gd name="T2" fmla="*/ 3571 w 5029"/>
                <a:gd name="T3" fmla="*/ 12135 h 16095"/>
                <a:gd name="T4" fmla="*/ 3349 w 5029"/>
                <a:gd name="T5" fmla="*/ 12315 h 16095"/>
                <a:gd name="T6" fmla="*/ 3045 w 5029"/>
                <a:gd name="T7" fmla="*/ 12472 h 16095"/>
                <a:gd name="T8" fmla="*/ 2677 w 5029"/>
                <a:gd name="T9" fmla="*/ 12564 h 16095"/>
                <a:gd name="T10" fmla="*/ 2287 w 5029"/>
                <a:gd name="T11" fmla="*/ 12555 h 16095"/>
                <a:gd name="T12" fmla="*/ 1931 w 5029"/>
                <a:gd name="T13" fmla="*/ 12450 h 16095"/>
                <a:gd name="T14" fmla="*/ 1632 w 5029"/>
                <a:gd name="T15" fmla="*/ 12281 h 16095"/>
                <a:gd name="T16" fmla="*/ 1400 w 5029"/>
                <a:gd name="T17" fmla="*/ 12074 h 16095"/>
                <a:gd name="T18" fmla="*/ 1157 w 5029"/>
                <a:gd name="T19" fmla="*/ 11713 h 16095"/>
                <a:gd name="T20" fmla="*/ 1020 w 5029"/>
                <a:gd name="T21" fmla="*/ 11254 h 16095"/>
                <a:gd name="T22" fmla="*/ 1013 w 5029"/>
                <a:gd name="T23" fmla="*/ 10929 h 16095"/>
                <a:gd name="T24" fmla="*/ 1116 w 5029"/>
                <a:gd name="T25" fmla="*/ 10514 h 16095"/>
                <a:gd name="T26" fmla="*/ 1328 w 5029"/>
                <a:gd name="T27" fmla="*/ 10140 h 16095"/>
                <a:gd name="T28" fmla="*/ 1607 w 5029"/>
                <a:gd name="T29" fmla="*/ 9867 h 16095"/>
                <a:gd name="T30" fmla="*/ 1931 w 5029"/>
                <a:gd name="T31" fmla="*/ 9680 h 16095"/>
                <a:gd name="T32" fmla="*/ 2287 w 5029"/>
                <a:gd name="T33" fmla="*/ 9576 h 16095"/>
                <a:gd name="T34" fmla="*/ 2677 w 5029"/>
                <a:gd name="T35" fmla="*/ 9566 h 16095"/>
                <a:gd name="T36" fmla="*/ 3045 w 5029"/>
                <a:gd name="T37" fmla="*/ 9659 h 16095"/>
                <a:gd name="T38" fmla="*/ 3373 w 5029"/>
                <a:gd name="T39" fmla="*/ 9832 h 16095"/>
                <a:gd name="T40" fmla="*/ 3629 w 5029"/>
                <a:gd name="T41" fmla="*/ 10055 h 16095"/>
                <a:gd name="T42" fmla="*/ 3872 w 5029"/>
                <a:gd name="T43" fmla="*/ 10417 h 16095"/>
                <a:gd name="T44" fmla="*/ 4008 w 5029"/>
                <a:gd name="T45" fmla="*/ 10875 h 16095"/>
                <a:gd name="T46" fmla="*/ 4015 w 5029"/>
                <a:gd name="T47" fmla="*/ 11201 h 16095"/>
                <a:gd name="T48" fmla="*/ 3007 w 5029"/>
                <a:gd name="T49" fmla="*/ 14688 h 16095"/>
                <a:gd name="T50" fmla="*/ 2870 w 5029"/>
                <a:gd name="T51" fmla="*/ 14942 h 16095"/>
                <a:gd name="T52" fmla="*/ 2616 w 5029"/>
                <a:gd name="T53" fmla="*/ 15079 h 16095"/>
                <a:gd name="T54" fmla="*/ 2318 w 5029"/>
                <a:gd name="T55" fmla="*/ 15050 h 16095"/>
                <a:gd name="T56" fmla="*/ 2097 w 5029"/>
                <a:gd name="T57" fmla="*/ 14868 h 16095"/>
                <a:gd name="T58" fmla="*/ 2012 w 5029"/>
                <a:gd name="T59" fmla="*/ 14586 h 16095"/>
                <a:gd name="T60" fmla="*/ 2707 w 5029"/>
                <a:gd name="T61" fmla="*/ 13573 h 16095"/>
                <a:gd name="T62" fmla="*/ 2028 w 5029"/>
                <a:gd name="T63" fmla="*/ 1383 h 16095"/>
                <a:gd name="T64" fmla="*/ 2177 w 5029"/>
                <a:gd name="T65" fmla="*/ 1137 h 16095"/>
                <a:gd name="T66" fmla="*/ 2438 w 5029"/>
                <a:gd name="T67" fmla="*/ 1012 h 16095"/>
                <a:gd name="T68" fmla="*/ 2733 w 5029"/>
                <a:gd name="T69" fmla="*/ 1055 h 16095"/>
                <a:gd name="T70" fmla="*/ 2945 w 5029"/>
                <a:gd name="T71" fmla="*/ 1248 h 16095"/>
                <a:gd name="T72" fmla="*/ 3017 w 5029"/>
                <a:gd name="T73" fmla="*/ 8601 h 16095"/>
                <a:gd name="T74" fmla="*/ 2259 w 5029"/>
                <a:gd name="T75" fmla="*/ 8564 h 16095"/>
                <a:gd name="T76" fmla="*/ 3976 w 5029"/>
                <a:gd name="T77" fmla="*/ 1133 h 16095"/>
                <a:gd name="T78" fmla="*/ 3528 w 5029"/>
                <a:gd name="T79" fmla="*/ 392 h 16095"/>
                <a:gd name="T80" fmla="*/ 2744 w 5029"/>
                <a:gd name="T81" fmla="*/ 17 h 16095"/>
                <a:gd name="T82" fmla="*/ 1861 w 5029"/>
                <a:gd name="T83" fmla="*/ 149 h 16095"/>
                <a:gd name="T84" fmla="*/ 1224 w 5029"/>
                <a:gd name="T85" fmla="*/ 727 h 16095"/>
                <a:gd name="T86" fmla="*/ 1006 w 5029"/>
                <a:gd name="T87" fmla="*/ 9065 h 16095"/>
                <a:gd name="T88" fmla="*/ 420 w 5029"/>
                <a:gd name="T89" fmla="*/ 9683 h 16095"/>
                <a:gd name="T90" fmla="*/ 71 w 5029"/>
                <a:gd name="T91" fmla="*/ 10471 h 16095"/>
                <a:gd name="T92" fmla="*/ 18 w 5029"/>
                <a:gd name="T93" fmla="*/ 11368 h 16095"/>
                <a:gd name="T94" fmla="*/ 275 w 5029"/>
                <a:gd name="T95" fmla="*/ 12201 h 16095"/>
                <a:gd name="T96" fmla="*/ 788 w 5029"/>
                <a:gd name="T97" fmla="*/ 12882 h 16095"/>
                <a:gd name="T98" fmla="*/ 1097 w 5029"/>
                <a:gd name="T99" fmla="*/ 15104 h 16095"/>
                <a:gd name="T100" fmla="*/ 1612 w 5029"/>
                <a:gd name="T101" fmla="*/ 15795 h 16095"/>
                <a:gd name="T102" fmla="*/ 2437 w 5029"/>
                <a:gd name="T103" fmla="*/ 16093 h 16095"/>
                <a:gd name="T104" fmla="*/ 3296 w 5029"/>
                <a:gd name="T105" fmla="*/ 15877 h 16095"/>
                <a:gd name="T106" fmla="*/ 3875 w 5029"/>
                <a:gd name="T107" fmla="*/ 15240 h 16095"/>
                <a:gd name="T108" fmla="*/ 4135 w 5029"/>
                <a:gd name="T109" fmla="*/ 12977 h 16095"/>
                <a:gd name="T110" fmla="*/ 4685 w 5029"/>
                <a:gd name="T111" fmla="*/ 12327 h 16095"/>
                <a:gd name="T112" fmla="*/ 4989 w 5029"/>
                <a:gd name="T113" fmla="*/ 11515 h 16095"/>
                <a:gd name="T114" fmla="*/ 4989 w 5029"/>
                <a:gd name="T115" fmla="*/ 10616 h 16095"/>
                <a:gd name="T116" fmla="*/ 4685 w 5029"/>
                <a:gd name="T117" fmla="*/ 9804 h 16095"/>
                <a:gd name="T118" fmla="*/ 4135 w 5029"/>
                <a:gd name="T119" fmla="*/ 9154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29" h="16095">
                  <a:moveTo>
                    <a:pt x="3956" y="11488"/>
                  </a:moveTo>
                  <a:lnTo>
                    <a:pt x="3950" y="11508"/>
                  </a:lnTo>
                  <a:lnTo>
                    <a:pt x="3944" y="11528"/>
                  </a:lnTo>
                  <a:lnTo>
                    <a:pt x="3938" y="11547"/>
                  </a:lnTo>
                  <a:lnTo>
                    <a:pt x="3931" y="11567"/>
                  </a:lnTo>
                  <a:lnTo>
                    <a:pt x="3913" y="11617"/>
                  </a:lnTo>
                  <a:lnTo>
                    <a:pt x="3893" y="11666"/>
                  </a:lnTo>
                  <a:lnTo>
                    <a:pt x="3872" y="11713"/>
                  </a:lnTo>
                  <a:lnTo>
                    <a:pt x="3848" y="11760"/>
                  </a:lnTo>
                  <a:lnTo>
                    <a:pt x="3824" y="11807"/>
                  </a:lnTo>
                  <a:lnTo>
                    <a:pt x="3798" y="11851"/>
                  </a:lnTo>
                  <a:lnTo>
                    <a:pt x="3784" y="11873"/>
                  </a:lnTo>
                  <a:lnTo>
                    <a:pt x="3770" y="11895"/>
                  </a:lnTo>
                  <a:lnTo>
                    <a:pt x="3756" y="11916"/>
                  </a:lnTo>
                  <a:lnTo>
                    <a:pt x="3741" y="11938"/>
                  </a:lnTo>
                  <a:lnTo>
                    <a:pt x="3738" y="11941"/>
                  </a:lnTo>
                  <a:lnTo>
                    <a:pt x="3735" y="11946"/>
                  </a:lnTo>
                  <a:lnTo>
                    <a:pt x="3701" y="11990"/>
                  </a:lnTo>
                  <a:lnTo>
                    <a:pt x="3665" y="12033"/>
                  </a:lnTo>
                  <a:lnTo>
                    <a:pt x="3647" y="12054"/>
                  </a:lnTo>
                  <a:lnTo>
                    <a:pt x="3629" y="12074"/>
                  </a:lnTo>
                  <a:lnTo>
                    <a:pt x="3610" y="12094"/>
                  </a:lnTo>
                  <a:lnTo>
                    <a:pt x="3591" y="12115"/>
                  </a:lnTo>
                  <a:lnTo>
                    <a:pt x="3571" y="12135"/>
                  </a:lnTo>
                  <a:lnTo>
                    <a:pt x="3552" y="12154"/>
                  </a:lnTo>
                  <a:lnTo>
                    <a:pt x="3530" y="12172"/>
                  </a:lnTo>
                  <a:lnTo>
                    <a:pt x="3510" y="12191"/>
                  </a:lnTo>
                  <a:lnTo>
                    <a:pt x="3489" y="12209"/>
                  </a:lnTo>
                  <a:lnTo>
                    <a:pt x="3468" y="12226"/>
                  </a:lnTo>
                  <a:lnTo>
                    <a:pt x="3446" y="12244"/>
                  </a:lnTo>
                  <a:lnTo>
                    <a:pt x="3424" y="12261"/>
                  </a:lnTo>
                  <a:lnTo>
                    <a:pt x="3422" y="12263"/>
                  </a:lnTo>
                  <a:lnTo>
                    <a:pt x="3419" y="12265"/>
                  </a:lnTo>
                  <a:lnTo>
                    <a:pt x="3397" y="12281"/>
                  </a:lnTo>
                  <a:lnTo>
                    <a:pt x="3373" y="12299"/>
                  </a:lnTo>
                  <a:lnTo>
                    <a:pt x="3349" y="12315"/>
                  </a:lnTo>
                  <a:lnTo>
                    <a:pt x="3325" y="12330"/>
                  </a:lnTo>
                  <a:lnTo>
                    <a:pt x="3301" y="12345"/>
                  </a:lnTo>
                  <a:lnTo>
                    <a:pt x="3277" y="12360"/>
                  </a:lnTo>
                  <a:lnTo>
                    <a:pt x="3252" y="12374"/>
                  </a:lnTo>
                  <a:lnTo>
                    <a:pt x="3228" y="12388"/>
                  </a:lnTo>
                  <a:lnTo>
                    <a:pt x="3202" y="12401"/>
                  </a:lnTo>
                  <a:lnTo>
                    <a:pt x="3176" y="12414"/>
                  </a:lnTo>
                  <a:lnTo>
                    <a:pt x="3150" y="12426"/>
                  </a:lnTo>
                  <a:lnTo>
                    <a:pt x="3124" y="12438"/>
                  </a:lnTo>
                  <a:lnTo>
                    <a:pt x="3098" y="12450"/>
                  </a:lnTo>
                  <a:lnTo>
                    <a:pt x="3072" y="12461"/>
                  </a:lnTo>
                  <a:lnTo>
                    <a:pt x="3045" y="12472"/>
                  </a:lnTo>
                  <a:lnTo>
                    <a:pt x="3017" y="12482"/>
                  </a:lnTo>
                  <a:lnTo>
                    <a:pt x="2987" y="12492"/>
                  </a:lnTo>
                  <a:lnTo>
                    <a:pt x="2958" y="12502"/>
                  </a:lnTo>
                  <a:lnTo>
                    <a:pt x="2927" y="12511"/>
                  </a:lnTo>
                  <a:lnTo>
                    <a:pt x="2897" y="12520"/>
                  </a:lnTo>
                  <a:lnTo>
                    <a:pt x="2867" y="12528"/>
                  </a:lnTo>
                  <a:lnTo>
                    <a:pt x="2835" y="12536"/>
                  </a:lnTo>
                  <a:lnTo>
                    <a:pt x="2804" y="12543"/>
                  </a:lnTo>
                  <a:lnTo>
                    <a:pt x="2773" y="12549"/>
                  </a:lnTo>
                  <a:lnTo>
                    <a:pt x="2742" y="12555"/>
                  </a:lnTo>
                  <a:lnTo>
                    <a:pt x="2710" y="12560"/>
                  </a:lnTo>
                  <a:lnTo>
                    <a:pt x="2677" y="12564"/>
                  </a:lnTo>
                  <a:lnTo>
                    <a:pt x="2645" y="12568"/>
                  </a:lnTo>
                  <a:lnTo>
                    <a:pt x="2613" y="12570"/>
                  </a:lnTo>
                  <a:lnTo>
                    <a:pt x="2581" y="12572"/>
                  </a:lnTo>
                  <a:lnTo>
                    <a:pt x="2548" y="12574"/>
                  </a:lnTo>
                  <a:lnTo>
                    <a:pt x="2515" y="12574"/>
                  </a:lnTo>
                  <a:lnTo>
                    <a:pt x="2481" y="12574"/>
                  </a:lnTo>
                  <a:lnTo>
                    <a:pt x="2448" y="12572"/>
                  </a:lnTo>
                  <a:lnTo>
                    <a:pt x="2416" y="12570"/>
                  </a:lnTo>
                  <a:lnTo>
                    <a:pt x="2384" y="12568"/>
                  </a:lnTo>
                  <a:lnTo>
                    <a:pt x="2352" y="12564"/>
                  </a:lnTo>
                  <a:lnTo>
                    <a:pt x="2319" y="12560"/>
                  </a:lnTo>
                  <a:lnTo>
                    <a:pt x="2287" y="12555"/>
                  </a:lnTo>
                  <a:lnTo>
                    <a:pt x="2256" y="12549"/>
                  </a:lnTo>
                  <a:lnTo>
                    <a:pt x="2225" y="12543"/>
                  </a:lnTo>
                  <a:lnTo>
                    <a:pt x="2194" y="12536"/>
                  </a:lnTo>
                  <a:lnTo>
                    <a:pt x="2162" y="12528"/>
                  </a:lnTo>
                  <a:lnTo>
                    <a:pt x="2132" y="12520"/>
                  </a:lnTo>
                  <a:lnTo>
                    <a:pt x="2101" y="12511"/>
                  </a:lnTo>
                  <a:lnTo>
                    <a:pt x="2071" y="12502"/>
                  </a:lnTo>
                  <a:lnTo>
                    <a:pt x="2042" y="12492"/>
                  </a:lnTo>
                  <a:lnTo>
                    <a:pt x="2012" y="12482"/>
                  </a:lnTo>
                  <a:lnTo>
                    <a:pt x="1984" y="12472"/>
                  </a:lnTo>
                  <a:lnTo>
                    <a:pt x="1957" y="12461"/>
                  </a:lnTo>
                  <a:lnTo>
                    <a:pt x="1931" y="12450"/>
                  </a:lnTo>
                  <a:lnTo>
                    <a:pt x="1905" y="12438"/>
                  </a:lnTo>
                  <a:lnTo>
                    <a:pt x="1879" y="12426"/>
                  </a:lnTo>
                  <a:lnTo>
                    <a:pt x="1853" y="12414"/>
                  </a:lnTo>
                  <a:lnTo>
                    <a:pt x="1827" y="12401"/>
                  </a:lnTo>
                  <a:lnTo>
                    <a:pt x="1801" y="12388"/>
                  </a:lnTo>
                  <a:lnTo>
                    <a:pt x="1776" y="12374"/>
                  </a:lnTo>
                  <a:lnTo>
                    <a:pt x="1752" y="12360"/>
                  </a:lnTo>
                  <a:lnTo>
                    <a:pt x="1727" y="12345"/>
                  </a:lnTo>
                  <a:lnTo>
                    <a:pt x="1703" y="12330"/>
                  </a:lnTo>
                  <a:lnTo>
                    <a:pt x="1680" y="12315"/>
                  </a:lnTo>
                  <a:lnTo>
                    <a:pt x="1655" y="12299"/>
                  </a:lnTo>
                  <a:lnTo>
                    <a:pt x="1632" y="12281"/>
                  </a:lnTo>
                  <a:lnTo>
                    <a:pt x="1609" y="12265"/>
                  </a:lnTo>
                  <a:lnTo>
                    <a:pt x="1607" y="12263"/>
                  </a:lnTo>
                  <a:lnTo>
                    <a:pt x="1605" y="12261"/>
                  </a:lnTo>
                  <a:lnTo>
                    <a:pt x="1583" y="12244"/>
                  </a:lnTo>
                  <a:lnTo>
                    <a:pt x="1561" y="12226"/>
                  </a:lnTo>
                  <a:lnTo>
                    <a:pt x="1540" y="12209"/>
                  </a:lnTo>
                  <a:lnTo>
                    <a:pt x="1519" y="12191"/>
                  </a:lnTo>
                  <a:lnTo>
                    <a:pt x="1499" y="12172"/>
                  </a:lnTo>
                  <a:lnTo>
                    <a:pt x="1477" y="12154"/>
                  </a:lnTo>
                  <a:lnTo>
                    <a:pt x="1458" y="12135"/>
                  </a:lnTo>
                  <a:lnTo>
                    <a:pt x="1438" y="12115"/>
                  </a:lnTo>
                  <a:lnTo>
                    <a:pt x="1400" y="12074"/>
                  </a:lnTo>
                  <a:lnTo>
                    <a:pt x="1364" y="12033"/>
                  </a:lnTo>
                  <a:lnTo>
                    <a:pt x="1328" y="11990"/>
                  </a:lnTo>
                  <a:lnTo>
                    <a:pt x="1295" y="11946"/>
                  </a:lnTo>
                  <a:lnTo>
                    <a:pt x="1291" y="11941"/>
                  </a:lnTo>
                  <a:lnTo>
                    <a:pt x="1288" y="11938"/>
                  </a:lnTo>
                  <a:lnTo>
                    <a:pt x="1273" y="11916"/>
                  </a:lnTo>
                  <a:lnTo>
                    <a:pt x="1258" y="11895"/>
                  </a:lnTo>
                  <a:lnTo>
                    <a:pt x="1244" y="11873"/>
                  </a:lnTo>
                  <a:lnTo>
                    <a:pt x="1231" y="11851"/>
                  </a:lnTo>
                  <a:lnTo>
                    <a:pt x="1205" y="11807"/>
                  </a:lnTo>
                  <a:lnTo>
                    <a:pt x="1181" y="11760"/>
                  </a:lnTo>
                  <a:lnTo>
                    <a:pt x="1157" y="11713"/>
                  </a:lnTo>
                  <a:lnTo>
                    <a:pt x="1136" y="11666"/>
                  </a:lnTo>
                  <a:lnTo>
                    <a:pt x="1116" y="11617"/>
                  </a:lnTo>
                  <a:lnTo>
                    <a:pt x="1098" y="11567"/>
                  </a:lnTo>
                  <a:lnTo>
                    <a:pt x="1091" y="11547"/>
                  </a:lnTo>
                  <a:lnTo>
                    <a:pt x="1085" y="11528"/>
                  </a:lnTo>
                  <a:lnTo>
                    <a:pt x="1079" y="11508"/>
                  </a:lnTo>
                  <a:lnTo>
                    <a:pt x="1074" y="11488"/>
                  </a:lnTo>
                  <a:lnTo>
                    <a:pt x="1059" y="11438"/>
                  </a:lnTo>
                  <a:lnTo>
                    <a:pt x="1046" y="11385"/>
                  </a:lnTo>
                  <a:lnTo>
                    <a:pt x="1034" y="11334"/>
                  </a:lnTo>
                  <a:lnTo>
                    <a:pt x="1025" y="11282"/>
                  </a:lnTo>
                  <a:lnTo>
                    <a:pt x="1020" y="11254"/>
                  </a:lnTo>
                  <a:lnTo>
                    <a:pt x="1017" y="11228"/>
                  </a:lnTo>
                  <a:lnTo>
                    <a:pt x="1013" y="11201"/>
                  </a:lnTo>
                  <a:lnTo>
                    <a:pt x="1011" y="11175"/>
                  </a:lnTo>
                  <a:lnTo>
                    <a:pt x="1009" y="11148"/>
                  </a:lnTo>
                  <a:lnTo>
                    <a:pt x="1007" y="11121"/>
                  </a:lnTo>
                  <a:lnTo>
                    <a:pt x="1006" y="11092"/>
                  </a:lnTo>
                  <a:lnTo>
                    <a:pt x="1006" y="11065"/>
                  </a:lnTo>
                  <a:lnTo>
                    <a:pt x="1006" y="11037"/>
                  </a:lnTo>
                  <a:lnTo>
                    <a:pt x="1007" y="11010"/>
                  </a:lnTo>
                  <a:lnTo>
                    <a:pt x="1009" y="10983"/>
                  </a:lnTo>
                  <a:lnTo>
                    <a:pt x="1011" y="10956"/>
                  </a:lnTo>
                  <a:lnTo>
                    <a:pt x="1013" y="10929"/>
                  </a:lnTo>
                  <a:lnTo>
                    <a:pt x="1017" y="10901"/>
                  </a:lnTo>
                  <a:lnTo>
                    <a:pt x="1020" y="10875"/>
                  </a:lnTo>
                  <a:lnTo>
                    <a:pt x="1025" y="10848"/>
                  </a:lnTo>
                  <a:lnTo>
                    <a:pt x="1034" y="10796"/>
                  </a:lnTo>
                  <a:lnTo>
                    <a:pt x="1046" y="10744"/>
                  </a:lnTo>
                  <a:lnTo>
                    <a:pt x="1059" y="10693"/>
                  </a:lnTo>
                  <a:lnTo>
                    <a:pt x="1074" y="10642"/>
                  </a:lnTo>
                  <a:lnTo>
                    <a:pt x="1079" y="10622"/>
                  </a:lnTo>
                  <a:lnTo>
                    <a:pt x="1085" y="10603"/>
                  </a:lnTo>
                  <a:lnTo>
                    <a:pt x="1091" y="10582"/>
                  </a:lnTo>
                  <a:lnTo>
                    <a:pt x="1098" y="10563"/>
                  </a:lnTo>
                  <a:lnTo>
                    <a:pt x="1116" y="10514"/>
                  </a:lnTo>
                  <a:lnTo>
                    <a:pt x="1136" y="10465"/>
                  </a:lnTo>
                  <a:lnTo>
                    <a:pt x="1157" y="10417"/>
                  </a:lnTo>
                  <a:lnTo>
                    <a:pt x="1181" y="10370"/>
                  </a:lnTo>
                  <a:lnTo>
                    <a:pt x="1205" y="10324"/>
                  </a:lnTo>
                  <a:lnTo>
                    <a:pt x="1231" y="10279"/>
                  </a:lnTo>
                  <a:lnTo>
                    <a:pt x="1244" y="10257"/>
                  </a:lnTo>
                  <a:lnTo>
                    <a:pt x="1258" y="10235"/>
                  </a:lnTo>
                  <a:lnTo>
                    <a:pt x="1273" y="10213"/>
                  </a:lnTo>
                  <a:lnTo>
                    <a:pt x="1288" y="10192"/>
                  </a:lnTo>
                  <a:lnTo>
                    <a:pt x="1291" y="10188"/>
                  </a:lnTo>
                  <a:lnTo>
                    <a:pt x="1295" y="10184"/>
                  </a:lnTo>
                  <a:lnTo>
                    <a:pt x="1328" y="10140"/>
                  </a:lnTo>
                  <a:lnTo>
                    <a:pt x="1364" y="10098"/>
                  </a:lnTo>
                  <a:lnTo>
                    <a:pt x="1400" y="10055"/>
                  </a:lnTo>
                  <a:lnTo>
                    <a:pt x="1438" y="10015"/>
                  </a:lnTo>
                  <a:lnTo>
                    <a:pt x="1458" y="9996"/>
                  </a:lnTo>
                  <a:lnTo>
                    <a:pt x="1477" y="9977"/>
                  </a:lnTo>
                  <a:lnTo>
                    <a:pt x="1499" y="9958"/>
                  </a:lnTo>
                  <a:lnTo>
                    <a:pt x="1519" y="9939"/>
                  </a:lnTo>
                  <a:lnTo>
                    <a:pt x="1540" y="9921"/>
                  </a:lnTo>
                  <a:lnTo>
                    <a:pt x="1561" y="9903"/>
                  </a:lnTo>
                  <a:lnTo>
                    <a:pt x="1583" y="9885"/>
                  </a:lnTo>
                  <a:lnTo>
                    <a:pt x="1605" y="9869"/>
                  </a:lnTo>
                  <a:lnTo>
                    <a:pt x="1607" y="9867"/>
                  </a:lnTo>
                  <a:lnTo>
                    <a:pt x="1609" y="9864"/>
                  </a:lnTo>
                  <a:lnTo>
                    <a:pt x="1655" y="9832"/>
                  </a:lnTo>
                  <a:lnTo>
                    <a:pt x="1703" y="9800"/>
                  </a:lnTo>
                  <a:lnTo>
                    <a:pt x="1727" y="9785"/>
                  </a:lnTo>
                  <a:lnTo>
                    <a:pt x="1752" y="9771"/>
                  </a:lnTo>
                  <a:lnTo>
                    <a:pt x="1776" y="9757"/>
                  </a:lnTo>
                  <a:lnTo>
                    <a:pt x="1801" y="9743"/>
                  </a:lnTo>
                  <a:lnTo>
                    <a:pt x="1827" y="9729"/>
                  </a:lnTo>
                  <a:lnTo>
                    <a:pt x="1853" y="9716"/>
                  </a:lnTo>
                  <a:lnTo>
                    <a:pt x="1879" y="9704"/>
                  </a:lnTo>
                  <a:lnTo>
                    <a:pt x="1905" y="9692"/>
                  </a:lnTo>
                  <a:lnTo>
                    <a:pt x="1931" y="9680"/>
                  </a:lnTo>
                  <a:lnTo>
                    <a:pt x="1957" y="9669"/>
                  </a:lnTo>
                  <a:lnTo>
                    <a:pt x="1984" y="9659"/>
                  </a:lnTo>
                  <a:lnTo>
                    <a:pt x="2012" y="9649"/>
                  </a:lnTo>
                  <a:lnTo>
                    <a:pt x="2042" y="9639"/>
                  </a:lnTo>
                  <a:lnTo>
                    <a:pt x="2071" y="9629"/>
                  </a:lnTo>
                  <a:lnTo>
                    <a:pt x="2101" y="9620"/>
                  </a:lnTo>
                  <a:lnTo>
                    <a:pt x="2132" y="9611"/>
                  </a:lnTo>
                  <a:lnTo>
                    <a:pt x="2162" y="9603"/>
                  </a:lnTo>
                  <a:lnTo>
                    <a:pt x="2194" y="9595"/>
                  </a:lnTo>
                  <a:lnTo>
                    <a:pt x="2225" y="9588"/>
                  </a:lnTo>
                  <a:lnTo>
                    <a:pt x="2256" y="9582"/>
                  </a:lnTo>
                  <a:lnTo>
                    <a:pt x="2287" y="9576"/>
                  </a:lnTo>
                  <a:lnTo>
                    <a:pt x="2319" y="9570"/>
                  </a:lnTo>
                  <a:lnTo>
                    <a:pt x="2352" y="9566"/>
                  </a:lnTo>
                  <a:lnTo>
                    <a:pt x="2384" y="9563"/>
                  </a:lnTo>
                  <a:lnTo>
                    <a:pt x="2416" y="9560"/>
                  </a:lnTo>
                  <a:lnTo>
                    <a:pt x="2448" y="9558"/>
                  </a:lnTo>
                  <a:lnTo>
                    <a:pt x="2481" y="9556"/>
                  </a:lnTo>
                  <a:lnTo>
                    <a:pt x="2515" y="9556"/>
                  </a:lnTo>
                  <a:lnTo>
                    <a:pt x="2548" y="9556"/>
                  </a:lnTo>
                  <a:lnTo>
                    <a:pt x="2581" y="9558"/>
                  </a:lnTo>
                  <a:lnTo>
                    <a:pt x="2613" y="9560"/>
                  </a:lnTo>
                  <a:lnTo>
                    <a:pt x="2645" y="9563"/>
                  </a:lnTo>
                  <a:lnTo>
                    <a:pt x="2677" y="9566"/>
                  </a:lnTo>
                  <a:lnTo>
                    <a:pt x="2710" y="9570"/>
                  </a:lnTo>
                  <a:lnTo>
                    <a:pt x="2742" y="9576"/>
                  </a:lnTo>
                  <a:lnTo>
                    <a:pt x="2773" y="9582"/>
                  </a:lnTo>
                  <a:lnTo>
                    <a:pt x="2804" y="9588"/>
                  </a:lnTo>
                  <a:lnTo>
                    <a:pt x="2835" y="9595"/>
                  </a:lnTo>
                  <a:lnTo>
                    <a:pt x="2867" y="9603"/>
                  </a:lnTo>
                  <a:lnTo>
                    <a:pt x="2897" y="9611"/>
                  </a:lnTo>
                  <a:lnTo>
                    <a:pt x="2927" y="9620"/>
                  </a:lnTo>
                  <a:lnTo>
                    <a:pt x="2958" y="9629"/>
                  </a:lnTo>
                  <a:lnTo>
                    <a:pt x="2987" y="9639"/>
                  </a:lnTo>
                  <a:lnTo>
                    <a:pt x="3017" y="9649"/>
                  </a:lnTo>
                  <a:lnTo>
                    <a:pt x="3045" y="9659"/>
                  </a:lnTo>
                  <a:lnTo>
                    <a:pt x="3072" y="9669"/>
                  </a:lnTo>
                  <a:lnTo>
                    <a:pt x="3098" y="9680"/>
                  </a:lnTo>
                  <a:lnTo>
                    <a:pt x="3124" y="9692"/>
                  </a:lnTo>
                  <a:lnTo>
                    <a:pt x="3150" y="9704"/>
                  </a:lnTo>
                  <a:lnTo>
                    <a:pt x="3176" y="9716"/>
                  </a:lnTo>
                  <a:lnTo>
                    <a:pt x="3202" y="9729"/>
                  </a:lnTo>
                  <a:lnTo>
                    <a:pt x="3228" y="9743"/>
                  </a:lnTo>
                  <a:lnTo>
                    <a:pt x="3252" y="9757"/>
                  </a:lnTo>
                  <a:lnTo>
                    <a:pt x="3277" y="9771"/>
                  </a:lnTo>
                  <a:lnTo>
                    <a:pt x="3301" y="9785"/>
                  </a:lnTo>
                  <a:lnTo>
                    <a:pt x="3325" y="9800"/>
                  </a:lnTo>
                  <a:lnTo>
                    <a:pt x="3373" y="9832"/>
                  </a:lnTo>
                  <a:lnTo>
                    <a:pt x="3419" y="9864"/>
                  </a:lnTo>
                  <a:lnTo>
                    <a:pt x="3422" y="9867"/>
                  </a:lnTo>
                  <a:lnTo>
                    <a:pt x="3424" y="9869"/>
                  </a:lnTo>
                  <a:lnTo>
                    <a:pt x="3446" y="9885"/>
                  </a:lnTo>
                  <a:lnTo>
                    <a:pt x="3468" y="9903"/>
                  </a:lnTo>
                  <a:lnTo>
                    <a:pt x="3489" y="9921"/>
                  </a:lnTo>
                  <a:lnTo>
                    <a:pt x="3510" y="9939"/>
                  </a:lnTo>
                  <a:lnTo>
                    <a:pt x="3530" y="9958"/>
                  </a:lnTo>
                  <a:lnTo>
                    <a:pt x="3552" y="9977"/>
                  </a:lnTo>
                  <a:lnTo>
                    <a:pt x="3571" y="9996"/>
                  </a:lnTo>
                  <a:lnTo>
                    <a:pt x="3591" y="10015"/>
                  </a:lnTo>
                  <a:lnTo>
                    <a:pt x="3629" y="10055"/>
                  </a:lnTo>
                  <a:lnTo>
                    <a:pt x="3665" y="10098"/>
                  </a:lnTo>
                  <a:lnTo>
                    <a:pt x="3701" y="10140"/>
                  </a:lnTo>
                  <a:lnTo>
                    <a:pt x="3735" y="10184"/>
                  </a:lnTo>
                  <a:lnTo>
                    <a:pt x="3738" y="10188"/>
                  </a:lnTo>
                  <a:lnTo>
                    <a:pt x="3741" y="10192"/>
                  </a:lnTo>
                  <a:lnTo>
                    <a:pt x="3756" y="10213"/>
                  </a:lnTo>
                  <a:lnTo>
                    <a:pt x="3770" y="10235"/>
                  </a:lnTo>
                  <a:lnTo>
                    <a:pt x="3784" y="10257"/>
                  </a:lnTo>
                  <a:lnTo>
                    <a:pt x="3798" y="10279"/>
                  </a:lnTo>
                  <a:lnTo>
                    <a:pt x="3824" y="10324"/>
                  </a:lnTo>
                  <a:lnTo>
                    <a:pt x="3848" y="10370"/>
                  </a:lnTo>
                  <a:lnTo>
                    <a:pt x="3872" y="10417"/>
                  </a:lnTo>
                  <a:lnTo>
                    <a:pt x="3893" y="10465"/>
                  </a:lnTo>
                  <a:lnTo>
                    <a:pt x="3913" y="10514"/>
                  </a:lnTo>
                  <a:lnTo>
                    <a:pt x="3931" y="10563"/>
                  </a:lnTo>
                  <a:lnTo>
                    <a:pt x="3938" y="10582"/>
                  </a:lnTo>
                  <a:lnTo>
                    <a:pt x="3944" y="10603"/>
                  </a:lnTo>
                  <a:lnTo>
                    <a:pt x="3950" y="10622"/>
                  </a:lnTo>
                  <a:lnTo>
                    <a:pt x="3956" y="10642"/>
                  </a:lnTo>
                  <a:lnTo>
                    <a:pt x="3970" y="10693"/>
                  </a:lnTo>
                  <a:lnTo>
                    <a:pt x="3983" y="10744"/>
                  </a:lnTo>
                  <a:lnTo>
                    <a:pt x="3994" y="10796"/>
                  </a:lnTo>
                  <a:lnTo>
                    <a:pt x="4004" y="10848"/>
                  </a:lnTo>
                  <a:lnTo>
                    <a:pt x="4008" y="10875"/>
                  </a:lnTo>
                  <a:lnTo>
                    <a:pt x="4012" y="10901"/>
                  </a:lnTo>
                  <a:lnTo>
                    <a:pt x="4015" y="10929"/>
                  </a:lnTo>
                  <a:lnTo>
                    <a:pt x="4018" y="10956"/>
                  </a:lnTo>
                  <a:lnTo>
                    <a:pt x="4020" y="10983"/>
                  </a:lnTo>
                  <a:lnTo>
                    <a:pt x="4022" y="11010"/>
                  </a:lnTo>
                  <a:lnTo>
                    <a:pt x="4023" y="11037"/>
                  </a:lnTo>
                  <a:lnTo>
                    <a:pt x="4023" y="11065"/>
                  </a:lnTo>
                  <a:lnTo>
                    <a:pt x="4023" y="11092"/>
                  </a:lnTo>
                  <a:lnTo>
                    <a:pt x="4022" y="11121"/>
                  </a:lnTo>
                  <a:lnTo>
                    <a:pt x="4020" y="11148"/>
                  </a:lnTo>
                  <a:lnTo>
                    <a:pt x="4018" y="11175"/>
                  </a:lnTo>
                  <a:lnTo>
                    <a:pt x="4015" y="11201"/>
                  </a:lnTo>
                  <a:lnTo>
                    <a:pt x="4012" y="11228"/>
                  </a:lnTo>
                  <a:lnTo>
                    <a:pt x="4008" y="11254"/>
                  </a:lnTo>
                  <a:lnTo>
                    <a:pt x="4004" y="11282"/>
                  </a:lnTo>
                  <a:lnTo>
                    <a:pt x="3994" y="11334"/>
                  </a:lnTo>
                  <a:lnTo>
                    <a:pt x="3983" y="11385"/>
                  </a:lnTo>
                  <a:lnTo>
                    <a:pt x="3970" y="11438"/>
                  </a:lnTo>
                  <a:lnTo>
                    <a:pt x="3956" y="11488"/>
                  </a:lnTo>
                  <a:close/>
                  <a:moveTo>
                    <a:pt x="3017" y="14586"/>
                  </a:moveTo>
                  <a:lnTo>
                    <a:pt x="3016" y="14612"/>
                  </a:lnTo>
                  <a:lnTo>
                    <a:pt x="3014" y="14637"/>
                  </a:lnTo>
                  <a:lnTo>
                    <a:pt x="3011" y="14663"/>
                  </a:lnTo>
                  <a:lnTo>
                    <a:pt x="3007" y="14688"/>
                  </a:lnTo>
                  <a:lnTo>
                    <a:pt x="3001" y="14712"/>
                  </a:lnTo>
                  <a:lnTo>
                    <a:pt x="2995" y="14736"/>
                  </a:lnTo>
                  <a:lnTo>
                    <a:pt x="2987" y="14759"/>
                  </a:lnTo>
                  <a:lnTo>
                    <a:pt x="2978" y="14782"/>
                  </a:lnTo>
                  <a:lnTo>
                    <a:pt x="2968" y="14804"/>
                  </a:lnTo>
                  <a:lnTo>
                    <a:pt x="2957" y="14827"/>
                  </a:lnTo>
                  <a:lnTo>
                    <a:pt x="2945" y="14847"/>
                  </a:lnTo>
                  <a:lnTo>
                    <a:pt x="2932" y="14868"/>
                  </a:lnTo>
                  <a:lnTo>
                    <a:pt x="2918" y="14887"/>
                  </a:lnTo>
                  <a:lnTo>
                    <a:pt x="2903" y="14906"/>
                  </a:lnTo>
                  <a:lnTo>
                    <a:pt x="2887" y="14924"/>
                  </a:lnTo>
                  <a:lnTo>
                    <a:pt x="2870" y="14942"/>
                  </a:lnTo>
                  <a:lnTo>
                    <a:pt x="2852" y="14958"/>
                  </a:lnTo>
                  <a:lnTo>
                    <a:pt x="2834" y="14974"/>
                  </a:lnTo>
                  <a:lnTo>
                    <a:pt x="2815" y="14989"/>
                  </a:lnTo>
                  <a:lnTo>
                    <a:pt x="2795" y="15004"/>
                  </a:lnTo>
                  <a:lnTo>
                    <a:pt x="2775" y="15017"/>
                  </a:lnTo>
                  <a:lnTo>
                    <a:pt x="2754" y="15029"/>
                  </a:lnTo>
                  <a:lnTo>
                    <a:pt x="2733" y="15040"/>
                  </a:lnTo>
                  <a:lnTo>
                    <a:pt x="2711" y="15050"/>
                  </a:lnTo>
                  <a:lnTo>
                    <a:pt x="2688" y="15059"/>
                  </a:lnTo>
                  <a:lnTo>
                    <a:pt x="2664" y="15067"/>
                  </a:lnTo>
                  <a:lnTo>
                    <a:pt x="2640" y="15073"/>
                  </a:lnTo>
                  <a:lnTo>
                    <a:pt x="2616" y="15079"/>
                  </a:lnTo>
                  <a:lnTo>
                    <a:pt x="2591" y="15083"/>
                  </a:lnTo>
                  <a:lnTo>
                    <a:pt x="2566" y="15086"/>
                  </a:lnTo>
                  <a:lnTo>
                    <a:pt x="2541" y="15088"/>
                  </a:lnTo>
                  <a:lnTo>
                    <a:pt x="2515" y="15089"/>
                  </a:lnTo>
                  <a:lnTo>
                    <a:pt x="2488" y="15088"/>
                  </a:lnTo>
                  <a:lnTo>
                    <a:pt x="2463" y="15086"/>
                  </a:lnTo>
                  <a:lnTo>
                    <a:pt x="2438" y="15083"/>
                  </a:lnTo>
                  <a:lnTo>
                    <a:pt x="2413" y="15079"/>
                  </a:lnTo>
                  <a:lnTo>
                    <a:pt x="2389" y="15073"/>
                  </a:lnTo>
                  <a:lnTo>
                    <a:pt x="2365" y="15067"/>
                  </a:lnTo>
                  <a:lnTo>
                    <a:pt x="2341" y="15059"/>
                  </a:lnTo>
                  <a:lnTo>
                    <a:pt x="2318" y="15050"/>
                  </a:lnTo>
                  <a:lnTo>
                    <a:pt x="2296" y="15040"/>
                  </a:lnTo>
                  <a:lnTo>
                    <a:pt x="2275" y="15029"/>
                  </a:lnTo>
                  <a:lnTo>
                    <a:pt x="2254" y="15017"/>
                  </a:lnTo>
                  <a:lnTo>
                    <a:pt x="2233" y="15004"/>
                  </a:lnTo>
                  <a:lnTo>
                    <a:pt x="2214" y="14989"/>
                  </a:lnTo>
                  <a:lnTo>
                    <a:pt x="2195" y="14974"/>
                  </a:lnTo>
                  <a:lnTo>
                    <a:pt x="2177" y="14958"/>
                  </a:lnTo>
                  <a:lnTo>
                    <a:pt x="2158" y="14942"/>
                  </a:lnTo>
                  <a:lnTo>
                    <a:pt x="2142" y="14924"/>
                  </a:lnTo>
                  <a:lnTo>
                    <a:pt x="2126" y="14906"/>
                  </a:lnTo>
                  <a:lnTo>
                    <a:pt x="2111" y="14887"/>
                  </a:lnTo>
                  <a:lnTo>
                    <a:pt x="2097" y="14868"/>
                  </a:lnTo>
                  <a:lnTo>
                    <a:pt x="2084" y="14847"/>
                  </a:lnTo>
                  <a:lnTo>
                    <a:pt x="2072" y="14827"/>
                  </a:lnTo>
                  <a:lnTo>
                    <a:pt x="2061" y="14804"/>
                  </a:lnTo>
                  <a:lnTo>
                    <a:pt x="2051" y="14782"/>
                  </a:lnTo>
                  <a:lnTo>
                    <a:pt x="2042" y="14759"/>
                  </a:lnTo>
                  <a:lnTo>
                    <a:pt x="2034" y="14736"/>
                  </a:lnTo>
                  <a:lnTo>
                    <a:pt x="2028" y="14712"/>
                  </a:lnTo>
                  <a:lnTo>
                    <a:pt x="2022" y="14688"/>
                  </a:lnTo>
                  <a:lnTo>
                    <a:pt x="2018" y="14663"/>
                  </a:lnTo>
                  <a:lnTo>
                    <a:pt x="2015" y="14637"/>
                  </a:lnTo>
                  <a:lnTo>
                    <a:pt x="2013" y="14612"/>
                  </a:lnTo>
                  <a:lnTo>
                    <a:pt x="2012" y="14586"/>
                  </a:lnTo>
                  <a:lnTo>
                    <a:pt x="2012" y="13530"/>
                  </a:lnTo>
                  <a:lnTo>
                    <a:pt x="2073" y="13541"/>
                  </a:lnTo>
                  <a:lnTo>
                    <a:pt x="2134" y="13551"/>
                  </a:lnTo>
                  <a:lnTo>
                    <a:pt x="2197" y="13560"/>
                  </a:lnTo>
                  <a:lnTo>
                    <a:pt x="2259" y="13567"/>
                  </a:lnTo>
                  <a:lnTo>
                    <a:pt x="2322" y="13573"/>
                  </a:lnTo>
                  <a:lnTo>
                    <a:pt x="2386" y="13577"/>
                  </a:lnTo>
                  <a:lnTo>
                    <a:pt x="2450" y="13579"/>
                  </a:lnTo>
                  <a:lnTo>
                    <a:pt x="2515" y="13580"/>
                  </a:lnTo>
                  <a:lnTo>
                    <a:pt x="2579" y="13579"/>
                  </a:lnTo>
                  <a:lnTo>
                    <a:pt x="2643" y="13577"/>
                  </a:lnTo>
                  <a:lnTo>
                    <a:pt x="2707" y="13573"/>
                  </a:lnTo>
                  <a:lnTo>
                    <a:pt x="2770" y="13567"/>
                  </a:lnTo>
                  <a:lnTo>
                    <a:pt x="2832" y="13560"/>
                  </a:lnTo>
                  <a:lnTo>
                    <a:pt x="2895" y="13551"/>
                  </a:lnTo>
                  <a:lnTo>
                    <a:pt x="2956" y="13541"/>
                  </a:lnTo>
                  <a:lnTo>
                    <a:pt x="3017" y="13530"/>
                  </a:lnTo>
                  <a:lnTo>
                    <a:pt x="3017" y="14586"/>
                  </a:lnTo>
                  <a:close/>
                  <a:moveTo>
                    <a:pt x="2012" y="1509"/>
                  </a:moveTo>
                  <a:lnTo>
                    <a:pt x="2013" y="1483"/>
                  </a:lnTo>
                  <a:lnTo>
                    <a:pt x="2015" y="1458"/>
                  </a:lnTo>
                  <a:lnTo>
                    <a:pt x="2018" y="1432"/>
                  </a:lnTo>
                  <a:lnTo>
                    <a:pt x="2022" y="1407"/>
                  </a:lnTo>
                  <a:lnTo>
                    <a:pt x="2028" y="1383"/>
                  </a:lnTo>
                  <a:lnTo>
                    <a:pt x="2034" y="1359"/>
                  </a:lnTo>
                  <a:lnTo>
                    <a:pt x="2042" y="1336"/>
                  </a:lnTo>
                  <a:lnTo>
                    <a:pt x="2051" y="1313"/>
                  </a:lnTo>
                  <a:lnTo>
                    <a:pt x="2061" y="1291"/>
                  </a:lnTo>
                  <a:lnTo>
                    <a:pt x="2072" y="1269"/>
                  </a:lnTo>
                  <a:lnTo>
                    <a:pt x="2084" y="1248"/>
                  </a:lnTo>
                  <a:lnTo>
                    <a:pt x="2097" y="1227"/>
                  </a:lnTo>
                  <a:lnTo>
                    <a:pt x="2111" y="1208"/>
                  </a:lnTo>
                  <a:lnTo>
                    <a:pt x="2126" y="1189"/>
                  </a:lnTo>
                  <a:lnTo>
                    <a:pt x="2142" y="1171"/>
                  </a:lnTo>
                  <a:lnTo>
                    <a:pt x="2158" y="1153"/>
                  </a:lnTo>
                  <a:lnTo>
                    <a:pt x="2177" y="1137"/>
                  </a:lnTo>
                  <a:lnTo>
                    <a:pt x="2195" y="1121"/>
                  </a:lnTo>
                  <a:lnTo>
                    <a:pt x="2214" y="1106"/>
                  </a:lnTo>
                  <a:lnTo>
                    <a:pt x="2233" y="1091"/>
                  </a:lnTo>
                  <a:lnTo>
                    <a:pt x="2254" y="1078"/>
                  </a:lnTo>
                  <a:lnTo>
                    <a:pt x="2275" y="1066"/>
                  </a:lnTo>
                  <a:lnTo>
                    <a:pt x="2296" y="1055"/>
                  </a:lnTo>
                  <a:lnTo>
                    <a:pt x="2318" y="1045"/>
                  </a:lnTo>
                  <a:lnTo>
                    <a:pt x="2341" y="1036"/>
                  </a:lnTo>
                  <a:lnTo>
                    <a:pt x="2365" y="1029"/>
                  </a:lnTo>
                  <a:lnTo>
                    <a:pt x="2389" y="1022"/>
                  </a:lnTo>
                  <a:lnTo>
                    <a:pt x="2413" y="1016"/>
                  </a:lnTo>
                  <a:lnTo>
                    <a:pt x="2438" y="1012"/>
                  </a:lnTo>
                  <a:lnTo>
                    <a:pt x="2463" y="1009"/>
                  </a:lnTo>
                  <a:lnTo>
                    <a:pt x="2488" y="1007"/>
                  </a:lnTo>
                  <a:lnTo>
                    <a:pt x="2515" y="1006"/>
                  </a:lnTo>
                  <a:lnTo>
                    <a:pt x="2541" y="1007"/>
                  </a:lnTo>
                  <a:lnTo>
                    <a:pt x="2566" y="1009"/>
                  </a:lnTo>
                  <a:lnTo>
                    <a:pt x="2591" y="1012"/>
                  </a:lnTo>
                  <a:lnTo>
                    <a:pt x="2616" y="1016"/>
                  </a:lnTo>
                  <a:lnTo>
                    <a:pt x="2640" y="1022"/>
                  </a:lnTo>
                  <a:lnTo>
                    <a:pt x="2664" y="1029"/>
                  </a:lnTo>
                  <a:lnTo>
                    <a:pt x="2688" y="1036"/>
                  </a:lnTo>
                  <a:lnTo>
                    <a:pt x="2711" y="1045"/>
                  </a:lnTo>
                  <a:lnTo>
                    <a:pt x="2733" y="1055"/>
                  </a:lnTo>
                  <a:lnTo>
                    <a:pt x="2754" y="1066"/>
                  </a:lnTo>
                  <a:lnTo>
                    <a:pt x="2775" y="1078"/>
                  </a:lnTo>
                  <a:lnTo>
                    <a:pt x="2795" y="1091"/>
                  </a:lnTo>
                  <a:lnTo>
                    <a:pt x="2815" y="1106"/>
                  </a:lnTo>
                  <a:lnTo>
                    <a:pt x="2834" y="1121"/>
                  </a:lnTo>
                  <a:lnTo>
                    <a:pt x="2852" y="1137"/>
                  </a:lnTo>
                  <a:lnTo>
                    <a:pt x="2870" y="1153"/>
                  </a:lnTo>
                  <a:lnTo>
                    <a:pt x="2887" y="1171"/>
                  </a:lnTo>
                  <a:lnTo>
                    <a:pt x="2903" y="1189"/>
                  </a:lnTo>
                  <a:lnTo>
                    <a:pt x="2918" y="1208"/>
                  </a:lnTo>
                  <a:lnTo>
                    <a:pt x="2932" y="1227"/>
                  </a:lnTo>
                  <a:lnTo>
                    <a:pt x="2945" y="1248"/>
                  </a:lnTo>
                  <a:lnTo>
                    <a:pt x="2957" y="1269"/>
                  </a:lnTo>
                  <a:lnTo>
                    <a:pt x="2968" y="1291"/>
                  </a:lnTo>
                  <a:lnTo>
                    <a:pt x="2978" y="1313"/>
                  </a:lnTo>
                  <a:lnTo>
                    <a:pt x="2987" y="1336"/>
                  </a:lnTo>
                  <a:lnTo>
                    <a:pt x="2995" y="1359"/>
                  </a:lnTo>
                  <a:lnTo>
                    <a:pt x="3001" y="1383"/>
                  </a:lnTo>
                  <a:lnTo>
                    <a:pt x="3007" y="1407"/>
                  </a:lnTo>
                  <a:lnTo>
                    <a:pt x="3011" y="1432"/>
                  </a:lnTo>
                  <a:lnTo>
                    <a:pt x="3014" y="1458"/>
                  </a:lnTo>
                  <a:lnTo>
                    <a:pt x="3016" y="1483"/>
                  </a:lnTo>
                  <a:lnTo>
                    <a:pt x="3017" y="1509"/>
                  </a:lnTo>
                  <a:lnTo>
                    <a:pt x="3017" y="8601"/>
                  </a:lnTo>
                  <a:lnTo>
                    <a:pt x="2956" y="8590"/>
                  </a:lnTo>
                  <a:lnTo>
                    <a:pt x="2895" y="8579"/>
                  </a:lnTo>
                  <a:lnTo>
                    <a:pt x="2832" y="8571"/>
                  </a:lnTo>
                  <a:lnTo>
                    <a:pt x="2770" y="8564"/>
                  </a:lnTo>
                  <a:lnTo>
                    <a:pt x="2707" y="8558"/>
                  </a:lnTo>
                  <a:lnTo>
                    <a:pt x="2643" y="8553"/>
                  </a:lnTo>
                  <a:lnTo>
                    <a:pt x="2579" y="8551"/>
                  </a:lnTo>
                  <a:lnTo>
                    <a:pt x="2515" y="8550"/>
                  </a:lnTo>
                  <a:lnTo>
                    <a:pt x="2450" y="8551"/>
                  </a:lnTo>
                  <a:lnTo>
                    <a:pt x="2386" y="8553"/>
                  </a:lnTo>
                  <a:lnTo>
                    <a:pt x="2322" y="8558"/>
                  </a:lnTo>
                  <a:lnTo>
                    <a:pt x="2259" y="8564"/>
                  </a:lnTo>
                  <a:lnTo>
                    <a:pt x="2197" y="8571"/>
                  </a:lnTo>
                  <a:lnTo>
                    <a:pt x="2134" y="8579"/>
                  </a:lnTo>
                  <a:lnTo>
                    <a:pt x="2073" y="8590"/>
                  </a:lnTo>
                  <a:lnTo>
                    <a:pt x="2012" y="8601"/>
                  </a:lnTo>
                  <a:lnTo>
                    <a:pt x="2012" y="1509"/>
                  </a:lnTo>
                  <a:close/>
                  <a:moveTo>
                    <a:pt x="4023" y="9065"/>
                  </a:moveTo>
                  <a:lnTo>
                    <a:pt x="4023" y="1509"/>
                  </a:lnTo>
                  <a:lnTo>
                    <a:pt x="4021" y="1431"/>
                  </a:lnTo>
                  <a:lnTo>
                    <a:pt x="4015" y="1355"/>
                  </a:lnTo>
                  <a:lnTo>
                    <a:pt x="4006" y="1280"/>
                  </a:lnTo>
                  <a:lnTo>
                    <a:pt x="3992" y="1205"/>
                  </a:lnTo>
                  <a:lnTo>
                    <a:pt x="3976" y="1133"/>
                  </a:lnTo>
                  <a:lnTo>
                    <a:pt x="3955" y="1060"/>
                  </a:lnTo>
                  <a:lnTo>
                    <a:pt x="3932" y="991"/>
                  </a:lnTo>
                  <a:lnTo>
                    <a:pt x="3905" y="922"/>
                  </a:lnTo>
                  <a:lnTo>
                    <a:pt x="3875" y="855"/>
                  </a:lnTo>
                  <a:lnTo>
                    <a:pt x="3841" y="791"/>
                  </a:lnTo>
                  <a:lnTo>
                    <a:pt x="3805" y="727"/>
                  </a:lnTo>
                  <a:lnTo>
                    <a:pt x="3765" y="666"/>
                  </a:lnTo>
                  <a:lnTo>
                    <a:pt x="3724" y="607"/>
                  </a:lnTo>
                  <a:lnTo>
                    <a:pt x="3678" y="549"/>
                  </a:lnTo>
                  <a:lnTo>
                    <a:pt x="3631" y="495"/>
                  </a:lnTo>
                  <a:lnTo>
                    <a:pt x="3581" y="443"/>
                  </a:lnTo>
                  <a:lnTo>
                    <a:pt x="3528" y="392"/>
                  </a:lnTo>
                  <a:lnTo>
                    <a:pt x="3474" y="345"/>
                  </a:lnTo>
                  <a:lnTo>
                    <a:pt x="3417" y="300"/>
                  </a:lnTo>
                  <a:lnTo>
                    <a:pt x="3357" y="259"/>
                  </a:lnTo>
                  <a:lnTo>
                    <a:pt x="3296" y="219"/>
                  </a:lnTo>
                  <a:lnTo>
                    <a:pt x="3233" y="182"/>
                  </a:lnTo>
                  <a:lnTo>
                    <a:pt x="3168" y="149"/>
                  </a:lnTo>
                  <a:lnTo>
                    <a:pt x="3101" y="119"/>
                  </a:lnTo>
                  <a:lnTo>
                    <a:pt x="3033" y="92"/>
                  </a:lnTo>
                  <a:lnTo>
                    <a:pt x="2963" y="68"/>
                  </a:lnTo>
                  <a:lnTo>
                    <a:pt x="2891" y="47"/>
                  </a:lnTo>
                  <a:lnTo>
                    <a:pt x="2818" y="31"/>
                  </a:lnTo>
                  <a:lnTo>
                    <a:pt x="2744" y="17"/>
                  </a:lnTo>
                  <a:lnTo>
                    <a:pt x="2668" y="8"/>
                  </a:lnTo>
                  <a:lnTo>
                    <a:pt x="2592" y="2"/>
                  </a:lnTo>
                  <a:lnTo>
                    <a:pt x="2515" y="0"/>
                  </a:lnTo>
                  <a:lnTo>
                    <a:pt x="2437" y="2"/>
                  </a:lnTo>
                  <a:lnTo>
                    <a:pt x="2361" y="8"/>
                  </a:lnTo>
                  <a:lnTo>
                    <a:pt x="2285" y="17"/>
                  </a:lnTo>
                  <a:lnTo>
                    <a:pt x="2211" y="31"/>
                  </a:lnTo>
                  <a:lnTo>
                    <a:pt x="2137" y="47"/>
                  </a:lnTo>
                  <a:lnTo>
                    <a:pt x="2066" y="68"/>
                  </a:lnTo>
                  <a:lnTo>
                    <a:pt x="1996" y="92"/>
                  </a:lnTo>
                  <a:lnTo>
                    <a:pt x="1928" y="119"/>
                  </a:lnTo>
                  <a:lnTo>
                    <a:pt x="1861" y="149"/>
                  </a:lnTo>
                  <a:lnTo>
                    <a:pt x="1795" y="182"/>
                  </a:lnTo>
                  <a:lnTo>
                    <a:pt x="1733" y="219"/>
                  </a:lnTo>
                  <a:lnTo>
                    <a:pt x="1672" y="259"/>
                  </a:lnTo>
                  <a:lnTo>
                    <a:pt x="1612" y="300"/>
                  </a:lnTo>
                  <a:lnTo>
                    <a:pt x="1555" y="345"/>
                  </a:lnTo>
                  <a:lnTo>
                    <a:pt x="1501" y="392"/>
                  </a:lnTo>
                  <a:lnTo>
                    <a:pt x="1448" y="443"/>
                  </a:lnTo>
                  <a:lnTo>
                    <a:pt x="1398" y="495"/>
                  </a:lnTo>
                  <a:lnTo>
                    <a:pt x="1351" y="549"/>
                  </a:lnTo>
                  <a:lnTo>
                    <a:pt x="1305" y="607"/>
                  </a:lnTo>
                  <a:lnTo>
                    <a:pt x="1263" y="666"/>
                  </a:lnTo>
                  <a:lnTo>
                    <a:pt x="1224" y="727"/>
                  </a:lnTo>
                  <a:lnTo>
                    <a:pt x="1188" y="791"/>
                  </a:lnTo>
                  <a:lnTo>
                    <a:pt x="1154" y="855"/>
                  </a:lnTo>
                  <a:lnTo>
                    <a:pt x="1124" y="922"/>
                  </a:lnTo>
                  <a:lnTo>
                    <a:pt x="1097" y="991"/>
                  </a:lnTo>
                  <a:lnTo>
                    <a:pt x="1073" y="1060"/>
                  </a:lnTo>
                  <a:lnTo>
                    <a:pt x="1053" y="1133"/>
                  </a:lnTo>
                  <a:lnTo>
                    <a:pt x="1036" y="1205"/>
                  </a:lnTo>
                  <a:lnTo>
                    <a:pt x="1023" y="1280"/>
                  </a:lnTo>
                  <a:lnTo>
                    <a:pt x="1014" y="1355"/>
                  </a:lnTo>
                  <a:lnTo>
                    <a:pt x="1008" y="1431"/>
                  </a:lnTo>
                  <a:lnTo>
                    <a:pt x="1006" y="1509"/>
                  </a:lnTo>
                  <a:lnTo>
                    <a:pt x="1006" y="9065"/>
                  </a:lnTo>
                  <a:lnTo>
                    <a:pt x="949" y="9109"/>
                  </a:lnTo>
                  <a:lnTo>
                    <a:pt x="894" y="9154"/>
                  </a:lnTo>
                  <a:lnTo>
                    <a:pt x="841" y="9200"/>
                  </a:lnTo>
                  <a:lnTo>
                    <a:pt x="788" y="9249"/>
                  </a:lnTo>
                  <a:lnTo>
                    <a:pt x="737" y="9299"/>
                  </a:lnTo>
                  <a:lnTo>
                    <a:pt x="687" y="9349"/>
                  </a:lnTo>
                  <a:lnTo>
                    <a:pt x="638" y="9401"/>
                  </a:lnTo>
                  <a:lnTo>
                    <a:pt x="592" y="9456"/>
                  </a:lnTo>
                  <a:lnTo>
                    <a:pt x="547" y="9511"/>
                  </a:lnTo>
                  <a:lnTo>
                    <a:pt x="503" y="9567"/>
                  </a:lnTo>
                  <a:lnTo>
                    <a:pt x="460" y="9625"/>
                  </a:lnTo>
                  <a:lnTo>
                    <a:pt x="420" y="9683"/>
                  </a:lnTo>
                  <a:lnTo>
                    <a:pt x="381" y="9744"/>
                  </a:lnTo>
                  <a:lnTo>
                    <a:pt x="344" y="9804"/>
                  </a:lnTo>
                  <a:lnTo>
                    <a:pt x="308" y="9866"/>
                  </a:lnTo>
                  <a:lnTo>
                    <a:pt x="275" y="9930"/>
                  </a:lnTo>
                  <a:lnTo>
                    <a:pt x="243" y="9994"/>
                  </a:lnTo>
                  <a:lnTo>
                    <a:pt x="213" y="10059"/>
                  </a:lnTo>
                  <a:lnTo>
                    <a:pt x="184" y="10126"/>
                  </a:lnTo>
                  <a:lnTo>
                    <a:pt x="158" y="10193"/>
                  </a:lnTo>
                  <a:lnTo>
                    <a:pt x="133" y="10262"/>
                  </a:lnTo>
                  <a:lnTo>
                    <a:pt x="110" y="10330"/>
                  </a:lnTo>
                  <a:lnTo>
                    <a:pt x="90" y="10400"/>
                  </a:lnTo>
                  <a:lnTo>
                    <a:pt x="71" y="10471"/>
                  </a:lnTo>
                  <a:lnTo>
                    <a:pt x="55" y="10543"/>
                  </a:lnTo>
                  <a:lnTo>
                    <a:pt x="41" y="10616"/>
                  </a:lnTo>
                  <a:lnTo>
                    <a:pt x="28" y="10689"/>
                  </a:lnTo>
                  <a:lnTo>
                    <a:pt x="18" y="10763"/>
                  </a:lnTo>
                  <a:lnTo>
                    <a:pt x="10" y="10837"/>
                  </a:lnTo>
                  <a:lnTo>
                    <a:pt x="5" y="10912"/>
                  </a:lnTo>
                  <a:lnTo>
                    <a:pt x="1" y="10989"/>
                  </a:lnTo>
                  <a:lnTo>
                    <a:pt x="0" y="11065"/>
                  </a:lnTo>
                  <a:lnTo>
                    <a:pt x="1" y="11142"/>
                  </a:lnTo>
                  <a:lnTo>
                    <a:pt x="5" y="11218"/>
                  </a:lnTo>
                  <a:lnTo>
                    <a:pt x="10" y="11294"/>
                  </a:lnTo>
                  <a:lnTo>
                    <a:pt x="18" y="11368"/>
                  </a:lnTo>
                  <a:lnTo>
                    <a:pt x="28" y="11442"/>
                  </a:lnTo>
                  <a:lnTo>
                    <a:pt x="41" y="11515"/>
                  </a:lnTo>
                  <a:lnTo>
                    <a:pt x="55" y="11587"/>
                  </a:lnTo>
                  <a:lnTo>
                    <a:pt x="71" y="11660"/>
                  </a:lnTo>
                  <a:lnTo>
                    <a:pt x="90" y="11730"/>
                  </a:lnTo>
                  <a:lnTo>
                    <a:pt x="110" y="11801"/>
                  </a:lnTo>
                  <a:lnTo>
                    <a:pt x="133" y="11869"/>
                  </a:lnTo>
                  <a:lnTo>
                    <a:pt x="158" y="11937"/>
                  </a:lnTo>
                  <a:lnTo>
                    <a:pt x="184" y="12005"/>
                  </a:lnTo>
                  <a:lnTo>
                    <a:pt x="213" y="12071"/>
                  </a:lnTo>
                  <a:lnTo>
                    <a:pt x="243" y="12137"/>
                  </a:lnTo>
                  <a:lnTo>
                    <a:pt x="275" y="12201"/>
                  </a:lnTo>
                  <a:lnTo>
                    <a:pt x="308" y="12264"/>
                  </a:lnTo>
                  <a:lnTo>
                    <a:pt x="344" y="12327"/>
                  </a:lnTo>
                  <a:lnTo>
                    <a:pt x="381" y="12387"/>
                  </a:lnTo>
                  <a:lnTo>
                    <a:pt x="420" y="12447"/>
                  </a:lnTo>
                  <a:lnTo>
                    <a:pt x="460" y="12506"/>
                  </a:lnTo>
                  <a:lnTo>
                    <a:pt x="503" y="12564"/>
                  </a:lnTo>
                  <a:lnTo>
                    <a:pt x="547" y="12619"/>
                  </a:lnTo>
                  <a:lnTo>
                    <a:pt x="592" y="12675"/>
                  </a:lnTo>
                  <a:lnTo>
                    <a:pt x="638" y="12729"/>
                  </a:lnTo>
                  <a:lnTo>
                    <a:pt x="687" y="12781"/>
                  </a:lnTo>
                  <a:lnTo>
                    <a:pt x="737" y="12832"/>
                  </a:lnTo>
                  <a:lnTo>
                    <a:pt x="788" y="12882"/>
                  </a:lnTo>
                  <a:lnTo>
                    <a:pt x="841" y="12930"/>
                  </a:lnTo>
                  <a:lnTo>
                    <a:pt x="894" y="12977"/>
                  </a:lnTo>
                  <a:lnTo>
                    <a:pt x="949" y="13022"/>
                  </a:lnTo>
                  <a:lnTo>
                    <a:pt x="1006" y="13066"/>
                  </a:lnTo>
                  <a:lnTo>
                    <a:pt x="1006" y="14586"/>
                  </a:lnTo>
                  <a:lnTo>
                    <a:pt x="1008" y="14664"/>
                  </a:lnTo>
                  <a:lnTo>
                    <a:pt x="1014" y="14740"/>
                  </a:lnTo>
                  <a:lnTo>
                    <a:pt x="1023" y="14815"/>
                  </a:lnTo>
                  <a:lnTo>
                    <a:pt x="1036" y="14890"/>
                  </a:lnTo>
                  <a:lnTo>
                    <a:pt x="1053" y="14962"/>
                  </a:lnTo>
                  <a:lnTo>
                    <a:pt x="1073" y="15035"/>
                  </a:lnTo>
                  <a:lnTo>
                    <a:pt x="1097" y="15104"/>
                  </a:lnTo>
                  <a:lnTo>
                    <a:pt x="1124" y="15173"/>
                  </a:lnTo>
                  <a:lnTo>
                    <a:pt x="1154" y="15240"/>
                  </a:lnTo>
                  <a:lnTo>
                    <a:pt x="1188" y="15304"/>
                  </a:lnTo>
                  <a:lnTo>
                    <a:pt x="1224" y="15368"/>
                  </a:lnTo>
                  <a:lnTo>
                    <a:pt x="1263" y="15429"/>
                  </a:lnTo>
                  <a:lnTo>
                    <a:pt x="1305" y="15488"/>
                  </a:lnTo>
                  <a:lnTo>
                    <a:pt x="1351" y="15546"/>
                  </a:lnTo>
                  <a:lnTo>
                    <a:pt x="1398" y="15600"/>
                  </a:lnTo>
                  <a:lnTo>
                    <a:pt x="1448" y="15652"/>
                  </a:lnTo>
                  <a:lnTo>
                    <a:pt x="1501" y="15703"/>
                  </a:lnTo>
                  <a:lnTo>
                    <a:pt x="1555" y="15750"/>
                  </a:lnTo>
                  <a:lnTo>
                    <a:pt x="1612" y="15795"/>
                  </a:lnTo>
                  <a:lnTo>
                    <a:pt x="1672" y="15836"/>
                  </a:lnTo>
                  <a:lnTo>
                    <a:pt x="1733" y="15877"/>
                  </a:lnTo>
                  <a:lnTo>
                    <a:pt x="1795" y="15913"/>
                  </a:lnTo>
                  <a:lnTo>
                    <a:pt x="1861" y="15946"/>
                  </a:lnTo>
                  <a:lnTo>
                    <a:pt x="1928" y="15976"/>
                  </a:lnTo>
                  <a:lnTo>
                    <a:pt x="1996" y="16003"/>
                  </a:lnTo>
                  <a:lnTo>
                    <a:pt x="2066" y="16027"/>
                  </a:lnTo>
                  <a:lnTo>
                    <a:pt x="2137" y="16048"/>
                  </a:lnTo>
                  <a:lnTo>
                    <a:pt x="2211" y="16064"/>
                  </a:lnTo>
                  <a:lnTo>
                    <a:pt x="2285" y="16078"/>
                  </a:lnTo>
                  <a:lnTo>
                    <a:pt x="2361" y="16087"/>
                  </a:lnTo>
                  <a:lnTo>
                    <a:pt x="2437" y="16093"/>
                  </a:lnTo>
                  <a:lnTo>
                    <a:pt x="2515" y="16095"/>
                  </a:lnTo>
                  <a:lnTo>
                    <a:pt x="2592" y="16093"/>
                  </a:lnTo>
                  <a:lnTo>
                    <a:pt x="2668" y="16087"/>
                  </a:lnTo>
                  <a:lnTo>
                    <a:pt x="2744" y="16078"/>
                  </a:lnTo>
                  <a:lnTo>
                    <a:pt x="2818" y="16064"/>
                  </a:lnTo>
                  <a:lnTo>
                    <a:pt x="2891" y="16048"/>
                  </a:lnTo>
                  <a:lnTo>
                    <a:pt x="2963" y="16027"/>
                  </a:lnTo>
                  <a:lnTo>
                    <a:pt x="3033" y="16003"/>
                  </a:lnTo>
                  <a:lnTo>
                    <a:pt x="3101" y="15976"/>
                  </a:lnTo>
                  <a:lnTo>
                    <a:pt x="3168" y="15946"/>
                  </a:lnTo>
                  <a:lnTo>
                    <a:pt x="3233" y="15913"/>
                  </a:lnTo>
                  <a:lnTo>
                    <a:pt x="3296" y="15877"/>
                  </a:lnTo>
                  <a:lnTo>
                    <a:pt x="3357" y="15836"/>
                  </a:lnTo>
                  <a:lnTo>
                    <a:pt x="3417" y="15795"/>
                  </a:lnTo>
                  <a:lnTo>
                    <a:pt x="3474" y="15750"/>
                  </a:lnTo>
                  <a:lnTo>
                    <a:pt x="3528" y="15703"/>
                  </a:lnTo>
                  <a:lnTo>
                    <a:pt x="3581" y="15652"/>
                  </a:lnTo>
                  <a:lnTo>
                    <a:pt x="3631" y="15600"/>
                  </a:lnTo>
                  <a:lnTo>
                    <a:pt x="3678" y="15546"/>
                  </a:lnTo>
                  <a:lnTo>
                    <a:pt x="3724" y="15488"/>
                  </a:lnTo>
                  <a:lnTo>
                    <a:pt x="3765" y="15429"/>
                  </a:lnTo>
                  <a:lnTo>
                    <a:pt x="3805" y="15368"/>
                  </a:lnTo>
                  <a:lnTo>
                    <a:pt x="3841" y="15304"/>
                  </a:lnTo>
                  <a:lnTo>
                    <a:pt x="3875" y="15240"/>
                  </a:lnTo>
                  <a:lnTo>
                    <a:pt x="3905" y="15173"/>
                  </a:lnTo>
                  <a:lnTo>
                    <a:pt x="3932" y="15104"/>
                  </a:lnTo>
                  <a:lnTo>
                    <a:pt x="3955" y="15035"/>
                  </a:lnTo>
                  <a:lnTo>
                    <a:pt x="3976" y="14962"/>
                  </a:lnTo>
                  <a:lnTo>
                    <a:pt x="3992" y="14890"/>
                  </a:lnTo>
                  <a:lnTo>
                    <a:pt x="4006" y="14815"/>
                  </a:lnTo>
                  <a:lnTo>
                    <a:pt x="4015" y="14740"/>
                  </a:lnTo>
                  <a:lnTo>
                    <a:pt x="4021" y="14664"/>
                  </a:lnTo>
                  <a:lnTo>
                    <a:pt x="4023" y="14586"/>
                  </a:lnTo>
                  <a:lnTo>
                    <a:pt x="4023" y="13066"/>
                  </a:lnTo>
                  <a:lnTo>
                    <a:pt x="4080" y="13022"/>
                  </a:lnTo>
                  <a:lnTo>
                    <a:pt x="4135" y="12977"/>
                  </a:lnTo>
                  <a:lnTo>
                    <a:pt x="4188" y="12930"/>
                  </a:lnTo>
                  <a:lnTo>
                    <a:pt x="4241" y="12882"/>
                  </a:lnTo>
                  <a:lnTo>
                    <a:pt x="4292" y="12832"/>
                  </a:lnTo>
                  <a:lnTo>
                    <a:pt x="4342" y="12781"/>
                  </a:lnTo>
                  <a:lnTo>
                    <a:pt x="4391" y="12729"/>
                  </a:lnTo>
                  <a:lnTo>
                    <a:pt x="4437" y="12675"/>
                  </a:lnTo>
                  <a:lnTo>
                    <a:pt x="4482" y="12619"/>
                  </a:lnTo>
                  <a:lnTo>
                    <a:pt x="4526" y="12564"/>
                  </a:lnTo>
                  <a:lnTo>
                    <a:pt x="4569" y="12506"/>
                  </a:lnTo>
                  <a:lnTo>
                    <a:pt x="4609" y="12447"/>
                  </a:lnTo>
                  <a:lnTo>
                    <a:pt x="4648" y="12387"/>
                  </a:lnTo>
                  <a:lnTo>
                    <a:pt x="4685" y="12327"/>
                  </a:lnTo>
                  <a:lnTo>
                    <a:pt x="4721" y="12264"/>
                  </a:lnTo>
                  <a:lnTo>
                    <a:pt x="4755" y="12201"/>
                  </a:lnTo>
                  <a:lnTo>
                    <a:pt x="4786" y="12137"/>
                  </a:lnTo>
                  <a:lnTo>
                    <a:pt x="4816" y="12071"/>
                  </a:lnTo>
                  <a:lnTo>
                    <a:pt x="4845" y="12005"/>
                  </a:lnTo>
                  <a:lnTo>
                    <a:pt x="4871" y="11937"/>
                  </a:lnTo>
                  <a:lnTo>
                    <a:pt x="4896" y="11869"/>
                  </a:lnTo>
                  <a:lnTo>
                    <a:pt x="4919" y="11801"/>
                  </a:lnTo>
                  <a:lnTo>
                    <a:pt x="4939" y="11730"/>
                  </a:lnTo>
                  <a:lnTo>
                    <a:pt x="4958" y="11660"/>
                  </a:lnTo>
                  <a:lnTo>
                    <a:pt x="4974" y="11587"/>
                  </a:lnTo>
                  <a:lnTo>
                    <a:pt x="4989" y="11515"/>
                  </a:lnTo>
                  <a:lnTo>
                    <a:pt x="5001" y="11442"/>
                  </a:lnTo>
                  <a:lnTo>
                    <a:pt x="5011" y="11368"/>
                  </a:lnTo>
                  <a:lnTo>
                    <a:pt x="5019" y="11294"/>
                  </a:lnTo>
                  <a:lnTo>
                    <a:pt x="5024" y="11218"/>
                  </a:lnTo>
                  <a:lnTo>
                    <a:pt x="5028" y="11142"/>
                  </a:lnTo>
                  <a:lnTo>
                    <a:pt x="5029" y="11065"/>
                  </a:lnTo>
                  <a:lnTo>
                    <a:pt x="5028" y="10989"/>
                  </a:lnTo>
                  <a:lnTo>
                    <a:pt x="5024" y="10912"/>
                  </a:lnTo>
                  <a:lnTo>
                    <a:pt x="5019" y="10837"/>
                  </a:lnTo>
                  <a:lnTo>
                    <a:pt x="5011" y="10763"/>
                  </a:lnTo>
                  <a:lnTo>
                    <a:pt x="5001" y="10689"/>
                  </a:lnTo>
                  <a:lnTo>
                    <a:pt x="4989" y="10616"/>
                  </a:lnTo>
                  <a:lnTo>
                    <a:pt x="4974" y="10543"/>
                  </a:lnTo>
                  <a:lnTo>
                    <a:pt x="4958" y="10471"/>
                  </a:lnTo>
                  <a:lnTo>
                    <a:pt x="4939" y="10400"/>
                  </a:lnTo>
                  <a:lnTo>
                    <a:pt x="4919" y="10330"/>
                  </a:lnTo>
                  <a:lnTo>
                    <a:pt x="4896" y="10262"/>
                  </a:lnTo>
                  <a:lnTo>
                    <a:pt x="4871" y="10193"/>
                  </a:lnTo>
                  <a:lnTo>
                    <a:pt x="4845" y="10126"/>
                  </a:lnTo>
                  <a:lnTo>
                    <a:pt x="4816" y="10059"/>
                  </a:lnTo>
                  <a:lnTo>
                    <a:pt x="4786" y="9994"/>
                  </a:lnTo>
                  <a:lnTo>
                    <a:pt x="4755" y="9930"/>
                  </a:lnTo>
                  <a:lnTo>
                    <a:pt x="4721" y="9866"/>
                  </a:lnTo>
                  <a:lnTo>
                    <a:pt x="4685" y="9804"/>
                  </a:lnTo>
                  <a:lnTo>
                    <a:pt x="4648" y="9744"/>
                  </a:lnTo>
                  <a:lnTo>
                    <a:pt x="4609" y="9683"/>
                  </a:lnTo>
                  <a:lnTo>
                    <a:pt x="4569" y="9625"/>
                  </a:lnTo>
                  <a:lnTo>
                    <a:pt x="4526" y="9567"/>
                  </a:lnTo>
                  <a:lnTo>
                    <a:pt x="4482" y="9511"/>
                  </a:lnTo>
                  <a:lnTo>
                    <a:pt x="4437" y="9456"/>
                  </a:lnTo>
                  <a:lnTo>
                    <a:pt x="4391" y="9401"/>
                  </a:lnTo>
                  <a:lnTo>
                    <a:pt x="4342" y="9349"/>
                  </a:lnTo>
                  <a:lnTo>
                    <a:pt x="4292" y="9299"/>
                  </a:lnTo>
                  <a:lnTo>
                    <a:pt x="4241" y="9249"/>
                  </a:lnTo>
                  <a:lnTo>
                    <a:pt x="4188" y="9200"/>
                  </a:lnTo>
                  <a:lnTo>
                    <a:pt x="4135" y="9154"/>
                  </a:lnTo>
                  <a:lnTo>
                    <a:pt x="4080" y="9109"/>
                  </a:lnTo>
                  <a:lnTo>
                    <a:pt x="4023" y="90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68" name="ïṧļîḋê">
              <a:extLst>
                <a:ext uri="{FF2B5EF4-FFF2-40B4-BE49-F238E27FC236}">
                  <a16:creationId xmlns:a16="http://schemas.microsoft.com/office/drawing/2014/main" id="{1EBF3386-0CE9-4448-85DC-2CCC431AF193}"/>
                </a:ext>
              </a:extLst>
            </p:cNvPr>
            <p:cNvSpPr/>
            <p:nvPr/>
          </p:nvSpPr>
          <p:spPr bwMode="auto">
            <a:xfrm>
              <a:off x="5083698" y="2576482"/>
              <a:ext cx="268740" cy="268739"/>
            </a:xfrm>
            <a:custGeom>
              <a:avLst/>
              <a:gdLst>
                <a:gd name="T0" fmla="*/ 8330 w 16095"/>
                <a:gd name="T1" fmla="*/ 13155 h 16095"/>
                <a:gd name="T2" fmla="*/ 8153 w 16095"/>
                <a:gd name="T3" fmla="*/ 13120 h 16095"/>
                <a:gd name="T4" fmla="*/ 5125 w 16095"/>
                <a:gd name="T5" fmla="*/ 12104 h 16095"/>
                <a:gd name="T6" fmla="*/ 5125 w 16095"/>
                <a:gd name="T7" fmla="*/ 12104 h 16095"/>
                <a:gd name="T8" fmla="*/ 4694 w 16095"/>
                <a:gd name="T9" fmla="*/ 11707 h 16095"/>
                <a:gd name="T10" fmla="*/ 1577 w 16095"/>
                <a:gd name="T11" fmla="*/ 10451 h 16095"/>
                <a:gd name="T12" fmla="*/ 15800 w 16095"/>
                <a:gd name="T13" fmla="*/ 45 h 16095"/>
                <a:gd name="T14" fmla="*/ 15716 w 16095"/>
                <a:gd name="T15" fmla="*/ 15 h 16095"/>
                <a:gd name="T16" fmla="*/ 15627 w 16095"/>
                <a:gd name="T17" fmla="*/ 1 h 16095"/>
                <a:gd name="T18" fmla="*/ 15537 w 16095"/>
                <a:gd name="T19" fmla="*/ 3 h 16095"/>
                <a:gd name="T20" fmla="*/ 15448 w 16095"/>
                <a:gd name="T21" fmla="*/ 21 h 16095"/>
                <a:gd name="T22" fmla="*/ 15362 w 16095"/>
                <a:gd name="T23" fmla="*/ 55 h 16095"/>
                <a:gd name="T24" fmla="*/ 210 w 16095"/>
                <a:gd name="T25" fmla="*/ 10154 h 16095"/>
                <a:gd name="T26" fmla="*/ 145 w 16095"/>
                <a:gd name="T27" fmla="*/ 10209 h 16095"/>
                <a:gd name="T28" fmla="*/ 91 w 16095"/>
                <a:gd name="T29" fmla="*/ 10275 h 16095"/>
                <a:gd name="T30" fmla="*/ 48 w 16095"/>
                <a:gd name="T31" fmla="*/ 10348 h 16095"/>
                <a:gd name="T32" fmla="*/ 18 w 16095"/>
                <a:gd name="T33" fmla="*/ 10428 h 16095"/>
                <a:gd name="T34" fmla="*/ 3 w 16095"/>
                <a:gd name="T35" fmla="*/ 10511 h 16095"/>
                <a:gd name="T36" fmla="*/ 1 w 16095"/>
                <a:gd name="T37" fmla="*/ 10597 h 16095"/>
                <a:gd name="T38" fmla="*/ 15 w 16095"/>
                <a:gd name="T39" fmla="*/ 10682 h 16095"/>
                <a:gd name="T40" fmla="*/ 42 w 16095"/>
                <a:gd name="T41" fmla="*/ 10764 h 16095"/>
                <a:gd name="T42" fmla="*/ 82 w 16095"/>
                <a:gd name="T43" fmla="*/ 10838 h 16095"/>
                <a:gd name="T44" fmla="*/ 134 w 16095"/>
                <a:gd name="T45" fmla="*/ 10904 h 16095"/>
                <a:gd name="T46" fmla="*/ 197 w 16095"/>
                <a:gd name="T47" fmla="*/ 10961 h 16095"/>
                <a:gd name="T48" fmla="*/ 269 w 16095"/>
                <a:gd name="T49" fmla="*/ 11007 h 16095"/>
                <a:gd name="T50" fmla="*/ 6102 w 16095"/>
                <a:gd name="T51" fmla="*/ 15842 h 16095"/>
                <a:gd name="T52" fmla="*/ 6148 w 16095"/>
                <a:gd name="T53" fmla="*/ 15910 h 16095"/>
                <a:gd name="T54" fmla="*/ 6206 w 16095"/>
                <a:gd name="T55" fmla="*/ 15968 h 16095"/>
                <a:gd name="T56" fmla="*/ 6270 w 16095"/>
                <a:gd name="T57" fmla="*/ 16018 h 16095"/>
                <a:gd name="T58" fmla="*/ 6341 w 16095"/>
                <a:gd name="T59" fmla="*/ 16055 h 16095"/>
                <a:gd name="T60" fmla="*/ 6419 w 16095"/>
                <a:gd name="T61" fmla="*/ 16081 h 16095"/>
                <a:gd name="T62" fmla="*/ 6499 w 16095"/>
                <a:gd name="T63" fmla="*/ 16093 h 16095"/>
                <a:gd name="T64" fmla="*/ 6572 w 16095"/>
                <a:gd name="T65" fmla="*/ 16094 h 16095"/>
                <a:gd name="T66" fmla="*/ 6652 w 16095"/>
                <a:gd name="T67" fmla="*/ 16082 h 16095"/>
                <a:gd name="T68" fmla="*/ 6729 w 16095"/>
                <a:gd name="T69" fmla="*/ 16058 h 16095"/>
                <a:gd name="T70" fmla="*/ 6800 w 16095"/>
                <a:gd name="T71" fmla="*/ 16022 h 16095"/>
                <a:gd name="T72" fmla="*/ 6866 w 16095"/>
                <a:gd name="T73" fmla="*/ 15974 h 16095"/>
                <a:gd name="T74" fmla="*/ 6922 w 16095"/>
                <a:gd name="T75" fmla="*/ 15917 h 16095"/>
                <a:gd name="T76" fmla="*/ 6970 w 16095"/>
                <a:gd name="T77" fmla="*/ 15851 h 16095"/>
                <a:gd name="T78" fmla="*/ 12958 w 16095"/>
                <a:gd name="T79" fmla="*/ 16081 h 16095"/>
                <a:gd name="T80" fmla="*/ 13077 w 16095"/>
                <a:gd name="T81" fmla="*/ 16095 h 16095"/>
                <a:gd name="T82" fmla="*/ 13157 w 16095"/>
                <a:gd name="T83" fmla="*/ 16089 h 16095"/>
                <a:gd name="T84" fmla="*/ 13234 w 16095"/>
                <a:gd name="T85" fmla="*/ 16070 h 16095"/>
                <a:gd name="T86" fmla="*/ 13309 w 16095"/>
                <a:gd name="T87" fmla="*/ 16038 h 16095"/>
                <a:gd name="T88" fmla="*/ 13415 w 16095"/>
                <a:gd name="T89" fmla="*/ 15964 h 16095"/>
                <a:gd name="T90" fmla="*/ 13504 w 16095"/>
                <a:gd name="T91" fmla="*/ 15858 h 16095"/>
                <a:gd name="T92" fmla="*/ 13561 w 16095"/>
                <a:gd name="T93" fmla="*/ 15730 h 16095"/>
                <a:gd name="T94" fmla="*/ 16093 w 16095"/>
                <a:gd name="T95" fmla="*/ 548 h 16095"/>
                <a:gd name="T96" fmla="*/ 16093 w 16095"/>
                <a:gd name="T97" fmla="*/ 457 h 16095"/>
                <a:gd name="T98" fmla="*/ 16076 w 16095"/>
                <a:gd name="T99" fmla="*/ 367 h 16095"/>
                <a:gd name="T100" fmla="*/ 16045 w 16095"/>
                <a:gd name="T101" fmla="*/ 284 h 16095"/>
                <a:gd name="T102" fmla="*/ 15997 w 16095"/>
                <a:gd name="T103" fmla="*/ 206 h 16095"/>
                <a:gd name="T104" fmla="*/ 15938 w 16095"/>
                <a:gd name="T105" fmla="*/ 138 h 16095"/>
                <a:gd name="T106" fmla="*/ 15865 w 16095"/>
                <a:gd name="T107" fmla="*/ 80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6095" h="16095">
                  <a:moveTo>
                    <a:pt x="12684" y="14892"/>
                  </a:moveTo>
                  <a:lnTo>
                    <a:pt x="8388" y="13174"/>
                  </a:lnTo>
                  <a:lnTo>
                    <a:pt x="8368" y="13167"/>
                  </a:lnTo>
                  <a:lnTo>
                    <a:pt x="8349" y="13161"/>
                  </a:lnTo>
                  <a:lnTo>
                    <a:pt x="8330" y="13155"/>
                  </a:lnTo>
                  <a:lnTo>
                    <a:pt x="8310" y="13149"/>
                  </a:lnTo>
                  <a:lnTo>
                    <a:pt x="8271" y="13140"/>
                  </a:lnTo>
                  <a:lnTo>
                    <a:pt x="8232" y="13132"/>
                  </a:lnTo>
                  <a:lnTo>
                    <a:pt x="8192" y="13125"/>
                  </a:lnTo>
                  <a:lnTo>
                    <a:pt x="8153" y="13120"/>
                  </a:lnTo>
                  <a:lnTo>
                    <a:pt x="8114" y="13117"/>
                  </a:lnTo>
                  <a:lnTo>
                    <a:pt x="8074" y="13114"/>
                  </a:lnTo>
                  <a:lnTo>
                    <a:pt x="14689" y="2860"/>
                  </a:lnTo>
                  <a:lnTo>
                    <a:pt x="12684" y="14892"/>
                  </a:lnTo>
                  <a:close/>
                  <a:moveTo>
                    <a:pt x="5125" y="12104"/>
                  </a:moveTo>
                  <a:lnTo>
                    <a:pt x="5123" y="12102"/>
                  </a:lnTo>
                  <a:lnTo>
                    <a:pt x="5121" y="12099"/>
                  </a:lnTo>
                  <a:lnTo>
                    <a:pt x="14648" y="1902"/>
                  </a:lnTo>
                  <a:lnTo>
                    <a:pt x="6527" y="14558"/>
                  </a:lnTo>
                  <a:lnTo>
                    <a:pt x="5125" y="12104"/>
                  </a:lnTo>
                  <a:close/>
                  <a:moveTo>
                    <a:pt x="1577" y="10451"/>
                  </a:moveTo>
                  <a:lnTo>
                    <a:pt x="13234" y="2679"/>
                  </a:lnTo>
                  <a:lnTo>
                    <a:pt x="4759" y="11751"/>
                  </a:lnTo>
                  <a:lnTo>
                    <a:pt x="4726" y="11729"/>
                  </a:lnTo>
                  <a:lnTo>
                    <a:pt x="4694" y="11707"/>
                  </a:lnTo>
                  <a:lnTo>
                    <a:pt x="4678" y="11697"/>
                  </a:lnTo>
                  <a:lnTo>
                    <a:pt x="4661" y="11687"/>
                  </a:lnTo>
                  <a:lnTo>
                    <a:pt x="4643" y="11677"/>
                  </a:lnTo>
                  <a:lnTo>
                    <a:pt x="4625" y="11669"/>
                  </a:lnTo>
                  <a:lnTo>
                    <a:pt x="1577" y="10451"/>
                  </a:lnTo>
                  <a:close/>
                  <a:moveTo>
                    <a:pt x="15865" y="80"/>
                  </a:moveTo>
                  <a:lnTo>
                    <a:pt x="15850" y="70"/>
                  </a:lnTo>
                  <a:lnTo>
                    <a:pt x="15833" y="61"/>
                  </a:lnTo>
                  <a:lnTo>
                    <a:pt x="15817" y="53"/>
                  </a:lnTo>
                  <a:lnTo>
                    <a:pt x="15800" y="45"/>
                  </a:lnTo>
                  <a:lnTo>
                    <a:pt x="15784" y="38"/>
                  </a:lnTo>
                  <a:lnTo>
                    <a:pt x="15767" y="31"/>
                  </a:lnTo>
                  <a:lnTo>
                    <a:pt x="15750" y="25"/>
                  </a:lnTo>
                  <a:lnTo>
                    <a:pt x="15733" y="20"/>
                  </a:lnTo>
                  <a:lnTo>
                    <a:pt x="15716" y="15"/>
                  </a:lnTo>
                  <a:lnTo>
                    <a:pt x="15698" y="11"/>
                  </a:lnTo>
                  <a:lnTo>
                    <a:pt x="15681" y="8"/>
                  </a:lnTo>
                  <a:lnTo>
                    <a:pt x="15662" y="5"/>
                  </a:lnTo>
                  <a:lnTo>
                    <a:pt x="15645" y="3"/>
                  </a:lnTo>
                  <a:lnTo>
                    <a:pt x="15627" y="1"/>
                  </a:lnTo>
                  <a:lnTo>
                    <a:pt x="15609" y="0"/>
                  </a:lnTo>
                  <a:lnTo>
                    <a:pt x="15592" y="0"/>
                  </a:lnTo>
                  <a:lnTo>
                    <a:pt x="15574" y="0"/>
                  </a:lnTo>
                  <a:lnTo>
                    <a:pt x="15556" y="1"/>
                  </a:lnTo>
                  <a:lnTo>
                    <a:pt x="15537" y="3"/>
                  </a:lnTo>
                  <a:lnTo>
                    <a:pt x="15520" y="5"/>
                  </a:lnTo>
                  <a:lnTo>
                    <a:pt x="15501" y="8"/>
                  </a:lnTo>
                  <a:lnTo>
                    <a:pt x="15483" y="12"/>
                  </a:lnTo>
                  <a:lnTo>
                    <a:pt x="15465" y="16"/>
                  </a:lnTo>
                  <a:lnTo>
                    <a:pt x="15448" y="21"/>
                  </a:lnTo>
                  <a:lnTo>
                    <a:pt x="15430" y="26"/>
                  </a:lnTo>
                  <a:lnTo>
                    <a:pt x="15413" y="32"/>
                  </a:lnTo>
                  <a:lnTo>
                    <a:pt x="15396" y="39"/>
                  </a:lnTo>
                  <a:lnTo>
                    <a:pt x="15379" y="47"/>
                  </a:lnTo>
                  <a:lnTo>
                    <a:pt x="15362" y="55"/>
                  </a:lnTo>
                  <a:lnTo>
                    <a:pt x="15346" y="64"/>
                  </a:lnTo>
                  <a:lnTo>
                    <a:pt x="15329" y="74"/>
                  </a:lnTo>
                  <a:lnTo>
                    <a:pt x="15313" y="84"/>
                  </a:lnTo>
                  <a:lnTo>
                    <a:pt x="224" y="10144"/>
                  </a:lnTo>
                  <a:lnTo>
                    <a:pt x="210" y="10154"/>
                  </a:lnTo>
                  <a:lnTo>
                    <a:pt x="196" y="10164"/>
                  </a:lnTo>
                  <a:lnTo>
                    <a:pt x="182" y="10175"/>
                  </a:lnTo>
                  <a:lnTo>
                    <a:pt x="169" y="10186"/>
                  </a:lnTo>
                  <a:lnTo>
                    <a:pt x="157" y="10197"/>
                  </a:lnTo>
                  <a:lnTo>
                    <a:pt x="145" y="10209"/>
                  </a:lnTo>
                  <a:lnTo>
                    <a:pt x="133" y="10222"/>
                  </a:lnTo>
                  <a:lnTo>
                    <a:pt x="122" y="10234"/>
                  </a:lnTo>
                  <a:lnTo>
                    <a:pt x="111" y="10247"/>
                  </a:lnTo>
                  <a:lnTo>
                    <a:pt x="100" y="10262"/>
                  </a:lnTo>
                  <a:lnTo>
                    <a:pt x="91" y="10275"/>
                  </a:lnTo>
                  <a:lnTo>
                    <a:pt x="80" y="10289"/>
                  </a:lnTo>
                  <a:lnTo>
                    <a:pt x="71" y="10304"/>
                  </a:lnTo>
                  <a:lnTo>
                    <a:pt x="63" y="10318"/>
                  </a:lnTo>
                  <a:lnTo>
                    <a:pt x="55" y="10333"/>
                  </a:lnTo>
                  <a:lnTo>
                    <a:pt x="48" y="10348"/>
                  </a:lnTo>
                  <a:lnTo>
                    <a:pt x="41" y="10363"/>
                  </a:lnTo>
                  <a:lnTo>
                    <a:pt x="34" y="10379"/>
                  </a:lnTo>
                  <a:lnTo>
                    <a:pt x="29" y="10395"/>
                  </a:lnTo>
                  <a:lnTo>
                    <a:pt x="23" y="10411"/>
                  </a:lnTo>
                  <a:lnTo>
                    <a:pt x="18" y="10428"/>
                  </a:lnTo>
                  <a:lnTo>
                    <a:pt x="14" y="10444"/>
                  </a:lnTo>
                  <a:lnTo>
                    <a:pt x="10" y="10460"/>
                  </a:lnTo>
                  <a:lnTo>
                    <a:pt x="7" y="10477"/>
                  </a:lnTo>
                  <a:lnTo>
                    <a:pt x="5" y="10494"/>
                  </a:lnTo>
                  <a:lnTo>
                    <a:pt x="3" y="10511"/>
                  </a:lnTo>
                  <a:lnTo>
                    <a:pt x="1" y="10528"/>
                  </a:lnTo>
                  <a:lnTo>
                    <a:pt x="0" y="10545"/>
                  </a:lnTo>
                  <a:lnTo>
                    <a:pt x="0" y="10562"/>
                  </a:lnTo>
                  <a:lnTo>
                    <a:pt x="0" y="10579"/>
                  </a:lnTo>
                  <a:lnTo>
                    <a:pt x="1" y="10597"/>
                  </a:lnTo>
                  <a:lnTo>
                    <a:pt x="3" y="10614"/>
                  </a:lnTo>
                  <a:lnTo>
                    <a:pt x="5" y="10632"/>
                  </a:lnTo>
                  <a:lnTo>
                    <a:pt x="8" y="10649"/>
                  </a:lnTo>
                  <a:lnTo>
                    <a:pt x="11" y="10666"/>
                  </a:lnTo>
                  <a:lnTo>
                    <a:pt x="15" y="10682"/>
                  </a:lnTo>
                  <a:lnTo>
                    <a:pt x="19" y="10699"/>
                  </a:lnTo>
                  <a:lnTo>
                    <a:pt x="24" y="10715"/>
                  </a:lnTo>
                  <a:lnTo>
                    <a:pt x="29" y="10731"/>
                  </a:lnTo>
                  <a:lnTo>
                    <a:pt x="35" y="10747"/>
                  </a:lnTo>
                  <a:lnTo>
                    <a:pt x="42" y="10764"/>
                  </a:lnTo>
                  <a:lnTo>
                    <a:pt x="49" y="10779"/>
                  </a:lnTo>
                  <a:lnTo>
                    <a:pt x="56" y="10794"/>
                  </a:lnTo>
                  <a:lnTo>
                    <a:pt x="64" y="10809"/>
                  </a:lnTo>
                  <a:lnTo>
                    <a:pt x="73" y="10824"/>
                  </a:lnTo>
                  <a:lnTo>
                    <a:pt x="82" y="10838"/>
                  </a:lnTo>
                  <a:lnTo>
                    <a:pt x="92" y="10852"/>
                  </a:lnTo>
                  <a:lnTo>
                    <a:pt x="102" y="10865"/>
                  </a:lnTo>
                  <a:lnTo>
                    <a:pt x="112" y="10878"/>
                  </a:lnTo>
                  <a:lnTo>
                    <a:pt x="123" y="10891"/>
                  </a:lnTo>
                  <a:lnTo>
                    <a:pt x="134" y="10904"/>
                  </a:lnTo>
                  <a:lnTo>
                    <a:pt x="146" y="10916"/>
                  </a:lnTo>
                  <a:lnTo>
                    <a:pt x="158" y="10929"/>
                  </a:lnTo>
                  <a:lnTo>
                    <a:pt x="171" y="10940"/>
                  </a:lnTo>
                  <a:lnTo>
                    <a:pt x="183" y="10951"/>
                  </a:lnTo>
                  <a:lnTo>
                    <a:pt x="197" y="10961"/>
                  </a:lnTo>
                  <a:lnTo>
                    <a:pt x="210" y="10972"/>
                  </a:lnTo>
                  <a:lnTo>
                    <a:pt x="224" y="10981"/>
                  </a:lnTo>
                  <a:lnTo>
                    <a:pt x="239" y="10990"/>
                  </a:lnTo>
                  <a:lnTo>
                    <a:pt x="253" y="10999"/>
                  </a:lnTo>
                  <a:lnTo>
                    <a:pt x="269" y="11007"/>
                  </a:lnTo>
                  <a:lnTo>
                    <a:pt x="285" y="11015"/>
                  </a:lnTo>
                  <a:lnTo>
                    <a:pt x="300" y="11022"/>
                  </a:lnTo>
                  <a:lnTo>
                    <a:pt x="316" y="11029"/>
                  </a:lnTo>
                  <a:lnTo>
                    <a:pt x="4251" y="12603"/>
                  </a:lnTo>
                  <a:lnTo>
                    <a:pt x="6102" y="15842"/>
                  </a:lnTo>
                  <a:lnTo>
                    <a:pt x="6110" y="15856"/>
                  </a:lnTo>
                  <a:lnTo>
                    <a:pt x="6119" y="15870"/>
                  </a:lnTo>
                  <a:lnTo>
                    <a:pt x="6128" y="15884"/>
                  </a:lnTo>
                  <a:lnTo>
                    <a:pt x="6138" y="15897"/>
                  </a:lnTo>
                  <a:lnTo>
                    <a:pt x="6148" y="15910"/>
                  </a:lnTo>
                  <a:lnTo>
                    <a:pt x="6159" y="15922"/>
                  </a:lnTo>
                  <a:lnTo>
                    <a:pt x="6170" y="15934"/>
                  </a:lnTo>
                  <a:lnTo>
                    <a:pt x="6181" y="15946"/>
                  </a:lnTo>
                  <a:lnTo>
                    <a:pt x="6194" y="15957"/>
                  </a:lnTo>
                  <a:lnTo>
                    <a:pt x="6206" y="15968"/>
                  </a:lnTo>
                  <a:lnTo>
                    <a:pt x="6218" y="15979"/>
                  </a:lnTo>
                  <a:lnTo>
                    <a:pt x="6230" y="15989"/>
                  </a:lnTo>
                  <a:lnTo>
                    <a:pt x="6243" y="15999"/>
                  </a:lnTo>
                  <a:lnTo>
                    <a:pt x="6257" y="16008"/>
                  </a:lnTo>
                  <a:lnTo>
                    <a:pt x="6270" y="16018"/>
                  </a:lnTo>
                  <a:lnTo>
                    <a:pt x="6284" y="16026"/>
                  </a:lnTo>
                  <a:lnTo>
                    <a:pt x="6298" y="16034"/>
                  </a:lnTo>
                  <a:lnTo>
                    <a:pt x="6312" y="16041"/>
                  </a:lnTo>
                  <a:lnTo>
                    <a:pt x="6326" y="16048"/>
                  </a:lnTo>
                  <a:lnTo>
                    <a:pt x="6341" y="16055"/>
                  </a:lnTo>
                  <a:lnTo>
                    <a:pt x="6357" y="16061"/>
                  </a:lnTo>
                  <a:lnTo>
                    <a:pt x="6372" y="16067"/>
                  </a:lnTo>
                  <a:lnTo>
                    <a:pt x="6388" y="16072"/>
                  </a:lnTo>
                  <a:lnTo>
                    <a:pt x="6403" y="16076"/>
                  </a:lnTo>
                  <a:lnTo>
                    <a:pt x="6419" y="16081"/>
                  </a:lnTo>
                  <a:lnTo>
                    <a:pt x="6435" y="16084"/>
                  </a:lnTo>
                  <a:lnTo>
                    <a:pt x="6451" y="16087"/>
                  </a:lnTo>
                  <a:lnTo>
                    <a:pt x="6467" y="16090"/>
                  </a:lnTo>
                  <a:lnTo>
                    <a:pt x="6483" y="16092"/>
                  </a:lnTo>
                  <a:lnTo>
                    <a:pt x="6499" y="16093"/>
                  </a:lnTo>
                  <a:lnTo>
                    <a:pt x="6516" y="16094"/>
                  </a:lnTo>
                  <a:lnTo>
                    <a:pt x="6533" y="16095"/>
                  </a:lnTo>
                  <a:lnTo>
                    <a:pt x="6539" y="16095"/>
                  </a:lnTo>
                  <a:lnTo>
                    <a:pt x="6555" y="16095"/>
                  </a:lnTo>
                  <a:lnTo>
                    <a:pt x="6572" y="16094"/>
                  </a:lnTo>
                  <a:lnTo>
                    <a:pt x="6588" y="16093"/>
                  </a:lnTo>
                  <a:lnTo>
                    <a:pt x="6604" y="16091"/>
                  </a:lnTo>
                  <a:lnTo>
                    <a:pt x="6620" y="16088"/>
                  </a:lnTo>
                  <a:lnTo>
                    <a:pt x="6636" y="16085"/>
                  </a:lnTo>
                  <a:lnTo>
                    <a:pt x="6652" y="16082"/>
                  </a:lnTo>
                  <a:lnTo>
                    <a:pt x="6667" y="16078"/>
                  </a:lnTo>
                  <a:lnTo>
                    <a:pt x="6683" y="16074"/>
                  </a:lnTo>
                  <a:lnTo>
                    <a:pt x="6699" y="16069"/>
                  </a:lnTo>
                  <a:lnTo>
                    <a:pt x="6714" y="16063"/>
                  </a:lnTo>
                  <a:lnTo>
                    <a:pt x="6729" y="16058"/>
                  </a:lnTo>
                  <a:lnTo>
                    <a:pt x="6743" y="16051"/>
                  </a:lnTo>
                  <a:lnTo>
                    <a:pt x="6758" y="16045"/>
                  </a:lnTo>
                  <a:lnTo>
                    <a:pt x="6772" y="16037"/>
                  </a:lnTo>
                  <a:lnTo>
                    <a:pt x="6786" y="16030"/>
                  </a:lnTo>
                  <a:lnTo>
                    <a:pt x="6800" y="16022"/>
                  </a:lnTo>
                  <a:lnTo>
                    <a:pt x="6813" y="16013"/>
                  </a:lnTo>
                  <a:lnTo>
                    <a:pt x="6827" y="16003"/>
                  </a:lnTo>
                  <a:lnTo>
                    <a:pt x="6840" y="15994"/>
                  </a:lnTo>
                  <a:lnTo>
                    <a:pt x="6852" y="15984"/>
                  </a:lnTo>
                  <a:lnTo>
                    <a:pt x="6866" y="15974"/>
                  </a:lnTo>
                  <a:lnTo>
                    <a:pt x="6878" y="15963"/>
                  </a:lnTo>
                  <a:lnTo>
                    <a:pt x="6889" y="15952"/>
                  </a:lnTo>
                  <a:lnTo>
                    <a:pt x="6901" y="15941"/>
                  </a:lnTo>
                  <a:lnTo>
                    <a:pt x="6912" y="15929"/>
                  </a:lnTo>
                  <a:lnTo>
                    <a:pt x="6922" y="15917"/>
                  </a:lnTo>
                  <a:lnTo>
                    <a:pt x="6933" y="15904"/>
                  </a:lnTo>
                  <a:lnTo>
                    <a:pt x="6943" y="15891"/>
                  </a:lnTo>
                  <a:lnTo>
                    <a:pt x="6952" y="15878"/>
                  </a:lnTo>
                  <a:lnTo>
                    <a:pt x="6961" y="15864"/>
                  </a:lnTo>
                  <a:lnTo>
                    <a:pt x="6970" y="15851"/>
                  </a:lnTo>
                  <a:lnTo>
                    <a:pt x="8014" y="14108"/>
                  </a:lnTo>
                  <a:lnTo>
                    <a:pt x="12890" y="16059"/>
                  </a:lnTo>
                  <a:lnTo>
                    <a:pt x="12913" y="16067"/>
                  </a:lnTo>
                  <a:lnTo>
                    <a:pt x="12936" y="16074"/>
                  </a:lnTo>
                  <a:lnTo>
                    <a:pt x="12958" y="16081"/>
                  </a:lnTo>
                  <a:lnTo>
                    <a:pt x="12983" y="16086"/>
                  </a:lnTo>
                  <a:lnTo>
                    <a:pt x="13006" y="16090"/>
                  </a:lnTo>
                  <a:lnTo>
                    <a:pt x="13030" y="16093"/>
                  </a:lnTo>
                  <a:lnTo>
                    <a:pt x="13053" y="16094"/>
                  </a:lnTo>
                  <a:lnTo>
                    <a:pt x="13077" y="16095"/>
                  </a:lnTo>
                  <a:lnTo>
                    <a:pt x="13093" y="16095"/>
                  </a:lnTo>
                  <a:lnTo>
                    <a:pt x="13109" y="16094"/>
                  </a:lnTo>
                  <a:lnTo>
                    <a:pt x="13124" y="16093"/>
                  </a:lnTo>
                  <a:lnTo>
                    <a:pt x="13141" y="16091"/>
                  </a:lnTo>
                  <a:lnTo>
                    <a:pt x="13157" y="16089"/>
                  </a:lnTo>
                  <a:lnTo>
                    <a:pt x="13173" y="16086"/>
                  </a:lnTo>
                  <a:lnTo>
                    <a:pt x="13188" y="16083"/>
                  </a:lnTo>
                  <a:lnTo>
                    <a:pt x="13204" y="16079"/>
                  </a:lnTo>
                  <a:lnTo>
                    <a:pt x="13219" y="16075"/>
                  </a:lnTo>
                  <a:lnTo>
                    <a:pt x="13234" y="16070"/>
                  </a:lnTo>
                  <a:lnTo>
                    <a:pt x="13250" y="16064"/>
                  </a:lnTo>
                  <a:lnTo>
                    <a:pt x="13265" y="16059"/>
                  </a:lnTo>
                  <a:lnTo>
                    <a:pt x="13279" y="16052"/>
                  </a:lnTo>
                  <a:lnTo>
                    <a:pt x="13294" y="16046"/>
                  </a:lnTo>
                  <a:lnTo>
                    <a:pt x="13309" y="16038"/>
                  </a:lnTo>
                  <a:lnTo>
                    <a:pt x="13324" y="16031"/>
                  </a:lnTo>
                  <a:lnTo>
                    <a:pt x="13348" y="16016"/>
                  </a:lnTo>
                  <a:lnTo>
                    <a:pt x="13371" y="15999"/>
                  </a:lnTo>
                  <a:lnTo>
                    <a:pt x="13394" y="15982"/>
                  </a:lnTo>
                  <a:lnTo>
                    <a:pt x="13415" y="15964"/>
                  </a:lnTo>
                  <a:lnTo>
                    <a:pt x="13435" y="15945"/>
                  </a:lnTo>
                  <a:lnTo>
                    <a:pt x="13454" y="15924"/>
                  </a:lnTo>
                  <a:lnTo>
                    <a:pt x="13473" y="15903"/>
                  </a:lnTo>
                  <a:lnTo>
                    <a:pt x="13489" y="15881"/>
                  </a:lnTo>
                  <a:lnTo>
                    <a:pt x="13504" y="15858"/>
                  </a:lnTo>
                  <a:lnTo>
                    <a:pt x="13518" y="15833"/>
                  </a:lnTo>
                  <a:lnTo>
                    <a:pt x="13531" y="15808"/>
                  </a:lnTo>
                  <a:lnTo>
                    <a:pt x="13542" y="15783"/>
                  </a:lnTo>
                  <a:lnTo>
                    <a:pt x="13552" y="15757"/>
                  </a:lnTo>
                  <a:lnTo>
                    <a:pt x="13561" y="15730"/>
                  </a:lnTo>
                  <a:lnTo>
                    <a:pt x="13568" y="15703"/>
                  </a:lnTo>
                  <a:lnTo>
                    <a:pt x="13573" y="15675"/>
                  </a:lnTo>
                  <a:lnTo>
                    <a:pt x="16088" y="585"/>
                  </a:lnTo>
                  <a:lnTo>
                    <a:pt x="16091" y="567"/>
                  </a:lnTo>
                  <a:lnTo>
                    <a:pt x="16093" y="548"/>
                  </a:lnTo>
                  <a:lnTo>
                    <a:pt x="16094" y="530"/>
                  </a:lnTo>
                  <a:lnTo>
                    <a:pt x="16095" y="512"/>
                  </a:lnTo>
                  <a:lnTo>
                    <a:pt x="16095" y="493"/>
                  </a:lnTo>
                  <a:lnTo>
                    <a:pt x="16094" y="475"/>
                  </a:lnTo>
                  <a:lnTo>
                    <a:pt x="16093" y="457"/>
                  </a:lnTo>
                  <a:lnTo>
                    <a:pt x="16091" y="439"/>
                  </a:lnTo>
                  <a:lnTo>
                    <a:pt x="16088" y="420"/>
                  </a:lnTo>
                  <a:lnTo>
                    <a:pt x="16085" y="402"/>
                  </a:lnTo>
                  <a:lnTo>
                    <a:pt x="16081" y="385"/>
                  </a:lnTo>
                  <a:lnTo>
                    <a:pt x="16076" y="367"/>
                  </a:lnTo>
                  <a:lnTo>
                    <a:pt x="16071" y="350"/>
                  </a:lnTo>
                  <a:lnTo>
                    <a:pt x="16066" y="333"/>
                  </a:lnTo>
                  <a:lnTo>
                    <a:pt x="16059" y="317"/>
                  </a:lnTo>
                  <a:lnTo>
                    <a:pt x="16052" y="300"/>
                  </a:lnTo>
                  <a:lnTo>
                    <a:pt x="16045" y="284"/>
                  </a:lnTo>
                  <a:lnTo>
                    <a:pt x="16037" y="268"/>
                  </a:lnTo>
                  <a:lnTo>
                    <a:pt x="16028" y="251"/>
                  </a:lnTo>
                  <a:lnTo>
                    <a:pt x="16019" y="236"/>
                  </a:lnTo>
                  <a:lnTo>
                    <a:pt x="16008" y="221"/>
                  </a:lnTo>
                  <a:lnTo>
                    <a:pt x="15997" y="206"/>
                  </a:lnTo>
                  <a:lnTo>
                    <a:pt x="15987" y="192"/>
                  </a:lnTo>
                  <a:lnTo>
                    <a:pt x="15975" y="178"/>
                  </a:lnTo>
                  <a:lnTo>
                    <a:pt x="15963" y="164"/>
                  </a:lnTo>
                  <a:lnTo>
                    <a:pt x="15951" y="151"/>
                  </a:lnTo>
                  <a:lnTo>
                    <a:pt x="15938" y="138"/>
                  </a:lnTo>
                  <a:lnTo>
                    <a:pt x="15924" y="126"/>
                  </a:lnTo>
                  <a:lnTo>
                    <a:pt x="15910" y="114"/>
                  </a:lnTo>
                  <a:lnTo>
                    <a:pt x="15896" y="102"/>
                  </a:lnTo>
                  <a:lnTo>
                    <a:pt x="15881" y="92"/>
                  </a:lnTo>
                  <a:lnTo>
                    <a:pt x="15865" y="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77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69" name="iśḷïďê">
              <a:extLst>
                <a:ext uri="{FF2B5EF4-FFF2-40B4-BE49-F238E27FC236}">
                  <a16:creationId xmlns:a16="http://schemas.microsoft.com/office/drawing/2014/main" id="{844D932A-1071-42BC-B8B2-C8F5F33B508A}"/>
                </a:ext>
              </a:extLst>
            </p:cNvPr>
            <p:cNvSpPr/>
            <p:nvPr/>
          </p:nvSpPr>
          <p:spPr bwMode="auto">
            <a:xfrm>
              <a:off x="5703737" y="1529561"/>
              <a:ext cx="613339" cy="535789"/>
            </a:xfrm>
            <a:custGeom>
              <a:avLst/>
              <a:gdLst>
                <a:gd name="T0" fmla="*/ 1006 w 16095"/>
                <a:gd name="T1" fmla="*/ 3013 h 14060"/>
                <a:gd name="T2" fmla="*/ 5802 w 16095"/>
                <a:gd name="T3" fmla="*/ 1392 h 14060"/>
                <a:gd name="T4" fmla="*/ 6204 w 16095"/>
                <a:gd name="T5" fmla="*/ 1861 h 14060"/>
                <a:gd name="T6" fmla="*/ 6751 w 16095"/>
                <a:gd name="T7" fmla="*/ 2221 h 14060"/>
                <a:gd name="T8" fmla="*/ 7413 w 16095"/>
                <a:gd name="T9" fmla="*/ 2445 h 14060"/>
                <a:gd name="T10" fmla="*/ 8157 w 16095"/>
                <a:gd name="T11" fmla="*/ 2509 h 14060"/>
                <a:gd name="T12" fmla="*/ 8881 w 16095"/>
                <a:gd name="T13" fmla="*/ 2397 h 14060"/>
                <a:gd name="T14" fmla="*/ 9513 w 16095"/>
                <a:gd name="T15" fmla="*/ 2131 h 14060"/>
                <a:gd name="T16" fmla="*/ 10022 w 16095"/>
                <a:gd name="T17" fmla="*/ 1737 h 14060"/>
                <a:gd name="T18" fmla="*/ 10376 w 16095"/>
                <a:gd name="T19" fmla="*/ 1241 h 14060"/>
                <a:gd name="T20" fmla="*/ 9936 w 16095"/>
                <a:gd name="T21" fmla="*/ 1004 h 14060"/>
                <a:gd name="T22" fmla="*/ 9691 w 16095"/>
                <a:gd name="T23" fmla="*/ 1361 h 14060"/>
                <a:gd name="T24" fmla="*/ 9334 w 16095"/>
                <a:gd name="T25" fmla="*/ 1655 h 14060"/>
                <a:gd name="T26" fmla="*/ 8886 w 16095"/>
                <a:gd name="T27" fmla="*/ 1870 h 14060"/>
                <a:gd name="T28" fmla="*/ 8368 w 16095"/>
                <a:gd name="T29" fmla="*/ 1989 h 14060"/>
                <a:gd name="T30" fmla="*/ 7806 w 16095"/>
                <a:gd name="T31" fmla="*/ 1998 h 14060"/>
                <a:gd name="T32" fmla="*/ 7279 w 16095"/>
                <a:gd name="T33" fmla="*/ 1893 h 14060"/>
                <a:gd name="T34" fmla="*/ 6819 w 16095"/>
                <a:gd name="T35" fmla="*/ 1691 h 14060"/>
                <a:gd name="T36" fmla="*/ 6449 w 16095"/>
                <a:gd name="T37" fmla="*/ 1407 h 14060"/>
                <a:gd name="T38" fmla="*/ 6187 w 16095"/>
                <a:gd name="T39" fmla="*/ 1059 h 14060"/>
                <a:gd name="T40" fmla="*/ 13098 w 16095"/>
                <a:gd name="T41" fmla="*/ 147 h 14060"/>
                <a:gd name="T42" fmla="*/ 12827 w 16095"/>
                <a:gd name="T43" fmla="*/ 32 h 14060"/>
                <a:gd name="T44" fmla="*/ 3521 w 16095"/>
                <a:gd name="T45" fmla="*/ 0 h 14060"/>
                <a:gd name="T46" fmla="*/ 3228 w 16095"/>
                <a:gd name="T47" fmla="*/ 43 h 14060"/>
                <a:gd name="T48" fmla="*/ 2960 w 16095"/>
                <a:gd name="T49" fmla="*/ 170 h 14060"/>
                <a:gd name="T50" fmla="*/ 264 w 16095"/>
                <a:gd name="T51" fmla="*/ 2335 h 14060"/>
                <a:gd name="T52" fmla="*/ 112 w 16095"/>
                <a:gd name="T53" fmla="*/ 2554 h 14060"/>
                <a:gd name="T54" fmla="*/ 22 w 16095"/>
                <a:gd name="T55" fmla="*/ 2802 h 14060"/>
                <a:gd name="T56" fmla="*/ 1 w 16095"/>
                <a:gd name="T57" fmla="*/ 3065 h 14060"/>
                <a:gd name="T58" fmla="*/ 52 w 16095"/>
                <a:gd name="T59" fmla="*/ 3331 h 14060"/>
                <a:gd name="T60" fmla="*/ 1127 w 16095"/>
                <a:gd name="T61" fmla="*/ 6504 h 14060"/>
                <a:gd name="T62" fmla="*/ 1239 w 16095"/>
                <a:gd name="T63" fmla="*/ 6669 h 14060"/>
                <a:gd name="T64" fmla="*/ 1382 w 16095"/>
                <a:gd name="T65" fmla="*/ 6809 h 14060"/>
                <a:gd name="T66" fmla="*/ 1551 w 16095"/>
                <a:gd name="T67" fmla="*/ 6919 h 14060"/>
                <a:gd name="T68" fmla="*/ 1766 w 16095"/>
                <a:gd name="T69" fmla="*/ 7000 h 14060"/>
                <a:gd name="T70" fmla="*/ 2045 w 16095"/>
                <a:gd name="T71" fmla="*/ 7029 h 14060"/>
                <a:gd name="T72" fmla="*/ 2271 w 16095"/>
                <a:gd name="T73" fmla="*/ 6996 h 14060"/>
                <a:gd name="T74" fmla="*/ 2486 w 16095"/>
                <a:gd name="T75" fmla="*/ 6911 h 14060"/>
                <a:gd name="T76" fmla="*/ 2546 w 16095"/>
                <a:gd name="T77" fmla="*/ 13307 h 14060"/>
                <a:gd name="T78" fmla="*/ 2687 w 16095"/>
                <a:gd name="T79" fmla="*/ 13617 h 14060"/>
                <a:gd name="T80" fmla="*/ 2919 w 16095"/>
                <a:gd name="T81" fmla="*/ 13860 h 14060"/>
                <a:gd name="T82" fmla="*/ 3222 w 16095"/>
                <a:gd name="T83" fmla="*/ 14015 h 14060"/>
                <a:gd name="T84" fmla="*/ 12574 w 16095"/>
                <a:gd name="T85" fmla="*/ 14060 h 14060"/>
                <a:gd name="T86" fmla="*/ 12920 w 16095"/>
                <a:gd name="T87" fmla="*/ 13999 h 14060"/>
                <a:gd name="T88" fmla="*/ 13214 w 16095"/>
                <a:gd name="T89" fmla="*/ 13831 h 14060"/>
                <a:gd name="T90" fmla="*/ 13434 w 16095"/>
                <a:gd name="T91" fmla="*/ 13576 h 14060"/>
                <a:gd name="T92" fmla="*/ 13560 w 16095"/>
                <a:gd name="T93" fmla="*/ 13258 h 14060"/>
                <a:gd name="T94" fmla="*/ 13639 w 16095"/>
                <a:gd name="T95" fmla="*/ 6927 h 14060"/>
                <a:gd name="T96" fmla="*/ 13856 w 16095"/>
                <a:gd name="T97" fmla="*/ 7004 h 14060"/>
                <a:gd name="T98" fmla="*/ 14083 w 16095"/>
                <a:gd name="T99" fmla="*/ 7030 h 14060"/>
                <a:gd name="T100" fmla="*/ 14370 w 16095"/>
                <a:gd name="T101" fmla="*/ 6989 h 14060"/>
                <a:gd name="T102" fmla="*/ 14569 w 16095"/>
                <a:gd name="T103" fmla="*/ 6905 h 14060"/>
                <a:gd name="T104" fmla="*/ 14735 w 16095"/>
                <a:gd name="T105" fmla="*/ 6791 h 14060"/>
                <a:gd name="T106" fmla="*/ 14874 w 16095"/>
                <a:gd name="T107" fmla="*/ 6647 h 14060"/>
                <a:gd name="T108" fmla="*/ 14981 w 16095"/>
                <a:gd name="T109" fmla="*/ 6478 h 14060"/>
                <a:gd name="T110" fmla="*/ 16055 w 16095"/>
                <a:gd name="T111" fmla="*/ 3293 h 14060"/>
                <a:gd name="T112" fmla="*/ 16095 w 16095"/>
                <a:gd name="T113" fmla="*/ 3027 h 14060"/>
                <a:gd name="T114" fmla="*/ 16064 w 16095"/>
                <a:gd name="T115" fmla="*/ 2765 h 14060"/>
                <a:gd name="T116" fmla="*/ 15966 w 16095"/>
                <a:gd name="T117" fmla="*/ 2521 h 14060"/>
                <a:gd name="T118" fmla="*/ 15805 w 16095"/>
                <a:gd name="T119" fmla="*/ 2307 h 14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095" h="14060">
                  <a:moveTo>
                    <a:pt x="14083" y="6026"/>
                  </a:moveTo>
                  <a:lnTo>
                    <a:pt x="12574" y="5021"/>
                  </a:lnTo>
                  <a:lnTo>
                    <a:pt x="12574" y="13056"/>
                  </a:lnTo>
                  <a:lnTo>
                    <a:pt x="3521" y="13056"/>
                  </a:lnTo>
                  <a:lnTo>
                    <a:pt x="3521" y="5021"/>
                  </a:lnTo>
                  <a:lnTo>
                    <a:pt x="2012" y="6026"/>
                  </a:lnTo>
                  <a:lnTo>
                    <a:pt x="1006" y="3013"/>
                  </a:lnTo>
                  <a:lnTo>
                    <a:pt x="3521" y="1004"/>
                  </a:lnTo>
                  <a:lnTo>
                    <a:pt x="5622" y="1004"/>
                  </a:lnTo>
                  <a:lnTo>
                    <a:pt x="5650" y="1085"/>
                  </a:lnTo>
                  <a:lnTo>
                    <a:pt x="5683" y="1164"/>
                  </a:lnTo>
                  <a:lnTo>
                    <a:pt x="5719" y="1241"/>
                  </a:lnTo>
                  <a:lnTo>
                    <a:pt x="5758" y="1318"/>
                  </a:lnTo>
                  <a:lnTo>
                    <a:pt x="5802" y="1392"/>
                  </a:lnTo>
                  <a:lnTo>
                    <a:pt x="5850" y="1464"/>
                  </a:lnTo>
                  <a:lnTo>
                    <a:pt x="5900" y="1536"/>
                  </a:lnTo>
                  <a:lnTo>
                    <a:pt x="5954" y="1605"/>
                  </a:lnTo>
                  <a:lnTo>
                    <a:pt x="6011" y="1672"/>
                  </a:lnTo>
                  <a:lnTo>
                    <a:pt x="6073" y="1737"/>
                  </a:lnTo>
                  <a:lnTo>
                    <a:pt x="6136" y="1800"/>
                  </a:lnTo>
                  <a:lnTo>
                    <a:pt x="6204" y="1861"/>
                  </a:lnTo>
                  <a:lnTo>
                    <a:pt x="6274" y="1920"/>
                  </a:lnTo>
                  <a:lnTo>
                    <a:pt x="6346" y="1976"/>
                  </a:lnTo>
                  <a:lnTo>
                    <a:pt x="6422" y="2031"/>
                  </a:lnTo>
                  <a:lnTo>
                    <a:pt x="6500" y="2082"/>
                  </a:lnTo>
                  <a:lnTo>
                    <a:pt x="6582" y="2131"/>
                  </a:lnTo>
                  <a:lnTo>
                    <a:pt x="6665" y="2177"/>
                  </a:lnTo>
                  <a:lnTo>
                    <a:pt x="6751" y="2221"/>
                  </a:lnTo>
                  <a:lnTo>
                    <a:pt x="6839" y="2262"/>
                  </a:lnTo>
                  <a:lnTo>
                    <a:pt x="6930" y="2300"/>
                  </a:lnTo>
                  <a:lnTo>
                    <a:pt x="7022" y="2336"/>
                  </a:lnTo>
                  <a:lnTo>
                    <a:pt x="7117" y="2368"/>
                  </a:lnTo>
                  <a:lnTo>
                    <a:pt x="7215" y="2397"/>
                  </a:lnTo>
                  <a:lnTo>
                    <a:pt x="7313" y="2423"/>
                  </a:lnTo>
                  <a:lnTo>
                    <a:pt x="7413" y="2445"/>
                  </a:lnTo>
                  <a:lnTo>
                    <a:pt x="7515" y="2466"/>
                  </a:lnTo>
                  <a:lnTo>
                    <a:pt x="7619" y="2482"/>
                  </a:lnTo>
                  <a:lnTo>
                    <a:pt x="7724" y="2495"/>
                  </a:lnTo>
                  <a:lnTo>
                    <a:pt x="7830" y="2504"/>
                  </a:lnTo>
                  <a:lnTo>
                    <a:pt x="7939" y="2509"/>
                  </a:lnTo>
                  <a:lnTo>
                    <a:pt x="8048" y="2511"/>
                  </a:lnTo>
                  <a:lnTo>
                    <a:pt x="8157" y="2509"/>
                  </a:lnTo>
                  <a:lnTo>
                    <a:pt x="8265" y="2504"/>
                  </a:lnTo>
                  <a:lnTo>
                    <a:pt x="8371" y="2495"/>
                  </a:lnTo>
                  <a:lnTo>
                    <a:pt x="8476" y="2482"/>
                  </a:lnTo>
                  <a:lnTo>
                    <a:pt x="8580" y="2466"/>
                  </a:lnTo>
                  <a:lnTo>
                    <a:pt x="8682" y="2445"/>
                  </a:lnTo>
                  <a:lnTo>
                    <a:pt x="8783" y="2423"/>
                  </a:lnTo>
                  <a:lnTo>
                    <a:pt x="8881" y="2397"/>
                  </a:lnTo>
                  <a:lnTo>
                    <a:pt x="8978" y="2368"/>
                  </a:lnTo>
                  <a:lnTo>
                    <a:pt x="9073" y="2336"/>
                  </a:lnTo>
                  <a:lnTo>
                    <a:pt x="9165" y="2300"/>
                  </a:lnTo>
                  <a:lnTo>
                    <a:pt x="9256" y="2262"/>
                  </a:lnTo>
                  <a:lnTo>
                    <a:pt x="9344" y="2221"/>
                  </a:lnTo>
                  <a:lnTo>
                    <a:pt x="9430" y="2177"/>
                  </a:lnTo>
                  <a:lnTo>
                    <a:pt x="9513" y="2131"/>
                  </a:lnTo>
                  <a:lnTo>
                    <a:pt x="9595" y="2082"/>
                  </a:lnTo>
                  <a:lnTo>
                    <a:pt x="9673" y="2031"/>
                  </a:lnTo>
                  <a:lnTo>
                    <a:pt x="9749" y="1976"/>
                  </a:lnTo>
                  <a:lnTo>
                    <a:pt x="9821" y="1920"/>
                  </a:lnTo>
                  <a:lnTo>
                    <a:pt x="9891" y="1861"/>
                  </a:lnTo>
                  <a:lnTo>
                    <a:pt x="9959" y="1800"/>
                  </a:lnTo>
                  <a:lnTo>
                    <a:pt x="10022" y="1737"/>
                  </a:lnTo>
                  <a:lnTo>
                    <a:pt x="10084" y="1672"/>
                  </a:lnTo>
                  <a:lnTo>
                    <a:pt x="10141" y="1605"/>
                  </a:lnTo>
                  <a:lnTo>
                    <a:pt x="10195" y="1536"/>
                  </a:lnTo>
                  <a:lnTo>
                    <a:pt x="10245" y="1464"/>
                  </a:lnTo>
                  <a:lnTo>
                    <a:pt x="10293" y="1392"/>
                  </a:lnTo>
                  <a:lnTo>
                    <a:pt x="10337" y="1318"/>
                  </a:lnTo>
                  <a:lnTo>
                    <a:pt x="10376" y="1241"/>
                  </a:lnTo>
                  <a:lnTo>
                    <a:pt x="10412" y="1164"/>
                  </a:lnTo>
                  <a:lnTo>
                    <a:pt x="10445" y="1085"/>
                  </a:lnTo>
                  <a:lnTo>
                    <a:pt x="10473" y="1004"/>
                  </a:lnTo>
                  <a:lnTo>
                    <a:pt x="12574" y="1004"/>
                  </a:lnTo>
                  <a:lnTo>
                    <a:pt x="15089" y="3013"/>
                  </a:lnTo>
                  <a:lnTo>
                    <a:pt x="14083" y="6026"/>
                  </a:lnTo>
                  <a:close/>
                  <a:moveTo>
                    <a:pt x="9936" y="1004"/>
                  </a:moveTo>
                  <a:lnTo>
                    <a:pt x="9908" y="1059"/>
                  </a:lnTo>
                  <a:lnTo>
                    <a:pt x="9878" y="1112"/>
                  </a:lnTo>
                  <a:lnTo>
                    <a:pt x="9846" y="1164"/>
                  </a:lnTo>
                  <a:lnTo>
                    <a:pt x="9811" y="1215"/>
                  </a:lnTo>
                  <a:lnTo>
                    <a:pt x="9773" y="1264"/>
                  </a:lnTo>
                  <a:lnTo>
                    <a:pt x="9733" y="1314"/>
                  </a:lnTo>
                  <a:lnTo>
                    <a:pt x="9691" y="1361"/>
                  </a:lnTo>
                  <a:lnTo>
                    <a:pt x="9646" y="1407"/>
                  </a:lnTo>
                  <a:lnTo>
                    <a:pt x="9600" y="1452"/>
                  </a:lnTo>
                  <a:lnTo>
                    <a:pt x="9550" y="1495"/>
                  </a:lnTo>
                  <a:lnTo>
                    <a:pt x="9500" y="1538"/>
                  </a:lnTo>
                  <a:lnTo>
                    <a:pt x="9447" y="1579"/>
                  </a:lnTo>
                  <a:lnTo>
                    <a:pt x="9391" y="1617"/>
                  </a:lnTo>
                  <a:lnTo>
                    <a:pt x="9334" y="1655"/>
                  </a:lnTo>
                  <a:lnTo>
                    <a:pt x="9276" y="1691"/>
                  </a:lnTo>
                  <a:lnTo>
                    <a:pt x="9215" y="1725"/>
                  </a:lnTo>
                  <a:lnTo>
                    <a:pt x="9152" y="1758"/>
                  </a:lnTo>
                  <a:lnTo>
                    <a:pt x="9089" y="1789"/>
                  </a:lnTo>
                  <a:lnTo>
                    <a:pt x="9022" y="1818"/>
                  </a:lnTo>
                  <a:lnTo>
                    <a:pt x="8956" y="1845"/>
                  </a:lnTo>
                  <a:lnTo>
                    <a:pt x="8886" y="1870"/>
                  </a:lnTo>
                  <a:lnTo>
                    <a:pt x="8816" y="1893"/>
                  </a:lnTo>
                  <a:lnTo>
                    <a:pt x="8745" y="1914"/>
                  </a:lnTo>
                  <a:lnTo>
                    <a:pt x="8672" y="1933"/>
                  </a:lnTo>
                  <a:lnTo>
                    <a:pt x="8598" y="1951"/>
                  </a:lnTo>
                  <a:lnTo>
                    <a:pt x="8522" y="1965"/>
                  </a:lnTo>
                  <a:lnTo>
                    <a:pt x="8446" y="1978"/>
                  </a:lnTo>
                  <a:lnTo>
                    <a:pt x="8368" y="1989"/>
                  </a:lnTo>
                  <a:lnTo>
                    <a:pt x="8289" y="1998"/>
                  </a:lnTo>
                  <a:lnTo>
                    <a:pt x="8209" y="2004"/>
                  </a:lnTo>
                  <a:lnTo>
                    <a:pt x="8129" y="2008"/>
                  </a:lnTo>
                  <a:lnTo>
                    <a:pt x="8048" y="2009"/>
                  </a:lnTo>
                  <a:lnTo>
                    <a:pt x="7966" y="2008"/>
                  </a:lnTo>
                  <a:lnTo>
                    <a:pt x="7886" y="2004"/>
                  </a:lnTo>
                  <a:lnTo>
                    <a:pt x="7806" y="1998"/>
                  </a:lnTo>
                  <a:lnTo>
                    <a:pt x="7727" y="1989"/>
                  </a:lnTo>
                  <a:lnTo>
                    <a:pt x="7649" y="1978"/>
                  </a:lnTo>
                  <a:lnTo>
                    <a:pt x="7573" y="1965"/>
                  </a:lnTo>
                  <a:lnTo>
                    <a:pt x="7497" y="1951"/>
                  </a:lnTo>
                  <a:lnTo>
                    <a:pt x="7423" y="1933"/>
                  </a:lnTo>
                  <a:lnTo>
                    <a:pt x="7350" y="1914"/>
                  </a:lnTo>
                  <a:lnTo>
                    <a:pt x="7279" y="1893"/>
                  </a:lnTo>
                  <a:lnTo>
                    <a:pt x="7209" y="1870"/>
                  </a:lnTo>
                  <a:lnTo>
                    <a:pt x="7139" y="1845"/>
                  </a:lnTo>
                  <a:lnTo>
                    <a:pt x="7073" y="1818"/>
                  </a:lnTo>
                  <a:lnTo>
                    <a:pt x="7006" y="1789"/>
                  </a:lnTo>
                  <a:lnTo>
                    <a:pt x="6943" y="1758"/>
                  </a:lnTo>
                  <a:lnTo>
                    <a:pt x="6881" y="1725"/>
                  </a:lnTo>
                  <a:lnTo>
                    <a:pt x="6819" y="1691"/>
                  </a:lnTo>
                  <a:lnTo>
                    <a:pt x="6761" y="1655"/>
                  </a:lnTo>
                  <a:lnTo>
                    <a:pt x="6704" y="1617"/>
                  </a:lnTo>
                  <a:lnTo>
                    <a:pt x="6648" y="1579"/>
                  </a:lnTo>
                  <a:lnTo>
                    <a:pt x="6596" y="1538"/>
                  </a:lnTo>
                  <a:lnTo>
                    <a:pt x="6545" y="1495"/>
                  </a:lnTo>
                  <a:lnTo>
                    <a:pt x="6495" y="1452"/>
                  </a:lnTo>
                  <a:lnTo>
                    <a:pt x="6449" y="1407"/>
                  </a:lnTo>
                  <a:lnTo>
                    <a:pt x="6404" y="1361"/>
                  </a:lnTo>
                  <a:lnTo>
                    <a:pt x="6362" y="1314"/>
                  </a:lnTo>
                  <a:lnTo>
                    <a:pt x="6322" y="1264"/>
                  </a:lnTo>
                  <a:lnTo>
                    <a:pt x="6284" y="1215"/>
                  </a:lnTo>
                  <a:lnTo>
                    <a:pt x="6249" y="1164"/>
                  </a:lnTo>
                  <a:lnTo>
                    <a:pt x="6217" y="1112"/>
                  </a:lnTo>
                  <a:lnTo>
                    <a:pt x="6187" y="1059"/>
                  </a:lnTo>
                  <a:lnTo>
                    <a:pt x="6159" y="1004"/>
                  </a:lnTo>
                  <a:lnTo>
                    <a:pt x="9936" y="1004"/>
                  </a:lnTo>
                  <a:close/>
                  <a:moveTo>
                    <a:pt x="15718" y="2229"/>
                  </a:moveTo>
                  <a:lnTo>
                    <a:pt x="13203" y="220"/>
                  </a:lnTo>
                  <a:lnTo>
                    <a:pt x="13169" y="194"/>
                  </a:lnTo>
                  <a:lnTo>
                    <a:pt x="13135" y="170"/>
                  </a:lnTo>
                  <a:lnTo>
                    <a:pt x="13098" y="147"/>
                  </a:lnTo>
                  <a:lnTo>
                    <a:pt x="13061" y="126"/>
                  </a:lnTo>
                  <a:lnTo>
                    <a:pt x="13024" y="105"/>
                  </a:lnTo>
                  <a:lnTo>
                    <a:pt x="12986" y="87"/>
                  </a:lnTo>
                  <a:lnTo>
                    <a:pt x="12946" y="71"/>
                  </a:lnTo>
                  <a:lnTo>
                    <a:pt x="12907" y="56"/>
                  </a:lnTo>
                  <a:lnTo>
                    <a:pt x="12867" y="43"/>
                  </a:lnTo>
                  <a:lnTo>
                    <a:pt x="12827" y="32"/>
                  </a:lnTo>
                  <a:lnTo>
                    <a:pt x="12785" y="22"/>
                  </a:lnTo>
                  <a:lnTo>
                    <a:pt x="12743" y="14"/>
                  </a:lnTo>
                  <a:lnTo>
                    <a:pt x="12702" y="8"/>
                  </a:lnTo>
                  <a:lnTo>
                    <a:pt x="12660" y="4"/>
                  </a:lnTo>
                  <a:lnTo>
                    <a:pt x="12616" y="1"/>
                  </a:lnTo>
                  <a:lnTo>
                    <a:pt x="12574" y="0"/>
                  </a:lnTo>
                  <a:lnTo>
                    <a:pt x="3521" y="0"/>
                  </a:lnTo>
                  <a:lnTo>
                    <a:pt x="3479" y="1"/>
                  </a:lnTo>
                  <a:lnTo>
                    <a:pt x="3435" y="4"/>
                  </a:lnTo>
                  <a:lnTo>
                    <a:pt x="3393" y="8"/>
                  </a:lnTo>
                  <a:lnTo>
                    <a:pt x="3352" y="14"/>
                  </a:lnTo>
                  <a:lnTo>
                    <a:pt x="3310" y="22"/>
                  </a:lnTo>
                  <a:lnTo>
                    <a:pt x="3268" y="32"/>
                  </a:lnTo>
                  <a:lnTo>
                    <a:pt x="3228" y="43"/>
                  </a:lnTo>
                  <a:lnTo>
                    <a:pt x="3188" y="56"/>
                  </a:lnTo>
                  <a:lnTo>
                    <a:pt x="3149" y="71"/>
                  </a:lnTo>
                  <a:lnTo>
                    <a:pt x="3109" y="87"/>
                  </a:lnTo>
                  <a:lnTo>
                    <a:pt x="3071" y="105"/>
                  </a:lnTo>
                  <a:lnTo>
                    <a:pt x="3034" y="126"/>
                  </a:lnTo>
                  <a:lnTo>
                    <a:pt x="2997" y="147"/>
                  </a:lnTo>
                  <a:lnTo>
                    <a:pt x="2960" y="170"/>
                  </a:lnTo>
                  <a:lnTo>
                    <a:pt x="2926" y="194"/>
                  </a:lnTo>
                  <a:lnTo>
                    <a:pt x="2892" y="220"/>
                  </a:lnTo>
                  <a:lnTo>
                    <a:pt x="377" y="2229"/>
                  </a:lnTo>
                  <a:lnTo>
                    <a:pt x="347" y="2254"/>
                  </a:lnTo>
                  <a:lnTo>
                    <a:pt x="318" y="2280"/>
                  </a:lnTo>
                  <a:lnTo>
                    <a:pt x="290" y="2307"/>
                  </a:lnTo>
                  <a:lnTo>
                    <a:pt x="264" y="2335"/>
                  </a:lnTo>
                  <a:lnTo>
                    <a:pt x="237" y="2364"/>
                  </a:lnTo>
                  <a:lnTo>
                    <a:pt x="213" y="2393"/>
                  </a:lnTo>
                  <a:lnTo>
                    <a:pt x="191" y="2424"/>
                  </a:lnTo>
                  <a:lnTo>
                    <a:pt x="169" y="2455"/>
                  </a:lnTo>
                  <a:lnTo>
                    <a:pt x="148" y="2488"/>
                  </a:lnTo>
                  <a:lnTo>
                    <a:pt x="129" y="2521"/>
                  </a:lnTo>
                  <a:lnTo>
                    <a:pt x="112" y="2554"/>
                  </a:lnTo>
                  <a:lnTo>
                    <a:pt x="95" y="2588"/>
                  </a:lnTo>
                  <a:lnTo>
                    <a:pt x="79" y="2622"/>
                  </a:lnTo>
                  <a:lnTo>
                    <a:pt x="65" y="2657"/>
                  </a:lnTo>
                  <a:lnTo>
                    <a:pt x="52" y="2692"/>
                  </a:lnTo>
                  <a:lnTo>
                    <a:pt x="41" y="2729"/>
                  </a:lnTo>
                  <a:lnTo>
                    <a:pt x="31" y="2765"/>
                  </a:lnTo>
                  <a:lnTo>
                    <a:pt x="22" y="2802"/>
                  </a:lnTo>
                  <a:lnTo>
                    <a:pt x="15" y="2839"/>
                  </a:lnTo>
                  <a:lnTo>
                    <a:pt x="9" y="2876"/>
                  </a:lnTo>
                  <a:lnTo>
                    <a:pt x="5" y="2913"/>
                  </a:lnTo>
                  <a:lnTo>
                    <a:pt x="2" y="2952"/>
                  </a:lnTo>
                  <a:lnTo>
                    <a:pt x="0" y="2989"/>
                  </a:lnTo>
                  <a:lnTo>
                    <a:pt x="0" y="3027"/>
                  </a:lnTo>
                  <a:lnTo>
                    <a:pt x="1" y="3065"/>
                  </a:lnTo>
                  <a:lnTo>
                    <a:pt x="4" y="3103"/>
                  </a:lnTo>
                  <a:lnTo>
                    <a:pt x="8" y="3141"/>
                  </a:lnTo>
                  <a:lnTo>
                    <a:pt x="14" y="3180"/>
                  </a:lnTo>
                  <a:lnTo>
                    <a:pt x="21" y="3218"/>
                  </a:lnTo>
                  <a:lnTo>
                    <a:pt x="30" y="3256"/>
                  </a:lnTo>
                  <a:lnTo>
                    <a:pt x="40" y="3293"/>
                  </a:lnTo>
                  <a:lnTo>
                    <a:pt x="52" y="3331"/>
                  </a:lnTo>
                  <a:lnTo>
                    <a:pt x="1057" y="6344"/>
                  </a:lnTo>
                  <a:lnTo>
                    <a:pt x="1067" y="6371"/>
                  </a:lnTo>
                  <a:lnTo>
                    <a:pt x="1078" y="6398"/>
                  </a:lnTo>
                  <a:lnTo>
                    <a:pt x="1089" y="6425"/>
                  </a:lnTo>
                  <a:lnTo>
                    <a:pt x="1100" y="6452"/>
                  </a:lnTo>
                  <a:lnTo>
                    <a:pt x="1114" y="6478"/>
                  </a:lnTo>
                  <a:lnTo>
                    <a:pt x="1127" y="6504"/>
                  </a:lnTo>
                  <a:lnTo>
                    <a:pt x="1141" y="6529"/>
                  </a:lnTo>
                  <a:lnTo>
                    <a:pt x="1156" y="6553"/>
                  </a:lnTo>
                  <a:lnTo>
                    <a:pt x="1171" y="6577"/>
                  </a:lnTo>
                  <a:lnTo>
                    <a:pt x="1187" y="6601"/>
                  </a:lnTo>
                  <a:lnTo>
                    <a:pt x="1204" y="6624"/>
                  </a:lnTo>
                  <a:lnTo>
                    <a:pt x="1221" y="6647"/>
                  </a:lnTo>
                  <a:lnTo>
                    <a:pt x="1239" y="6669"/>
                  </a:lnTo>
                  <a:lnTo>
                    <a:pt x="1258" y="6692"/>
                  </a:lnTo>
                  <a:lnTo>
                    <a:pt x="1278" y="6713"/>
                  </a:lnTo>
                  <a:lnTo>
                    <a:pt x="1298" y="6733"/>
                  </a:lnTo>
                  <a:lnTo>
                    <a:pt x="1318" y="6753"/>
                  </a:lnTo>
                  <a:lnTo>
                    <a:pt x="1339" y="6772"/>
                  </a:lnTo>
                  <a:lnTo>
                    <a:pt x="1360" y="6791"/>
                  </a:lnTo>
                  <a:lnTo>
                    <a:pt x="1382" y="6809"/>
                  </a:lnTo>
                  <a:lnTo>
                    <a:pt x="1405" y="6827"/>
                  </a:lnTo>
                  <a:lnTo>
                    <a:pt x="1428" y="6844"/>
                  </a:lnTo>
                  <a:lnTo>
                    <a:pt x="1452" y="6860"/>
                  </a:lnTo>
                  <a:lnTo>
                    <a:pt x="1476" y="6875"/>
                  </a:lnTo>
                  <a:lnTo>
                    <a:pt x="1501" y="6890"/>
                  </a:lnTo>
                  <a:lnTo>
                    <a:pt x="1526" y="6905"/>
                  </a:lnTo>
                  <a:lnTo>
                    <a:pt x="1551" y="6919"/>
                  </a:lnTo>
                  <a:lnTo>
                    <a:pt x="1577" y="6932"/>
                  </a:lnTo>
                  <a:lnTo>
                    <a:pt x="1603" y="6944"/>
                  </a:lnTo>
                  <a:lnTo>
                    <a:pt x="1631" y="6956"/>
                  </a:lnTo>
                  <a:lnTo>
                    <a:pt x="1658" y="6966"/>
                  </a:lnTo>
                  <a:lnTo>
                    <a:pt x="1686" y="6976"/>
                  </a:lnTo>
                  <a:lnTo>
                    <a:pt x="1725" y="6989"/>
                  </a:lnTo>
                  <a:lnTo>
                    <a:pt x="1766" y="7000"/>
                  </a:lnTo>
                  <a:lnTo>
                    <a:pt x="1807" y="7009"/>
                  </a:lnTo>
                  <a:lnTo>
                    <a:pt x="1848" y="7016"/>
                  </a:lnTo>
                  <a:lnTo>
                    <a:pt x="1888" y="7022"/>
                  </a:lnTo>
                  <a:lnTo>
                    <a:pt x="1929" y="7027"/>
                  </a:lnTo>
                  <a:lnTo>
                    <a:pt x="1971" y="7029"/>
                  </a:lnTo>
                  <a:lnTo>
                    <a:pt x="2012" y="7030"/>
                  </a:lnTo>
                  <a:lnTo>
                    <a:pt x="2045" y="7029"/>
                  </a:lnTo>
                  <a:lnTo>
                    <a:pt x="2077" y="7028"/>
                  </a:lnTo>
                  <a:lnTo>
                    <a:pt x="2110" y="7025"/>
                  </a:lnTo>
                  <a:lnTo>
                    <a:pt x="2143" y="7021"/>
                  </a:lnTo>
                  <a:lnTo>
                    <a:pt x="2175" y="7017"/>
                  </a:lnTo>
                  <a:lnTo>
                    <a:pt x="2207" y="7011"/>
                  </a:lnTo>
                  <a:lnTo>
                    <a:pt x="2239" y="7004"/>
                  </a:lnTo>
                  <a:lnTo>
                    <a:pt x="2271" y="6996"/>
                  </a:lnTo>
                  <a:lnTo>
                    <a:pt x="2303" y="6987"/>
                  </a:lnTo>
                  <a:lnTo>
                    <a:pt x="2334" y="6977"/>
                  </a:lnTo>
                  <a:lnTo>
                    <a:pt x="2365" y="6966"/>
                  </a:lnTo>
                  <a:lnTo>
                    <a:pt x="2396" y="6954"/>
                  </a:lnTo>
                  <a:lnTo>
                    <a:pt x="2426" y="6941"/>
                  </a:lnTo>
                  <a:lnTo>
                    <a:pt x="2456" y="6927"/>
                  </a:lnTo>
                  <a:lnTo>
                    <a:pt x="2486" y="6911"/>
                  </a:lnTo>
                  <a:lnTo>
                    <a:pt x="2515" y="6895"/>
                  </a:lnTo>
                  <a:lnTo>
                    <a:pt x="2515" y="13056"/>
                  </a:lnTo>
                  <a:lnTo>
                    <a:pt x="2516" y="13107"/>
                  </a:lnTo>
                  <a:lnTo>
                    <a:pt x="2520" y="13158"/>
                  </a:lnTo>
                  <a:lnTo>
                    <a:pt x="2526" y="13208"/>
                  </a:lnTo>
                  <a:lnTo>
                    <a:pt x="2535" y="13258"/>
                  </a:lnTo>
                  <a:lnTo>
                    <a:pt x="2546" y="13307"/>
                  </a:lnTo>
                  <a:lnTo>
                    <a:pt x="2560" y="13354"/>
                  </a:lnTo>
                  <a:lnTo>
                    <a:pt x="2576" y="13401"/>
                  </a:lnTo>
                  <a:lnTo>
                    <a:pt x="2594" y="13446"/>
                  </a:lnTo>
                  <a:lnTo>
                    <a:pt x="2614" y="13491"/>
                  </a:lnTo>
                  <a:lnTo>
                    <a:pt x="2637" y="13535"/>
                  </a:lnTo>
                  <a:lnTo>
                    <a:pt x="2661" y="13576"/>
                  </a:lnTo>
                  <a:lnTo>
                    <a:pt x="2687" y="13617"/>
                  </a:lnTo>
                  <a:lnTo>
                    <a:pt x="2715" y="13656"/>
                  </a:lnTo>
                  <a:lnTo>
                    <a:pt x="2744" y="13694"/>
                  </a:lnTo>
                  <a:lnTo>
                    <a:pt x="2776" y="13731"/>
                  </a:lnTo>
                  <a:lnTo>
                    <a:pt x="2810" y="13766"/>
                  </a:lnTo>
                  <a:lnTo>
                    <a:pt x="2845" y="13799"/>
                  </a:lnTo>
                  <a:lnTo>
                    <a:pt x="2881" y="13831"/>
                  </a:lnTo>
                  <a:lnTo>
                    <a:pt x="2919" y="13860"/>
                  </a:lnTo>
                  <a:lnTo>
                    <a:pt x="2958" y="13888"/>
                  </a:lnTo>
                  <a:lnTo>
                    <a:pt x="3000" y="13914"/>
                  </a:lnTo>
                  <a:lnTo>
                    <a:pt x="3041" y="13938"/>
                  </a:lnTo>
                  <a:lnTo>
                    <a:pt x="3085" y="13961"/>
                  </a:lnTo>
                  <a:lnTo>
                    <a:pt x="3129" y="13981"/>
                  </a:lnTo>
                  <a:lnTo>
                    <a:pt x="3175" y="13999"/>
                  </a:lnTo>
                  <a:lnTo>
                    <a:pt x="3222" y="14015"/>
                  </a:lnTo>
                  <a:lnTo>
                    <a:pt x="3269" y="14028"/>
                  </a:lnTo>
                  <a:lnTo>
                    <a:pt x="3319" y="14040"/>
                  </a:lnTo>
                  <a:lnTo>
                    <a:pt x="3368" y="14048"/>
                  </a:lnTo>
                  <a:lnTo>
                    <a:pt x="3418" y="14055"/>
                  </a:lnTo>
                  <a:lnTo>
                    <a:pt x="3469" y="14059"/>
                  </a:lnTo>
                  <a:lnTo>
                    <a:pt x="3521" y="14060"/>
                  </a:lnTo>
                  <a:lnTo>
                    <a:pt x="12574" y="14060"/>
                  </a:lnTo>
                  <a:lnTo>
                    <a:pt x="12626" y="14059"/>
                  </a:lnTo>
                  <a:lnTo>
                    <a:pt x="12677" y="14055"/>
                  </a:lnTo>
                  <a:lnTo>
                    <a:pt x="12727" y="14048"/>
                  </a:lnTo>
                  <a:lnTo>
                    <a:pt x="12776" y="14040"/>
                  </a:lnTo>
                  <a:lnTo>
                    <a:pt x="12826" y="14028"/>
                  </a:lnTo>
                  <a:lnTo>
                    <a:pt x="12873" y="14015"/>
                  </a:lnTo>
                  <a:lnTo>
                    <a:pt x="12920" y="13999"/>
                  </a:lnTo>
                  <a:lnTo>
                    <a:pt x="12966" y="13981"/>
                  </a:lnTo>
                  <a:lnTo>
                    <a:pt x="13010" y="13961"/>
                  </a:lnTo>
                  <a:lnTo>
                    <a:pt x="13054" y="13938"/>
                  </a:lnTo>
                  <a:lnTo>
                    <a:pt x="13095" y="13914"/>
                  </a:lnTo>
                  <a:lnTo>
                    <a:pt x="13137" y="13888"/>
                  </a:lnTo>
                  <a:lnTo>
                    <a:pt x="13176" y="13860"/>
                  </a:lnTo>
                  <a:lnTo>
                    <a:pt x="13214" y="13831"/>
                  </a:lnTo>
                  <a:lnTo>
                    <a:pt x="13250" y="13799"/>
                  </a:lnTo>
                  <a:lnTo>
                    <a:pt x="13285" y="13766"/>
                  </a:lnTo>
                  <a:lnTo>
                    <a:pt x="13319" y="13731"/>
                  </a:lnTo>
                  <a:lnTo>
                    <a:pt x="13351" y="13694"/>
                  </a:lnTo>
                  <a:lnTo>
                    <a:pt x="13380" y="13656"/>
                  </a:lnTo>
                  <a:lnTo>
                    <a:pt x="13408" y="13617"/>
                  </a:lnTo>
                  <a:lnTo>
                    <a:pt x="13434" y="13576"/>
                  </a:lnTo>
                  <a:lnTo>
                    <a:pt x="13458" y="13535"/>
                  </a:lnTo>
                  <a:lnTo>
                    <a:pt x="13481" y="13491"/>
                  </a:lnTo>
                  <a:lnTo>
                    <a:pt x="13501" y="13446"/>
                  </a:lnTo>
                  <a:lnTo>
                    <a:pt x="13519" y="13401"/>
                  </a:lnTo>
                  <a:lnTo>
                    <a:pt x="13535" y="13354"/>
                  </a:lnTo>
                  <a:lnTo>
                    <a:pt x="13548" y="13307"/>
                  </a:lnTo>
                  <a:lnTo>
                    <a:pt x="13560" y="13258"/>
                  </a:lnTo>
                  <a:lnTo>
                    <a:pt x="13568" y="13208"/>
                  </a:lnTo>
                  <a:lnTo>
                    <a:pt x="13575" y="13158"/>
                  </a:lnTo>
                  <a:lnTo>
                    <a:pt x="13579" y="13107"/>
                  </a:lnTo>
                  <a:lnTo>
                    <a:pt x="13580" y="13056"/>
                  </a:lnTo>
                  <a:lnTo>
                    <a:pt x="13580" y="6895"/>
                  </a:lnTo>
                  <a:lnTo>
                    <a:pt x="13609" y="6911"/>
                  </a:lnTo>
                  <a:lnTo>
                    <a:pt x="13639" y="6927"/>
                  </a:lnTo>
                  <a:lnTo>
                    <a:pt x="13669" y="6941"/>
                  </a:lnTo>
                  <a:lnTo>
                    <a:pt x="13699" y="6954"/>
                  </a:lnTo>
                  <a:lnTo>
                    <a:pt x="13730" y="6966"/>
                  </a:lnTo>
                  <a:lnTo>
                    <a:pt x="13761" y="6977"/>
                  </a:lnTo>
                  <a:lnTo>
                    <a:pt x="13792" y="6987"/>
                  </a:lnTo>
                  <a:lnTo>
                    <a:pt x="13824" y="6996"/>
                  </a:lnTo>
                  <a:lnTo>
                    <a:pt x="13856" y="7004"/>
                  </a:lnTo>
                  <a:lnTo>
                    <a:pt x="13888" y="7011"/>
                  </a:lnTo>
                  <a:lnTo>
                    <a:pt x="13920" y="7017"/>
                  </a:lnTo>
                  <a:lnTo>
                    <a:pt x="13952" y="7021"/>
                  </a:lnTo>
                  <a:lnTo>
                    <a:pt x="13985" y="7025"/>
                  </a:lnTo>
                  <a:lnTo>
                    <a:pt x="14018" y="7028"/>
                  </a:lnTo>
                  <a:lnTo>
                    <a:pt x="14050" y="7029"/>
                  </a:lnTo>
                  <a:lnTo>
                    <a:pt x="14083" y="7030"/>
                  </a:lnTo>
                  <a:lnTo>
                    <a:pt x="14124" y="7029"/>
                  </a:lnTo>
                  <a:lnTo>
                    <a:pt x="14166" y="7027"/>
                  </a:lnTo>
                  <a:lnTo>
                    <a:pt x="14207" y="7022"/>
                  </a:lnTo>
                  <a:lnTo>
                    <a:pt x="14247" y="7016"/>
                  </a:lnTo>
                  <a:lnTo>
                    <a:pt x="14288" y="7009"/>
                  </a:lnTo>
                  <a:lnTo>
                    <a:pt x="14329" y="7000"/>
                  </a:lnTo>
                  <a:lnTo>
                    <a:pt x="14370" y="6989"/>
                  </a:lnTo>
                  <a:lnTo>
                    <a:pt x="14410" y="6976"/>
                  </a:lnTo>
                  <a:lnTo>
                    <a:pt x="14437" y="6966"/>
                  </a:lnTo>
                  <a:lnTo>
                    <a:pt x="14464" y="6956"/>
                  </a:lnTo>
                  <a:lnTo>
                    <a:pt x="14492" y="6944"/>
                  </a:lnTo>
                  <a:lnTo>
                    <a:pt x="14518" y="6932"/>
                  </a:lnTo>
                  <a:lnTo>
                    <a:pt x="14544" y="6919"/>
                  </a:lnTo>
                  <a:lnTo>
                    <a:pt x="14569" y="6905"/>
                  </a:lnTo>
                  <a:lnTo>
                    <a:pt x="14594" y="6890"/>
                  </a:lnTo>
                  <a:lnTo>
                    <a:pt x="14619" y="6875"/>
                  </a:lnTo>
                  <a:lnTo>
                    <a:pt x="14643" y="6860"/>
                  </a:lnTo>
                  <a:lnTo>
                    <a:pt x="14667" y="6844"/>
                  </a:lnTo>
                  <a:lnTo>
                    <a:pt x="14690" y="6827"/>
                  </a:lnTo>
                  <a:lnTo>
                    <a:pt x="14713" y="6809"/>
                  </a:lnTo>
                  <a:lnTo>
                    <a:pt x="14735" y="6791"/>
                  </a:lnTo>
                  <a:lnTo>
                    <a:pt x="14756" y="6772"/>
                  </a:lnTo>
                  <a:lnTo>
                    <a:pt x="14777" y="6753"/>
                  </a:lnTo>
                  <a:lnTo>
                    <a:pt x="14797" y="6733"/>
                  </a:lnTo>
                  <a:lnTo>
                    <a:pt x="14817" y="6713"/>
                  </a:lnTo>
                  <a:lnTo>
                    <a:pt x="14837" y="6692"/>
                  </a:lnTo>
                  <a:lnTo>
                    <a:pt x="14856" y="6669"/>
                  </a:lnTo>
                  <a:lnTo>
                    <a:pt x="14874" y="6647"/>
                  </a:lnTo>
                  <a:lnTo>
                    <a:pt x="14891" y="6624"/>
                  </a:lnTo>
                  <a:lnTo>
                    <a:pt x="14908" y="6601"/>
                  </a:lnTo>
                  <a:lnTo>
                    <a:pt x="14924" y="6577"/>
                  </a:lnTo>
                  <a:lnTo>
                    <a:pt x="14939" y="6553"/>
                  </a:lnTo>
                  <a:lnTo>
                    <a:pt x="14954" y="6529"/>
                  </a:lnTo>
                  <a:lnTo>
                    <a:pt x="14968" y="6504"/>
                  </a:lnTo>
                  <a:lnTo>
                    <a:pt x="14981" y="6478"/>
                  </a:lnTo>
                  <a:lnTo>
                    <a:pt x="14995" y="6452"/>
                  </a:lnTo>
                  <a:lnTo>
                    <a:pt x="15006" y="6425"/>
                  </a:lnTo>
                  <a:lnTo>
                    <a:pt x="15017" y="6398"/>
                  </a:lnTo>
                  <a:lnTo>
                    <a:pt x="15028" y="6371"/>
                  </a:lnTo>
                  <a:lnTo>
                    <a:pt x="15038" y="6344"/>
                  </a:lnTo>
                  <a:lnTo>
                    <a:pt x="16044" y="3331"/>
                  </a:lnTo>
                  <a:lnTo>
                    <a:pt x="16055" y="3293"/>
                  </a:lnTo>
                  <a:lnTo>
                    <a:pt x="16065" y="3256"/>
                  </a:lnTo>
                  <a:lnTo>
                    <a:pt x="16074" y="3218"/>
                  </a:lnTo>
                  <a:lnTo>
                    <a:pt x="16081" y="3180"/>
                  </a:lnTo>
                  <a:lnTo>
                    <a:pt x="16087" y="3141"/>
                  </a:lnTo>
                  <a:lnTo>
                    <a:pt x="16091" y="3103"/>
                  </a:lnTo>
                  <a:lnTo>
                    <a:pt x="16094" y="3065"/>
                  </a:lnTo>
                  <a:lnTo>
                    <a:pt x="16095" y="3027"/>
                  </a:lnTo>
                  <a:lnTo>
                    <a:pt x="16095" y="2989"/>
                  </a:lnTo>
                  <a:lnTo>
                    <a:pt x="16093" y="2952"/>
                  </a:lnTo>
                  <a:lnTo>
                    <a:pt x="16090" y="2913"/>
                  </a:lnTo>
                  <a:lnTo>
                    <a:pt x="16086" y="2876"/>
                  </a:lnTo>
                  <a:lnTo>
                    <a:pt x="16080" y="2839"/>
                  </a:lnTo>
                  <a:lnTo>
                    <a:pt x="16073" y="2802"/>
                  </a:lnTo>
                  <a:lnTo>
                    <a:pt x="16064" y="2765"/>
                  </a:lnTo>
                  <a:lnTo>
                    <a:pt x="16054" y="2729"/>
                  </a:lnTo>
                  <a:lnTo>
                    <a:pt x="16043" y="2692"/>
                  </a:lnTo>
                  <a:lnTo>
                    <a:pt x="16030" y="2657"/>
                  </a:lnTo>
                  <a:lnTo>
                    <a:pt x="16016" y="2622"/>
                  </a:lnTo>
                  <a:lnTo>
                    <a:pt x="16000" y="2588"/>
                  </a:lnTo>
                  <a:lnTo>
                    <a:pt x="15983" y="2554"/>
                  </a:lnTo>
                  <a:lnTo>
                    <a:pt x="15966" y="2521"/>
                  </a:lnTo>
                  <a:lnTo>
                    <a:pt x="15947" y="2488"/>
                  </a:lnTo>
                  <a:lnTo>
                    <a:pt x="15926" y="2455"/>
                  </a:lnTo>
                  <a:lnTo>
                    <a:pt x="15904" y="2424"/>
                  </a:lnTo>
                  <a:lnTo>
                    <a:pt x="15882" y="2393"/>
                  </a:lnTo>
                  <a:lnTo>
                    <a:pt x="15858" y="2364"/>
                  </a:lnTo>
                  <a:lnTo>
                    <a:pt x="15831" y="2335"/>
                  </a:lnTo>
                  <a:lnTo>
                    <a:pt x="15805" y="2307"/>
                  </a:lnTo>
                  <a:lnTo>
                    <a:pt x="15777" y="2280"/>
                  </a:lnTo>
                  <a:lnTo>
                    <a:pt x="15748" y="2254"/>
                  </a:lnTo>
                  <a:lnTo>
                    <a:pt x="15718" y="222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70" name="iṣḻîḍe">
              <a:extLst>
                <a:ext uri="{FF2B5EF4-FFF2-40B4-BE49-F238E27FC236}">
                  <a16:creationId xmlns:a16="http://schemas.microsoft.com/office/drawing/2014/main" id="{D04483CA-48AE-43BB-88F4-01AD9FBDCAB3}"/>
                </a:ext>
              </a:extLst>
            </p:cNvPr>
            <p:cNvSpPr/>
            <p:nvPr/>
          </p:nvSpPr>
          <p:spPr bwMode="auto">
            <a:xfrm>
              <a:off x="6339510" y="2356836"/>
              <a:ext cx="403593" cy="404523"/>
            </a:xfrm>
            <a:custGeom>
              <a:avLst/>
              <a:gdLst>
                <a:gd name="T0" fmla="*/ 15014 w 16058"/>
                <a:gd name="T1" fmla="*/ 14913 h 16095"/>
                <a:gd name="T2" fmla="*/ 14893 w 16058"/>
                <a:gd name="T3" fmla="*/ 15041 h 16095"/>
                <a:gd name="T4" fmla="*/ 14719 w 16058"/>
                <a:gd name="T5" fmla="*/ 15089 h 16095"/>
                <a:gd name="T6" fmla="*/ 1179 w 16058"/>
                <a:gd name="T7" fmla="*/ 15049 h 16095"/>
                <a:gd name="T8" fmla="*/ 1052 w 16058"/>
                <a:gd name="T9" fmla="*/ 14927 h 16095"/>
                <a:gd name="T10" fmla="*/ 1004 w 16058"/>
                <a:gd name="T11" fmla="*/ 14754 h 16095"/>
                <a:gd name="T12" fmla="*/ 1044 w 16058"/>
                <a:gd name="T13" fmla="*/ 2690 h 16095"/>
                <a:gd name="T14" fmla="*/ 1165 w 16058"/>
                <a:gd name="T15" fmla="*/ 2563 h 16095"/>
                <a:gd name="T16" fmla="*/ 1338 w 16058"/>
                <a:gd name="T17" fmla="*/ 2515 h 16095"/>
                <a:gd name="T18" fmla="*/ 3562 w 16058"/>
                <a:gd name="T19" fmla="*/ 3739 h 16095"/>
                <a:gd name="T20" fmla="*/ 3733 w 16058"/>
                <a:gd name="T21" fmla="*/ 3938 h 16095"/>
                <a:gd name="T22" fmla="*/ 3988 w 16058"/>
                <a:gd name="T23" fmla="*/ 4023 h 16095"/>
                <a:gd name="T24" fmla="*/ 4253 w 16058"/>
                <a:gd name="T25" fmla="*/ 3963 h 16095"/>
                <a:gd name="T26" fmla="*/ 4444 w 16058"/>
                <a:gd name="T27" fmla="*/ 3781 h 16095"/>
                <a:gd name="T28" fmla="*/ 4516 w 16058"/>
                <a:gd name="T29" fmla="*/ 3521 h 16095"/>
                <a:gd name="T30" fmla="*/ 7566 w 16058"/>
                <a:gd name="T31" fmla="*/ 3717 h 16095"/>
                <a:gd name="T32" fmla="*/ 7729 w 16058"/>
                <a:gd name="T33" fmla="*/ 3924 h 16095"/>
                <a:gd name="T34" fmla="*/ 7978 w 16058"/>
                <a:gd name="T35" fmla="*/ 4021 h 16095"/>
                <a:gd name="T36" fmla="*/ 8247 w 16058"/>
                <a:gd name="T37" fmla="*/ 3974 h 16095"/>
                <a:gd name="T38" fmla="*/ 8446 w 16058"/>
                <a:gd name="T39" fmla="*/ 3802 h 16095"/>
                <a:gd name="T40" fmla="*/ 8530 w 16058"/>
                <a:gd name="T41" fmla="*/ 3547 h 16095"/>
                <a:gd name="T42" fmla="*/ 11572 w 16058"/>
                <a:gd name="T43" fmla="*/ 3694 h 16095"/>
                <a:gd name="T44" fmla="*/ 11724 w 16058"/>
                <a:gd name="T45" fmla="*/ 3909 h 16095"/>
                <a:gd name="T46" fmla="*/ 11967 w 16058"/>
                <a:gd name="T47" fmla="*/ 4018 h 16095"/>
                <a:gd name="T48" fmla="*/ 12238 w 16058"/>
                <a:gd name="T49" fmla="*/ 3985 h 16095"/>
                <a:gd name="T50" fmla="*/ 12446 w 16058"/>
                <a:gd name="T51" fmla="*/ 3822 h 16095"/>
                <a:gd name="T52" fmla="*/ 12542 w 16058"/>
                <a:gd name="T53" fmla="*/ 3572 h 16095"/>
                <a:gd name="T54" fmla="*/ 14835 w 16058"/>
                <a:gd name="T55" fmla="*/ 2535 h 16095"/>
                <a:gd name="T56" fmla="*/ 14978 w 16058"/>
                <a:gd name="T57" fmla="*/ 2637 h 16095"/>
                <a:gd name="T58" fmla="*/ 15050 w 16058"/>
                <a:gd name="T59" fmla="*/ 2799 h 16095"/>
                <a:gd name="T60" fmla="*/ 12535 w 16058"/>
                <a:gd name="T61" fmla="*/ 401 h 16095"/>
                <a:gd name="T62" fmla="*/ 12415 w 16058"/>
                <a:gd name="T63" fmla="*/ 165 h 16095"/>
                <a:gd name="T64" fmla="*/ 12193 w 16058"/>
                <a:gd name="T65" fmla="*/ 22 h 16095"/>
                <a:gd name="T66" fmla="*/ 11918 w 16058"/>
                <a:gd name="T67" fmla="*/ 16 h 16095"/>
                <a:gd name="T68" fmla="*/ 11688 w 16058"/>
                <a:gd name="T69" fmla="*/ 147 h 16095"/>
                <a:gd name="T70" fmla="*/ 11558 w 16058"/>
                <a:gd name="T71" fmla="*/ 377 h 16095"/>
                <a:gd name="T72" fmla="*/ 8525 w 16058"/>
                <a:gd name="T73" fmla="*/ 427 h 16095"/>
                <a:gd name="T74" fmla="*/ 8416 w 16058"/>
                <a:gd name="T75" fmla="*/ 183 h 16095"/>
                <a:gd name="T76" fmla="*/ 8202 w 16058"/>
                <a:gd name="T77" fmla="*/ 30 h 16095"/>
                <a:gd name="T78" fmla="*/ 7928 w 16058"/>
                <a:gd name="T79" fmla="*/ 10 h 16095"/>
                <a:gd name="T80" fmla="*/ 7692 w 16058"/>
                <a:gd name="T81" fmla="*/ 131 h 16095"/>
                <a:gd name="T82" fmla="*/ 7549 w 16058"/>
                <a:gd name="T83" fmla="*/ 353 h 16095"/>
                <a:gd name="T84" fmla="*/ 4513 w 16058"/>
                <a:gd name="T85" fmla="*/ 452 h 16095"/>
                <a:gd name="T86" fmla="*/ 4417 w 16058"/>
                <a:gd name="T87" fmla="*/ 202 h 16095"/>
                <a:gd name="T88" fmla="*/ 4210 w 16058"/>
                <a:gd name="T89" fmla="*/ 39 h 16095"/>
                <a:gd name="T90" fmla="*/ 3938 w 16058"/>
                <a:gd name="T91" fmla="*/ 6 h 16095"/>
                <a:gd name="T92" fmla="*/ 3695 w 16058"/>
                <a:gd name="T93" fmla="*/ 115 h 16095"/>
                <a:gd name="T94" fmla="*/ 3543 w 16058"/>
                <a:gd name="T95" fmla="*/ 330 h 16095"/>
                <a:gd name="T96" fmla="*/ 1201 w 16058"/>
                <a:gd name="T97" fmla="*/ 1516 h 16095"/>
                <a:gd name="T98" fmla="*/ 538 w 16058"/>
                <a:gd name="T99" fmla="*/ 1775 h 16095"/>
                <a:gd name="T100" fmla="*/ 105 w 16058"/>
                <a:gd name="T101" fmla="*/ 2328 h 16095"/>
                <a:gd name="T102" fmla="*/ 7 w 16058"/>
                <a:gd name="T103" fmla="*/ 14891 h 16095"/>
                <a:gd name="T104" fmla="*/ 266 w 16058"/>
                <a:gd name="T105" fmla="*/ 15556 h 16095"/>
                <a:gd name="T106" fmla="*/ 817 w 16058"/>
                <a:gd name="T107" fmla="*/ 15989 h 16095"/>
                <a:gd name="T108" fmla="*/ 14857 w 16058"/>
                <a:gd name="T109" fmla="*/ 16088 h 16095"/>
                <a:gd name="T110" fmla="*/ 15520 w 16058"/>
                <a:gd name="T111" fmla="*/ 15828 h 16095"/>
                <a:gd name="T112" fmla="*/ 15953 w 16058"/>
                <a:gd name="T113" fmla="*/ 15276 h 16095"/>
                <a:gd name="T114" fmla="*/ 16051 w 16058"/>
                <a:gd name="T115" fmla="*/ 2713 h 16095"/>
                <a:gd name="T116" fmla="*/ 15792 w 16058"/>
                <a:gd name="T117" fmla="*/ 2047 h 16095"/>
                <a:gd name="T118" fmla="*/ 15241 w 16058"/>
                <a:gd name="T119" fmla="*/ 1615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058" h="16095">
                  <a:moveTo>
                    <a:pt x="15054" y="14754"/>
                  </a:moveTo>
                  <a:lnTo>
                    <a:pt x="15053" y="14771"/>
                  </a:lnTo>
                  <a:lnTo>
                    <a:pt x="15052" y="14788"/>
                  </a:lnTo>
                  <a:lnTo>
                    <a:pt x="15050" y="14804"/>
                  </a:lnTo>
                  <a:lnTo>
                    <a:pt x="15047" y="14821"/>
                  </a:lnTo>
                  <a:lnTo>
                    <a:pt x="15043" y="14838"/>
                  </a:lnTo>
                  <a:lnTo>
                    <a:pt x="15039" y="14854"/>
                  </a:lnTo>
                  <a:lnTo>
                    <a:pt x="15034" y="14869"/>
                  </a:lnTo>
                  <a:lnTo>
                    <a:pt x="15028" y="14884"/>
                  </a:lnTo>
                  <a:lnTo>
                    <a:pt x="15021" y="14899"/>
                  </a:lnTo>
                  <a:lnTo>
                    <a:pt x="15014" y="14913"/>
                  </a:lnTo>
                  <a:lnTo>
                    <a:pt x="15006" y="14927"/>
                  </a:lnTo>
                  <a:lnTo>
                    <a:pt x="14997" y="14941"/>
                  </a:lnTo>
                  <a:lnTo>
                    <a:pt x="14988" y="14954"/>
                  </a:lnTo>
                  <a:lnTo>
                    <a:pt x="14978" y="14967"/>
                  </a:lnTo>
                  <a:lnTo>
                    <a:pt x="14967" y="14979"/>
                  </a:lnTo>
                  <a:lnTo>
                    <a:pt x="14956" y="14990"/>
                  </a:lnTo>
                  <a:lnTo>
                    <a:pt x="14945" y="15002"/>
                  </a:lnTo>
                  <a:lnTo>
                    <a:pt x="14932" y="15013"/>
                  </a:lnTo>
                  <a:lnTo>
                    <a:pt x="14920" y="15023"/>
                  </a:lnTo>
                  <a:lnTo>
                    <a:pt x="14907" y="15032"/>
                  </a:lnTo>
                  <a:lnTo>
                    <a:pt x="14893" y="15041"/>
                  </a:lnTo>
                  <a:lnTo>
                    <a:pt x="14879" y="15049"/>
                  </a:lnTo>
                  <a:lnTo>
                    <a:pt x="14865" y="15056"/>
                  </a:lnTo>
                  <a:lnTo>
                    <a:pt x="14850" y="15063"/>
                  </a:lnTo>
                  <a:lnTo>
                    <a:pt x="14835" y="15069"/>
                  </a:lnTo>
                  <a:lnTo>
                    <a:pt x="14820" y="15074"/>
                  </a:lnTo>
                  <a:lnTo>
                    <a:pt x="14803" y="15079"/>
                  </a:lnTo>
                  <a:lnTo>
                    <a:pt x="14787" y="15082"/>
                  </a:lnTo>
                  <a:lnTo>
                    <a:pt x="14770" y="15085"/>
                  </a:lnTo>
                  <a:lnTo>
                    <a:pt x="14754" y="15087"/>
                  </a:lnTo>
                  <a:lnTo>
                    <a:pt x="14737" y="15089"/>
                  </a:lnTo>
                  <a:lnTo>
                    <a:pt x="14719" y="15089"/>
                  </a:lnTo>
                  <a:lnTo>
                    <a:pt x="1338" y="15089"/>
                  </a:lnTo>
                  <a:lnTo>
                    <a:pt x="1321" y="15089"/>
                  </a:lnTo>
                  <a:lnTo>
                    <a:pt x="1304" y="15087"/>
                  </a:lnTo>
                  <a:lnTo>
                    <a:pt x="1288" y="15085"/>
                  </a:lnTo>
                  <a:lnTo>
                    <a:pt x="1271" y="15082"/>
                  </a:lnTo>
                  <a:lnTo>
                    <a:pt x="1255" y="15079"/>
                  </a:lnTo>
                  <a:lnTo>
                    <a:pt x="1238" y="15074"/>
                  </a:lnTo>
                  <a:lnTo>
                    <a:pt x="1223" y="15069"/>
                  </a:lnTo>
                  <a:lnTo>
                    <a:pt x="1208" y="15063"/>
                  </a:lnTo>
                  <a:lnTo>
                    <a:pt x="1193" y="15056"/>
                  </a:lnTo>
                  <a:lnTo>
                    <a:pt x="1179" y="15049"/>
                  </a:lnTo>
                  <a:lnTo>
                    <a:pt x="1165" y="15041"/>
                  </a:lnTo>
                  <a:lnTo>
                    <a:pt x="1151" y="15032"/>
                  </a:lnTo>
                  <a:lnTo>
                    <a:pt x="1138" y="15023"/>
                  </a:lnTo>
                  <a:lnTo>
                    <a:pt x="1125" y="15013"/>
                  </a:lnTo>
                  <a:lnTo>
                    <a:pt x="1113" y="15002"/>
                  </a:lnTo>
                  <a:lnTo>
                    <a:pt x="1102" y="14990"/>
                  </a:lnTo>
                  <a:lnTo>
                    <a:pt x="1091" y="14979"/>
                  </a:lnTo>
                  <a:lnTo>
                    <a:pt x="1080" y="14967"/>
                  </a:lnTo>
                  <a:lnTo>
                    <a:pt x="1070" y="14954"/>
                  </a:lnTo>
                  <a:lnTo>
                    <a:pt x="1061" y="14941"/>
                  </a:lnTo>
                  <a:lnTo>
                    <a:pt x="1052" y="14927"/>
                  </a:lnTo>
                  <a:lnTo>
                    <a:pt x="1044" y="14913"/>
                  </a:lnTo>
                  <a:lnTo>
                    <a:pt x="1037" y="14899"/>
                  </a:lnTo>
                  <a:lnTo>
                    <a:pt x="1030" y="14884"/>
                  </a:lnTo>
                  <a:lnTo>
                    <a:pt x="1024" y="14869"/>
                  </a:lnTo>
                  <a:lnTo>
                    <a:pt x="1019" y="14854"/>
                  </a:lnTo>
                  <a:lnTo>
                    <a:pt x="1014" y="14838"/>
                  </a:lnTo>
                  <a:lnTo>
                    <a:pt x="1011" y="14821"/>
                  </a:lnTo>
                  <a:lnTo>
                    <a:pt x="1008" y="14804"/>
                  </a:lnTo>
                  <a:lnTo>
                    <a:pt x="1006" y="14788"/>
                  </a:lnTo>
                  <a:lnTo>
                    <a:pt x="1004" y="14771"/>
                  </a:lnTo>
                  <a:lnTo>
                    <a:pt x="1004" y="14754"/>
                  </a:lnTo>
                  <a:lnTo>
                    <a:pt x="1004" y="2850"/>
                  </a:lnTo>
                  <a:lnTo>
                    <a:pt x="1004" y="2833"/>
                  </a:lnTo>
                  <a:lnTo>
                    <a:pt x="1006" y="2816"/>
                  </a:lnTo>
                  <a:lnTo>
                    <a:pt x="1008" y="2799"/>
                  </a:lnTo>
                  <a:lnTo>
                    <a:pt x="1011" y="2782"/>
                  </a:lnTo>
                  <a:lnTo>
                    <a:pt x="1014" y="2766"/>
                  </a:lnTo>
                  <a:lnTo>
                    <a:pt x="1019" y="2750"/>
                  </a:lnTo>
                  <a:lnTo>
                    <a:pt x="1024" y="2735"/>
                  </a:lnTo>
                  <a:lnTo>
                    <a:pt x="1030" y="2720"/>
                  </a:lnTo>
                  <a:lnTo>
                    <a:pt x="1037" y="2705"/>
                  </a:lnTo>
                  <a:lnTo>
                    <a:pt x="1044" y="2690"/>
                  </a:lnTo>
                  <a:lnTo>
                    <a:pt x="1052" y="2676"/>
                  </a:lnTo>
                  <a:lnTo>
                    <a:pt x="1061" y="2663"/>
                  </a:lnTo>
                  <a:lnTo>
                    <a:pt x="1070" y="2650"/>
                  </a:lnTo>
                  <a:lnTo>
                    <a:pt x="1080" y="2637"/>
                  </a:lnTo>
                  <a:lnTo>
                    <a:pt x="1091" y="2624"/>
                  </a:lnTo>
                  <a:lnTo>
                    <a:pt x="1102" y="2613"/>
                  </a:lnTo>
                  <a:lnTo>
                    <a:pt x="1113" y="2602"/>
                  </a:lnTo>
                  <a:lnTo>
                    <a:pt x="1125" y="2591"/>
                  </a:lnTo>
                  <a:lnTo>
                    <a:pt x="1138" y="2581"/>
                  </a:lnTo>
                  <a:lnTo>
                    <a:pt x="1151" y="2572"/>
                  </a:lnTo>
                  <a:lnTo>
                    <a:pt x="1165" y="2563"/>
                  </a:lnTo>
                  <a:lnTo>
                    <a:pt x="1179" y="2555"/>
                  </a:lnTo>
                  <a:lnTo>
                    <a:pt x="1193" y="2548"/>
                  </a:lnTo>
                  <a:lnTo>
                    <a:pt x="1208" y="2541"/>
                  </a:lnTo>
                  <a:lnTo>
                    <a:pt x="1223" y="2535"/>
                  </a:lnTo>
                  <a:lnTo>
                    <a:pt x="1238" y="2530"/>
                  </a:lnTo>
                  <a:lnTo>
                    <a:pt x="1255" y="2525"/>
                  </a:lnTo>
                  <a:lnTo>
                    <a:pt x="1271" y="2522"/>
                  </a:lnTo>
                  <a:lnTo>
                    <a:pt x="1288" y="2519"/>
                  </a:lnTo>
                  <a:lnTo>
                    <a:pt x="1304" y="2517"/>
                  </a:lnTo>
                  <a:lnTo>
                    <a:pt x="1321" y="2515"/>
                  </a:lnTo>
                  <a:lnTo>
                    <a:pt x="1338" y="2515"/>
                  </a:lnTo>
                  <a:lnTo>
                    <a:pt x="3513" y="2515"/>
                  </a:lnTo>
                  <a:lnTo>
                    <a:pt x="3513" y="3521"/>
                  </a:lnTo>
                  <a:lnTo>
                    <a:pt x="3514" y="3547"/>
                  </a:lnTo>
                  <a:lnTo>
                    <a:pt x="3515" y="3572"/>
                  </a:lnTo>
                  <a:lnTo>
                    <a:pt x="3519" y="3597"/>
                  </a:lnTo>
                  <a:lnTo>
                    <a:pt x="3523" y="3622"/>
                  </a:lnTo>
                  <a:lnTo>
                    <a:pt x="3529" y="3647"/>
                  </a:lnTo>
                  <a:lnTo>
                    <a:pt x="3535" y="3671"/>
                  </a:lnTo>
                  <a:lnTo>
                    <a:pt x="3543" y="3694"/>
                  </a:lnTo>
                  <a:lnTo>
                    <a:pt x="3552" y="3717"/>
                  </a:lnTo>
                  <a:lnTo>
                    <a:pt x="3562" y="3739"/>
                  </a:lnTo>
                  <a:lnTo>
                    <a:pt x="3573" y="3760"/>
                  </a:lnTo>
                  <a:lnTo>
                    <a:pt x="3585" y="3781"/>
                  </a:lnTo>
                  <a:lnTo>
                    <a:pt x="3598" y="3802"/>
                  </a:lnTo>
                  <a:lnTo>
                    <a:pt x="3612" y="3822"/>
                  </a:lnTo>
                  <a:lnTo>
                    <a:pt x="3627" y="3841"/>
                  </a:lnTo>
                  <a:lnTo>
                    <a:pt x="3643" y="3859"/>
                  </a:lnTo>
                  <a:lnTo>
                    <a:pt x="3659" y="3877"/>
                  </a:lnTo>
                  <a:lnTo>
                    <a:pt x="3677" y="3893"/>
                  </a:lnTo>
                  <a:lnTo>
                    <a:pt x="3695" y="3909"/>
                  </a:lnTo>
                  <a:lnTo>
                    <a:pt x="3714" y="3924"/>
                  </a:lnTo>
                  <a:lnTo>
                    <a:pt x="3733" y="3938"/>
                  </a:lnTo>
                  <a:lnTo>
                    <a:pt x="3755" y="3951"/>
                  </a:lnTo>
                  <a:lnTo>
                    <a:pt x="3776" y="3963"/>
                  </a:lnTo>
                  <a:lnTo>
                    <a:pt x="3797" y="3974"/>
                  </a:lnTo>
                  <a:lnTo>
                    <a:pt x="3819" y="3985"/>
                  </a:lnTo>
                  <a:lnTo>
                    <a:pt x="3842" y="3994"/>
                  </a:lnTo>
                  <a:lnTo>
                    <a:pt x="3865" y="4002"/>
                  </a:lnTo>
                  <a:lnTo>
                    <a:pt x="3889" y="4008"/>
                  </a:lnTo>
                  <a:lnTo>
                    <a:pt x="3913" y="4014"/>
                  </a:lnTo>
                  <a:lnTo>
                    <a:pt x="3938" y="4018"/>
                  </a:lnTo>
                  <a:lnTo>
                    <a:pt x="3963" y="4021"/>
                  </a:lnTo>
                  <a:lnTo>
                    <a:pt x="3988" y="4023"/>
                  </a:lnTo>
                  <a:lnTo>
                    <a:pt x="4015" y="4024"/>
                  </a:lnTo>
                  <a:lnTo>
                    <a:pt x="4041" y="4023"/>
                  </a:lnTo>
                  <a:lnTo>
                    <a:pt x="4066" y="4021"/>
                  </a:lnTo>
                  <a:lnTo>
                    <a:pt x="4091" y="4018"/>
                  </a:lnTo>
                  <a:lnTo>
                    <a:pt x="4116" y="4014"/>
                  </a:lnTo>
                  <a:lnTo>
                    <a:pt x="4140" y="4008"/>
                  </a:lnTo>
                  <a:lnTo>
                    <a:pt x="4164" y="4002"/>
                  </a:lnTo>
                  <a:lnTo>
                    <a:pt x="4187" y="3994"/>
                  </a:lnTo>
                  <a:lnTo>
                    <a:pt x="4210" y="3985"/>
                  </a:lnTo>
                  <a:lnTo>
                    <a:pt x="4232" y="3974"/>
                  </a:lnTo>
                  <a:lnTo>
                    <a:pt x="4253" y="3963"/>
                  </a:lnTo>
                  <a:lnTo>
                    <a:pt x="4274" y="3951"/>
                  </a:lnTo>
                  <a:lnTo>
                    <a:pt x="4295" y="3938"/>
                  </a:lnTo>
                  <a:lnTo>
                    <a:pt x="4315" y="3924"/>
                  </a:lnTo>
                  <a:lnTo>
                    <a:pt x="4334" y="3909"/>
                  </a:lnTo>
                  <a:lnTo>
                    <a:pt x="4352" y="3893"/>
                  </a:lnTo>
                  <a:lnTo>
                    <a:pt x="4369" y="3877"/>
                  </a:lnTo>
                  <a:lnTo>
                    <a:pt x="4386" y="3859"/>
                  </a:lnTo>
                  <a:lnTo>
                    <a:pt x="4402" y="3841"/>
                  </a:lnTo>
                  <a:lnTo>
                    <a:pt x="4417" y="3822"/>
                  </a:lnTo>
                  <a:lnTo>
                    <a:pt x="4431" y="3802"/>
                  </a:lnTo>
                  <a:lnTo>
                    <a:pt x="4444" y="3781"/>
                  </a:lnTo>
                  <a:lnTo>
                    <a:pt x="4456" y="3760"/>
                  </a:lnTo>
                  <a:lnTo>
                    <a:pt x="4467" y="3739"/>
                  </a:lnTo>
                  <a:lnTo>
                    <a:pt x="4477" y="3717"/>
                  </a:lnTo>
                  <a:lnTo>
                    <a:pt x="4486" y="3694"/>
                  </a:lnTo>
                  <a:lnTo>
                    <a:pt x="4493" y="3671"/>
                  </a:lnTo>
                  <a:lnTo>
                    <a:pt x="4500" y="3647"/>
                  </a:lnTo>
                  <a:lnTo>
                    <a:pt x="4506" y="3622"/>
                  </a:lnTo>
                  <a:lnTo>
                    <a:pt x="4510" y="3597"/>
                  </a:lnTo>
                  <a:lnTo>
                    <a:pt x="4513" y="3572"/>
                  </a:lnTo>
                  <a:lnTo>
                    <a:pt x="4515" y="3547"/>
                  </a:lnTo>
                  <a:lnTo>
                    <a:pt x="4516" y="3521"/>
                  </a:lnTo>
                  <a:lnTo>
                    <a:pt x="4516" y="2515"/>
                  </a:lnTo>
                  <a:lnTo>
                    <a:pt x="7527" y="2515"/>
                  </a:lnTo>
                  <a:lnTo>
                    <a:pt x="7527" y="3521"/>
                  </a:lnTo>
                  <a:lnTo>
                    <a:pt x="7528" y="3547"/>
                  </a:lnTo>
                  <a:lnTo>
                    <a:pt x="7529" y="3572"/>
                  </a:lnTo>
                  <a:lnTo>
                    <a:pt x="7533" y="3597"/>
                  </a:lnTo>
                  <a:lnTo>
                    <a:pt x="7537" y="3622"/>
                  </a:lnTo>
                  <a:lnTo>
                    <a:pt x="7543" y="3647"/>
                  </a:lnTo>
                  <a:lnTo>
                    <a:pt x="7549" y="3671"/>
                  </a:lnTo>
                  <a:lnTo>
                    <a:pt x="7557" y="3694"/>
                  </a:lnTo>
                  <a:lnTo>
                    <a:pt x="7566" y="3717"/>
                  </a:lnTo>
                  <a:lnTo>
                    <a:pt x="7576" y="3739"/>
                  </a:lnTo>
                  <a:lnTo>
                    <a:pt x="7587" y="3760"/>
                  </a:lnTo>
                  <a:lnTo>
                    <a:pt x="7599" y="3781"/>
                  </a:lnTo>
                  <a:lnTo>
                    <a:pt x="7612" y="3802"/>
                  </a:lnTo>
                  <a:lnTo>
                    <a:pt x="7627" y="3822"/>
                  </a:lnTo>
                  <a:lnTo>
                    <a:pt x="7642" y="3841"/>
                  </a:lnTo>
                  <a:lnTo>
                    <a:pt x="7658" y="3859"/>
                  </a:lnTo>
                  <a:lnTo>
                    <a:pt x="7674" y="3877"/>
                  </a:lnTo>
                  <a:lnTo>
                    <a:pt x="7692" y="3893"/>
                  </a:lnTo>
                  <a:lnTo>
                    <a:pt x="7710" y="3909"/>
                  </a:lnTo>
                  <a:lnTo>
                    <a:pt x="7729" y="3924"/>
                  </a:lnTo>
                  <a:lnTo>
                    <a:pt x="7748" y="3938"/>
                  </a:lnTo>
                  <a:lnTo>
                    <a:pt x="7769" y="3951"/>
                  </a:lnTo>
                  <a:lnTo>
                    <a:pt x="7790" y="3963"/>
                  </a:lnTo>
                  <a:lnTo>
                    <a:pt x="7811" y="3974"/>
                  </a:lnTo>
                  <a:lnTo>
                    <a:pt x="7833" y="3985"/>
                  </a:lnTo>
                  <a:lnTo>
                    <a:pt x="7856" y="3994"/>
                  </a:lnTo>
                  <a:lnTo>
                    <a:pt x="7879" y="4002"/>
                  </a:lnTo>
                  <a:lnTo>
                    <a:pt x="7904" y="4008"/>
                  </a:lnTo>
                  <a:lnTo>
                    <a:pt x="7928" y="4014"/>
                  </a:lnTo>
                  <a:lnTo>
                    <a:pt x="7953" y="4018"/>
                  </a:lnTo>
                  <a:lnTo>
                    <a:pt x="7978" y="4021"/>
                  </a:lnTo>
                  <a:lnTo>
                    <a:pt x="8003" y="4023"/>
                  </a:lnTo>
                  <a:lnTo>
                    <a:pt x="8029" y="4024"/>
                  </a:lnTo>
                  <a:lnTo>
                    <a:pt x="8055" y="4023"/>
                  </a:lnTo>
                  <a:lnTo>
                    <a:pt x="8080" y="4021"/>
                  </a:lnTo>
                  <a:lnTo>
                    <a:pt x="8105" y="4018"/>
                  </a:lnTo>
                  <a:lnTo>
                    <a:pt x="8130" y="4014"/>
                  </a:lnTo>
                  <a:lnTo>
                    <a:pt x="8154" y="4008"/>
                  </a:lnTo>
                  <a:lnTo>
                    <a:pt x="8179" y="4002"/>
                  </a:lnTo>
                  <a:lnTo>
                    <a:pt x="8202" y="3994"/>
                  </a:lnTo>
                  <a:lnTo>
                    <a:pt x="8224" y="3985"/>
                  </a:lnTo>
                  <a:lnTo>
                    <a:pt x="8247" y="3974"/>
                  </a:lnTo>
                  <a:lnTo>
                    <a:pt x="8268" y="3963"/>
                  </a:lnTo>
                  <a:lnTo>
                    <a:pt x="8289" y="3951"/>
                  </a:lnTo>
                  <a:lnTo>
                    <a:pt x="8309" y="3938"/>
                  </a:lnTo>
                  <a:lnTo>
                    <a:pt x="8329" y="3924"/>
                  </a:lnTo>
                  <a:lnTo>
                    <a:pt x="8348" y="3909"/>
                  </a:lnTo>
                  <a:lnTo>
                    <a:pt x="8366" y="3893"/>
                  </a:lnTo>
                  <a:lnTo>
                    <a:pt x="8383" y="3877"/>
                  </a:lnTo>
                  <a:lnTo>
                    <a:pt x="8400" y="3859"/>
                  </a:lnTo>
                  <a:lnTo>
                    <a:pt x="8416" y="3841"/>
                  </a:lnTo>
                  <a:lnTo>
                    <a:pt x="8431" y="3822"/>
                  </a:lnTo>
                  <a:lnTo>
                    <a:pt x="8446" y="3802"/>
                  </a:lnTo>
                  <a:lnTo>
                    <a:pt x="8459" y="3781"/>
                  </a:lnTo>
                  <a:lnTo>
                    <a:pt x="8471" y="3760"/>
                  </a:lnTo>
                  <a:lnTo>
                    <a:pt x="8482" y="3739"/>
                  </a:lnTo>
                  <a:lnTo>
                    <a:pt x="8492" y="3717"/>
                  </a:lnTo>
                  <a:lnTo>
                    <a:pt x="8501" y="3694"/>
                  </a:lnTo>
                  <a:lnTo>
                    <a:pt x="8508" y="3671"/>
                  </a:lnTo>
                  <a:lnTo>
                    <a:pt x="8515" y="3647"/>
                  </a:lnTo>
                  <a:lnTo>
                    <a:pt x="8521" y="3622"/>
                  </a:lnTo>
                  <a:lnTo>
                    <a:pt x="8525" y="3597"/>
                  </a:lnTo>
                  <a:lnTo>
                    <a:pt x="8528" y="3572"/>
                  </a:lnTo>
                  <a:lnTo>
                    <a:pt x="8530" y="3547"/>
                  </a:lnTo>
                  <a:lnTo>
                    <a:pt x="8531" y="3521"/>
                  </a:lnTo>
                  <a:lnTo>
                    <a:pt x="8531" y="2515"/>
                  </a:lnTo>
                  <a:lnTo>
                    <a:pt x="11542" y="2515"/>
                  </a:lnTo>
                  <a:lnTo>
                    <a:pt x="11542" y="3521"/>
                  </a:lnTo>
                  <a:lnTo>
                    <a:pt x="11543" y="3547"/>
                  </a:lnTo>
                  <a:lnTo>
                    <a:pt x="11545" y="3572"/>
                  </a:lnTo>
                  <a:lnTo>
                    <a:pt x="11548" y="3597"/>
                  </a:lnTo>
                  <a:lnTo>
                    <a:pt x="11552" y="3622"/>
                  </a:lnTo>
                  <a:lnTo>
                    <a:pt x="11558" y="3647"/>
                  </a:lnTo>
                  <a:lnTo>
                    <a:pt x="11564" y="3671"/>
                  </a:lnTo>
                  <a:lnTo>
                    <a:pt x="11572" y="3694"/>
                  </a:lnTo>
                  <a:lnTo>
                    <a:pt x="11581" y="3717"/>
                  </a:lnTo>
                  <a:lnTo>
                    <a:pt x="11591" y="3739"/>
                  </a:lnTo>
                  <a:lnTo>
                    <a:pt x="11602" y="3760"/>
                  </a:lnTo>
                  <a:lnTo>
                    <a:pt x="11614" y="3781"/>
                  </a:lnTo>
                  <a:lnTo>
                    <a:pt x="11627" y="3802"/>
                  </a:lnTo>
                  <a:lnTo>
                    <a:pt x="11641" y="3822"/>
                  </a:lnTo>
                  <a:lnTo>
                    <a:pt x="11656" y="3841"/>
                  </a:lnTo>
                  <a:lnTo>
                    <a:pt x="11672" y="3859"/>
                  </a:lnTo>
                  <a:lnTo>
                    <a:pt x="11688" y="3877"/>
                  </a:lnTo>
                  <a:lnTo>
                    <a:pt x="11706" y="3893"/>
                  </a:lnTo>
                  <a:lnTo>
                    <a:pt x="11724" y="3909"/>
                  </a:lnTo>
                  <a:lnTo>
                    <a:pt x="11743" y="3924"/>
                  </a:lnTo>
                  <a:lnTo>
                    <a:pt x="11762" y="3938"/>
                  </a:lnTo>
                  <a:lnTo>
                    <a:pt x="11784" y="3951"/>
                  </a:lnTo>
                  <a:lnTo>
                    <a:pt x="11805" y="3963"/>
                  </a:lnTo>
                  <a:lnTo>
                    <a:pt x="11826" y="3974"/>
                  </a:lnTo>
                  <a:lnTo>
                    <a:pt x="11848" y="3985"/>
                  </a:lnTo>
                  <a:lnTo>
                    <a:pt x="11871" y="3994"/>
                  </a:lnTo>
                  <a:lnTo>
                    <a:pt x="11894" y="4002"/>
                  </a:lnTo>
                  <a:lnTo>
                    <a:pt x="11918" y="4008"/>
                  </a:lnTo>
                  <a:lnTo>
                    <a:pt x="11942" y="4014"/>
                  </a:lnTo>
                  <a:lnTo>
                    <a:pt x="11967" y="4018"/>
                  </a:lnTo>
                  <a:lnTo>
                    <a:pt x="11992" y="4021"/>
                  </a:lnTo>
                  <a:lnTo>
                    <a:pt x="12017" y="4023"/>
                  </a:lnTo>
                  <a:lnTo>
                    <a:pt x="12044" y="4024"/>
                  </a:lnTo>
                  <a:lnTo>
                    <a:pt x="12070" y="4023"/>
                  </a:lnTo>
                  <a:lnTo>
                    <a:pt x="12095" y="4021"/>
                  </a:lnTo>
                  <a:lnTo>
                    <a:pt x="12120" y="4018"/>
                  </a:lnTo>
                  <a:lnTo>
                    <a:pt x="12145" y="4014"/>
                  </a:lnTo>
                  <a:lnTo>
                    <a:pt x="12169" y="4008"/>
                  </a:lnTo>
                  <a:lnTo>
                    <a:pt x="12193" y="4002"/>
                  </a:lnTo>
                  <a:lnTo>
                    <a:pt x="12216" y="3994"/>
                  </a:lnTo>
                  <a:lnTo>
                    <a:pt x="12238" y="3985"/>
                  </a:lnTo>
                  <a:lnTo>
                    <a:pt x="12261" y="3974"/>
                  </a:lnTo>
                  <a:lnTo>
                    <a:pt x="12282" y="3963"/>
                  </a:lnTo>
                  <a:lnTo>
                    <a:pt x="12303" y="3951"/>
                  </a:lnTo>
                  <a:lnTo>
                    <a:pt x="12324" y="3938"/>
                  </a:lnTo>
                  <a:lnTo>
                    <a:pt x="12344" y="3924"/>
                  </a:lnTo>
                  <a:lnTo>
                    <a:pt x="12363" y="3909"/>
                  </a:lnTo>
                  <a:lnTo>
                    <a:pt x="12381" y="3893"/>
                  </a:lnTo>
                  <a:lnTo>
                    <a:pt x="12398" y="3877"/>
                  </a:lnTo>
                  <a:lnTo>
                    <a:pt x="12415" y="3859"/>
                  </a:lnTo>
                  <a:lnTo>
                    <a:pt x="12431" y="3841"/>
                  </a:lnTo>
                  <a:lnTo>
                    <a:pt x="12446" y="3822"/>
                  </a:lnTo>
                  <a:lnTo>
                    <a:pt x="12460" y="3802"/>
                  </a:lnTo>
                  <a:lnTo>
                    <a:pt x="12473" y="3781"/>
                  </a:lnTo>
                  <a:lnTo>
                    <a:pt x="12485" y="3760"/>
                  </a:lnTo>
                  <a:lnTo>
                    <a:pt x="12496" y="3739"/>
                  </a:lnTo>
                  <a:lnTo>
                    <a:pt x="12506" y="3717"/>
                  </a:lnTo>
                  <a:lnTo>
                    <a:pt x="12515" y="3694"/>
                  </a:lnTo>
                  <a:lnTo>
                    <a:pt x="12522" y="3671"/>
                  </a:lnTo>
                  <a:lnTo>
                    <a:pt x="12529" y="3647"/>
                  </a:lnTo>
                  <a:lnTo>
                    <a:pt x="12535" y="3622"/>
                  </a:lnTo>
                  <a:lnTo>
                    <a:pt x="12539" y="3597"/>
                  </a:lnTo>
                  <a:lnTo>
                    <a:pt x="12542" y="3572"/>
                  </a:lnTo>
                  <a:lnTo>
                    <a:pt x="12544" y="3547"/>
                  </a:lnTo>
                  <a:lnTo>
                    <a:pt x="12545" y="3521"/>
                  </a:lnTo>
                  <a:lnTo>
                    <a:pt x="12545" y="2515"/>
                  </a:lnTo>
                  <a:lnTo>
                    <a:pt x="14719" y="2515"/>
                  </a:lnTo>
                  <a:lnTo>
                    <a:pt x="14737" y="2515"/>
                  </a:lnTo>
                  <a:lnTo>
                    <a:pt x="14754" y="2517"/>
                  </a:lnTo>
                  <a:lnTo>
                    <a:pt x="14770" y="2519"/>
                  </a:lnTo>
                  <a:lnTo>
                    <a:pt x="14787" y="2522"/>
                  </a:lnTo>
                  <a:lnTo>
                    <a:pt x="14803" y="2525"/>
                  </a:lnTo>
                  <a:lnTo>
                    <a:pt x="14820" y="2530"/>
                  </a:lnTo>
                  <a:lnTo>
                    <a:pt x="14835" y="2535"/>
                  </a:lnTo>
                  <a:lnTo>
                    <a:pt x="14850" y="2541"/>
                  </a:lnTo>
                  <a:lnTo>
                    <a:pt x="14865" y="2548"/>
                  </a:lnTo>
                  <a:lnTo>
                    <a:pt x="14879" y="2555"/>
                  </a:lnTo>
                  <a:lnTo>
                    <a:pt x="14893" y="2563"/>
                  </a:lnTo>
                  <a:lnTo>
                    <a:pt x="14907" y="2572"/>
                  </a:lnTo>
                  <a:lnTo>
                    <a:pt x="14920" y="2581"/>
                  </a:lnTo>
                  <a:lnTo>
                    <a:pt x="14932" y="2591"/>
                  </a:lnTo>
                  <a:lnTo>
                    <a:pt x="14945" y="2602"/>
                  </a:lnTo>
                  <a:lnTo>
                    <a:pt x="14956" y="2613"/>
                  </a:lnTo>
                  <a:lnTo>
                    <a:pt x="14967" y="2624"/>
                  </a:lnTo>
                  <a:lnTo>
                    <a:pt x="14978" y="2637"/>
                  </a:lnTo>
                  <a:lnTo>
                    <a:pt x="14988" y="2650"/>
                  </a:lnTo>
                  <a:lnTo>
                    <a:pt x="14997" y="2663"/>
                  </a:lnTo>
                  <a:lnTo>
                    <a:pt x="15006" y="2676"/>
                  </a:lnTo>
                  <a:lnTo>
                    <a:pt x="15014" y="2690"/>
                  </a:lnTo>
                  <a:lnTo>
                    <a:pt x="15021" y="2705"/>
                  </a:lnTo>
                  <a:lnTo>
                    <a:pt x="15028" y="2720"/>
                  </a:lnTo>
                  <a:lnTo>
                    <a:pt x="15034" y="2735"/>
                  </a:lnTo>
                  <a:lnTo>
                    <a:pt x="15039" y="2750"/>
                  </a:lnTo>
                  <a:lnTo>
                    <a:pt x="15043" y="2766"/>
                  </a:lnTo>
                  <a:lnTo>
                    <a:pt x="15047" y="2782"/>
                  </a:lnTo>
                  <a:lnTo>
                    <a:pt x="15050" y="2799"/>
                  </a:lnTo>
                  <a:lnTo>
                    <a:pt x="15052" y="2816"/>
                  </a:lnTo>
                  <a:lnTo>
                    <a:pt x="15053" y="2833"/>
                  </a:lnTo>
                  <a:lnTo>
                    <a:pt x="15054" y="2850"/>
                  </a:lnTo>
                  <a:lnTo>
                    <a:pt x="15054" y="14754"/>
                  </a:lnTo>
                  <a:close/>
                  <a:moveTo>
                    <a:pt x="14719" y="1509"/>
                  </a:moveTo>
                  <a:lnTo>
                    <a:pt x="12545" y="1509"/>
                  </a:lnTo>
                  <a:lnTo>
                    <a:pt x="12545" y="503"/>
                  </a:lnTo>
                  <a:lnTo>
                    <a:pt x="12544" y="477"/>
                  </a:lnTo>
                  <a:lnTo>
                    <a:pt x="12542" y="452"/>
                  </a:lnTo>
                  <a:lnTo>
                    <a:pt x="12539" y="427"/>
                  </a:lnTo>
                  <a:lnTo>
                    <a:pt x="12535" y="401"/>
                  </a:lnTo>
                  <a:lnTo>
                    <a:pt x="12529" y="377"/>
                  </a:lnTo>
                  <a:lnTo>
                    <a:pt x="12522" y="353"/>
                  </a:lnTo>
                  <a:lnTo>
                    <a:pt x="12515" y="330"/>
                  </a:lnTo>
                  <a:lnTo>
                    <a:pt x="12506" y="307"/>
                  </a:lnTo>
                  <a:lnTo>
                    <a:pt x="12496" y="285"/>
                  </a:lnTo>
                  <a:lnTo>
                    <a:pt x="12485" y="264"/>
                  </a:lnTo>
                  <a:lnTo>
                    <a:pt x="12473" y="242"/>
                  </a:lnTo>
                  <a:lnTo>
                    <a:pt x="12460" y="221"/>
                  </a:lnTo>
                  <a:lnTo>
                    <a:pt x="12446" y="202"/>
                  </a:lnTo>
                  <a:lnTo>
                    <a:pt x="12431" y="183"/>
                  </a:lnTo>
                  <a:lnTo>
                    <a:pt x="12415" y="165"/>
                  </a:lnTo>
                  <a:lnTo>
                    <a:pt x="12398" y="147"/>
                  </a:lnTo>
                  <a:lnTo>
                    <a:pt x="12381" y="131"/>
                  </a:lnTo>
                  <a:lnTo>
                    <a:pt x="12363" y="115"/>
                  </a:lnTo>
                  <a:lnTo>
                    <a:pt x="12344" y="100"/>
                  </a:lnTo>
                  <a:lnTo>
                    <a:pt x="12324" y="86"/>
                  </a:lnTo>
                  <a:lnTo>
                    <a:pt x="12303" y="72"/>
                  </a:lnTo>
                  <a:lnTo>
                    <a:pt x="12282" y="60"/>
                  </a:lnTo>
                  <a:lnTo>
                    <a:pt x="12261" y="49"/>
                  </a:lnTo>
                  <a:lnTo>
                    <a:pt x="12238" y="39"/>
                  </a:lnTo>
                  <a:lnTo>
                    <a:pt x="12216" y="30"/>
                  </a:lnTo>
                  <a:lnTo>
                    <a:pt x="12193" y="22"/>
                  </a:lnTo>
                  <a:lnTo>
                    <a:pt x="12169" y="16"/>
                  </a:lnTo>
                  <a:lnTo>
                    <a:pt x="12145" y="10"/>
                  </a:lnTo>
                  <a:lnTo>
                    <a:pt x="12120" y="6"/>
                  </a:lnTo>
                  <a:lnTo>
                    <a:pt x="12095" y="3"/>
                  </a:lnTo>
                  <a:lnTo>
                    <a:pt x="12070" y="1"/>
                  </a:lnTo>
                  <a:lnTo>
                    <a:pt x="12044" y="0"/>
                  </a:lnTo>
                  <a:lnTo>
                    <a:pt x="12017" y="1"/>
                  </a:lnTo>
                  <a:lnTo>
                    <a:pt x="11992" y="3"/>
                  </a:lnTo>
                  <a:lnTo>
                    <a:pt x="11967" y="6"/>
                  </a:lnTo>
                  <a:lnTo>
                    <a:pt x="11942" y="10"/>
                  </a:lnTo>
                  <a:lnTo>
                    <a:pt x="11918" y="16"/>
                  </a:lnTo>
                  <a:lnTo>
                    <a:pt x="11894" y="22"/>
                  </a:lnTo>
                  <a:lnTo>
                    <a:pt x="11871" y="30"/>
                  </a:lnTo>
                  <a:lnTo>
                    <a:pt x="11848" y="39"/>
                  </a:lnTo>
                  <a:lnTo>
                    <a:pt x="11826" y="49"/>
                  </a:lnTo>
                  <a:lnTo>
                    <a:pt x="11805" y="60"/>
                  </a:lnTo>
                  <a:lnTo>
                    <a:pt x="11784" y="72"/>
                  </a:lnTo>
                  <a:lnTo>
                    <a:pt x="11762" y="86"/>
                  </a:lnTo>
                  <a:lnTo>
                    <a:pt x="11743" y="100"/>
                  </a:lnTo>
                  <a:lnTo>
                    <a:pt x="11724" y="115"/>
                  </a:lnTo>
                  <a:lnTo>
                    <a:pt x="11706" y="131"/>
                  </a:lnTo>
                  <a:lnTo>
                    <a:pt x="11688" y="147"/>
                  </a:lnTo>
                  <a:lnTo>
                    <a:pt x="11672" y="165"/>
                  </a:lnTo>
                  <a:lnTo>
                    <a:pt x="11656" y="183"/>
                  </a:lnTo>
                  <a:lnTo>
                    <a:pt x="11641" y="202"/>
                  </a:lnTo>
                  <a:lnTo>
                    <a:pt x="11627" y="221"/>
                  </a:lnTo>
                  <a:lnTo>
                    <a:pt x="11614" y="242"/>
                  </a:lnTo>
                  <a:lnTo>
                    <a:pt x="11602" y="264"/>
                  </a:lnTo>
                  <a:lnTo>
                    <a:pt x="11591" y="285"/>
                  </a:lnTo>
                  <a:lnTo>
                    <a:pt x="11581" y="307"/>
                  </a:lnTo>
                  <a:lnTo>
                    <a:pt x="11572" y="330"/>
                  </a:lnTo>
                  <a:lnTo>
                    <a:pt x="11564" y="353"/>
                  </a:lnTo>
                  <a:lnTo>
                    <a:pt x="11558" y="377"/>
                  </a:lnTo>
                  <a:lnTo>
                    <a:pt x="11552" y="401"/>
                  </a:lnTo>
                  <a:lnTo>
                    <a:pt x="11548" y="427"/>
                  </a:lnTo>
                  <a:lnTo>
                    <a:pt x="11545" y="452"/>
                  </a:lnTo>
                  <a:lnTo>
                    <a:pt x="11543" y="477"/>
                  </a:lnTo>
                  <a:lnTo>
                    <a:pt x="11542" y="503"/>
                  </a:lnTo>
                  <a:lnTo>
                    <a:pt x="11542" y="1509"/>
                  </a:lnTo>
                  <a:lnTo>
                    <a:pt x="8531" y="1509"/>
                  </a:lnTo>
                  <a:lnTo>
                    <a:pt x="8531" y="503"/>
                  </a:lnTo>
                  <a:lnTo>
                    <a:pt x="8530" y="477"/>
                  </a:lnTo>
                  <a:lnTo>
                    <a:pt x="8528" y="452"/>
                  </a:lnTo>
                  <a:lnTo>
                    <a:pt x="8525" y="427"/>
                  </a:lnTo>
                  <a:lnTo>
                    <a:pt x="8521" y="401"/>
                  </a:lnTo>
                  <a:lnTo>
                    <a:pt x="8515" y="377"/>
                  </a:lnTo>
                  <a:lnTo>
                    <a:pt x="8508" y="353"/>
                  </a:lnTo>
                  <a:lnTo>
                    <a:pt x="8501" y="330"/>
                  </a:lnTo>
                  <a:lnTo>
                    <a:pt x="8492" y="307"/>
                  </a:lnTo>
                  <a:lnTo>
                    <a:pt x="8482" y="285"/>
                  </a:lnTo>
                  <a:lnTo>
                    <a:pt x="8471" y="264"/>
                  </a:lnTo>
                  <a:lnTo>
                    <a:pt x="8459" y="242"/>
                  </a:lnTo>
                  <a:lnTo>
                    <a:pt x="8446" y="221"/>
                  </a:lnTo>
                  <a:lnTo>
                    <a:pt x="8431" y="202"/>
                  </a:lnTo>
                  <a:lnTo>
                    <a:pt x="8416" y="183"/>
                  </a:lnTo>
                  <a:lnTo>
                    <a:pt x="8400" y="165"/>
                  </a:lnTo>
                  <a:lnTo>
                    <a:pt x="8383" y="147"/>
                  </a:lnTo>
                  <a:lnTo>
                    <a:pt x="8366" y="131"/>
                  </a:lnTo>
                  <a:lnTo>
                    <a:pt x="8348" y="115"/>
                  </a:lnTo>
                  <a:lnTo>
                    <a:pt x="8329" y="100"/>
                  </a:lnTo>
                  <a:lnTo>
                    <a:pt x="8309" y="86"/>
                  </a:lnTo>
                  <a:lnTo>
                    <a:pt x="8289" y="72"/>
                  </a:lnTo>
                  <a:lnTo>
                    <a:pt x="8268" y="60"/>
                  </a:lnTo>
                  <a:lnTo>
                    <a:pt x="8247" y="49"/>
                  </a:lnTo>
                  <a:lnTo>
                    <a:pt x="8224" y="39"/>
                  </a:lnTo>
                  <a:lnTo>
                    <a:pt x="8202" y="30"/>
                  </a:lnTo>
                  <a:lnTo>
                    <a:pt x="8179" y="22"/>
                  </a:lnTo>
                  <a:lnTo>
                    <a:pt x="8154" y="16"/>
                  </a:lnTo>
                  <a:lnTo>
                    <a:pt x="8130" y="10"/>
                  </a:lnTo>
                  <a:lnTo>
                    <a:pt x="8105" y="6"/>
                  </a:lnTo>
                  <a:lnTo>
                    <a:pt x="8080" y="3"/>
                  </a:lnTo>
                  <a:lnTo>
                    <a:pt x="8055" y="1"/>
                  </a:lnTo>
                  <a:lnTo>
                    <a:pt x="8029" y="0"/>
                  </a:lnTo>
                  <a:lnTo>
                    <a:pt x="8003" y="1"/>
                  </a:lnTo>
                  <a:lnTo>
                    <a:pt x="7978" y="3"/>
                  </a:lnTo>
                  <a:lnTo>
                    <a:pt x="7953" y="6"/>
                  </a:lnTo>
                  <a:lnTo>
                    <a:pt x="7928" y="10"/>
                  </a:lnTo>
                  <a:lnTo>
                    <a:pt x="7904" y="16"/>
                  </a:lnTo>
                  <a:lnTo>
                    <a:pt x="7879" y="22"/>
                  </a:lnTo>
                  <a:lnTo>
                    <a:pt x="7856" y="30"/>
                  </a:lnTo>
                  <a:lnTo>
                    <a:pt x="7833" y="39"/>
                  </a:lnTo>
                  <a:lnTo>
                    <a:pt x="7811" y="49"/>
                  </a:lnTo>
                  <a:lnTo>
                    <a:pt x="7790" y="60"/>
                  </a:lnTo>
                  <a:lnTo>
                    <a:pt x="7769" y="72"/>
                  </a:lnTo>
                  <a:lnTo>
                    <a:pt x="7748" y="86"/>
                  </a:lnTo>
                  <a:lnTo>
                    <a:pt x="7729" y="100"/>
                  </a:lnTo>
                  <a:lnTo>
                    <a:pt x="7710" y="115"/>
                  </a:lnTo>
                  <a:lnTo>
                    <a:pt x="7692" y="131"/>
                  </a:lnTo>
                  <a:lnTo>
                    <a:pt x="7674" y="147"/>
                  </a:lnTo>
                  <a:lnTo>
                    <a:pt x="7658" y="165"/>
                  </a:lnTo>
                  <a:lnTo>
                    <a:pt x="7642" y="183"/>
                  </a:lnTo>
                  <a:lnTo>
                    <a:pt x="7627" y="202"/>
                  </a:lnTo>
                  <a:lnTo>
                    <a:pt x="7612" y="221"/>
                  </a:lnTo>
                  <a:lnTo>
                    <a:pt x="7599" y="242"/>
                  </a:lnTo>
                  <a:lnTo>
                    <a:pt x="7587" y="264"/>
                  </a:lnTo>
                  <a:lnTo>
                    <a:pt x="7576" y="285"/>
                  </a:lnTo>
                  <a:lnTo>
                    <a:pt x="7566" y="307"/>
                  </a:lnTo>
                  <a:lnTo>
                    <a:pt x="7557" y="330"/>
                  </a:lnTo>
                  <a:lnTo>
                    <a:pt x="7549" y="353"/>
                  </a:lnTo>
                  <a:lnTo>
                    <a:pt x="7543" y="377"/>
                  </a:lnTo>
                  <a:lnTo>
                    <a:pt x="7537" y="401"/>
                  </a:lnTo>
                  <a:lnTo>
                    <a:pt x="7533" y="427"/>
                  </a:lnTo>
                  <a:lnTo>
                    <a:pt x="7529" y="452"/>
                  </a:lnTo>
                  <a:lnTo>
                    <a:pt x="7528" y="477"/>
                  </a:lnTo>
                  <a:lnTo>
                    <a:pt x="7527" y="503"/>
                  </a:lnTo>
                  <a:lnTo>
                    <a:pt x="7527" y="1509"/>
                  </a:lnTo>
                  <a:lnTo>
                    <a:pt x="4516" y="1509"/>
                  </a:lnTo>
                  <a:lnTo>
                    <a:pt x="4516" y="503"/>
                  </a:lnTo>
                  <a:lnTo>
                    <a:pt x="4515" y="477"/>
                  </a:lnTo>
                  <a:lnTo>
                    <a:pt x="4513" y="452"/>
                  </a:lnTo>
                  <a:lnTo>
                    <a:pt x="4510" y="427"/>
                  </a:lnTo>
                  <a:lnTo>
                    <a:pt x="4506" y="401"/>
                  </a:lnTo>
                  <a:lnTo>
                    <a:pt x="4500" y="377"/>
                  </a:lnTo>
                  <a:lnTo>
                    <a:pt x="4493" y="353"/>
                  </a:lnTo>
                  <a:lnTo>
                    <a:pt x="4486" y="330"/>
                  </a:lnTo>
                  <a:lnTo>
                    <a:pt x="4477" y="307"/>
                  </a:lnTo>
                  <a:lnTo>
                    <a:pt x="4467" y="285"/>
                  </a:lnTo>
                  <a:lnTo>
                    <a:pt x="4456" y="264"/>
                  </a:lnTo>
                  <a:lnTo>
                    <a:pt x="4444" y="242"/>
                  </a:lnTo>
                  <a:lnTo>
                    <a:pt x="4431" y="221"/>
                  </a:lnTo>
                  <a:lnTo>
                    <a:pt x="4417" y="202"/>
                  </a:lnTo>
                  <a:lnTo>
                    <a:pt x="4402" y="183"/>
                  </a:lnTo>
                  <a:lnTo>
                    <a:pt x="4386" y="165"/>
                  </a:lnTo>
                  <a:lnTo>
                    <a:pt x="4369" y="147"/>
                  </a:lnTo>
                  <a:lnTo>
                    <a:pt x="4352" y="131"/>
                  </a:lnTo>
                  <a:lnTo>
                    <a:pt x="4334" y="115"/>
                  </a:lnTo>
                  <a:lnTo>
                    <a:pt x="4315" y="100"/>
                  </a:lnTo>
                  <a:lnTo>
                    <a:pt x="4295" y="86"/>
                  </a:lnTo>
                  <a:lnTo>
                    <a:pt x="4274" y="72"/>
                  </a:lnTo>
                  <a:lnTo>
                    <a:pt x="4253" y="60"/>
                  </a:lnTo>
                  <a:lnTo>
                    <a:pt x="4232" y="49"/>
                  </a:lnTo>
                  <a:lnTo>
                    <a:pt x="4210" y="39"/>
                  </a:lnTo>
                  <a:lnTo>
                    <a:pt x="4187" y="30"/>
                  </a:lnTo>
                  <a:lnTo>
                    <a:pt x="4164" y="22"/>
                  </a:lnTo>
                  <a:lnTo>
                    <a:pt x="4140" y="16"/>
                  </a:lnTo>
                  <a:lnTo>
                    <a:pt x="4116" y="10"/>
                  </a:lnTo>
                  <a:lnTo>
                    <a:pt x="4091" y="6"/>
                  </a:lnTo>
                  <a:lnTo>
                    <a:pt x="4066" y="3"/>
                  </a:lnTo>
                  <a:lnTo>
                    <a:pt x="4041" y="1"/>
                  </a:lnTo>
                  <a:lnTo>
                    <a:pt x="4015" y="0"/>
                  </a:lnTo>
                  <a:lnTo>
                    <a:pt x="3988" y="1"/>
                  </a:lnTo>
                  <a:lnTo>
                    <a:pt x="3963" y="3"/>
                  </a:lnTo>
                  <a:lnTo>
                    <a:pt x="3938" y="6"/>
                  </a:lnTo>
                  <a:lnTo>
                    <a:pt x="3913" y="10"/>
                  </a:lnTo>
                  <a:lnTo>
                    <a:pt x="3889" y="16"/>
                  </a:lnTo>
                  <a:lnTo>
                    <a:pt x="3865" y="22"/>
                  </a:lnTo>
                  <a:lnTo>
                    <a:pt x="3842" y="30"/>
                  </a:lnTo>
                  <a:lnTo>
                    <a:pt x="3819" y="39"/>
                  </a:lnTo>
                  <a:lnTo>
                    <a:pt x="3797" y="49"/>
                  </a:lnTo>
                  <a:lnTo>
                    <a:pt x="3776" y="60"/>
                  </a:lnTo>
                  <a:lnTo>
                    <a:pt x="3755" y="72"/>
                  </a:lnTo>
                  <a:lnTo>
                    <a:pt x="3733" y="86"/>
                  </a:lnTo>
                  <a:lnTo>
                    <a:pt x="3714" y="100"/>
                  </a:lnTo>
                  <a:lnTo>
                    <a:pt x="3695" y="115"/>
                  </a:lnTo>
                  <a:lnTo>
                    <a:pt x="3677" y="131"/>
                  </a:lnTo>
                  <a:lnTo>
                    <a:pt x="3659" y="147"/>
                  </a:lnTo>
                  <a:lnTo>
                    <a:pt x="3643" y="165"/>
                  </a:lnTo>
                  <a:lnTo>
                    <a:pt x="3627" y="183"/>
                  </a:lnTo>
                  <a:lnTo>
                    <a:pt x="3612" y="202"/>
                  </a:lnTo>
                  <a:lnTo>
                    <a:pt x="3598" y="221"/>
                  </a:lnTo>
                  <a:lnTo>
                    <a:pt x="3585" y="242"/>
                  </a:lnTo>
                  <a:lnTo>
                    <a:pt x="3573" y="264"/>
                  </a:lnTo>
                  <a:lnTo>
                    <a:pt x="3562" y="285"/>
                  </a:lnTo>
                  <a:lnTo>
                    <a:pt x="3552" y="307"/>
                  </a:lnTo>
                  <a:lnTo>
                    <a:pt x="3543" y="330"/>
                  </a:lnTo>
                  <a:lnTo>
                    <a:pt x="3535" y="353"/>
                  </a:lnTo>
                  <a:lnTo>
                    <a:pt x="3529" y="377"/>
                  </a:lnTo>
                  <a:lnTo>
                    <a:pt x="3523" y="401"/>
                  </a:lnTo>
                  <a:lnTo>
                    <a:pt x="3519" y="427"/>
                  </a:lnTo>
                  <a:lnTo>
                    <a:pt x="3515" y="452"/>
                  </a:lnTo>
                  <a:lnTo>
                    <a:pt x="3514" y="477"/>
                  </a:lnTo>
                  <a:lnTo>
                    <a:pt x="3513" y="503"/>
                  </a:lnTo>
                  <a:lnTo>
                    <a:pt x="3513" y="1509"/>
                  </a:lnTo>
                  <a:lnTo>
                    <a:pt x="1338" y="1509"/>
                  </a:lnTo>
                  <a:lnTo>
                    <a:pt x="1270" y="1511"/>
                  </a:lnTo>
                  <a:lnTo>
                    <a:pt x="1201" y="1516"/>
                  </a:lnTo>
                  <a:lnTo>
                    <a:pt x="1134" y="1524"/>
                  </a:lnTo>
                  <a:lnTo>
                    <a:pt x="1069" y="1536"/>
                  </a:lnTo>
                  <a:lnTo>
                    <a:pt x="1004" y="1551"/>
                  </a:lnTo>
                  <a:lnTo>
                    <a:pt x="940" y="1569"/>
                  </a:lnTo>
                  <a:lnTo>
                    <a:pt x="878" y="1590"/>
                  </a:lnTo>
                  <a:lnTo>
                    <a:pt x="817" y="1615"/>
                  </a:lnTo>
                  <a:lnTo>
                    <a:pt x="758" y="1641"/>
                  </a:lnTo>
                  <a:lnTo>
                    <a:pt x="701" y="1671"/>
                  </a:lnTo>
                  <a:lnTo>
                    <a:pt x="644" y="1703"/>
                  </a:lnTo>
                  <a:lnTo>
                    <a:pt x="590" y="1738"/>
                  </a:lnTo>
                  <a:lnTo>
                    <a:pt x="538" y="1775"/>
                  </a:lnTo>
                  <a:lnTo>
                    <a:pt x="487" y="1815"/>
                  </a:lnTo>
                  <a:lnTo>
                    <a:pt x="439" y="1857"/>
                  </a:lnTo>
                  <a:lnTo>
                    <a:pt x="391" y="1901"/>
                  </a:lnTo>
                  <a:lnTo>
                    <a:pt x="347" y="1949"/>
                  </a:lnTo>
                  <a:lnTo>
                    <a:pt x="305" y="1997"/>
                  </a:lnTo>
                  <a:lnTo>
                    <a:pt x="266" y="2047"/>
                  </a:lnTo>
                  <a:lnTo>
                    <a:pt x="229" y="2100"/>
                  </a:lnTo>
                  <a:lnTo>
                    <a:pt x="194" y="2155"/>
                  </a:lnTo>
                  <a:lnTo>
                    <a:pt x="162" y="2210"/>
                  </a:lnTo>
                  <a:lnTo>
                    <a:pt x="131" y="2268"/>
                  </a:lnTo>
                  <a:lnTo>
                    <a:pt x="105" y="2328"/>
                  </a:lnTo>
                  <a:lnTo>
                    <a:pt x="81" y="2389"/>
                  </a:lnTo>
                  <a:lnTo>
                    <a:pt x="60" y="2450"/>
                  </a:lnTo>
                  <a:lnTo>
                    <a:pt x="42" y="2515"/>
                  </a:lnTo>
                  <a:lnTo>
                    <a:pt x="27" y="2579"/>
                  </a:lnTo>
                  <a:lnTo>
                    <a:pt x="15" y="2646"/>
                  </a:lnTo>
                  <a:lnTo>
                    <a:pt x="7" y="2713"/>
                  </a:lnTo>
                  <a:lnTo>
                    <a:pt x="2" y="2780"/>
                  </a:lnTo>
                  <a:lnTo>
                    <a:pt x="0" y="2850"/>
                  </a:lnTo>
                  <a:lnTo>
                    <a:pt x="0" y="14754"/>
                  </a:lnTo>
                  <a:lnTo>
                    <a:pt x="2" y="14822"/>
                  </a:lnTo>
                  <a:lnTo>
                    <a:pt x="7" y="14891"/>
                  </a:lnTo>
                  <a:lnTo>
                    <a:pt x="15" y="14958"/>
                  </a:lnTo>
                  <a:lnTo>
                    <a:pt x="27" y="15024"/>
                  </a:lnTo>
                  <a:lnTo>
                    <a:pt x="42" y="15089"/>
                  </a:lnTo>
                  <a:lnTo>
                    <a:pt x="60" y="15152"/>
                  </a:lnTo>
                  <a:lnTo>
                    <a:pt x="81" y="15215"/>
                  </a:lnTo>
                  <a:lnTo>
                    <a:pt x="105" y="15276"/>
                  </a:lnTo>
                  <a:lnTo>
                    <a:pt x="131" y="15336"/>
                  </a:lnTo>
                  <a:lnTo>
                    <a:pt x="162" y="15393"/>
                  </a:lnTo>
                  <a:lnTo>
                    <a:pt x="194" y="15449"/>
                  </a:lnTo>
                  <a:lnTo>
                    <a:pt x="229" y="15504"/>
                  </a:lnTo>
                  <a:lnTo>
                    <a:pt x="266" y="15556"/>
                  </a:lnTo>
                  <a:lnTo>
                    <a:pt x="305" y="15607"/>
                  </a:lnTo>
                  <a:lnTo>
                    <a:pt x="347" y="15655"/>
                  </a:lnTo>
                  <a:lnTo>
                    <a:pt x="391" y="15702"/>
                  </a:lnTo>
                  <a:lnTo>
                    <a:pt x="439" y="15747"/>
                  </a:lnTo>
                  <a:lnTo>
                    <a:pt x="487" y="15789"/>
                  </a:lnTo>
                  <a:lnTo>
                    <a:pt x="538" y="15828"/>
                  </a:lnTo>
                  <a:lnTo>
                    <a:pt x="590" y="15866"/>
                  </a:lnTo>
                  <a:lnTo>
                    <a:pt x="644" y="15901"/>
                  </a:lnTo>
                  <a:lnTo>
                    <a:pt x="701" y="15933"/>
                  </a:lnTo>
                  <a:lnTo>
                    <a:pt x="758" y="15963"/>
                  </a:lnTo>
                  <a:lnTo>
                    <a:pt x="817" y="15989"/>
                  </a:lnTo>
                  <a:lnTo>
                    <a:pt x="878" y="16014"/>
                  </a:lnTo>
                  <a:lnTo>
                    <a:pt x="940" y="16035"/>
                  </a:lnTo>
                  <a:lnTo>
                    <a:pt x="1004" y="16053"/>
                  </a:lnTo>
                  <a:lnTo>
                    <a:pt x="1069" y="16068"/>
                  </a:lnTo>
                  <a:lnTo>
                    <a:pt x="1134" y="16080"/>
                  </a:lnTo>
                  <a:lnTo>
                    <a:pt x="1201" y="16088"/>
                  </a:lnTo>
                  <a:lnTo>
                    <a:pt x="1270" y="16093"/>
                  </a:lnTo>
                  <a:lnTo>
                    <a:pt x="1338" y="16095"/>
                  </a:lnTo>
                  <a:lnTo>
                    <a:pt x="14719" y="16095"/>
                  </a:lnTo>
                  <a:lnTo>
                    <a:pt x="14788" y="16093"/>
                  </a:lnTo>
                  <a:lnTo>
                    <a:pt x="14857" y="16088"/>
                  </a:lnTo>
                  <a:lnTo>
                    <a:pt x="14924" y="16080"/>
                  </a:lnTo>
                  <a:lnTo>
                    <a:pt x="14989" y="16068"/>
                  </a:lnTo>
                  <a:lnTo>
                    <a:pt x="15054" y="16053"/>
                  </a:lnTo>
                  <a:lnTo>
                    <a:pt x="15118" y="16035"/>
                  </a:lnTo>
                  <a:lnTo>
                    <a:pt x="15180" y="16014"/>
                  </a:lnTo>
                  <a:lnTo>
                    <a:pt x="15241" y="15989"/>
                  </a:lnTo>
                  <a:lnTo>
                    <a:pt x="15300" y="15963"/>
                  </a:lnTo>
                  <a:lnTo>
                    <a:pt x="15357" y="15933"/>
                  </a:lnTo>
                  <a:lnTo>
                    <a:pt x="15414" y="15901"/>
                  </a:lnTo>
                  <a:lnTo>
                    <a:pt x="15468" y="15866"/>
                  </a:lnTo>
                  <a:lnTo>
                    <a:pt x="15520" y="15828"/>
                  </a:lnTo>
                  <a:lnTo>
                    <a:pt x="15571" y="15789"/>
                  </a:lnTo>
                  <a:lnTo>
                    <a:pt x="15619" y="15747"/>
                  </a:lnTo>
                  <a:lnTo>
                    <a:pt x="15666" y="15702"/>
                  </a:lnTo>
                  <a:lnTo>
                    <a:pt x="15711" y="15655"/>
                  </a:lnTo>
                  <a:lnTo>
                    <a:pt x="15752" y="15607"/>
                  </a:lnTo>
                  <a:lnTo>
                    <a:pt x="15792" y="15556"/>
                  </a:lnTo>
                  <a:lnTo>
                    <a:pt x="15829" y="15504"/>
                  </a:lnTo>
                  <a:lnTo>
                    <a:pt x="15864" y="15449"/>
                  </a:lnTo>
                  <a:lnTo>
                    <a:pt x="15896" y="15393"/>
                  </a:lnTo>
                  <a:lnTo>
                    <a:pt x="15926" y="15336"/>
                  </a:lnTo>
                  <a:lnTo>
                    <a:pt x="15953" y="15276"/>
                  </a:lnTo>
                  <a:lnTo>
                    <a:pt x="15977" y="15215"/>
                  </a:lnTo>
                  <a:lnTo>
                    <a:pt x="15998" y="15152"/>
                  </a:lnTo>
                  <a:lnTo>
                    <a:pt x="16016" y="15089"/>
                  </a:lnTo>
                  <a:lnTo>
                    <a:pt x="16031" y="15024"/>
                  </a:lnTo>
                  <a:lnTo>
                    <a:pt x="16043" y="14958"/>
                  </a:lnTo>
                  <a:lnTo>
                    <a:pt x="16051" y="14891"/>
                  </a:lnTo>
                  <a:lnTo>
                    <a:pt x="16056" y="14822"/>
                  </a:lnTo>
                  <a:lnTo>
                    <a:pt x="16058" y="14754"/>
                  </a:lnTo>
                  <a:lnTo>
                    <a:pt x="16058" y="2850"/>
                  </a:lnTo>
                  <a:lnTo>
                    <a:pt x="16056" y="2780"/>
                  </a:lnTo>
                  <a:lnTo>
                    <a:pt x="16051" y="2713"/>
                  </a:lnTo>
                  <a:lnTo>
                    <a:pt x="16043" y="2646"/>
                  </a:lnTo>
                  <a:lnTo>
                    <a:pt x="16031" y="2579"/>
                  </a:lnTo>
                  <a:lnTo>
                    <a:pt x="16016" y="2515"/>
                  </a:lnTo>
                  <a:lnTo>
                    <a:pt x="15998" y="2450"/>
                  </a:lnTo>
                  <a:lnTo>
                    <a:pt x="15977" y="2389"/>
                  </a:lnTo>
                  <a:lnTo>
                    <a:pt x="15953" y="2328"/>
                  </a:lnTo>
                  <a:lnTo>
                    <a:pt x="15926" y="2268"/>
                  </a:lnTo>
                  <a:lnTo>
                    <a:pt x="15896" y="2210"/>
                  </a:lnTo>
                  <a:lnTo>
                    <a:pt x="15864" y="2155"/>
                  </a:lnTo>
                  <a:lnTo>
                    <a:pt x="15829" y="2100"/>
                  </a:lnTo>
                  <a:lnTo>
                    <a:pt x="15792" y="2047"/>
                  </a:lnTo>
                  <a:lnTo>
                    <a:pt x="15752" y="1997"/>
                  </a:lnTo>
                  <a:lnTo>
                    <a:pt x="15711" y="1949"/>
                  </a:lnTo>
                  <a:lnTo>
                    <a:pt x="15666" y="1901"/>
                  </a:lnTo>
                  <a:lnTo>
                    <a:pt x="15619" y="1857"/>
                  </a:lnTo>
                  <a:lnTo>
                    <a:pt x="15571" y="1815"/>
                  </a:lnTo>
                  <a:lnTo>
                    <a:pt x="15520" y="1775"/>
                  </a:lnTo>
                  <a:lnTo>
                    <a:pt x="15468" y="1738"/>
                  </a:lnTo>
                  <a:lnTo>
                    <a:pt x="15414" y="1703"/>
                  </a:lnTo>
                  <a:lnTo>
                    <a:pt x="15357" y="1671"/>
                  </a:lnTo>
                  <a:lnTo>
                    <a:pt x="15300" y="1641"/>
                  </a:lnTo>
                  <a:lnTo>
                    <a:pt x="15241" y="1615"/>
                  </a:lnTo>
                  <a:lnTo>
                    <a:pt x="15180" y="1590"/>
                  </a:lnTo>
                  <a:lnTo>
                    <a:pt x="15118" y="1569"/>
                  </a:lnTo>
                  <a:lnTo>
                    <a:pt x="15054" y="1551"/>
                  </a:lnTo>
                  <a:lnTo>
                    <a:pt x="14989" y="1536"/>
                  </a:lnTo>
                  <a:lnTo>
                    <a:pt x="14924" y="1524"/>
                  </a:lnTo>
                  <a:lnTo>
                    <a:pt x="14857" y="1516"/>
                  </a:lnTo>
                  <a:lnTo>
                    <a:pt x="14788" y="1511"/>
                  </a:lnTo>
                  <a:lnTo>
                    <a:pt x="14719" y="15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71" name="íşḻiḓé">
              <a:extLst>
                <a:ext uri="{FF2B5EF4-FFF2-40B4-BE49-F238E27FC236}">
                  <a16:creationId xmlns:a16="http://schemas.microsoft.com/office/drawing/2014/main" id="{582E1893-6540-4067-A103-3681132221C9}"/>
                </a:ext>
              </a:extLst>
            </p:cNvPr>
            <p:cNvSpPr/>
            <p:nvPr/>
          </p:nvSpPr>
          <p:spPr bwMode="auto">
            <a:xfrm>
              <a:off x="6427854" y="2508416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72" name="ïṧḻïḋè">
              <a:extLst>
                <a:ext uri="{FF2B5EF4-FFF2-40B4-BE49-F238E27FC236}">
                  <a16:creationId xmlns:a16="http://schemas.microsoft.com/office/drawing/2014/main" id="{FBE88E1D-8F2B-493A-A4B4-510F06B15019}"/>
                </a:ext>
              </a:extLst>
            </p:cNvPr>
            <p:cNvSpPr/>
            <p:nvPr/>
          </p:nvSpPr>
          <p:spPr bwMode="auto">
            <a:xfrm>
              <a:off x="6427854" y="2571652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73" name="iŝḷîḍè">
              <a:extLst>
                <a:ext uri="{FF2B5EF4-FFF2-40B4-BE49-F238E27FC236}">
                  <a16:creationId xmlns:a16="http://schemas.microsoft.com/office/drawing/2014/main" id="{5A57852C-7482-408E-AE34-152547CED1A7}"/>
                </a:ext>
              </a:extLst>
            </p:cNvPr>
            <p:cNvSpPr/>
            <p:nvPr/>
          </p:nvSpPr>
          <p:spPr bwMode="auto">
            <a:xfrm>
              <a:off x="6427854" y="2634887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74" name="iṡḷïḍe">
              <a:extLst>
                <a:ext uri="{FF2B5EF4-FFF2-40B4-BE49-F238E27FC236}">
                  <a16:creationId xmlns:a16="http://schemas.microsoft.com/office/drawing/2014/main" id="{9B7C4814-ADB7-4B56-A63F-417CA756A184}"/>
                </a:ext>
              </a:extLst>
            </p:cNvPr>
            <p:cNvSpPr/>
            <p:nvPr/>
          </p:nvSpPr>
          <p:spPr bwMode="auto">
            <a:xfrm>
              <a:off x="6516198" y="2634887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75" name="ïṥlïḓé">
              <a:extLst>
                <a:ext uri="{FF2B5EF4-FFF2-40B4-BE49-F238E27FC236}">
                  <a16:creationId xmlns:a16="http://schemas.microsoft.com/office/drawing/2014/main" id="{99D95F09-E5F5-4742-BC03-6BCFF9C268D7}"/>
                </a:ext>
              </a:extLst>
            </p:cNvPr>
            <p:cNvSpPr/>
            <p:nvPr/>
          </p:nvSpPr>
          <p:spPr bwMode="auto">
            <a:xfrm>
              <a:off x="6516198" y="2571652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76" name="i$ḻíde">
              <a:extLst>
                <a:ext uri="{FF2B5EF4-FFF2-40B4-BE49-F238E27FC236}">
                  <a16:creationId xmlns:a16="http://schemas.microsoft.com/office/drawing/2014/main" id="{130C7355-EE35-4374-970F-C581D0E01031}"/>
                </a:ext>
              </a:extLst>
            </p:cNvPr>
            <p:cNvSpPr/>
            <p:nvPr/>
          </p:nvSpPr>
          <p:spPr bwMode="auto">
            <a:xfrm>
              <a:off x="6516198" y="2508416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77" name="îṥ1iďè">
              <a:extLst>
                <a:ext uri="{FF2B5EF4-FFF2-40B4-BE49-F238E27FC236}">
                  <a16:creationId xmlns:a16="http://schemas.microsoft.com/office/drawing/2014/main" id="{98010718-6CEA-470F-AAB2-3BBA519B0473}"/>
                </a:ext>
              </a:extLst>
            </p:cNvPr>
            <p:cNvSpPr/>
            <p:nvPr/>
          </p:nvSpPr>
          <p:spPr bwMode="auto">
            <a:xfrm>
              <a:off x="6604543" y="2634887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78" name="iśḻíďe">
              <a:extLst>
                <a:ext uri="{FF2B5EF4-FFF2-40B4-BE49-F238E27FC236}">
                  <a16:creationId xmlns:a16="http://schemas.microsoft.com/office/drawing/2014/main" id="{C3847D33-BD92-4AFF-B3ED-BDBB31ED9D87}"/>
                </a:ext>
              </a:extLst>
            </p:cNvPr>
            <p:cNvSpPr/>
            <p:nvPr/>
          </p:nvSpPr>
          <p:spPr bwMode="auto">
            <a:xfrm>
              <a:off x="6604543" y="2571652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79" name="iŝ1íḑe">
              <a:extLst>
                <a:ext uri="{FF2B5EF4-FFF2-40B4-BE49-F238E27FC236}">
                  <a16:creationId xmlns:a16="http://schemas.microsoft.com/office/drawing/2014/main" id="{E3167E00-8DD5-4E64-A28F-EDD15E483880}"/>
                </a:ext>
              </a:extLst>
            </p:cNvPr>
            <p:cNvSpPr/>
            <p:nvPr/>
          </p:nvSpPr>
          <p:spPr bwMode="auto">
            <a:xfrm>
              <a:off x="6604543" y="2508416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80" name="íṩļïḍe">
              <a:extLst>
                <a:ext uri="{FF2B5EF4-FFF2-40B4-BE49-F238E27FC236}">
                  <a16:creationId xmlns:a16="http://schemas.microsoft.com/office/drawing/2014/main" id="{0C459602-F17F-4F5A-8D45-FDF5BCCBB2AE}"/>
                </a:ext>
              </a:extLst>
            </p:cNvPr>
            <p:cNvSpPr/>
            <p:nvPr/>
          </p:nvSpPr>
          <p:spPr bwMode="auto">
            <a:xfrm>
              <a:off x="5987095" y="2263864"/>
              <a:ext cx="325956" cy="295234"/>
            </a:xfrm>
            <a:custGeom>
              <a:avLst/>
              <a:gdLst>
                <a:gd name="T0" fmla="*/ 13271 w 16095"/>
                <a:gd name="T1" fmla="*/ 332 h 14578"/>
                <a:gd name="T2" fmla="*/ 11351 w 16095"/>
                <a:gd name="T3" fmla="*/ 5 h 14578"/>
                <a:gd name="T4" fmla="*/ 9463 w 16095"/>
                <a:gd name="T5" fmla="*/ 518 h 14578"/>
                <a:gd name="T6" fmla="*/ 789 w 16095"/>
                <a:gd name="T7" fmla="*/ 8840 h 14578"/>
                <a:gd name="T8" fmla="*/ 101 w 16095"/>
                <a:gd name="T9" fmla="*/ 10223 h 14578"/>
                <a:gd name="T10" fmla="*/ 64 w 16095"/>
                <a:gd name="T11" fmla="*/ 11733 h 14578"/>
                <a:gd name="T12" fmla="*/ 680 w 16095"/>
                <a:gd name="T13" fmla="*/ 13142 h 14578"/>
                <a:gd name="T14" fmla="*/ 1881 w 16095"/>
                <a:gd name="T15" fmla="*/ 14176 h 14578"/>
                <a:gd name="T16" fmla="*/ 3350 w 16095"/>
                <a:gd name="T17" fmla="*/ 14574 h 14578"/>
                <a:gd name="T18" fmla="*/ 4844 w 16095"/>
                <a:gd name="T19" fmla="*/ 14321 h 14578"/>
                <a:gd name="T20" fmla="*/ 13346 w 16095"/>
                <a:gd name="T21" fmla="*/ 6301 h 14578"/>
                <a:gd name="T22" fmla="*/ 13942 w 16095"/>
                <a:gd name="T23" fmla="*/ 5355 h 14578"/>
                <a:gd name="T24" fmla="*/ 14071 w 16095"/>
                <a:gd name="T25" fmla="*/ 4284 h 14578"/>
                <a:gd name="T26" fmla="*/ 13735 w 16095"/>
                <a:gd name="T27" fmla="*/ 3247 h 14578"/>
                <a:gd name="T28" fmla="*/ 12951 w 16095"/>
                <a:gd name="T29" fmla="*/ 2425 h 14578"/>
                <a:gd name="T30" fmla="*/ 11928 w 16095"/>
                <a:gd name="T31" fmla="*/ 2037 h 14578"/>
                <a:gd name="T32" fmla="*/ 10852 w 16095"/>
                <a:gd name="T33" fmla="*/ 2115 h 14578"/>
                <a:gd name="T34" fmla="*/ 9884 w 16095"/>
                <a:gd name="T35" fmla="*/ 2658 h 14578"/>
                <a:gd name="T36" fmla="*/ 4173 w 16095"/>
                <a:gd name="T37" fmla="*/ 8404 h 14578"/>
                <a:gd name="T38" fmla="*/ 4125 w 16095"/>
                <a:gd name="T39" fmla="*/ 8617 h 14578"/>
                <a:gd name="T40" fmla="*/ 4173 w 16095"/>
                <a:gd name="T41" fmla="*/ 8828 h 14578"/>
                <a:gd name="T42" fmla="*/ 4311 w 16095"/>
                <a:gd name="T43" fmla="*/ 9007 h 14578"/>
                <a:gd name="T44" fmla="*/ 4509 w 16095"/>
                <a:gd name="T45" fmla="*/ 9105 h 14578"/>
                <a:gd name="T46" fmla="*/ 4725 w 16095"/>
                <a:gd name="T47" fmla="*/ 9110 h 14578"/>
                <a:gd name="T48" fmla="*/ 4926 w 16095"/>
                <a:gd name="T49" fmla="*/ 9022 h 14578"/>
                <a:gd name="T50" fmla="*/ 10802 w 16095"/>
                <a:gd name="T51" fmla="*/ 3226 h 14578"/>
                <a:gd name="T52" fmla="*/ 11423 w 16095"/>
                <a:gd name="T53" fmla="*/ 3024 h 14578"/>
                <a:gd name="T54" fmla="*/ 12067 w 16095"/>
                <a:gd name="T55" fmla="*/ 3101 h 14578"/>
                <a:gd name="T56" fmla="*/ 12635 w 16095"/>
                <a:gd name="T57" fmla="*/ 3458 h 14578"/>
                <a:gd name="T58" fmla="*/ 12992 w 16095"/>
                <a:gd name="T59" fmla="*/ 4025 h 14578"/>
                <a:gd name="T60" fmla="*/ 13069 w 16095"/>
                <a:gd name="T61" fmla="*/ 4669 h 14578"/>
                <a:gd name="T62" fmla="*/ 12868 w 16095"/>
                <a:gd name="T63" fmla="*/ 5291 h 14578"/>
                <a:gd name="T64" fmla="*/ 5006 w 16095"/>
                <a:gd name="T65" fmla="*/ 13088 h 14578"/>
                <a:gd name="T66" fmla="*/ 3999 w 16095"/>
                <a:gd name="T67" fmla="*/ 13528 h 14578"/>
                <a:gd name="T68" fmla="*/ 2920 w 16095"/>
                <a:gd name="T69" fmla="*/ 13502 h 14578"/>
                <a:gd name="T70" fmla="*/ 1931 w 16095"/>
                <a:gd name="T71" fmla="*/ 13011 h 14578"/>
                <a:gd name="T72" fmla="*/ 1237 w 16095"/>
                <a:gd name="T73" fmla="*/ 12119 h 14578"/>
                <a:gd name="T74" fmla="*/ 1004 w 16095"/>
                <a:gd name="T75" fmla="*/ 11060 h 14578"/>
                <a:gd name="T76" fmla="*/ 1237 w 16095"/>
                <a:gd name="T77" fmla="*/ 10003 h 14578"/>
                <a:gd name="T78" fmla="*/ 9139 w 16095"/>
                <a:gd name="T79" fmla="*/ 1982 h 14578"/>
                <a:gd name="T80" fmla="*/ 10495 w 16095"/>
                <a:gd name="T81" fmla="*/ 1221 h 14578"/>
                <a:gd name="T82" fmla="*/ 12003 w 16095"/>
                <a:gd name="T83" fmla="*/ 1113 h 14578"/>
                <a:gd name="T84" fmla="*/ 13433 w 16095"/>
                <a:gd name="T85" fmla="*/ 1657 h 14578"/>
                <a:gd name="T86" fmla="*/ 14530 w 16095"/>
                <a:gd name="T87" fmla="*/ 2808 h 14578"/>
                <a:gd name="T88" fmla="*/ 15002 w 16095"/>
                <a:gd name="T89" fmla="*/ 4258 h 14578"/>
                <a:gd name="T90" fmla="*/ 14820 w 16095"/>
                <a:gd name="T91" fmla="*/ 5759 h 14578"/>
                <a:gd name="T92" fmla="*/ 13987 w 16095"/>
                <a:gd name="T93" fmla="*/ 7083 h 14578"/>
                <a:gd name="T94" fmla="*/ 8431 w 16095"/>
                <a:gd name="T95" fmla="*/ 12692 h 14578"/>
                <a:gd name="T96" fmla="*/ 8395 w 16095"/>
                <a:gd name="T97" fmla="*/ 12905 h 14578"/>
                <a:gd name="T98" fmla="*/ 8451 w 16095"/>
                <a:gd name="T99" fmla="*/ 13115 h 14578"/>
                <a:gd name="T100" fmla="*/ 8600 w 16095"/>
                <a:gd name="T101" fmla="*/ 13286 h 14578"/>
                <a:gd name="T102" fmla="*/ 8801 w 16095"/>
                <a:gd name="T103" fmla="*/ 13375 h 14578"/>
                <a:gd name="T104" fmla="*/ 9017 w 16095"/>
                <a:gd name="T105" fmla="*/ 13370 h 14578"/>
                <a:gd name="T106" fmla="*/ 9214 w 16095"/>
                <a:gd name="T107" fmla="*/ 13271 h 14578"/>
                <a:gd name="T108" fmla="*/ 15577 w 16095"/>
                <a:gd name="T109" fmla="*/ 6628 h 14578"/>
                <a:gd name="T110" fmla="*/ 16090 w 16095"/>
                <a:gd name="T111" fmla="*/ 4742 h 14578"/>
                <a:gd name="T112" fmla="*/ 15763 w 16095"/>
                <a:gd name="T113" fmla="*/ 2822 h 14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4578">
                  <a:moveTo>
                    <a:pt x="14768" y="1326"/>
                  </a:moveTo>
                  <a:lnTo>
                    <a:pt x="14600" y="1165"/>
                  </a:lnTo>
                  <a:lnTo>
                    <a:pt x="14425" y="1015"/>
                  </a:lnTo>
                  <a:lnTo>
                    <a:pt x="14244" y="875"/>
                  </a:lnTo>
                  <a:lnTo>
                    <a:pt x="14059" y="746"/>
                  </a:lnTo>
                  <a:lnTo>
                    <a:pt x="13868" y="626"/>
                  </a:lnTo>
                  <a:lnTo>
                    <a:pt x="13673" y="518"/>
                  </a:lnTo>
                  <a:lnTo>
                    <a:pt x="13474" y="419"/>
                  </a:lnTo>
                  <a:lnTo>
                    <a:pt x="13271" y="332"/>
                  </a:lnTo>
                  <a:lnTo>
                    <a:pt x="13065" y="253"/>
                  </a:lnTo>
                  <a:lnTo>
                    <a:pt x="12857" y="187"/>
                  </a:lnTo>
                  <a:lnTo>
                    <a:pt x="12646" y="130"/>
                  </a:lnTo>
                  <a:lnTo>
                    <a:pt x="12432" y="83"/>
                  </a:lnTo>
                  <a:lnTo>
                    <a:pt x="12218" y="46"/>
                  </a:lnTo>
                  <a:lnTo>
                    <a:pt x="12002" y="21"/>
                  </a:lnTo>
                  <a:lnTo>
                    <a:pt x="11786" y="5"/>
                  </a:lnTo>
                  <a:lnTo>
                    <a:pt x="11568" y="0"/>
                  </a:lnTo>
                  <a:lnTo>
                    <a:pt x="11351" y="5"/>
                  </a:lnTo>
                  <a:lnTo>
                    <a:pt x="11134" y="21"/>
                  </a:lnTo>
                  <a:lnTo>
                    <a:pt x="10918" y="46"/>
                  </a:lnTo>
                  <a:lnTo>
                    <a:pt x="10703" y="83"/>
                  </a:lnTo>
                  <a:lnTo>
                    <a:pt x="10490" y="130"/>
                  </a:lnTo>
                  <a:lnTo>
                    <a:pt x="10280" y="187"/>
                  </a:lnTo>
                  <a:lnTo>
                    <a:pt x="10070" y="253"/>
                  </a:lnTo>
                  <a:lnTo>
                    <a:pt x="9864" y="332"/>
                  </a:lnTo>
                  <a:lnTo>
                    <a:pt x="9662" y="419"/>
                  </a:lnTo>
                  <a:lnTo>
                    <a:pt x="9463" y="518"/>
                  </a:lnTo>
                  <a:lnTo>
                    <a:pt x="9268" y="626"/>
                  </a:lnTo>
                  <a:lnTo>
                    <a:pt x="9078" y="746"/>
                  </a:lnTo>
                  <a:lnTo>
                    <a:pt x="8891" y="875"/>
                  </a:lnTo>
                  <a:lnTo>
                    <a:pt x="8711" y="1015"/>
                  </a:lnTo>
                  <a:lnTo>
                    <a:pt x="8536" y="1165"/>
                  </a:lnTo>
                  <a:lnTo>
                    <a:pt x="8367" y="1326"/>
                  </a:lnTo>
                  <a:lnTo>
                    <a:pt x="1029" y="8572"/>
                  </a:lnTo>
                  <a:lnTo>
                    <a:pt x="904" y="8704"/>
                  </a:lnTo>
                  <a:lnTo>
                    <a:pt x="789" y="8840"/>
                  </a:lnTo>
                  <a:lnTo>
                    <a:pt x="680" y="8979"/>
                  </a:lnTo>
                  <a:lnTo>
                    <a:pt x="579" y="9124"/>
                  </a:lnTo>
                  <a:lnTo>
                    <a:pt x="487" y="9272"/>
                  </a:lnTo>
                  <a:lnTo>
                    <a:pt x="402" y="9424"/>
                  </a:lnTo>
                  <a:lnTo>
                    <a:pt x="326" y="9579"/>
                  </a:lnTo>
                  <a:lnTo>
                    <a:pt x="258" y="9736"/>
                  </a:lnTo>
                  <a:lnTo>
                    <a:pt x="197" y="9896"/>
                  </a:lnTo>
                  <a:lnTo>
                    <a:pt x="145" y="10058"/>
                  </a:lnTo>
                  <a:lnTo>
                    <a:pt x="101" y="10223"/>
                  </a:lnTo>
                  <a:lnTo>
                    <a:pt x="64" y="10388"/>
                  </a:lnTo>
                  <a:lnTo>
                    <a:pt x="36" y="10556"/>
                  </a:lnTo>
                  <a:lnTo>
                    <a:pt x="16" y="10724"/>
                  </a:lnTo>
                  <a:lnTo>
                    <a:pt x="4" y="10892"/>
                  </a:lnTo>
                  <a:lnTo>
                    <a:pt x="0" y="11060"/>
                  </a:lnTo>
                  <a:lnTo>
                    <a:pt x="4" y="11229"/>
                  </a:lnTo>
                  <a:lnTo>
                    <a:pt x="16" y="11398"/>
                  </a:lnTo>
                  <a:lnTo>
                    <a:pt x="36" y="11566"/>
                  </a:lnTo>
                  <a:lnTo>
                    <a:pt x="64" y="11733"/>
                  </a:lnTo>
                  <a:lnTo>
                    <a:pt x="101" y="11899"/>
                  </a:lnTo>
                  <a:lnTo>
                    <a:pt x="145" y="12064"/>
                  </a:lnTo>
                  <a:lnTo>
                    <a:pt x="197" y="12226"/>
                  </a:lnTo>
                  <a:lnTo>
                    <a:pt x="258" y="12385"/>
                  </a:lnTo>
                  <a:lnTo>
                    <a:pt x="326" y="12543"/>
                  </a:lnTo>
                  <a:lnTo>
                    <a:pt x="402" y="12698"/>
                  </a:lnTo>
                  <a:lnTo>
                    <a:pt x="487" y="12850"/>
                  </a:lnTo>
                  <a:lnTo>
                    <a:pt x="579" y="12998"/>
                  </a:lnTo>
                  <a:lnTo>
                    <a:pt x="680" y="13142"/>
                  </a:lnTo>
                  <a:lnTo>
                    <a:pt x="789" y="13282"/>
                  </a:lnTo>
                  <a:lnTo>
                    <a:pt x="904" y="13418"/>
                  </a:lnTo>
                  <a:lnTo>
                    <a:pt x="1029" y="13550"/>
                  </a:lnTo>
                  <a:lnTo>
                    <a:pt x="1161" y="13673"/>
                  </a:lnTo>
                  <a:lnTo>
                    <a:pt x="1297" y="13790"/>
                  </a:lnTo>
                  <a:lnTo>
                    <a:pt x="1436" y="13898"/>
                  </a:lnTo>
                  <a:lnTo>
                    <a:pt x="1581" y="13999"/>
                  </a:lnTo>
                  <a:lnTo>
                    <a:pt x="1729" y="14091"/>
                  </a:lnTo>
                  <a:lnTo>
                    <a:pt x="1881" y="14176"/>
                  </a:lnTo>
                  <a:lnTo>
                    <a:pt x="2036" y="14252"/>
                  </a:lnTo>
                  <a:lnTo>
                    <a:pt x="2193" y="14321"/>
                  </a:lnTo>
                  <a:lnTo>
                    <a:pt x="2354" y="14381"/>
                  </a:lnTo>
                  <a:lnTo>
                    <a:pt x="2516" y="14433"/>
                  </a:lnTo>
                  <a:lnTo>
                    <a:pt x="2680" y="14477"/>
                  </a:lnTo>
                  <a:lnTo>
                    <a:pt x="2846" y="14514"/>
                  </a:lnTo>
                  <a:lnTo>
                    <a:pt x="3013" y="14542"/>
                  </a:lnTo>
                  <a:lnTo>
                    <a:pt x="3181" y="14562"/>
                  </a:lnTo>
                  <a:lnTo>
                    <a:pt x="3350" y="14574"/>
                  </a:lnTo>
                  <a:lnTo>
                    <a:pt x="3519" y="14578"/>
                  </a:lnTo>
                  <a:lnTo>
                    <a:pt x="3688" y="14574"/>
                  </a:lnTo>
                  <a:lnTo>
                    <a:pt x="3857" y="14562"/>
                  </a:lnTo>
                  <a:lnTo>
                    <a:pt x="4025" y="14542"/>
                  </a:lnTo>
                  <a:lnTo>
                    <a:pt x="4192" y="14514"/>
                  </a:lnTo>
                  <a:lnTo>
                    <a:pt x="4358" y="14477"/>
                  </a:lnTo>
                  <a:lnTo>
                    <a:pt x="4522" y="14433"/>
                  </a:lnTo>
                  <a:lnTo>
                    <a:pt x="4684" y="14381"/>
                  </a:lnTo>
                  <a:lnTo>
                    <a:pt x="4844" y="14321"/>
                  </a:lnTo>
                  <a:lnTo>
                    <a:pt x="5002" y="14252"/>
                  </a:lnTo>
                  <a:lnTo>
                    <a:pt x="5156" y="14176"/>
                  </a:lnTo>
                  <a:lnTo>
                    <a:pt x="5308" y="14091"/>
                  </a:lnTo>
                  <a:lnTo>
                    <a:pt x="5456" y="13999"/>
                  </a:lnTo>
                  <a:lnTo>
                    <a:pt x="5601" y="13898"/>
                  </a:lnTo>
                  <a:lnTo>
                    <a:pt x="5741" y="13790"/>
                  </a:lnTo>
                  <a:lnTo>
                    <a:pt x="5877" y="13673"/>
                  </a:lnTo>
                  <a:lnTo>
                    <a:pt x="6007" y="13550"/>
                  </a:lnTo>
                  <a:lnTo>
                    <a:pt x="13346" y="6301"/>
                  </a:lnTo>
                  <a:lnTo>
                    <a:pt x="13435" y="6208"/>
                  </a:lnTo>
                  <a:lnTo>
                    <a:pt x="13519" y="6110"/>
                  </a:lnTo>
                  <a:lnTo>
                    <a:pt x="13596" y="6011"/>
                  </a:lnTo>
                  <a:lnTo>
                    <a:pt x="13669" y="5907"/>
                  </a:lnTo>
                  <a:lnTo>
                    <a:pt x="13735" y="5802"/>
                  </a:lnTo>
                  <a:lnTo>
                    <a:pt x="13795" y="5693"/>
                  </a:lnTo>
                  <a:lnTo>
                    <a:pt x="13850" y="5582"/>
                  </a:lnTo>
                  <a:lnTo>
                    <a:pt x="13899" y="5470"/>
                  </a:lnTo>
                  <a:lnTo>
                    <a:pt x="13942" y="5355"/>
                  </a:lnTo>
                  <a:lnTo>
                    <a:pt x="13980" y="5240"/>
                  </a:lnTo>
                  <a:lnTo>
                    <a:pt x="14011" y="5123"/>
                  </a:lnTo>
                  <a:lnTo>
                    <a:pt x="14037" y="5004"/>
                  </a:lnTo>
                  <a:lnTo>
                    <a:pt x="14057" y="4885"/>
                  </a:lnTo>
                  <a:lnTo>
                    <a:pt x="14071" y="4765"/>
                  </a:lnTo>
                  <a:lnTo>
                    <a:pt x="14080" y="4645"/>
                  </a:lnTo>
                  <a:lnTo>
                    <a:pt x="14083" y="4524"/>
                  </a:lnTo>
                  <a:lnTo>
                    <a:pt x="14080" y="4404"/>
                  </a:lnTo>
                  <a:lnTo>
                    <a:pt x="14071" y="4284"/>
                  </a:lnTo>
                  <a:lnTo>
                    <a:pt x="14057" y="4164"/>
                  </a:lnTo>
                  <a:lnTo>
                    <a:pt x="14037" y="4044"/>
                  </a:lnTo>
                  <a:lnTo>
                    <a:pt x="14011" y="3926"/>
                  </a:lnTo>
                  <a:lnTo>
                    <a:pt x="13980" y="3809"/>
                  </a:lnTo>
                  <a:lnTo>
                    <a:pt x="13942" y="3693"/>
                  </a:lnTo>
                  <a:lnTo>
                    <a:pt x="13899" y="3579"/>
                  </a:lnTo>
                  <a:lnTo>
                    <a:pt x="13850" y="3466"/>
                  </a:lnTo>
                  <a:lnTo>
                    <a:pt x="13795" y="3356"/>
                  </a:lnTo>
                  <a:lnTo>
                    <a:pt x="13735" y="3247"/>
                  </a:lnTo>
                  <a:lnTo>
                    <a:pt x="13669" y="3142"/>
                  </a:lnTo>
                  <a:lnTo>
                    <a:pt x="13596" y="3038"/>
                  </a:lnTo>
                  <a:lnTo>
                    <a:pt x="13519" y="2939"/>
                  </a:lnTo>
                  <a:lnTo>
                    <a:pt x="13435" y="2841"/>
                  </a:lnTo>
                  <a:lnTo>
                    <a:pt x="13346" y="2748"/>
                  </a:lnTo>
                  <a:lnTo>
                    <a:pt x="13252" y="2658"/>
                  </a:lnTo>
                  <a:lnTo>
                    <a:pt x="13156" y="2575"/>
                  </a:lnTo>
                  <a:lnTo>
                    <a:pt x="13055" y="2497"/>
                  </a:lnTo>
                  <a:lnTo>
                    <a:pt x="12951" y="2425"/>
                  </a:lnTo>
                  <a:lnTo>
                    <a:pt x="12846" y="2359"/>
                  </a:lnTo>
                  <a:lnTo>
                    <a:pt x="12737" y="2299"/>
                  </a:lnTo>
                  <a:lnTo>
                    <a:pt x="12627" y="2244"/>
                  </a:lnTo>
                  <a:lnTo>
                    <a:pt x="12514" y="2196"/>
                  </a:lnTo>
                  <a:lnTo>
                    <a:pt x="12400" y="2152"/>
                  </a:lnTo>
                  <a:lnTo>
                    <a:pt x="12284" y="2115"/>
                  </a:lnTo>
                  <a:lnTo>
                    <a:pt x="12167" y="2083"/>
                  </a:lnTo>
                  <a:lnTo>
                    <a:pt x="12048" y="2057"/>
                  </a:lnTo>
                  <a:lnTo>
                    <a:pt x="11928" y="2037"/>
                  </a:lnTo>
                  <a:lnTo>
                    <a:pt x="11809" y="2023"/>
                  </a:lnTo>
                  <a:lnTo>
                    <a:pt x="11689" y="2015"/>
                  </a:lnTo>
                  <a:lnTo>
                    <a:pt x="11568" y="2012"/>
                  </a:lnTo>
                  <a:lnTo>
                    <a:pt x="11448" y="2015"/>
                  </a:lnTo>
                  <a:lnTo>
                    <a:pt x="11327" y="2023"/>
                  </a:lnTo>
                  <a:lnTo>
                    <a:pt x="11207" y="2037"/>
                  </a:lnTo>
                  <a:lnTo>
                    <a:pt x="11087" y="2057"/>
                  </a:lnTo>
                  <a:lnTo>
                    <a:pt x="10969" y="2083"/>
                  </a:lnTo>
                  <a:lnTo>
                    <a:pt x="10852" y="2115"/>
                  </a:lnTo>
                  <a:lnTo>
                    <a:pt x="10736" y="2152"/>
                  </a:lnTo>
                  <a:lnTo>
                    <a:pt x="10622" y="2196"/>
                  </a:lnTo>
                  <a:lnTo>
                    <a:pt x="10509" y="2244"/>
                  </a:lnTo>
                  <a:lnTo>
                    <a:pt x="10398" y="2299"/>
                  </a:lnTo>
                  <a:lnTo>
                    <a:pt x="10291" y="2359"/>
                  </a:lnTo>
                  <a:lnTo>
                    <a:pt x="10184" y="2425"/>
                  </a:lnTo>
                  <a:lnTo>
                    <a:pt x="10082" y="2497"/>
                  </a:lnTo>
                  <a:lnTo>
                    <a:pt x="9981" y="2575"/>
                  </a:lnTo>
                  <a:lnTo>
                    <a:pt x="9884" y="2658"/>
                  </a:lnTo>
                  <a:lnTo>
                    <a:pt x="9790" y="2748"/>
                  </a:lnTo>
                  <a:lnTo>
                    <a:pt x="4273" y="8261"/>
                  </a:lnTo>
                  <a:lnTo>
                    <a:pt x="4255" y="8279"/>
                  </a:lnTo>
                  <a:lnTo>
                    <a:pt x="4239" y="8299"/>
                  </a:lnTo>
                  <a:lnTo>
                    <a:pt x="4223" y="8319"/>
                  </a:lnTo>
                  <a:lnTo>
                    <a:pt x="4209" y="8339"/>
                  </a:lnTo>
                  <a:lnTo>
                    <a:pt x="4196" y="8361"/>
                  </a:lnTo>
                  <a:lnTo>
                    <a:pt x="4184" y="8382"/>
                  </a:lnTo>
                  <a:lnTo>
                    <a:pt x="4173" y="8404"/>
                  </a:lnTo>
                  <a:lnTo>
                    <a:pt x="4163" y="8427"/>
                  </a:lnTo>
                  <a:lnTo>
                    <a:pt x="4154" y="8450"/>
                  </a:lnTo>
                  <a:lnTo>
                    <a:pt x="4146" y="8473"/>
                  </a:lnTo>
                  <a:lnTo>
                    <a:pt x="4140" y="8497"/>
                  </a:lnTo>
                  <a:lnTo>
                    <a:pt x="4134" y="8520"/>
                  </a:lnTo>
                  <a:lnTo>
                    <a:pt x="4130" y="8544"/>
                  </a:lnTo>
                  <a:lnTo>
                    <a:pt x="4128" y="8568"/>
                  </a:lnTo>
                  <a:lnTo>
                    <a:pt x="4126" y="8592"/>
                  </a:lnTo>
                  <a:lnTo>
                    <a:pt x="4125" y="8617"/>
                  </a:lnTo>
                  <a:lnTo>
                    <a:pt x="4126" y="8640"/>
                  </a:lnTo>
                  <a:lnTo>
                    <a:pt x="4128" y="8664"/>
                  </a:lnTo>
                  <a:lnTo>
                    <a:pt x="4130" y="8688"/>
                  </a:lnTo>
                  <a:lnTo>
                    <a:pt x="4134" y="8712"/>
                  </a:lnTo>
                  <a:lnTo>
                    <a:pt x="4140" y="8736"/>
                  </a:lnTo>
                  <a:lnTo>
                    <a:pt x="4146" y="8759"/>
                  </a:lnTo>
                  <a:lnTo>
                    <a:pt x="4154" y="8782"/>
                  </a:lnTo>
                  <a:lnTo>
                    <a:pt x="4163" y="8806"/>
                  </a:lnTo>
                  <a:lnTo>
                    <a:pt x="4173" y="8828"/>
                  </a:lnTo>
                  <a:lnTo>
                    <a:pt x="4184" y="8850"/>
                  </a:lnTo>
                  <a:lnTo>
                    <a:pt x="4196" y="8872"/>
                  </a:lnTo>
                  <a:lnTo>
                    <a:pt x="4209" y="8893"/>
                  </a:lnTo>
                  <a:lnTo>
                    <a:pt x="4223" y="8913"/>
                  </a:lnTo>
                  <a:lnTo>
                    <a:pt x="4239" y="8933"/>
                  </a:lnTo>
                  <a:lnTo>
                    <a:pt x="4255" y="8953"/>
                  </a:lnTo>
                  <a:lnTo>
                    <a:pt x="4273" y="8971"/>
                  </a:lnTo>
                  <a:lnTo>
                    <a:pt x="4292" y="8989"/>
                  </a:lnTo>
                  <a:lnTo>
                    <a:pt x="4311" y="9007"/>
                  </a:lnTo>
                  <a:lnTo>
                    <a:pt x="4332" y="9022"/>
                  </a:lnTo>
                  <a:lnTo>
                    <a:pt x="4352" y="9036"/>
                  </a:lnTo>
                  <a:lnTo>
                    <a:pt x="4373" y="9050"/>
                  </a:lnTo>
                  <a:lnTo>
                    <a:pt x="4395" y="9062"/>
                  </a:lnTo>
                  <a:lnTo>
                    <a:pt x="4417" y="9073"/>
                  </a:lnTo>
                  <a:lnTo>
                    <a:pt x="4439" y="9082"/>
                  </a:lnTo>
                  <a:lnTo>
                    <a:pt x="4462" y="9091"/>
                  </a:lnTo>
                  <a:lnTo>
                    <a:pt x="4485" y="9098"/>
                  </a:lnTo>
                  <a:lnTo>
                    <a:pt x="4509" y="9105"/>
                  </a:lnTo>
                  <a:lnTo>
                    <a:pt x="4533" y="9110"/>
                  </a:lnTo>
                  <a:lnTo>
                    <a:pt x="4557" y="9114"/>
                  </a:lnTo>
                  <a:lnTo>
                    <a:pt x="4580" y="9117"/>
                  </a:lnTo>
                  <a:lnTo>
                    <a:pt x="4604" y="9118"/>
                  </a:lnTo>
                  <a:lnTo>
                    <a:pt x="4628" y="9119"/>
                  </a:lnTo>
                  <a:lnTo>
                    <a:pt x="4652" y="9118"/>
                  </a:lnTo>
                  <a:lnTo>
                    <a:pt x="4677" y="9117"/>
                  </a:lnTo>
                  <a:lnTo>
                    <a:pt x="4701" y="9114"/>
                  </a:lnTo>
                  <a:lnTo>
                    <a:pt x="4725" y="9110"/>
                  </a:lnTo>
                  <a:lnTo>
                    <a:pt x="4748" y="9105"/>
                  </a:lnTo>
                  <a:lnTo>
                    <a:pt x="4772" y="9098"/>
                  </a:lnTo>
                  <a:lnTo>
                    <a:pt x="4795" y="9091"/>
                  </a:lnTo>
                  <a:lnTo>
                    <a:pt x="4817" y="9082"/>
                  </a:lnTo>
                  <a:lnTo>
                    <a:pt x="4841" y="9073"/>
                  </a:lnTo>
                  <a:lnTo>
                    <a:pt x="4863" y="9062"/>
                  </a:lnTo>
                  <a:lnTo>
                    <a:pt x="4884" y="9050"/>
                  </a:lnTo>
                  <a:lnTo>
                    <a:pt x="4905" y="9036"/>
                  </a:lnTo>
                  <a:lnTo>
                    <a:pt x="4926" y="9022"/>
                  </a:lnTo>
                  <a:lnTo>
                    <a:pt x="4946" y="9007"/>
                  </a:lnTo>
                  <a:lnTo>
                    <a:pt x="4965" y="8989"/>
                  </a:lnTo>
                  <a:lnTo>
                    <a:pt x="4984" y="8971"/>
                  </a:lnTo>
                  <a:lnTo>
                    <a:pt x="10501" y="3458"/>
                  </a:lnTo>
                  <a:lnTo>
                    <a:pt x="10557" y="3405"/>
                  </a:lnTo>
                  <a:lnTo>
                    <a:pt x="10616" y="3355"/>
                  </a:lnTo>
                  <a:lnTo>
                    <a:pt x="10676" y="3308"/>
                  </a:lnTo>
                  <a:lnTo>
                    <a:pt x="10738" y="3265"/>
                  </a:lnTo>
                  <a:lnTo>
                    <a:pt x="10802" y="3226"/>
                  </a:lnTo>
                  <a:lnTo>
                    <a:pt x="10866" y="3190"/>
                  </a:lnTo>
                  <a:lnTo>
                    <a:pt x="10933" y="3157"/>
                  </a:lnTo>
                  <a:lnTo>
                    <a:pt x="11000" y="3128"/>
                  </a:lnTo>
                  <a:lnTo>
                    <a:pt x="11069" y="3101"/>
                  </a:lnTo>
                  <a:lnTo>
                    <a:pt x="11139" y="3079"/>
                  </a:lnTo>
                  <a:lnTo>
                    <a:pt x="11209" y="3060"/>
                  </a:lnTo>
                  <a:lnTo>
                    <a:pt x="11280" y="3045"/>
                  </a:lnTo>
                  <a:lnTo>
                    <a:pt x="11352" y="3033"/>
                  </a:lnTo>
                  <a:lnTo>
                    <a:pt x="11423" y="3024"/>
                  </a:lnTo>
                  <a:lnTo>
                    <a:pt x="11496" y="3019"/>
                  </a:lnTo>
                  <a:lnTo>
                    <a:pt x="11568" y="3017"/>
                  </a:lnTo>
                  <a:lnTo>
                    <a:pt x="11641" y="3019"/>
                  </a:lnTo>
                  <a:lnTo>
                    <a:pt x="11713" y="3024"/>
                  </a:lnTo>
                  <a:lnTo>
                    <a:pt x="11785" y="3033"/>
                  </a:lnTo>
                  <a:lnTo>
                    <a:pt x="11857" y="3045"/>
                  </a:lnTo>
                  <a:lnTo>
                    <a:pt x="11927" y="3060"/>
                  </a:lnTo>
                  <a:lnTo>
                    <a:pt x="11998" y="3079"/>
                  </a:lnTo>
                  <a:lnTo>
                    <a:pt x="12067" y="3101"/>
                  </a:lnTo>
                  <a:lnTo>
                    <a:pt x="12137" y="3128"/>
                  </a:lnTo>
                  <a:lnTo>
                    <a:pt x="12204" y="3157"/>
                  </a:lnTo>
                  <a:lnTo>
                    <a:pt x="12270" y="3190"/>
                  </a:lnTo>
                  <a:lnTo>
                    <a:pt x="12335" y="3226"/>
                  </a:lnTo>
                  <a:lnTo>
                    <a:pt x="12398" y="3265"/>
                  </a:lnTo>
                  <a:lnTo>
                    <a:pt x="12461" y="3308"/>
                  </a:lnTo>
                  <a:lnTo>
                    <a:pt x="12521" y="3355"/>
                  </a:lnTo>
                  <a:lnTo>
                    <a:pt x="12579" y="3405"/>
                  </a:lnTo>
                  <a:lnTo>
                    <a:pt x="12635" y="3458"/>
                  </a:lnTo>
                  <a:lnTo>
                    <a:pt x="12689" y="3515"/>
                  </a:lnTo>
                  <a:lnTo>
                    <a:pt x="12738" y="3572"/>
                  </a:lnTo>
                  <a:lnTo>
                    <a:pt x="12785" y="3632"/>
                  </a:lnTo>
                  <a:lnTo>
                    <a:pt x="12828" y="3695"/>
                  </a:lnTo>
                  <a:lnTo>
                    <a:pt x="12868" y="3758"/>
                  </a:lnTo>
                  <a:lnTo>
                    <a:pt x="12904" y="3823"/>
                  </a:lnTo>
                  <a:lnTo>
                    <a:pt x="12936" y="3890"/>
                  </a:lnTo>
                  <a:lnTo>
                    <a:pt x="12967" y="3957"/>
                  </a:lnTo>
                  <a:lnTo>
                    <a:pt x="12992" y="4025"/>
                  </a:lnTo>
                  <a:lnTo>
                    <a:pt x="13015" y="4095"/>
                  </a:lnTo>
                  <a:lnTo>
                    <a:pt x="13033" y="4165"/>
                  </a:lnTo>
                  <a:lnTo>
                    <a:pt x="13049" y="4236"/>
                  </a:lnTo>
                  <a:lnTo>
                    <a:pt x="13061" y="4308"/>
                  </a:lnTo>
                  <a:lnTo>
                    <a:pt x="13069" y="4380"/>
                  </a:lnTo>
                  <a:lnTo>
                    <a:pt x="13075" y="4452"/>
                  </a:lnTo>
                  <a:lnTo>
                    <a:pt x="13076" y="4524"/>
                  </a:lnTo>
                  <a:lnTo>
                    <a:pt x="13075" y="4596"/>
                  </a:lnTo>
                  <a:lnTo>
                    <a:pt x="13069" y="4669"/>
                  </a:lnTo>
                  <a:lnTo>
                    <a:pt x="13061" y="4741"/>
                  </a:lnTo>
                  <a:lnTo>
                    <a:pt x="13049" y="4812"/>
                  </a:lnTo>
                  <a:lnTo>
                    <a:pt x="13033" y="4884"/>
                  </a:lnTo>
                  <a:lnTo>
                    <a:pt x="13015" y="4954"/>
                  </a:lnTo>
                  <a:lnTo>
                    <a:pt x="12992" y="5024"/>
                  </a:lnTo>
                  <a:lnTo>
                    <a:pt x="12967" y="5092"/>
                  </a:lnTo>
                  <a:lnTo>
                    <a:pt x="12936" y="5159"/>
                  </a:lnTo>
                  <a:lnTo>
                    <a:pt x="12904" y="5226"/>
                  </a:lnTo>
                  <a:lnTo>
                    <a:pt x="12868" y="5291"/>
                  </a:lnTo>
                  <a:lnTo>
                    <a:pt x="12828" y="5354"/>
                  </a:lnTo>
                  <a:lnTo>
                    <a:pt x="12785" y="5417"/>
                  </a:lnTo>
                  <a:lnTo>
                    <a:pt x="12738" y="5476"/>
                  </a:lnTo>
                  <a:lnTo>
                    <a:pt x="12689" y="5534"/>
                  </a:lnTo>
                  <a:lnTo>
                    <a:pt x="12635" y="5591"/>
                  </a:lnTo>
                  <a:lnTo>
                    <a:pt x="5297" y="12838"/>
                  </a:lnTo>
                  <a:lnTo>
                    <a:pt x="5203" y="12927"/>
                  </a:lnTo>
                  <a:lnTo>
                    <a:pt x="5106" y="13011"/>
                  </a:lnTo>
                  <a:lnTo>
                    <a:pt x="5006" y="13088"/>
                  </a:lnTo>
                  <a:lnTo>
                    <a:pt x="4902" y="13160"/>
                  </a:lnTo>
                  <a:lnTo>
                    <a:pt x="4796" y="13226"/>
                  </a:lnTo>
                  <a:lnTo>
                    <a:pt x="4688" y="13286"/>
                  </a:lnTo>
                  <a:lnTo>
                    <a:pt x="4577" y="13341"/>
                  </a:lnTo>
                  <a:lnTo>
                    <a:pt x="4465" y="13390"/>
                  </a:lnTo>
                  <a:lnTo>
                    <a:pt x="4351" y="13433"/>
                  </a:lnTo>
                  <a:lnTo>
                    <a:pt x="4235" y="13470"/>
                  </a:lnTo>
                  <a:lnTo>
                    <a:pt x="4117" y="13502"/>
                  </a:lnTo>
                  <a:lnTo>
                    <a:pt x="3999" y="13528"/>
                  </a:lnTo>
                  <a:lnTo>
                    <a:pt x="3880" y="13549"/>
                  </a:lnTo>
                  <a:lnTo>
                    <a:pt x="3760" y="13563"/>
                  </a:lnTo>
                  <a:lnTo>
                    <a:pt x="3639" y="13571"/>
                  </a:lnTo>
                  <a:lnTo>
                    <a:pt x="3519" y="13574"/>
                  </a:lnTo>
                  <a:lnTo>
                    <a:pt x="3398" y="13571"/>
                  </a:lnTo>
                  <a:lnTo>
                    <a:pt x="3277" y="13563"/>
                  </a:lnTo>
                  <a:lnTo>
                    <a:pt x="3158" y="13549"/>
                  </a:lnTo>
                  <a:lnTo>
                    <a:pt x="3039" y="13528"/>
                  </a:lnTo>
                  <a:lnTo>
                    <a:pt x="2920" y="13502"/>
                  </a:lnTo>
                  <a:lnTo>
                    <a:pt x="2803" y="13470"/>
                  </a:lnTo>
                  <a:lnTo>
                    <a:pt x="2687" y="13433"/>
                  </a:lnTo>
                  <a:lnTo>
                    <a:pt x="2572" y="13390"/>
                  </a:lnTo>
                  <a:lnTo>
                    <a:pt x="2460" y="13341"/>
                  </a:lnTo>
                  <a:lnTo>
                    <a:pt x="2350" y="13286"/>
                  </a:lnTo>
                  <a:lnTo>
                    <a:pt x="2241" y="13226"/>
                  </a:lnTo>
                  <a:lnTo>
                    <a:pt x="2136" y="13160"/>
                  </a:lnTo>
                  <a:lnTo>
                    <a:pt x="2032" y="13088"/>
                  </a:lnTo>
                  <a:lnTo>
                    <a:pt x="1931" y="13011"/>
                  </a:lnTo>
                  <a:lnTo>
                    <a:pt x="1835" y="12927"/>
                  </a:lnTo>
                  <a:lnTo>
                    <a:pt x="1740" y="12838"/>
                  </a:lnTo>
                  <a:lnTo>
                    <a:pt x="1652" y="12744"/>
                  </a:lnTo>
                  <a:lnTo>
                    <a:pt x="1568" y="12647"/>
                  </a:lnTo>
                  <a:lnTo>
                    <a:pt x="1491" y="12546"/>
                  </a:lnTo>
                  <a:lnTo>
                    <a:pt x="1418" y="12444"/>
                  </a:lnTo>
                  <a:lnTo>
                    <a:pt x="1352" y="12338"/>
                  </a:lnTo>
                  <a:lnTo>
                    <a:pt x="1292" y="12230"/>
                  </a:lnTo>
                  <a:lnTo>
                    <a:pt x="1237" y="12119"/>
                  </a:lnTo>
                  <a:lnTo>
                    <a:pt x="1188" y="12006"/>
                  </a:lnTo>
                  <a:lnTo>
                    <a:pt x="1145" y="11892"/>
                  </a:lnTo>
                  <a:lnTo>
                    <a:pt x="1108" y="11776"/>
                  </a:lnTo>
                  <a:lnTo>
                    <a:pt x="1076" y="11660"/>
                  </a:lnTo>
                  <a:lnTo>
                    <a:pt x="1050" y="11541"/>
                  </a:lnTo>
                  <a:lnTo>
                    <a:pt x="1030" y="11421"/>
                  </a:lnTo>
                  <a:lnTo>
                    <a:pt x="1016" y="11302"/>
                  </a:lnTo>
                  <a:lnTo>
                    <a:pt x="1007" y="11181"/>
                  </a:lnTo>
                  <a:lnTo>
                    <a:pt x="1004" y="11060"/>
                  </a:lnTo>
                  <a:lnTo>
                    <a:pt x="1007" y="10940"/>
                  </a:lnTo>
                  <a:lnTo>
                    <a:pt x="1016" y="10820"/>
                  </a:lnTo>
                  <a:lnTo>
                    <a:pt x="1030" y="10701"/>
                  </a:lnTo>
                  <a:lnTo>
                    <a:pt x="1050" y="10581"/>
                  </a:lnTo>
                  <a:lnTo>
                    <a:pt x="1076" y="10462"/>
                  </a:lnTo>
                  <a:lnTo>
                    <a:pt x="1108" y="10346"/>
                  </a:lnTo>
                  <a:lnTo>
                    <a:pt x="1145" y="10229"/>
                  </a:lnTo>
                  <a:lnTo>
                    <a:pt x="1188" y="10115"/>
                  </a:lnTo>
                  <a:lnTo>
                    <a:pt x="1237" y="10003"/>
                  </a:lnTo>
                  <a:lnTo>
                    <a:pt x="1292" y="9892"/>
                  </a:lnTo>
                  <a:lnTo>
                    <a:pt x="1352" y="9784"/>
                  </a:lnTo>
                  <a:lnTo>
                    <a:pt x="1418" y="9678"/>
                  </a:lnTo>
                  <a:lnTo>
                    <a:pt x="1491" y="9575"/>
                  </a:lnTo>
                  <a:lnTo>
                    <a:pt x="1568" y="9475"/>
                  </a:lnTo>
                  <a:lnTo>
                    <a:pt x="1652" y="9378"/>
                  </a:lnTo>
                  <a:lnTo>
                    <a:pt x="1740" y="9284"/>
                  </a:lnTo>
                  <a:lnTo>
                    <a:pt x="9007" y="2108"/>
                  </a:lnTo>
                  <a:lnTo>
                    <a:pt x="9139" y="1982"/>
                  </a:lnTo>
                  <a:lnTo>
                    <a:pt x="9275" y="1866"/>
                  </a:lnTo>
                  <a:lnTo>
                    <a:pt x="9415" y="1757"/>
                  </a:lnTo>
                  <a:lnTo>
                    <a:pt x="9559" y="1657"/>
                  </a:lnTo>
                  <a:lnTo>
                    <a:pt x="9707" y="1564"/>
                  </a:lnTo>
                  <a:lnTo>
                    <a:pt x="9859" y="1480"/>
                  </a:lnTo>
                  <a:lnTo>
                    <a:pt x="10014" y="1402"/>
                  </a:lnTo>
                  <a:lnTo>
                    <a:pt x="10172" y="1334"/>
                  </a:lnTo>
                  <a:lnTo>
                    <a:pt x="10332" y="1274"/>
                  </a:lnTo>
                  <a:lnTo>
                    <a:pt x="10495" y="1221"/>
                  </a:lnTo>
                  <a:lnTo>
                    <a:pt x="10659" y="1177"/>
                  </a:lnTo>
                  <a:lnTo>
                    <a:pt x="10825" y="1141"/>
                  </a:lnTo>
                  <a:lnTo>
                    <a:pt x="10992" y="1113"/>
                  </a:lnTo>
                  <a:lnTo>
                    <a:pt x="11160" y="1093"/>
                  </a:lnTo>
                  <a:lnTo>
                    <a:pt x="11328" y="1081"/>
                  </a:lnTo>
                  <a:lnTo>
                    <a:pt x="11497" y="1077"/>
                  </a:lnTo>
                  <a:lnTo>
                    <a:pt x="11666" y="1081"/>
                  </a:lnTo>
                  <a:lnTo>
                    <a:pt x="11835" y="1093"/>
                  </a:lnTo>
                  <a:lnTo>
                    <a:pt x="12003" y="1113"/>
                  </a:lnTo>
                  <a:lnTo>
                    <a:pt x="12170" y="1141"/>
                  </a:lnTo>
                  <a:lnTo>
                    <a:pt x="12335" y="1177"/>
                  </a:lnTo>
                  <a:lnTo>
                    <a:pt x="12500" y="1221"/>
                  </a:lnTo>
                  <a:lnTo>
                    <a:pt x="12662" y="1274"/>
                  </a:lnTo>
                  <a:lnTo>
                    <a:pt x="12822" y="1334"/>
                  </a:lnTo>
                  <a:lnTo>
                    <a:pt x="12980" y="1402"/>
                  </a:lnTo>
                  <a:lnTo>
                    <a:pt x="13135" y="1480"/>
                  </a:lnTo>
                  <a:lnTo>
                    <a:pt x="13285" y="1564"/>
                  </a:lnTo>
                  <a:lnTo>
                    <a:pt x="13433" y="1657"/>
                  </a:lnTo>
                  <a:lnTo>
                    <a:pt x="13578" y="1757"/>
                  </a:lnTo>
                  <a:lnTo>
                    <a:pt x="13718" y="1866"/>
                  </a:lnTo>
                  <a:lnTo>
                    <a:pt x="13855" y="1982"/>
                  </a:lnTo>
                  <a:lnTo>
                    <a:pt x="13986" y="2108"/>
                  </a:lnTo>
                  <a:lnTo>
                    <a:pt x="14110" y="2239"/>
                  </a:lnTo>
                  <a:lnTo>
                    <a:pt x="14228" y="2376"/>
                  </a:lnTo>
                  <a:lnTo>
                    <a:pt x="14337" y="2515"/>
                  </a:lnTo>
                  <a:lnTo>
                    <a:pt x="14437" y="2660"/>
                  </a:lnTo>
                  <a:lnTo>
                    <a:pt x="14530" y="2808"/>
                  </a:lnTo>
                  <a:lnTo>
                    <a:pt x="14614" y="2960"/>
                  </a:lnTo>
                  <a:lnTo>
                    <a:pt x="14692" y="3114"/>
                  </a:lnTo>
                  <a:lnTo>
                    <a:pt x="14760" y="3272"/>
                  </a:lnTo>
                  <a:lnTo>
                    <a:pt x="14820" y="3432"/>
                  </a:lnTo>
                  <a:lnTo>
                    <a:pt x="14873" y="3594"/>
                  </a:lnTo>
                  <a:lnTo>
                    <a:pt x="14917" y="3758"/>
                  </a:lnTo>
                  <a:lnTo>
                    <a:pt x="14953" y="3924"/>
                  </a:lnTo>
                  <a:lnTo>
                    <a:pt x="14981" y="4091"/>
                  </a:lnTo>
                  <a:lnTo>
                    <a:pt x="15002" y="4258"/>
                  </a:lnTo>
                  <a:lnTo>
                    <a:pt x="15014" y="4427"/>
                  </a:lnTo>
                  <a:lnTo>
                    <a:pt x="15018" y="4596"/>
                  </a:lnTo>
                  <a:lnTo>
                    <a:pt x="15014" y="4765"/>
                  </a:lnTo>
                  <a:lnTo>
                    <a:pt x="15002" y="4933"/>
                  </a:lnTo>
                  <a:lnTo>
                    <a:pt x="14981" y="5101"/>
                  </a:lnTo>
                  <a:lnTo>
                    <a:pt x="14953" y="5268"/>
                  </a:lnTo>
                  <a:lnTo>
                    <a:pt x="14917" y="5434"/>
                  </a:lnTo>
                  <a:lnTo>
                    <a:pt x="14873" y="5598"/>
                  </a:lnTo>
                  <a:lnTo>
                    <a:pt x="14820" y="5759"/>
                  </a:lnTo>
                  <a:lnTo>
                    <a:pt x="14760" y="5919"/>
                  </a:lnTo>
                  <a:lnTo>
                    <a:pt x="14692" y="6077"/>
                  </a:lnTo>
                  <a:lnTo>
                    <a:pt x="14615" y="6232"/>
                  </a:lnTo>
                  <a:lnTo>
                    <a:pt x="14531" y="6384"/>
                  </a:lnTo>
                  <a:lnTo>
                    <a:pt x="14438" y="6531"/>
                  </a:lnTo>
                  <a:lnTo>
                    <a:pt x="14338" y="6676"/>
                  </a:lnTo>
                  <a:lnTo>
                    <a:pt x="14228" y="6816"/>
                  </a:lnTo>
                  <a:lnTo>
                    <a:pt x="14111" y="6953"/>
                  </a:lnTo>
                  <a:lnTo>
                    <a:pt x="13987" y="7083"/>
                  </a:lnTo>
                  <a:lnTo>
                    <a:pt x="8541" y="12525"/>
                  </a:lnTo>
                  <a:lnTo>
                    <a:pt x="8523" y="12544"/>
                  </a:lnTo>
                  <a:lnTo>
                    <a:pt x="8507" y="12563"/>
                  </a:lnTo>
                  <a:lnTo>
                    <a:pt x="8491" y="12583"/>
                  </a:lnTo>
                  <a:lnTo>
                    <a:pt x="8477" y="12605"/>
                  </a:lnTo>
                  <a:lnTo>
                    <a:pt x="8464" y="12626"/>
                  </a:lnTo>
                  <a:lnTo>
                    <a:pt x="8451" y="12648"/>
                  </a:lnTo>
                  <a:lnTo>
                    <a:pt x="8441" y="12670"/>
                  </a:lnTo>
                  <a:lnTo>
                    <a:pt x="8431" y="12692"/>
                  </a:lnTo>
                  <a:lnTo>
                    <a:pt x="8422" y="12715"/>
                  </a:lnTo>
                  <a:lnTo>
                    <a:pt x="8415" y="12738"/>
                  </a:lnTo>
                  <a:lnTo>
                    <a:pt x="8408" y="12761"/>
                  </a:lnTo>
                  <a:lnTo>
                    <a:pt x="8403" y="12786"/>
                  </a:lnTo>
                  <a:lnTo>
                    <a:pt x="8399" y="12810"/>
                  </a:lnTo>
                  <a:lnTo>
                    <a:pt x="8396" y="12833"/>
                  </a:lnTo>
                  <a:lnTo>
                    <a:pt x="8395" y="12857"/>
                  </a:lnTo>
                  <a:lnTo>
                    <a:pt x="8394" y="12881"/>
                  </a:lnTo>
                  <a:lnTo>
                    <a:pt x="8395" y="12905"/>
                  </a:lnTo>
                  <a:lnTo>
                    <a:pt x="8396" y="12929"/>
                  </a:lnTo>
                  <a:lnTo>
                    <a:pt x="8399" y="12953"/>
                  </a:lnTo>
                  <a:lnTo>
                    <a:pt x="8403" y="12978"/>
                  </a:lnTo>
                  <a:lnTo>
                    <a:pt x="8408" y="13001"/>
                  </a:lnTo>
                  <a:lnTo>
                    <a:pt x="8415" y="13025"/>
                  </a:lnTo>
                  <a:lnTo>
                    <a:pt x="8422" y="13048"/>
                  </a:lnTo>
                  <a:lnTo>
                    <a:pt x="8431" y="13070"/>
                  </a:lnTo>
                  <a:lnTo>
                    <a:pt x="8441" y="13093"/>
                  </a:lnTo>
                  <a:lnTo>
                    <a:pt x="8451" y="13115"/>
                  </a:lnTo>
                  <a:lnTo>
                    <a:pt x="8464" y="13136"/>
                  </a:lnTo>
                  <a:lnTo>
                    <a:pt x="8477" y="13157"/>
                  </a:lnTo>
                  <a:lnTo>
                    <a:pt x="8491" y="13179"/>
                  </a:lnTo>
                  <a:lnTo>
                    <a:pt x="8507" y="13199"/>
                  </a:lnTo>
                  <a:lnTo>
                    <a:pt x="8523" y="13218"/>
                  </a:lnTo>
                  <a:lnTo>
                    <a:pt x="8541" y="13237"/>
                  </a:lnTo>
                  <a:lnTo>
                    <a:pt x="8561" y="13254"/>
                  </a:lnTo>
                  <a:lnTo>
                    <a:pt x="8580" y="13271"/>
                  </a:lnTo>
                  <a:lnTo>
                    <a:pt x="8600" y="13286"/>
                  </a:lnTo>
                  <a:lnTo>
                    <a:pt x="8621" y="13301"/>
                  </a:lnTo>
                  <a:lnTo>
                    <a:pt x="8642" y="13314"/>
                  </a:lnTo>
                  <a:lnTo>
                    <a:pt x="8663" y="13326"/>
                  </a:lnTo>
                  <a:lnTo>
                    <a:pt x="8685" y="13337"/>
                  </a:lnTo>
                  <a:lnTo>
                    <a:pt x="8708" y="13348"/>
                  </a:lnTo>
                  <a:lnTo>
                    <a:pt x="8731" y="13356"/>
                  </a:lnTo>
                  <a:lnTo>
                    <a:pt x="8754" y="13364"/>
                  </a:lnTo>
                  <a:lnTo>
                    <a:pt x="8778" y="13370"/>
                  </a:lnTo>
                  <a:lnTo>
                    <a:pt x="8801" y="13375"/>
                  </a:lnTo>
                  <a:lnTo>
                    <a:pt x="8825" y="13379"/>
                  </a:lnTo>
                  <a:lnTo>
                    <a:pt x="8849" y="13382"/>
                  </a:lnTo>
                  <a:lnTo>
                    <a:pt x="8873" y="13384"/>
                  </a:lnTo>
                  <a:lnTo>
                    <a:pt x="8898" y="13385"/>
                  </a:lnTo>
                  <a:lnTo>
                    <a:pt x="8922" y="13384"/>
                  </a:lnTo>
                  <a:lnTo>
                    <a:pt x="8946" y="13382"/>
                  </a:lnTo>
                  <a:lnTo>
                    <a:pt x="8969" y="13379"/>
                  </a:lnTo>
                  <a:lnTo>
                    <a:pt x="8993" y="13375"/>
                  </a:lnTo>
                  <a:lnTo>
                    <a:pt x="9017" y="13370"/>
                  </a:lnTo>
                  <a:lnTo>
                    <a:pt x="9040" y="13364"/>
                  </a:lnTo>
                  <a:lnTo>
                    <a:pt x="9063" y="13356"/>
                  </a:lnTo>
                  <a:lnTo>
                    <a:pt x="9087" y="13348"/>
                  </a:lnTo>
                  <a:lnTo>
                    <a:pt x="9109" y="13337"/>
                  </a:lnTo>
                  <a:lnTo>
                    <a:pt x="9131" y="13326"/>
                  </a:lnTo>
                  <a:lnTo>
                    <a:pt x="9153" y="13314"/>
                  </a:lnTo>
                  <a:lnTo>
                    <a:pt x="9174" y="13301"/>
                  </a:lnTo>
                  <a:lnTo>
                    <a:pt x="9194" y="13286"/>
                  </a:lnTo>
                  <a:lnTo>
                    <a:pt x="9214" y="13271"/>
                  </a:lnTo>
                  <a:lnTo>
                    <a:pt x="9234" y="13254"/>
                  </a:lnTo>
                  <a:lnTo>
                    <a:pt x="9253" y="13237"/>
                  </a:lnTo>
                  <a:lnTo>
                    <a:pt x="14768" y="7724"/>
                  </a:lnTo>
                  <a:lnTo>
                    <a:pt x="14929" y="7555"/>
                  </a:lnTo>
                  <a:lnTo>
                    <a:pt x="15080" y="7380"/>
                  </a:lnTo>
                  <a:lnTo>
                    <a:pt x="15220" y="7200"/>
                  </a:lnTo>
                  <a:lnTo>
                    <a:pt x="15349" y="7014"/>
                  </a:lnTo>
                  <a:lnTo>
                    <a:pt x="15468" y="6823"/>
                  </a:lnTo>
                  <a:lnTo>
                    <a:pt x="15577" y="6628"/>
                  </a:lnTo>
                  <a:lnTo>
                    <a:pt x="15676" y="6430"/>
                  </a:lnTo>
                  <a:lnTo>
                    <a:pt x="15763" y="6227"/>
                  </a:lnTo>
                  <a:lnTo>
                    <a:pt x="15842" y="6021"/>
                  </a:lnTo>
                  <a:lnTo>
                    <a:pt x="15909" y="5813"/>
                  </a:lnTo>
                  <a:lnTo>
                    <a:pt x="15965" y="5602"/>
                  </a:lnTo>
                  <a:lnTo>
                    <a:pt x="16013" y="5388"/>
                  </a:lnTo>
                  <a:lnTo>
                    <a:pt x="16049" y="5174"/>
                  </a:lnTo>
                  <a:lnTo>
                    <a:pt x="16074" y="4958"/>
                  </a:lnTo>
                  <a:lnTo>
                    <a:pt x="16090" y="4742"/>
                  </a:lnTo>
                  <a:lnTo>
                    <a:pt x="16095" y="4525"/>
                  </a:lnTo>
                  <a:lnTo>
                    <a:pt x="16090" y="4308"/>
                  </a:lnTo>
                  <a:lnTo>
                    <a:pt x="16074" y="4091"/>
                  </a:lnTo>
                  <a:lnTo>
                    <a:pt x="16049" y="3875"/>
                  </a:lnTo>
                  <a:lnTo>
                    <a:pt x="16013" y="3660"/>
                  </a:lnTo>
                  <a:lnTo>
                    <a:pt x="15965" y="3447"/>
                  </a:lnTo>
                  <a:lnTo>
                    <a:pt x="15909" y="3236"/>
                  </a:lnTo>
                  <a:lnTo>
                    <a:pt x="15842" y="3028"/>
                  </a:lnTo>
                  <a:lnTo>
                    <a:pt x="15763" y="2822"/>
                  </a:lnTo>
                  <a:lnTo>
                    <a:pt x="15676" y="2620"/>
                  </a:lnTo>
                  <a:lnTo>
                    <a:pt x="15577" y="2421"/>
                  </a:lnTo>
                  <a:lnTo>
                    <a:pt x="15468" y="2226"/>
                  </a:lnTo>
                  <a:lnTo>
                    <a:pt x="15349" y="2036"/>
                  </a:lnTo>
                  <a:lnTo>
                    <a:pt x="15220" y="1850"/>
                  </a:lnTo>
                  <a:lnTo>
                    <a:pt x="15080" y="1669"/>
                  </a:lnTo>
                  <a:lnTo>
                    <a:pt x="14929" y="1495"/>
                  </a:lnTo>
                  <a:lnTo>
                    <a:pt x="14768" y="13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81" name="íSḻiḓe">
              <a:extLst>
                <a:ext uri="{FF2B5EF4-FFF2-40B4-BE49-F238E27FC236}">
                  <a16:creationId xmlns:a16="http://schemas.microsoft.com/office/drawing/2014/main" id="{99FDD8A2-6822-4A23-8BB2-4649515E9D9E}"/>
                </a:ext>
              </a:extLst>
            </p:cNvPr>
            <p:cNvSpPr/>
            <p:nvPr/>
          </p:nvSpPr>
          <p:spPr bwMode="auto">
            <a:xfrm>
              <a:off x="5935863" y="2587513"/>
              <a:ext cx="366358" cy="366358"/>
            </a:xfrm>
            <a:custGeom>
              <a:avLst/>
              <a:gdLst>
                <a:gd name="T0" fmla="*/ 4167 w 16092"/>
                <a:gd name="T1" fmla="*/ 13921 h 16091"/>
                <a:gd name="T2" fmla="*/ 2857 w 16092"/>
                <a:gd name="T3" fmla="*/ 12802 h 16091"/>
                <a:gd name="T4" fmla="*/ 1872 w 16092"/>
                <a:gd name="T5" fmla="*/ 11423 h 16091"/>
                <a:gd name="T6" fmla="*/ 1245 w 16092"/>
                <a:gd name="T7" fmla="*/ 9857 h 16091"/>
                <a:gd name="T8" fmla="*/ 1007 w 16092"/>
                <a:gd name="T9" fmla="*/ 8176 h 16091"/>
                <a:gd name="T10" fmla="*/ 1188 w 16092"/>
                <a:gd name="T11" fmla="*/ 6453 h 16091"/>
                <a:gd name="T12" fmla="*/ 1812 w 16092"/>
                <a:gd name="T13" fmla="*/ 4775 h 16091"/>
                <a:gd name="T14" fmla="*/ 2807 w 16092"/>
                <a:gd name="T15" fmla="*/ 3343 h 16091"/>
                <a:gd name="T16" fmla="*/ 4090 w 16092"/>
                <a:gd name="T17" fmla="*/ 2225 h 16091"/>
                <a:gd name="T18" fmla="*/ 5590 w 16092"/>
                <a:gd name="T19" fmla="*/ 1452 h 16091"/>
                <a:gd name="T20" fmla="*/ 7234 w 16092"/>
                <a:gd name="T21" fmla="*/ 1054 h 16091"/>
                <a:gd name="T22" fmla="*/ 8949 w 16092"/>
                <a:gd name="T23" fmla="*/ 1063 h 16091"/>
                <a:gd name="T24" fmla="*/ 10662 w 16092"/>
                <a:gd name="T25" fmla="*/ 1511 h 16091"/>
                <a:gd name="T26" fmla="*/ 12211 w 16092"/>
                <a:gd name="T27" fmla="*/ 2370 h 16091"/>
                <a:gd name="T28" fmla="*/ 13458 w 16092"/>
                <a:gd name="T29" fmla="*/ 3547 h 16091"/>
                <a:gd name="T30" fmla="*/ 14374 w 16092"/>
                <a:gd name="T31" fmla="*/ 4968 h 16091"/>
                <a:gd name="T32" fmla="*/ 14925 w 16092"/>
                <a:gd name="T33" fmla="*/ 6564 h 16091"/>
                <a:gd name="T34" fmla="*/ 15082 w 16092"/>
                <a:gd name="T35" fmla="*/ 8259 h 16091"/>
                <a:gd name="T36" fmla="*/ 14814 w 16092"/>
                <a:gd name="T37" fmla="*/ 9982 h 16091"/>
                <a:gd name="T38" fmla="*/ 14107 w 16092"/>
                <a:gd name="T39" fmla="*/ 11626 h 16091"/>
                <a:gd name="T40" fmla="*/ 13049 w 16092"/>
                <a:gd name="T41" fmla="*/ 12998 h 16091"/>
                <a:gd name="T42" fmla="*/ 11716 w 16092"/>
                <a:gd name="T43" fmla="*/ 14049 h 16091"/>
                <a:gd name="T44" fmla="*/ 10181 w 16092"/>
                <a:gd name="T45" fmla="*/ 14750 h 16091"/>
                <a:gd name="T46" fmla="*/ 8518 w 16092"/>
                <a:gd name="T47" fmla="*/ 15069 h 16091"/>
                <a:gd name="T48" fmla="*/ 6797 w 16092"/>
                <a:gd name="T49" fmla="*/ 14974 h 16091"/>
                <a:gd name="T50" fmla="*/ 11036 w 16092"/>
                <a:gd name="T51" fmla="*/ 576 h 16091"/>
                <a:gd name="T52" fmla="*/ 9076 w 16092"/>
                <a:gd name="T53" fmla="*/ 64 h 16091"/>
                <a:gd name="T54" fmla="*/ 7115 w 16092"/>
                <a:gd name="T55" fmla="*/ 52 h 16091"/>
                <a:gd name="T56" fmla="*/ 5238 w 16092"/>
                <a:gd name="T57" fmla="*/ 506 h 16091"/>
                <a:gd name="T58" fmla="*/ 3525 w 16092"/>
                <a:gd name="T59" fmla="*/ 1390 h 16091"/>
                <a:gd name="T60" fmla="*/ 2058 w 16092"/>
                <a:gd name="T61" fmla="*/ 2669 h 16091"/>
                <a:gd name="T62" fmla="*/ 921 w 16092"/>
                <a:gd name="T63" fmla="*/ 4306 h 16091"/>
                <a:gd name="T64" fmla="*/ 207 w 16092"/>
                <a:gd name="T65" fmla="*/ 6227 h 16091"/>
                <a:gd name="T66" fmla="*/ 0 w 16092"/>
                <a:gd name="T67" fmla="*/ 8197 h 16091"/>
                <a:gd name="T68" fmla="*/ 272 w 16092"/>
                <a:gd name="T69" fmla="*/ 10118 h 16091"/>
                <a:gd name="T70" fmla="*/ 987 w 16092"/>
                <a:gd name="T71" fmla="*/ 11906 h 16091"/>
                <a:gd name="T72" fmla="*/ 2111 w 16092"/>
                <a:gd name="T73" fmla="*/ 13482 h 16091"/>
                <a:gd name="T74" fmla="*/ 3610 w 16092"/>
                <a:gd name="T75" fmla="*/ 14760 h 16091"/>
                <a:gd name="T76" fmla="*/ 5443 w 16092"/>
                <a:gd name="T77" fmla="*/ 15658 h 16091"/>
                <a:gd name="T78" fmla="*/ 7410 w 16092"/>
                <a:gd name="T79" fmla="*/ 16068 h 16091"/>
                <a:gd name="T80" fmla="*/ 9360 w 16092"/>
                <a:gd name="T81" fmla="*/ 15984 h 16091"/>
                <a:gd name="T82" fmla="*/ 11211 w 16092"/>
                <a:gd name="T83" fmla="*/ 15441 h 16091"/>
                <a:gd name="T84" fmla="*/ 12882 w 16092"/>
                <a:gd name="T85" fmla="*/ 14476 h 16091"/>
                <a:gd name="T86" fmla="*/ 14289 w 16092"/>
                <a:gd name="T87" fmla="*/ 13122 h 16091"/>
                <a:gd name="T88" fmla="*/ 15351 w 16092"/>
                <a:gd name="T89" fmla="*/ 11416 h 16091"/>
                <a:gd name="T90" fmla="*/ 15965 w 16092"/>
                <a:gd name="T91" fmla="*/ 9470 h 16091"/>
                <a:gd name="T92" fmla="*/ 16075 w 16092"/>
                <a:gd name="T93" fmla="*/ 7503 h 16091"/>
                <a:gd name="T94" fmla="*/ 15711 w 16092"/>
                <a:gd name="T95" fmla="*/ 5602 h 16091"/>
                <a:gd name="T96" fmla="*/ 14911 w 16092"/>
                <a:gd name="T97" fmla="*/ 3850 h 16091"/>
                <a:gd name="T98" fmla="*/ 13708 w 16092"/>
                <a:gd name="T99" fmla="*/ 2328 h 16091"/>
                <a:gd name="T100" fmla="*/ 12139 w 16092"/>
                <a:gd name="T101" fmla="*/ 1119 h 16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092" h="16091">
                  <a:moveTo>
                    <a:pt x="5429" y="14581"/>
                  </a:moveTo>
                  <a:lnTo>
                    <a:pt x="5096" y="14438"/>
                  </a:lnTo>
                  <a:lnTo>
                    <a:pt x="4775" y="14279"/>
                  </a:lnTo>
                  <a:lnTo>
                    <a:pt x="4465" y="14107"/>
                  </a:lnTo>
                  <a:lnTo>
                    <a:pt x="4167" y="13921"/>
                  </a:lnTo>
                  <a:lnTo>
                    <a:pt x="3880" y="13721"/>
                  </a:lnTo>
                  <a:lnTo>
                    <a:pt x="3605" y="13509"/>
                  </a:lnTo>
                  <a:lnTo>
                    <a:pt x="3343" y="13284"/>
                  </a:lnTo>
                  <a:lnTo>
                    <a:pt x="3093" y="13049"/>
                  </a:lnTo>
                  <a:lnTo>
                    <a:pt x="2857" y="12802"/>
                  </a:lnTo>
                  <a:lnTo>
                    <a:pt x="2633" y="12544"/>
                  </a:lnTo>
                  <a:lnTo>
                    <a:pt x="2422" y="12277"/>
                  </a:lnTo>
                  <a:lnTo>
                    <a:pt x="2225" y="12001"/>
                  </a:lnTo>
                  <a:lnTo>
                    <a:pt x="2042" y="11716"/>
                  </a:lnTo>
                  <a:lnTo>
                    <a:pt x="1872" y="11423"/>
                  </a:lnTo>
                  <a:lnTo>
                    <a:pt x="1717" y="11123"/>
                  </a:lnTo>
                  <a:lnTo>
                    <a:pt x="1577" y="10815"/>
                  </a:lnTo>
                  <a:lnTo>
                    <a:pt x="1452" y="10501"/>
                  </a:lnTo>
                  <a:lnTo>
                    <a:pt x="1341" y="10182"/>
                  </a:lnTo>
                  <a:lnTo>
                    <a:pt x="1245" y="9857"/>
                  </a:lnTo>
                  <a:lnTo>
                    <a:pt x="1166" y="9527"/>
                  </a:lnTo>
                  <a:lnTo>
                    <a:pt x="1102" y="9194"/>
                  </a:lnTo>
                  <a:lnTo>
                    <a:pt x="1054" y="8857"/>
                  </a:lnTo>
                  <a:lnTo>
                    <a:pt x="1022" y="8518"/>
                  </a:lnTo>
                  <a:lnTo>
                    <a:pt x="1007" y="8176"/>
                  </a:lnTo>
                  <a:lnTo>
                    <a:pt x="1009" y="7832"/>
                  </a:lnTo>
                  <a:lnTo>
                    <a:pt x="1027" y="7488"/>
                  </a:lnTo>
                  <a:lnTo>
                    <a:pt x="1063" y="7143"/>
                  </a:lnTo>
                  <a:lnTo>
                    <a:pt x="1117" y="6797"/>
                  </a:lnTo>
                  <a:lnTo>
                    <a:pt x="1188" y="6453"/>
                  </a:lnTo>
                  <a:lnTo>
                    <a:pt x="1277" y="6109"/>
                  </a:lnTo>
                  <a:lnTo>
                    <a:pt x="1384" y="5768"/>
                  </a:lnTo>
                  <a:lnTo>
                    <a:pt x="1510" y="5429"/>
                  </a:lnTo>
                  <a:lnTo>
                    <a:pt x="1654" y="5096"/>
                  </a:lnTo>
                  <a:lnTo>
                    <a:pt x="1812" y="4775"/>
                  </a:lnTo>
                  <a:lnTo>
                    <a:pt x="1984" y="4465"/>
                  </a:lnTo>
                  <a:lnTo>
                    <a:pt x="2170" y="4167"/>
                  </a:lnTo>
                  <a:lnTo>
                    <a:pt x="2370" y="3880"/>
                  </a:lnTo>
                  <a:lnTo>
                    <a:pt x="2582" y="3605"/>
                  </a:lnTo>
                  <a:lnTo>
                    <a:pt x="2807" y="3343"/>
                  </a:lnTo>
                  <a:lnTo>
                    <a:pt x="3042" y="3093"/>
                  </a:lnTo>
                  <a:lnTo>
                    <a:pt x="3289" y="2857"/>
                  </a:lnTo>
                  <a:lnTo>
                    <a:pt x="3547" y="2633"/>
                  </a:lnTo>
                  <a:lnTo>
                    <a:pt x="3814" y="2422"/>
                  </a:lnTo>
                  <a:lnTo>
                    <a:pt x="4090" y="2225"/>
                  </a:lnTo>
                  <a:lnTo>
                    <a:pt x="4375" y="2042"/>
                  </a:lnTo>
                  <a:lnTo>
                    <a:pt x="4669" y="1873"/>
                  </a:lnTo>
                  <a:lnTo>
                    <a:pt x="4968" y="1718"/>
                  </a:lnTo>
                  <a:lnTo>
                    <a:pt x="5276" y="1577"/>
                  </a:lnTo>
                  <a:lnTo>
                    <a:pt x="5590" y="1452"/>
                  </a:lnTo>
                  <a:lnTo>
                    <a:pt x="5910" y="1341"/>
                  </a:lnTo>
                  <a:lnTo>
                    <a:pt x="6234" y="1245"/>
                  </a:lnTo>
                  <a:lnTo>
                    <a:pt x="6564" y="1166"/>
                  </a:lnTo>
                  <a:lnTo>
                    <a:pt x="6897" y="1103"/>
                  </a:lnTo>
                  <a:lnTo>
                    <a:pt x="7234" y="1054"/>
                  </a:lnTo>
                  <a:lnTo>
                    <a:pt x="7573" y="1022"/>
                  </a:lnTo>
                  <a:lnTo>
                    <a:pt x="7915" y="1007"/>
                  </a:lnTo>
                  <a:lnTo>
                    <a:pt x="8259" y="1009"/>
                  </a:lnTo>
                  <a:lnTo>
                    <a:pt x="8603" y="1028"/>
                  </a:lnTo>
                  <a:lnTo>
                    <a:pt x="8949" y="1063"/>
                  </a:lnTo>
                  <a:lnTo>
                    <a:pt x="9294" y="1117"/>
                  </a:lnTo>
                  <a:lnTo>
                    <a:pt x="9638" y="1188"/>
                  </a:lnTo>
                  <a:lnTo>
                    <a:pt x="9982" y="1278"/>
                  </a:lnTo>
                  <a:lnTo>
                    <a:pt x="10323" y="1385"/>
                  </a:lnTo>
                  <a:lnTo>
                    <a:pt x="10662" y="1511"/>
                  </a:lnTo>
                  <a:lnTo>
                    <a:pt x="10995" y="1654"/>
                  </a:lnTo>
                  <a:lnTo>
                    <a:pt x="11316" y="1812"/>
                  </a:lnTo>
                  <a:lnTo>
                    <a:pt x="11626" y="1984"/>
                  </a:lnTo>
                  <a:lnTo>
                    <a:pt x="11924" y="2171"/>
                  </a:lnTo>
                  <a:lnTo>
                    <a:pt x="12211" y="2370"/>
                  </a:lnTo>
                  <a:lnTo>
                    <a:pt x="12486" y="2582"/>
                  </a:lnTo>
                  <a:lnTo>
                    <a:pt x="12748" y="2807"/>
                  </a:lnTo>
                  <a:lnTo>
                    <a:pt x="12998" y="3043"/>
                  </a:lnTo>
                  <a:lnTo>
                    <a:pt x="13234" y="3289"/>
                  </a:lnTo>
                  <a:lnTo>
                    <a:pt x="13458" y="3547"/>
                  </a:lnTo>
                  <a:lnTo>
                    <a:pt x="13669" y="3814"/>
                  </a:lnTo>
                  <a:lnTo>
                    <a:pt x="13866" y="4090"/>
                  </a:lnTo>
                  <a:lnTo>
                    <a:pt x="14049" y="4375"/>
                  </a:lnTo>
                  <a:lnTo>
                    <a:pt x="14219" y="4669"/>
                  </a:lnTo>
                  <a:lnTo>
                    <a:pt x="14374" y="4968"/>
                  </a:lnTo>
                  <a:lnTo>
                    <a:pt x="14514" y="5276"/>
                  </a:lnTo>
                  <a:lnTo>
                    <a:pt x="14639" y="5590"/>
                  </a:lnTo>
                  <a:lnTo>
                    <a:pt x="14750" y="5910"/>
                  </a:lnTo>
                  <a:lnTo>
                    <a:pt x="14846" y="6234"/>
                  </a:lnTo>
                  <a:lnTo>
                    <a:pt x="14925" y="6564"/>
                  </a:lnTo>
                  <a:lnTo>
                    <a:pt x="14989" y="6897"/>
                  </a:lnTo>
                  <a:lnTo>
                    <a:pt x="15037" y="7234"/>
                  </a:lnTo>
                  <a:lnTo>
                    <a:pt x="15069" y="7573"/>
                  </a:lnTo>
                  <a:lnTo>
                    <a:pt x="15084" y="7915"/>
                  </a:lnTo>
                  <a:lnTo>
                    <a:pt x="15082" y="8259"/>
                  </a:lnTo>
                  <a:lnTo>
                    <a:pt x="15064" y="8603"/>
                  </a:lnTo>
                  <a:lnTo>
                    <a:pt x="15028" y="8949"/>
                  </a:lnTo>
                  <a:lnTo>
                    <a:pt x="14974" y="9294"/>
                  </a:lnTo>
                  <a:lnTo>
                    <a:pt x="14903" y="9638"/>
                  </a:lnTo>
                  <a:lnTo>
                    <a:pt x="14814" y="9982"/>
                  </a:lnTo>
                  <a:lnTo>
                    <a:pt x="14707" y="10323"/>
                  </a:lnTo>
                  <a:lnTo>
                    <a:pt x="14581" y="10662"/>
                  </a:lnTo>
                  <a:lnTo>
                    <a:pt x="14437" y="10995"/>
                  </a:lnTo>
                  <a:lnTo>
                    <a:pt x="14279" y="11316"/>
                  </a:lnTo>
                  <a:lnTo>
                    <a:pt x="14107" y="11626"/>
                  </a:lnTo>
                  <a:lnTo>
                    <a:pt x="13921" y="11924"/>
                  </a:lnTo>
                  <a:lnTo>
                    <a:pt x="13721" y="12211"/>
                  </a:lnTo>
                  <a:lnTo>
                    <a:pt x="13509" y="12486"/>
                  </a:lnTo>
                  <a:lnTo>
                    <a:pt x="13284" y="12748"/>
                  </a:lnTo>
                  <a:lnTo>
                    <a:pt x="13049" y="12998"/>
                  </a:lnTo>
                  <a:lnTo>
                    <a:pt x="12802" y="13235"/>
                  </a:lnTo>
                  <a:lnTo>
                    <a:pt x="12544" y="13458"/>
                  </a:lnTo>
                  <a:lnTo>
                    <a:pt x="12277" y="13669"/>
                  </a:lnTo>
                  <a:lnTo>
                    <a:pt x="12001" y="13866"/>
                  </a:lnTo>
                  <a:lnTo>
                    <a:pt x="11716" y="14049"/>
                  </a:lnTo>
                  <a:lnTo>
                    <a:pt x="11422" y="14219"/>
                  </a:lnTo>
                  <a:lnTo>
                    <a:pt x="11123" y="14374"/>
                  </a:lnTo>
                  <a:lnTo>
                    <a:pt x="10815" y="14514"/>
                  </a:lnTo>
                  <a:lnTo>
                    <a:pt x="10501" y="14639"/>
                  </a:lnTo>
                  <a:lnTo>
                    <a:pt x="10181" y="14750"/>
                  </a:lnTo>
                  <a:lnTo>
                    <a:pt x="9857" y="14846"/>
                  </a:lnTo>
                  <a:lnTo>
                    <a:pt x="9527" y="14925"/>
                  </a:lnTo>
                  <a:lnTo>
                    <a:pt x="9194" y="14989"/>
                  </a:lnTo>
                  <a:lnTo>
                    <a:pt x="8857" y="15037"/>
                  </a:lnTo>
                  <a:lnTo>
                    <a:pt x="8518" y="15069"/>
                  </a:lnTo>
                  <a:lnTo>
                    <a:pt x="8176" y="15084"/>
                  </a:lnTo>
                  <a:lnTo>
                    <a:pt x="7832" y="15082"/>
                  </a:lnTo>
                  <a:lnTo>
                    <a:pt x="7487" y="15064"/>
                  </a:lnTo>
                  <a:lnTo>
                    <a:pt x="7142" y="15028"/>
                  </a:lnTo>
                  <a:lnTo>
                    <a:pt x="6797" y="14974"/>
                  </a:lnTo>
                  <a:lnTo>
                    <a:pt x="6453" y="14903"/>
                  </a:lnTo>
                  <a:lnTo>
                    <a:pt x="6109" y="14814"/>
                  </a:lnTo>
                  <a:lnTo>
                    <a:pt x="5768" y="14707"/>
                  </a:lnTo>
                  <a:lnTo>
                    <a:pt x="5429" y="14581"/>
                  </a:lnTo>
                  <a:close/>
                  <a:moveTo>
                    <a:pt x="11036" y="576"/>
                  </a:moveTo>
                  <a:lnTo>
                    <a:pt x="10648" y="433"/>
                  </a:lnTo>
                  <a:lnTo>
                    <a:pt x="10258" y="310"/>
                  </a:lnTo>
                  <a:lnTo>
                    <a:pt x="9864" y="207"/>
                  </a:lnTo>
                  <a:lnTo>
                    <a:pt x="9470" y="126"/>
                  </a:lnTo>
                  <a:lnTo>
                    <a:pt x="9076" y="64"/>
                  </a:lnTo>
                  <a:lnTo>
                    <a:pt x="8681" y="23"/>
                  </a:lnTo>
                  <a:lnTo>
                    <a:pt x="8287" y="2"/>
                  </a:lnTo>
                  <a:lnTo>
                    <a:pt x="7895" y="0"/>
                  </a:lnTo>
                  <a:lnTo>
                    <a:pt x="7503" y="17"/>
                  </a:lnTo>
                  <a:lnTo>
                    <a:pt x="7115" y="52"/>
                  </a:lnTo>
                  <a:lnTo>
                    <a:pt x="6731" y="108"/>
                  </a:lnTo>
                  <a:lnTo>
                    <a:pt x="6349" y="180"/>
                  </a:lnTo>
                  <a:lnTo>
                    <a:pt x="5973" y="272"/>
                  </a:lnTo>
                  <a:lnTo>
                    <a:pt x="5603" y="380"/>
                  </a:lnTo>
                  <a:lnTo>
                    <a:pt x="5238" y="506"/>
                  </a:lnTo>
                  <a:lnTo>
                    <a:pt x="4880" y="650"/>
                  </a:lnTo>
                  <a:lnTo>
                    <a:pt x="4529" y="810"/>
                  </a:lnTo>
                  <a:lnTo>
                    <a:pt x="4185" y="987"/>
                  </a:lnTo>
                  <a:lnTo>
                    <a:pt x="3851" y="1180"/>
                  </a:lnTo>
                  <a:lnTo>
                    <a:pt x="3525" y="1390"/>
                  </a:lnTo>
                  <a:lnTo>
                    <a:pt x="3209" y="1616"/>
                  </a:lnTo>
                  <a:lnTo>
                    <a:pt x="2904" y="1856"/>
                  </a:lnTo>
                  <a:lnTo>
                    <a:pt x="2610" y="2111"/>
                  </a:lnTo>
                  <a:lnTo>
                    <a:pt x="2328" y="2383"/>
                  </a:lnTo>
                  <a:lnTo>
                    <a:pt x="2058" y="2669"/>
                  </a:lnTo>
                  <a:lnTo>
                    <a:pt x="1803" y="2969"/>
                  </a:lnTo>
                  <a:lnTo>
                    <a:pt x="1559" y="3282"/>
                  </a:lnTo>
                  <a:lnTo>
                    <a:pt x="1332" y="3610"/>
                  </a:lnTo>
                  <a:lnTo>
                    <a:pt x="1119" y="3951"/>
                  </a:lnTo>
                  <a:lnTo>
                    <a:pt x="921" y="4306"/>
                  </a:lnTo>
                  <a:lnTo>
                    <a:pt x="740" y="4675"/>
                  </a:lnTo>
                  <a:lnTo>
                    <a:pt x="577" y="5055"/>
                  </a:lnTo>
                  <a:lnTo>
                    <a:pt x="433" y="5443"/>
                  </a:lnTo>
                  <a:lnTo>
                    <a:pt x="310" y="5833"/>
                  </a:lnTo>
                  <a:lnTo>
                    <a:pt x="207" y="6227"/>
                  </a:lnTo>
                  <a:lnTo>
                    <a:pt x="126" y="6621"/>
                  </a:lnTo>
                  <a:lnTo>
                    <a:pt x="64" y="7015"/>
                  </a:lnTo>
                  <a:lnTo>
                    <a:pt x="23" y="7411"/>
                  </a:lnTo>
                  <a:lnTo>
                    <a:pt x="2" y="7804"/>
                  </a:lnTo>
                  <a:lnTo>
                    <a:pt x="0" y="8197"/>
                  </a:lnTo>
                  <a:lnTo>
                    <a:pt x="17" y="8588"/>
                  </a:lnTo>
                  <a:lnTo>
                    <a:pt x="52" y="8976"/>
                  </a:lnTo>
                  <a:lnTo>
                    <a:pt x="108" y="9360"/>
                  </a:lnTo>
                  <a:lnTo>
                    <a:pt x="180" y="9742"/>
                  </a:lnTo>
                  <a:lnTo>
                    <a:pt x="272" y="10118"/>
                  </a:lnTo>
                  <a:lnTo>
                    <a:pt x="380" y="10489"/>
                  </a:lnTo>
                  <a:lnTo>
                    <a:pt x="506" y="10854"/>
                  </a:lnTo>
                  <a:lnTo>
                    <a:pt x="650" y="11212"/>
                  </a:lnTo>
                  <a:lnTo>
                    <a:pt x="810" y="11563"/>
                  </a:lnTo>
                  <a:lnTo>
                    <a:pt x="987" y="11906"/>
                  </a:lnTo>
                  <a:lnTo>
                    <a:pt x="1180" y="12241"/>
                  </a:lnTo>
                  <a:lnTo>
                    <a:pt x="1389" y="12566"/>
                  </a:lnTo>
                  <a:lnTo>
                    <a:pt x="1615" y="12882"/>
                  </a:lnTo>
                  <a:lnTo>
                    <a:pt x="1856" y="13188"/>
                  </a:lnTo>
                  <a:lnTo>
                    <a:pt x="2111" y="13482"/>
                  </a:lnTo>
                  <a:lnTo>
                    <a:pt x="2383" y="13763"/>
                  </a:lnTo>
                  <a:lnTo>
                    <a:pt x="2669" y="14033"/>
                  </a:lnTo>
                  <a:lnTo>
                    <a:pt x="2969" y="14289"/>
                  </a:lnTo>
                  <a:lnTo>
                    <a:pt x="3282" y="14532"/>
                  </a:lnTo>
                  <a:lnTo>
                    <a:pt x="3610" y="14760"/>
                  </a:lnTo>
                  <a:lnTo>
                    <a:pt x="3951" y="14972"/>
                  </a:lnTo>
                  <a:lnTo>
                    <a:pt x="4306" y="15170"/>
                  </a:lnTo>
                  <a:lnTo>
                    <a:pt x="4675" y="15351"/>
                  </a:lnTo>
                  <a:lnTo>
                    <a:pt x="5055" y="15514"/>
                  </a:lnTo>
                  <a:lnTo>
                    <a:pt x="5443" y="15658"/>
                  </a:lnTo>
                  <a:lnTo>
                    <a:pt x="5833" y="15781"/>
                  </a:lnTo>
                  <a:lnTo>
                    <a:pt x="6227" y="15884"/>
                  </a:lnTo>
                  <a:lnTo>
                    <a:pt x="6621" y="15965"/>
                  </a:lnTo>
                  <a:lnTo>
                    <a:pt x="7015" y="16027"/>
                  </a:lnTo>
                  <a:lnTo>
                    <a:pt x="7410" y="16068"/>
                  </a:lnTo>
                  <a:lnTo>
                    <a:pt x="7804" y="16089"/>
                  </a:lnTo>
                  <a:lnTo>
                    <a:pt x="8196" y="16091"/>
                  </a:lnTo>
                  <a:lnTo>
                    <a:pt x="8588" y="16074"/>
                  </a:lnTo>
                  <a:lnTo>
                    <a:pt x="8976" y="16039"/>
                  </a:lnTo>
                  <a:lnTo>
                    <a:pt x="9360" y="15984"/>
                  </a:lnTo>
                  <a:lnTo>
                    <a:pt x="9742" y="15911"/>
                  </a:lnTo>
                  <a:lnTo>
                    <a:pt x="10118" y="15820"/>
                  </a:lnTo>
                  <a:lnTo>
                    <a:pt x="10488" y="15711"/>
                  </a:lnTo>
                  <a:lnTo>
                    <a:pt x="10853" y="15585"/>
                  </a:lnTo>
                  <a:lnTo>
                    <a:pt x="11211" y="15441"/>
                  </a:lnTo>
                  <a:lnTo>
                    <a:pt x="11563" y="15281"/>
                  </a:lnTo>
                  <a:lnTo>
                    <a:pt x="11906" y="15104"/>
                  </a:lnTo>
                  <a:lnTo>
                    <a:pt x="12241" y="14911"/>
                  </a:lnTo>
                  <a:lnTo>
                    <a:pt x="12566" y="14702"/>
                  </a:lnTo>
                  <a:lnTo>
                    <a:pt x="12882" y="14476"/>
                  </a:lnTo>
                  <a:lnTo>
                    <a:pt x="13187" y="14235"/>
                  </a:lnTo>
                  <a:lnTo>
                    <a:pt x="13481" y="13980"/>
                  </a:lnTo>
                  <a:lnTo>
                    <a:pt x="13763" y="13708"/>
                  </a:lnTo>
                  <a:lnTo>
                    <a:pt x="14033" y="13423"/>
                  </a:lnTo>
                  <a:lnTo>
                    <a:pt x="14289" y="13122"/>
                  </a:lnTo>
                  <a:lnTo>
                    <a:pt x="14532" y="12809"/>
                  </a:lnTo>
                  <a:lnTo>
                    <a:pt x="14760" y="12481"/>
                  </a:lnTo>
                  <a:lnTo>
                    <a:pt x="14972" y="12140"/>
                  </a:lnTo>
                  <a:lnTo>
                    <a:pt x="15170" y="11785"/>
                  </a:lnTo>
                  <a:lnTo>
                    <a:pt x="15351" y="11416"/>
                  </a:lnTo>
                  <a:lnTo>
                    <a:pt x="15515" y="11036"/>
                  </a:lnTo>
                  <a:lnTo>
                    <a:pt x="15658" y="10648"/>
                  </a:lnTo>
                  <a:lnTo>
                    <a:pt x="15781" y="10258"/>
                  </a:lnTo>
                  <a:lnTo>
                    <a:pt x="15884" y="9864"/>
                  </a:lnTo>
                  <a:lnTo>
                    <a:pt x="15965" y="9470"/>
                  </a:lnTo>
                  <a:lnTo>
                    <a:pt x="16027" y="9076"/>
                  </a:lnTo>
                  <a:lnTo>
                    <a:pt x="16068" y="8680"/>
                  </a:lnTo>
                  <a:lnTo>
                    <a:pt x="16089" y="8287"/>
                  </a:lnTo>
                  <a:lnTo>
                    <a:pt x="16092" y="7894"/>
                  </a:lnTo>
                  <a:lnTo>
                    <a:pt x="16075" y="7503"/>
                  </a:lnTo>
                  <a:lnTo>
                    <a:pt x="16039" y="7115"/>
                  </a:lnTo>
                  <a:lnTo>
                    <a:pt x="15984" y="6731"/>
                  </a:lnTo>
                  <a:lnTo>
                    <a:pt x="15911" y="6349"/>
                  </a:lnTo>
                  <a:lnTo>
                    <a:pt x="15820" y="5973"/>
                  </a:lnTo>
                  <a:lnTo>
                    <a:pt x="15711" y="5602"/>
                  </a:lnTo>
                  <a:lnTo>
                    <a:pt x="15585" y="5238"/>
                  </a:lnTo>
                  <a:lnTo>
                    <a:pt x="15441" y="4879"/>
                  </a:lnTo>
                  <a:lnTo>
                    <a:pt x="15281" y="4528"/>
                  </a:lnTo>
                  <a:lnTo>
                    <a:pt x="15104" y="4185"/>
                  </a:lnTo>
                  <a:lnTo>
                    <a:pt x="14911" y="3850"/>
                  </a:lnTo>
                  <a:lnTo>
                    <a:pt x="14701" y="3525"/>
                  </a:lnTo>
                  <a:lnTo>
                    <a:pt x="14476" y="3209"/>
                  </a:lnTo>
                  <a:lnTo>
                    <a:pt x="14235" y="2904"/>
                  </a:lnTo>
                  <a:lnTo>
                    <a:pt x="13980" y="2610"/>
                  </a:lnTo>
                  <a:lnTo>
                    <a:pt x="13708" y="2328"/>
                  </a:lnTo>
                  <a:lnTo>
                    <a:pt x="13422" y="2058"/>
                  </a:lnTo>
                  <a:lnTo>
                    <a:pt x="13122" y="1802"/>
                  </a:lnTo>
                  <a:lnTo>
                    <a:pt x="12809" y="1559"/>
                  </a:lnTo>
                  <a:lnTo>
                    <a:pt x="12481" y="1331"/>
                  </a:lnTo>
                  <a:lnTo>
                    <a:pt x="12139" y="1119"/>
                  </a:lnTo>
                  <a:lnTo>
                    <a:pt x="11785" y="921"/>
                  </a:lnTo>
                  <a:lnTo>
                    <a:pt x="11416" y="740"/>
                  </a:lnTo>
                  <a:lnTo>
                    <a:pt x="11036" y="5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82" name="íṣļîďê">
              <a:extLst>
                <a:ext uri="{FF2B5EF4-FFF2-40B4-BE49-F238E27FC236}">
                  <a16:creationId xmlns:a16="http://schemas.microsoft.com/office/drawing/2014/main" id="{7F4960E2-6190-4221-BCC8-65609103F1E2}"/>
                </a:ext>
              </a:extLst>
            </p:cNvPr>
            <p:cNvSpPr/>
            <p:nvPr/>
          </p:nvSpPr>
          <p:spPr bwMode="auto">
            <a:xfrm>
              <a:off x="6095882" y="2747532"/>
              <a:ext cx="46321" cy="46321"/>
            </a:xfrm>
            <a:custGeom>
              <a:avLst/>
              <a:gdLst>
                <a:gd name="T0" fmla="*/ 728 w 2011"/>
                <a:gd name="T1" fmla="*/ 1425 h 2011"/>
                <a:gd name="T2" fmla="*/ 634 w 2011"/>
                <a:gd name="T3" fmla="*/ 1346 h 2011"/>
                <a:gd name="T4" fmla="*/ 565 w 2011"/>
                <a:gd name="T5" fmla="*/ 1247 h 2011"/>
                <a:gd name="T6" fmla="*/ 520 w 2011"/>
                <a:gd name="T7" fmla="*/ 1135 h 2011"/>
                <a:gd name="T8" fmla="*/ 503 w 2011"/>
                <a:gd name="T9" fmla="*/ 1015 h 2011"/>
                <a:gd name="T10" fmla="*/ 516 w 2011"/>
                <a:gd name="T11" fmla="*/ 892 h 2011"/>
                <a:gd name="T12" fmla="*/ 560 w 2011"/>
                <a:gd name="T13" fmla="*/ 771 h 2011"/>
                <a:gd name="T14" fmla="*/ 631 w 2011"/>
                <a:gd name="T15" fmla="*/ 670 h 2011"/>
                <a:gd name="T16" fmla="*/ 723 w 2011"/>
                <a:gd name="T17" fmla="*/ 590 h 2011"/>
                <a:gd name="T18" fmla="*/ 830 w 2011"/>
                <a:gd name="T19" fmla="*/ 535 h 2011"/>
                <a:gd name="T20" fmla="*/ 947 w 2011"/>
                <a:gd name="T21" fmla="*/ 507 h 2011"/>
                <a:gd name="T22" fmla="*/ 1070 w 2011"/>
                <a:gd name="T23" fmla="*/ 507 h 2011"/>
                <a:gd name="T24" fmla="*/ 1193 w 2011"/>
                <a:gd name="T25" fmla="*/ 539 h 2011"/>
                <a:gd name="T26" fmla="*/ 1303 w 2011"/>
                <a:gd name="T27" fmla="*/ 600 h 2011"/>
                <a:gd name="T28" fmla="*/ 1392 w 2011"/>
                <a:gd name="T29" fmla="*/ 685 h 2011"/>
                <a:gd name="T30" fmla="*/ 1457 w 2011"/>
                <a:gd name="T31" fmla="*/ 786 h 2011"/>
                <a:gd name="T32" fmla="*/ 1496 w 2011"/>
                <a:gd name="T33" fmla="*/ 900 h 2011"/>
                <a:gd name="T34" fmla="*/ 1507 w 2011"/>
                <a:gd name="T35" fmla="*/ 1021 h 2011"/>
                <a:gd name="T36" fmla="*/ 1488 w 2011"/>
                <a:gd name="T37" fmla="*/ 1143 h 2011"/>
                <a:gd name="T38" fmla="*/ 1438 w 2011"/>
                <a:gd name="T39" fmla="*/ 1261 h 2011"/>
                <a:gd name="T40" fmla="*/ 1363 w 2011"/>
                <a:gd name="T41" fmla="*/ 1360 h 2011"/>
                <a:gd name="T42" fmla="*/ 1267 w 2011"/>
                <a:gd name="T43" fmla="*/ 1434 h 2011"/>
                <a:gd name="T44" fmla="*/ 1158 w 2011"/>
                <a:gd name="T45" fmla="*/ 1484 h 2011"/>
                <a:gd name="T46" fmla="*/ 1039 w 2011"/>
                <a:gd name="T47" fmla="*/ 1507 h 2011"/>
                <a:gd name="T48" fmla="*/ 916 w 2011"/>
                <a:gd name="T49" fmla="*/ 1500 h 2011"/>
                <a:gd name="T50" fmla="*/ 1380 w 2011"/>
                <a:gd name="T51" fmla="*/ 72 h 2011"/>
                <a:gd name="T52" fmla="*/ 1134 w 2011"/>
                <a:gd name="T53" fmla="*/ 8 h 2011"/>
                <a:gd name="T54" fmla="*/ 890 w 2011"/>
                <a:gd name="T55" fmla="*/ 7 h 2011"/>
                <a:gd name="T56" fmla="*/ 654 w 2011"/>
                <a:gd name="T57" fmla="*/ 63 h 2011"/>
                <a:gd name="T58" fmla="*/ 440 w 2011"/>
                <a:gd name="T59" fmla="*/ 174 h 2011"/>
                <a:gd name="T60" fmla="*/ 257 w 2011"/>
                <a:gd name="T61" fmla="*/ 334 h 2011"/>
                <a:gd name="T62" fmla="*/ 115 w 2011"/>
                <a:gd name="T63" fmla="*/ 538 h 2011"/>
                <a:gd name="T64" fmla="*/ 26 w 2011"/>
                <a:gd name="T65" fmla="*/ 778 h 2011"/>
                <a:gd name="T66" fmla="*/ 0 w 2011"/>
                <a:gd name="T67" fmla="*/ 1025 h 2011"/>
                <a:gd name="T68" fmla="*/ 34 w 2011"/>
                <a:gd name="T69" fmla="*/ 1265 h 2011"/>
                <a:gd name="T70" fmla="*/ 123 w 2011"/>
                <a:gd name="T71" fmla="*/ 1488 h 2011"/>
                <a:gd name="T72" fmla="*/ 264 w 2011"/>
                <a:gd name="T73" fmla="*/ 1686 h 2011"/>
                <a:gd name="T74" fmla="*/ 451 w 2011"/>
                <a:gd name="T75" fmla="*/ 1844 h 2011"/>
                <a:gd name="T76" fmla="*/ 680 w 2011"/>
                <a:gd name="T77" fmla="*/ 1957 h 2011"/>
                <a:gd name="T78" fmla="*/ 926 w 2011"/>
                <a:gd name="T79" fmla="*/ 2008 h 2011"/>
                <a:gd name="T80" fmla="*/ 1169 w 2011"/>
                <a:gd name="T81" fmla="*/ 1997 h 2011"/>
                <a:gd name="T82" fmla="*/ 1401 w 2011"/>
                <a:gd name="T83" fmla="*/ 1930 h 2011"/>
                <a:gd name="T84" fmla="*/ 1610 w 2011"/>
                <a:gd name="T85" fmla="*/ 1809 h 2011"/>
                <a:gd name="T86" fmla="*/ 1786 w 2011"/>
                <a:gd name="T87" fmla="*/ 1640 h 2011"/>
                <a:gd name="T88" fmla="*/ 1919 w 2011"/>
                <a:gd name="T89" fmla="*/ 1427 h 2011"/>
                <a:gd name="T90" fmla="*/ 1995 w 2011"/>
                <a:gd name="T91" fmla="*/ 1184 h 2011"/>
                <a:gd name="T92" fmla="*/ 2009 w 2011"/>
                <a:gd name="T93" fmla="*/ 938 h 2011"/>
                <a:gd name="T94" fmla="*/ 1964 w 2011"/>
                <a:gd name="T95" fmla="*/ 701 h 2011"/>
                <a:gd name="T96" fmla="*/ 1864 w 2011"/>
                <a:gd name="T97" fmla="*/ 481 h 2011"/>
                <a:gd name="T98" fmla="*/ 1714 w 2011"/>
                <a:gd name="T99" fmla="*/ 291 h 2011"/>
                <a:gd name="T100" fmla="*/ 1518 w 2011"/>
                <a:gd name="T101" fmla="*/ 139 h 20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011" h="2011">
                  <a:moveTo>
                    <a:pt x="818" y="1472"/>
                  </a:moveTo>
                  <a:lnTo>
                    <a:pt x="794" y="1462"/>
                  </a:lnTo>
                  <a:lnTo>
                    <a:pt x="772" y="1451"/>
                  </a:lnTo>
                  <a:lnTo>
                    <a:pt x="750" y="1438"/>
                  </a:lnTo>
                  <a:lnTo>
                    <a:pt x="728" y="1425"/>
                  </a:lnTo>
                  <a:lnTo>
                    <a:pt x="708" y="1411"/>
                  </a:lnTo>
                  <a:lnTo>
                    <a:pt x="689" y="1396"/>
                  </a:lnTo>
                  <a:lnTo>
                    <a:pt x="670" y="1380"/>
                  </a:lnTo>
                  <a:lnTo>
                    <a:pt x="651" y="1363"/>
                  </a:lnTo>
                  <a:lnTo>
                    <a:pt x="634" y="1346"/>
                  </a:lnTo>
                  <a:lnTo>
                    <a:pt x="619" y="1326"/>
                  </a:lnTo>
                  <a:lnTo>
                    <a:pt x="604" y="1307"/>
                  </a:lnTo>
                  <a:lnTo>
                    <a:pt x="590" y="1288"/>
                  </a:lnTo>
                  <a:lnTo>
                    <a:pt x="577" y="1268"/>
                  </a:lnTo>
                  <a:lnTo>
                    <a:pt x="565" y="1247"/>
                  </a:lnTo>
                  <a:lnTo>
                    <a:pt x="554" y="1225"/>
                  </a:lnTo>
                  <a:lnTo>
                    <a:pt x="544" y="1204"/>
                  </a:lnTo>
                  <a:lnTo>
                    <a:pt x="535" y="1181"/>
                  </a:lnTo>
                  <a:lnTo>
                    <a:pt x="527" y="1158"/>
                  </a:lnTo>
                  <a:lnTo>
                    <a:pt x="520" y="1135"/>
                  </a:lnTo>
                  <a:lnTo>
                    <a:pt x="514" y="1111"/>
                  </a:lnTo>
                  <a:lnTo>
                    <a:pt x="510" y="1087"/>
                  </a:lnTo>
                  <a:lnTo>
                    <a:pt x="507" y="1064"/>
                  </a:lnTo>
                  <a:lnTo>
                    <a:pt x="504" y="1039"/>
                  </a:lnTo>
                  <a:lnTo>
                    <a:pt x="503" y="1015"/>
                  </a:lnTo>
                  <a:lnTo>
                    <a:pt x="503" y="990"/>
                  </a:lnTo>
                  <a:lnTo>
                    <a:pt x="505" y="965"/>
                  </a:lnTo>
                  <a:lnTo>
                    <a:pt x="507" y="941"/>
                  </a:lnTo>
                  <a:lnTo>
                    <a:pt x="511" y="916"/>
                  </a:lnTo>
                  <a:lnTo>
                    <a:pt x="516" y="892"/>
                  </a:lnTo>
                  <a:lnTo>
                    <a:pt x="522" y="867"/>
                  </a:lnTo>
                  <a:lnTo>
                    <a:pt x="530" y="843"/>
                  </a:lnTo>
                  <a:lnTo>
                    <a:pt x="539" y="818"/>
                  </a:lnTo>
                  <a:lnTo>
                    <a:pt x="549" y="794"/>
                  </a:lnTo>
                  <a:lnTo>
                    <a:pt x="560" y="771"/>
                  </a:lnTo>
                  <a:lnTo>
                    <a:pt x="572" y="749"/>
                  </a:lnTo>
                  <a:lnTo>
                    <a:pt x="586" y="728"/>
                  </a:lnTo>
                  <a:lnTo>
                    <a:pt x="600" y="708"/>
                  </a:lnTo>
                  <a:lnTo>
                    <a:pt x="615" y="689"/>
                  </a:lnTo>
                  <a:lnTo>
                    <a:pt x="631" y="670"/>
                  </a:lnTo>
                  <a:lnTo>
                    <a:pt x="648" y="651"/>
                  </a:lnTo>
                  <a:lnTo>
                    <a:pt x="665" y="634"/>
                  </a:lnTo>
                  <a:lnTo>
                    <a:pt x="685" y="619"/>
                  </a:lnTo>
                  <a:lnTo>
                    <a:pt x="703" y="604"/>
                  </a:lnTo>
                  <a:lnTo>
                    <a:pt x="723" y="590"/>
                  </a:lnTo>
                  <a:lnTo>
                    <a:pt x="743" y="577"/>
                  </a:lnTo>
                  <a:lnTo>
                    <a:pt x="764" y="565"/>
                  </a:lnTo>
                  <a:lnTo>
                    <a:pt x="786" y="554"/>
                  </a:lnTo>
                  <a:lnTo>
                    <a:pt x="807" y="544"/>
                  </a:lnTo>
                  <a:lnTo>
                    <a:pt x="830" y="535"/>
                  </a:lnTo>
                  <a:lnTo>
                    <a:pt x="853" y="527"/>
                  </a:lnTo>
                  <a:lnTo>
                    <a:pt x="876" y="520"/>
                  </a:lnTo>
                  <a:lnTo>
                    <a:pt x="900" y="515"/>
                  </a:lnTo>
                  <a:lnTo>
                    <a:pt x="923" y="510"/>
                  </a:lnTo>
                  <a:lnTo>
                    <a:pt x="947" y="507"/>
                  </a:lnTo>
                  <a:lnTo>
                    <a:pt x="972" y="504"/>
                  </a:lnTo>
                  <a:lnTo>
                    <a:pt x="996" y="503"/>
                  </a:lnTo>
                  <a:lnTo>
                    <a:pt x="1021" y="503"/>
                  </a:lnTo>
                  <a:lnTo>
                    <a:pt x="1046" y="505"/>
                  </a:lnTo>
                  <a:lnTo>
                    <a:pt x="1070" y="507"/>
                  </a:lnTo>
                  <a:lnTo>
                    <a:pt x="1095" y="511"/>
                  </a:lnTo>
                  <a:lnTo>
                    <a:pt x="1119" y="516"/>
                  </a:lnTo>
                  <a:lnTo>
                    <a:pt x="1144" y="522"/>
                  </a:lnTo>
                  <a:lnTo>
                    <a:pt x="1168" y="530"/>
                  </a:lnTo>
                  <a:lnTo>
                    <a:pt x="1193" y="539"/>
                  </a:lnTo>
                  <a:lnTo>
                    <a:pt x="1217" y="549"/>
                  </a:lnTo>
                  <a:lnTo>
                    <a:pt x="1239" y="560"/>
                  </a:lnTo>
                  <a:lnTo>
                    <a:pt x="1261" y="573"/>
                  </a:lnTo>
                  <a:lnTo>
                    <a:pt x="1282" y="586"/>
                  </a:lnTo>
                  <a:lnTo>
                    <a:pt x="1303" y="600"/>
                  </a:lnTo>
                  <a:lnTo>
                    <a:pt x="1322" y="615"/>
                  </a:lnTo>
                  <a:lnTo>
                    <a:pt x="1341" y="631"/>
                  </a:lnTo>
                  <a:lnTo>
                    <a:pt x="1360" y="648"/>
                  </a:lnTo>
                  <a:lnTo>
                    <a:pt x="1376" y="665"/>
                  </a:lnTo>
                  <a:lnTo>
                    <a:pt x="1392" y="685"/>
                  </a:lnTo>
                  <a:lnTo>
                    <a:pt x="1407" y="704"/>
                  </a:lnTo>
                  <a:lnTo>
                    <a:pt x="1421" y="723"/>
                  </a:lnTo>
                  <a:lnTo>
                    <a:pt x="1434" y="743"/>
                  </a:lnTo>
                  <a:lnTo>
                    <a:pt x="1446" y="764"/>
                  </a:lnTo>
                  <a:lnTo>
                    <a:pt x="1457" y="786"/>
                  </a:lnTo>
                  <a:lnTo>
                    <a:pt x="1467" y="807"/>
                  </a:lnTo>
                  <a:lnTo>
                    <a:pt x="1476" y="830"/>
                  </a:lnTo>
                  <a:lnTo>
                    <a:pt x="1484" y="853"/>
                  </a:lnTo>
                  <a:lnTo>
                    <a:pt x="1491" y="876"/>
                  </a:lnTo>
                  <a:lnTo>
                    <a:pt x="1496" y="900"/>
                  </a:lnTo>
                  <a:lnTo>
                    <a:pt x="1501" y="923"/>
                  </a:lnTo>
                  <a:lnTo>
                    <a:pt x="1504" y="947"/>
                  </a:lnTo>
                  <a:lnTo>
                    <a:pt x="1506" y="971"/>
                  </a:lnTo>
                  <a:lnTo>
                    <a:pt x="1508" y="996"/>
                  </a:lnTo>
                  <a:lnTo>
                    <a:pt x="1507" y="1021"/>
                  </a:lnTo>
                  <a:lnTo>
                    <a:pt x="1506" y="1046"/>
                  </a:lnTo>
                  <a:lnTo>
                    <a:pt x="1504" y="1070"/>
                  </a:lnTo>
                  <a:lnTo>
                    <a:pt x="1500" y="1095"/>
                  </a:lnTo>
                  <a:lnTo>
                    <a:pt x="1495" y="1119"/>
                  </a:lnTo>
                  <a:lnTo>
                    <a:pt x="1488" y="1143"/>
                  </a:lnTo>
                  <a:lnTo>
                    <a:pt x="1481" y="1168"/>
                  </a:lnTo>
                  <a:lnTo>
                    <a:pt x="1472" y="1193"/>
                  </a:lnTo>
                  <a:lnTo>
                    <a:pt x="1462" y="1216"/>
                  </a:lnTo>
                  <a:lnTo>
                    <a:pt x="1451" y="1239"/>
                  </a:lnTo>
                  <a:lnTo>
                    <a:pt x="1438" y="1261"/>
                  </a:lnTo>
                  <a:lnTo>
                    <a:pt x="1425" y="1282"/>
                  </a:lnTo>
                  <a:lnTo>
                    <a:pt x="1411" y="1303"/>
                  </a:lnTo>
                  <a:lnTo>
                    <a:pt x="1396" y="1322"/>
                  </a:lnTo>
                  <a:lnTo>
                    <a:pt x="1380" y="1341"/>
                  </a:lnTo>
                  <a:lnTo>
                    <a:pt x="1363" y="1360"/>
                  </a:lnTo>
                  <a:lnTo>
                    <a:pt x="1346" y="1376"/>
                  </a:lnTo>
                  <a:lnTo>
                    <a:pt x="1326" y="1392"/>
                  </a:lnTo>
                  <a:lnTo>
                    <a:pt x="1307" y="1407"/>
                  </a:lnTo>
                  <a:lnTo>
                    <a:pt x="1288" y="1421"/>
                  </a:lnTo>
                  <a:lnTo>
                    <a:pt x="1267" y="1434"/>
                  </a:lnTo>
                  <a:lnTo>
                    <a:pt x="1247" y="1446"/>
                  </a:lnTo>
                  <a:lnTo>
                    <a:pt x="1225" y="1457"/>
                  </a:lnTo>
                  <a:lnTo>
                    <a:pt x="1204" y="1467"/>
                  </a:lnTo>
                  <a:lnTo>
                    <a:pt x="1181" y="1476"/>
                  </a:lnTo>
                  <a:lnTo>
                    <a:pt x="1158" y="1484"/>
                  </a:lnTo>
                  <a:lnTo>
                    <a:pt x="1134" y="1491"/>
                  </a:lnTo>
                  <a:lnTo>
                    <a:pt x="1111" y="1496"/>
                  </a:lnTo>
                  <a:lnTo>
                    <a:pt x="1087" y="1501"/>
                  </a:lnTo>
                  <a:lnTo>
                    <a:pt x="1063" y="1504"/>
                  </a:lnTo>
                  <a:lnTo>
                    <a:pt x="1039" y="1507"/>
                  </a:lnTo>
                  <a:lnTo>
                    <a:pt x="1015" y="1508"/>
                  </a:lnTo>
                  <a:lnTo>
                    <a:pt x="990" y="1508"/>
                  </a:lnTo>
                  <a:lnTo>
                    <a:pt x="965" y="1506"/>
                  </a:lnTo>
                  <a:lnTo>
                    <a:pt x="941" y="1504"/>
                  </a:lnTo>
                  <a:lnTo>
                    <a:pt x="916" y="1500"/>
                  </a:lnTo>
                  <a:lnTo>
                    <a:pt x="892" y="1495"/>
                  </a:lnTo>
                  <a:lnTo>
                    <a:pt x="867" y="1489"/>
                  </a:lnTo>
                  <a:lnTo>
                    <a:pt x="843" y="1481"/>
                  </a:lnTo>
                  <a:lnTo>
                    <a:pt x="818" y="1472"/>
                  </a:lnTo>
                  <a:close/>
                  <a:moveTo>
                    <a:pt x="1380" y="72"/>
                  </a:moveTo>
                  <a:lnTo>
                    <a:pt x="1331" y="54"/>
                  </a:lnTo>
                  <a:lnTo>
                    <a:pt x="1282" y="39"/>
                  </a:lnTo>
                  <a:lnTo>
                    <a:pt x="1233" y="26"/>
                  </a:lnTo>
                  <a:lnTo>
                    <a:pt x="1184" y="16"/>
                  </a:lnTo>
                  <a:lnTo>
                    <a:pt x="1134" y="8"/>
                  </a:lnTo>
                  <a:lnTo>
                    <a:pt x="1085" y="3"/>
                  </a:lnTo>
                  <a:lnTo>
                    <a:pt x="1036" y="1"/>
                  </a:lnTo>
                  <a:lnTo>
                    <a:pt x="987" y="0"/>
                  </a:lnTo>
                  <a:lnTo>
                    <a:pt x="938" y="2"/>
                  </a:lnTo>
                  <a:lnTo>
                    <a:pt x="890" y="7"/>
                  </a:lnTo>
                  <a:lnTo>
                    <a:pt x="842" y="14"/>
                  </a:lnTo>
                  <a:lnTo>
                    <a:pt x="794" y="23"/>
                  </a:lnTo>
                  <a:lnTo>
                    <a:pt x="747" y="34"/>
                  </a:lnTo>
                  <a:lnTo>
                    <a:pt x="701" y="48"/>
                  </a:lnTo>
                  <a:lnTo>
                    <a:pt x="654" y="63"/>
                  </a:lnTo>
                  <a:lnTo>
                    <a:pt x="610" y="81"/>
                  </a:lnTo>
                  <a:lnTo>
                    <a:pt x="566" y="101"/>
                  </a:lnTo>
                  <a:lnTo>
                    <a:pt x="524" y="123"/>
                  </a:lnTo>
                  <a:lnTo>
                    <a:pt x="481" y="147"/>
                  </a:lnTo>
                  <a:lnTo>
                    <a:pt x="440" y="174"/>
                  </a:lnTo>
                  <a:lnTo>
                    <a:pt x="401" y="202"/>
                  </a:lnTo>
                  <a:lnTo>
                    <a:pt x="363" y="232"/>
                  </a:lnTo>
                  <a:lnTo>
                    <a:pt x="326" y="264"/>
                  </a:lnTo>
                  <a:lnTo>
                    <a:pt x="291" y="297"/>
                  </a:lnTo>
                  <a:lnTo>
                    <a:pt x="257" y="334"/>
                  </a:lnTo>
                  <a:lnTo>
                    <a:pt x="225" y="371"/>
                  </a:lnTo>
                  <a:lnTo>
                    <a:pt x="195" y="410"/>
                  </a:lnTo>
                  <a:lnTo>
                    <a:pt x="167" y="451"/>
                  </a:lnTo>
                  <a:lnTo>
                    <a:pt x="139" y="493"/>
                  </a:lnTo>
                  <a:lnTo>
                    <a:pt x="115" y="538"/>
                  </a:lnTo>
                  <a:lnTo>
                    <a:pt x="93" y="584"/>
                  </a:lnTo>
                  <a:lnTo>
                    <a:pt x="72" y="631"/>
                  </a:lnTo>
                  <a:lnTo>
                    <a:pt x="54" y="681"/>
                  </a:lnTo>
                  <a:lnTo>
                    <a:pt x="39" y="729"/>
                  </a:lnTo>
                  <a:lnTo>
                    <a:pt x="26" y="778"/>
                  </a:lnTo>
                  <a:lnTo>
                    <a:pt x="16" y="827"/>
                  </a:lnTo>
                  <a:lnTo>
                    <a:pt x="8" y="877"/>
                  </a:lnTo>
                  <a:lnTo>
                    <a:pt x="3" y="926"/>
                  </a:lnTo>
                  <a:lnTo>
                    <a:pt x="1" y="975"/>
                  </a:lnTo>
                  <a:lnTo>
                    <a:pt x="0" y="1025"/>
                  </a:lnTo>
                  <a:lnTo>
                    <a:pt x="3" y="1074"/>
                  </a:lnTo>
                  <a:lnTo>
                    <a:pt x="7" y="1122"/>
                  </a:lnTo>
                  <a:lnTo>
                    <a:pt x="14" y="1170"/>
                  </a:lnTo>
                  <a:lnTo>
                    <a:pt x="23" y="1218"/>
                  </a:lnTo>
                  <a:lnTo>
                    <a:pt x="34" y="1265"/>
                  </a:lnTo>
                  <a:lnTo>
                    <a:pt x="48" y="1311"/>
                  </a:lnTo>
                  <a:lnTo>
                    <a:pt x="63" y="1357"/>
                  </a:lnTo>
                  <a:lnTo>
                    <a:pt x="81" y="1402"/>
                  </a:lnTo>
                  <a:lnTo>
                    <a:pt x="101" y="1445"/>
                  </a:lnTo>
                  <a:lnTo>
                    <a:pt x="123" y="1488"/>
                  </a:lnTo>
                  <a:lnTo>
                    <a:pt x="147" y="1531"/>
                  </a:lnTo>
                  <a:lnTo>
                    <a:pt x="174" y="1571"/>
                  </a:lnTo>
                  <a:lnTo>
                    <a:pt x="202" y="1610"/>
                  </a:lnTo>
                  <a:lnTo>
                    <a:pt x="232" y="1648"/>
                  </a:lnTo>
                  <a:lnTo>
                    <a:pt x="264" y="1686"/>
                  </a:lnTo>
                  <a:lnTo>
                    <a:pt x="297" y="1721"/>
                  </a:lnTo>
                  <a:lnTo>
                    <a:pt x="334" y="1754"/>
                  </a:lnTo>
                  <a:lnTo>
                    <a:pt x="371" y="1786"/>
                  </a:lnTo>
                  <a:lnTo>
                    <a:pt x="410" y="1816"/>
                  </a:lnTo>
                  <a:lnTo>
                    <a:pt x="451" y="1844"/>
                  </a:lnTo>
                  <a:lnTo>
                    <a:pt x="493" y="1872"/>
                  </a:lnTo>
                  <a:lnTo>
                    <a:pt x="538" y="1896"/>
                  </a:lnTo>
                  <a:lnTo>
                    <a:pt x="584" y="1919"/>
                  </a:lnTo>
                  <a:lnTo>
                    <a:pt x="631" y="1939"/>
                  </a:lnTo>
                  <a:lnTo>
                    <a:pt x="680" y="1957"/>
                  </a:lnTo>
                  <a:lnTo>
                    <a:pt x="729" y="1972"/>
                  </a:lnTo>
                  <a:lnTo>
                    <a:pt x="778" y="1985"/>
                  </a:lnTo>
                  <a:lnTo>
                    <a:pt x="827" y="1995"/>
                  </a:lnTo>
                  <a:lnTo>
                    <a:pt x="877" y="2003"/>
                  </a:lnTo>
                  <a:lnTo>
                    <a:pt x="926" y="2008"/>
                  </a:lnTo>
                  <a:lnTo>
                    <a:pt x="975" y="2011"/>
                  </a:lnTo>
                  <a:lnTo>
                    <a:pt x="1025" y="2011"/>
                  </a:lnTo>
                  <a:lnTo>
                    <a:pt x="1073" y="2009"/>
                  </a:lnTo>
                  <a:lnTo>
                    <a:pt x="1122" y="2004"/>
                  </a:lnTo>
                  <a:lnTo>
                    <a:pt x="1169" y="1997"/>
                  </a:lnTo>
                  <a:lnTo>
                    <a:pt x="1218" y="1988"/>
                  </a:lnTo>
                  <a:lnTo>
                    <a:pt x="1264" y="1977"/>
                  </a:lnTo>
                  <a:lnTo>
                    <a:pt x="1311" y="1964"/>
                  </a:lnTo>
                  <a:lnTo>
                    <a:pt x="1357" y="1948"/>
                  </a:lnTo>
                  <a:lnTo>
                    <a:pt x="1401" y="1930"/>
                  </a:lnTo>
                  <a:lnTo>
                    <a:pt x="1445" y="1910"/>
                  </a:lnTo>
                  <a:lnTo>
                    <a:pt x="1488" y="1888"/>
                  </a:lnTo>
                  <a:lnTo>
                    <a:pt x="1530" y="1864"/>
                  </a:lnTo>
                  <a:lnTo>
                    <a:pt x="1571" y="1837"/>
                  </a:lnTo>
                  <a:lnTo>
                    <a:pt x="1610" y="1809"/>
                  </a:lnTo>
                  <a:lnTo>
                    <a:pt x="1648" y="1779"/>
                  </a:lnTo>
                  <a:lnTo>
                    <a:pt x="1685" y="1747"/>
                  </a:lnTo>
                  <a:lnTo>
                    <a:pt x="1721" y="1714"/>
                  </a:lnTo>
                  <a:lnTo>
                    <a:pt x="1754" y="1677"/>
                  </a:lnTo>
                  <a:lnTo>
                    <a:pt x="1786" y="1640"/>
                  </a:lnTo>
                  <a:lnTo>
                    <a:pt x="1816" y="1601"/>
                  </a:lnTo>
                  <a:lnTo>
                    <a:pt x="1844" y="1560"/>
                  </a:lnTo>
                  <a:lnTo>
                    <a:pt x="1872" y="1518"/>
                  </a:lnTo>
                  <a:lnTo>
                    <a:pt x="1896" y="1473"/>
                  </a:lnTo>
                  <a:lnTo>
                    <a:pt x="1919" y="1427"/>
                  </a:lnTo>
                  <a:lnTo>
                    <a:pt x="1939" y="1380"/>
                  </a:lnTo>
                  <a:lnTo>
                    <a:pt x="1957" y="1330"/>
                  </a:lnTo>
                  <a:lnTo>
                    <a:pt x="1972" y="1282"/>
                  </a:lnTo>
                  <a:lnTo>
                    <a:pt x="1985" y="1233"/>
                  </a:lnTo>
                  <a:lnTo>
                    <a:pt x="1995" y="1184"/>
                  </a:lnTo>
                  <a:lnTo>
                    <a:pt x="2003" y="1134"/>
                  </a:lnTo>
                  <a:lnTo>
                    <a:pt x="2008" y="1085"/>
                  </a:lnTo>
                  <a:lnTo>
                    <a:pt x="2011" y="1036"/>
                  </a:lnTo>
                  <a:lnTo>
                    <a:pt x="2011" y="986"/>
                  </a:lnTo>
                  <a:lnTo>
                    <a:pt x="2009" y="938"/>
                  </a:lnTo>
                  <a:lnTo>
                    <a:pt x="2004" y="890"/>
                  </a:lnTo>
                  <a:lnTo>
                    <a:pt x="1998" y="842"/>
                  </a:lnTo>
                  <a:lnTo>
                    <a:pt x="1988" y="794"/>
                  </a:lnTo>
                  <a:lnTo>
                    <a:pt x="1977" y="747"/>
                  </a:lnTo>
                  <a:lnTo>
                    <a:pt x="1964" y="701"/>
                  </a:lnTo>
                  <a:lnTo>
                    <a:pt x="1948" y="654"/>
                  </a:lnTo>
                  <a:lnTo>
                    <a:pt x="1930" y="610"/>
                  </a:lnTo>
                  <a:lnTo>
                    <a:pt x="1910" y="566"/>
                  </a:lnTo>
                  <a:lnTo>
                    <a:pt x="1888" y="523"/>
                  </a:lnTo>
                  <a:lnTo>
                    <a:pt x="1864" y="481"/>
                  </a:lnTo>
                  <a:lnTo>
                    <a:pt x="1837" y="441"/>
                  </a:lnTo>
                  <a:lnTo>
                    <a:pt x="1809" y="401"/>
                  </a:lnTo>
                  <a:lnTo>
                    <a:pt x="1780" y="363"/>
                  </a:lnTo>
                  <a:lnTo>
                    <a:pt x="1748" y="326"/>
                  </a:lnTo>
                  <a:lnTo>
                    <a:pt x="1714" y="291"/>
                  </a:lnTo>
                  <a:lnTo>
                    <a:pt x="1678" y="257"/>
                  </a:lnTo>
                  <a:lnTo>
                    <a:pt x="1640" y="225"/>
                  </a:lnTo>
                  <a:lnTo>
                    <a:pt x="1601" y="195"/>
                  </a:lnTo>
                  <a:lnTo>
                    <a:pt x="1561" y="167"/>
                  </a:lnTo>
                  <a:lnTo>
                    <a:pt x="1518" y="139"/>
                  </a:lnTo>
                  <a:lnTo>
                    <a:pt x="1473" y="115"/>
                  </a:lnTo>
                  <a:lnTo>
                    <a:pt x="1427" y="92"/>
                  </a:lnTo>
                  <a:lnTo>
                    <a:pt x="1380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83" name="íSľiďe">
              <a:extLst>
                <a:ext uri="{FF2B5EF4-FFF2-40B4-BE49-F238E27FC236}">
                  <a16:creationId xmlns:a16="http://schemas.microsoft.com/office/drawing/2014/main" id="{9C9CA307-7DEE-4265-96D7-4C21E55353E7}"/>
                </a:ext>
              </a:extLst>
            </p:cNvPr>
            <p:cNvSpPr/>
            <p:nvPr/>
          </p:nvSpPr>
          <p:spPr bwMode="auto">
            <a:xfrm>
              <a:off x="6050403" y="2702053"/>
              <a:ext cx="137279" cy="137279"/>
            </a:xfrm>
            <a:custGeom>
              <a:avLst/>
              <a:gdLst>
                <a:gd name="T0" fmla="*/ 1909 w 6034"/>
                <a:gd name="T1" fmla="*/ 4695 h 6033"/>
                <a:gd name="T2" fmla="*/ 1534 w 6034"/>
                <a:gd name="T3" fmla="*/ 4376 h 6033"/>
                <a:gd name="T4" fmla="*/ 1253 w 6034"/>
                <a:gd name="T5" fmla="*/ 3981 h 6033"/>
                <a:gd name="T6" fmla="*/ 1074 w 6034"/>
                <a:gd name="T7" fmla="*/ 3534 h 6033"/>
                <a:gd name="T8" fmla="*/ 1006 w 6034"/>
                <a:gd name="T9" fmla="*/ 3054 h 6033"/>
                <a:gd name="T10" fmla="*/ 1057 w 6034"/>
                <a:gd name="T11" fmla="*/ 2561 h 6033"/>
                <a:gd name="T12" fmla="*/ 1235 w 6034"/>
                <a:gd name="T13" fmla="*/ 2082 h 6033"/>
                <a:gd name="T14" fmla="*/ 1520 w 6034"/>
                <a:gd name="T15" fmla="*/ 1673 h 6033"/>
                <a:gd name="T16" fmla="*/ 1886 w 6034"/>
                <a:gd name="T17" fmla="*/ 1354 h 6033"/>
                <a:gd name="T18" fmla="*/ 2314 w 6034"/>
                <a:gd name="T19" fmla="*/ 1132 h 6033"/>
                <a:gd name="T20" fmla="*/ 2784 w 6034"/>
                <a:gd name="T21" fmla="*/ 1019 h 6033"/>
                <a:gd name="T22" fmla="*/ 3274 w 6034"/>
                <a:gd name="T23" fmla="*/ 1022 h 6033"/>
                <a:gd name="T24" fmla="*/ 3764 w 6034"/>
                <a:gd name="T25" fmla="*/ 1148 h 6033"/>
                <a:gd name="T26" fmla="*/ 4207 w 6034"/>
                <a:gd name="T27" fmla="*/ 1395 h 6033"/>
                <a:gd name="T28" fmla="*/ 4563 w 6034"/>
                <a:gd name="T29" fmla="*/ 1731 h 6033"/>
                <a:gd name="T30" fmla="*/ 4824 w 6034"/>
                <a:gd name="T31" fmla="*/ 2137 h 6033"/>
                <a:gd name="T32" fmla="*/ 4982 w 6034"/>
                <a:gd name="T33" fmla="*/ 2593 h 6033"/>
                <a:gd name="T34" fmla="*/ 5027 w 6034"/>
                <a:gd name="T35" fmla="*/ 3078 h 6033"/>
                <a:gd name="T36" fmla="*/ 4951 w 6034"/>
                <a:gd name="T37" fmla="*/ 3570 h 6033"/>
                <a:gd name="T38" fmla="*/ 4749 w 6034"/>
                <a:gd name="T39" fmla="*/ 4040 h 6033"/>
                <a:gd name="T40" fmla="*/ 4446 w 6034"/>
                <a:gd name="T41" fmla="*/ 4431 h 6033"/>
                <a:gd name="T42" fmla="*/ 4066 w 6034"/>
                <a:gd name="T43" fmla="*/ 4732 h 6033"/>
                <a:gd name="T44" fmla="*/ 3627 w 6034"/>
                <a:gd name="T45" fmla="*/ 4932 h 6033"/>
                <a:gd name="T46" fmla="*/ 3151 w 6034"/>
                <a:gd name="T47" fmla="*/ 5023 h 6033"/>
                <a:gd name="T48" fmla="*/ 2660 w 6034"/>
                <a:gd name="T49" fmla="*/ 4996 h 6033"/>
                <a:gd name="T50" fmla="*/ 4138 w 6034"/>
                <a:gd name="T51" fmla="*/ 216 h 6033"/>
                <a:gd name="T52" fmla="*/ 3403 w 6034"/>
                <a:gd name="T53" fmla="*/ 24 h 6033"/>
                <a:gd name="T54" fmla="*/ 2667 w 6034"/>
                <a:gd name="T55" fmla="*/ 19 h 6033"/>
                <a:gd name="T56" fmla="*/ 1963 w 6034"/>
                <a:gd name="T57" fmla="*/ 190 h 6033"/>
                <a:gd name="T58" fmla="*/ 1321 w 6034"/>
                <a:gd name="T59" fmla="*/ 521 h 6033"/>
                <a:gd name="T60" fmla="*/ 771 w 6034"/>
                <a:gd name="T61" fmla="*/ 1001 h 6033"/>
                <a:gd name="T62" fmla="*/ 346 w 6034"/>
                <a:gd name="T63" fmla="*/ 1614 h 6033"/>
                <a:gd name="T64" fmla="*/ 78 w 6034"/>
                <a:gd name="T65" fmla="*/ 2334 h 6033"/>
                <a:gd name="T66" fmla="*/ 0 w 6034"/>
                <a:gd name="T67" fmla="*/ 3073 h 6033"/>
                <a:gd name="T68" fmla="*/ 101 w 6034"/>
                <a:gd name="T69" fmla="*/ 3793 h 6033"/>
                <a:gd name="T70" fmla="*/ 370 w 6034"/>
                <a:gd name="T71" fmla="*/ 4464 h 6033"/>
                <a:gd name="T72" fmla="*/ 791 w 6034"/>
                <a:gd name="T73" fmla="*/ 5055 h 6033"/>
                <a:gd name="T74" fmla="*/ 1354 w 6034"/>
                <a:gd name="T75" fmla="*/ 5534 h 6033"/>
                <a:gd name="T76" fmla="*/ 2041 w 6034"/>
                <a:gd name="T77" fmla="*/ 5870 h 6033"/>
                <a:gd name="T78" fmla="*/ 2778 w 6034"/>
                <a:gd name="T79" fmla="*/ 6024 h 6033"/>
                <a:gd name="T80" fmla="*/ 3509 w 6034"/>
                <a:gd name="T81" fmla="*/ 5993 h 6033"/>
                <a:gd name="T82" fmla="*/ 4205 w 6034"/>
                <a:gd name="T83" fmla="*/ 5790 h 6033"/>
                <a:gd name="T84" fmla="*/ 4830 w 6034"/>
                <a:gd name="T85" fmla="*/ 5428 h 6033"/>
                <a:gd name="T86" fmla="*/ 5358 w 6034"/>
                <a:gd name="T87" fmla="*/ 4921 h 6033"/>
                <a:gd name="T88" fmla="*/ 5757 w 6034"/>
                <a:gd name="T89" fmla="*/ 4281 h 6033"/>
                <a:gd name="T90" fmla="*/ 5987 w 6034"/>
                <a:gd name="T91" fmla="*/ 3551 h 6033"/>
                <a:gd name="T92" fmla="*/ 6027 w 6034"/>
                <a:gd name="T93" fmla="*/ 2813 h 6033"/>
                <a:gd name="T94" fmla="*/ 5891 w 6034"/>
                <a:gd name="T95" fmla="*/ 2100 h 6033"/>
                <a:gd name="T96" fmla="*/ 5591 w 6034"/>
                <a:gd name="T97" fmla="*/ 1443 h 6033"/>
                <a:gd name="T98" fmla="*/ 5140 w 6034"/>
                <a:gd name="T99" fmla="*/ 873 h 6033"/>
                <a:gd name="T100" fmla="*/ 4552 w 6034"/>
                <a:gd name="T101" fmla="*/ 419 h 6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34" h="6033">
                  <a:moveTo>
                    <a:pt x="2269" y="4884"/>
                  </a:moveTo>
                  <a:lnTo>
                    <a:pt x="2175" y="4842"/>
                  </a:lnTo>
                  <a:lnTo>
                    <a:pt x="2082" y="4797"/>
                  </a:lnTo>
                  <a:lnTo>
                    <a:pt x="1993" y="4749"/>
                  </a:lnTo>
                  <a:lnTo>
                    <a:pt x="1909" y="4695"/>
                  </a:lnTo>
                  <a:lnTo>
                    <a:pt x="1826" y="4638"/>
                  </a:lnTo>
                  <a:lnTo>
                    <a:pt x="1748" y="4578"/>
                  </a:lnTo>
                  <a:lnTo>
                    <a:pt x="1674" y="4513"/>
                  </a:lnTo>
                  <a:lnTo>
                    <a:pt x="1602" y="4446"/>
                  </a:lnTo>
                  <a:lnTo>
                    <a:pt x="1534" y="4376"/>
                  </a:lnTo>
                  <a:lnTo>
                    <a:pt x="1470" y="4302"/>
                  </a:lnTo>
                  <a:lnTo>
                    <a:pt x="1410" y="4226"/>
                  </a:lnTo>
                  <a:lnTo>
                    <a:pt x="1354" y="4146"/>
                  </a:lnTo>
                  <a:lnTo>
                    <a:pt x="1301" y="4065"/>
                  </a:lnTo>
                  <a:lnTo>
                    <a:pt x="1253" y="3981"/>
                  </a:lnTo>
                  <a:lnTo>
                    <a:pt x="1209" y="3896"/>
                  </a:lnTo>
                  <a:lnTo>
                    <a:pt x="1169" y="3807"/>
                  </a:lnTo>
                  <a:lnTo>
                    <a:pt x="1132" y="3718"/>
                  </a:lnTo>
                  <a:lnTo>
                    <a:pt x="1101" y="3627"/>
                  </a:lnTo>
                  <a:lnTo>
                    <a:pt x="1074" y="3534"/>
                  </a:lnTo>
                  <a:lnTo>
                    <a:pt x="1051" y="3440"/>
                  </a:lnTo>
                  <a:lnTo>
                    <a:pt x="1033" y="3344"/>
                  </a:lnTo>
                  <a:lnTo>
                    <a:pt x="1019" y="3248"/>
                  </a:lnTo>
                  <a:lnTo>
                    <a:pt x="1010" y="3151"/>
                  </a:lnTo>
                  <a:lnTo>
                    <a:pt x="1006" y="3054"/>
                  </a:lnTo>
                  <a:lnTo>
                    <a:pt x="1007" y="2955"/>
                  </a:lnTo>
                  <a:lnTo>
                    <a:pt x="1012" y="2857"/>
                  </a:lnTo>
                  <a:lnTo>
                    <a:pt x="1022" y="2758"/>
                  </a:lnTo>
                  <a:lnTo>
                    <a:pt x="1037" y="2659"/>
                  </a:lnTo>
                  <a:lnTo>
                    <a:pt x="1057" y="2561"/>
                  </a:lnTo>
                  <a:lnTo>
                    <a:pt x="1083" y="2463"/>
                  </a:lnTo>
                  <a:lnTo>
                    <a:pt x="1113" y="2366"/>
                  </a:lnTo>
                  <a:lnTo>
                    <a:pt x="1149" y="2269"/>
                  </a:lnTo>
                  <a:lnTo>
                    <a:pt x="1190" y="2174"/>
                  </a:lnTo>
                  <a:lnTo>
                    <a:pt x="1235" y="2082"/>
                  </a:lnTo>
                  <a:lnTo>
                    <a:pt x="1284" y="1993"/>
                  </a:lnTo>
                  <a:lnTo>
                    <a:pt x="1338" y="1908"/>
                  </a:lnTo>
                  <a:lnTo>
                    <a:pt x="1395" y="1826"/>
                  </a:lnTo>
                  <a:lnTo>
                    <a:pt x="1455" y="1748"/>
                  </a:lnTo>
                  <a:lnTo>
                    <a:pt x="1520" y="1673"/>
                  </a:lnTo>
                  <a:lnTo>
                    <a:pt x="1587" y="1601"/>
                  </a:lnTo>
                  <a:lnTo>
                    <a:pt x="1657" y="1534"/>
                  </a:lnTo>
                  <a:lnTo>
                    <a:pt x="1731" y="1470"/>
                  </a:lnTo>
                  <a:lnTo>
                    <a:pt x="1807" y="1410"/>
                  </a:lnTo>
                  <a:lnTo>
                    <a:pt x="1886" y="1354"/>
                  </a:lnTo>
                  <a:lnTo>
                    <a:pt x="1967" y="1301"/>
                  </a:lnTo>
                  <a:lnTo>
                    <a:pt x="2052" y="1253"/>
                  </a:lnTo>
                  <a:lnTo>
                    <a:pt x="2137" y="1209"/>
                  </a:lnTo>
                  <a:lnTo>
                    <a:pt x="2225" y="1169"/>
                  </a:lnTo>
                  <a:lnTo>
                    <a:pt x="2314" y="1132"/>
                  </a:lnTo>
                  <a:lnTo>
                    <a:pt x="2406" y="1101"/>
                  </a:lnTo>
                  <a:lnTo>
                    <a:pt x="2498" y="1074"/>
                  </a:lnTo>
                  <a:lnTo>
                    <a:pt x="2593" y="1051"/>
                  </a:lnTo>
                  <a:lnTo>
                    <a:pt x="2689" y="1033"/>
                  </a:lnTo>
                  <a:lnTo>
                    <a:pt x="2784" y="1019"/>
                  </a:lnTo>
                  <a:lnTo>
                    <a:pt x="2882" y="1010"/>
                  </a:lnTo>
                  <a:lnTo>
                    <a:pt x="2979" y="1006"/>
                  </a:lnTo>
                  <a:lnTo>
                    <a:pt x="3077" y="1006"/>
                  </a:lnTo>
                  <a:lnTo>
                    <a:pt x="3175" y="1011"/>
                  </a:lnTo>
                  <a:lnTo>
                    <a:pt x="3274" y="1022"/>
                  </a:lnTo>
                  <a:lnTo>
                    <a:pt x="3373" y="1037"/>
                  </a:lnTo>
                  <a:lnTo>
                    <a:pt x="3471" y="1057"/>
                  </a:lnTo>
                  <a:lnTo>
                    <a:pt x="3570" y="1082"/>
                  </a:lnTo>
                  <a:lnTo>
                    <a:pt x="3667" y="1113"/>
                  </a:lnTo>
                  <a:lnTo>
                    <a:pt x="3764" y="1148"/>
                  </a:lnTo>
                  <a:lnTo>
                    <a:pt x="3859" y="1190"/>
                  </a:lnTo>
                  <a:lnTo>
                    <a:pt x="3951" y="1235"/>
                  </a:lnTo>
                  <a:lnTo>
                    <a:pt x="4040" y="1284"/>
                  </a:lnTo>
                  <a:lnTo>
                    <a:pt x="4125" y="1338"/>
                  </a:lnTo>
                  <a:lnTo>
                    <a:pt x="4207" y="1395"/>
                  </a:lnTo>
                  <a:lnTo>
                    <a:pt x="4285" y="1455"/>
                  </a:lnTo>
                  <a:lnTo>
                    <a:pt x="4360" y="1520"/>
                  </a:lnTo>
                  <a:lnTo>
                    <a:pt x="4432" y="1587"/>
                  </a:lnTo>
                  <a:lnTo>
                    <a:pt x="4499" y="1657"/>
                  </a:lnTo>
                  <a:lnTo>
                    <a:pt x="4563" y="1731"/>
                  </a:lnTo>
                  <a:lnTo>
                    <a:pt x="4623" y="1807"/>
                  </a:lnTo>
                  <a:lnTo>
                    <a:pt x="4679" y="1887"/>
                  </a:lnTo>
                  <a:lnTo>
                    <a:pt x="4732" y="1968"/>
                  </a:lnTo>
                  <a:lnTo>
                    <a:pt x="4780" y="2052"/>
                  </a:lnTo>
                  <a:lnTo>
                    <a:pt x="4824" y="2137"/>
                  </a:lnTo>
                  <a:lnTo>
                    <a:pt x="4864" y="2226"/>
                  </a:lnTo>
                  <a:lnTo>
                    <a:pt x="4901" y="2315"/>
                  </a:lnTo>
                  <a:lnTo>
                    <a:pt x="4932" y="2407"/>
                  </a:lnTo>
                  <a:lnTo>
                    <a:pt x="4960" y="2499"/>
                  </a:lnTo>
                  <a:lnTo>
                    <a:pt x="4982" y="2593"/>
                  </a:lnTo>
                  <a:lnTo>
                    <a:pt x="5000" y="2689"/>
                  </a:lnTo>
                  <a:lnTo>
                    <a:pt x="5014" y="2785"/>
                  </a:lnTo>
                  <a:lnTo>
                    <a:pt x="5023" y="2882"/>
                  </a:lnTo>
                  <a:lnTo>
                    <a:pt x="5027" y="2979"/>
                  </a:lnTo>
                  <a:lnTo>
                    <a:pt x="5027" y="3078"/>
                  </a:lnTo>
                  <a:lnTo>
                    <a:pt x="5021" y="3176"/>
                  </a:lnTo>
                  <a:lnTo>
                    <a:pt x="5011" y="3275"/>
                  </a:lnTo>
                  <a:lnTo>
                    <a:pt x="4996" y="3374"/>
                  </a:lnTo>
                  <a:lnTo>
                    <a:pt x="4976" y="3472"/>
                  </a:lnTo>
                  <a:lnTo>
                    <a:pt x="4951" y="3570"/>
                  </a:lnTo>
                  <a:lnTo>
                    <a:pt x="4920" y="3667"/>
                  </a:lnTo>
                  <a:lnTo>
                    <a:pt x="4884" y="3764"/>
                  </a:lnTo>
                  <a:lnTo>
                    <a:pt x="4843" y="3859"/>
                  </a:lnTo>
                  <a:lnTo>
                    <a:pt x="4798" y="3951"/>
                  </a:lnTo>
                  <a:lnTo>
                    <a:pt x="4749" y="4040"/>
                  </a:lnTo>
                  <a:lnTo>
                    <a:pt x="4695" y="4125"/>
                  </a:lnTo>
                  <a:lnTo>
                    <a:pt x="4638" y="4207"/>
                  </a:lnTo>
                  <a:lnTo>
                    <a:pt x="4578" y="4285"/>
                  </a:lnTo>
                  <a:lnTo>
                    <a:pt x="4513" y="4359"/>
                  </a:lnTo>
                  <a:lnTo>
                    <a:pt x="4446" y="4431"/>
                  </a:lnTo>
                  <a:lnTo>
                    <a:pt x="4376" y="4499"/>
                  </a:lnTo>
                  <a:lnTo>
                    <a:pt x="4302" y="4563"/>
                  </a:lnTo>
                  <a:lnTo>
                    <a:pt x="4226" y="4623"/>
                  </a:lnTo>
                  <a:lnTo>
                    <a:pt x="4147" y="4679"/>
                  </a:lnTo>
                  <a:lnTo>
                    <a:pt x="4066" y="4732"/>
                  </a:lnTo>
                  <a:lnTo>
                    <a:pt x="3981" y="4780"/>
                  </a:lnTo>
                  <a:lnTo>
                    <a:pt x="3896" y="4824"/>
                  </a:lnTo>
                  <a:lnTo>
                    <a:pt x="3808" y="4864"/>
                  </a:lnTo>
                  <a:lnTo>
                    <a:pt x="3719" y="4901"/>
                  </a:lnTo>
                  <a:lnTo>
                    <a:pt x="3627" y="4932"/>
                  </a:lnTo>
                  <a:lnTo>
                    <a:pt x="3535" y="4959"/>
                  </a:lnTo>
                  <a:lnTo>
                    <a:pt x="3440" y="4982"/>
                  </a:lnTo>
                  <a:lnTo>
                    <a:pt x="3344" y="5000"/>
                  </a:lnTo>
                  <a:lnTo>
                    <a:pt x="3249" y="5014"/>
                  </a:lnTo>
                  <a:lnTo>
                    <a:pt x="3151" y="5023"/>
                  </a:lnTo>
                  <a:lnTo>
                    <a:pt x="3054" y="5027"/>
                  </a:lnTo>
                  <a:lnTo>
                    <a:pt x="2956" y="5027"/>
                  </a:lnTo>
                  <a:lnTo>
                    <a:pt x="2858" y="5021"/>
                  </a:lnTo>
                  <a:lnTo>
                    <a:pt x="2759" y="5011"/>
                  </a:lnTo>
                  <a:lnTo>
                    <a:pt x="2660" y="4996"/>
                  </a:lnTo>
                  <a:lnTo>
                    <a:pt x="2562" y="4976"/>
                  </a:lnTo>
                  <a:lnTo>
                    <a:pt x="2463" y="4950"/>
                  </a:lnTo>
                  <a:lnTo>
                    <a:pt x="2366" y="4920"/>
                  </a:lnTo>
                  <a:lnTo>
                    <a:pt x="2269" y="4884"/>
                  </a:lnTo>
                  <a:close/>
                  <a:moveTo>
                    <a:pt x="4138" y="216"/>
                  </a:moveTo>
                  <a:lnTo>
                    <a:pt x="3992" y="162"/>
                  </a:lnTo>
                  <a:lnTo>
                    <a:pt x="3846" y="115"/>
                  </a:lnTo>
                  <a:lnTo>
                    <a:pt x="3699" y="77"/>
                  </a:lnTo>
                  <a:lnTo>
                    <a:pt x="3551" y="47"/>
                  </a:lnTo>
                  <a:lnTo>
                    <a:pt x="3403" y="24"/>
                  </a:lnTo>
                  <a:lnTo>
                    <a:pt x="3255" y="9"/>
                  </a:lnTo>
                  <a:lnTo>
                    <a:pt x="3107" y="1"/>
                  </a:lnTo>
                  <a:lnTo>
                    <a:pt x="2960" y="0"/>
                  </a:lnTo>
                  <a:lnTo>
                    <a:pt x="2813" y="6"/>
                  </a:lnTo>
                  <a:lnTo>
                    <a:pt x="2667" y="19"/>
                  </a:lnTo>
                  <a:lnTo>
                    <a:pt x="2524" y="40"/>
                  </a:lnTo>
                  <a:lnTo>
                    <a:pt x="2381" y="67"/>
                  </a:lnTo>
                  <a:lnTo>
                    <a:pt x="2240" y="101"/>
                  </a:lnTo>
                  <a:lnTo>
                    <a:pt x="2100" y="142"/>
                  </a:lnTo>
                  <a:lnTo>
                    <a:pt x="1963" y="190"/>
                  </a:lnTo>
                  <a:lnTo>
                    <a:pt x="1829" y="243"/>
                  </a:lnTo>
                  <a:lnTo>
                    <a:pt x="1698" y="303"/>
                  </a:lnTo>
                  <a:lnTo>
                    <a:pt x="1569" y="370"/>
                  </a:lnTo>
                  <a:lnTo>
                    <a:pt x="1443" y="442"/>
                  </a:lnTo>
                  <a:lnTo>
                    <a:pt x="1321" y="521"/>
                  </a:lnTo>
                  <a:lnTo>
                    <a:pt x="1203" y="605"/>
                  </a:lnTo>
                  <a:lnTo>
                    <a:pt x="1088" y="696"/>
                  </a:lnTo>
                  <a:lnTo>
                    <a:pt x="978" y="791"/>
                  </a:lnTo>
                  <a:lnTo>
                    <a:pt x="873" y="893"/>
                  </a:lnTo>
                  <a:lnTo>
                    <a:pt x="771" y="1001"/>
                  </a:lnTo>
                  <a:lnTo>
                    <a:pt x="676" y="1112"/>
                  </a:lnTo>
                  <a:lnTo>
                    <a:pt x="584" y="1231"/>
                  </a:lnTo>
                  <a:lnTo>
                    <a:pt x="499" y="1354"/>
                  </a:lnTo>
                  <a:lnTo>
                    <a:pt x="419" y="1481"/>
                  </a:lnTo>
                  <a:lnTo>
                    <a:pt x="346" y="1614"/>
                  </a:lnTo>
                  <a:lnTo>
                    <a:pt x="277" y="1752"/>
                  </a:lnTo>
                  <a:lnTo>
                    <a:pt x="216" y="1895"/>
                  </a:lnTo>
                  <a:lnTo>
                    <a:pt x="162" y="2041"/>
                  </a:lnTo>
                  <a:lnTo>
                    <a:pt x="116" y="2188"/>
                  </a:lnTo>
                  <a:lnTo>
                    <a:pt x="78" y="2334"/>
                  </a:lnTo>
                  <a:lnTo>
                    <a:pt x="47" y="2482"/>
                  </a:lnTo>
                  <a:lnTo>
                    <a:pt x="24" y="2630"/>
                  </a:lnTo>
                  <a:lnTo>
                    <a:pt x="9" y="2778"/>
                  </a:lnTo>
                  <a:lnTo>
                    <a:pt x="1" y="2926"/>
                  </a:lnTo>
                  <a:lnTo>
                    <a:pt x="0" y="3073"/>
                  </a:lnTo>
                  <a:lnTo>
                    <a:pt x="6" y="3220"/>
                  </a:lnTo>
                  <a:lnTo>
                    <a:pt x="20" y="3366"/>
                  </a:lnTo>
                  <a:lnTo>
                    <a:pt x="40" y="3509"/>
                  </a:lnTo>
                  <a:lnTo>
                    <a:pt x="67" y="3652"/>
                  </a:lnTo>
                  <a:lnTo>
                    <a:pt x="101" y="3793"/>
                  </a:lnTo>
                  <a:lnTo>
                    <a:pt x="143" y="3933"/>
                  </a:lnTo>
                  <a:lnTo>
                    <a:pt x="190" y="4070"/>
                  </a:lnTo>
                  <a:lnTo>
                    <a:pt x="243" y="4204"/>
                  </a:lnTo>
                  <a:lnTo>
                    <a:pt x="303" y="4335"/>
                  </a:lnTo>
                  <a:lnTo>
                    <a:pt x="370" y="4464"/>
                  </a:lnTo>
                  <a:lnTo>
                    <a:pt x="442" y="4590"/>
                  </a:lnTo>
                  <a:lnTo>
                    <a:pt x="521" y="4712"/>
                  </a:lnTo>
                  <a:lnTo>
                    <a:pt x="605" y="4830"/>
                  </a:lnTo>
                  <a:lnTo>
                    <a:pt x="696" y="4945"/>
                  </a:lnTo>
                  <a:lnTo>
                    <a:pt x="791" y="5055"/>
                  </a:lnTo>
                  <a:lnTo>
                    <a:pt x="893" y="5160"/>
                  </a:lnTo>
                  <a:lnTo>
                    <a:pt x="1001" y="5262"/>
                  </a:lnTo>
                  <a:lnTo>
                    <a:pt x="1113" y="5357"/>
                  </a:lnTo>
                  <a:lnTo>
                    <a:pt x="1231" y="5449"/>
                  </a:lnTo>
                  <a:lnTo>
                    <a:pt x="1354" y="5534"/>
                  </a:lnTo>
                  <a:lnTo>
                    <a:pt x="1481" y="5614"/>
                  </a:lnTo>
                  <a:lnTo>
                    <a:pt x="1614" y="5687"/>
                  </a:lnTo>
                  <a:lnTo>
                    <a:pt x="1752" y="5756"/>
                  </a:lnTo>
                  <a:lnTo>
                    <a:pt x="1895" y="5817"/>
                  </a:lnTo>
                  <a:lnTo>
                    <a:pt x="2041" y="5870"/>
                  </a:lnTo>
                  <a:lnTo>
                    <a:pt x="2188" y="5917"/>
                  </a:lnTo>
                  <a:lnTo>
                    <a:pt x="2334" y="5955"/>
                  </a:lnTo>
                  <a:lnTo>
                    <a:pt x="2482" y="5986"/>
                  </a:lnTo>
                  <a:lnTo>
                    <a:pt x="2630" y="6009"/>
                  </a:lnTo>
                  <a:lnTo>
                    <a:pt x="2778" y="6024"/>
                  </a:lnTo>
                  <a:lnTo>
                    <a:pt x="2926" y="6032"/>
                  </a:lnTo>
                  <a:lnTo>
                    <a:pt x="3074" y="6033"/>
                  </a:lnTo>
                  <a:lnTo>
                    <a:pt x="3220" y="6027"/>
                  </a:lnTo>
                  <a:lnTo>
                    <a:pt x="3366" y="6013"/>
                  </a:lnTo>
                  <a:lnTo>
                    <a:pt x="3509" y="5993"/>
                  </a:lnTo>
                  <a:lnTo>
                    <a:pt x="3652" y="5966"/>
                  </a:lnTo>
                  <a:lnTo>
                    <a:pt x="3794" y="5932"/>
                  </a:lnTo>
                  <a:lnTo>
                    <a:pt x="3933" y="5891"/>
                  </a:lnTo>
                  <a:lnTo>
                    <a:pt x="4070" y="5843"/>
                  </a:lnTo>
                  <a:lnTo>
                    <a:pt x="4205" y="5790"/>
                  </a:lnTo>
                  <a:lnTo>
                    <a:pt x="4336" y="5730"/>
                  </a:lnTo>
                  <a:lnTo>
                    <a:pt x="4465" y="5663"/>
                  </a:lnTo>
                  <a:lnTo>
                    <a:pt x="4590" y="5591"/>
                  </a:lnTo>
                  <a:lnTo>
                    <a:pt x="4713" y="5512"/>
                  </a:lnTo>
                  <a:lnTo>
                    <a:pt x="4830" y="5428"/>
                  </a:lnTo>
                  <a:lnTo>
                    <a:pt x="4945" y="5338"/>
                  </a:lnTo>
                  <a:lnTo>
                    <a:pt x="5056" y="5242"/>
                  </a:lnTo>
                  <a:lnTo>
                    <a:pt x="5161" y="5140"/>
                  </a:lnTo>
                  <a:lnTo>
                    <a:pt x="5262" y="5033"/>
                  </a:lnTo>
                  <a:lnTo>
                    <a:pt x="5358" y="4921"/>
                  </a:lnTo>
                  <a:lnTo>
                    <a:pt x="5449" y="4803"/>
                  </a:lnTo>
                  <a:lnTo>
                    <a:pt x="5534" y="4680"/>
                  </a:lnTo>
                  <a:lnTo>
                    <a:pt x="5615" y="4552"/>
                  </a:lnTo>
                  <a:lnTo>
                    <a:pt x="5688" y="4419"/>
                  </a:lnTo>
                  <a:lnTo>
                    <a:pt x="5757" y="4281"/>
                  </a:lnTo>
                  <a:lnTo>
                    <a:pt x="5818" y="4138"/>
                  </a:lnTo>
                  <a:lnTo>
                    <a:pt x="5871" y="3992"/>
                  </a:lnTo>
                  <a:lnTo>
                    <a:pt x="5918" y="3846"/>
                  </a:lnTo>
                  <a:lnTo>
                    <a:pt x="5956" y="3699"/>
                  </a:lnTo>
                  <a:lnTo>
                    <a:pt x="5987" y="3551"/>
                  </a:lnTo>
                  <a:lnTo>
                    <a:pt x="6009" y="3403"/>
                  </a:lnTo>
                  <a:lnTo>
                    <a:pt x="6025" y="3255"/>
                  </a:lnTo>
                  <a:lnTo>
                    <a:pt x="6033" y="3107"/>
                  </a:lnTo>
                  <a:lnTo>
                    <a:pt x="6034" y="2960"/>
                  </a:lnTo>
                  <a:lnTo>
                    <a:pt x="6027" y="2813"/>
                  </a:lnTo>
                  <a:lnTo>
                    <a:pt x="6014" y="2667"/>
                  </a:lnTo>
                  <a:lnTo>
                    <a:pt x="5993" y="2524"/>
                  </a:lnTo>
                  <a:lnTo>
                    <a:pt x="5966" y="2381"/>
                  </a:lnTo>
                  <a:lnTo>
                    <a:pt x="5932" y="2240"/>
                  </a:lnTo>
                  <a:lnTo>
                    <a:pt x="5891" y="2100"/>
                  </a:lnTo>
                  <a:lnTo>
                    <a:pt x="5844" y="1963"/>
                  </a:lnTo>
                  <a:lnTo>
                    <a:pt x="5790" y="1829"/>
                  </a:lnTo>
                  <a:lnTo>
                    <a:pt x="5730" y="1698"/>
                  </a:lnTo>
                  <a:lnTo>
                    <a:pt x="5663" y="1569"/>
                  </a:lnTo>
                  <a:lnTo>
                    <a:pt x="5591" y="1443"/>
                  </a:lnTo>
                  <a:lnTo>
                    <a:pt x="5512" y="1321"/>
                  </a:lnTo>
                  <a:lnTo>
                    <a:pt x="5428" y="1203"/>
                  </a:lnTo>
                  <a:lnTo>
                    <a:pt x="5338" y="1088"/>
                  </a:lnTo>
                  <a:lnTo>
                    <a:pt x="5242" y="978"/>
                  </a:lnTo>
                  <a:lnTo>
                    <a:pt x="5140" y="873"/>
                  </a:lnTo>
                  <a:lnTo>
                    <a:pt x="5033" y="771"/>
                  </a:lnTo>
                  <a:lnTo>
                    <a:pt x="4921" y="676"/>
                  </a:lnTo>
                  <a:lnTo>
                    <a:pt x="4803" y="584"/>
                  </a:lnTo>
                  <a:lnTo>
                    <a:pt x="4679" y="499"/>
                  </a:lnTo>
                  <a:lnTo>
                    <a:pt x="4552" y="419"/>
                  </a:lnTo>
                  <a:lnTo>
                    <a:pt x="4419" y="345"/>
                  </a:lnTo>
                  <a:lnTo>
                    <a:pt x="4281" y="277"/>
                  </a:lnTo>
                  <a:lnTo>
                    <a:pt x="4138" y="2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84" name="iśḷïḓe">
              <a:extLst>
                <a:ext uri="{FF2B5EF4-FFF2-40B4-BE49-F238E27FC236}">
                  <a16:creationId xmlns:a16="http://schemas.microsoft.com/office/drawing/2014/main" id="{0356D575-C068-45E7-94F8-812DB2679C6B}"/>
                </a:ext>
              </a:extLst>
            </p:cNvPr>
            <p:cNvSpPr/>
            <p:nvPr/>
          </p:nvSpPr>
          <p:spPr bwMode="auto">
            <a:xfrm>
              <a:off x="6147256" y="2797221"/>
              <a:ext cx="57270" cy="58112"/>
            </a:xfrm>
            <a:custGeom>
              <a:avLst/>
              <a:gdLst>
                <a:gd name="T0" fmla="*/ 2514 w 2520"/>
                <a:gd name="T1" fmla="*/ 308 h 2567"/>
                <a:gd name="T2" fmla="*/ 2520 w 2520"/>
                <a:gd name="T3" fmla="*/ 259 h 2567"/>
                <a:gd name="T4" fmla="*/ 2517 w 2520"/>
                <a:gd name="T5" fmla="*/ 211 h 2567"/>
                <a:gd name="T6" fmla="*/ 2505 w 2520"/>
                <a:gd name="T7" fmla="*/ 163 h 2567"/>
                <a:gd name="T8" fmla="*/ 2483 w 2520"/>
                <a:gd name="T9" fmla="*/ 120 h 2567"/>
                <a:gd name="T10" fmla="*/ 2454 w 2520"/>
                <a:gd name="T11" fmla="*/ 82 h 2567"/>
                <a:gd name="T12" fmla="*/ 2417 w 2520"/>
                <a:gd name="T13" fmla="*/ 49 h 2567"/>
                <a:gd name="T14" fmla="*/ 2374 w 2520"/>
                <a:gd name="T15" fmla="*/ 23 h 2567"/>
                <a:gd name="T16" fmla="*/ 2326 w 2520"/>
                <a:gd name="T17" fmla="*/ 6 h 2567"/>
                <a:gd name="T18" fmla="*/ 2276 w 2520"/>
                <a:gd name="T19" fmla="*/ 0 h 2567"/>
                <a:gd name="T20" fmla="*/ 2227 w 2520"/>
                <a:gd name="T21" fmla="*/ 3 h 2567"/>
                <a:gd name="T22" fmla="*/ 2181 w 2520"/>
                <a:gd name="T23" fmla="*/ 15 h 2567"/>
                <a:gd name="T24" fmla="*/ 2137 w 2520"/>
                <a:gd name="T25" fmla="*/ 37 h 2567"/>
                <a:gd name="T26" fmla="*/ 2098 w 2520"/>
                <a:gd name="T27" fmla="*/ 66 h 2567"/>
                <a:gd name="T28" fmla="*/ 2066 w 2520"/>
                <a:gd name="T29" fmla="*/ 103 h 2567"/>
                <a:gd name="T30" fmla="*/ 2041 w 2520"/>
                <a:gd name="T31" fmla="*/ 146 h 2567"/>
                <a:gd name="T32" fmla="*/ 1963 w 2520"/>
                <a:gd name="T33" fmla="*/ 324 h 2567"/>
                <a:gd name="T34" fmla="*/ 1797 w 2520"/>
                <a:gd name="T35" fmla="*/ 640 h 2567"/>
                <a:gd name="T36" fmla="*/ 1605 w 2520"/>
                <a:gd name="T37" fmla="*/ 934 h 2567"/>
                <a:gd name="T38" fmla="*/ 1387 w 2520"/>
                <a:gd name="T39" fmla="*/ 1202 h 2567"/>
                <a:gd name="T40" fmla="*/ 1146 w 2520"/>
                <a:gd name="T41" fmla="*/ 1446 h 2567"/>
                <a:gd name="T42" fmla="*/ 883 w 2520"/>
                <a:gd name="T43" fmla="*/ 1663 h 2567"/>
                <a:gd name="T44" fmla="*/ 602 w 2520"/>
                <a:gd name="T45" fmla="*/ 1853 h 2567"/>
                <a:gd name="T46" fmla="*/ 306 w 2520"/>
                <a:gd name="T47" fmla="*/ 2015 h 2567"/>
                <a:gd name="T48" fmla="*/ 130 w 2520"/>
                <a:gd name="T49" fmla="*/ 2097 h 2567"/>
                <a:gd name="T50" fmla="*/ 88 w 2520"/>
                <a:gd name="T51" fmla="*/ 2125 h 2567"/>
                <a:gd name="T52" fmla="*/ 54 w 2520"/>
                <a:gd name="T53" fmla="*/ 2160 h 2567"/>
                <a:gd name="T54" fmla="*/ 28 w 2520"/>
                <a:gd name="T55" fmla="*/ 2201 h 2567"/>
                <a:gd name="T56" fmla="*/ 10 w 2520"/>
                <a:gd name="T57" fmla="*/ 2246 h 2567"/>
                <a:gd name="T58" fmla="*/ 1 w 2520"/>
                <a:gd name="T59" fmla="*/ 2293 h 2567"/>
                <a:gd name="T60" fmla="*/ 2 w 2520"/>
                <a:gd name="T61" fmla="*/ 2342 h 2567"/>
                <a:gd name="T62" fmla="*/ 12 w 2520"/>
                <a:gd name="T63" fmla="*/ 2390 h 2567"/>
                <a:gd name="T64" fmla="*/ 32 w 2520"/>
                <a:gd name="T65" fmla="*/ 2438 h 2567"/>
                <a:gd name="T66" fmla="*/ 60 w 2520"/>
                <a:gd name="T67" fmla="*/ 2479 h 2567"/>
                <a:gd name="T68" fmla="*/ 95 w 2520"/>
                <a:gd name="T69" fmla="*/ 2513 h 2567"/>
                <a:gd name="T70" fmla="*/ 137 w 2520"/>
                <a:gd name="T71" fmla="*/ 2539 h 2567"/>
                <a:gd name="T72" fmla="*/ 181 w 2520"/>
                <a:gd name="T73" fmla="*/ 2557 h 2567"/>
                <a:gd name="T74" fmla="*/ 228 w 2520"/>
                <a:gd name="T75" fmla="*/ 2566 h 2567"/>
                <a:gd name="T76" fmla="*/ 277 w 2520"/>
                <a:gd name="T77" fmla="*/ 2566 h 2567"/>
                <a:gd name="T78" fmla="*/ 327 w 2520"/>
                <a:gd name="T79" fmla="*/ 2556 h 2567"/>
                <a:gd name="T80" fmla="*/ 362 w 2520"/>
                <a:gd name="T81" fmla="*/ 2540 h 2567"/>
                <a:gd name="T82" fmla="*/ 707 w 2520"/>
                <a:gd name="T83" fmla="*/ 2371 h 2567"/>
                <a:gd name="T84" fmla="*/ 1036 w 2520"/>
                <a:gd name="T85" fmla="*/ 2169 h 2567"/>
                <a:gd name="T86" fmla="*/ 1344 w 2520"/>
                <a:gd name="T87" fmla="*/ 1937 h 2567"/>
                <a:gd name="T88" fmla="*/ 1630 w 2520"/>
                <a:gd name="T89" fmla="*/ 1674 h 2567"/>
                <a:gd name="T90" fmla="*/ 1892 w 2520"/>
                <a:gd name="T91" fmla="*/ 1382 h 2567"/>
                <a:gd name="T92" fmla="*/ 2126 w 2520"/>
                <a:gd name="T93" fmla="*/ 1063 h 2567"/>
                <a:gd name="T94" fmla="*/ 2331 w 2520"/>
                <a:gd name="T95" fmla="*/ 717 h 2567"/>
                <a:gd name="T96" fmla="*/ 2502 w 2520"/>
                <a:gd name="T97" fmla="*/ 344 h 2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20" h="2567">
                  <a:moveTo>
                    <a:pt x="2502" y="344"/>
                  </a:moveTo>
                  <a:lnTo>
                    <a:pt x="2507" y="332"/>
                  </a:lnTo>
                  <a:lnTo>
                    <a:pt x="2511" y="320"/>
                  </a:lnTo>
                  <a:lnTo>
                    <a:pt x="2514" y="308"/>
                  </a:lnTo>
                  <a:lnTo>
                    <a:pt x="2516" y="296"/>
                  </a:lnTo>
                  <a:lnTo>
                    <a:pt x="2518" y="284"/>
                  </a:lnTo>
                  <a:lnTo>
                    <a:pt x="2520" y="271"/>
                  </a:lnTo>
                  <a:lnTo>
                    <a:pt x="2520" y="259"/>
                  </a:lnTo>
                  <a:lnTo>
                    <a:pt x="2520" y="247"/>
                  </a:lnTo>
                  <a:lnTo>
                    <a:pt x="2520" y="235"/>
                  </a:lnTo>
                  <a:lnTo>
                    <a:pt x="2519" y="223"/>
                  </a:lnTo>
                  <a:lnTo>
                    <a:pt x="2517" y="211"/>
                  </a:lnTo>
                  <a:lnTo>
                    <a:pt x="2515" y="198"/>
                  </a:lnTo>
                  <a:lnTo>
                    <a:pt x="2512" y="186"/>
                  </a:lnTo>
                  <a:lnTo>
                    <a:pt x="2509" y="175"/>
                  </a:lnTo>
                  <a:lnTo>
                    <a:pt x="2505" y="163"/>
                  </a:lnTo>
                  <a:lnTo>
                    <a:pt x="2500" y="152"/>
                  </a:lnTo>
                  <a:lnTo>
                    <a:pt x="2494" y="141"/>
                  </a:lnTo>
                  <a:lnTo>
                    <a:pt x="2489" y="131"/>
                  </a:lnTo>
                  <a:lnTo>
                    <a:pt x="2483" y="120"/>
                  </a:lnTo>
                  <a:lnTo>
                    <a:pt x="2476" y="110"/>
                  </a:lnTo>
                  <a:lnTo>
                    <a:pt x="2469" y="100"/>
                  </a:lnTo>
                  <a:lnTo>
                    <a:pt x="2462" y="91"/>
                  </a:lnTo>
                  <a:lnTo>
                    <a:pt x="2454" y="82"/>
                  </a:lnTo>
                  <a:lnTo>
                    <a:pt x="2445" y="73"/>
                  </a:lnTo>
                  <a:lnTo>
                    <a:pt x="2437" y="65"/>
                  </a:lnTo>
                  <a:lnTo>
                    <a:pt x="2427" y="57"/>
                  </a:lnTo>
                  <a:lnTo>
                    <a:pt x="2417" y="49"/>
                  </a:lnTo>
                  <a:lnTo>
                    <a:pt x="2407" y="42"/>
                  </a:lnTo>
                  <a:lnTo>
                    <a:pt x="2397" y="36"/>
                  </a:lnTo>
                  <a:lnTo>
                    <a:pt x="2386" y="29"/>
                  </a:lnTo>
                  <a:lnTo>
                    <a:pt x="2374" y="23"/>
                  </a:lnTo>
                  <a:lnTo>
                    <a:pt x="2362" y="18"/>
                  </a:lnTo>
                  <a:lnTo>
                    <a:pt x="2350" y="13"/>
                  </a:lnTo>
                  <a:lnTo>
                    <a:pt x="2338" y="9"/>
                  </a:lnTo>
                  <a:lnTo>
                    <a:pt x="2326" y="6"/>
                  </a:lnTo>
                  <a:lnTo>
                    <a:pt x="2313" y="4"/>
                  </a:lnTo>
                  <a:lnTo>
                    <a:pt x="2300" y="2"/>
                  </a:lnTo>
                  <a:lnTo>
                    <a:pt x="2288" y="0"/>
                  </a:lnTo>
                  <a:lnTo>
                    <a:pt x="2276" y="0"/>
                  </a:lnTo>
                  <a:lnTo>
                    <a:pt x="2264" y="0"/>
                  </a:lnTo>
                  <a:lnTo>
                    <a:pt x="2251" y="0"/>
                  </a:lnTo>
                  <a:lnTo>
                    <a:pt x="2239" y="1"/>
                  </a:lnTo>
                  <a:lnTo>
                    <a:pt x="2227" y="3"/>
                  </a:lnTo>
                  <a:lnTo>
                    <a:pt x="2216" y="5"/>
                  </a:lnTo>
                  <a:lnTo>
                    <a:pt x="2204" y="8"/>
                  </a:lnTo>
                  <a:lnTo>
                    <a:pt x="2192" y="11"/>
                  </a:lnTo>
                  <a:lnTo>
                    <a:pt x="2181" y="15"/>
                  </a:lnTo>
                  <a:lnTo>
                    <a:pt x="2170" y="20"/>
                  </a:lnTo>
                  <a:lnTo>
                    <a:pt x="2159" y="25"/>
                  </a:lnTo>
                  <a:lnTo>
                    <a:pt x="2147" y="30"/>
                  </a:lnTo>
                  <a:lnTo>
                    <a:pt x="2137" y="37"/>
                  </a:lnTo>
                  <a:lnTo>
                    <a:pt x="2127" y="44"/>
                  </a:lnTo>
                  <a:lnTo>
                    <a:pt x="2117" y="51"/>
                  </a:lnTo>
                  <a:lnTo>
                    <a:pt x="2108" y="58"/>
                  </a:lnTo>
                  <a:lnTo>
                    <a:pt x="2098" y="66"/>
                  </a:lnTo>
                  <a:lnTo>
                    <a:pt x="2090" y="75"/>
                  </a:lnTo>
                  <a:lnTo>
                    <a:pt x="2081" y="83"/>
                  </a:lnTo>
                  <a:lnTo>
                    <a:pt x="2073" y="93"/>
                  </a:lnTo>
                  <a:lnTo>
                    <a:pt x="2066" y="103"/>
                  </a:lnTo>
                  <a:lnTo>
                    <a:pt x="2059" y="113"/>
                  </a:lnTo>
                  <a:lnTo>
                    <a:pt x="2052" y="124"/>
                  </a:lnTo>
                  <a:lnTo>
                    <a:pt x="2046" y="135"/>
                  </a:lnTo>
                  <a:lnTo>
                    <a:pt x="2041" y="146"/>
                  </a:lnTo>
                  <a:lnTo>
                    <a:pt x="2036" y="158"/>
                  </a:lnTo>
                  <a:lnTo>
                    <a:pt x="2035" y="157"/>
                  </a:lnTo>
                  <a:lnTo>
                    <a:pt x="2000" y="242"/>
                  </a:lnTo>
                  <a:lnTo>
                    <a:pt x="1963" y="324"/>
                  </a:lnTo>
                  <a:lnTo>
                    <a:pt x="1924" y="406"/>
                  </a:lnTo>
                  <a:lnTo>
                    <a:pt x="1884" y="485"/>
                  </a:lnTo>
                  <a:lnTo>
                    <a:pt x="1842" y="564"/>
                  </a:lnTo>
                  <a:lnTo>
                    <a:pt x="1797" y="640"/>
                  </a:lnTo>
                  <a:lnTo>
                    <a:pt x="1752" y="716"/>
                  </a:lnTo>
                  <a:lnTo>
                    <a:pt x="1705" y="790"/>
                  </a:lnTo>
                  <a:lnTo>
                    <a:pt x="1656" y="862"/>
                  </a:lnTo>
                  <a:lnTo>
                    <a:pt x="1605" y="934"/>
                  </a:lnTo>
                  <a:lnTo>
                    <a:pt x="1553" y="1003"/>
                  </a:lnTo>
                  <a:lnTo>
                    <a:pt x="1499" y="1071"/>
                  </a:lnTo>
                  <a:lnTo>
                    <a:pt x="1443" y="1137"/>
                  </a:lnTo>
                  <a:lnTo>
                    <a:pt x="1387" y="1202"/>
                  </a:lnTo>
                  <a:lnTo>
                    <a:pt x="1329" y="1266"/>
                  </a:lnTo>
                  <a:lnTo>
                    <a:pt x="1268" y="1327"/>
                  </a:lnTo>
                  <a:lnTo>
                    <a:pt x="1208" y="1387"/>
                  </a:lnTo>
                  <a:lnTo>
                    <a:pt x="1146" y="1446"/>
                  </a:lnTo>
                  <a:lnTo>
                    <a:pt x="1081" y="1502"/>
                  </a:lnTo>
                  <a:lnTo>
                    <a:pt x="1017" y="1557"/>
                  </a:lnTo>
                  <a:lnTo>
                    <a:pt x="950" y="1612"/>
                  </a:lnTo>
                  <a:lnTo>
                    <a:pt x="883" y="1663"/>
                  </a:lnTo>
                  <a:lnTo>
                    <a:pt x="815" y="1713"/>
                  </a:lnTo>
                  <a:lnTo>
                    <a:pt x="745" y="1762"/>
                  </a:lnTo>
                  <a:lnTo>
                    <a:pt x="674" y="1808"/>
                  </a:lnTo>
                  <a:lnTo>
                    <a:pt x="602" y="1853"/>
                  </a:lnTo>
                  <a:lnTo>
                    <a:pt x="530" y="1896"/>
                  </a:lnTo>
                  <a:lnTo>
                    <a:pt x="456" y="1938"/>
                  </a:lnTo>
                  <a:lnTo>
                    <a:pt x="381" y="1978"/>
                  </a:lnTo>
                  <a:lnTo>
                    <a:pt x="306" y="2015"/>
                  </a:lnTo>
                  <a:lnTo>
                    <a:pt x="229" y="2051"/>
                  </a:lnTo>
                  <a:lnTo>
                    <a:pt x="153" y="2086"/>
                  </a:lnTo>
                  <a:lnTo>
                    <a:pt x="141" y="2091"/>
                  </a:lnTo>
                  <a:lnTo>
                    <a:pt x="130" y="2097"/>
                  </a:lnTo>
                  <a:lnTo>
                    <a:pt x="118" y="2103"/>
                  </a:lnTo>
                  <a:lnTo>
                    <a:pt x="107" y="2110"/>
                  </a:lnTo>
                  <a:lnTo>
                    <a:pt x="97" y="2118"/>
                  </a:lnTo>
                  <a:lnTo>
                    <a:pt x="88" y="2125"/>
                  </a:lnTo>
                  <a:lnTo>
                    <a:pt x="79" y="2133"/>
                  </a:lnTo>
                  <a:lnTo>
                    <a:pt x="70" y="2142"/>
                  </a:lnTo>
                  <a:lnTo>
                    <a:pt x="62" y="2151"/>
                  </a:lnTo>
                  <a:lnTo>
                    <a:pt x="54" y="2160"/>
                  </a:lnTo>
                  <a:lnTo>
                    <a:pt x="47" y="2170"/>
                  </a:lnTo>
                  <a:lnTo>
                    <a:pt x="40" y="2180"/>
                  </a:lnTo>
                  <a:lnTo>
                    <a:pt x="34" y="2190"/>
                  </a:lnTo>
                  <a:lnTo>
                    <a:pt x="28" y="2201"/>
                  </a:lnTo>
                  <a:lnTo>
                    <a:pt x="23" y="2211"/>
                  </a:lnTo>
                  <a:lnTo>
                    <a:pt x="18" y="2222"/>
                  </a:lnTo>
                  <a:lnTo>
                    <a:pt x="14" y="2234"/>
                  </a:lnTo>
                  <a:lnTo>
                    <a:pt x="10" y="2246"/>
                  </a:lnTo>
                  <a:lnTo>
                    <a:pt x="7" y="2258"/>
                  </a:lnTo>
                  <a:lnTo>
                    <a:pt x="5" y="2269"/>
                  </a:lnTo>
                  <a:lnTo>
                    <a:pt x="3" y="2281"/>
                  </a:lnTo>
                  <a:lnTo>
                    <a:pt x="1" y="2293"/>
                  </a:lnTo>
                  <a:lnTo>
                    <a:pt x="1" y="2305"/>
                  </a:lnTo>
                  <a:lnTo>
                    <a:pt x="0" y="2317"/>
                  </a:lnTo>
                  <a:lnTo>
                    <a:pt x="1" y="2330"/>
                  </a:lnTo>
                  <a:lnTo>
                    <a:pt x="2" y="2342"/>
                  </a:lnTo>
                  <a:lnTo>
                    <a:pt x="3" y="2354"/>
                  </a:lnTo>
                  <a:lnTo>
                    <a:pt x="5" y="2366"/>
                  </a:lnTo>
                  <a:lnTo>
                    <a:pt x="8" y="2378"/>
                  </a:lnTo>
                  <a:lnTo>
                    <a:pt x="12" y="2390"/>
                  </a:lnTo>
                  <a:lnTo>
                    <a:pt x="16" y="2402"/>
                  </a:lnTo>
                  <a:lnTo>
                    <a:pt x="21" y="2415"/>
                  </a:lnTo>
                  <a:lnTo>
                    <a:pt x="26" y="2427"/>
                  </a:lnTo>
                  <a:lnTo>
                    <a:pt x="32" y="2438"/>
                  </a:lnTo>
                  <a:lnTo>
                    <a:pt x="38" y="2449"/>
                  </a:lnTo>
                  <a:lnTo>
                    <a:pt x="45" y="2460"/>
                  </a:lnTo>
                  <a:lnTo>
                    <a:pt x="52" y="2470"/>
                  </a:lnTo>
                  <a:lnTo>
                    <a:pt x="60" y="2479"/>
                  </a:lnTo>
                  <a:lnTo>
                    <a:pt x="68" y="2489"/>
                  </a:lnTo>
                  <a:lnTo>
                    <a:pt x="77" y="2497"/>
                  </a:lnTo>
                  <a:lnTo>
                    <a:pt x="86" y="2506"/>
                  </a:lnTo>
                  <a:lnTo>
                    <a:pt x="95" y="2513"/>
                  </a:lnTo>
                  <a:lnTo>
                    <a:pt x="105" y="2521"/>
                  </a:lnTo>
                  <a:lnTo>
                    <a:pt x="115" y="2527"/>
                  </a:lnTo>
                  <a:lnTo>
                    <a:pt x="126" y="2534"/>
                  </a:lnTo>
                  <a:lnTo>
                    <a:pt x="137" y="2539"/>
                  </a:lnTo>
                  <a:lnTo>
                    <a:pt x="148" y="2545"/>
                  </a:lnTo>
                  <a:lnTo>
                    <a:pt x="159" y="2549"/>
                  </a:lnTo>
                  <a:lnTo>
                    <a:pt x="170" y="2553"/>
                  </a:lnTo>
                  <a:lnTo>
                    <a:pt x="181" y="2557"/>
                  </a:lnTo>
                  <a:lnTo>
                    <a:pt x="193" y="2560"/>
                  </a:lnTo>
                  <a:lnTo>
                    <a:pt x="204" y="2563"/>
                  </a:lnTo>
                  <a:lnTo>
                    <a:pt x="216" y="2565"/>
                  </a:lnTo>
                  <a:lnTo>
                    <a:pt x="228" y="2566"/>
                  </a:lnTo>
                  <a:lnTo>
                    <a:pt x="240" y="2567"/>
                  </a:lnTo>
                  <a:lnTo>
                    <a:pt x="253" y="2567"/>
                  </a:lnTo>
                  <a:lnTo>
                    <a:pt x="265" y="2567"/>
                  </a:lnTo>
                  <a:lnTo>
                    <a:pt x="277" y="2566"/>
                  </a:lnTo>
                  <a:lnTo>
                    <a:pt x="289" y="2564"/>
                  </a:lnTo>
                  <a:lnTo>
                    <a:pt x="302" y="2562"/>
                  </a:lnTo>
                  <a:lnTo>
                    <a:pt x="314" y="2559"/>
                  </a:lnTo>
                  <a:lnTo>
                    <a:pt x="327" y="2556"/>
                  </a:lnTo>
                  <a:lnTo>
                    <a:pt x="339" y="2552"/>
                  </a:lnTo>
                  <a:lnTo>
                    <a:pt x="351" y="2547"/>
                  </a:lnTo>
                  <a:lnTo>
                    <a:pt x="356" y="2543"/>
                  </a:lnTo>
                  <a:lnTo>
                    <a:pt x="362" y="2540"/>
                  </a:lnTo>
                  <a:lnTo>
                    <a:pt x="449" y="2501"/>
                  </a:lnTo>
                  <a:lnTo>
                    <a:pt x="536" y="2460"/>
                  </a:lnTo>
                  <a:lnTo>
                    <a:pt x="622" y="2417"/>
                  </a:lnTo>
                  <a:lnTo>
                    <a:pt x="707" y="2371"/>
                  </a:lnTo>
                  <a:lnTo>
                    <a:pt x="790" y="2324"/>
                  </a:lnTo>
                  <a:lnTo>
                    <a:pt x="874" y="2275"/>
                  </a:lnTo>
                  <a:lnTo>
                    <a:pt x="955" y="2222"/>
                  </a:lnTo>
                  <a:lnTo>
                    <a:pt x="1036" y="2169"/>
                  </a:lnTo>
                  <a:lnTo>
                    <a:pt x="1114" y="2114"/>
                  </a:lnTo>
                  <a:lnTo>
                    <a:pt x="1193" y="2057"/>
                  </a:lnTo>
                  <a:lnTo>
                    <a:pt x="1269" y="1998"/>
                  </a:lnTo>
                  <a:lnTo>
                    <a:pt x="1344" y="1937"/>
                  </a:lnTo>
                  <a:lnTo>
                    <a:pt x="1418" y="1874"/>
                  </a:lnTo>
                  <a:lnTo>
                    <a:pt x="1491" y="1809"/>
                  </a:lnTo>
                  <a:lnTo>
                    <a:pt x="1561" y="1743"/>
                  </a:lnTo>
                  <a:lnTo>
                    <a:pt x="1630" y="1674"/>
                  </a:lnTo>
                  <a:lnTo>
                    <a:pt x="1699" y="1604"/>
                  </a:lnTo>
                  <a:lnTo>
                    <a:pt x="1765" y="1532"/>
                  </a:lnTo>
                  <a:lnTo>
                    <a:pt x="1830" y="1458"/>
                  </a:lnTo>
                  <a:lnTo>
                    <a:pt x="1892" y="1382"/>
                  </a:lnTo>
                  <a:lnTo>
                    <a:pt x="1953" y="1305"/>
                  </a:lnTo>
                  <a:lnTo>
                    <a:pt x="2013" y="1227"/>
                  </a:lnTo>
                  <a:lnTo>
                    <a:pt x="2071" y="1145"/>
                  </a:lnTo>
                  <a:lnTo>
                    <a:pt x="2126" y="1063"/>
                  </a:lnTo>
                  <a:lnTo>
                    <a:pt x="2181" y="979"/>
                  </a:lnTo>
                  <a:lnTo>
                    <a:pt x="2232" y="894"/>
                  </a:lnTo>
                  <a:lnTo>
                    <a:pt x="2282" y="806"/>
                  </a:lnTo>
                  <a:lnTo>
                    <a:pt x="2331" y="717"/>
                  </a:lnTo>
                  <a:lnTo>
                    <a:pt x="2376" y="626"/>
                  </a:lnTo>
                  <a:lnTo>
                    <a:pt x="2420" y="533"/>
                  </a:lnTo>
                  <a:lnTo>
                    <a:pt x="2462" y="440"/>
                  </a:lnTo>
                  <a:lnTo>
                    <a:pt x="2502" y="344"/>
                  </a:lnTo>
                  <a:lnTo>
                    <a:pt x="2502" y="3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85" name="îŝļïdé">
              <a:extLst>
                <a:ext uri="{FF2B5EF4-FFF2-40B4-BE49-F238E27FC236}">
                  <a16:creationId xmlns:a16="http://schemas.microsoft.com/office/drawing/2014/main" id="{823EFFAE-16D4-4E63-A513-228F2FCF30B6}"/>
                </a:ext>
              </a:extLst>
            </p:cNvPr>
            <p:cNvSpPr/>
            <p:nvPr/>
          </p:nvSpPr>
          <p:spPr bwMode="auto">
            <a:xfrm>
              <a:off x="6164942" y="2814065"/>
              <a:ext cx="81693" cy="83378"/>
            </a:xfrm>
            <a:custGeom>
              <a:avLst/>
              <a:gdLst>
                <a:gd name="T0" fmla="*/ 3402 w 3596"/>
                <a:gd name="T1" fmla="*/ 6 h 3668"/>
                <a:gd name="T2" fmla="*/ 3352 w 3596"/>
                <a:gd name="T3" fmla="*/ 0 h 3668"/>
                <a:gd name="T4" fmla="*/ 3303 w 3596"/>
                <a:gd name="T5" fmla="*/ 3 h 3668"/>
                <a:gd name="T6" fmla="*/ 3257 w 3596"/>
                <a:gd name="T7" fmla="*/ 15 h 3668"/>
                <a:gd name="T8" fmla="*/ 3213 w 3596"/>
                <a:gd name="T9" fmla="*/ 36 h 3668"/>
                <a:gd name="T10" fmla="*/ 3174 w 3596"/>
                <a:gd name="T11" fmla="*/ 65 h 3668"/>
                <a:gd name="T12" fmla="*/ 3142 w 3596"/>
                <a:gd name="T13" fmla="*/ 102 h 3668"/>
                <a:gd name="T14" fmla="*/ 3116 w 3596"/>
                <a:gd name="T15" fmla="*/ 146 h 3668"/>
                <a:gd name="T16" fmla="*/ 2938 w 3596"/>
                <a:gd name="T17" fmla="*/ 547 h 3668"/>
                <a:gd name="T18" fmla="*/ 2666 w 3596"/>
                <a:gd name="T19" fmla="*/ 1035 h 3668"/>
                <a:gd name="T20" fmla="*/ 2353 w 3596"/>
                <a:gd name="T21" fmla="*/ 1485 h 3668"/>
                <a:gd name="T22" fmla="*/ 2000 w 3596"/>
                <a:gd name="T23" fmla="*/ 1898 h 3668"/>
                <a:gd name="T24" fmla="*/ 1613 w 3596"/>
                <a:gd name="T25" fmla="*/ 2270 h 3668"/>
                <a:gd name="T26" fmla="*/ 1193 w 3596"/>
                <a:gd name="T27" fmla="*/ 2601 h 3668"/>
                <a:gd name="T28" fmla="*/ 746 w 3596"/>
                <a:gd name="T29" fmla="*/ 2889 h 3668"/>
                <a:gd name="T30" fmla="*/ 274 w 3596"/>
                <a:gd name="T31" fmla="*/ 3133 h 3668"/>
                <a:gd name="T32" fmla="*/ 119 w 3596"/>
                <a:gd name="T33" fmla="*/ 3204 h 3668"/>
                <a:gd name="T34" fmla="*/ 80 w 3596"/>
                <a:gd name="T35" fmla="*/ 3234 h 3668"/>
                <a:gd name="T36" fmla="*/ 48 w 3596"/>
                <a:gd name="T37" fmla="*/ 3271 h 3668"/>
                <a:gd name="T38" fmla="*/ 24 w 3596"/>
                <a:gd name="T39" fmla="*/ 3312 h 3668"/>
                <a:gd name="T40" fmla="*/ 7 w 3596"/>
                <a:gd name="T41" fmla="*/ 3359 h 3668"/>
                <a:gd name="T42" fmla="*/ 1 w 3596"/>
                <a:gd name="T43" fmla="*/ 3406 h 3668"/>
                <a:gd name="T44" fmla="*/ 3 w 3596"/>
                <a:gd name="T45" fmla="*/ 3455 h 3668"/>
                <a:gd name="T46" fmla="*/ 17 w 3596"/>
                <a:gd name="T47" fmla="*/ 3504 h 3668"/>
                <a:gd name="T48" fmla="*/ 39 w 3596"/>
                <a:gd name="T49" fmla="*/ 3551 h 3668"/>
                <a:gd name="T50" fmla="*/ 69 w 3596"/>
                <a:gd name="T51" fmla="*/ 3590 h 3668"/>
                <a:gd name="T52" fmla="*/ 106 w 3596"/>
                <a:gd name="T53" fmla="*/ 3622 h 3668"/>
                <a:gd name="T54" fmla="*/ 147 w 3596"/>
                <a:gd name="T55" fmla="*/ 3646 h 3668"/>
                <a:gd name="T56" fmla="*/ 194 w 3596"/>
                <a:gd name="T57" fmla="*/ 3661 h 3668"/>
                <a:gd name="T58" fmla="*/ 241 w 3596"/>
                <a:gd name="T59" fmla="*/ 3668 h 3668"/>
                <a:gd name="T60" fmla="*/ 290 w 3596"/>
                <a:gd name="T61" fmla="*/ 3666 h 3668"/>
                <a:gd name="T62" fmla="*/ 339 w 3596"/>
                <a:gd name="T63" fmla="*/ 3653 h 3668"/>
                <a:gd name="T64" fmla="*/ 499 w 3596"/>
                <a:gd name="T65" fmla="*/ 3578 h 3668"/>
                <a:gd name="T66" fmla="*/ 1011 w 3596"/>
                <a:gd name="T67" fmla="*/ 3312 h 3668"/>
                <a:gd name="T68" fmla="*/ 1497 w 3596"/>
                <a:gd name="T69" fmla="*/ 2998 h 3668"/>
                <a:gd name="T70" fmla="*/ 1952 w 3596"/>
                <a:gd name="T71" fmla="*/ 2638 h 3668"/>
                <a:gd name="T72" fmla="*/ 2373 w 3596"/>
                <a:gd name="T73" fmla="*/ 2233 h 3668"/>
                <a:gd name="T74" fmla="*/ 2756 w 3596"/>
                <a:gd name="T75" fmla="*/ 1785 h 3668"/>
                <a:gd name="T76" fmla="*/ 3096 w 3596"/>
                <a:gd name="T77" fmla="*/ 1295 h 3668"/>
                <a:gd name="T78" fmla="*/ 3390 w 3596"/>
                <a:gd name="T79" fmla="*/ 766 h 3668"/>
                <a:gd name="T80" fmla="*/ 3583 w 3596"/>
                <a:gd name="T81" fmla="*/ 333 h 3668"/>
                <a:gd name="T82" fmla="*/ 3594 w 3596"/>
                <a:gd name="T83" fmla="*/ 283 h 3668"/>
                <a:gd name="T84" fmla="*/ 3596 w 3596"/>
                <a:gd name="T85" fmla="*/ 234 h 3668"/>
                <a:gd name="T86" fmla="*/ 3587 w 3596"/>
                <a:gd name="T87" fmla="*/ 186 h 3668"/>
                <a:gd name="T88" fmla="*/ 3571 w 3596"/>
                <a:gd name="T89" fmla="*/ 142 h 3668"/>
                <a:gd name="T90" fmla="*/ 3545 w 3596"/>
                <a:gd name="T91" fmla="*/ 100 h 3668"/>
                <a:gd name="T92" fmla="*/ 3512 w 3596"/>
                <a:gd name="T93" fmla="*/ 64 h 3668"/>
                <a:gd name="T94" fmla="*/ 3472 w 3596"/>
                <a:gd name="T95" fmla="*/ 35 h 3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596" h="3668">
                  <a:moveTo>
                    <a:pt x="3438" y="18"/>
                  </a:moveTo>
                  <a:lnTo>
                    <a:pt x="3426" y="13"/>
                  </a:lnTo>
                  <a:lnTo>
                    <a:pt x="3414" y="9"/>
                  </a:lnTo>
                  <a:lnTo>
                    <a:pt x="3402" y="6"/>
                  </a:lnTo>
                  <a:lnTo>
                    <a:pt x="3388" y="4"/>
                  </a:lnTo>
                  <a:lnTo>
                    <a:pt x="3376" y="2"/>
                  </a:lnTo>
                  <a:lnTo>
                    <a:pt x="3364" y="0"/>
                  </a:lnTo>
                  <a:lnTo>
                    <a:pt x="3352" y="0"/>
                  </a:lnTo>
                  <a:lnTo>
                    <a:pt x="3339" y="0"/>
                  </a:lnTo>
                  <a:lnTo>
                    <a:pt x="3327" y="0"/>
                  </a:lnTo>
                  <a:lnTo>
                    <a:pt x="3315" y="1"/>
                  </a:lnTo>
                  <a:lnTo>
                    <a:pt x="3303" y="3"/>
                  </a:lnTo>
                  <a:lnTo>
                    <a:pt x="3291" y="5"/>
                  </a:lnTo>
                  <a:lnTo>
                    <a:pt x="3280" y="8"/>
                  </a:lnTo>
                  <a:lnTo>
                    <a:pt x="3268" y="11"/>
                  </a:lnTo>
                  <a:lnTo>
                    <a:pt x="3257" y="15"/>
                  </a:lnTo>
                  <a:lnTo>
                    <a:pt x="3246" y="20"/>
                  </a:lnTo>
                  <a:lnTo>
                    <a:pt x="3235" y="25"/>
                  </a:lnTo>
                  <a:lnTo>
                    <a:pt x="3223" y="30"/>
                  </a:lnTo>
                  <a:lnTo>
                    <a:pt x="3213" y="36"/>
                  </a:lnTo>
                  <a:lnTo>
                    <a:pt x="3203" y="43"/>
                  </a:lnTo>
                  <a:lnTo>
                    <a:pt x="3193" y="50"/>
                  </a:lnTo>
                  <a:lnTo>
                    <a:pt x="3183" y="57"/>
                  </a:lnTo>
                  <a:lnTo>
                    <a:pt x="3174" y="65"/>
                  </a:lnTo>
                  <a:lnTo>
                    <a:pt x="3165" y="74"/>
                  </a:lnTo>
                  <a:lnTo>
                    <a:pt x="3157" y="83"/>
                  </a:lnTo>
                  <a:lnTo>
                    <a:pt x="3149" y="92"/>
                  </a:lnTo>
                  <a:lnTo>
                    <a:pt x="3142" y="102"/>
                  </a:lnTo>
                  <a:lnTo>
                    <a:pt x="3135" y="112"/>
                  </a:lnTo>
                  <a:lnTo>
                    <a:pt x="3128" y="122"/>
                  </a:lnTo>
                  <a:lnTo>
                    <a:pt x="3122" y="133"/>
                  </a:lnTo>
                  <a:lnTo>
                    <a:pt x="3116" y="146"/>
                  </a:lnTo>
                  <a:lnTo>
                    <a:pt x="3111" y="158"/>
                  </a:lnTo>
                  <a:lnTo>
                    <a:pt x="3056" y="289"/>
                  </a:lnTo>
                  <a:lnTo>
                    <a:pt x="2998" y="419"/>
                  </a:lnTo>
                  <a:lnTo>
                    <a:pt x="2938" y="547"/>
                  </a:lnTo>
                  <a:lnTo>
                    <a:pt x="2874" y="672"/>
                  </a:lnTo>
                  <a:lnTo>
                    <a:pt x="2808" y="795"/>
                  </a:lnTo>
                  <a:lnTo>
                    <a:pt x="2739" y="916"/>
                  </a:lnTo>
                  <a:lnTo>
                    <a:pt x="2666" y="1035"/>
                  </a:lnTo>
                  <a:lnTo>
                    <a:pt x="2592" y="1150"/>
                  </a:lnTo>
                  <a:lnTo>
                    <a:pt x="2515" y="1264"/>
                  </a:lnTo>
                  <a:lnTo>
                    <a:pt x="2435" y="1376"/>
                  </a:lnTo>
                  <a:lnTo>
                    <a:pt x="2353" y="1485"/>
                  </a:lnTo>
                  <a:lnTo>
                    <a:pt x="2269" y="1592"/>
                  </a:lnTo>
                  <a:lnTo>
                    <a:pt x="2181" y="1697"/>
                  </a:lnTo>
                  <a:lnTo>
                    <a:pt x="2092" y="1798"/>
                  </a:lnTo>
                  <a:lnTo>
                    <a:pt x="2000" y="1898"/>
                  </a:lnTo>
                  <a:lnTo>
                    <a:pt x="1907" y="1994"/>
                  </a:lnTo>
                  <a:lnTo>
                    <a:pt x="1811" y="2089"/>
                  </a:lnTo>
                  <a:lnTo>
                    <a:pt x="1713" y="2181"/>
                  </a:lnTo>
                  <a:lnTo>
                    <a:pt x="1613" y="2270"/>
                  </a:lnTo>
                  <a:lnTo>
                    <a:pt x="1511" y="2357"/>
                  </a:lnTo>
                  <a:lnTo>
                    <a:pt x="1407" y="2441"/>
                  </a:lnTo>
                  <a:lnTo>
                    <a:pt x="1301" y="2523"/>
                  </a:lnTo>
                  <a:lnTo>
                    <a:pt x="1193" y="2601"/>
                  </a:lnTo>
                  <a:lnTo>
                    <a:pt x="1084" y="2678"/>
                  </a:lnTo>
                  <a:lnTo>
                    <a:pt x="973" y="2751"/>
                  </a:lnTo>
                  <a:lnTo>
                    <a:pt x="861" y="2821"/>
                  </a:lnTo>
                  <a:lnTo>
                    <a:pt x="746" y="2889"/>
                  </a:lnTo>
                  <a:lnTo>
                    <a:pt x="630" y="2954"/>
                  </a:lnTo>
                  <a:lnTo>
                    <a:pt x="512" y="3017"/>
                  </a:lnTo>
                  <a:lnTo>
                    <a:pt x="394" y="3076"/>
                  </a:lnTo>
                  <a:lnTo>
                    <a:pt x="274" y="3133"/>
                  </a:lnTo>
                  <a:lnTo>
                    <a:pt x="152" y="3187"/>
                  </a:lnTo>
                  <a:lnTo>
                    <a:pt x="141" y="3192"/>
                  </a:lnTo>
                  <a:lnTo>
                    <a:pt x="129" y="3198"/>
                  </a:lnTo>
                  <a:lnTo>
                    <a:pt x="119" y="3204"/>
                  </a:lnTo>
                  <a:lnTo>
                    <a:pt x="108" y="3211"/>
                  </a:lnTo>
                  <a:lnTo>
                    <a:pt x="98" y="3219"/>
                  </a:lnTo>
                  <a:lnTo>
                    <a:pt x="89" y="3226"/>
                  </a:lnTo>
                  <a:lnTo>
                    <a:pt x="80" y="3234"/>
                  </a:lnTo>
                  <a:lnTo>
                    <a:pt x="71" y="3243"/>
                  </a:lnTo>
                  <a:lnTo>
                    <a:pt x="63" y="3252"/>
                  </a:lnTo>
                  <a:lnTo>
                    <a:pt x="55" y="3261"/>
                  </a:lnTo>
                  <a:lnTo>
                    <a:pt x="48" y="3271"/>
                  </a:lnTo>
                  <a:lnTo>
                    <a:pt x="41" y="3281"/>
                  </a:lnTo>
                  <a:lnTo>
                    <a:pt x="35" y="3291"/>
                  </a:lnTo>
                  <a:lnTo>
                    <a:pt x="29" y="3302"/>
                  </a:lnTo>
                  <a:lnTo>
                    <a:pt x="24" y="3312"/>
                  </a:lnTo>
                  <a:lnTo>
                    <a:pt x="19" y="3324"/>
                  </a:lnTo>
                  <a:lnTo>
                    <a:pt x="15" y="3335"/>
                  </a:lnTo>
                  <a:lnTo>
                    <a:pt x="11" y="3346"/>
                  </a:lnTo>
                  <a:lnTo>
                    <a:pt x="7" y="3359"/>
                  </a:lnTo>
                  <a:lnTo>
                    <a:pt x="5" y="3370"/>
                  </a:lnTo>
                  <a:lnTo>
                    <a:pt x="3" y="3382"/>
                  </a:lnTo>
                  <a:lnTo>
                    <a:pt x="1" y="3394"/>
                  </a:lnTo>
                  <a:lnTo>
                    <a:pt x="1" y="3406"/>
                  </a:lnTo>
                  <a:lnTo>
                    <a:pt x="0" y="3419"/>
                  </a:lnTo>
                  <a:lnTo>
                    <a:pt x="1" y="3431"/>
                  </a:lnTo>
                  <a:lnTo>
                    <a:pt x="2" y="3443"/>
                  </a:lnTo>
                  <a:lnTo>
                    <a:pt x="3" y="3455"/>
                  </a:lnTo>
                  <a:lnTo>
                    <a:pt x="6" y="3467"/>
                  </a:lnTo>
                  <a:lnTo>
                    <a:pt x="8" y="3480"/>
                  </a:lnTo>
                  <a:lnTo>
                    <a:pt x="13" y="3492"/>
                  </a:lnTo>
                  <a:lnTo>
                    <a:pt x="17" y="3504"/>
                  </a:lnTo>
                  <a:lnTo>
                    <a:pt x="22" y="3516"/>
                  </a:lnTo>
                  <a:lnTo>
                    <a:pt x="27" y="3529"/>
                  </a:lnTo>
                  <a:lnTo>
                    <a:pt x="33" y="3540"/>
                  </a:lnTo>
                  <a:lnTo>
                    <a:pt x="39" y="3551"/>
                  </a:lnTo>
                  <a:lnTo>
                    <a:pt x="46" y="3561"/>
                  </a:lnTo>
                  <a:lnTo>
                    <a:pt x="54" y="3571"/>
                  </a:lnTo>
                  <a:lnTo>
                    <a:pt x="61" y="3581"/>
                  </a:lnTo>
                  <a:lnTo>
                    <a:pt x="69" y="3590"/>
                  </a:lnTo>
                  <a:lnTo>
                    <a:pt x="78" y="3599"/>
                  </a:lnTo>
                  <a:lnTo>
                    <a:pt x="87" y="3607"/>
                  </a:lnTo>
                  <a:lnTo>
                    <a:pt x="96" y="3615"/>
                  </a:lnTo>
                  <a:lnTo>
                    <a:pt x="106" y="3622"/>
                  </a:lnTo>
                  <a:lnTo>
                    <a:pt x="116" y="3629"/>
                  </a:lnTo>
                  <a:lnTo>
                    <a:pt x="126" y="3635"/>
                  </a:lnTo>
                  <a:lnTo>
                    <a:pt x="137" y="3641"/>
                  </a:lnTo>
                  <a:lnTo>
                    <a:pt x="147" y="3646"/>
                  </a:lnTo>
                  <a:lnTo>
                    <a:pt x="158" y="3651"/>
                  </a:lnTo>
                  <a:lnTo>
                    <a:pt x="170" y="3655"/>
                  </a:lnTo>
                  <a:lnTo>
                    <a:pt x="182" y="3658"/>
                  </a:lnTo>
                  <a:lnTo>
                    <a:pt x="194" y="3661"/>
                  </a:lnTo>
                  <a:lnTo>
                    <a:pt x="205" y="3664"/>
                  </a:lnTo>
                  <a:lnTo>
                    <a:pt x="217" y="3666"/>
                  </a:lnTo>
                  <a:lnTo>
                    <a:pt x="229" y="3667"/>
                  </a:lnTo>
                  <a:lnTo>
                    <a:pt x="241" y="3668"/>
                  </a:lnTo>
                  <a:lnTo>
                    <a:pt x="254" y="3668"/>
                  </a:lnTo>
                  <a:lnTo>
                    <a:pt x="266" y="3668"/>
                  </a:lnTo>
                  <a:lnTo>
                    <a:pt x="278" y="3667"/>
                  </a:lnTo>
                  <a:lnTo>
                    <a:pt x="290" y="3666"/>
                  </a:lnTo>
                  <a:lnTo>
                    <a:pt x="302" y="3663"/>
                  </a:lnTo>
                  <a:lnTo>
                    <a:pt x="315" y="3661"/>
                  </a:lnTo>
                  <a:lnTo>
                    <a:pt x="327" y="3657"/>
                  </a:lnTo>
                  <a:lnTo>
                    <a:pt x="339" y="3653"/>
                  </a:lnTo>
                  <a:lnTo>
                    <a:pt x="352" y="3648"/>
                  </a:lnTo>
                  <a:lnTo>
                    <a:pt x="360" y="3642"/>
                  </a:lnTo>
                  <a:lnTo>
                    <a:pt x="368" y="3637"/>
                  </a:lnTo>
                  <a:lnTo>
                    <a:pt x="499" y="3578"/>
                  </a:lnTo>
                  <a:lnTo>
                    <a:pt x="629" y="3516"/>
                  </a:lnTo>
                  <a:lnTo>
                    <a:pt x="758" y="3451"/>
                  </a:lnTo>
                  <a:lnTo>
                    <a:pt x="886" y="3384"/>
                  </a:lnTo>
                  <a:lnTo>
                    <a:pt x="1011" y="3312"/>
                  </a:lnTo>
                  <a:lnTo>
                    <a:pt x="1135" y="3238"/>
                  </a:lnTo>
                  <a:lnTo>
                    <a:pt x="1258" y="3161"/>
                  </a:lnTo>
                  <a:lnTo>
                    <a:pt x="1379" y="3081"/>
                  </a:lnTo>
                  <a:lnTo>
                    <a:pt x="1497" y="2998"/>
                  </a:lnTo>
                  <a:lnTo>
                    <a:pt x="1614" y="2913"/>
                  </a:lnTo>
                  <a:lnTo>
                    <a:pt x="1729" y="2824"/>
                  </a:lnTo>
                  <a:lnTo>
                    <a:pt x="1841" y="2733"/>
                  </a:lnTo>
                  <a:lnTo>
                    <a:pt x="1952" y="2638"/>
                  </a:lnTo>
                  <a:lnTo>
                    <a:pt x="2061" y="2541"/>
                  </a:lnTo>
                  <a:lnTo>
                    <a:pt x="2167" y="2441"/>
                  </a:lnTo>
                  <a:lnTo>
                    <a:pt x="2271" y="2339"/>
                  </a:lnTo>
                  <a:lnTo>
                    <a:pt x="2373" y="2233"/>
                  </a:lnTo>
                  <a:lnTo>
                    <a:pt x="2472" y="2125"/>
                  </a:lnTo>
                  <a:lnTo>
                    <a:pt x="2570" y="2015"/>
                  </a:lnTo>
                  <a:lnTo>
                    <a:pt x="2664" y="1901"/>
                  </a:lnTo>
                  <a:lnTo>
                    <a:pt x="2756" y="1785"/>
                  </a:lnTo>
                  <a:lnTo>
                    <a:pt x="2845" y="1667"/>
                  </a:lnTo>
                  <a:lnTo>
                    <a:pt x="2932" y="1546"/>
                  </a:lnTo>
                  <a:lnTo>
                    <a:pt x="3015" y="1422"/>
                  </a:lnTo>
                  <a:lnTo>
                    <a:pt x="3096" y="1295"/>
                  </a:lnTo>
                  <a:lnTo>
                    <a:pt x="3174" y="1167"/>
                  </a:lnTo>
                  <a:lnTo>
                    <a:pt x="3249" y="1036"/>
                  </a:lnTo>
                  <a:lnTo>
                    <a:pt x="3321" y="902"/>
                  </a:lnTo>
                  <a:lnTo>
                    <a:pt x="3390" y="766"/>
                  </a:lnTo>
                  <a:lnTo>
                    <a:pt x="3456" y="628"/>
                  </a:lnTo>
                  <a:lnTo>
                    <a:pt x="3518" y="488"/>
                  </a:lnTo>
                  <a:lnTo>
                    <a:pt x="3578" y="345"/>
                  </a:lnTo>
                  <a:lnTo>
                    <a:pt x="3583" y="333"/>
                  </a:lnTo>
                  <a:lnTo>
                    <a:pt x="3587" y="320"/>
                  </a:lnTo>
                  <a:lnTo>
                    <a:pt x="3590" y="308"/>
                  </a:lnTo>
                  <a:lnTo>
                    <a:pt x="3592" y="295"/>
                  </a:lnTo>
                  <a:lnTo>
                    <a:pt x="3594" y="283"/>
                  </a:lnTo>
                  <a:lnTo>
                    <a:pt x="3595" y="271"/>
                  </a:lnTo>
                  <a:lnTo>
                    <a:pt x="3596" y="258"/>
                  </a:lnTo>
                  <a:lnTo>
                    <a:pt x="3596" y="246"/>
                  </a:lnTo>
                  <a:lnTo>
                    <a:pt x="3596" y="234"/>
                  </a:lnTo>
                  <a:lnTo>
                    <a:pt x="3594" y="222"/>
                  </a:lnTo>
                  <a:lnTo>
                    <a:pt x="3593" y="210"/>
                  </a:lnTo>
                  <a:lnTo>
                    <a:pt x="3590" y="198"/>
                  </a:lnTo>
                  <a:lnTo>
                    <a:pt x="3587" y="186"/>
                  </a:lnTo>
                  <a:lnTo>
                    <a:pt x="3584" y="175"/>
                  </a:lnTo>
                  <a:lnTo>
                    <a:pt x="3580" y="164"/>
                  </a:lnTo>
                  <a:lnTo>
                    <a:pt x="3576" y="153"/>
                  </a:lnTo>
                  <a:lnTo>
                    <a:pt x="3571" y="142"/>
                  </a:lnTo>
                  <a:lnTo>
                    <a:pt x="3564" y="130"/>
                  </a:lnTo>
                  <a:lnTo>
                    <a:pt x="3558" y="119"/>
                  </a:lnTo>
                  <a:lnTo>
                    <a:pt x="3552" y="109"/>
                  </a:lnTo>
                  <a:lnTo>
                    <a:pt x="3545" y="100"/>
                  </a:lnTo>
                  <a:lnTo>
                    <a:pt x="3537" y="90"/>
                  </a:lnTo>
                  <a:lnTo>
                    <a:pt x="3529" y="81"/>
                  </a:lnTo>
                  <a:lnTo>
                    <a:pt x="3521" y="72"/>
                  </a:lnTo>
                  <a:lnTo>
                    <a:pt x="3512" y="64"/>
                  </a:lnTo>
                  <a:lnTo>
                    <a:pt x="3503" y="56"/>
                  </a:lnTo>
                  <a:lnTo>
                    <a:pt x="3493" y="48"/>
                  </a:lnTo>
                  <a:lnTo>
                    <a:pt x="3483" y="41"/>
                  </a:lnTo>
                  <a:lnTo>
                    <a:pt x="3472" y="35"/>
                  </a:lnTo>
                  <a:lnTo>
                    <a:pt x="3461" y="29"/>
                  </a:lnTo>
                  <a:lnTo>
                    <a:pt x="3450" y="23"/>
                  </a:lnTo>
                  <a:lnTo>
                    <a:pt x="3438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86" name="îš1ïḓê">
              <a:extLst>
                <a:ext uri="{FF2B5EF4-FFF2-40B4-BE49-F238E27FC236}">
                  <a16:creationId xmlns:a16="http://schemas.microsoft.com/office/drawing/2014/main" id="{DD03AACC-1168-46EE-B7F9-12EF8CCB4856}"/>
                </a:ext>
              </a:extLst>
            </p:cNvPr>
            <p:cNvSpPr/>
            <p:nvPr/>
          </p:nvSpPr>
          <p:spPr bwMode="auto">
            <a:xfrm>
              <a:off x="6156520" y="2805643"/>
              <a:ext cx="69061" cy="70745"/>
            </a:xfrm>
            <a:custGeom>
              <a:avLst/>
              <a:gdLst>
                <a:gd name="T0" fmla="*/ 2862 w 3057"/>
                <a:gd name="T1" fmla="*/ 8 h 3119"/>
                <a:gd name="T2" fmla="*/ 2813 w 3057"/>
                <a:gd name="T3" fmla="*/ 0 h 3119"/>
                <a:gd name="T4" fmla="*/ 2764 w 3057"/>
                <a:gd name="T5" fmla="*/ 4 h 3119"/>
                <a:gd name="T6" fmla="*/ 2718 w 3057"/>
                <a:gd name="T7" fmla="*/ 17 h 3119"/>
                <a:gd name="T8" fmla="*/ 2674 w 3057"/>
                <a:gd name="T9" fmla="*/ 38 h 3119"/>
                <a:gd name="T10" fmla="*/ 2636 w 3057"/>
                <a:gd name="T11" fmla="*/ 67 h 3119"/>
                <a:gd name="T12" fmla="*/ 2602 w 3057"/>
                <a:gd name="T13" fmla="*/ 103 h 3119"/>
                <a:gd name="T14" fmla="*/ 2577 w 3057"/>
                <a:gd name="T15" fmla="*/ 146 h 3119"/>
                <a:gd name="T16" fmla="*/ 2430 w 3057"/>
                <a:gd name="T17" fmla="*/ 477 h 3119"/>
                <a:gd name="T18" fmla="*/ 2209 w 3057"/>
                <a:gd name="T19" fmla="*/ 877 h 3119"/>
                <a:gd name="T20" fmla="*/ 1953 w 3057"/>
                <a:gd name="T21" fmla="*/ 1245 h 3119"/>
                <a:gd name="T22" fmla="*/ 1664 w 3057"/>
                <a:gd name="T23" fmla="*/ 1583 h 3119"/>
                <a:gd name="T24" fmla="*/ 1347 w 3057"/>
                <a:gd name="T25" fmla="*/ 1888 h 3119"/>
                <a:gd name="T26" fmla="*/ 1004 w 3057"/>
                <a:gd name="T27" fmla="*/ 2158 h 3119"/>
                <a:gd name="T28" fmla="*/ 638 w 3057"/>
                <a:gd name="T29" fmla="*/ 2394 h 3119"/>
                <a:gd name="T30" fmla="*/ 252 w 3057"/>
                <a:gd name="T31" fmla="*/ 2593 h 3119"/>
                <a:gd name="T32" fmla="*/ 129 w 3057"/>
                <a:gd name="T33" fmla="*/ 2648 h 3119"/>
                <a:gd name="T34" fmla="*/ 88 w 3057"/>
                <a:gd name="T35" fmla="*/ 2676 h 3119"/>
                <a:gd name="T36" fmla="*/ 54 w 3057"/>
                <a:gd name="T37" fmla="*/ 2711 h 3119"/>
                <a:gd name="T38" fmla="*/ 28 w 3057"/>
                <a:gd name="T39" fmla="*/ 2753 h 3119"/>
                <a:gd name="T40" fmla="*/ 10 w 3057"/>
                <a:gd name="T41" fmla="*/ 2797 h 3119"/>
                <a:gd name="T42" fmla="*/ 1 w 3057"/>
                <a:gd name="T43" fmla="*/ 2844 h 3119"/>
                <a:gd name="T44" fmla="*/ 1 w 3057"/>
                <a:gd name="T45" fmla="*/ 2894 h 3119"/>
                <a:gd name="T46" fmla="*/ 11 w 3057"/>
                <a:gd name="T47" fmla="*/ 2943 h 3119"/>
                <a:gd name="T48" fmla="*/ 31 w 3057"/>
                <a:gd name="T49" fmla="*/ 2990 h 3119"/>
                <a:gd name="T50" fmla="*/ 60 w 3057"/>
                <a:gd name="T51" fmla="*/ 3031 h 3119"/>
                <a:gd name="T52" fmla="*/ 96 w 3057"/>
                <a:gd name="T53" fmla="*/ 3066 h 3119"/>
                <a:gd name="T54" fmla="*/ 136 w 3057"/>
                <a:gd name="T55" fmla="*/ 3092 h 3119"/>
                <a:gd name="T56" fmla="*/ 181 w 3057"/>
                <a:gd name="T57" fmla="*/ 3109 h 3119"/>
                <a:gd name="T58" fmla="*/ 228 w 3057"/>
                <a:gd name="T59" fmla="*/ 3118 h 3119"/>
                <a:gd name="T60" fmla="*/ 278 w 3057"/>
                <a:gd name="T61" fmla="*/ 3118 h 3119"/>
                <a:gd name="T62" fmla="*/ 326 w 3057"/>
                <a:gd name="T63" fmla="*/ 3108 h 3119"/>
                <a:gd name="T64" fmla="*/ 363 w 3057"/>
                <a:gd name="T65" fmla="*/ 3089 h 3119"/>
                <a:gd name="T66" fmla="*/ 796 w 3057"/>
                <a:gd name="T67" fmla="*/ 2877 h 3119"/>
                <a:gd name="T68" fmla="*/ 1206 w 3057"/>
                <a:gd name="T69" fmla="*/ 2626 h 3119"/>
                <a:gd name="T70" fmla="*/ 1593 w 3057"/>
                <a:gd name="T71" fmla="*/ 2336 h 3119"/>
                <a:gd name="T72" fmla="*/ 1951 w 3057"/>
                <a:gd name="T73" fmla="*/ 2007 h 3119"/>
                <a:gd name="T74" fmla="*/ 2278 w 3057"/>
                <a:gd name="T75" fmla="*/ 1643 h 3119"/>
                <a:gd name="T76" fmla="*/ 2570 w 3057"/>
                <a:gd name="T77" fmla="*/ 1244 h 3119"/>
                <a:gd name="T78" fmla="*/ 2825 w 3057"/>
                <a:gd name="T79" fmla="*/ 810 h 3119"/>
                <a:gd name="T80" fmla="*/ 3039 w 3057"/>
                <a:gd name="T81" fmla="*/ 346 h 3119"/>
                <a:gd name="T82" fmla="*/ 3053 w 3057"/>
                <a:gd name="T83" fmla="*/ 297 h 3119"/>
                <a:gd name="T84" fmla="*/ 3057 w 3057"/>
                <a:gd name="T85" fmla="*/ 248 h 3119"/>
                <a:gd name="T86" fmla="*/ 3051 w 3057"/>
                <a:gd name="T87" fmla="*/ 200 h 3119"/>
                <a:gd name="T88" fmla="*/ 3036 w 3057"/>
                <a:gd name="T89" fmla="*/ 153 h 3119"/>
                <a:gd name="T90" fmla="*/ 3013 w 3057"/>
                <a:gd name="T91" fmla="*/ 111 h 3119"/>
                <a:gd name="T92" fmla="*/ 2983 w 3057"/>
                <a:gd name="T93" fmla="*/ 74 h 3119"/>
                <a:gd name="T94" fmla="*/ 2943 w 3057"/>
                <a:gd name="T95" fmla="*/ 43 h 3119"/>
                <a:gd name="T96" fmla="*/ 2899 w 3057"/>
                <a:gd name="T97" fmla="*/ 19 h 3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057" h="3119">
                  <a:moveTo>
                    <a:pt x="2899" y="19"/>
                  </a:moveTo>
                  <a:lnTo>
                    <a:pt x="2887" y="15"/>
                  </a:lnTo>
                  <a:lnTo>
                    <a:pt x="2874" y="11"/>
                  </a:lnTo>
                  <a:lnTo>
                    <a:pt x="2862" y="8"/>
                  </a:lnTo>
                  <a:lnTo>
                    <a:pt x="2850" y="5"/>
                  </a:lnTo>
                  <a:lnTo>
                    <a:pt x="2838" y="3"/>
                  </a:lnTo>
                  <a:lnTo>
                    <a:pt x="2825" y="2"/>
                  </a:lnTo>
                  <a:lnTo>
                    <a:pt x="2813" y="0"/>
                  </a:lnTo>
                  <a:lnTo>
                    <a:pt x="2801" y="0"/>
                  </a:lnTo>
                  <a:lnTo>
                    <a:pt x="2789" y="2"/>
                  </a:lnTo>
                  <a:lnTo>
                    <a:pt x="2777" y="3"/>
                  </a:lnTo>
                  <a:lnTo>
                    <a:pt x="2764" y="4"/>
                  </a:lnTo>
                  <a:lnTo>
                    <a:pt x="2752" y="7"/>
                  </a:lnTo>
                  <a:lnTo>
                    <a:pt x="2740" y="9"/>
                  </a:lnTo>
                  <a:lnTo>
                    <a:pt x="2729" y="13"/>
                  </a:lnTo>
                  <a:lnTo>
                    <a:pt x="2718" y="17"/>
                  </a:lnTo>
                  <a:lnTo>
                    <a:pt x="2706" y="21"/>
                  </a:lnTo>
                  <a:lnTo>
                    <a:pt x="2695" y="26"/>
                  </a:lnTo>
                  <a:lnTo>
                    <a:pt x="2685" y="32"/>
                  </a:lnTo>
                  <a:lnTo>
                    <a:pt x="2674" y="38"/>
                  </a:lnTo>
                  <a:lnTo>
                    <a:pt x="2664" y="44"/>
                  </a:lnTo>
                  <a:lnTo>
                    <a:pt x="2655" y="51"/>
                  </a:lnTo>
                  <a:lnTo>
                    <a:pt x="2645" y="59"/>
                  </a:lnTo>
                  <a:lnTo>
                    <a:pt x="2636" y="67"/>
                  </a:lnTo>
                  <a:lnTo>
                    <a:pt x="2627" y="75"/>
                  </a:lnTo>
                  <a:lnTo>
                    <a:pt x="2619" y="84"/>
                  </a:lnTo>
                  <a:lnTo>
                    <a:pt x="2611" y="93"/>
                  </a:lnTo>
                  <a:lnTo>
                    <a:pt x="2602" y="103"/>
                  </a:lnTo>
                  <a:lnTo>
                    <a:pt x="2595" y="113"/>
                  </a:lnTo>
                  <a:lnTo>
                    <a:pt x="2589" y="124"/>
                  </a:lnTo>
                  <a:lnTo>
                    <a:pt x="2582" y="135"/>
                  </a:lnTo>
                  <a:lnTo>
                    <a:pt x="2577" y="146"/>
                  </a:lnTo>
                  <a:lnTo>
                    <a:pt x="2572" y="158"/>
                  </a:lnTo>
                  <a:lnTo>
                    <a:pt x="2527" y="266"/>
                  </a:lnTo>
                  <a:lnTo>
                    <a:pt x="2480" y="373"/>
                  </a:lnTo>
                  <a:lnTo>
                    <a:pt x="2430" y="477"/>
                  </a:lnTo>
                  <a:lnTo>
                    <a:pt x="2378" y="580"/>
                  </a:lnTo>
                  <a:lnTo>
                    <a:pt x="2324" y="681"/>
                  </a:lnTo>
                  <a:lnTo>
                    <a:pt x="2267" y="779"/>
                  </a:lnTo>
                  <a:lnTo>
                    <a:pt x="2209" y="877"/>
                  </a:lnTo>
                  <a:lnTo>
                    <a:pt x="2148" y="971"/>
                  </a:lnTo>
                  <a:lnTo>
                    <a:pt x="2084" y="1065"/>
                  </a:lnTo>
                  <a:lnTo>
                    <a:pt x="2020" y="1156"/>
                  </a:lnTo>
                  <a:lnTo>
                    <a:pt x="1953" y="1245"/>
                  </a:lnTo>
                  <a:lnTo>
                    <a:pt x="1883" y="1332"/>
                  </a:lnTo>
                  <a:lnTo>
                    <a:pt x="1812" y="1418"/>
                  </a:lnTo>
                  <a:lnTo>
                    <a:pt x="1739" y="1501"/>
                  </a:lnTo>
                  <a:lnTo>
                    <a:pt x="1664" y="1583"/>
                  </a:lnTo>
                  <a:lnTo>
                    <a:pt x="1587" y="1662"/>
                  </a:lnTo>
                  <a:lnTo>
                    <a:pt x="1509" y="1739"/>
                  </a:lnTo>
                  <a:lnTo>
                    <a:pt x="1429" y="1814"/>
                  </a:lnTo>
                  <a:lnTo>
                    <a:pt x="1347" y="1888"/>
                  </a:lnTo>
                  <a:lnTo>
                    <a:pt x="1264" y="1958"/>
                  </a:lnTo>
                  <a:lnTo>
                    <a:pt x="1178" y="2027"/>
                  </a:lnTo>
                  <a:lnTo>
                    <a:pt x="1092" y="2094"/>
                  </a:lnTo>
                  <a:lnTo>
                    <a:pt x="1004" y="2158"/>
                  </a:lnTo>
                  <a:lnTo>
                    <a:pt x="915" y="2221"/>
                  </a:lnTo>
                  <a:lnTo>
                    <a:pt x="823" y="2280"/>
                  </a:lnTo>
                  <a:lnTo>
                    <a:pt x="731" y="2338"/>
                  </a:lnTo>
                  <a:lnTo>
                    <a:pt x="638" y="2394"/>
                  </a:lnTo>
                  <a:lnTo>
                    <a:pt x="542" y="2447"/>
                  </a:lnTo>
                  <a:lnTo>
                    <a:pt x="447" y="2498"/>
                  </a:lnTo>
                  <a:lnTo>
                    <a:pt x="349" y="2547"/>
                  </a:lnTo>
                  <a:lnTo>
                    <a:pt x="252" y="2593"/>
                  </a:lnTo>
                  <a:lnTo>
                    <a:pt x="152" y="2636"/>
                  </a:lnTo>
                  <a:lnTo>
                    <a:pt x="152" y="2636"/>
                  </a:lnTo>
                  <a:lnTo>
                    <a:pt x="141" y="2642"/>
                  </a:lnTo>
                  <a:lnTo>
                    <a:pt x="129" y="2648"/>
                  </a:lnTo>
                  <a:lnTo>
                    <a:pt x="119" y="2654"/>
                  </a:lnTo>
                  <a:lnTo>
                    <a:pt x="108" y="2661"/>
                  </a:lnTo>
                  <a:lnTo>
                    <a:pt x="98" y="2668"/>
                  </a:lnTo>
                  <a:lnTo>
                    <a:pt x="88" y="2676"/>
                  </a:lnTo>
                  <a:lnTo>
                    <a:pt x="79" y="2684"/>
                  </a:lnTo>
                  <a:lnTo>
                    <a:pt x="71" y="2693"/>
                  </a:lnTo>
                  <a:lnTo>
                    <a:pt x="61" y="2702"/>
                  </a:lnTo>
                  <a:lnTo>
                    <a:pt x="54" y="2711"/>
                  </a:lnTo>
                  <a:lnTo>
                    <a:pt x="46" y="2722"/>
                  </a:lnTo>
                  <a:lnTo>
                    <a:pt x="40" y="2732"/>
                  </a:lnTo>
                  <a:lnTo>
                    <a:pt x="33" y="2742"/>
                  </a:lnTo>
                  <a:lnTo>
                    <a:pt x="28" y="2753"/>
                  </a:lnTo>
                  <a:lnTo>
                    <a:pt x="22" y="2763"/>
                  </a:lnTo>
                  <a:lnTo>
                    <a:pt x="18" y="2775"/>
                  </a:lnTo>
                  <a:lnTo>
                    <a:pt x="13" y="2786"/>
                  </a:lnTo>
                  <a:lnTo>
                    <a:pt x="10" y="2797"/>
                  </a:lnTo>
                  <a:lnTo>
                    <a:pt x="7" y="2809"/>
                  </a:lnTo>
                  <a:lnTo>
                    <a:pt x="4" y="2821"/>
                  </a:lnTo>
                  <a:lnTo>
                    <a:pt x="2" y="2832"/>
                  </a:lnTo>
                  <a:lnTo>
                    <a:pt x="1" y="2844"/>
                  </a:lnTo>
                  <a:lnTo>
                    <a:pt x="0" y="2857"/>
                  </a:lnTo>
                  <a:lnTo>
                    <a:pt x="0" y="2869"/>
                  </a:lnTo>
                  <a:lnTo>
                    <a:pt x="0" y="2882"/>
                  </a:lnTo>
                  <a:lnTo>
                    <a:pt x="1" y="2894"/>
                  </a:lnTo>
                  <a:lnTo>
                    <a:pt x="3" y="2906"/>
                  </a:lnTo>
                  <a:lnTo>
                    <a:pt x="5" y="2919"/>
                  </a:lnTo>
                  <a:lnTo>
                    <a:pt x="8" y="2931"/>
                  </a:lnTo>
                  <a:lnTo>
                    <a:pt x="11" y="2943"/>
                  </a:lnTo>
                  <a:lnTo>
                    <a:pt x="15" y="2955"/>
                  </a:lnTo>
                  <a:lnTo>
                    <a:pt x="20" y="2967"/>
                  </a:lnTo>
                  <a:lnTo>
                    <a:pt x="25" y="2979"/>
                  </a:lnTo>
                  <a:lnTo>
                    <a:pt x="31" y="2990"/>
                  </a:lnTo>
                  <a:lnTo>
                    <a:pt x="38" y="3001"/>
                  </a:lnTo>
                  <a:lnTo>
                    <a:pt x="45" y="3011"/>
                  </a:lnTo>
                  <a:lnTo>
                    <a:pt x="52" y="3021"/>
                  </a:lnTo>
                  <a:lnTo>
                    <a:pt x="60" y="3031"/>
                  </a:lnTo>
                  <a:lnTo>
                    <a:pt x="69" y="3040"/>
                  </a:lnTo>
                  <a:lnTo>
                    <a:pt x="77" y="3049"/>
                  </a:lnTo>
                  <a:lnTo>
                    <a:pt x="86" y="3058"/>
                  </a:lnTo>
                  <a:lnTo>
                    <a:pt x="96" y="3066"/>
                  </a:lnTo>
                  <a:lnTo>
                    <a:pt x="105" y="3073"/>
                  </a:lnTo>
                  <a:lnTo>
                    <a:pt x="115" y="3080"/>
                  </a:lnTo>
                  <a:lnTo>
                    <a:pt x="126" y="3086"/>
                  </a:lnTo>
                  <a:lnTo>
                    <a:pt x="136" y="3092"/>
                  </a:lnTo>
                  <a:lnTo>
                    <a:pt x="147" y="3097"/>
                  </a:lnTo>
                  <a:lnTo>
                    <a:pt x="158" y="3101"/>
                  </a:lnTo>
                  <a:lnTo>
                    <a:pt x="169" y="3106"/>
                  </a:lnTo>
                  <a:lnTo>
                    <a:pt x="181" y="3109"/>
                  </a:lnTo>
                  <a:lnTo>
                    <a:pt x="192" y="3112"/>
                  </a:lnTo>
                  <a:lnTo>
                    <a:pt x="204" y="3115"/>
                  </a:lnTo>
                  <a:lnTo>
                    <a:pt x="216" y="3117"/>
                  </a:lnTo>
                  <a:lnTo>
                    <a:pt x="228" y="3118"/>
                  </a:lnTo>
                  <a:lnTo>
                    <a:pt x="241" y="3119"/>
                  </a:lnTo>
                  <a:lnTo>
                    <a:pt x="253" y="3119"/>
                  </a:lnTo>
                  <a:lnTo>
                    <a:pt x="265" y="3119"/>
                  </a:lnTo>
                  <a:lnTo>
                    <a:pt x="278" y="3118"/>
                  </a:lnTo>
                  <a:lnTo>
                    <a:pt x="290" y="3117"/>
                  </a:lnTo>
                  <a:lnTo>
                    <a:pt x="302" y="3114"/>
                  </a:lnTo>
                  <a:lnTo>
                    <a:pt x="314" y="3112"/>
                  </a:lnTo>
                  <a:lnTo>
                    <a:pt x="326" y="3108"/>
                  </a:lnTo>
                  <a:lnTo>
                    <a:pt x="338" y="3104"/>
                  </a:lnTo>
                  <a:lnTo>
                    <a:pt x="350" y="3099"/>
                  </a:lnTo>
                  <a:lnTo>
                    <a:pt x="357" y="3094"/>
                  </a:lnTo>
                  <a:lnTo>
                    <a:pt x="363" y="3089"/>
                  </a:lnTo>
                  <a:lnTo>
                    <a:pt x="474" y="3040"/>
                  </a:lnTo>
                  <a:lnTo>
                    <a:pt x="582" y="2988"/>
                  </a:lnTo>
                  <a:lnTo>
                    <a:pt x="689" y="2935"/>
                  </a:lnTo>
                  <a:lnTo>
                    <a:pt x="796" y="2877"/>
                  </a:lnTo>
                  <a:lnTo>
                    <a:pt x="900" y="2819"/>
                  </a:lnTo>
                  <a:lnTo>
                    <a:pt x="1004" y="2757"/>
                  </a:lnTo>
                  <a:lnTo>
                    <a:pt x="1106" y="2693"/>
                  </a:lnTo>
                  <a:lnTo>
                    <a:pt x="1206" y="2626"/>
                  </a:lnTo>
                  <a:lnTo>
                    <a:pt x="1305" y="2558"/>
                  </a:lnTo>
                  <a:lnTo>
                    <a:pt x="1402" y="2486"/>
                  </a:lnTo>
                  <a:lnTo>
                    <a:pt x="1498" y="2412"/>
                  </a:lnTo>
                  <a:lnTo>
                    <a:pt x="1593" y="2336"/>
                  </a:lnTo>
                  <a:lnTo>
                    <a:pt x="1684" y="2257"/>
                  </a:lnTo>
                  <a:lnTo>
                    <a:pt x="1775" y="2176"/>
                  </a:lnTo>
                  <a:lnTo>
                    <a:pt x="1863" y="2093"/>
                  </a:lnTo>
                  <a:lnTo>
                    <a:pt x="1951" y="2007"/>
                  </a:lnTo>
                  <a:lnTo>
                    <a:pt x="2035" y="1920"/>
                  </a:lnTo>
                  <a:lnTo>
                    <a:pt x="2118" y="1829"/>
                  </a:lnTo>
                  <a:lnTo>
                    <a:pt x="2199" y="1738"/>
                  </a:lnTo>
                  <a:lnTo>
                    <a:pt x="2278" y="1643"/>
                  </a:lnTo>
                  <a:lnTo>
                    <a:pt x="2354" y="1547"/>
                  </a:lnTo>
                  <a:lnTo>
                    <a:pt x="2428" y="1448"/>
                  </a:lnTo>
                  <a:lnTo>
                    <a:pt x="2500" y="1346"/>
                  </a:lnTo>
                  <a:lnTo>
                    <a:pt x="2570" y="1244"/>
                  </a:lnTo>
                  <a:lnTo>
                    <a:pt x="2638" y="1138"/>
                  </a:lnTo>
                  <a:lnTo>
                    <a:pt x="2702" y="1032"/>
                  </a:lnTo>
                  <a:lnTo>
                    <a:pt x="2764" y="922"/>
                  </a:lnTo>
                  <a:lnTo>
                    <a:pt x="2825" y="810"/>
                  </a:lnTo>
                  <a:lnTo>
                    <a:pt x="2882" y="698"/>
                  </a:lnTo>
                  <a:lnTo>
                    <a:pt x="2937" y="582"/>
                  </a:lnTo>
                  <a:lnTo>
                    <a:pt x="2989" y="465"/>
                  </a:lnTo>
                  <a:lnTo>
                    <a:pt x="3039" y="346"/>
                  </a:lnTo>
                  <a:lnTo>
                    <a:pt x="3043" y="333"/>
                  </a:lnTo>
                  <a:lnTo>
                    <a:pt x="3047" y="321"/>
                  </a:lnTo>
                  <a:lnTo>
                    <a:pt x="3050" y="309"/>
                  </a:lnTo>
                  <a:lnTo>
                    <a:pt x="3053" y="297"/>
                  </a:lnTo>
                  <a:lnTo>
                    <a:pt x="3055" y="284"/>
                  </a:lnTo>
                  <a:lnTo>
                    <a:pt x="3056" y="272"/>
                  </a:lnTo>
                  <a:lnTo>
                    <a:pt x="3057" y="260"/>
                  </a:lnTo>
                  <a:lnTo>
                    <a:pt x="3057" y="248"/>
                  </a:lnTo>
                  <a:lnTo>
                    <a:pt x="3056" y="236"/>
                  </a:lnTo>
                  <a:lnTo>
                    <a:pt x="3055" y="223"/>
                  </a:lnTo>
                  <a:lnTo>
                    <a:pt x="3053" y="212"/>
                  </a:lnTo>
                  <a:lnTo>
                    <a:pt x="3051" y="200"/>
                  </a:lnTo>
                  <a:lnTo>
                    <a:pt x="3048" y="188"/>
                  </a:lnTo>
                  <a:lnTo>
                    <a:pt x="3045" y="176"/>
                  </a:lnTo>
                  <a:lnTo>
                    <a:pt x="3041" y="164"/>
                  </a:lnTo>
                  <a:lnTo>
                    <a:pt x="3036" y="153"/>
                  </a:lnTo>
                  <a:lnTo>
                    <a:pt x="3031" y="142"/>
                  </a:lnTo>
                  <a:lnTo>
                    <a:pt x="3026" y="131"/>
                  </a:lnTo>
                  <a:lnTo>
                    <a:pt x="3020" y="121"/>
                  </a:lnTo>
                  <a:lnTo>
                    <a:pt x="3013" y="111"/>
                  </a:lnTo>
                  <a:lnTo>
                    <a:pt x="3006" y="101"/>
                  </a:lnTo>
                  <a:lnTo>
                    <a:pt x="2999" y="92"/>
                  </a:lnTo>
                  <a:lnTo>
                    <a:pt x="2991" y="83"/>
                  </a:lnTo>
                  <a:lnTo>
                    <a:pt x="2983" y="74"/>
                  </a:lnTo>
                  <a:lnTo>
                    <a:pt x="2974" y="65"/>
                  </a:lnTo>
                  <a:lnTo>
                    <a:pt x="2964" y="57"/>
                  </a:lnTo>
                  <a:lnTo>
                    <a:pt x="2955" y="50"/>
                  </a:lnTo>
                  <a:lnTo>
                    <a:pt x="2943" y="43"/>
                  </a:lnTo>
                  <a:lnTo>
                    <a:pt x="2933" y="36"/>
                  </a:lnTo>
                  <a:lnTo>
                    <a:pt x="2922" y="30"/>
                  </a:lnTo>
                  <a:lnTo>
                    <a:pt x="2910" y="24"/>
                  </a:lnTo>
                  <a:lnTo>
                    <a:pt x="2899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87" name="îšļïdè">
              <a:extLst>
                <a:ext uri="{FF2B5EF4-FFF2-40B4-BE49-F238E27FC236}">
                  <a16:creationId xmlns:a16="http://schemas.microsoft.com/office/drawing/2014/main" id="{74E78CFB-C822-4080-A397-7992D2D1406F}"/>
                </a:ext>
              </a:extLst>
            </p:cNvPr>
            <p:cNvSpPr/>
            <p:nvPr/>
          </p:nvSpPr>
          <p:spPr bwMode="auto">
            <a:xfrm>
              <a:off x="6033559" y="2686050"/>
              <a:ext cx="57270" cy="58112"/>
            </a:xfrm>
            <a:custGeom>
              <a:avLst/>
              <a:gdLst>
                <a:gd name="T0" fmla="*/ 2482 w 2520"/>
                <a:gd name="T1" fmla="*/ 117 h 2567"/>
                <a:gd name="T2" fmla="*/ 2452 w 2520"/>
                <a:gd name="T3" fmla="*/ 78 h 2567"/>
                <a:gd name="T4" fmla="*/ 2415 w 2520"/>
                <a:gd name="T5" fmla="*/ 46 h 2567"/>
                <a:gd name="T6" fmla="*/ 2373 w 2520"/>
                <a:gd name="T7" fmla="*/ 22 h 2567"/>
                <a:gd name="T8" fmla="*/ 2327 w 2520"/>
                <a:gd name="T9" fmla="*/ 6 h 2567"/>
                <a:gd name="T10" fmla="*/ 2280 w 2520"/>
                <a:gd name="T11" fmla="*/ 0 h 2567"/>
                <a:gd name="T12" fmla="*/ 2231 w 2520"/>
                <a:gd name="T13" fmla="*/ 3 h 2567"/>
                <a:gd name="T14" fmla="*/ 2181 w 2520"/>
                <a:gd name="T15" fmla="*/ 15 h 2567"/>
                <a:gd name="T16" fmla="*/ 2072 w 2520"/>
                <a:gd name="T17" fmla="*/ 66 h 2567"/>
                <a:gd name="T18" fmla="*/ 1730 w 2520"/>
                <a:gd name="T19" fmla="*/ 243 h 2567"/>
                <a:gd name="T20" fmla="*/ 1406 w 2520"/>
                <a:gd name="T21" fmla="*/ 453 h 2567"/>
                <a:gd name="T22" fmla="*/ 1102 w 2520"/>
                <a:gd name="T23" fmla="*/ 693 h 2567"/>
                <a:gd name="T24" fmla="*/ 822 w 2520"/>
                <a:gd name="T25" fmla="*/ 963 h 2567"/>
                <a:gd name="T26" fmla="*/ 567 w 2520"/>
                <a:gd name="T27" fmla="*/ 1262 h 2567"/>
                <a:gd name="T28" fmla="*/ 340 w 2520"/>
                <a:gd name="T29" fmla="*/ 1588 h 2567"/>
                <a:gd name="T30" fmla="*/ 144 w 2520"/>
                <a:gd name="T31" fmla="*/ 1941 h 2567"/>
                <a:gd name="T32" fmla="*/ 18 w 2520"/>
                <a:gd name="T33" fmla="*/ 2222 h 2567"/>
                <a:gd name="T34" fmla="*/ 4 w 2520"/>
                <a:gd name="T35" fmla="*/ 2271 h 2567"/>
                <a:gd name="T36" fmla="*/ 0 w 2520"/>
                <a:gd name="T37" fmla="*/ 2320 h 2567"/>
                <a:gd name="T38" fmla="*/ 5 w 2520"/>
                <a:gd name="T39" fmla="*/ 2369 h 2567"/>
                <a:gd name="T40" fmla="*/ 20 w 2520"/>
                <a:gd name="T41" fmla="*/ 2415 h 2567"/>
                <a:gd name="T42" fmla="*/ 44 w 2520"/>
                <a:gd name="T43" fmla="*/ 2457 h 2567"/>
                <a:gd name="T44" fmla="*/ 75 w 2520"/>
                <a:gd name="T45" fmla="*/ 2494 h 2567"/>
                <a:gd name="T46" fmla="*/ 113 w 2520"/>
                <a:gd name="T47" fmla="*/ 2525 h 2567"/>
                <a:gd name="T48" fmla="*/ 158 w 2520"/>
                <a:gd name="T49" fmla="*/ 2549 h 2567"/>
                <a:gd name="T50" fmla="*/ 208 w 2520"/>
                <a:gd name="T51" fmla="*/ 2563 h 2567"/>
                <a:gd name="T52" fmla="*/ 257 w 2520"/>
                <a:gd name="T53" fmla="*/ 2567 h 2567"/>
                <a:gd name="T54" fmla="*/ 305 w 2520"/>
                <a:gd name="T55" fmla="*/ 2561 h 2567"/>
                <a:gd name="T56" fmla="*/ 351 w 2520"/>
                <a:gd name="T57" fmla="*/ 2547 h 2567"/>
                <a:gd name="T58" fmla="*/ 394 w 2520"/>
                <a:gd name="T59" fmla="*/ 2523 h 2567"/>
                <a:gd name="T60" fmla="*/ 431 w 2520"/>
                <a:gd name="T61" fmla="*/ 2492 h 2567"/>
                <a:gd name="T62" fmla="*/ 462 w 2520"/>
                <a:gd name="T63" fmla="*/ 2454 h 2567"/>
                <a:gd name="T64" fmla="*/ 485 w 2520"/>
                <a:gd name="T65" fmla="*/ 2409 h 2567"/>
                <a:gd name="T66" fmla="*/ 596 w 2520"/>
                <a:gd name="T67" fmla="*/ 2161 h 2567"/>
                <a:gd name="T68" fmla="*/ 768 w 2520"/>
                <a:gd name="T69" fmla="*/ 1850 h 2567"/>
                <a:gd name="T70" fmla="*/ 968 w 2520"/>
                <a:gd name="T71" fmla="*/ 1564 h 2567"/>
                <a:gd name="T72" fmla="*/ 1192 w 2520"/>
                <a:gd name="T73" fmla="*/ 1301 h 2567"/>
                <a:gd name="T74" fmla="*/ 1439 w 2520"/>
                <a:gd name="T75" fmla="*/ 1065 h 2567"/>
                <a:gd name="T76" fmla="*/ 1705 w 2520"/>
                <a:gd name="T77" fmla="*/ 854 h 2567"/>
                <a:gd name="T78" fmla="*/ 1990 w 2520"/>
                <a:gd name="T79" fmla="*/ 671 h 2567"/>
                <a:gd name="T80" fmla="*/ 2291 w 2520"/>
                <a:gd name="T81" fmla="*/ 516 h 2567"/>
                <a:gd name="T82" fmla="*/ 2402 w 2520"/>
                <a:gd name="T83" fmla="*/ 464 h 2567"/>
                <a:gd name="T84" fmla="*/ 2441 w 2520"/>
                <a:gd name="T85" fmla="*/ 434 h 2567"/>
                <a:gd name="T86" fmla="*/ 2473 w 2520"/>
                <a:gd name="T87" fmla="*/ 397 h 2567"/>
                <a:gd name="T88" fmla="*/ 2497 w 2520"/>
                <a:gd name="T89" fmla="*/ 356 h 2567"/>
                <a:gd name="T90" fmla="*/ 2513 w 2520"/>
                <a:gd name="T91" fmla="*/ 309 h 2567"/>
                <a:gd name="T92" fmla="*/ 2520 w 2520"/>
                <a:gd name="T93" fmla="*/ 262 h 2567"/>
                <a:gd name="T94" fmla="*/ 2517 w 2520"/>
                <a:gd name="T95" fmla="*/ 213 h 2567"/>
                <a:gd name="T96" fmla="*/ 2505 w 2520"/>
                <a:gd name="T97" fmla="*/ 164 h 2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20" h="2567">
                  <a:moveTo>
                    <a:pt x="2500" y="151"/>
                  </a:moveTo>
                  <a:lnTo>
                    <a:pt x="2494" y="139"/>
                  </a:lnTo>
                  <a:lnTo>
                    <a:pt x="2489" y="128"/>
                  </a:lnTo>
                  <a:lnTo>
                    <a:pt x="2482" y="117"/>
                  </a:lnTo>
                  <a:lnTo>
                    <a:pt x="2475" y="107"/>
                  </a:lnTo>
                  <a:lnTo>
                    <a:pt x="2468" y="97"/>
                  </a:lnTo>
                  <a:lnTo>
                    <a:pt x="2460" y="87"/>
                  </a:lnTo>
                  <a:lnTo>
                    <a:pt x="2452" y="78"/>
                  </a:lnTo>
                  <a:lnTo>
                    <a:pt x="2443" y="69"/>
                  </a:lnTo>
                  <a:lnTo>
                    <a:pt x="2434" y="61"/>
                  </a:lnTo>
                  <a:lnTo>
                    <a:pt x="2425" y="53"/>
                  </a:lnTo>
                  <a:lnTo>
                    <a:pt x="2415" y="46"/>
                  </a:lnTo>
                  <a:lnTo>
                    <a:pt x="2405" y="39"/>
                  </a:lnTo>
                  <a:lnTo>
                    <a:pt x="2394" y="33"/>
                  </a:lnTo>
                  <a:lnTo>
                    <a:pt x="2384" y="27"/>
                  </a:lnTo>
                  <a:lnTo>
                    <a:pt x="2373" y="22"/>
                  </a:lnTo>
                  <a:lnTo>
                    <a:pt x="2362" y="17"/>
                  </a:lnTo>
                  <a:lnTo>
                    <a:pt x="2351" y="13"/>
                  </a:lnTo>
                  <a:lnTo>
                    <a:pt x="2339" y="10"/>
                  </a:lnTo>
                  <a:lnTo>
                    <a:pt x="2327" y="6"/>
                  </a:lnTo>
                  <a:lnTo>
                    <a:pt x="2316" y="4"/>
                  </a:lnTo>
                  <a:lnTo>
                    <a:pt x="2304" y="2"/>
                  </a:lnTo>
                  <a:lnTo>
                    <a:pt x="2292" y="1"/>
                  </a:lnTo>
                  <a:lnTo>
                    <a:pt x="2280" y="0"/>
                  </a:lnTo>
                  <a:lnTo>
                    <a:pt x="2268" y="0"/>
                  </a:lnTo>
                  <a:lnTo>
                    <a:pt x="2255" y="0"/>
                  </a:lnTo>
                  <a:lnTo>
                    <a:pt x="2243" y="1"/>
                  </a:lnTo>
                  <a:lnTo>
                    <a:pt x="2231" y="3"/>
                  </a:lnTo>
                  <a:lnTo>
                    <a:pt x="2218" y="5"/>
                  </a:lnTo>
                  <a:lnTo>
                    <a:pt x="2206" y="8"/>
                  </a:lnTo>
                  <a:lnTo>
                    <a:pt x="2193" y="11"/>
                  </a:lnTo>
                  <a:lnTo>
                    <a:pt x="2181" y="15"/>
                  </a:lnTo>
                  <a:lnTo>
                    <a:pt x="2169" y="20"/>
                  </a:lnTo>
                  <a:lnTo>
                    <a:pt x="2164" y="24"/>
                  </a:lnTo>
                  <a:lnTo>
                    <a:pt x="2159" y="27"/>
                  </a:lnTo>
                  <a:lnTo>
                    <a:pt x="2072" y="66"/>
                  </a:lnTo>
                  <a:lnTo>
                    <a:pt x="1984" y="107"/>
                  </a:lnTo>
                  <a:lnTo>
                    <a:pt x="1899" y="150"/>
                  </a:lnTo>
                  <a:lnTo>
                    <a:pt x="1813" y="196"/>
                  </a:lnTo>
                  <a:lnTo>
                    <a:pt x="1730" y="243"/>
                  </a:lnTo>
                  <a:lnTo>
                    <a:pt x="1647" y="292"/>
                  </a:lnTo>
                  <a:lnTo>
                    <a:pt x="1566" y="345"/>
                  </a:lnTo>
                  <a:lnTo>
                    <a:pt x="1485" y="398"/>
                  </a:lnTo>
                  <a:lnTo>
                    <a:pt x="1406" y="453"/>
                  </a:lnTo>
                  <a:lnTo>
                    <a:pt x="1328" y="510"/>
                  </a:lnTo>
                  <a:lnTo>
                    <a:pt x="1252" y="569"/>
                  </a:lnTo>
                  <a:lnTo>
                    <a:pt x="1176" y="630"/>
                  </a:lnTo>
                  <a:lnTo>
                    <a:pt x="1102" y="693"/>
                  </a:lnTo>
                  <a:lnTo>
                    <a:pt x="1029" y="758"/>
                  </a:lnTo>
                  <a:lnTo>
                    <a:pt x="959" y="824"/>
                  </a:lnTo>
                  <a:lnTo>
                    <a:pt x="890" y="893"/>
                  </a:lnTo>
                  <a:lnTo>
                    <a:pt x="822" y="963"/>
                  </a:lnTo>
                  <a:lnTo>
                    <a:pt x="756" y="1036"/>
                  </a:lnTo>
                  <a:lnTo>
                    <a:pt x="690" y="1109"/>
                  </a:lnTo>
                  <a:lnTo>
                    <a:pt x="628" y="1185"/>
                  </a:lnTo>
                  <a:lnTo>
                    <a:pt x="567" y="1262"/>
                  </a:lnTo>
                  <a:lnTo>
                    <a:pt x="507" y="1340"/>
                  </a:lnTo>
                  <a:lnTo>
                    <a:pt x="450" y="1422"/>
                  </a:lnTo>
                  <a:lnTo>
                    <a:pt x="394" y="1504"/>
                  </a:lnTo>
                  <a:lnTo>
                    <a:pt x="340" y="1588"/>
                  </a:lnTo>
                  <a:lnTo>
                    <a:pt x="288" y="1673"/>
                  </a:lnTo>
                  <a:lnTo>
                    <a:pt x="238" y="1761"/>
                  </a:lnTo>
                  <a:lnTo>
                    <a:pt x="189" y="1850"/>
                  </a:lnTo>
                  <a:lnTo>
                    <a:pt x="144" y="1941"/>
                  </a:lnTo>
                  <a:lnTo>
                    <a:pt x="100" y="2034"/>
                  </a:lnTo>
                  <a:lnTo>
                    <a:pt x="58" y="2127"/>
                  </a:lnTo>
                  <a:lnTo>
                    <a:pt x="18" y="2222"/>
                  </a:lnTo>
                  <a:lnTo>
                    <a:pt x="18" y="2222"/>
                  </a:lnTo>
                  <a:lnTo>
                    <a:pt x="13" y="2235"/>
                  </a:lnTo>
                  <a:lnTo>
                    <a:pt x="9" y="2247"/>
                  </a:lnTo>
                  <a:lnTo>
                    <a:pt x="6" y="2259"/>
                  </a:lnTo>
                  <a:lnTo>
                    <a:pt x="4" y="2271"/>
                  </a:lnTo>
                  <a:lnTo>
                    <a:pt x="2" y="2283"/>
                  </a:lnTo>
                  <a:lnTo>
                    <a:pt x="1" y="2296"/>
                  </a:lnTo>
                  <a:lnTo>
                    <a:pt x="0" y="2308"/>
                  </a:lnTo>
                  <a:lnTo>
                    <a:pt x="0" y="2320"/>
                  </a:lnTo>
                  <a:lnTo>
                    <a:pt x="0" y="2332"/>
                  </a:lnTo>
                  <a:lnTo>
                    <a:pt x="1" y="2344"/>
                  </a:lnTo>
                  <a:lnTo>
                    <a:pt x="3" y="2356"/>
                  </a:lnTo>
                  <a:lnTo>
                    <a:pt x="5" y="2369"/>
                  </a:lnTo>
                  <a:lnTo>
                    <a:pt x="8" y="2381"/>
                  </a:lnTo>
                  <a:lnTo>
                    <a:pt x="12" y="2392"/>
                  </a:lnTo>
                  <a:lnTo>
                    <a:pt x="16" y="2404"/>
                  </a:lnTo>
                  <a:lnTo>
                    <a:pt x="20" y="2415"/>
                  </a:lnTo>
                  <a:lnTo>
                    <a:pt x="26" y="2426"/>
                  </a:lnTo>
                  <a:lnTo>
                    <a:pt x="31" y="2436"/>
                  </a:lnTo>
                  <a:lnTo>
                    <a:pt x="37" y="2447"/>
                  </a:lnTo>
                  <a:lnTo>
                    <a:pt x="44" y="2457"/>
                  </a:lnTo>
                  <a:lnTo>
                    <a:pt x="51" y="2467"/>
                  </a:lnTo>
                  <a:lnTo>
                    <a:pt x="58" y="2476"/>
                  </a:lnTo>
                  <a:lnTo>
                    <a:pt x="66" y="2485"/>
                  </a:lnTo>
                  <a:lnTo>
                    <a:pt x="75" y="2494"/>
                  </a:lnTo>
                  <a:lnTo>
                    <a:pt x="84" y="2502"/>
                  </a:lnTo>
                  <a:lnTo>
                    <a:pt x="93" y="2510"/>
                  </a:lnTo>
                  <a:lnTo>
                    <a:pt x="103" y="2518"/>
                  </a:lnTo>
                  <a:lnTo>
                    <a:pt x="113" y="2525"/>
                  </a:lnTo>
                  <a:lnTo>
                    <a:pt x="124" y="2533"/>
                  </a:lnTo>
                  <a:lnTo>
                    <a:pt x="135" y="2539"/>
                  </a:lnTo>
                  <a:lnTo>
                    <a:pt x="146" y="2544"/>
                  </a:lnTo>
                  <a:lnTo>
                    <a:pt x="158" y="2549"/>
                  </a:lnTo>
                  <a:lnTo>
                    <a:pt x="170" y="2554"/>
                  </a:lnTo>
                  <a:lnTo>
                    <a:pt x="182" y="2558"/>
                  </a:lnTo>
                  <a:lnTo>
                    <a:pt x="194" y="2561"/>
                  </a:lnTo>
                  <a:lnTo>
                    <a:pt x="208" y="2563"/>
                  </a:lnTo>
                  <a:lnTo>
                    <a:pt x="220" y="2565"/>
                  </a:lnTo>
                  <a:lnTo>
                    <a:pt x="232" y="2566"/>
                  </a:lnTo>
                  <a:lnTo>
                    <a:pt x="245" y="2567"/>
                  </a:lnTo>
                  <a:lnTo>
                    <a:pt x="257" y="2567"/>
                  </a:lnTo>
                  <a:lnTo>
                    <a:pt x="269" y="2567"/>
                  </a:lnTo>
                  <a:lnTo>
                    <a:pt x="281" y="2565"/>
                  </a:lnTo>
                  <a:lnTo>
                    <a:pt x="293" y="2564"/>
                  </a:lnTo>
                  <a:lnTo>
                    <a:pt x="305" y="2561"/>
                  </a:lnTo>
                  <a:lnTo>
                    <a:pt x="316" y="2559"/>
                  </a:lnTo>
                  <a:lnTo>
                    <a:pt x="328" y="2555"/>
                  </a:lnTo>
                  <a:lnTo>
                    <a:pt x="339" y="2551"/>
                  </a:lnTo>
                  <a:lnTo>
                    <a:pt x="351" y="2547"/>
                  </a:lnTo>
                  <a:lnTo>
                    <a:pt x="361" y="2542"/>
                  </a:lnTo>
                  <a:lnTo>
                    <a:pt x="373" y="2536"/>
                  </a:lnTo>
                  <a:lnTo>
                    <a:pt x="383" y="2529"/>
                  </a:lnTo>
                  <a:lnTo>
                    <a:pt x="394" y="2523"/>
                  </a:lnTo>
                  <a:lnTo>
                    <a:pt x="403" y="2516"/>
                  </a:lnTo>
                  <a:lnTo>
                    <a:pt x="413" y="2508"/>
                  </a:lnTo>
                  <a:lnTo>
                    <a:pt x="422" y="2500"/>
                  </a:lnTo>
                  <a:lnTo>
                    <a:pt x="431" y="2492"/>
                  </a:lnTo>
                  <a:lnTo>
                    <a:pt x="439" y="2483"/>
                  </a:lnTo>
                  <a:lnTo>
                    <a:pt x="447" y="2474"/>
                  </a:lnTo>
                  <a:lnTo>
                    <a:pt x="455" y="2464"/>
                  </a:lnTo>
                  <a:lnTo>
                    <a:pt x="462" y="2454"/>
                  </a:lnTo>
                  <a:lnTo>
                    <a:pt x="468" y="2443"/>
                  </a:lnTo>
                  <a:lnTo>
                    <a:pt x="474" y="2432"/>
                  </a:lnTo>
                  <a:lnTo>
                    <a:pt x="480" y="2421"/>
                  </a:lnTo>
                  <a:lnTo>
                    <a:pt x="485" y="2409"/>
                  </a:lnTo>
                  <a:lnTo>
                    <a:pt x="485" y="2409"/>
                  </a:lnTo>
                  <a:lnTo>
                    <a:pt x="520" y="2324"/>
                  </a:lnTo>
                  <a:lnTo>
                    <a:pt x="558" y="2242"/>
                  </a:lnTo>
                  <a:lnTo>
                    <a:pt x="596" y="2161"/>
                  </a:lnTo>
                  <a:lnTo>
                    <a:pt x="636" y="2082"/>
                  </a:lnTo>
                  <a:lnTo>
                    <a:pt x="678" y="2003"/>
                  </a:lnTo>
                  <a:lnTo>
                    <a:pt x="723" y="1926"/>
                  </a:lnTo>
                  <a:lnTo>
                    <a:pt x="768" y="1850"/>
                  </a:lnTo>
                  <a:lnTo>
                    <a:pt x="815" y="1777"/>
                  </a:lnTo>
                  <a:lnTo>
                    <a:pt x="864" y="1705"/>
                  </a:lnTo>
                  <a:lnTo>
                    <a:pt x="916" y="1633"/>
                  </a:lnTo>
                  <a:lnTo>
                    <a:pt x="968" y="1564"/>
                  </a:lnTo>
                  <a:lnTo>
                    <a:pt x="1021" y="1496"/>
                  </a:lnTo>
                  <a:lnTo>
                    <a:pt x="1077" y="1430"/>
                  </a:lnTo>
                  <a:lnTo>
                    <a:pt x="1134" y="1365"/>
                  </a:lnTo>
                  <a:lnTo>
                    <a:pt x="1192" y="1301"/>
                  </a:lnTo>
                  <a:lnTo>
                    <a:pt x="1252" y="1240"/>
                  </a:lnTo>
                  <a:lnTo>
                    <a:pt x="1313" y="1180"/>
                  </a:lnTo>
                  <a:lnTo>
                    <a:pt x="1375" y="1121"/>
                  </a:lnTo>
                  <a:lnTo>
                    <a:pt x="1439" y="1065"/>
                  </a:lnTo>
                  <a:lnTo>
                    <a:pt x="1503" y="1010"/>
                  </a:lnTo>
                  <a:lnTo>
                    <a:pt x="1570" y="956"/>
                  </a:lnTo>
                  <a:lnTo>
                    <a:pt x="1637" y="904"/>
                  </a:lnTo>
                  <a:lnTo>
                    <a:pt x="1705" y="854"/>
                  </a:lnTo>
                  <a:lnTo>
                    <a:pt x="1775" y="805"/>
                  </a:lnTo>
                  <a:lnTo>
                    <a:pt x="1846" y="759"/>
                  </a:lnTo>
                  <a:lnTo>
                    <a:pt x="1918" y="714"/>
                  </a:lnTo>
                  <a:lnTo>
                    <a:pt x="1990" y="671"/>
                  </a:lnTo>
                  <a:lnTo>
                    <a:pt x="2064" y="629"/>
                  </a:lnTo>
                  <a:lnTo>
                    <a:pt x="2139" y="590"/>
                  </a:lnTo>
                  <a:lnTo>
                    <a:pt x="2214" y="552"/>
                  </a:lnTo>
                  <a:lnTo>
                    <a:pt x="2291" y="516"/>
                  </a:lnTo>
                  <a:lnTo>
                    <a:pt x="2367" y="481"/>
                  </a:lnTo>
                  <a:lnTo>
                    <a:pt x="2379" y="476"/>
                  </a:lnTo>
                  <a:lnTo>
                    <a:pt x="2390" y="470"/>
                  </a:lnTo>
                  <a:lnTo>
                    <a:pt x="2402" y="464"/>
                  </a:lnTo>
                  <a:lnTo>
                    <a:pt x="2413" y="457"/>
                  </a:lnTo>
                  <a:lnTo>
                    <a:pt x="2423" y="450"/>
                  </a:lnTo>
                  <a:lnTo>
                    <a:pt x="2432" y="442"/>
                  </a:lnTo>
                  <a:lnTo>
                    <a:pt x="2441" y="434"/>
                  </a:lnTo>
                  <a:lnTo>
                    <a:pt x="2450" y="425"/>
                  </a:lnTo>
                  <a:lnTo>
                    <a:pt x="2458" y="416"/>
                  </a:lnTo>
                  <a:lnTo>
                    <a:pt x="2466" y="407"/>
                  </a:lnTo>
                  <a:lnTo>
                    <a:pt x="2473" y="397"/>
                  </a:lnTo>
                  <a:lnTo>
                    <a:pt x="2480" y="387"/>
                  </a:lnTo>
                  <a:lnTo>
                    <a:pt x="2486" y="377"/>
                  </a:lnTo>
                  <a:lnTo>
                    <a:pt x="2492" y="366"/>
                  </a:lnTo>
                  <a:lnTo>
                    <a:pt x="2497" y="356"/>
                  </a:lnTo>
                  <a:lnTo>
                    <a:pt x="2502" y="345"/>
                  </a:lnTo>
                  <a:lnTo>
                    <a:pt x="2506" y="333"/>
                  </a:lnTo>
                  <a:lnTo>
                    <a:pt x="2510" y="321"/>
                  </a:lnTo>
                  <a:lnTo>
                    <a:pt x="2513" y="309"/>
                  </a:lnTo>
                  <a:lnTo>
                    <a:pt x="2515" y="298"/>
                  </a:lnTo>
                  <a:lnTo>
                    <a:pt x="2517" y="286"/>
                  </a:lnTo>
                  <a:lnTo>
                    <a:pt x="2519" y="274"/>
                  </a:lnTo>
                  <a:lnTo>
                    <a:pt x="2520" y="262"/>
                  </a:lnTo>
                  <a:lnTo>
                    <a:pt x="2520" y="249"/>
                  </a:lnTo>
                  <a:lnTo>
                    <a:pt x="2520" y="237"/>
                  </a:lnTo>
                  <a:lnTo>
                    <a:pt x="2519" y="225"/>
                  </a:lnTo>
                  <a:lnTo>
                    <a:pt x="2517" y="213"/>
                  </a:lnTo>
                  <a:lnTo>
                    <a:pt x="2515" y="200"/>
                  </a:lnTo>
                  <a:lnTo>
                    <a:pt x="2512" y="188"/>
                  </a:lnTo>
                  <a:lnTo>
                    <a:pt x="2509" y="176"/>
                  </a:lnTo>
                  <a:lnTo>
                    <a:pt x="2505" y="164"/>
                  </a:lnTo>
                  <a:lnTo>
                    <a:pt x="2500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88" name="îṥḷidé">
              <a:extLst>
                <a:ext uri="{FF2B5EF4-FFF2-40B4-BE49-F238E27FC236}">
                  <a16:creationId xmlns:a16="http://schemas.microsoft.com/office/drawing/2014/main" id="{E62CDDB7-567B-48E2-9B44-9754B2F5B373}"/>
                </a:ext>
              </a:extLst>
            </p:cNvPr>
            <p:cNvSpPr/>
            <p:nvPr/>
          </p:nvSpPr>
          <p:spPr bwMode="auto">
            <a:xfrm>
              <a:off x="5991448" y="2643940"/>
              <a:ext cx="81693" cy="83378"/>
            </a:xfrm>
            <a:custGeom>
              <a:avLst/>
              <a:gdLst>
                <a:gd name="T0" fmla="*/ 3557 w 3596"/>
                <a:gd name="T1" fmla="*/ 117 h 3668"/>
                <a:gd name="T2" fmla="*/ 3527 w 3596"/>
                <a:gd name="T3" fmla="*/ 78 h 3668"/>
                <a:gd name="T4" fmla="*/ 3490 w 3596"/>
                <a:gd name="T5" fmla="*/ 46 h 3668"/>
                <a:gd name="T6" fmla="*/ 3449 w 3596"/>
                <a:gd name="T7" fmla="*/ 22 h 3668"/>
                <a:gd name="T8" fmla="*/ 3402 w 3596"/>
                <a:gd name="T9" fmla="*/ 7 h 3668"/>
                <a:gd name="T10" fmla="*/ 3355 w 3596"/>
                <a:gd name="T11" fmla="*/ 0 h 3668"/>
                <a:gd name="T12" fmla="*/ 3306 w 3596"/>
                <a:gd name="T13" fmla="*/ 2 h 3668"/>
                <a:gd name="T14" fmla="*/ 3257 w 3596"/>
                <a:gd name="T15" fmla="*/ 15 h 3668"/>
                <a:gd name="T16" fmla="*/ 3098 w 3596"/>
                <a:gd name="T17" fmla="*/ 89 h 3668"/>
                <a:gd name="T18" fmla="*/ 2585 w 3596"/>
                <a:gd name="T19" fmla="*/ 356 h 3668"/>
                <a:gd name="T20" fmla="*/ 2100 w 3596"/>
                <a:gd name="T21" fmla="*/ 670 h 3668"/>
                <a:gd name="T22" fmla="*/ 1644 w 3596"/>
                <a:gd name="T23" fmla="*/ 1030 h 3668"/>
                <a:gd name="T24" fmla="*/ 1224 w 3596"/>
                <a:gd name="T25" fmla="*/ 1434 h 3668"/>
                <a:gd name="T26" fmla="*/ 841 w 3596"/>
                <a:gd name="T27" fmla="*/ 1883 h 3668"/>
                <a:gd name="T28" fmla="*/ 500 w 3596"/>
                <a:gd name="T29" fmla="*/ 2372 h 3668"/>
                <a:gd name="T30" fmla="*/ 207 w 3596"/>
                <a:gd name="T31" fmla="*/ 2901 h 3668"/>
                <a:gd name="T32" fmla="*/ 14 w 3596"/>
                <a:gd name="T33" fmla="*/ 3335 h 3668"/>
                <a:gd name="T34" fmla="*/ 2 w 3596"/>
                <a:gd name="T35" fmla="*/ 3385 h 3668"/>
                <a:gd name="T36" fmla="*/ 1 w 3596"/>
                <a:gd name="T37" fmla="*/ 3434 h 3668"/>
                <a:gd name="T38" fmla="*/ 9 w 3596"/>
                <a:gd name="T39" fmla="*/ 3481 h 3668"/>
                <a:gd name="T40" fmla="*/ 25 w 3596"/>
                <a:gd name="T41" fmla="*/ 3526 h 3668"/>
                <a:gd name="T42" fmla="*/ 52 w 3596"/>
                <a:gd name="T43" fmla="*/ 3568 h 3668"/>
                <a:gd name="T44" fmla="*/ 84 w 3596"/>
                <a:gd name="T45" fmla="*/ 3604 h 3668"/>
                <a:gd name="T46" fmla="*/ 124 w 3596"/>
                <a:gd name="T47" fmla="*/ 3633 h 3668"/>
                <a:gd name="T48" fmla="*/ 171 w 3596"/>
                <a:gd name="T49" fmla="*/ 3655 h 3668"/>
                <a:gd name="T50" fmla="*/ 220 w 3596"/>
                <a:gd name="T51" fmla="*/ 3666 h 3668"/>
                <a:gd name="T52" fmla="*/ 269 w 3596"/>
                <a:gd name="T53" fmla="*/ 3668 h 3668"/>
                <a:gd name="T54" fmla="*/ 316 w 3596"/>
                <a:gd name="T55" fmla="*/ 3660 h 3668"/>
                <a:gd name="T56" fmla="*/ 361 w 3596"/>
                <a:gd name="T57" fmla="*/ 3643 h 3668"/>
                <a:gd name="T58" fmla="*/ 403 w 3596"/>
                <a:gd name="T59" fmla="*/ 3618 h 3668"/>
                <a:gd name="T60" fmla="*/ 439 w 3596"/>
                <a:gd name="T61" fmla="*/ 3586 h 3668"/>
                <a:gd name="T62" fmla="*/ 468 w 3596"/>
                <a:gd name="T63" fmla="*/ 3546 h 3668"/>
                <a:gd name="T64" fmla="*/ 540 w 3596"/>
                <a:gd name="T65" fmla="*/ 3379 h 3668"/>
                <a:gd name="T66" fmla="*/ 788 w 3596"/>
                <a:gd name="T67" fmla="*/ 2873 h 3668"/>
                <a:gd name="T68" fmla="*/ 1081 w 3596"/>
                <a:gd name="T69" fmla="*/ 2404 h 3668"/>
                <a:gd name="T70" fmla="*/ 1415 w 3596"/>
                <a:gd name="T71" fmla="*/ 1971 h 3668"/>
                <a:gd name="T72" fmla="*/ 1785 w 3596"/>
                <a:gd name="T73" fmla="*/ 1579 h 3668"/>
                <a:gd name="T74" fmla="*/ 2189 w 3596"/>
                <a:gd name="T75" fmla="*/ 1227 h 3668"/>
                <a:gd name="T76" fmla="*/ 2623 w 3596"/>
                <a:gd name="T77" fmla="*/ 917 h 3668"/>
                <a:gd name="T78" fmla="*/ 3084 w 3596"/>
                <a:gd name="T79" fmla="*/ 651 h 3668"/>
                <a:gd name="T80" fmla="*/ 3455 w 3596"/>
                <a:gd name="T81" fmla="*/ 476 h 3668"/>
                <a:gd name="T82" fmla="*/ 3498 w 3596"/>
                <a:gd name="T83" fmla="*/ 449 h 3668"/>
                <a:gd name="T84" fmla="*/ 3533 w 3596"/>
                <a:gd name="T85" fmla="*/ 416 h 3668"/>
                <a:gd name="T86" fmla="*/ 3561 w 3596"/>
                <a:gd name="T87" fmla="*/ 377 h 3668"/>
                <a:gd name="T88" fmla="*/ 3581 w 3596"/>
                <a:gd name="T89" fmla="*/ 333 h 3668"/>
                <a:gd name="T90" fmla="*/ 3593 w 3596"/>
                <a:gd name="T91" fmla="*/ 286 h 3668"/>
                <a:gd name="T92" fmla="*/ 3596 w 3596"/>
                <a:gd name="T93" fmla="*/ 237 h 3668"/>
                <a:gd name="T94" fmla="*/ 3588 w 3596"/>
                <a:gd name="T95" fmla="*/ 188 h 3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596" h="3668">
                  <a:moveTo>
                    <a:pt x="3575" y="152"/>
                  </a:moveTo>
                  <a:lnTo>
                    <a:pt x="3569" y="140"/>
                  </a:lnTo>
                  <a:lnTo>
                    <a:pt x="3563" y="128"/>
                  </a:lnTo>
                  <a:lnTo>
                    <a:pt x="3557" y="117"/>
                  </a:lnTo>
                  <a:lnTo>
                    <a:pt x="3550" y="107"/>
                  </a:lnTo>
                  <a:lnTo>
                    <a:pt x="3543" y="97"/>
                  </a:lnTo>
                  <a:lnTo>
                    <a:pt x="3535" y="87"/>
                  </a:lnTo>
                  <a:lnTo>
                    <a:pt x="3527" y="78"/>
                  </a:lnTo>
                  <a:lnTo>
                    <a:pt x="3518" y="70"/>
                  </a:lnTo>
                  <a:lnTo>
                    <a:pt x="3509" y="61"/>
                  </a:lnTo>
                  <a:lnTo>
                    <a:pt x="3500" y="54"/>
                  </a:lnTo>
                  <a:lnTo>
                    <a:pt x="3490" y="46"/>
                  </a:lnTo>
                  <a:lnTo>
                    <a:pt x="3480" y="40"/>
                  </a:lnTo>
                  <a:lnTo>
                    <a:pt x="3470" y="33"/>
                  </a:lnTo>
                  <a:lnTo>
                    <a:pt x="3459" y="28"/>
                  </a:lnTo>
                  <a:lnTo>
                    <a:pt x="3449" y="22"/>
                  </a:lnTo>
                  <a:lnTo>
                    <a:pt x="3438" y="18"/>
                  </a:lnTo>
                  <a:lnTo>
                    <a:pt x="3426" y="13"/>
                  </a:lnTo>
                  <a:lnTo>
                    <a:pt x="3414" y="10"/>
                  </a:lnTo>
                  <a:lnTo>
                    <a:pt x="3402" y="7"/>
                  </a:lnTo>
                  <a:lnTo>
                    <a:pt x="3391" y="4"/>
                  </a:lnTo>
                  <a:lnTo>
                    <a:pt x="3379" y="2"/>
                  </a:lnTo>
                  <a:lnTo>
                    <a:pt x="3367" y="1"/>
                  </a:lnTo>
                  <a:lnTo>
                    <a:pt x="3355" y="0"/>
                  </a:lnTo>
                  <a:lnTo>
                    <a:pt x="3342" y="0"/>
                  </a:lnTo>
                  <a:lnTo>
                    <a:pt x="3330" y="0"/>
                  </a:lnTo>
                  <a:lnTo>
                    <a:pt x="3318" y="1"/>
                  </a:lnTo>
                  <a:lnTo>
                    <a:pt x="3306" y="2"/>
                  </a:lnTo>
                  <a:lnTo>
                    <a:pt x="3294" y="5"/>
                  </a:lnTo>
                  <a:lnTo>
                    <a:pt x="3281" y="7"/>
                  </a:lnTo>
                  <a:lnTo>
                    <a:pt x="3269" y="11"/>
                  </a:lnTo>
                  <a:lnTo>
                    <a:pt x="3257" y="15"/>
                  </a:lnTo>
                  <a:lnTo>
                    <a:pt x="3244" y="20"/>
                  </a:lnTo>
                  <a:lnTo>
                    <a:pt x="3236" y="25"/>
                  </a:lnTo>
                  <a:lnTo>
                    <a:pt x="3229" y="31"/>
                  </a:lnTo>
                  <a:lnTo>
                    <a:pt x="3098" y="89"/>
                  </a:lnTo>
                  <a:lnTo>
                    <a:pt x="2967" y="152"/>
                  </a:lnTo>
                  <a:lnTo>
                    <a:pt x="2838" y="216"/>
                  </a:lnTo>
                  <a:lnTo>
                    <a:pt x="2710" y="284"/>
                  </a:lnTo>
                  <a:lnTo>
                    <a:pt x="2585" y="356"/>
                  </a:lnTo>
                  <a:lnTo>
                    <a:pt x="2461" y="429"/>
                  </a:lnTo>
                  <a:lnTo>
                    <a:pt x="2338" y="507"/>
                  </a:lnTo>
                  <a:lnTo>
                    <a:pt x="2218" y="586"/>
                  </a:lnTo>
                  <a:lnTo>
                    <a:pt x="2100" y="670"/>
                  </a:lnTo>
                  <a:lnTo>
                    <a:pt x="1982" y="755"/>
                  </a:lnTo>
                  <a:lnTo>
                    <a:pt x="1867" y="844"/>
                  </a:lnTo>
                  <a:lnTo>
                    <a:pt x="1755" y="935"/>
                  </a:lnTo>
                  <a:lnTo>
                    <a:pt x="1644" y="1030"/>
                  </a:lnTo>
                  <a:lnTo>
                    <a:pt x="1535" y="1126"/>
                  </a:lnTo>
                  <a:lnTo>
                    <a:pt x="1429" y="1227"/>
                  </a:lnTo>
                  <a:lnTo>
                    <a:pt x="1325" y="1329"/>
                  </a:lnTo>
                  <a:lnTo>
                    <a:pt x="1224" y="1434"/>
                  </a:lnTo>
                  <a:lnTo>
                    <a:pt x="1124" y="1543"/>
                  </a:lnTo>
                  <a:lnTo>
                    <a:pt x="1027" y="1653"/>
                  </a:lnTo>
                  <a:lnTo>
                    <a:pt x="933" y="1766"/>
                  </a:lnTo>
                  <a:lnTo>
                    <a:pt x="841" y="1883"/>
                  </a:lnTo>
                  <a:lnTo>
                    <a:pt x="752" y="2001"/>
                  </a:lnTo>
                  <a:lnTo>
                    <a:pt x="665" y="2122"/>
                  </a:lnTo>
                  <a:lnTo>
                    <a:pt x="582" y="2246"/>
                  </a:lnTo>
                  <a:lnTo>
                    <a:pt x="500" y="2372"/>
                  </a:lnTo>
                  <a:lnTo>
                    <a:pt x="423" y="2500"/>
                  </a:lnTo>
                  <a:lnTo>
                    <a:pt x="347" y="2631"/>
                  </a:lnTo>
                  <a:lnTo>
                    <a:pt x="276" y="2765"/>
                  </a:lnTo>
                  <a:lnTo>
                    <a:pt x="207" y="2901"/>
                  </a:lnTo>
                  <a:lnTo>
                    <a:pt x="141" y="3040"/>
                  </a:lnTo>
                  <a:lnTo>
                    <a:pt x="78" y="3180"/>
                  </a:lnTo>
                  <a:lnTo>
                    <a:pt x="18" y="3323"/>
                  </a:lnTo>
                  <a:lnTo>
                    <a:pt x="14" y="3335"/>
                  </a:lnTo>
                  <a:lnTo>
                    <a:pt x="10" y="3347"/>
                  </a:lnTo>
                  <a:lnTo>
                    <a:pt x="7" y="3359"/>
                  </a:lnTo>
                  <a:lnTo>
                    <a:pt x="4" y="3373"/>
                  </a:lnTo>
                  <a:lnTo>
                    <a:pt x="2" y="3385"/>
                  </a:lnTo>
                  <a:lnTo>
                    <a:pt x="1" y="3397"/>
                  </a:lnTo>
                  <a:lnTo>
                    <a:pt x="0" y="3409"/>
                  </a:lnTo>
                  <a:lnTo>
                    <a:pt x="0" y="3422"/>
                  </a:lnTo>
                  <a:lnTo>
                    <a:pt x="1" y="3434"/>
                  </a:lnTo>
                  <a:lnTo>
                    <a:pt x="2" y="3446"/>
                  </a:lnTo>
                  <a:lnTo>
                    <a:pt x="4" y="3458"/>
                  </a:lnTo>
                  <a:lnTo>
                    <a:pt x="6" y="3470"/>
                  </a:lnTo>
                  <a:lnTo>
                    <a:pt x="9" y="3481"/>
                  </a:lnTo>
                  <a:lnTo>
                    <a:pt x="12" y="3493"/>
                  </a:lnTo>
                  <a:lnTo>
                    <a:pt x="16" y="3504"/>
                  </a:lnTo>
                  <a:lnTo>
                    <a:pt x="20" y="3515"/>
                  </a:lnTo>
                  <a:lnTo>
                    <a:pt x="25" y="3526"/>
                  </a:lnTo>
                  <a:lnTo>
                    <a:pt x="32" y="3538"/>
                  </a:lnTo>
                  <a:lnTo>
                    <a:pt x="38" y="3548"/>
                  </a:lnTo>
                  <a:lnTo>
                    <a:pt x="45" y="3559"/>
                  </a:lnTo>
                  <a:lnTo>
                    <a:pt x="52" y="3568"/>
                  </a:lnTo>
                  <a:lnTo>
                    <a:pt x="59" y="3578"/>
                  </a:lnTo>
                  <a:lnTo>
                    <a:pt x="67" y="3587"/>
                  </a:lnTo>
                  <a:lnTo>
                    <a:pt x="75" y="3596"/>
                  </a:lnTo>
                  <a:lnTo>
                    <a:pt x="84" y="3604"/>
                  </a:lnTo>
                  <a:lnTo>
                    <a:pt x="94" y="3612"/>
                  </a:lnTo>
                  <a:lnTo>
                    <a:pt x="103" y="3620"/>
                  </a:lnTo>
                  <a:lnTo>
                    <a:pt x="114" y="3627"/>
                  </a:lnTo>
                  <a:lnTo>
                    <a:pt x="124" y="3633"/>
                  </a:lnTo>
                  <a:lnTo>
                    <a:pt x="135" y="3639"/>
                  </a:lnTo>
                  <a:lnTo>
                    <a:pt x="147" y="3645"/>
                  </a:lnTo>
                  <a:lnTo>
                    <a:pt x="159" y="3650"/>
                  </a:lnTo>
                  <a:lnTo>
                    <a:pt x="171" y="3655"/>
                  </a:lnTo>
                  <a:lnTo>
                    <a:pt x="183" y="3659"/>
                  </a:lnTo>
                  <a:lnTo>
                    <a:pt x="195" y="3662"/>
                  </a:lnTo>
                  <a:lnTo>
                    <a:pt x="208" y="3664"/>
                  </a:lnTo>
                  <a:lnTo>
                    <a:pt x="220" y="3666"/>
                  </a:lnTo>
                  <a:lnTo>
                    <a:pt x="232" y="3668"/>
                  </a:lnTo>
                  <a:lnTo>
                    <a:pt x="245" y="3668"/>
                  </a:lnTo>
                  <a:lnTo>
                    <a:pt x="257" y="3668"/>
                  </a:lnTo>
                  <a:lnTo>
                    <a:pt x="269" y="3668"/>
                  </a:lnTo>
                  <a:lnTo>
                    <a:pt x="281" y="3667"/>
                  </a:lnTo>
                  <a:lnTo>
                    <a:pt x="293" y="3665"/>
                  </a:lnTo>
                  <a:lnTo>
                    <a:pt x="305" y="3663"/>
                  </a:lnTo>
                  <a:lnTo>
                    <a:pt x="316" y="3660"/>
                  </a:lnTo>
                  <a:lnTo>
                    <a:pt x="328" y="3657"/>
                  </a:lnTo>
                  <a:lnTo>
                    <a:pt x="339" y="3653"/>
                  </a:lnTo>
                  <a:lnTo>
                    <a:pt x="350" y="3648"/>
                  </a:lnTo>
                  <a:lnTo>
                    <a:pt x="361" y="3643"/>
                  </a:lnTo>
                  <a:lnTo>
                    <a:pt x="373" y="3638"/>
                  </a:lnTo>
                  <a:lnTo>
                    <a:pt x="383" y="3632"/>
                  </a:lnTo>
                  <a:lnTo>
                    <a:pt x="393" y="3625"/>
                  </a:lnTo>
                  <a:lnTo>
                    <a:pt x="403" y="3618"/>
                  </a:lnTo>
                  <a:lnTo>
                    <a:pt x="413" y="3611"/>
                  </a:lnTo>
                  <a:lnTo>
                    <a:pt x="422" y="3603"/>
                  </a:lnTo>
                  <a:lnTo>
                    <a:pt x="431" y="3594"/>
                  </a:lnTo>
                  <a:lnTo>
                    <a:pt x="439" y="3586"/>
                  </a:lnTo>
                  <a:lnTo>
                    <a:pt x="447" y="3576"/>
                  </a:lnTo>
                  <a:lnTo>
                    <a:pt x="454" y="3566"/>
                  </a:lnTo>
                  <a:lnTo>
                    <a:pt x="461" y="3556"/>
                  </a:lnTo>
                  <a:lnTo>
                    <a:pt x="468" y="3546"/>
                  </a:lnTo>
                  <a:lnTo>
                    <a:pt x="474" y="3535"/>
                  </a:lnTo>
                  <a:lnTo>
                    <a:pt x="480" y="3522"/>
                  </a:lnTo>
                  <a:lnTo>
                    <a:pt x="485" y="3510"/>
                  </a:lnTo>
                  <a:lnTo>
                    <a:pt x="540" y="3379"/>
                  </a:lnTo>
                  <a:lnTo>
                    <a:pt x="598" y="3249"/>
                  </a:lnTo>
                  <a:lnTo>
                    <a:pt x="658" y="3121"/>
                  </a:lnTo>
                  <a:lnTo>
                    <a:pt x="722" y="2996"/>
                  </a:lnTo>
                  <a:lnTo>
                    <a:pt x="788" y="2873"/>
                  </a:lnTo>
                  <a:lnTo>
                    <a:pt x="857" y="2752"/>
                  </a:lnTo>
                  <a:lnTo>
                    <a:pt x="929" y="2633"/>
                  </a:lnTo>
                  <a:lnTo>
                    <a:pt x="1004" y="2518"/>
                  </a:lnTo>
                  <a:lnTo>
                    <a:pt x="1081" y="2404"/>
                  </a:lnTo>
                  <a:lnTo>
                    <a:pt x="1160" y="2292"/>
                  </a:lnTo>
                  <a:lnTo>
                    <a:pt x="1243" y="2183"/>
                  </a:lnTo>
                  <a:lnTo>
                    <a:pt x="1327" y="2076"/>
                  </a:lnTo>
                  <a:lnTo>
                    <a:pt x="1415" y="1971"/>
                  </a:lnTo>
                  <a:lnTo>
                    <a:pt x="1503" y="1870"/>
                  </a:lnTo>
                  <a:lnTo>
                    <a:pt x="1595" y="1770"/>
                  </a:lnTo>
                  <a:lnTo>
                    <a:pt x="1689" y="1674"/>
                  </a:lnTo>
                  <a:lnTo>
                    <a:pt x="1785" y="1579"/>
                  </a:lnTo>
                  <a:lnTo>
                    <a:pt x="1882" y="1487"/>
                  </a:lnTo>
                  <a:lnTo>
                    <a:pt x="1983" y="1398"/>
                  </a:lnTo>
                  <a:lnTo>
                    <a:pt x="2085" y="1311"/>
                  </a:lnTo>
                  <a:lnTo>
                    <a:pt x="2189" y="1227"/>
                  </a:lnTo>
                  <a:lnTo>
                    <a:pt x="2295" y="1145"/>
                  </a:lnTo>
                  <a:lnTo>
                    <a:pt x="2403" y="1067"/>
                  </a:lnTo>
                  <a:lnTo>
                    <a:pt x="2512" y="990"/>
                  </a:lnTo>
                  <a:lnTo>
                    <a:pt x="2623" y="917"/>
                  </a:lnTo>
                  <a:lnTo>
                    <a:pt x="2735" y="847"/>
                  </a:lnTo>
                  <a:lnTo>
                    <a:pt x="2850" y="778"/>
                  </a:lnTo>
                  <a:lnTo>
                    <a:pt x="2966" y="714"/>
                  </a:lnTo>
                  <a:lnTo>
                    <a:pt x="3084" y="651"/>
                  </a:lnTo>
                  <a:lnTo>
                    <a:pt x="3202" y="592"/>
                  </a:lnTo>
                  <a:lnTo>
                    <a:pt x="3322" y="535"/>
                  </a:lnTo>
                  <a:lnTo>
                    <a:pt x="3444" y="481"/>
                  </a:lnTo>
                  <a:lnTo>
                    <a:pt x="3455" y="476"/>
                  </a:lnTo>
                  <a:lnTo>
                    <a:pt x="3467" y="470"/>
                  </a:lnTo>
                  <a:lnTo>
                    <a:pt x="3477" y="463"/>
                  </a:lnTo>
                  <a:lnTo>
                    <a:pt x="3488" y="457"/>
                  </a:lnTo>
                  <a:lnTo>
                    <a:pt x="3498" y="449"/>
                  </a:lnTo>
                  <a:lnTo>
                    <a:pt x="3507" y="441"/>
                  </a:lnTo>
                  <a:lnTo>
                    <a:pt x="3517" y="433"/>
                  </a:lnTo>
                  <a:lnTo>
                    <a:pt x="3525" y="425"/>
                  </a:lnTo>
                  <a:lnTo>
                    <a:pt x="3533" y="416"/>
                  </a:lnTo>
                  <a:lnTo>
                    <a:pt x="3541" y="406"/>
                  </a:lnTo>
                  <a:lnTo>
                    <a:pt x="3548" y="397"/>
                  </a:lnTo>
                  <a:lnTo>
                    <a:pt x="3555" y="387"/>
                  </a:lnTo>
                  <a:lnTo>
                    <a:pt x="3561" y="377"/>
                  </a:lnTo>
                  <a:lnTo>
                    <a:pt x="3567" y="366"/>
                  </a:lnTo>
                  <a:lnTo>
                    <a:pt x="3572" y="355"/>
                  </a:lnTo>
                  <a:lnTo>
                    <a:pt x="3577" y="344"/>
                  </a:lnTo>
                  <a:lnTo>
                    <a:pt x="3581" y="333"/>
                  </a:lnTo>
                  <a:lnTo>
                    <a:pt x="3585" y="322"/>
                  </a:lnTo>
                  <a:lnTo>
                    <a:pt x="3589" y="309"/>
                  </a:lnTo>
                  <a:lnTo>
                    <a:pt x="3591" y="297"/>
                  </a:lnTo>
                  <a:lnTo>
                    <a:pt x="3593" y="286"/>
                  </a:lnTo>
                  <a:lnTo>
                    <a:pt x="3595" y="274"/>
                  </a:lnTo>
                  <a:lnTo>
                    <a:pt x="3596" y="261"/>
                  </a:lnTo>
                  <a:lnTo>
                    <a:pt x="3596" y="249"/>
                  </a:lnTo>
                  <a:lnTo>
                    <a:pt x="3596" y="237"/>
                  </a:lnTo>
                  <a:lnTo>
                    <a:pt x="3595" y="225"/>
                  </a:lnTo>
                  <a:lnTo>
                    <a:pt x="3593" y="213"/>
                  </a:lnTo>
                  <a:lnTo>
                    <a:pt x="3591" y="200"/>
                  </a:lnTo>
                  <a:lnTo>
                    <a:pt x="3588" y="188"/>
                  </a:lnTo>
                  <a:lnTo>
                    <a:pt x="3584" y="176"/>
                  </a:lnTo>
                  <a:lnTo>
                    <a:pt x="3579" y="164"/>
                  </a:lnTo>
                  <a:lnTo>
                    <a:pt x="3575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89" name="î$ļîḓe">
              <a:extLst>
                <a:ext uri="{FF2B5EF4-FFF2-40B4-BE49-F238E27FC236}">
                  <a16:creationId xmlns:a16="http://schemas.microsoft.com/office/drawing/2014/main" id="{35E4F862-E748-42E5-80B8-65F6622FC1B9}"/>
                </a:ext>
              </a:extLst>
            </p:cNvPr>
            <p:cNvSpPr/>
            <p:nvPr/>
          </p:nvSpPr>
          <p:spPr bwMode="auto">
            <a:xfrm>
              <a:off x="6012503" y="2664996"/>
              <a:ext cx="69061" cy="70745"/>
            </a:xfrm>
            <a:custGeom>
              <a:avLst/>
              <a:gdLst>
                <a:gd name="T0" fmla="*/ 2939 w 3057"/>
                <a:gd name="T1" fmla="*/ 464 h 3119"/>
                <a:gd name="T2" fmla="*/ 2978 w 3057"/>
                <a:gd name="T3" fmla="*/ 434 h 3119"/>
                <a:gd name="T4" fmla="*/ 3011 w 3057"/>
                <a:gd name="T5" fmla="*/ 397 h 3119"/>
                <a:gd name="T6" fmla="*/ 3035 w 3057"/>
                <a:gd name="T7" fmla="*/ 355 h 3119"/>
                <a:gd name="T8" fmla="*/ 3050 w 3057"/>
                <a:gd name="T9" fmla="*/ 310 h 3119"/>
                <a:gd name="T10" fmla="*/ 3057 w 3057"/>
                <a:gd name="T11" fmla="*/ 263 h 3119"/>
                <a:gd name="T12" fmla="*/ 3055 w 3057"/>
                <a:gd name="T13" fmla="*/ 213 h 3119"/>
                <a:gd name="T14" fmla="*/ 3042 w 3057"/>
                <a:gd name="T15" fmla="*/ 164 h 3119"/>
                <a:gd name="T16" fmla="*/ 3020 w 3057"/>
                <a:gd name="T17" fmla="*/ 118 h 3119"/>
                <a:gd name="T18" fmla="*/ 2988 w 3057"/>
                <a:gd name="T19" fmla="*/ 79 h 3119"/>
                <a:gd name="T20" fmla="*/ 2952 w 3057"/>
                <a:gd name="T21" fmla="*/ 46 h 3119"/>
                <a:gd name="T22" fmla="*/ 2910 w 3057"/>
                <a:gd name="T23" fmla="*/ 22 h 3119"/>
                <a:gd name="T24" fmla="*/ 2865 w 3057"/>
                <a:gd name="T25" fmla="*/ 7 h 3119"/>
                <a:gd name="T26" fmla="*/ 2816 w 3057"/>
                <a:gd name="T27" fmla="*/ 0 h 3119"/>
                <a:gd name="T28" fmla="*/ 2767 w 3057"/>
                <a:gd name="T29" fmla="*/ 3 h 3119"/>
                <a:gd name="T30" fmla="*/ 2719 w 3057"/>
                <a:gd name="T31" fmla="*/ 15 h 3119"/>
                <a:gd name="T32" fmla="*/ 2584 w 3057"/>
                <a:gd name="T33" fmla="*/ 79 h 3119"/>
                <a:gd name="T34" fmla="*/ 2157 w 3057"/>
                <a:gd name="T35" fmla="*/ 300 h 3119"/>
                <a:gd name="T36" fmla="*/ 1752 w 3057"/>
                <a:gd name="T37" fmla="*/ 561 h 3119"/>
                <a:gd name="T38" fmla="*/ 1373 w 3057"/>
                <a:gd name="T39" fmla="*/ 862 h 3119"/>
                <a:gd name="T40" fmla="*/ 1022 w 3057"/>
                <a:gd name="T41" fmla="*/ 1199 h 3119"/>
                <a:gd name="T42" fmla="*/ 703 w 3057"/>
                <a:gd name="T43" fmla="*/ 1573 h 3119"/>
                <a:gd name="T44" fmla="*/ 419 w 3057"/>
                <a:gd name="T45" fmla="*/ 1981 h 3119"/>
                <a:gd name="T46" fmla="*/ 175 w 3057"/>
                <a:gd name="T47" fmla="*/ 2422 h 3119"/>
                <a:gd name="T48" fmla="*/ 14 w 3057"/>
                <a:gd name="T49" fmla="*/ 2786 h 3119"/>
                <a:gd name="T50" fmla="*/ 2 w 3057"/>
                <a:gd name="T51" fmla="*/ 2835 h 3119"/>
                <a:gd name="T52" fmla="*/ 1 w 3057"/>
                <a:gd name="T53" fmla="*/ 2884 h 3119"/>
                <a:gd name="T54" fmla="*/ 9 w 3057"/>
                <a:gd name="T55" fmla="*/ 2931 h 3119"/>
                <a:gd name="T56" fmla="*/ 26 w 3057"/>
                <a:gd name="T57" fmla="*/ 2977 h 3119"/>
                <a:gd name="T58" fmla="*/ 51 w 3057"/>
                <a:gd name="T59" fmla="*/ 3018 h 3119"/>
                <a:gd name="T60" fmla="*/ 83 w 3057"/>
                <a:gd name="T61" fmla="*/ 3054 h 3119"/>
                <a:gd name="T62" fmla="*/ 124 w 3057"/>
                <a:gd name="T63" fmla="*/ 3083 h 3119"/>
                <a:gd name="T64" fmla="*/ 171 w 3057"/>
                <a:gd name="T65" fmla="*/ 3105 h 3119"/>
                <a:gd name="T66" fmla="*/ 219 w 3057"/>
                <a:gd name="T67" fmla="*/ 3116 h 3119"/>
                <a:gd name="T68" fmla="*/ 268 w 3057"/>
                <a:gd name="T69" fmla="*/ 3119 h 3119"/>
                <a:gd name="T70" fmla="*/ 317 w 3057"/>
                <a:gd name="T71" fmla="*/ 3110 h 3119"/>
                <a:gd name="T72" fmla="*/ 361 w 3057"/>
                <a:gd name="T73" fmla="*/ 3093 h 3119"/>
                <a:gd name="T74" fmla="*/ 402 w 3057"/>
                <a:gd name="T75" fmla="*/ 3068 h 3119"/>
                <a:gd name="T76" fmla="*/ 438 w 3057"/>
                <a:gd name="T77" fmla="*/ 3035 h 3119"/>
                <a:gd name="T78" fmla="*/ 469 w 3057"/>
                <a:gd name="T79" fmla="*/ 2996 h 3119"/>
                <a:gd name="T80" fmla="*/ 530 w 3057"/>
                <a:gd name="T81" fmla="*/ 2853 h 3119"/>
                <a:gd name="T82" fmla="*/ 733 w 3057"/>
                <a:gd name="T83" fmla="*/ 2439 h 3119"/>
                <a:gd name="T84" fmla="*/ 973 w 3057"/>
                <a:gd name="T85" fmla="*/ 2055 h 3119"/>
                <a:gd name="T86" fmla="*/ 1245 w 3057"/>
                <a:gd name="T87" fmla="*/ 1701 h 3119"/>
                <a:gd name="T88" fmla="*/ 1548 w 3057"/>
                <a:gd name="T89" fmla="*/ 1380 h 3119"/>
                <a:gd name="T90" fmla="*/ 1879 w 3057"/>
                <a:gd name="T91" fmla="*/ 1092 h 3119"/>
                <a:gd name="T92" fmla="*/ 2234 w 3057"/>
                <a:gd name="T93" fmla="*/ 839 h 3119"/>
                <a:gd name="T94" fmla="*/ 2610 w 3057"/>
                <a:gd name="T95" fmla="*/ 622 h 3119"/>
                <a:gd name="T96" fmla="*/ 2905 w 3057"/>
                <a:gd name="T97" fmla="*/ 482 h 3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057" h="3119">
                  <a:moveTo>
                    <a:pt x="2905" y="482"/>
                  </a:moveTo>
                  <a:lnTo>
                    <a:pt x="2917" y="477"/>
                  </a:lnTo>
                  <a:lnTo>
                    <a:pt x="2928" y="471"/>
                  </a:lnTo>
                  <a:lnTo>
                    <a:pt x="2939" y="464"/>
                  </a:lnTo>
                  <a:lnTo>
                    <a:pt x="2949" y="458"/>
                  </a:lnTo>
                  <a:lnTo>
                    <a:pt x="2959" y="450"/>
                  </a:lnTo>
                  <a:lnTo>
                    <a:pt x="2969" y="442"/>
                  </a:lnTo>
                  <a:lnTo>
                    <a:pt x="2978" y="434"/>
                  </a:lnTo>
                  <a:lnTo>
                    <a:pt x="2986" y="426"/>
                  </a:lnTo>
                  <a:lnTo>
                    <a:pt x="2996" y="417"/>
                  </a:lnTo>
                  <a:lnTo>
                    <a:pt x="3003" y="408"/>
                  </a:lnTo>
                  <a:lnTo>
                    <a:pt x="3011" y="397"/>
                  </a:lnTo>
                  <a:lnTo>
                    <a:pt x="3017" y="387"/>
                  </a:lnTo>
                  <a:lnTo>
                    <a:pt x="3024" y="377"/>
                  </a:lnTo>
                  <a:lnTo>
                    <a:pt x="3029" y="366"/>
                  </a:lnTo>
                  <a:lnTo>
                    <a:pt x="3035" y="355"/>
                  </a:lnTo>
                  <a:lnTo>
                    <a:pt x="3039" y="344"/>
                  </a:lnTo>
                  <a:lnTo>
                    <a:pt x="3044" y="333"/>
                  </a:lnTo>
                  <a:lnTo>
                    <a:pt x="3047" y="322"/>
                  </a:lnTo>
                  <a:lnTo>
                    <a:pt x="3050" y="310"/>
                  </a:lnTo>
                  <a:lnTo>
                    <a:pt x="3053" y="298"/>
                  </a:lnTo>
                  <a:lnTo>
                    <a:pt x="3055" y="287"/>
                  </a:lnTo>
                  <a:lnTo>
                    <a:pt x="3056" y="275"/>
                  </a:lnTo>
                  <a:lnTo>
                    <a:pt x="3057" y="263"/>
                  </a:lnTo>
                  <a:lnTo>
                    <a:pt x="3057" y="250"/>
                  </a:lnTo>
                  <a:lnTo>
                    <a:pt x="3057" y="237"/>
                  </a:lnTo>
                  <a:lnTo>
                    <a:pt x="3056" y="225"/>
                  </a:lnTo>
                  <a:lnTo>
                    <a:pt x="3055" y="213"/>
                  </a:lnTo>
                  <a:lnTo>
                    <a:pt x="3052" y="200"/>
                  </a:lnTo>
                  <a:lnTo>
                    <a:pt x="3050" y="188"/>
                  </a:lnTo>
                  <a:lnTo>
                    <a:pt x="3046" y="176"/>
                  </a:lnTo>
                  <a:lnTo>
                    <a:pt x="3042" y="164"/>
                  </a:lnTo>
                  <a:lnTo>
                    <a:pt x="3037" y="152"/>
                  </a:lnTo>
                  <a:lnTo>
                    <a:pt x="3032" y="140"/>
                  </a:lnTo>
                  <a:lnTo>
                    <a:pt x="3026" y="129"/>
                  </a:lnTo>
                  <a:lnTo>
                    <a:pt x="3020" y="118"/>
                  </a:lnTo>
                  <a:lnTo>
                    <a:pt x="3013" y="108"/>
                  </a:lnTo>
                  <a:lnTo>
                    <a:pt x="3005" y="98"/>
                  </a:lnTo>
                  <a:lnTo>
                    <a:pt x="2998" y="88"/>
                  </a:lnTo>
                  <a:lnTo>
                    <a:pt x="2988" y="79"/>
                  </a:lnTo>
                  <a:lnTo>
                    <a:pt x="2980" y="71"/>
                  </a:lnTo>
                  <a:lnTo>
                    <a:pt x="2971" y="61"/>
                  </a:lnTo>
                  <a:lnTo>
                    <a:pt x="2962" y="54"/>
                  </a:lnTo>
                  <a:lnTo>
                    <a:pt x="2952" y="46"/>
                  </a:lnTo>
                  <a:lnTo>
                    <a:pt x="2942" y="40"/>
                  </a:lnTo>
                  <a:lnTo>
                    <a:pt x="2932" y="33"/>
                  </a:lnTo>
                  <a:lnTo>
                    <a:pt x="2921" y="28"/>
                  </a:lnTo>
                  <a:lnTo>
                    <a:pt x="2910" y="22"/>
                  </a:lnTo>
                  <a:lnTo>
                    <a:pt x="2899" y="18"/>
                  </a:lnTo>
                  <a:lnTo>
                    <a:pt x="2888" y="13"/>
                  </a:lnTo>
                  <a:lnTo>
                    <a:pt x="2877" y="10"/>
                  </a:lnTo>
                  <a:lnTo>
                    <a:pt x="2865" y="7"/>
                  </a:lnTo>
                  <a:lnTo>
                    <a:pt x="2853" y="4"/>
                  </a:lnTo>
                  <a:lnTo>
                    <a:pt x="2841" y="2"/>
                  </a:lnTo>
                  <a:lnTo>
                    <a:pt x="2829" y="1"/>
                  </a:lnTo>
                  <a:lnTo>
                    <a:pt x="2816" y="0"/>
                  </a:lnTo>
                  <a:lnTo>
                    <a:pt x="2804" y="0"/>
                  </a:lnTo>
                  <a:lnTo>
                    <a:pt x="2792" y="0"/>
                  </a:lnTo>
                  <a:lnTo>
                    <a:pt x="2780" y="1"/>
                  </a:lnTo>
                  <a:lnTo>
                    <a:pt x="2767" y="3"/>
                  </a:lnTo>
                  <a:lnTo>
                    <a:pt x="2755" y="5"/>
                  </a:lnTo>
                  <a:lnTo>
                    <a:pt x="2743" y="8"/>
                  </a:lnTo>
                  <a:lnTo>
                    <a:pt x="2731" y="11"/>
                  </a:lnTo>
                  <a:lnTo>
                    <a:pt x="2719" y="15"/>
                  </a:lnTo>
                  <a:lnTo>
                    <a:pt x="2707" y="20"/>
                  </a:lnTo>
                  <a:lnTo>
                    <a:pt x="2700" y="25"/>
                  </a:lnTo>
                  <a:lnTo>
                    <a:pt x="2694" y="29"/>
                  </a:lnTo>
                  <a:lnTo>
                    <a:pt x="2584" y="79"/>
                  </a:lnTo>
                  <a:lnTo>
                    <a:pt x="2475" y="130"/>
                  </a:lnTo>
                  <a:lnTo>
                    <a:pt x="2368" y="184"/>
                  </a:lnTo>
                  <a:lnTo>
                    <a:pt x="2262" y="241"/>
                  </a:lnTo>
                  <a:lnTo>
                    <a:pt x="2157" y="300"/>
                  </a:lnTo>
                  <a:lnTo>
                    <a:pt x="2054" y="361"/>
                  </a:lnTo>
                  <a:lnTo>
                    <a:pt x="1951" y="426"/>
                  </a:lnTo>
                  <a:lnTo>
                    <a:pt x="1851" y="492"/>
                  </a:lnTo>
                  <a:lnTo>
                    <a:pt x="1752" y="561"/>
                  </a:lnTo>
                  <a:lnTo>
                    <a:pt x="1655" y="633"/>
                  </a:lnTo>
                  <a:lnTo>
                    <a:pt x="1559" y="707"/>
                  </a:lnTo>
                  <a:lnTo>
                    <a:pt x="1465" y="783"/>
                  </a:lnTo>
                  <a:lnTo>
                    <a:pt x="1373" y="862"/>
                  </a:lnTo>
                  <a:lnTo>
                    <a:pt x="1282" y="943"/>
                  </a:lnTo>
                  <a:lnTo>
                    <a:pt x="1194" y="1026"/>
                  </a:lnTo>
                  <a:lnTo>
                    <a:pt x="1107" y="1112"/>
                  </a:lnTo>
                  <a:lnTo>
                    <a:pt x="1022" y="1199"/>
                  </a:lnTo>
                  <a:lnTo>
                    <a:pt x="939" y="1290"/>
                  </a:lnTo>
                  <a:lnTo>
                    <a:pt x="859" y="1382"/>
                  </a:lnTo>
                  <a:lnTo>
                    <a:pt x="779" y="1477"/>
                  </a:lnTo>
                  <a:lnTo>
                    <a:pt x="703" y="1573"/>
                  </a:lnTo>
                  <a:lnTo>
                    <a:pt x="629" y="1672"/>
                  </a:lnTo>
                  <a:lnTo>
                    <a:pt x="557" y="1773"/>
                  </a:lnTo>
                  <a:lnTo>
                    <a:pt x="487" y="1876"/>
                  </a:lnTo>
                  <a:lnTo>
                    <a:pt x="419" y="1981"/>
                  </a:lnTo>
                  <a:lnTo>
                    <a:pt x="355" y="2088"/>
                  </a:lnTo>
                  <a:lnTo>
                    <a:pt x="293" y="2197"/>
                  </a:lnTo>
                  <a:lnTo>
                    <a:pt x="232" y="2309"/>
                  </a:lnTo>
                  <a:lnTo>
                    <a:pt x="175" y="2422"/>
                  </a:lnTo>
                  <a:lnTo>
                    <a:pt x="120" y="2537"/>
                  </a:lnTo>
                  <a:lnTo>
                    <a:pt x="67" y="2655"/>
                  </a:lnTo>
                  <a:lnTo>
                    <a:pt x="18" y="2773"/>
                  </a:lnTo>
                  <a:lnTo>
                    <a:pt x="14" y="2786"/>
                  </a:lnTo>
                  <a:lnTo>
                    <a:pt x="10" y="2798"/>
                  </a:lnTo>
                  <a:lnTo>
                    <a:pt x="7" y="2811"/>
                  </a:lnTo>
                  <a:lnTo>
                    <a:pt x="4" y="2823"/>
                  </a:lnTo>
                  <a:lnTo>
                    <a:pt x="2" y="2835"/>
                  </a:lnTo>
                  <a:lnTo>
                    <a:pt x="1" y="2847"/>
                  </a:lnTo>
                  <a:lnTo>
                    <a:pt x="0" y="2860"/>
                  </a:lnTo>
                  <a:lnTo>
                    <a:pt x="0" y="2872"/>
                  </a:lnTo>
                  <a:lnTo>
                    <a:pt x="1" y="2884"/>
                  </a:lnTo>
                  <a:lnTo>
                    <a:pt x="2" y="2896"/>
                  </a:lnTo>
                  <a:lnTo>
                    <a:pt x="4" y="2908"/>
                  </a:lnTo>
                  <a:lnTo>
                    <a:pt x="6" y="2920"/>
                  </a:lnTo>
                  <a:lnTo>
                    <a:pt x="9" y="2931"/>
                  </a:lnTo>
                  <a:lnTo>
                    <a:pt x="12" y="2943"/>
                  </a:lnTo>
                  <a:lnTo>
                    <a:pt x="16" y="2955"/>
                  </a:lnTo>
                  <a:lnTo>
                    <a:pt x="21" y="2966"/>
                  </a:lnTo>
                  <a:lnTo>
                    <a:pt x="26" y="2977"/>
                  </a:lnTo>
                  <a:lnTo>
                    <a:pt x="31" y="2988"/>
                  </a:lnTo>
                  <a:lnTo>
                    <a:pt x="37" y="2998"/>
                  </a:lnTo>
                  <a:lnTo>
                    <a:pt x="44" y="3008"/>
                  </a:lnTo>
                  <a:lnTo>
                    <a:pt x="51" y="3018"/>
                  </a:lnTo>
                  <a:lnTo>
                    <a:pt x="58" y="3028"/>
                  </a:lnTo>
                  <a:lnTo>
                    <a:pt x="66" y="3037"/>
                  </a:lnTo>
                  <a:lnTo>
                    <a:pt x="75" y="3045"/>
                  </a:lnTo>
                  <a:lnTo>
                    <a:pt x="83" y="3054"/>
                  </a:lnTo>
                  <a:lnTo>
                    <a:pt x="93" y="3062"/>
                  </a:lnTo>
                  <a:lnTo>
                    <a:pt x="103" y="3069"/>
                  </a:lnTo>
                  <a:lnTo>
                    <a:pt x="114" y="3077"/>
                  </a:lnTo>
                  <a:lnTo>
                    <a:pt x="124" y="3083"/>
                  </a:lnTo>
                  <a:lnTo>
                    <a:pt x="135" y="3089"/>
                  </a:lnTo>
                  <a:lnTo>
                    <a:pt x="147" y="3095"/>
                  </a:lnTo>
                  <a:lnTo>
                    <a:pt x="159" y="3100"/>
                  </a:lnTo>
                  <a:lnTo>
                    <a:pt x="171" y="3105"/>
                  </a:lnTo>
                  <a:lnTo>
                    <a:pt x="183" y="3108"/>
                  </a:lnTo>
                  <a:lnTo>
                    <a:pt x="195" y="3112"/>
                  </a:lnTo>
                  <a:lnTo>
                    <a:pt x="207" y="3114"/>
                  </a:lnTo>
                  <a:lnTo>
                    <a:pt x="219" y="3116"/>
                  </a:lnTo>
                  <a:lnTo>
                    <a:pt x="232" y="3117"/>
                  </a:lnTo>
                  <a:lnTo>
                    <a:pt x="244" y="3119"/>
                  </a:lnTo>
                  <a:lnTo>
                    <a:pt x="256" y="3119"/>
                  </a:lnTo>
                  <a:lnTo>
                    <a:pt x="268" y="3119"/>
                  </a:lnTo>
                  <a:lnTo>
                    <a:pt x="280" y="3116"/>
                  </a:lnTo>
                  <a:lnTo>
                    <a:pt x="293" y="3115"/>
                  </a:lnTo>
                  <a:lnTo>
                    <a:pt x="305" y="3112"/>
                  </a:lnTo>
                  <a:lnTo>
                    <a:pt x="317" y="3110"/>
                  </a:lnTo>
                  <a:lnTo>
                    <a:pt x="328" y="3106"/>
                  </a:lnTo>
                  <a:lnTo>
                    <a:pt x="339" y="3102"/>
                  </a:lnTo>
                  <a:lnTo>
                    <a:pt x="351" y="3098"/>
                  </a:lnTo>
                  <a:lnTo>
                    <a:pt x="361" y="3093"/>
                  </a:lnTo>
                  <a:lnTo>
                    <a:pt x="372" y="3088"/>
                  </a:lnTo>
                  <a:lnTo>
                    <a:pt x="382" y="3082"/>
                  </a:lnTo>
                  <a:lnTo>
                    <a:pt x="393" y="3075"/>
                  </a:lnTo>
                  <a:lnTo>
                    <a:pt x="402" y="3068"/>
                  </a:lnTo>
                  <a:lnTo>
                    <a:pt x="412" y="3061"/>
                  </a:lnTo>
                  <a:lnTo>
                    <a:pt x="421" y="3053"/>
                  </a:lnTo>
                  <a:lnTo>
                    <a:pt x="430" y="3044"/>
                  </a:lnTo>
                  <a:lnTo>
                    <a:pt x="438" y="3035"/>
                  </a:lnTo>
                  <a:lnTo>
                    <a:pt x="446" y="3026"/>
                  </a:lnTo>
                  <a:lnTo>
                    <a:pt x="455" y="3016"/>
                  </a:lnTo>
                  <a:lnTo>
                    <a:pt x="462" y="3006"/>
                  </a:lnTo>
                  <a:lnTo>
                    <a:pt x="469" y="2996"/>
                  </a:lnTo>
                  <a:lnTo>
                    <a:pt x="475" y="2984"/>
                  </a:lnTo>
                  <a:lnTo>
                    <a:pt x="480" y="2973"/>
                  </a:lnTo>
                  <a:lnTo>
                    <a:pt x="486" y="2961"/>
                  </a:lnTo>
                  <a:lnTo>
                    <a:pt x="530" y="2853"/>
                  </a:lnTo>
                  <a:lnTo>
                    <a:pt x="577" y="2746"/>
                  </a:lnTo>
                  <a:lnTo>
                    <a:pt x="627" y="2643"/>
                  </a:lnTo>
                  <a:lnTo>
                    <a:pt x="679" y="2540"/>
                  </a:lnTo>
                  <a:lnTo>
                    <a:pt x="733" y="2439"/>
                  </a:lnTo>
                  <a:lnTo>
                    <a:pt x="790" y="2340"/>
                  </a:lnTo>
                  <a:lnTo>
                    <a:pt x="849" y="2243"/>
                  </a:lnTo>
                  <a:lnTo>
                    <a:pt x="909" y="2148"/>
                  </a:lnTo>
                  <a:lnTo>
                    <a:pt x="973" y="2055"/>
                  </a:lnTo>
                  <a:lnTo>
                    <a:pt x="1038" y="1964"/>
                  </a:lnTo>
                  <a:lnTo>
                    <a:pt x="1104" y="1874"/>
                  </a:lnTo>
                  <a:lnTo>
                    <a:pt x="1174" y="1787"/>
                  </a:lnTo>
                  <a:lnTo>
                    <a:pt x="1245" y="1701"/>
                  </a:lnTo>
                  <a:lnTo>
                    <a:pt x="1319" y="1618"/>
                  </a:lnTo>
                  <a:lnTo>
                    <a:pt x="1393" y="1536"/>
                  </a:lnTo>
                  <a:lnTo>
                    <a:pt x="1470" y="1458"/>
                  </a:lnTo>
                  <a:lnTo>
                    <a:pt x="1548" y="1380"/>
                  </a:lnTo>
                  <a:lnTo>
                    <a:pt x="1628" y="1305"/>
                  </a:lnTo>
                  <a:lnTo>
                    <a:pt x="1710" y="1231"/>
                  </a:lnTo>
                  <a:lnTo>
                    <a:pt x="1793" y="1161"/>
                  </a:lnTo>
                  <a:lnTo>
                    <a:pt x="1879" y="1092"/>
                  </a:lnTo>
                  <a:lnTo>
                    <a:pt x="1965" y="1025"/>
                  </a:lnTo>
                  <a:lnTo>
                    <a:pt x="2053" y="961"/>
                  </a:lnTo>
                  <a:lnTo>
                    <a:pt x="2142" y="898"/>
                  </a:lnTo>
                  <a:lnTo>
                    <a:pt x="2234" y="839"/>
                  </a:lnTo>
                  <a:lnTo>
                    <a:pt x="2326" y="781"/>
                  </a:lnTo>
                  <a:lnTo>
                    <a:pt x="2419" y="725"/>
                  </a:lnTo>
                  <a:lnTo>
                    <a:pt x="2515" y="672"/>
                  </a:lnTo>
                  <a:lnTo>
                    <a:pt x="2610" y="622"/>
                  </a:lnTo>
                  <a:lnTo>
                    <a:pt x="2708" y="572"/>
                  </a:lnTo>
                  <a:lnTo>
                    <a:pt x="2805" y="526"/>
                  </a:lnTo>
                  <a:lnTo>
                    <a:pt x="2905" y="483"/>
                  </a:lnTo>
                  <a:lnTo>
                    <a:pt x="2905" y="4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90" name="îṡľïḑê">
              <a:extLst>
                <a:ext uri="{FF2B5EF4-FFF2-40B4-BE49-F238E27FC236}">
                  <a16:creationId xmlns:a16="http://schemas.microsoft.com/office/drawing/2014/main" id="{74480474-E2D9-4862-8A90-E372DEC04A06}"/>
                </a:ext>
              </a:extLst>
            </p:cNvPr>
            <p:cNvSpPr/>
            <p:nvPr/>
          </p:nvSpPr>
          <p:spPr bwMode="auto">
            <a:xfrm>
              <a:off x="5936882" y="2186890"/>
              <a:ext cx="62274" cy="82779"/>
            </a:xfrm>
            <a:custGeom>
              <a:avLst/>
              <a:gdLst>
                <a:gd name="T0" fmla="*/ 503 w 3018"/>
                <a:gd name="T1" fmla="*/ 504 h 4030"/>
                <a:gd name="T2" fmla="*/ 2515 w 3018"/>
                <a:gd name="T3" fmla="*/ 3526 h 4030"/>
                <a:gd name="T4" fmla="*/ 1386 w 3018"/>
                <a:gd name="T5" fmla="*/ 175 h 4030"/>
                <a:gd name="T6" fmla="*/ 1320 w 3018"/>
                <a:gd name="T7" fmla="*/ 110 h 4030"/>
                <a:gd name="T8" fmla="*/ 1244 w 3018"/>
                <a:gd name="T9" fmla="*/ 60 h 4030"/>
                <a:gd name="T10" fmla="*/ 1159 w 3018"/>
                <a:gd name="T11" fmla="*/ 24 h 4030"/>
                <a:gd name="T12" fmla="*/ 1069 w 3018"/>
                <a:gd name="T13" fmla="*/ 3 h 4030"/>
                <a:gd name="T14" fmla="*/ 503 w 3018"/>
                <a:gd name="T15" fmla="*/ 0 h 4030"/>
                <a:gd name="T16" fmla="*/ 427 w 3018"/>
                <a:gd name="T17" fmla="*/ 6 h 4030"/>
                <a:gd name="T18" fmla="*/ 353 w 3018"/>
                <a:gd name="T19" fmla="*/ 23 h 4030"/>
                <a:gd name="T20" fmla="*/ 285 w 3018"/>
                <a:gd name="T21" fmla="*/ 50 h 4030"/>
                <a:gd name="T22" fmla="*/ 222 w 3018"/>
                <a:gd name="T23" fmla="*/ 86 h 4030"/>
                <a:gd name="T24" fmla="*/ 165 w 3018"/>
                <a:gd name="T25" fmla="*/ 130 h 4030"/>
                <a:gd name="T26" fmla="*/ 115 w 3018"/>
                <a:gd name="T27" fmla="*/ 183 h 4030"/>
                <a:gd name="T28" fmla="*/ 74 w 3018"/>
                <a:gd name="T29" fmla="*/ 242 h 4030"/>
                <a:gd name="T30" fmla="*/ 40 w 3018"/>
                <a:gd name="T31" fmla="*/ 308 h 4030"/>
                <a:gd name="T32" fmla="*/ 16 w 3018"/>
                <a:gd name="T33" fmla="*/ 377 h 4030"/>
                <a:gd name="T34" fmla="*/ 3 w 3018"/>
                <a:gd name="T35" fmla="*/ 452 h 4030"/>
                <a:gd name="T36" fmla="*/ 0 w 3018"/>
                <a:gd name="T37" fmla="*/ 3526 h 4030"/>
                <a:gd name="T38" fmla="*/ 6 w 3018"/>
                <a:gd name="T39" fmla="*/ 3604 h 4030"/>
                <a:gd name="T40" fmla="*/ 23 w 3018"/>
                <a:gd name="T41" fmla="*/ 3676 h 4030"/>
                <a:gd name="T42" fmla="*/ 50 w 3018"/>
                <a:gd name="T43" fmla="*/ 3745 h 4030"/>
                <a:gd name="T44" fmla="*/ 86 w 3018"/>
                <a:gd name="T45" fmla="*/ 3808 h 4030"/>
                <a:gd name="T46" fmla="*/ 131 w 3018"/>
                <a:gd name="T47" fmla="*/ 3866 h 4030"/>
                <a:gd name="T48" fmla="*/ 183 w 3018"/>
                <a:gd name="T49" fmla="*/ 3915 h 4030"/>
                <a:gd name="T50" fmla="*/ 243 w 3018"/>
                <a:gd name="T51" fmla="*/ 3957 h 4030"/>
                <a:gd name="T52" fmla="*/ 307 w 3018"/>
                <a:gd name="T53" fmla="*/ 3991 h 4030"/>
                <a:gd name="T54" fmla="*/ 378 w 3018"/>
                <a:gd name="T55" fmla="*/ 4015 h 4030"/>
                <a:gd name="T56" fmla="*/ 452 w 3018"/>
                <a:gd name="T57" fmla="*/ 4028 h 4030"/>
                <a:gd name="T58" fmla="*/ 2515 w 3018"/>
                <a:gd name="T59" fmla="*/ 4030 h 4030"/>
                <a:gd name="T60" fmla="*/ 2592 w 3018"/>
                <a:gd name="T61" fmla="*/ 4025 h 4030"/>
                <a:gd name="T62" fmla="*/ 2665 w 3018"/>
                <a:gd name="T63" fmla="*/ 4008 h 4030"/>
                <a:gd name="T64" fmla="*/ 2733 w 3018"/>
                <a:gd name="T65" fmla="*/ 3981 h 4030"/>
                <a:gd name="T66" fmla="*/ 2797 w 3018"/>
                <a:gd name="T67" fmla="*/ 3944 h 4030"/>
                <a:gd name="T68" fmla="*/ 2853 w 3018"/>
                <a:gd name="T69" fmla="*/ 3899 h 4030"/>
                <a:gd name="T70" fmla="*/ 2903 w 3018"/>
                <a:gd name="T71" fmla="*/ 3848 h 4030"/>
                <a:gd name="T72" fmla="*/ 2946 w 3018"/>
                <a:gd name="T73" fmla="*/ 3788 h 4030"/>
                <a:gd name="T74" fmla="*/ 2979 w 3018"/>
                <a:gd name="T75" fmla="*/ 3723 h 4030"/>
                <a:gd name="T76" fmla="*/ 3002 w 3018"/>
                <a:gd name="T77" fmla="*/ 3652 h 4030"/>
                <a:gd name="T78" fmla="*/ 3015 w 3018"/>
                <a:gd name="T79" fmla="*/ 3578 h 4030"/>
                <a:gd name="T80" fmla="*/ 3018 w 3018"/>
                <a:gd name="T81" fmla="*/ 2770 h 4030"/>
                <a:gd name="T82" fmla="*/ 3015 w 3018"/>
                <a:gd name="T83" fmla="*/ 2715 h 4030"/>
                <a:gd name="T84" fmla="*/ 3006 w 3018"/>
                <a:gd name="T85" fmla="*/ 2661 h 4030"/>
                <a:gd name="T86" fmla="*/ 2991 w 3018"/>
                <a:gd name="T87" fmla="*/ 2607 h 4030"/>
                <a:gd name="T88" fmla="*/ 2970 w 3018"/>
                <a:gd name="T89" fmla="*/ 2556 h 4030"/>
                <a:gd name="T90" fmla="*/ 2944 w 3018"/>
                <a:gd name="T91" fmla="*/ 2506 h 40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18" h="4030">
                  <a:moveTo>
                    <a:pt x="2515" y="3526"/>
                  </a:moveTo>
                  <a:lnTo>
                    <a:pt x="503" y="3526"/>
                  </a:lnTo>
                  <a:lnTo>
                    <a:pt x="503" y="504"/>
                  </a:lnTo>
                  <a:lnTo>
                    <a:pt x="1006" y="504"/>
                  </a:lnTo>
                  <a:lnTo>
                    <a:pt x="2515" y="2770"/>
                  </a:lnTo>
                  <a:lnTo>
                    <a:pt x="2515" y="3526"/>
                  </a:lnTo>
                  <a:close/>
                  <a:moveTo>
                    <a:pt x="1425" y="224"/>
                  </a:moveTo>
                  <a:lnTo>
                    <a:pt x="1407" y="199"/>
                  </a:lnTo>
                  <a:lnTo>
                    <a:pt x="1386" y="175"/>
                  </a:lnTo>
                  <a:lnTo>
                    <a:pt x="1365" y="152"/>
                  </a:lnTo>
                  <a:lnTo>
                    <a:pt x="1343" y="130"/>
                  </a:lnTo>
                  <a:lnTo>
                    <a:pt x="1320" y="110"/>
                  </a:lnTo>
                  <a:lnTo>
                    <a:pt x="1296" y="92"/>
                  </a:lnTo>
                  <a:lnTo>
                    <a:pt x="1270" y="75"/>
                  </a:lnTo>
                  <a:lnTo>
                    <a:pt x="1244" y="60"/>
                  </a:lnTo>
                  <a:lnTo>
                    <a:pt x="1216" y="46"/>
                  </a:lnTo>
                  <a:lnTo>
                    <a:pt x="1188" y="34"/>
                  </a:lnTo>
                  <a:lnTo>
                    <a:pt x="1159" y="24"/>
                  </a:lnTo>
                  <a:lnTo>
                    <a:pt x="1130" y="16"/>
                  </a:lnTo>
                  <a:lnTo>
                    <a:pt x="1100" y="9"/>
                  </a:lnTo>
                  <a:lnTo>
                    <a:pt x="1069" y="3"/>
                  </a:lnTo>
                  <a:lnTo>
                    <a:pt x="1037" y="1"/>
                  </a:lnTo>
                  <a:lnTo>
                    <a:pt x="1006" y="0"/>
                  </a:lnTo>
                  <a:lnTo>
                    <a:pt x="503" y="0"/>
                  </a:lnTo>
                  <a:lnTo>
                    <a:pt x="477" y="0"/>
                  </a:lnTo>
                  <a:lnTo>
                    <a:pt x="452" y="2"/>
                  </a:lnTo>
                  <a:lnTo>
                    <a:pt x="427" y="6"/>
                  </a:lnTo>
                  <a:lnTo>
                    <a:pt x="402" y="11"/>
                  </a:lnTo>
                  <a:lnTo>
                    <a:pt x="378" y="16"/>
                  </a:lnTo>
                  <a:lnTo>
                    <a:pt x="353" y="23"/>
                  </a:lnTo>
                  <a:lnTo>
                    <a:pt x="330" y="31"/>
                  </a:lnTo>
                  <a:lnTo>
                    <a:pt x="307" y="40"/>
                  </a:lnTo>
                  <a:lnTo>
                    <a:pt x="285" y="50"/>
                  </a:lnTo>
                  <a:lnTo>
                    <a:pt x="264" y="61"/>
                  </a:lnTo>
                  <a:lnTo>
                    <a:pt x="243" y="73"/>
                  </a:lnTo>
                  <a:lnTo>
                    <a:pt x="222" y="86"/>
                  </a:lnTo>
                  <a:lnTo>
                    <a:pt x="203" y="100"/>
                  </a:lnTo>
                  <a:lnTo>
                    <a:pt x="183" y="115"/>
                  </a:lnTo>
                  <a:lnTo>
                    <a:pt x="165" y="130"/>
                  </a:lnTo>
                  <a:lnTo>
                    <a:pt x="148" y="148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100" y="202"/>
                  </a:lnTo>
                  <a:lnTo>
                    <a:pt x="86" y="222"/>
                  </a:lnTo>
                  <a:lnTo>
                    <a:pt x="74" y="242"/>
                  </a:lnTo>
                  <a:lnTo>
                    <a:pt x="61" y="263"/>
                  </a:lnTo>
                  <a:lnTo>
                    <a:pt x="50" y="286"/>
                  </a:lnTo>
                  <a:lnTo>
                    <a:pt x="40" y="308"/>
                  </a:lnTo>
                  <a:lnTo>
                    <a:pt x="31" y="331"/>
                  </a:lnTo>
                  <a:lnTo>
                    <a:pt x="23" y="354"/>
                  </a:lnTo>
                  <a:lnTo>
                    <a:pt x="16" y="377"/>
                  </a:lnTo>
                  <a:lnTo>
                    <a:pt x="10" y="403"/>
                  </a:lnTo>
                  <a:lnTo>
                    <a:pt x="6" y="427"/>
                  </a:lnTo>
                  <a:lnTo>
                    <a:pt x="3" y="452"/>
                  </a:lnTo>
                  <a:lnTo>
                    <a:pt x="1" y="478"/>
                  </a:lnTo>
                  <a:lnTo>
                    <a:pt x="0" y="504"/>
                  </a:lnTo>
                  <a:lnTo>
                    <a:pt x="0" y="3526"/>
                  </a:lnTo>
                  <a:lnTo>
                    <a:pt x="1" y="3552"/>
                  </a:lnTo>
                  <a:lnTo>
                    <a:pt x="3" y="3578"/>
                  </a:lnTo>
                  <a:lnTo>
                    <a:pt x="6" y="3604"/>
                  </a:lnTo>
                  <a:lnTo>
                    <a:pt x="10" y="3628"/>
                  </a:lnTo>
                  <a:lnTo>
                    <a:pt x="16" y="3652"/>
                  </a:lnTo>
                  <a:lnTo>
                    <a:pt x="23" y="3676"/>
                  </a:lnTo>
                  <a:lnTo>
                    <a:pt x="31" y="3699"/>
                  </a:lnTo>
                  <a:lnTo>
                    <a:pt x="40" y="3723"/>
                  </a:lnTo>
                  <a:lnTo>
                    <a:pt x="50" y="3745"/>
                  </a:lnTo>
                  <a:lnTo>
                    <a:pt x="61" y="3767"/>
                  </a:lnTo>
                  <a:lnTo>
                    <a:pt x="74" y="3788"/>
                  </a:lnTo>
                  <a:lnTo>
                    <a:pt x="86" y="3808"/>
                  </a:lnTo>
                  <a:lnTo>
                    <a:pt x="100" y="3828"/>
                  </a:lnTo>
                  <a:lnTo>
                    <a:pt x="115" y="3848"/>
                  </a:lnTo>
                  <a:lnTo>
                    <a:pt x="131" y="3866"/>
                  </a:lnTo>
                  <a:lnTo>
                    <a:pt x="148" y="3883"/>
                  </a:lnTo>
                  <a:lnTo>
                    <a:pt x="165" y="3899"/>
                  </a:lnTo>
                  <a:lnTo>
                    <a:pt x="183" y="3915"/>
                  </a:lnTo>
                  <a:lnTo>
                    <a:pt x="203" y="3930"/>
                  </a:lnTo>
                  <a:lnTo>
                    <a:pt x="222" y="3944"/>
                  </a:lnTo>
                  <a:lnTo>
                    <a:pt x="243" y="3957"/>
                  </a:lnTo>
                  <a:lnTo>
                    <a:pt x="264" y="3969"/>
                  </a:lnTo>
                  <a:lnTo>
                    <a:pt x="285" y="3981"/>
                  </a:lnTo>
                  <a:lnTo>
                    <a:pt x="307" y="3991"/>
                  </a:lnTo>
                  <a:lnTo>
                    <a:pt x="330" y="4000"/>
                  </a:lnTo>
                  <a:lnTo>
                    <a:pt x="353" y="4008"/>
                  </a:lnTo>
                  <a:lnTo>
                    <a:pt x="378" y="4015"/>
                  </a:lnTo>
                  <a:lnTo>
                    <a:pt x="402" y="4020"/>
                  </a:lnTo>
                  <a:lnTo>
                    <a:pt x="427" y="4025"/>
                  </a:lnTo>
                  <a:lnTo>
                    <a:pt x="452" y="4028"/>
                  </a:lnTo>
                  <a:lnTo>
                    <a:pt x="477" y="4030"/>
                  </a:lnTo>
                  <a:lnTo>
                    <a:pt x="503" y="4030"/>
                  </a:lnTo>
                  <a:lnTo>
                    <a:pt x="2515" y="4030"/>
                  </a:lnTo>
                  <a:lnTo>
                    <a:pt x="2541" y="4030"/>
                  </a:lnTo>
                  <a:lnTo>
                    <a:pt x="2566" y="4028"/>
                  </a:lnTo>
                  <a:lnTo>
                    <a:pt x="2592" y="4025"/>
                  </a:lnTo>
                  <a:lnTo>
                    <a:pt x="2617" y="4020"/>
                  </a:lnTo>
                  <a:lnTo>
                    <a:pt x="2641" y="4015"/>
                  </a:lnTo>
                  <a:lnTo>
                    <a:pt x="2665" y="4008"/>
                  </a:lnTo>
                  <a:lnTo>
                    <a:pt x="2688" y="4000"/>
                  </a:lnTo>
                  <a:lnTo>
                    <a:pt x="2711" y="3991"/>
                  </a:lnTo>
                  <a:lnTo>
                    <a:pt x="2733" y="3981"/>
                  </a:lnTo>
                  <a:lnTo>
                    <a:pt x="2756" y="3969"/>
                  </a:lnTo>
                  <a:lnTo>
                    <a:pt x="2777" y="3957"/>
                  </a:lnTo>
                  <a:lnTo>
                    <a:pt x="2797" y="3944"/>
                  </a:lnTo>
                  <a:lnTo>
                    <a:pt x="2816" y="3930"/>
                  </a:lnTo>
                  <a:lnTo>
                    <a:pt x="2835" y="3915"/>
                  </a:lnTo>
                  <a:lnTo>
                    <a:pt x="2853" y="3899"/>
                  </a:lnTo>
                  <a:lnTo>
                    <a:pt x="2871" y="3883"/>
                  </a:lnTo>
                  <a:lnTo>
                    <a:pt x="2887" y="3866"/>
                  </a:lnTo>
                  <a:lnTo>
                    <a:pt x="2903" y="3848"/>
                  </a:lnTo>
                  <a:lnTo>
                    <a:pt x="2919" y="3828"/>
                  </a:lnTo>
                  <a:lnTo>
                    <a:pt x="2933" y="3808"/>
                  </a:lnTo>
                  <a:lnTo>
                    <a:pt x="2946" y="3788"/>
                  </a:lnTo>
                  <a:lnTo>
                    <a:pt x="2958" y="3767"/>
                  </a:lnTo>
                  <a:lnTo>
                    <a:pt x="2969" y="3745"/>
                  </a:lnTo>
                  <a:lnTo>
                    <a:pt x="2979" y="3723"/>
                  </a:lnTo>
                  <a:lnTo>
                    <a:pt x="2988" y="3699"/>
                  </a:lnTo>
                  <a:lnTo>
                    <a:pt x="2996" y="3676"/>
                  </a:lnTo>
                  <a:lnTo>
                    <a:pt x="3002" y="3652"/>
                  </a:lnTo>
                  <a:lnTo>
                    <a:pt x="3008" y="3628"/>
                  </a:lnTo>
                  <a:lnTo>
                    <a:pt x="3012" y="3604"/>
                  </a:lnTo>
                  <a:lnTo>
                    <a:pt x="3015" y="3578"/>
                  </a:lnTo>
                  <a:lnTo>
                    <a:pt x="3017" y="3552"/>
                  </a:lnTo>
                  <a:lnTo>
                    <a:pt x="3018" y="3526"/>
                  </a:lnTo>
                  <a:lnTo>
                    <a:pt x="3018" y="2770"/>
                  </a:lnTo>
                  <a:lnTo>
                    <a:pt x="3018" y="2752"/>
                  </a:lnTo>
                  <a:lnTo>
                    <a:pt x="3017" y="2734"/>
                  </a:lnTo>
                  <a:lnTo>
                    <a:pt x="3015" y="2715"/>
                  </a:lnTo>
                  <a:lnTo>
                    <a:pt x="3013" y="2697"/>
                  </a:lnTo>
                  <a:lnTo>
                    <a:pt x="3010" y="2679"/>
                  </a:lnTo>
                  <a:lnTo>
                    <a:pt x="3006" y="2661"/>
                  </a:lnTo>
                  <a:lnTo>
                    <a:pt x="3002" y="2642"/>
                  </a:lnTo>
                  <a:lnTo>
                    <a:pt x="2997" y="2625"/>
                  </a:lnTo>
                  <a:lnTo>
                    <a:pt x="2991" y="2607"/>
                  </a:lnTo>
                  <a:lnTo>
                    <a:pt x="2985" y="2590"/>
                  </a:lnTo>
                  <a:lnTo>
                    <a:pt x="2978" y="2573"/>
                  </a:lnTo>
                  <a:lnTo>
                    <a:pt x="2970" y="2556"/>
                  </a:lnTo>
                  <a:lnTo>
                    <a:pt x="2962" y="2540"/>
                  </a:lnTo>
                  <a:lnTo>
                    <a:pt x="2953" y="2523"/>
                  </a:lnTo>
                  <a:lnTo>
                    <a:pt x="2944" y="2506"/>
                  </a:lnTo>
                  <a:lnTo>
                    <a:pt x="2934" y="2491"/>
                  </a:lnTo>
                  <a:lnTo>
                    <a:pt x="1425" y="2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91" name="îṩļide">
              <a:extLst>
                <a:ext uri="{FF2B5EF4-FFF2-40B4-BE49-F238E27FC236}">
                  <a16:creationId xmlns:a16="http://schemas.microsoft.com/office/drawing/2014/main" id="{D312913F-FEA3-4524-B311-7B589F0F77E0}"/>
                </a:ext>
              </a:extLst>
            </p:cNvPr>
            <p:cNvSpPr/>
            <p:nvPr/>
          </p:nvSpPr>
          <p:spPr bwMode="auto">
            <a:xfrm>
              <a:off x="5709810" y="2104111"/>
              <a:ext cx="330356" cy="268841"/>
            </a:xfrm>
            <a:custGeom>
              <a:avLst/>
              <a:gdLst>
                <a:gd name="T0" fmla="*/ 14958 w 16095"/>
                <a:gd name="T1" fmla="*/ 10414 h 13098"/>
                <a:gd name="T2" fmla="*/ 14612 w 16095"/>
                <a:gd name="T3" fmla="*/ 10578 h 13098"/>
                <a:gd name="T4" fmla="*/ 13430 w 16095"/>
                <a:gd name="T5" fmla="*/ 9605 h 13098"/>
                <a:gd name="T6" fmla="*/ 12244 w 16095"/>
                <a:gd name="T7" fmla="*/ 9076 h 13098"/>
                <a:gd name="T8" fmla="*/ 10967 w 16095"/>
                <a:gd name="T9" fmla="*/ 9402 h 13098"/>
                <a:gd name="T10" fmla="*/ 10179 w 16095"/>
                <a:gd name="T11" fmla="*/ 10419 h 13098"/>
                <a:gd name="T12" fmla="*/ 6951 w 16095"/>
                <a:gd name="T13" fmla="*/ 9661 h 13098"/>
                <a:gd name="T14" fmla="*/ 5791 w 16095"/>
                <a:gd name="T15" fmla="*/ 9085 h 13098"/>
                <a:gd name="T16" fmla="*/ 4497 w 16095"/>
                <a:gd name="T17" fmla="*/ 9359 h 13098"/>
                <a:gd name="T18" fmla="*/ 3670 w 16095"/>
                <a:gd name="T19" fmla="*/ 10341 h 13098"/>
                <a:gd name="T20" fmla="*/ 2737 w 16095"/>
                <a:gd name="T21" fmla="*/ 10493 h 13098"/>
                <a:gd name="T22" fmla="*/ 2526 w 16095"/>
                <a:gd name="T23" fmla="*/ 10177 h 13098"/>
                <a:gd name="T24" fmla="*/ 9773 w 16095"/>
                <a:gd name="T25" fmla="*/ 8381 h 13098"/>
                <a:gd name="T26" fmla="*/ 10495 w 16095"/>
                <a:gd name="T27" fmla="*/ 7502 h 13098"/>
                <a:gd name="T28" fmla="*/ 12812 w 16095"/>
                <a:gd name="T29" fmla="*/ 3586 h 13098"/>
                <a:gd name="T30" fmla="*/ 15062 w 16095"/>
                <a:gd name="T31" fmla="*/ 6889 h 13098"/>
                <a:gd name="T32" fmla="*/ 11820 w 16095"/>
                <a:gd name="T33" fmla="*/ 12058 h 13098"/>
                <a:gd name="T34" fmla="*/ 11211 w 16095"/>
                <a:gd name="T35" fmla="*/ 11606 h 13098"/>
                <a:gd name="T36" fmla="*/ 11098 w 16095"/>
                <a:gd name="T37" fmla="*/ 10831 h 13098"/>
                <a:gd name="T38" fmla="*/ 11550 w 16095"/>
                <a:gd name="T39" fmla="*/ 10221 h 13098"/>
                <a:gd name="T40" fmla="*/ 12323 w 16095"/>
                <a:gd name="T41" fmla="*/ 10107 h 13098"/>
                <a:gd name="T42" fmla="*/ 12931 w 16095"/>
                <a:gd name="T43" fmla="*/ 10561 h 13098"/>
                <a:gd name="T44" fmla="*/ 13046 w 16095"/>
                <a:gd name="T45" fmla="*/ 11335 h 13098"/>
                <a:gd name="T46" fmla="*/ 12593 w 16095"/>
                <a:gd name="T47" fmla="*/ 11944 h 13098"/>
                <a:gd name="T48" fmla="*/ 5330 w 16095"/>
                <a:gd name="T49" fmla="*/ 12070 h 13098"/>
                <a:gd name="T50" fmla="*/ 4699 w 16095"/>
                <a:gd name="T51" fmla="*/ 11646 h 13098"/>
                <a:gd name="T52" fmla="*/ 4548 w 16095"/>
                <a:gd name="T53" fmla="*/ 10880 h 13098"/>
                <a:gd name="T54" fmla="*/ 4970 w 16095"/>
                <a:gd name="T55" fmla="*/ 10247 h 13098"/>
                <a:gd name="T56" fmla="*/ 5736 w 16095"/>
                <a:gd name="T57" fmla="*/ 10096 h 13098"/>
                <a:gd name="T58" fmla="*/ 6368 w 16095"/>
                <a:gd name="T59" fmla="*/ 10520 h 13098"/>
                <a:gd name="T60" fmla="*/ 6518 w 16095"/>
                <a:gd name="T61" fmla="*/ 11286 h 13098"/>
                <a:gd name="T62" fmla="*/ 6095 w 16095"/>
                <a:gd name="T63" fmla="*/ 11918 h 13098"/>
                <a:gd name="T64" fmla="*/ 1432 w 16095"/>
                <a:gd name="T65" fmla="*/ 7551 h 13098"/>
                <a:gd name="T66" fmla="*/ 1106 w 16095"/>
                <a:gd name="T67" fmla="*/ 7355 h 13098"/>
                <a:gd name="T68" fmla="*/ 1009 w 16095"/>
                <a:gd name="T69" fmla="*/ 1460 h 13098"/>
                <a:gd name="T70" fmla="*/ 1189 w 16095"/>
                <a:gd name="T71" fmla="*/ 1122 h 13098"/>
                <a:gd name="T72" fmla="*/ 9080 w 16095"/>
                <a:gd name="T73" fmla="*/ 1008 h 13098"/>
                <a:gd name="T74" fmla="*/ 9426 w 16095"/>
                <a:gd name="T75" fmla="*/ 1172 h 13098"/>
                <a:gd name="T76" fmla="*/ 9556 w 16095"/>
                <a:gd name="T77" fmla="*/ 2519 h 13098"/>
                <a:gd name="T78" fmla="*/ 9442 w 16095"/>
                <a:gd name="T79" fmla="*/ 7374 h 13098"/>
                <a:gd name="T80" fmla="*/ 9105 w 16095"/>
                <a:gd name="T81" fmla="*/ 7554 h 13098"/>
                <a:gd name="T82" fmla="*/ 13480 w 16095"/>
                <a:gd name="T83" fmla="*/ 2820 h 13098"/>
                <a:gd name="T84" fmla="*/ 12808 w 16095"/>
                <a:gd name="T85" fmla="*/ 2537 h 13098"/>
                <a:gd name="T86" fmla="*/ 10413 w 16095"/>
                <a:gd name="T87" fmla="*/ 856 h 13098"/>
                <a:gd name="T88" fmla="*/ 9571 w 16095"/>
                <a:gd name="T89" fmla="*/ 92 h 13098"/>
                <a:gd name="T90" fmla="*/ 922 w 16095"/>
                <a:gd name="T91" fmla="*/ 119 h 13098"/>
                <a:gd name="T92" fmla="*/ 119 w 16095"/>
                <a:gd name="T93" fmla="*/ 924 h 13098"/>
                <a:gd name="T94" fmla="*/ 92 w 16095"/>
                <a:gd name="T95" fmla="*/ 7572 h 13098"/>
                <a:gd name="T96" fmla="*/ 855 w 16095"/>
                <a:gd name="T97" fmla="*/ 8415 h 13098"/>
                <a:gd name="T98" fmla="*/ 1557 w 16095"/>
                <a:gd name="T99" fmla="*/ 10453 h 13098"/>
                <a:gd name="T100" fmla="*/ 2236 w 16095"/>
                <a:gd name="T101" fmla="*/ 11368 h 13098"/>
                <a:gd name="T102" fmla="*/ 3702 w 16095"/>
                <a:gd name="T103" fmla="*/ 11901 h 13098"/>
                <a:gd name="T104" fmla="*/ 4567 w 16095"/>
                <a:gd name="T105" fmla="*/ 12848 h 13098"/>
                <a:gd name="T106" fmla="*/ 5876 w 16095"/>
                <a:gd name="T107" fmla="*/ 13069 h 13098"/>
                <a:gd name="T108" fmla="*/ 7006 w 16095"/>
                <a:gd name="T109" fmla="*/ 12446 h 13098"/>
                <a:gd name="T110" fmla="*/ 10208 w 16095"/>
                <a:gd name="T111" fmla="*/ 11824 h 13098"/>
                <a:gd name="T112" fmla="*/ 11035 w 16095"/>
                <a:gd name="T113" fmla="*/ 12807 h 13098"/>
                <a:gd name="T114" fmla="*/ 12330 w 16095"/>
                <a:gd name="T115" fmla="*/ 13081 h 13098"/>
                <a:gd name="T116" fmla="*/ 13489 w 16095"/>
                <a:gd name="T117" fmla="*/ 12505 h 13098"/>
                <a:gd name="T118" fmla="*/ 14740 w 16095"/>
                <a:gd name="T119" fmla="*/ 11579 h 13098"/>
                <a:gd name="T120" fmla="*/ 15750 w 16095"/>
                <a:gd name="T121" fmla="*/ 11036 h 13098"/>
                <a:gd name="T122" fmla="*/ 16095 w 16095"/>
                <a:gd name="T123" fmla="*/ 7025 h 13098"/>
                <a:gd name="T124" fmla="*/ 16023 w 16095"/>
                <a:gd name="T125" fmla="*/ 6588 h 130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95" h="13098">
                  <a:moveTo>
                    <a:pt x="15089" y="10075"/>
                  </a:moveTo>
                  <a:lnTo>
                    <a:pt x="15088" y="10101"/>
                  </a:lnTo>
                  <a:lnTo>
                    <a:pt x="15087" y="10127"/>
                  </a:lnTo>
                  <a:lnTo>
                    <a:pt x="15083" y="10152"/>
                  </a:lnTo>
                  <a:lnTo>
                    <a:pt x="15079" y="10177"/>
                  </a:lnTo>
                  <a:lnTo>
                    <a:pt x="15073" y="10201"/>
                  </a:lnTo>
                  <a:lnTo>
                    <a:pt x="15067" y="10225"/>
                  </a:lnTo>
                  <a:lnTo>
                    <a:pt x="15059" y="10248"/>
                  </a:lnTo>
                  <a:lnTo>
                    <a:pt x="15050" y="10272"/>
                  </a:lnTo>
                  <a:lnTo>
                    <a:pt x="15040" y="10294"/>
                  </a:lnTo>
                  <a:lnTo>
                    <a:pt x="15029" y="10316"/>
                  </a:lnTo>
                  <a:lnTo>
                    <a:pt x="15017" y="10337"/>
                  </a:lnTo>
                  <a:lnTo>
                    <a:pt x="15004" y="10357"/>
                  </a:lnTo>
                  <a:lnTo>
                    <a:pt x="14989" y="10376"/>
                  </a:lnTo>
                  <a:lnTo>
                    <a:pt x="14974" y="10396"/>
                  </a:lnTo>
                  <a:lnTo>
                    <a:pt x="14958" y="10414"/>
                  </a:lnTo>
                  <a:lnTo>
                    <a:pt x="14942" y="10432"/>
                  </a:lnTo>
                  <a:lnTo>
                    <a:pt x="14924" y="10448"/>
                  </a:lnTo>
                  <a:lnTo>
                    <a:pt x="14906" y="10464"/>
                  </a:lnTo>
                  <a:lnTo>
                    <a:pt x="14887" y="10479"/>
                  </a:lnTo>
                  <a:lnTo>
                    <a:pt x="14868" y="10493"/>
                  </a:lnTo>
                  <a:lnTo>
                    <a:pt x="14848" y="10506"/>
                  </a:lnTo>
                  <a:lnTo>
                    <a:pt x="14827" y="10519"/>
                  </a:lnTo>
                  <a:lnTo>
                    <a:pt x="14804" y="10530"/>
                  </a:lnTo>
                  <a:lnTo>
                    <a:pt x="14782" y="10540"/>
                  </a:lnTo>
                  <a:lnTo>
                    <a:pt x="14759" y="10549"/>
                  </a:lnTo>
                  <a:lnTo>
                    <a:pt x="14736" y="10557"/>
                  </a:lnTo>
                  <a:lnTo>
                    <a:pt x="14712" y="10563"/>
                  </a:lnTo>
                  <a:lnTo>
                    <a:pt x="14688" y="10569"/>
                  </a:lnTo>
                  <a:lnTo>
                    <a:pt x="14663" y="10573"/>
                  </a:lnTo>
                  <a:lnTo>
                    <a:pt x="14637" y="10577"/>
                  </a:lnTo>
                  <a:lnTo>
                    <a:pt x="14612" y="10578"/>
                  </a:lnTo>
                  <a:lnTo>
                    <a:pt x="14586" y="10579"/>
                  </a:lnTo>
                  <a:lnTo>
                    <a:pt x="14012" y="10579"/>
                  </a:lnTo>
                  <a:lnTo>
                    <a:pt x="13989" y="10498"/>
                  </a:lnTo>
                  <a:lnTo>
                    <a:pt x="13962" y="10419"/>
                  </a:lnTo>
                  <a:lnTo>
                    <a:pt x="13934" y="10341"/>
                  </a:lnTo>
                  <a:lnTo>
                    <a:pt x="13902" y="10266"/>
                  </a:lnTo>
                  <a:lnTo>
                    <a:pt x="13867" y="10191"/>
                  </a:lnTo>
                  <a:lnTo>
                    <a:pt x="13829" y="10117"/>
                  </a:lnTo>
                  <a:lnTo>
                    <a:pt x="13788" y="10047"/>
                  </a:lnTo>
                  <a:lnTo>
                    <a:pt x="13745" y="9977"/>
                  </a:lnTo>
                  <a:lnTo>
                    <a:pt x="13699" y="9910"/>
                  </a:lnTo>
                  <a:lnTo>
                    <a:pt x="13650" y="9844"/>
                  </a:lnTo>
                  <a:lnTo>
                    <a:pt x="13598" y="9781"/>
                  </a:lnTo>
                  <a:lnTo>
                    <a:pt x="13545" y="9719"/>
                  </a:lnTo>
                  <a:lnTo>
                    <a:pt x="13489" y="9661"/>
                  </a:lnTo>
                  <a:lnTo>
                    <a:pt x="13430" y="9605"/>
                  </a:lnTo>
                  <a:lnTo>
                    <a:pt x="13370" y="9550"/>
                  </a:lnTo>
                  <a:lnTo>
                    <a:pt x="13308" y="9499"/>
                  </a:lnTo>
                  <a:lnTo>
                    <a:pt x="13242" y="9449"/>
                  </a:lnTo>
                  <a:lnTo>
                    <a:pt x="13176" y="9402"/>
                  </a:lnTo>
                  <a:lnTo>
                    <a:pt x="13107" y="9359"/>
                  </a:lnTo>
                  <a:lnTo>
                    <a:pt x="13036" y="9317"/>
                  </a:lnTo>
                  <a:lnTo>
                    <a:pt x="12964" y="9279"/>
                  </a:lnTo>
                  <a:lnTo>
                    <a:pt x="12890" y="9244"/>
                  </a:lnTo>
                  <a:lnTo>
                    <a:pt x="12815" y="9212"/>
                  </a:lnTo>
                  <a:lnTo>
                    <a:pt x="12737" y="9182"/>
                  </a:lnTo>
                  <a:lnTo>
                    <a:pt x="12658" y="9156"/>
                  </a:lnTo>
                  <a:lnTo>
                    <a:pt x="12578" y="9133"/>
                  </a:lnTo>
                  <a:lnTo>
                    <a:pt x="12497" y="9113"/>
                  </a:lnTo>
                  <a:lnTo>
                    <a:pt x="12413" y="9097"/>
                  </a:lnTo>
                  <a:lnTo>
                    <a:pt x="12330" y="9085"/>
                  </a:lnTo>
                  <a:lnTo>
                    <a:pt x="12244" y="9076"/>
                  </a:lnTo>
                  <a:lnTo>
                    <a:pt x="12159" y="9070"/>
                  </a:lnTo>
                  <a:lnTo>
                    <a:pt x="12071" y="9068"/>
                  </a:lnTo>
                  <a:lnTo>
                    <a:pt x="11984" y="9070"/>
                  </a:lnTo>
                  <a:lnTo>
                    <a:pt x="11898" y="9076"/>
                  </a:lnTo>
                  <a:lnTo>
                    <a:pt x="11813" y="9085"/>
                  </a:lnTo>
                  <a:lnTo>
                    <a:pt x="11729" y="9097"/>
                  </a:lnTo>
                  <a:lnTo>
                    <a:pt x="11646" y="9113"/>
                  </a:lnTo>
                  <a:lnTo>
                    <a:pt x="11564" y="9133"/>
                  </a:lnTo>
                  <a:lnTo>
                    <a:pt x="11484" y="9156"/>
                  </a:lnTo>
                  <a:lnTo>
                    <a:pt x="11405" y="9182"/>
                  </a:lnTo>
                  <a:lnTo>
                    <a:pt x="11328" y="9212"/>
                  </a:lnTo>
                  <a:lnTo>
                    <a:pt x="11252" y="9244"/>
                  </a:lnTo>
                  <a:lnTo>
                    <a:pt x="11178" y="9279"/>
                  </a:lnTo>
                  <a:lnTo>
                    <a:pt x="11106" y="9317"/>
                  </a:lnTo>
                  <a:lnTo>
                    <a:pt x="11035" y="9359"/>
                  </a:lnTo>
                  <a:lnTo>
                    <a:pt x="10967" y="9402"/>
                  </a:lnTo>
                  <a:lnTo>
                    <a:pt x="10899" y="9449"/>
                  </a:lnTo>
                  <a:lnTo>
                    <a:pt x="10835" y="9499"/>
                  </a:lnTo>
                  <a:lnTo>
                    <a:pt x="10772" y="9550"/>
                  </a:lnTo>
                  <a:lnTo>
                    <a:pt x="10711" y="9605"/>
                  </a:lnTo>
                  <a:lnTo>
                    <a:pt x="10653" y="9661"/>
                  </a:lnTo>
                  <a:lnTo>
                    <a:pt x="10597" y="9719"/>
                  </a:lnTo>
                  <a:lnTo>
                    <a:pt x="10543" y="9781"/>
                  </a:lnTo>
                  <a:lnTo>
                    <a:pt x="10492" y="9844"/>
                  </a:lnTo>
                  <a:lnTo>
                    <a:pt x="10444" y="9910"/>
                  </a:lnTo>
                  <a:lnTo>
                    <a:pt x="10397" y="9977"/>
                  </a:lnTo>
                  <a:lnTo>
                    <a:pt x="10354" y="10047"/>
                  </a:lnTo>
                  <a:lnTo>
                    <a:pt x="10313" y="10117"/>
                  </a:lnTo>
                  <a:lnTo>
                    <a:pt x="10275" y="10191"/>
                  </a:lnTo>
                  <a:lnTo>
                    <a:pt x="10240" y="10266"/>
                  </a:lnTo>
                  <a:lnTo>
                    <a:pt x="10208" y="10341"/>
                  </a:lnTo>
                  <a:lnTo>
                    <a:pt x="10179" y="10419"/>
                  </a:lnTo>
                  <a:lnTo>
                    <a:pt x="10153" y="10498"/>
                  </a:lnTo>
                  <a:lnTo>
                    <a:pt x="10131" y="10579"/>
                  </a:lnTo>
                  <a:lnTo>
                    <a:pt x="7473" y="10579"/>
                  </a:lnTo>
                  <a:lnTo>
                    <a:pt x="7450" y="10498"/>
                  </a:lnTo>
                  <a:lnTo>
                    <a:pt x="7425" y="10419"/>
                  </a:lnTo>
                  <a:lnTo>
                    <a:pt x="7396" y="10341"/>
                  </a:lnTo>
                  <a:lnTo>
                    <a:pt x="7363" y="10266"/>
                  </a:lnTo>
                  <a:lnTo>
                    <a:pt x="7328" y="10191"/>
                  </a:lnTo>
                  <a:lnTo>
                    <a:pt x="7290" y="10117"/>
                  </a:lnTo>
                  <a:lnTo>
                    <a:pt x="7250" y="10047"/>
                  </a:lnTo>
                  <a:lnTo>
                    <a:pt x="7207" y="9977"/>
                  </a:lnTo>
                  <a:lnTo>
                    <a:pt x="7160" y="9910"/>
                  </a:lnTo>
                  <a:lnTo>
                    <a:pt x="7112" y="9844"/>
                  </a:lnTo>
                  <a:lnTo>
                    <a:pt x="7061" y="9781"/>
                  </a:lnTo>
                  <a:lnTo>
                    <a:pt x="7006" y="9719"/>
                  </a:lnTo>
                  <a:lnTo>
                    <a:pt x="6951" y="9661"/>
                  </a:lnTo>
                  <a:lnTo>
                    <a:pt x="6892" y="9605"/>
                  </a:lnTo>
                  <a:lnTo>
                    <a:pt x="6831" y="9550"/>
                  </a:lnTo>
                  <a:lnTo>
                    <a:pt x="6769" y="9499"/>
                  </a:lnTo>
                  <a:lnTo>
                    <a:pt x="6705" y="9449"/>
                  </a:lnTo>
                  <a:lnTo>
                    <a:pt x="6637" y="9402"/>
                  </a:lnTo>
                  <a:lnTo>
                    <a:pt x="6569" y="9359"/>
                  </a:lnTo>
                  <a:lnTo>
                    <a:pt x="6498" y="9317"/>
                  </a:lnTo>
                  <a:lnTo>
                    <a:pt x="6426" y="9279"/>
                  </a:lnTo>
                  <a:lnTo>
                    <a:pt x="6351" y="9244"/>
                  </a:lnTo>
                  <a:lnTo>
                    <a:pt x="6276" y="9212"/>
                  </a:lnTo>
                  <a:lnTo>
                    <a:pt x="6199" y="9182"/>
                  </a:lnTo>
                  <a:lnTo>
                    <a:pt x="6120" y="9156"/>
                  </a:lnTo>
                  <a:lnTo>
                    <a:pt x="6040" y="9133"/>
                  </a:lnTo>
                  <a:lnTo>
                    <a:pt x="5958" y="9113"/>
                  </a:lnTo>
                  <a:lnTo>
                    <a:pt x="5876" y="9097"/>
                  </a:lnTo>
                  <a:lnTo>
                    <a:pt x="5791" y="9085"/>
                  </a:lnTo>
                  <a:lnTo>
                    <a:pt x="5707" y="9076"/>
                  </a:lnTo>
                  <a:lnTo>
                    <a:pt x="5620" y="9070"/>
                  </a:lnTo>
                  <a:lnTo>
                    <a:pt x="5533" y="9068"/>
                  </a:lnTo>
                  <a:lnTo>
                    <a:pt x="5446" y="9070"/>
                  </a:lnTo>
                  <a:lnTo>
                    <a:pt x="5360" y="9076"/>
                  </a:lnTo>
                  <a:lnTo>
                    <a:pt x="5274" y="9085"/>
                  </a:lnTo>
                  <a:lnTo>
                    <a:pt x="5191" y="9097"/>
                  </a:lnTo>
                  <a:lnTo>
                    <a:pt x="5107" y="9113"/>
                  </a:lnTo>
                  <a:lnTo>
                    <a:pt x="5026" y="9133"/>
                  </a:lnTo>
                  <a:lnTo>
                    <a:pt x="4946" y="9156"/>
                  </a:lnTo>
                  <a:lnTo>
                    <a:pt x="4867" y="9182"/>
                  </a:lnTo>
                  <a:lnTo>
                    <a:pt x="4789" y="9212"/>
                  </a:lnTo>
                  <a:lnTo>
                    <a:pt x="4714" y="9244"/>
                  </a:lnTo>
                  <a:lnTo>
                    <a:pt x="4639" y="9279"/>
                  </a:lnTo>
                  <a:lnTo>
                    <a:pt x="4567" y="9317"/>
                  </a:lnTo>
                  <a:lnTo>
                    <a:pt x="4497" y="9359"/>
                  </a:lnTo>
                  <a:lnTo>
                    <a:pt x="4428" y="9402"/>
                  </a:lnTo>
                  <a:lnTo>
                    <a:pt x="4361" y="9449"/>
                  </a:lnTo>
                  <a:lnTo>
                    <a:pt x="4296" y="9499"/>
                  </a:lnTo>
                  <a:lnTo>
                    <a:pt x="4233" y="9550"/>
                  </a:lnTo>
                  <a:lnTo>
                    <a:pt x="4173" y="9605"/>
                  </a:lnTo>
                  <a:lnTo>
                    <a:pt x="4114" y="9661"/>
                  </a:lnTo>
                  <a:lnTo>
                    <a:pt x="4059" y="9719"/>
                  </a:lnTo>
                  <a:lnTo>
                    <a:pt x="4005" y="9781"/>
                  </a:lnTo>
                  <a:lnTo>
                    <a:pt x="3953" y="9844"/>
                  </a:lnTo>
                  <a:lnTo>
                    <a:pt x="3905" y="9910"/>
                  </a:lnTo>
                  <a:lnTo>
                    <a:pt x="3859" y="9977"/>
                  </a:lnTo>
                  <a:lnTo>
                    <a:pt x="3816" y="10047"/>
                  </a:lnTo>
                  <a:lnTo>
                    <a:pt x="3774" y="10117"/>
                  </a:lnTo>
                  <a:lnTo>
                    <a:pt x="3737" y="10191"/>
                  </a:lnTo>
                  <a:lnTo>
                    <a:pt x="3702" y="10266"/>
                  </a:lnTo>
                  <a:lnTo>
                    <a:pt x="3670" y="10341"/>
                  </a:lnTo>
                  <a:lnTo>
                    <a:pt x="3640" y="10419"/>
                  </a:lnTo>
                  <a:lnTo>
                    <a:pt x="3614" y="10498"/>
                  </a:lnTo>
                  <a:lnTo>
                    <a:pt x="3592" y="10579"/>
                  </a:lnTo>
                  <a:lnTo>
                    <a:pt x="3018" y="10579"/>
                  </a:lnTo>
                  <a:lnTo>
                    <a:pt x="2993" y="10578"/>
                  </a:lnTo>
                  <a:lnTo>
                    <a:pt x="2967" y="10577"/>
                  </a:lnTo>
                  <a:lnTo>
                    <a:pt x="2941" y="10573"/>
                  </a:lnTo>
                  <a:lnTo>
                    <a:pt x="2917" y="10569"/>
                  </a:lnTo>
                  <a:lnTo>
                    <a:pt x="2892" y="10563"/>
                  </a:lnTo>
                  <a:lnTo>
                    <a:pt x="2869" y="10557"/>
                  </a:lnTo>
                  <a:lnTo>
                    <a:pt x="2845" y="10549"/>
                  </a:lnTo>
                  <a:lnTo>
                    <a:pt x="2823" y="10540"/>
                  </a:lnTo>
                  <a:lnTo>
                    <a:pt x="2800" y="10530"/>
                  </a:lnTo>
                  <a:lnTo>
                    <a:pt x="2778" y="10519"/>
                  </a:lnTo>
                  <a:lnTo>
                    <a:pt x="2757" y="10506"/>
                  </a:lnTo>
                  <a:lnTo>
                    <a:pt x="2737" y="10493"/>
                  </a:lnTo>
                  <a:lnTo>
                    <a:pt x="2717" y="10479"/>
                  </a:lnTo>
                  <a:lnTo>
                    <a:pt x="2698" y="10464"/>
                  </a:lnTo>
                  <a:lnTo>
                    <a:pt x="2680" y="10448"/>
                  </a:lnTo>
                  <a:lnTo>
                    <a:pt x="2663" y="10432"/>
                  </a:lnTo>
                  <a:lnTo>
                    <a:pt x="2646" y="10414"/>
                  </a:lnTo>
                  <a:lnTo>
                    <a:pt x="2630" y="10396"/>
                  </a:lnTo>
                  <a:lnTo>
                    <a:pt x="2615" y="10376"/>
                  </a:lnTo>
                  <a:lnTo>
                    <a:pt x="2601" y="10357"/>
                  </a:lnTo>
                  <a:lnTo>
                    <a:pt x="2588" y="10337"/>
                  </a:lnTo>
                  <a:lnTo>
                    <a:pt x="2576" y="10316"/>
                  </a:lnTo>
                  <a:lnTo>
                    <a:pt x="2565" y="10294"/>
                  </a:lnTo>
                  <a:lnTo>
                    <a:pt x="2555" y="10272"/>
                  </a:lnTo>
                  <a:lnTo>
                    <a:pt x="2546" y="10248"/>
                  </a:lnTo>
                  <a:lnTo>
                    <a:pt x="2538" y="10225"/>
                  </a:lnTo>
                  <a:lnTo>
                    <a:pt x="2531" y="10201"/>
                  </a:lnTo>
                  <a:lnTo>
                    <a:pt x="2526" y="10177"/>
                  </a:lnTo>
                  <a:lnTo>
                    <a:pt x="2521" y="10152"/>
                  </a:lnTo>
                  <a:lnTo>
                    <a:pt x="2518" y="10127"/>
                  </a:lnTo>
                  <a:lnTo>
                    <a:pt x="2516" y="10101"/>
                  </a:lnTo>
                  <a:lnTo>
                    <a:pt x="2515" y="10075"/>
                  </a:lnTo>
                  <a:lnTo>
                    <a:pt x="2515" y="8564"/>
                  </a:lnTo>
                  <a:lnTo>
                    <a:pt x="9053" y="8564"/>
                  </a:lnTo>
                  <a:lnTo>
                    <a:pt x="9131" y="8562"/>
                  </a:lnTo>
                  <a:lnTo>
                    <a:pt x="9207" y="8557"/>
                  </a:lnTo>
                  <a:lnTo>
                    <a:pt x="9283" y="8547"/>
                  </a:lnTo>
                  <a:lnTo>
                    <a:pt x="9357" y="8533"/>
                  </a:lnTo>
                  <a:lnTo>
                    <a:pt x="9431" y="8516"/>
                  </a:lnTo>
                  <a:lnTo>
                    <a:pt x="9502" y="8496"/>
                  </a:lnTo>
                  <a:lnTo>
                    <a:pt x="9571" y="8472"/>
                  </a:lnTo>
                  <a:lnTo>
                    <a:pt x="9641" y="8445"/>
                  </a:lnTo>
                  <a:lnTo>
                    <a:pt x="9707" y="8415"/>
                  </a:lnTo>
                  <a:lnTo>
                    <a:pt x="9773" y="8381"/>
                  </a:lnTo>
                  <a:lnTo>
                    <a:pt x="9835" y="8345"/>
                  </a:lnTo>
                  <a:lnTo>
                    <a:pt x="9896" y="8306"/>
                  </a:lnTo>
                  <a:lnTo>
                    <a:pt x="9956" y="8263"/>
                  </a:lnTo>
                  <a:lnTo>
                    <a:pt x="10013" y="8218"/>
                  </a:lnTo>
                  <a:lnTo>
                    <a:pt x="10067" y="8171"/>
                  </a:lnTo>
                  <a:lnTo>
                    <a:pt x="10120" y="8120"/>
                  </a:lnTo>
                  <a:lnTo>
                    <a:pt x="10170" y="8068"/>
                  </a:lnTo>
                  <a:lnTo>
                    <a:pt x="10217" y="8014"/>
                  </a:lnTo>
                  <a:lnTo>
                    <a:pt x="10263" y="7956"/>
                  </a:lnTo>
                  <a:lnTo>
                    <a:pt x="10305" y="7897"/>
                  </a:lnTo>
                  <a:lnTo>
                    <a:pt x="10344" y="7836"/>
                  </a:lnTo>
                  <a:lnTo>
                    <a:pt x="10380" y="7773"/>
                  </a:lnTo>
                  <a:lnTo>
                    <a:pt x="10413" y="7707"/>
                  </a:lnTo>
                  <a:lnTo>
                    <a:pt x="10444" y="7641"/>
                  </a:lnTo>
                  <a:lnTo>
                    <a:pt x="10471" y="7572"/>
                  </a:lnTo>
                  <a:lnTo>
                    <a:pt x="10495" y="7502"/>
                  </a:lnTo>
                  <a:lnTo>
                    <a:pt x="10515" y="7430"/>
                  </a:lnTo>
                  <a:lnTo>
                    <a:pt x="10532" y="7357"/>
                  </a:lnTo>
                  <a:lnTo>
                    <a:pt x="10545" y="7283"/>
                  </a:lnTo>
                  <a:lnTo>
                    <a:pt x="10554" y="7207"/>
                  </a:lnTo>
                  <a:lnTo>
                    <a:pt x="10560" y="7131"/>
                  </a:lnTo>
                  <a:lnTo>
                    <a:pt x="10562" y="7052"/>
                  </a:lnTo>
                  <a:lnTo>
                    <a:pt x="10562" y="3527"/>
                  </a:lnTo>
                  <a:lnTo>
                    <a:pt x="12574" y="3527"/>
                  </a:lnTo>
                  <a:lnTo>
                    <a:pt x="12605" y="3528"/>
                  </a:lnTo>
                  <a:lnTo>
                    <a:pt x="12637" y="3530"/>
                  </a:lnTo>
                  <a:lnTo>
                    <a:pt x="12668" y="3535"/>
                  </a:lnTo>
                  <a:lnTo>
                    <a:pt x="12698" y="3542"/>
                  </a:lnTo>
                  <a:lnTo>
                    <a:pt x="12727" y="3550"/>
                  </a:lnTo>
                  <a:lnTo>
                    <a:pt x="12756" y="3560"/>
                  </a:lnTo>
                  <a:lnTo>
                    <a:pt x="12784" y="3572"/>
                  </a:lnTo>
                  <a:lnTo>
                    <a:pt x="12812" y="3586"/>
                  </a:lnTo>
                  <a:lnTo>
                    <a:pt x="12838" y="3601"/>
                  </a:lnTo>
                  <a:lnTo>
                    <a:pt x="12864" y="3618"/>
                  </a:lnTo>
                  <a:lnTo>
                    <a:pt x="12888" y="3636"/>
                  </a:lnTo>
                  <a:lnTo>
                    <a:pt x="12911" y="3657"/>
                  </a:lnTo>
                  <a:lnTo>
                    <a:pt x="12933" y="3678"/>
                  </a:lnTo>
                  <a:lnTo>
                    <a:pt x="12954" y="3701"/>
                  </a:lnTo>
                  <a:lnTo>
                    <a:pt x="12975" y="3725"/>
                  </a:lnTo>
                  <a:lnTo>
                    <a:pt x="12993" y="3750"/>
                  </a:lnTo>
                  <a:lnTo>
                    <a:pt x="15005" y="6773"/>
                  </a:lnTo>
                  <a:lnTo>
                    <a:pt x="15015" y="6788"/>
                  </a:lnTo>
                  <a:lnTo>
                    <a:pt x="15024" y="6804"/>
                  </a:lnTo>
                  <a:lnTo>
                    <a:pt x="15033" y="6822"/>
                  </a:lnTo>
                  <a:lnTo>
                    <a:pt x="15041" y="6838"/>
                  </a:lnTo>
                  <a:lnTo>
                    <a:pt x="15049" y="6855"/>
                  </a:lnTo>
                  <a:lnTo>
                    <a:pt x="15056" y="6872"/>
                  </a:lnTo>
                  <a:lnTo>
                    <a:pt x="15062" y="6889"/>
                  </a:lnTo>
                  <a:lnTo>
                    <a:pt x="15067" y="6907"/>
                  </a:lnTo>
                  <a:lnTo>
                    <a:pt x="15072" y="6924"/>
                  </a:lnTo>
                  <a:lnTo>
                    <a:pt x="15077" y="6942"/>
                  </a:lnTo>
                  <a:lnTo>
                    <a:pt x="15081" y="6961"/>
                  </a:lnTo>
                  <a:lnTo>
                    <a:pt x="15084" y="6979"/>
                  </a:lnTo>
                  <a:lnTo>
                    <a:pt x="15086" y="6997"/>
                  </a:lnTo>
                  <a:lnTo>
                    <a:pt x="15088" y="7016"/>
                  </a:lnTo>
                  <a:lnTo>
                    <a:pt x="15089" y="7034"/>
                  </a:lnTo>
                  <a:lnTo>
                    <a:pt x="15089" y="7052"/>
                  </a:lnTo>
                  <a:lnTo>
                    <a:pt x="15089" y="10075"/>
                  </a:lnTo>
                  <a:close/>
                  <a:moveTo>
                    <a:pt x="12071" y="12090"/>
                  </a:moveTo>
                  <a:lnTo>
                    <a:pt x="12020" y="12089"/>
                  </a:lnTo>
                  <a:lnTo>
                    <a:pt x="11969" y="12085"/>
                  </a:lnTo>
                  <a:lnTo>
                    <a:pt x="11918" y="12078"/>
                  </a:lnTo>
                  <a:lnTo>
                    <a:pt x="11869" y="12070"/>
                  </a:lnTo>
                  <a:lnTo>
                    <a:pt x="11820" y="12058"/>
                  </a:lnTo>
                  <a:lnTo>
                    <a:pt x="11772" y="12045"/>
                  </a:lnTo>
                  <a:lnTo>
                    <a:pt x="11725" y="12029"/>
                  </a:lnTo>
                  <a:lnTo>
                    <a:pt x="11680" y="12011"/>
                  </a:lnTo>
                  <a:lnTo>
                    <a:pt x="11636" y="11991"/>
                  </a:lnTo>
                  <a:lnTo>
                    <a:pt x="11591" y="11968"/>
                  </a:lnTo>
                  <a:lnTo>
                    <a:pt x="11550" y="11944"/>
                  </a:lnTo>
                  <a:lnTo>
                    <a:pt x="11509" y="11918"/>
                  </a:lnTo>
                  <a:lnTo>
                    <a:pt x="11470" y="11890"/>
                  </a:lnTo>
                  <a:lnTo>
                    <a:pt x="11431" y="11861"/>
                  </a:lnTo>
                  <a:lnTo>
                    <a:pt x="11395" y="11828"/>
                  </a:lnTo>
                  <a:lnTo>
                    <a:pt x="11360" y="11795"/>
                  </a:lnTo>
                  <a:lnTo>
                    <a:pt x="11327" y="11760"/>
                  </a:lnTo>
                  <a:lnTo>
                    <a:pt x="11295" y="11724"/>
                  </a:lnTo>
                  <a:lnTo>
                    <a:pt x="11265" y="11685"/>
                  </a:lnTo>
                  <a:lnTo>
                    <a:pt x="11237" y="11646"/>
                  </a:lnTo>
                  <a:lnTo>
                    <a:pt x="11211" y="11606"/>
                  </a:lnTo>
                  <a:lnTo>
                    <a:pt x="11187" y="11563"/>
                  </a:lnTo>
                  <a:lnTo>
                    <a:pt x="11165" y="11520"/>
                  </a:lnTo>
                  <a:lnTo>
                    <a:pt x="11145" y="11475"/>
                  </a:lnTo>
                  <a:lnTo>
                    <a:pt x="11127" y="11429"/>
                  </a:lnTo>
                  <a:lnTo>
                    <a:pt x="11111" y="11382"/>
                  </a:lnTo>
                  <a:lnTo>
                    <a:pt x="11098" y="11335"/>
                  </a:lnTo>
                  <a:lnTo>
                    <a:pt x="11086" y="11286"/>
                  </a:lnTo>
                  <a:lnTo>
                    <a:pt x="11077" y="11236"/>
                  </a:lnTo>
                  <a:lnTo>
                    <a:pt x="11070" y="11186"/>
                  </a:lnTo>
                  <a:lnTo>
                    <a:pt x="11067" y="11135"/>
                  </a:lnTo>
                  <a:lnTo>
                    <a:pt x="11065" y="11083"/>
                  </a:lnTo>
                  <a:lnTo>
                    <a:pt x="11067" y="11031"/>
                  </a:lnTo>
                  <a:lnTo>
                    <a:pt x="11070" y="10980"/>
                  </a:lnTo>
                  <a:lnTo>
                    <a:pt x="11077" y="10930"/>
                  </a:lnTo>
                  <a:lnTo>
                    <a:pt x="11086" y="10880"/>
                  </a:lnTo>
                  <a:lnTo>
                    <a:pt x="11098" y="10831"/>
                  </a:lnTo>
                  <a:lnTo>
                    <a:pt x="11111" y="10784"/>
                  </a:lnTo>
                  <a:lnTo>
                    <a:pt x="11127" y="10736"/>
                  </a:lnTo>
                  <a:lnTo>
                    <a:pt x="11145" y="10691"/>
                  </a:lnTo>
                  <a:lnTo>
                    <a:pt x="11165" y="10646"/>
                  </a:lnTo>
                  <a:lnTo>
                    <a:pt x="11187" y="10603"/>
                  </a:lnTo>
                  <a:lnTo>
                    <a:pt x="11211" y="10561"/>
                  </a:lnTo>
                  <a:lnTo>
                    <a:pt x="11237" y="10520"/>
                  </a:lnTo>
                  <a:lnTo>
                    <a:pt x="11265" y="10480"/>
                  </a:lnTo>
                  <a:lnTo>
                    <a:pt x="11295" y="10442"/>
                  </a:lnTo>
                  <a:lnTo>
                    <a:pt x="11327" y="10406"/>
                  </a:lnTo>
                  <a:lnTo>
                    <a:pt x="11360" y="10370"/>
                  </a:lnTo>
                  <a:lnTo>
                    <a:pt x="11395" y="10337"/>
                  </a:lnTo>
                  <a:lnTo>
                    <a:pt x="11431" y="10306"/>
                  </a:lnTo>
                  <a:lnTo>
                    <a:pt x="11470" y="10276"/>
                  </a:lnTo>
                  <a:lnTo>
                    <a:pt x="11509" y="10247"/>
                  </a:lnTo>
                  <a:lnTo>
                    <a:pt x="11550" y="10221"/>
                  </a:lnTo>
                  <a:lnTo>
                    <a:pt x="11591" y="10197"/>
                  </a:lnTo>
                  <a:lnTo>
                    <a:pt x="11636" y="10175"/>
                  </a:lnTo>
                  <a:lnTo>
                    <a:pt x="11680" y="10155"/>
                  </a:lnTo>
                  <a:lnTo>
                    <a:pt x="11725" y="10137"/>
                  </a:lnTo>
                  <a:lnTo>
                    <a:pt x="11772" y="10120"/>
                  </a:lnTo>
                  <a:lnTo>
                    <a:pt x="11820" y="10107"/>
                  </a:lnTo>
                  <a:lnTo>
                    <a:pt x="11869" y="10096"/>
                  </a:lnTo>
                  <a:lnTo>
                    <a:pt x="11918" y="10087"/>
                  </a:lnTo>
                  <a:lnTo>
                    <a:pt x="11969" y="10080"/>
                  </a:lnTo>
                  <a:lnTo>
                    <a:pt x="12020" y="10076"/>
                  </a:lnTo>
                  <a:lnTo>
                    <a:pt x="12071" y="10075"/>
                  </a:lnTo>
                  <a:lnTo>
                    <a:pt x="12124" y="10076"/>
                  </a:lnTo>
                  <a:lnTo>
                    <a:pt x="12174" y="10080"/>
                  </a:lnTo>
                  <a:lnTo>
                    <a:pt x="12224" y="10087"/>
                  </a:lnTo>
                  <a:lnTo>
                    <a:pt x="12274" y="10096"/>
                  </a:lnTo>
                  <a:lnTo>
                    <a:pt x="12323" y="10107"/>
                  </a:lnTo>
                  <a:lnTo>
                    <a:pt x="12370" y="10120"/>
                  </a:lnTo>
                  <a:lnTo>
                    <a:pt x="12417" y="10137"/>
                  </a:lnTo>
                  <a:lnTo>
                    <a:pt x="12463" y="10155"/>
                  </a:lnTo>
                  <a:lnTo>
                    <a:pt x="12508" y="10175"/>
                  </a:lnTo>
                  <a:lnTo>
                    <a:pt x="12551" y="10197"/>
                  </a:lnTo>
                  <a:lnTo>
                    <a:pt x="12593" y="10221"/>
                  </a:lnTo>
                  <a:lnTo>
                    <a:pt x="12634" y="10247"/>
                  </a:lnTo>
                  <a:lnTo>
                    <a:pt x="12673" y="10276"/>
                  </a:lnTo>
                  <a:lnTo>
                    <a:pt x="12711" y="10306"/>
                  </a:lnTo>
                  <a:lnTo>
                    <a:pt x="12747" y="10337"/>
                  </a:lnTo>
                  <a:lnTo>
                    <a:pt x="12782" y="10370"/>
                  </a:lnTo>
                  <a:lnTo>
                    <a:pt x="12816" y="10406"/>
                  </a:lnTo>
                  <a:lnTo>
                    <a:pt x="12848" y="10442"/>
                  </a:lnTo>
                  <a:lnTo>
                    <a:pt x="12877" y="10480"/>
                  </a:lnTo>
                  <a:lnTo>
                    <a:pt x="12905" y="10520"/>
                  </a:lnTo>
                  <a:lnTo>
                    <a:pt x="12931" y="10561"/>
                  </a:lnTo>
                  <a:lnTo>
                    <a:pt x="12955" y="10603"/>
                  </a:lnTo>
                  <a:lnTo>
                    <a:pt x="12978" y="10646"/>
                  </a:lnTo>
                  <a:lnTo>
                    <a:pt x="12999" y="10691"/>
                  </a:lnTo>
                  <a:lnTo>
                    <a:pt x="13016" y="10736"/>
                  </a:lnTo>
                  <a:lnTo>
                    <a:pt x="13032" y="10784"/>
                  </a:lnTo>
                  <a:lnTo>
                    <a:pt x="13046" y="10831"/>
                  </a:lnTo>
                  <a:lnTo>
                    <a:pt x="13057" y="10880"/>
                  </a:lnTo>
                  <a:lnTo>
                    <a:pt x="13066" y="10930"/>
                  </a:lnTo>
                  <a:lnTo>
                    <a:pt x="13072" y="10980"/>
                  </a:lnTo>
                  <a:lnTo>
                    <a:pt x="13076" y="11031"/>
                  </a:lnTo>
                  <a:lnTo>
                    <a:pt x="13077" y="11083"/>
                  </a:lnTo>
                  <a:lnTo>
                    <a:pt x="13076" y="11135"/>
                  </a:lnTo>
                  <a:lnTo>
                    <a:pt x="13072" y="11186"/>
                  </a:lnTo>
                  <a:lnTo>
                    <a:pt x="13066" y="11236"/>
                  </a:lnTo>
                  <a:lnTo>
                    <a:pt x="13057" y="11286"/>
                  </a:lnTo>
                  <a:lnTo>
                    <a:pt x="13046" y="11335"/>
                  </a:lnTo>
                  <a:lnTo>
                    <a:pt x="13032" y="11382"/>
                  </a:lnTo>
                  <a:lnTo>
                    <a:pt x="13016" y="11429"/>
                  </a:lnTo>
                  <a:lnTo>
                    <a:pt x="12999" y="11475"/>
                  </a:lnTo>
                  <a:lnTo>
                    <a:pt x="12978" y="11520"/>
                  </a:lnTo>
                  <a:lnTo>
                    <a:pt x="12955" y="11563"/>
                  </a:lnTo>
                  <a:lnTo>
                    <a:pt x="12931" y="11606"/>
                  </a:lnTo>
                  <a:lnTo>
                    <a:pt x="12905" y="11646"/>
                  </a:lnTo>
                  <a:lnTo>
                    <a:pt x="12877" y="11685"/>
                  </a:lnTo>
                  <a:lnTo>
                    <a:pt x="12848" y="11724"/>
                  </a:lnTo>
                  <a:lnTo>
                    <a:pt x="12816" y="11760"/>
                  </a:lnTo>
                  <a:lnTo>
                    <a:pt x="12782" y="11795"/>
                  </a:lnTo>
                  <a:lnTo>
                    <a:pt x="12747" y="11828"/>
                  </a:lnTo>
                  <a:lnTo>
                    <a:pt x="12711" y="11861"/>
                  </a:lnTo>
                  <a:lnTo>
                    <a:pt x="12673" y="11890"/>
                  </a:lnTo>
                  <a:lnTo>
                    <a:pt x="12634" y="11918"/>
                  </a:lnTo>
                  <a:lnTo>
                    <a:pt x="12593" y="11944"/>
                  </a:lnTo>
                  <a:lnTo>
                    <a:pt x="12551" y="11968"/>
                  </a:lnTo>
                  <a:lnTo>
                    <a:pt x="12508" y="11991"/>
                  </a:lnTo>
                  <a:lnTo>
                    <a:pt x="12463" y="12011"/>
                  </a:lnTo>
                  <a:lnTo>
                    <a:pt x="12417" y="12029"/>
                  </a:lnTo>
                  <a:lnTo>
                    <a:pt x="12370" y="12045"/>
                  </a:lnTo>
                  <a:lnTo>
                    <a:pt x="12323" y="12058"/>
                  </a:lnTo>
                  <a:lnTo>
                    <a:pt x="12274" y="12070"/>
                  </a:lnTo>
                  <a:lnTo>
                    <a:pt x="12224" y="12078"/>
                  </a:lnTo>
                  <a:lnTo>
                    <a:pt x="12174" y="12085"/>
                  </a:lnTo>
                  <a:lnTo>
                    <a:pt x="12124" y="12089"/>
                  </a:lnTo>
                  <a:lnTo>
                    <a:pt x="12071" y="12090"/>
                  </a:lnTo>
                  <a:close/>
                  <a:moveTo>
                    <a:pt x="5533" y="12090"/>
                  </a:moveTo>
                  <a:lnTo>
                    <a:pt x="5481" y="12089"/>
                  </a:lnTo>
                  <a:lnTo>
                    <a:pt x="5430" y="12085"/>
                  </a:lnTo>
                  <a:lnTo>
                    <a:pt x="5380" y="12078"/>
                  </a:lnTo>
                  <a:lnTo>
                    <a:pt x="5330" y="12070"/>
                  </a:lnTo>
                  <a:lnTo>
                    <a:pt x="5281" y="12058"/>
                  </a:lnTo>
                  <a:lnTo>
                    <a:pt x="5234" y="12045"/>
                  </a:lnTo>
                  <a:lnTo>
                    <a:pt x="5187" y="12029"/>
                  </a:lnTo>
                  <a:lnTo>
                    <a:pt x="5141" y="12011"/>
                  </a:lnTo>
                  <a:lnTo>
                    <a:pt x="5097" y="11991"/>
                  </a:lnTo>
                  <a:lnTo>
                    <a:pt x="5054" y="11968"/>
                  </a:lnTo>
                  <a:lnTo>
                    <a:pt x="5012" y="11944"/>
                  </a:lnTo>
                  <a:lnTo>
                    <a:pt x="4970" y="11918"/>
                  </a:lnTo>
                  <a:lnTo>
                    <a:pt x="4931" y="11890"/>
                  </a:lnTo>
                  <a:lnTo>
                    <a:pt x="4893" y="11861"/>
                  </a:lnTo>
                  <a:lnTo>
                    <a:pt x="4857" y="11828"/>
                  </a:lnTo>
                  <a:lnTo>
                    <a:pt x="4821" y="11795"/>
                  </a:lnTo>
                  <a:lnTo>
                    <a:pt x="4788" y="11760"/>
                  </a:lnTo>
                  <a:lnTo>
                    <a:pt x="4757" y="11724"/>
                  </a:lnTo>
                  <a:lnTo>
                    <a:pt x="4727" y="11685"/>
                  </a:lnTo>
                  <a:lnTo>
                    <a:pt x="4699" y="11646"/>
                  </a:lnTo>
                  <a:lnTo>
                    <a:pt x="4673" y="11606"/>
                  </a:lnTo>
                  <a:lnTo>
                    <a:pt x="4648" y="11563"/>
                  </a:lnTo>
                  <a:lnTo>
                    <a:pt x="4626" y="11520"/>
                  </a:lnTo>
                  <a:lnTo>
                    <a:pt x="4606" y="11475"/>
                  </a:lnTo>
                  <a:lnTo>
                    <a:pt x="4588" y="11429"/>
                  </a:lnTo>
                  <a:lnTo>
                    <a:pt x="4572" y="11382"/>
                  </a:lnTo>
                  <a:lnTo>
                    <a:pt x="4559" y="11335"/>
                  </a:lnTo>
                  <a:lnTo>
                    <a:pt x="4548" y="11286"/>
                  </a:lnTo>
                  <a:lnTo>
                    <a:pt x="4539" y="11236"/>
                  </a:lnTo>
                  <a:lnTo>
                    <a:pt x="4533" y="11186"/>
                  </a:lnTo>
                  <a:lnTo>
                    <a:pt x="4529" y="11135"/>
                  </a:lnTo>
                  <a:lnTo>
                    <a:pt x="4527" y="11083"/>
                  </a:lnTo>
                  <a:lnTo>
                    <a:pt x="4529" y="11031"/>
                  </a:lnTo>
                  <a:lnTo>
                    <a:pt x="4533" y="10980"/>
                  </a:lnTo>
                  <a:lnTo>
                    <a:pt x="4539" y="10930"/>
                  </a:lnTo>
                  <a:lnTo>
                    <a:pt x="4548" y="10880"/>
                  </a:lnTo>
                  <a:lnTo>
                    <a:pt x="4559" y="10831"/>
                  </a:lnTo>
                  <a:lnTo>
                    <a:pt x="4572" y="10784"/>
                  </a:lnTo>
                  <a:lnTo>
                    <a:pt x="4588" y="10736"/>
                  </a:lnTo>
                  <a:lnTo>
                    <a:pt x="4606" y="10691"/>
                  </a:lnTo>
                  <a:lnTo>
                    <a:pt x="4626" y="10646"/>
                  </a:lnTo>
                  <a:lnTo>
                    <a:pt x="4648" y="10603"/>
                  </a:lnTo>
                  <a:lnTo>
                    <a:pt x="4673" y="10561"/>
                  </a:lnTo>
                  <a:lnTo>
                    <a:pt x="4699" y="10520"/>
                  </a:lnTo>
                  <a:lnTo>
                    <a:pt x="4727" y="10480"/>
                  </a:lnTo>
                  <a:lnTo>
                    <a:pt x="4757" y="10442"/>
                  </a:lnTo>
                  <a:lnTo>
                    <a:pt x="4788" y="10406"/>
                  </a:lnTo>
                  <a:lnTo>
                    <a:pt x="4821" y="10370"/>
                  </a:lnTo>
                  <a:lnTo>
                    <a:pt x="4857" y="10337"/>
                  </a:lnTo>
                  <a:lnTo>
                    <a:pt x="4893" y="10306"/>
                  </a:lnTo>
                  <a:lnTo>
                    <a:pt x="4931" y="10276"/>
                  </a:lnTo>
                  <a:lnTo>
                    <a:pt x="4970" y="10247"/>
                  </a:lnTo>
                  <a:lnTo>
                    <a:pt x="5012" y="10221"/>
                  </a:lnTo>
                  <a:lnTo>
                    <a:pt x="5054" y="10197"/>
                  </a:lnTo>
                  <a:lnTo>
                    <a:pt x="5097" y="10175"/>
                  </a:lnTo>
                  <a:lnTo>
                    <a:pt x="5141" y="10155"/>
                  </a:lnTo>
                  <a:lnTo>
                    <a:pt x="5187" y="10137"/>
                  </a:lnTo>
                  <a:lnTo>
                    <a:pt x="5234" y="10120"/>
                  </a:lnTo>
                  <a:lnTo>
                    <a:pt x="5281" y="10107"/>
                  </a:lnTo>
                  <a:lnTo>
                    <a:pt x="5330" y="10096"/>
                  </a:lnTo>
                  <a:lnTo>
                    <a:pt x="5380" y="10087"/>
                  </a:lnTo>
                  <a:lnTo>
                    <a:pt x="5430" y="10080"/>
                  </a:lnTo>
                  <a:lnTo>
                    <a:pt x="5481" y="10076"/>
                  </a:lnTo>
                  <a:lnTo>
                    <a:pt x="5533" y="10075"/>
                  </a:lnTo>
                  <a:lnTo>
                    <a:pt x="5585" y="10076"/>
                  </a:lnTo>
                  <a:lnTo>
                    <a:pt x="5636" y="10080"/>
                  </a:lnTo>
                  <a:lnTo>
                    <a:pt x="5687" y="10087"/>
                  </a:lnTo>
                  <a:lnTo>
                    <a:pt x="5736" y="10096"/>
                  </a:lnTo>
                  <a:lnTo>
                    <a:pt x="5784" y="10107"/>
                  </a:lnTo>
                  <a:lnTo>
                    <a:pt x="5832" y="10120"/>
                  </a:lnTo>
                  <a:lnTo>
                    <a:pt x="5879" y="10137"/>
                  </a:lnTo>
                  <a:lnTo>
                    <a:pt x="5924" y="10155"/>
                  </a:lnTo>
                  <a:lnTo>
                    <a:pt x="5969" y="10175"/>
                  </a:lnTo>
                  <a:lnTo>
                    <a:pt x="6012" y="10197"/>
                  </a:lnTo>
                  <a:lnTo>
                    <a:pt x="6055" y="10221"/>
                  </a:lnTo>
                  <a:lnTo>
                    <a:pt x="6095" y="10247"/>
                  </a:lnTo>
                  <a:lnTo>
                    <a:pt x="6135" y="10276"/>
                  </a:lnTo>
                  <a:lnTo>
                    <a:pt x="6172" y="10306"/>
                  </a:lnTo>
                  <a:lnTo>
                    <a:pt x="6210" y="10337"/>
                  </a:lnTo>
                  <a:lnTo>
                    <a:pt x="6244" y="10370"/>
                  </a:lnTo>
                  <a:lnTo>
                    <a:pt x="6277" y="10406"/>
                  </a:lnTo>
                  <a:lnTo>
                    <a:pt x="6309" y="10442"/>
                  </a:lnTo>
                  <a:lnTo>
                    <a:pt x="6339" y="10480"/>
                  </a:lnTo>
                  <a:lnTo>
                    <a:pt x="6368" y="10520"/>
                  </a:lnTo>
                  <a:lnTo>
                    <a:pt x="6394" y="10561"/>
                  </a:lnTo>
                  <a:lnTo>
                    <a:pt x="6418" y="10603"/>
                  </a:lnTo>
                  <a:lnTo>
                    <a:pt x="6440" y="10646"/>
                  </a:lnTo>
                  <a:lnTo>
                    <a:pt x="6460" y="10691"/>
                  </a:lnTo>
                  <a:lnTo>
                    <a:pt x="6478" y="10736"/>
                  </a:lnTo>
                  <a:lnTo>
                    <a:pt x="6493" y="10784"/>
                  </a:lnTo>
                  <a:lnTo>
                    <a:pt x="6507" y="10831"/>
                  </a:lnTo>
                  <a:lnTo>
                    <a:pt x="6518" y="10880"/>
                  </a:lnTo>
                  <a:lnTo>
                    <a:pt x="6528" y="10930"/>
                  </a:lnTo>
                  <a:lnTo>
                    <a:pt x="6534" y="10980"/>
                  </a:lnTo>
                  <a:lnTo>
                    <a:pt x="6538" y="11031"/>
                  </a:lnTo>
                  <a:lnTo>
                    <a:pt x="6539" y="11083"/>
                  </a:lnTo>
                  <a:lnTo>
                    <a:pt x="6538" y="11135"/>
                  </a:lnTo>
                  <a:lnTo>
                    <a:pt x="6534" y="11186"/>
                  </a:lnTo>
                  <a:lnTo>
                    <a:pt x="6528" y="11236"/>
                  </a:lnTo>
                  <a:lnTo>
                    <a:pt x="6518" y="11286"/>
                  </a:lnTo>
                  <a:lnTo>
                    <a:pt x="6507" y="11335"/>
                  </a:lnTo>
                  <a:lnTo>
                    <a:pt x="6493" y="11382"/>
                  </a:lnTo>
                  <a:lnTo>
                    <a:pt x="6478" y="11429"/>
                  </a:lnTo>
                  <a:lnTo>
                    <a:pt x="6460" y="11475"/>
                  </a:lnTo>
                  <a:lnTo>
                    <a:pt x="6440" y="11520"/>
                  </a:lnTo>
                  <a:lnTo>
                    <a:pt x="6418" y="11563"/>
                  </a:lnTo>
                  <a:lnTo>
                    <a:pt x="6394" y="11606"/>
                  </a:lnTo>
                  <a:lnTo>
                    <a:pt x="6368" y="11646"/>
                  </a:lnTo>
                  <a:lnTo>
                    <a:pt x="6339" y="11685"/>
                  </a:lnTo>
                  <a:lnTo>
                    <a:pt x="6309" y="11724"/>
                  </a:lnTo>
                  <a:lnTo>
                    <a:pt x="6277" y="11760"/>
                  </a:lnTo>
                  <a:lnTo>
                    <a:pt x="6244" y="11795"/>
                  </a:lnTo>
                  <a:lnTo>
                    <a:pt x="6210" y="11828"/>
                  </a:lnTo>
                  <a:lnTo>
                    <a:pt x="6172" y="11861"/>
                  </a:lnTo>
                  <a:lnTo>
                    <a:pt x="6135" y="11890"/>
                  </a:lnTo>
                  <a:lnTo>
                    <a:pt x="6095" y="11918"/>
                  </a:lnTo>
                  <a:lnTo>
                    <a:pt x="6055" y="11944"/>
                  </a:lnTo>
                  <a:lnTo>
                    <a:pt x="6012" y="11968"/>
                  </a:lnTo>
                  <a:lnTo>
                    <a:pt x="5969" y="11991"/>
                  </a:lnTo>
                  <a:lnTo>
                    <a:pt x="5924" y="12011"/>
                  </a:lnTo>
                  <a:lnTo>
                    <a:pt x="5879" y="12029"/>
                  </a:lnTo>
                  <a:lnTo>
                    <a:pt x="5832" y="12045"/>
                  </a:lnTo>
                  <a:lnTo>
                    <a:pt x="5784" y="12058"/>
                  </a:lnTo>
                  <a:lnTo>
                    <a:pt x="5736" y="12070"/>
                  </a:lnTo>
                  <a:lnTo>
                    <a:pt x="5687" y="12078"/>
                  </a:lnTo>
                  <a:lnTo>
                    <a:pt x="5636" y="12085"/>
                  </a:lnTo>
                  <a:lnTo>
                    <a:pt x="5585" y="12089"/>
                  </a:lnTo>
                  <a:lnTo>
                    <a:pt x="5533" y="12090"/>
                  </a:lnTo>
                  <a:close/>
                  <a:moveTo>
                    <a:pt x="1509" y="7556"/>
                  </a:moveTo>
                  <a:lnTo>
                    <a:pt x="1483" y="7556"/>
                  </a:lnTo>
                  <a:lnTo>
                    <a:pt x="1458" y="7554"/>
                  </a:lnTo>
                  <a:lnTo>
                    <a:pt x="1432" y="7551"/>
                  </a:lnTo>
                  <a:lnTo>
                    <a:pt x="1407" y="7546"/>
                  </a:lnTo>
                  <a:lnTo>
                    <a:pt x="1383" y="7541"/>
                  </a:lnTo>
                  <a:lnTo>
                    <a:pt x="1359" y="7534"/>
                  </a:lnTo>
                  <a:lnTo>
                    <a:pt x="1336" y="7526"/>
                  </a:lnTo>
                  <a:lnTo>
                    <a:pt x="1313" y="7517"/>
                  </a:lnTo>
                  <a:lnTo>
                    <a:pt x="1291" y="7507"/>
                  </a:lnTo>
                  <a:lnTo>
                    <a:pt x="1269" y="7496"/>
                  </a:lnTo>
                  <a:lnTo>
                    <a:pt x="1248" y="7484"/>
                  </a:lnTo>
                  <a:lnTo>
                    <a:pt x="1228" y="7470"/>
                  </a:lnTo>
                  <a:lnTo>
                    <a:pt x="1208" y="7456"/>
                  </a:lnTo>
                  <a:lnTo>
                    <a:pt x="1189" y="7441"/>
                  </a:lnTo>
                  <a:lnTo>
                    <a:pt x="1171" y="7426"/>
                  </a:lnTo>
                  <a:lnTo>
                    <a:pt x="1154" y="7409"/>
                  </a:lnTo>
                  <a:lnTo>
                    <a:pt x="1137" y="7392"/>
                  </a:lnTo>
                  <a:lnTo>
                    <a:pt x="1121" y="7374"/>
                  </a:lnTo>
                  <a:lnTo>
                    <a:pt x="1106" y="7355"/>
                  </a:lnTo>
                  <a:lnTo>
                    <a:pt x="1091" y="7334"/>
                  </a:lnTo>
                  <a:lnTo>
                    <a:pt x="1078" y="7314"/>
                  </a:lnTo>
                  <a:lnTo>
                    <a:pt x="1066" y="7293"/>
                  </a:lnTo>
                  <a:lnTo>
                    <a:pt x="1055" y="7271"/>
                  </a:lnTo>
                  <a:lnTo>
                    <a:pt x="1045" y="7249"/>
                  </a:lnTo>
                  <a:lnTo>
                    <a:pt x="1036" y="7226"/>
                  </a:lnTo>
                  <a:lnTo>
                    <a:pt x="1029" y="7202"/>
                  </a:lnTo>
                  <a:lnTo>
                    <a:pt x="1022" y="7179"/>
                  </a:lnTo>
                  <a:lnTo>
                    <a:pt x="1016" y="7154"/>
                  </a:lnTo>
                  <a:lnTo>
                    <a:pt x="1012" y="7130"/>
                  </a:lnTo>
                  <a:lnTo>
                    <a:pt x="1009" y="7105"/>
                  </a:lnTo>
                  <a:lnTo>
                    <a:pt x="1007" y="7079"/>
                  </a:lnTo>
                  <a:lnTo>
                    <a:pt x="1006" y="7052"/>
                  </a:lnTo>
                  <a:lnTo>
                    <a:pt x="1006" y="1511"/>
                  </a:lnTo>
                  <a:lnTo>
                    <a:pt x="1007" y="1485"/>
                  </a:lnTo>
                  <a:lnTo>
                    <a:pt x="1009" y="1460"/>
                  </a:lnTo>
                  <a:lnTo>
                    <a:pt x="1012" y="1435"/>
                  </a:lnTo>
                  <a:lnTo>
                    <a:pt x="1016" y="1410"/>
                  </a:lnTo>
                  <a:lnTo>
                    <a:pt x="1022" y="1385"/>
                  </a:lnTo>
                  <a:lnTo>
                    <a:pt x="1029" y="1361"/>
                  </a:lnTo>
                  <a:lnTo>
                    <a:pt x="1036" y="1338"/>
                  </a:lnTo>
                  <a:lnTo>
                    <a:pt x="1045" y="1315"/>
                  </a:lnTo>
                  <a:lnTo>
                    <a:pt x="1055" y="1293"/>
                  </a:lnTo>
                  <a:lnTo>
                    <a:pt x="1066" y="1271"/>
                  </a:lnTo>
                  <a:lnTo>
                    <a:pt x="1078" y="1249"/>
                  </a:lnTo>
                  <a:lnTo>
                    <a:pt x="1091" y="1229"/>
                  </a:lnTo>
                  <a:lnTo>
                    <a:pt x="1106" y="1209"/>
                  </a:lnTo>
                  <a:lnTo>
                    <a:pt x="1121" y="1191"/>
                  </a:lnTo>
                  <a:lnTo>
                    <a:pt x="1137" y="1172"/>
                  </a:lnTo>
                  <a:lnTo>
                    <a:pt x="1154" y="1155"/>
                  </a:lnTo>
                  <a:lnTo>
                    <a:pt x="1171" y="1138"/>
                  </a:lnTo>
                  <a:lnTo>
                    <a:pt x="1189" y="1122"/>
                  </a:lnTo>
                  <a:lnTo>
                    <a:pt x="1208" y="1107"/>
                  </a:lnTo>
                  <a:lnTo>
                    <a:pt x="1228" y="1093"/>
                  </a:lnTo>
                  <a:lnTo>
                    <a:pt x="1248" y="1080"/>
                  </a:lnTo>
                  <a:lnTo>
                    <a:pt x="1269" y="1068"/>
                  </a:lnTo>
                  <a:lnTo>
                    <a:pt x="1291" y="1057"/>
                  </a:lnTo>
                  <a:lnTo>
                    <a:pt x="1313" y="1047"/>
                  </a:lnTo>
                  <a:lnTo>
                    <a:pt x="1336" y="1038"/>
                  </a:lnTo>
                  <a:lnTo>
                    <a:pt x="1359" y="1030"/>
                  </a:lnTo>
                  <a:lnTo>
                    <a:pt x="1383" y="1023"/>
                  </a:lnTo>
                  <a:lnTo>
                    <a:pt x="1407" y="1018"/>
                  </a:lnTo>
                  <a:lnTo>
                    <a:pt x="1432" y="1013"/>
                  </a:lnTo>
                  <a:lnTo>
                    <a:pt x="1458" y="1010"/>
                  </a:lnTo>
                  <a:lnTo>
                    <a:pt x="1483" y="1008"/>
                  </a:lnTo>
                  <a:lnTo>
                    <a:pt x="1509" y="1008"/>
                  </a:lnTo>
                  <a:lnTo>
                    <a:pt x="9053" y="1008"/>
                  </a:lnTo>
                  <a:lnTo>
                    <a:pt x="9080" y="1008"/>
                  </a:lnTo>
                  <a:lnTo>
                    <a:pt x="9105" y="1010"/>
                  </a:lnTo>
                  <a:lnTo>
                    <a:pt x="9131" y="1013"/>
                  </a:lnTo>
                  <a:lnTo>
                    <a:pt x="9155" y="1018"/>
                  </a:lnTo>
                  <a:lnTo>
                    <a:pt x="9179" y="1023"/>
                  </a:lnTo>
                  <a:lnTo>
                    <a:pt x="9203" y="1030"/>
                  </a:lnTo>
                  <a:lnTo>
                    <a:pt x="9226" y="1038"/>
                  </a:lnTo>
                  <a:lnTo>
                    <a:pt x="9250" y="1047"/>
                  </a:lnTo>
                  <a:lnTo>
                    <a:pt x="9272" y="1057"/>
                  </a:lnTo>
                  <a:lnTo>
                    <a:pt x="9294" y="1068"/>
                  </a:lnTo>
                  <a:lnTo>
                    <a:pt x="9315" y="1080"/>
                  </a:lnTo>
                  <a:lnTo>
                    <a:pt x="9335" y="1093"/>
                  </a:lnTo>
                  <a:lnTo>
                    <a:pt x="9355" y="1107"/>
                  </a:lnTo>
                  <a:lnTo>
                    <a:pt x="9373" y="1122"/>
                  </a:lnTo>
                  <a:lnTo>
                    <a:pt x="9392" y="1138"/>
                  </a:lnTo>
                  <a:lnTo>
                    <a:pt x="9410" y="1155"/>
                  </a:lnTo>
                  <a:lnTo>
                    <a:pt x="9426" y="1172"/>
                  </a:lnTo>
                  <a:lnTo>
                    <a:pt x="9442" y="1191"/>
                  </a:lnTo>
                  <a:lnTo>
                    <a:pt x="9457" y="1209"/>
                  </a:lnTo>
                  <a:lnTo>
                    <a:pt x="9471" y="1229"/>
                  </a:lnTo>
                  <a:lnTo>
                    <a:pt x="9484" y="1249"/>
                  </a:lnTo>
                  <a:lnTo>
                    <a:pt x="9496" y="1271"/>
                  </a:lnTo>
                  <a:lnTo>
                    <a:pt x="9507" y="1293"/>
                  </a:lnTo>
                  <a:lnTo>
                    <a:pt x="9517" y="1315"/>
                  </a:lnTo>
                  <a:lnTo>
                    <a:pt x="9526" y="1338"/>
                  </a:lnTo>
                  <a:lnTo>
                    <a:pt x="9534" y="1361"/>
                  </a:lnTo>
                  <a:lnTo>
                    <a:pt x="9541" y="1385"/>
                  </a:lnTo>
                  <a:lnTo>
                    <a:pt x="9546" y="1410"/>
                  </a:lnTo>
                  <a:lnTo>
                    <a:pt x="9550" y="1435"/>
                  </a:lnTo>
                  <a:lnTo>
                    <a:pt x="9554" y="1460"/>
                  </a:lnTo>
                  <a:lnTo>
                    <a:pt x="9556" y="1485"/>
                  </a:lnTo>
                  <a:lnTo>
                    <a:pt x="9556" y="1511"/>
                  </a:lnTo>
                  <a:lnTo>
                    <a:pt x="9556" y="2519"/>
                  </a:lnTo>
                  <a:lnTo>
                    <a:pt x="9556" y="3527"/>
                  </a:lnTo>
                  <a:lnTo>
                    <a:pt x="9556" y="7052"/>
                  </a:lnTo>
                  <a:lnTo>
                    <a:pt x="9556" y="7079"/>
                  </a:lnTo>
                  <a:lnTo>
                    <a:pt x="9554" y="7105"/>
                  </a:lnTo>
                  <a:lnTo>
                    <a:pt x="9550" y="7130"/>
                  </a:lnTo>
                  <a:lnTo>
                    <a:pt x="9546" y="7154"/>
                  </a:lnTo>
                  <a:lnTo>
                    <a:pt x="9541" y="7179"/>
                  </a:lnTo>
                  <a:lnTo>
                    <a:pt x="9534" y="7202"/>
                  </a:lnTo>
                  <a:lnTo>
                    <a:pt x="9526" y="7226"/>
                  </a:lnTo>
                  <a:lnTo>
                    <a:pt x="9517" y="7249"/>
                  </a:lnTo>
                  <a:lnTo>
                    <a:pt x="9507" y="7271"/>
                  </a:lnTo>
                  <a:lnTo>
                    <a:pt x="9496" y="7293"/>
                  </a:lnTo>
                  <a:lnTo>
                    <a:pt x="9484" y="7314"/>
                  </a:lnTo>
                  <a:lnTo>
                    <a:pt x="9471" y="7334"/>
                  </a:lnTo>
                  <a:lnTo>
                    <a:pt x="9457" y="7355"/>
                  </a:lnTo>
                  <a:lnTo>
                    <a:pt x="9442" y="7374"/>
                  </a:lnTo>
                  <a:lnTo>
                    <a:pt x="9426" y="7392"/>
                  </a:lnTo>
                  <a:lnTo>
                    <a:pt x="9410" y="7409"/>
                  </a:lnTo>
                  <a:lnTo>
                    <a:pt x="9392" y="7426"/>
                  </a:lnTo>
                  <a:lnTo>
                    <a:pt x="9373" y="7441"/>
                  </a:lnTo>
                  <a:lnTo>
                    <a:pt x="9355" y="7456"/>
                  </a:lnTo>
                  <a:lnTo>
                    <a:pt x="9335" y="7470"/>
                  </a:lnTo>
                  <a:lnTo>
                    <a:pt x="9315" y="7484"/>
                  </a:lnTo>
                  <a:lnTo>
                    <a:pt x="9294" y="7496"/>
                  </a:lnTo>
                  <a:lnTo>
                    <a:pt x="9272" y="7507"/>
                  </a:lnTo>
                  <a:lnTo>
                    <a:pt x="9250" y="7517"/>
                  </a:lnTo>
                  <a:lnTo>
                    <a:pt x="9226" y="7526"/>
                  </a:lnTo>
                  <a:lnTo>
                    <a:pt x="9203" y="7534"/>
                  </a:lnTo>
                  <a:lnTo>
                    <a:pt x="9179" y="7541"/>
                  </a:lnTo>
                  <a:lnTo>
                    <a:pt x="9155" y="7546"/>
                  </a:lnTo>
                  <a:lnTo>
                    <a:pt x="9131" y="7551"/>
                  </a:lnTo>
                  <a:lnTo>
                    <a:pt x="9105" y="7554"/>
                  </a:lnTo>
                  <a:lnTo>
                    <a:pt x="9080" y="7556"/>
                  </a:lnTo>
                  <a:lnTo>
                    <a:pt x="9053" y="7556"/>
                  </a:lnTo>
                  <a:lnTo>
                    <a:pt x="1509" y="7556"/>
                  </a:lnTo>
                  <a:close/>
                  <a:moveTo>
                    <a:pt x="15842" y="6214"/>
                  </a:moveTo>
                  <a:lnTo>
                    <a:pt x="13830" y="3192"/>
                  </a:lnTo>
                  <a:lnTo>
                    <a:pt x="13802" y="3153"/>
                  </a:lnTo>
                  <a:lnTo>
                    <a:pt x="13774" y="3115"/>
                  </a:lnTo>
                  <a:lnTo>
                    <a:pt x="13746" y="3077"/>
                  </a:lnTo>
                  <a:lnTo>
                    <a:pt x="13716" y="3042"/>
                  </a:lnTo>
                  <a:lnTo>
                    <a:pt x="13685" y="3007"/>
                  </a:lnTo>
                  <a:lnTo>
                    <a:pt x="13653" y="2973"/>
                  </a:lnTo>
                  <a:lnTo>
                    <a:pt x="13619" y="2940"/>
                  </a:lnTo>
                  <a:lnTo>
                    <a:pt x="13586" y="2909"/>
                  </a:lnTo>
                  <a:lnTo>
                    <a:pt x="13551" y="2878"/>
                  </a:lnTo>
                  <a:lnTo>
                    <a:pt x="13516" y="2849"/>
                  </a:lnTo>
                  <a:lnTo>
                    <a:pt x="13480" y="2820"/>
                  </a:lnTo>
                  <a:lnTo>
                    <a:pt x="13442" y="2793"/>
                  </a:lnTo>
                  <a:lnTo>
                    <a:pt x="13404" y="2768"/>
                  </a:lnTo>
                  <a:lnTo>
                    <a:pt x="13366" y="2743"/>
                  </a:lnTo>
                  <a:lnTo>
                    <a:pt x="13326" y="2720"/>
                  </a:lnTo>
                  <a:lnTo>
                    <a:pt x="13286" y="2697"/>
                  </a:lnTo>
                  <a:lnTo>
                    <a:pt x="13245" y="2676"/>
                  </a:lnTo>
                  <a:lnTo>
                    <a:pt x="13204" y="2656"/>
                  </a:lnTo>
                  <a:lnTo>
                    <a:pt x="13162" y="2638"/>
                  </a:lnTo>
                  <a:lnTo>
                    <a:pt x="13119" y="2621"/>
                  </a:lnTo>
                  <a:lnTo>
                    <a:pt x="13076" y="2605"/>
                  </a:lnTo>
                  <a:lnTo>
                    <a:pt x="13033" y="2590"/>
                  </a:lnTo>
                  <a:lnTo>
                    <a:pt x="12989" y="2576"/>
                  </a:lnTo>
                  <a:lnTo>
                    <a:pt x="12944" y="2564"/>
                  </a:lnTo>
                  <a:lnTo>
                    <a:pt x="12899" y="2554"/>
                  </a:lnTo>
                  <a:lnTo>
                    <a:pt x="12854" y="2544"/>
                  </a:lnTo>
                  <a:lnTo>
                    <a:pt x="12808" y="2537"/>
                  </a:lnTo>
                  <a:lnTo>
                    <a:pt x="12761" y="2530"/>
                  </a:lnTo>
                  <a:lnTo>
                    <a:pt x="12715" y="2525"/>
                  </a:lnTo>
                  <a:lnTo>
                    <a:pt x="12669" y="2522"/>
                  </a:lnTo>
                  <a:lnTo>
                    <a:pt x="12621" y="2519"/>
                  </a:lnTo>
                  <a:lnTo>
                    <a:pt x="12574" y="2519"/>
                  </a:lnTo>
                  <a:lnTo>
                    <a:pt x="10562" y="2519"/>
                  </a:lnTo>
                  <a:lnTo>
                    <a:pt x="10562" y="1511"/>
                  </a:lnTo>
                  <a:lnTo>
                    <a:pt x="10560" y="1434"/>
                  </a:lnTo>
                  <a:lnTo>
                    <a:pt x="10554" y="1357"/>
                  </a:lnTo>
                  <a:lnTo>
                    <a:pt x="10545" y="1282"/>
                  </a:lnTo>
                  <a:lnTo>
                    <a:pt x="10532" y="1207"/>
                  </a:lnTo>
                  <a:lnTo>
                    <a:pt x="10515" y="1134"/>
                  </a:lnTo>
                  <a:lnTo>
                    <a:pt x="10495" y="1062"/>
                  </a:lnTo>
                  <a:lnTo>
                    <a:pt x="10471" y="993"/>
                  </a:lnTo>
                  <a:lnTo>
                    <a:pt x="10444" y="924"/>
                  </a:lnTo>
                  <a:lnTo>
                    <a:pt x="10413" y="856"/>
                  </a:lnTo>
                  <a:lnTo>
                    <a:pt x="10380" y="791"/>
                  </a:lnTo>
                  <a:lnTo>
                    <a:pt x="10344" y="729"/>
                  </a:lnTo>
                  <a:lnTo>
                    <a:pt x="10305" y="667"/>
                  </a:lnTo>
                  <a:lnTo>
                    <a:pt x="10263" y="608"/>
                  </a:lnTo>
                  <a:lnTo>
                    <a:pt x="10217" y="550"/>
                  </a:lnTo>
                  <a:lnTo>
                    <a:pt x="10170" y="496"/>
                  </a:lnTo>
                  <a:lnTo>
                    <a:pt x="10120" y="443"/>
                  </a:lnTo>
                  <a:lnTo>
                    <a:pt x="10067" y="393"/>
                  </a:lnTo>
                  <a:lnTo>
                    <a:pt x="10013" y="346"/>
                  </a:lnTo>
                  <a:lnTo>
                    <a:pt x="9956" y="300"/>
                  </a:lnTo>
                  <a:lnTo>
                    <a:pt x="9896" y="258"/>
                  </a:lnTo>
                  <a:lnTo>
                    <a:pt x="9835" y="219"/>
                  </a:lnTo>
                  <a:lnTo>
                    <a:pt x="9773" y="182"/>
                  </a:lnTo>
                  <a:lnTo>
                    <a:pt x="9707" y="149"/>
                  </a:lnTo>
                  <a:lnTo>
                    <a:pt x="9641" y="119"/>
                  </a:lnTo>
                  <a:lnTo>
                    <a:pt x="9571" y="92"/>
                  </a:lnTo>
                  <a:lnTo>
                    <a:pt x="9502" y="69"/>
                  </a:lnTo>
                  <a:lnTo>
                    <a:pt x="9431" y="47"/>
                  </a:lnTo>
                  <a:lnTo>
                    <a:pt x="9357" y="31"/>
                  </a:lnTo>
                  <a:lnTo>
                    <a:pt x="9283" y="17"/>
                  </a:lnTo>
                  <a:lnTo>
                    <a:pt x="9207" y="8"/>
                  </a:lnTo>
                  <a:lnTo>
                    <a:pt x="9131" y="2"/>
                  </a:lnTo>
                  <a:lnTo>
                    <a:pt x="9053" y="0"/>
                  </a:lnTo>
                  <a:lnTo>
                    <a:pt x="1509" y="0"/>
                  </a:lnTo>
                  <a:lnTo>
                    <a:pt x="1431" y="2"/>
                  </a:lnTo>
                  <a:lnTo>
                    <a:pt x="1355" y="8"/>
                  </a:lnTo>
                  <a:lnTo>
                    <a:pt x="1280" y="17"/>
                  </a:lnTo>
                  <a:lnTo>
                    <a:pt x="1205" y="31"/>
                  </a:lnTo>
                  <a:lnTo>
                    <a:pt x="1133" y="47"/>
                  </a:lnTo>
                  <a:lnTo>
                    <a:pt x="1060" y="69"/>
                  </a:lnTo>
                  <a:lnTo>
                    <a:pt x="991" y="92"/>
                  </a:lnTo>
                  <a:lnTo>
                    <a:pt x="922" y="119"/>
                  </a:lnTo>
                  <a:lnTo>
                    <a:pt x="855" y="149"/>
                  </a:lnTo>
                  <a:lnTo>
                    <a:pt x="791" y="182"/>
                  </a:lnTo>
                  <a:lnTo>
                    <a:pt x="727" y="219"/>
                  </a:lnTo>
                  <a:lnTo>
                    <a:pt x="666" y="258"/>
                  </a:lnTo>
                  <a:lnTo>
                    <a:pt x="607" y="300"/>
                  </a:lnTo>
                  <a:lnTo>
                    <a:pt x="549" y="346"/>
                  </a:lnTo>
                  <a:lnTo>
                    <a:pt x="495" y="393"/>
                  </a:lnTo>
                  <a:lnTo>
                    <a:pt x="443" y="443"/>
                  </a:lnTo>
                  <a:lnTo>
                    <a:pt x="392" y="496"/>
                  </a:lnTo>
                  <a:lnTo>
                    <a:pt x="345" y="550"/>
                  </a:lnTo>
                  <a:lnTo>
                    <a:pt x="300" y="608"/>
                  </a:lnTo>
                  <a:lnTo>
                    <a:pt x="259" y="667"/>
                  </a:lnTo>
                  <a:lnTo>
                    <a:pt x="218" y="729"/>
                  </a:lnTo>
                  <a:lnTo>
                    <a:pt x="182" y="791"/>
                  </a:lnTo>
                  <a:lnTo>
                    <a:pt x="149" y="856"/>
                  </a:lnTo>
                  <a:lnTo>
                    <a:pt x="119" y="924"/>
                  </a:lnTo>
                  <a:lnTo>
                    <a:pt x="92" y="993"/>
                  </a:lnTo>
                  <a:lnTo>
                    <a:pt x="68" y="1062"/>
                  </a:lnTo>
                  <a:lnTo>
                    <a:pt x="47" y="1134"/>
                  </a:lnTo>
                  <a:lnTo>
                    <a:pt x="31" y="1207"/>
                  </a:lnTo>
                  <a:lnTo>
                    <a:pt x="17" y="1282"/>
                  </a:lnTo>
                  <a:lnTo>
                    <a:pt x="8" y="1357"/>
                  </a:lnTo>
                  <a:lnTo>
                    <a:pt x="2" y="1434"/>
                  </a:lnTo>
                  <a:lnTo>
                    <a:pt x="0" y="1511"/>
                  </a:lnTo>
                  <a:lnTo>
                    <a:pt x="0" y="7052"/>
                  </a:lnTo>
                  <a:lnTo>
                    <a:pt x="2" y="7131"/>
                  </a:lnTo>
                  <a:lnTo>
                    <a:pt x="8" y="7207"/>
                  </a:lnTo>
                  <a:lnTo>
                    <a:pt x="17" y="7283"/>
                  </a:lnTo>
                  <a:lnTo>
                    <a:pt x="31" y="7357"/>
                  </a:lnTo>
                  <a:lnTo>
                    <a:pt x="47" y="7430"/>
                  </a:lnTo>
                  <a:lnTo>
                    <a:pt x="68" y="7502"/>
                  </a:lnTo>
                  <a:lnTo>
                    <a:pt x="92" y="7572"/>
                  </a:lnTo>
                  <a:lnTo>
                    <a:pt x="119" y="7641"/>
                  </a:lnTo>
                  <a:lnTo>
                    <a:pt x="149" y="7707"/>
                  </a:lnTo>
                  <a:lnTo>
                    <a:pt x="182" y="7773"/>
                  </a:lnTo>
                  <a:lnTo>
                    <a:pt x="218" y="7836"/>
                  </a:lnTo>
                  <a:lnTo>
                    <a:pt x="259" y="7897"/>
                  </a:lnTo>
                  <a:lnTo>
                    <a:pt x="300" y="7956"/>
                  </a:lnTo>
                  <a:lnTo>
                    <a:pt x="345" y="8014"/>
                  </a:lnTo>
                  <a:lnTo>
                    <a:pt x="392" y="8068"/>
                  </a:lnTo>
                  <a:lnTo>
                    <a:pt x="443" y="8120"/>
                  </a:lnTo>
                  <a:lnTo>
                    <a:pt x="495" y="8171"/>
                  </a:lnTo>
                  <a:lnTo>
                    <a:pt x="549" y="8218"/>
                  </a:lnTo>
                  <a:lnTo>
                    <a:pt x="607" y="8263"/>
                  </a:lnTo>
                  <a:lnTo>
                    <a:pt x="666" y="8306"/>
                  </a:lnTo>
                  <a:lnTo>
                    <a:pt x="727" y="8345"/>
                  </a:lnTo>
                  <a:lnTo>
                    <a:pt x="791" y="8381"/>
                  </a:lnTo>
                  <a:lnTo>
                    <a:pt x="855" y="8415"/>
                  </a:lnTo>
                  <a:lnTo>
                    <a:pt x="922" y="8445"/>
                  </a:lnTo>
                  <a:lnTo>
                    <a:pt x="991" y="8472"/>
                  </a:lnTo>
                  <a:lnTo>
                    <a:pt x="1060" y="8496"/>
                  </a:lnTo>
                  <a:lnTo>
                    <a:pt x="1133" y="8516"/>
                  </a:lnTo>
                  <a:lnTo>
                    <a:pt x="1205" y="8533"/>
                  </a:lnTo>
                  <a:lnTo>
                    <a:pt x="1280" y="8547"/>
                  </a:lnTo>
                  <a:lnTo>
                    <a:pt x="1355" y="8557"/>
                  </a:lnTo>
                  <a:lnTo>
                    <a:pt x="1431" y="8562"/>
                  </a:lnTo>
                  <a:lnTo>
                    <a:pt x="1509" y="8564"/>
                  </a:lnTo>
                  <a:lnTo>
                    <a:pt x="1509" y="8564"/>
                  </a:lnTo>
                  <a:lnTo>
                    <a:pt x="1509" y="10075"/>
                  </a:lnTo>
                  <a:lnTo>
                    <a:pt x="1511" y="10153"/>
                  </a:lnTo>
                  <a:lnTo>
                    <a:pt x="1517" y="10229"/>
                  </a:lnTo>
                  <a:lnTo>
                    <a:pt x="1527" y="10305"/>
                  </a:lnTo>
                  <a:lnTo>
                    <a:pt x="1540" y="10379"/>
                  </a:lnTo>
                  <a:lnTo>
                    <a:pt x="1557" y="10453"/>
                  </a:lnTo>
                  <a:lnTo>
                    <a:pt x="1577" y="10525"/>
                  </a:lnTo>
                  <a:lnTo>
                    <a:pt x="1601" y="10594"/>
                  </a:lnTo>
                  <a:lnTo>
                    <a:pt x="1629" y="10663"/>
                  </a:lnTo>
                  <a:lnTo>
                    <a:pt x="1659" y="10730"/>
                  </a:lnTo>
                  <a:lnTo>
                    <a:pt x="1692" y="10795"/>
                  </a:lnTo>
                  <a:lnTo>
                    <a:pt x="1728" y="10858"/>
                  </a:lnTo>
                  <a:lnTo>
                    <a:pt x="1767" y="10920"/>
                  </a:lnTo>
                  <a:lnTo>
                    <a:pt x="1810" y="10979"/>
                  </a:lnTo>
                  <a:lnTo>
                    <a:pt x="1854" y="11036"/>
                  </a:lnTo>
                  <a:lnTo>
                    <a:pt x="1901" y="11091"/>
                  </a:lnTo>
                  <a:lnTo>
                    <a:pt x="1952" y="11143"/>
                  </a:lnTo>
                  <a:lnTo>
                    <a:pt x="2004" y="11194"/>
                  </a:lnTo>
                  <a:lnTo>
                    <a:pt x="2059" y="11241"/>
                  </a:lnTo>
                  <a:lnTo>
                    <a:pt x="2115" y="11286"/>
                  </a:lnTo>
                  <a:lnTo>
                    <a:pt x="2175" y="11329"/>
                  </a:lnTo>
                  <a:lnTo>
                    <a:pt x="2236" y="11368"/>
                  </a:lnTo>
                  <a:lnTo>
                    <a:pt x="2300" y="11404"/>
                  </a:lnTo>
                  <a:lnTo>
                    <a:pt x="2365" y="11437"/>
                  </a:lnTo>
                  <a:lnTo>
                    <a:pt x="2431" y="11468"/>
                  </a:lnTo>
                  <a:lnTo>
                    <a:pt x="2500" y="11495"/>
                  </a:lnTo>
                  <a:lnTo>
                    <a:pt x="2570" y="11519"/>
                  </a:lnTo>
                  <a:lnTo>
                    <a:pt x="2642" y="11539"/>
                  </a:lnTo>
                  <a:lnTo>
                    <a:pt x="2714" y="11556"/>
                  </a:lnTo>
                  <a:lnTo>
                    <a:pt x="2788" y="11569"/>
                  </a:lnTo>
                  <a:lnTo>
                    <a:pt x="2864" y="11579"/>
                  </a:lnTo>
                  <a:lnTo>
                    <a:pt x="2940" y="11585"/>
                  </a:lnTo>
                  <a:lnTo>
                    <a:pt x="3018" y="11587"/>
                  </a:lnTo>
                  <a:lnTo>
                    <a:pt x="3592" y="11587"/>
                  </a:lnTo>
                  <a:lnTo>
                    <a:pt x="3614" y="11667"/>
                  </a:lnTo>
                  <a:lnTo>
                    <a:pt x="3640" y="11747"/>
                  </a:lnTo>
                  <a:lnTo>
                    <a:pt x="3670" y="11824"/>
                  </a:lnTo>
                  <a:lnTo>
                    <a:pt x="3702" y="11901"/>
                  </a:lnTo>
                  <a:lnTo>
                    <a:pt x="3737" y="11976"/>
                  </a:lnTo>
                  <a:lnTo>
                    <a:pt x="3774" y="12048"/>
                  </a:lnTo>
                  <a:lnTo>
                    <a:pt x="3816" y="12120"/>
                  </a:lnTo>
                  <a:lnTo>
                    <a:pt x="3859" y="12188"/>
                  </a:lnTo>
                  <a:lnTo>
                    <a:pt x="3905" y="12256"/>
                  </a:lnTo>
                  <a:lnTo>
                    <a:pt x="3953" y="12321"/>
                  </a:lnTo>
                  <a:lnTo>
                    <a:pt x="4005" y="12385"/>
                  </a:lnTo>
                  <a:lnTo>
                    <a:pt x="4059" y="12446"/>
                  </a:lnTo>
                  <a:lnTo>
                    <a:pt x="4114" y="12505"/>
                  </a:lnTo>
                  <a:lnTo>
                    <a:pt x="4173" y="12561"/>
                  </a:lnTo>
                  <a:lnTo>
                    <a:pt x="4233" y="12615"/>
                  </a:lnTo>
                  <a:lnTo>
                    <a:pt x="4296" y="12668"/>
                  </a:lnTo>
                  <a:lnTo>
                    <a:pt x="4361" y="12717"/>
                  </a:lnTo>
                  <a:lnTo>
                    <a:pt x="4428" y="12763"/>
                  </a:lnTo>
                  <a:lnTo>
                    <a:pt x="4497" y="12807"/>
                  </a:lnTo>
                  <a:lnTo>
                    <a:pt x="4567" y="12848"/>
                  </a:lnTo>
                  <a:lnTo>
                    <a:pt x="4639" y="12886"/>
                  </a:lnTo>
                  <a:lnTo>
                    <a:pt x="4714" y="12922"/>
                  </a:lnTo>
                  <a:lnTo>
                    <a:pt x="4789" y="12955"/>
                  </a:lnTo>
                  <a:lnTo>
                    <a:pt x="4867" y="12984"/>
                  </a:lnTo>
                  <a:lnTo>
                    <a:pt x="4946" y="13010"/>
                  </a:lnTo>
                  <a:lnTo>
                    <a:pt x="5026" y="13033"/>
                  </a:lnTo>
                  <a:lnTo>
                    <a:pt x="5107" y="13053"/>
                  </a:lnTo>
                  <a:lnTo>
                    <a:pt x="5191" y="13069"/>
                  </a:lnTo>
                  <a:lnTo>
                    <a:pt x="5274" y="13081"/>
                  </a:lnTo>
                  <a:lnTo>
                    <a:pt x="5360" y="13091"/>
                  </a:lnTo>
                  <a:lnTo>
                    <a:pt x="5446" y="13096"/>
                  </a:lnTo>
                  <a:lnTo>
                    <a:pt x="5533" y="13098"/>
                  </a:lnTo>
                  <a:lnTo>
                    <a:pt x="5620" y="13096"/>
                  </a:lnTo>
                  <a:lnTo>
                    <a:pt x="5707" y="13091"/>
                  </a:lnTo>
                  <a:lnTo>
                    <a:pt x="5791" y="13081"/>
                  </a:lnTo>
                  <a:lnTo>
                    <a:pt x="5876" y="13069"/>
                  </a:lnTo>
                  <a:lnTo>
                    <a:pt x="5958" y="13053"/>
                  </a:lnTo>
                  <a:lnTo>
                    <a:pt x="6040" y="13033"/>
                  </a:lnTo>
                  <a:lnTo>
                    <a:pt x="6120" y="13010"/>
                  </a:lnTo>
                  <a:lnTo>
                    <a:pt x="6199" y="12984"/>
                  </a:lnTo>
                  <a:lnTo>
                    <a:pt x="6276" y="12955"/>
                  </a:lnTo>
                  <a:lnTo>
                    <a:pt x="6351" y="12922"/>
                  </a:lnTo>
                  <a:lnTo>
                    <a:pt x="6426" y="12886"/>
                  </a:lnTo>
                  <a:lnTo>
                    <a:pt x="6498" y="12848"/>
                  </a:lnTo>
                  <a:lnTo>
                    <a:pt x="6569" y="12807"/>
                  </a:lnTo>
                  <a:lnTo>
                    <a:pt x="6637" y="12763"/>
                  </a:lnTo>
                  <a:lnTo>
                    <a:pt x="6705" y="12717"/>
                  </a:lnTo>
                  <a:lnTo>
                    <a:pt x="6769" y="12668"/>
                  </a:lnTo>
                  <a:lnTo>
                    <a:pt x="6831" y="12615"/>
                  </a:lnTo>
                  <a:lnTo>
                    <a:pt x="6892" y="12561"/>
                  </a:lnTo>
                  <a:lnTo>
                    <a:pt x="6951" y="12505"/>
                  </a:lnTo>
                  <a:lnTo>
                    <a:pt x="7006" y="12446"/>
                  </a:lnTo>
                  <a:lnTo>
                    <a:pt x="7061" y="12385"/>
                  </a:lnTo>
                  <a:lnTo>
                    <a:pt x="7112" y="12321"/>
                  </a:lnTo>
                  <a:lnTo>
                    <a:pt x="7160" y="12256"/>
                  </a:lnTo>
                  <a:lnTo>
                    <a:pt x="7207" y="12188"/>
                  </a:lnTo>
                  <a:lnTo>
                    <a:pt x="7250" y="12120"/>
                  </a:lnTo>
                  <a:lnTo>
                    <a:pt x="7290" y="12048"/>
                  </a:lnTo>
                  <a:lnTo>
                    <a:pt x="7328" y="11976"/>
                  </a:lnTo>
                  <a:lnTo>
                    <a:pt x="7363" y="11901"/>
                  </a:lnTo>
                  <a:lnTo>
                    <a:pt x="7396" y="11824"/>
                  </a:lnTo>
                  <a:lnTo>
                    <a:pt x="7425" y="11747"/>
                  </a:lnTo>
                  <a:lnTo>
                    <a:pt x="7450" y="11667"/>
                  </a:lnTo>
                  <a:lnTo>
                    <a:pt x="7473" y="11587"/>
                  </a:lnTo>
                  <a:lnTo>
                    <a:pt x="10131" y="11587"/>
                  </a:lnTo>
                  <a:lnTo>
                    <a:pt x="10153" y="11667"/>
                  </a:lnTo>
                  <a:lnTo>
                    <a:pt x="10179" y="11747"/>
                  </a:lnTo>
                  <a:lnTo>
                    <a:pt x="10208" y="11824"/>
                  </a:lnTo>
                  <a:lnTo>
                    <a:pt x="10240" y="11901"/>
                  </a:lnTo>
                  <a:lnTo>
                    <a:pt x="10275" y="11976"/>
                  </a:lnTo>
                  <a:lnTo>
                    <a:pt x="10313" y="12048"/>
                  </a:lnTo>
                  <a:lnTo>
                    <a:pt x="10354" y="12120"/>
                  </a:lnTo>
                  <a:lnTo>
                    <a:pt x="10397" y="12188"/>
                  </a:lnTo>
                  <a:lnTo>
                    <a:pt x="10444" y="12256"/>
                  </a:lnTo>
                  <a:lnTo>
                    <a:pt x="10492" y="12321"/>
                  </a:lnTo>
                  <a:lnTo>
                    <a:pt x="10543" y="12385"/>
                  </a:lnTo>
                  <a:lnTo>
                    <a:pt x="10597" y="12446"/>
                  </a:lnTo>
                  <a:lnTo>
                    <a:pt x="10653" y="12505"/>
                  </a:lnTo>
                  <a:lnTo>
                    <a:pt x="10711" y="12561"/>
                  </a:lnTo>
                  <a:lnTo>
                    <a:pt x="10772" y="12615"/>
                  </a:lnTo>
                  <a:lnTo>
                    <a:pt x="10835" y="12668"/>
                  </a:lnTo>
                  <a:lnTo>
                    <a:pt x="10899" y="12717"/>
                  </a:lnTo>
                  <a:lnTo>
                    <a:pt x="10967" y="12763"/>
                  </a:lnTo>
                  <a:lnTo>
                    <a:pt x="11035" y="12807"/>
                  </a:lnTo>
                  <a:lnTo>
                    <a:pt x="11106" y="12848"/>
                  </a:lnTo>
                  <a:lnTo>
                    <a:pt x="11178" y="12886"/>
                  </a:lnTo>
                  <a:lnTo>
                    <a:pt x="11252" y="12922"/>
                  </a:lnTo>
                  <a:lnTo>
                    <a:pt x="11328" y="12955"/>
                  </a:lnTo>
                  <a:lnTo>
                    <a:pt x="11405" y="12984"/>
                  </a:lnTo>
                  <a:lnTo>
                    <a:pt x="11484" y="13010"/>
                  </a:lnTo>
                  <a:lnTo>
                    <a:pt x="11564" y="13033"/>
                  </a:lnTo>
                  <a:lnTo>
                    <a:pt x="11646" y="13053"/>
                  </a:lnTo>
                  <a:lnTo>
                    <a:pt x="11729" y="13069"/>
                  </a:lnTo>
                  <a:lnTo>
                    <a:pt x="11813" y="13081"/>
                  </a:lnTo>
                  <a:lnTo>
                    <a:pt x="11898" y="13091"/>
                  </a:lnTo>
                  <a:lnTo>
                    <a:pt x="11984" y="13096"/>
                  </a:lnTo>
                  <a:lnTo>
                    <a:pt x="12071" y="13098"/>
                  </a:lnTo>
                  <a:lnTo>
                    <a:pt x="12159" y="13096"/>
                  </a:lnTo>
                  <a:lnTo>
                    <a:pt x="12244" y="13091"/>
                  </a:lnTo>
                  <a:lnTo>
                    <a:pt x="12330" y="13081"/>
                  </a:lnTo>
                  <a:lnTo>
                    <a:pt x="12413" y="13069"/>
                  </a:lnTo>
                  <a:lnTo>
                    <a:pt x="12497" y="13053"/>
                  </a:lnTo>
                  <a:lnTo>
                    <a:pt x="12578" y="13033"/>
                  </a:lnTo>
                  <a:lnTo>
                    <a:pt x="12658" y="13010"/>
                  </a:lnTo>
                  <a:lnTo>
                    <a:pt x="12737" y="12984"/>
                  </a:lnTo>
                  <a:lnTo>
                    <a:pt x="12815" y="12955"/>
                  </a:lnTo>
                  <a:lnTo>
                    <a:pt x="12890" y="12922"/>
                  </a:lnTo>
                  <a:lnTo>
                    <a:pt x="12964" y="12886"/>
                  </a:lnTo>
                  <a:lnTo>
                    <a:pt x="13036" y="12848"/>
                  </a:lnTo>
                  <a:lnTo>
                    <a:pt x="13107" y="12807"/>
                  </a:lnTo>
                  <a:lnTo>
                    <a:pt x="13176" y="12763"/>
                  </a:lnTo>
                  <a:lnTo>
                    <a:pt x="13242" y="12717"/>
                  </a:lnTo>
                  <a:lnTo>
                    <a:pt x="13308" y="12668"/>
                  </a:lnTo>
                  <a:lnTo>
                    <a:pt x="13370" y="12615"/>
                  </a:lnTo>
                  <a:lnTo>
                    <a:pt x="13430" y="12561"/>
                  </a:lnTo>
                  <a:lnTo>
                    <a:pt x="13489" y="12505"/>
                  </a:lnTo>
                  <a:lnTo>
                    <a:pt x="13545" y="12446"/>
                  </a:lnTo>
                  <a:lnTo>
                    <a:pt x="13598" y="12385"/>
                  </a:lnTo>
                  <a:lnTo>
                    <a:pt x="13650" y="12321"/>
                  </a:lnTo>
                  <a:lnTo>
                    <a:pt x="13699" y="12256"/>
                  </a:lnTo>
                  <a:lnTo>
                    <a:pt x="13745" y="12188"/>
                  </a:lnTo>
                  <a:lnTo>
                    <a:pt x="13788" y="12120"/>
                  </a:lnTo>
                  <a:lnTo>
                    <a:pt x="13829" y="12048"/>
                  </a:lnTo>
                  <a:lnTo>
                    <a:pt x="13867" y="11976"/>
                  </a:lnTo>
                  <a:lnTo>
                    <a:pt x="13902" y="11901"/>
                  </a:lnTo>
                  <a:lnTo>
                    <a:pt x="13934" y="11824"/>
                  </a:lnTo>
                  <a:lnTo>
                    <a:pt x="13962" y="11747"/>
                  </a:lnTo>
                  <a:lnTo>
                    <a:pt x="13989" y="11667"/>
                  </a:lnTo>
                  <a:lnTo>
                    <a:pt x="14012" y="11587"/>
                  </a:lnTo>
                  <a:lnTo>
                    <a:pt x="14586" y="11587"/>
                  </a:lnTo>
                  <a:lnTo>
                    <a:pt x="14664" y="11585"/>
                  </a:lnTo>
                  <a:lnTo>
                    <a:pt x="14740" y="11579"/>
                  </a:lnTo>
                  <a:lnTo>
                    <a:pt x="14815" y="11569"/>
                  </a:lnTo>
                  <a:lnTo>
                    <a:pt x="14890" y="11556"/>
                  </a:lnTo>
                  <a:lnTo>
                    <a:pt x="14962" y="11539"/>
                  </a:lnTo>
                  <a:lnTo>
                    <a:pt x="15035" y="11519"/>
                  </a:lnTo>
                  <a:lnTo>
                    <a:pt x="15104" y="11495"/>
                  </a:lnTo>
                  <a:lnTo>
                    <a:pt x="15173" y="11468"/>
                  </a:lnTo>
                  <a:lnTo>
                    <a:pt x="15240" y="11437"/>
                  </a:lnTo>
                  <a:lnTo>
                    <a:pt x="15304" y="11404"/>
                  </a:lnTo>
                  <a:lnTo>
                    <a:pt x="15368" y="11368"/>
                  </a:lnTo>
                  <a:lnTo>
                    <a:pt x="15429" y="11329"/>
                  </a:lnTo>
                  <a:lnTo>
                    <a:pt x="15488" y="11286"/>
                  </a:lnTo>
                  <a:lnTo>
                    <a:pt x="15546" y="11241"/>
                  </a:lnTo>
                  <a:lnTo>
                    <a:pt x="15600" y="11194"/>
                  </a:lnTo>
                  <a:lnTo>
                    <a:pt x="15652" y="11143"/>
                  </a:lnTo>
                  <a:lnTo>
                    <a:pt x="15703" y="11091"/>
                  </a:lnTo>
                  <a:lnTo>
                    <a:pt x="15750" y="11036"/>
                  </a:lnTo>
                  <a:lnTo>
                    <a:pt x="15795" y="10979"/>
                  </a:lnTo>
                  <a:lnTo>
                    <a:pt x="15836" y="10920"/>
                  </a:lnTo>
                  <a:lnTo>
                    <a:pt x="15877" y="10858"/>
                  </a:lnTo>
                  <a:lnTo>
                    <a:pt x="15913" y="10795"/>
                  </a:lnTo>
                  <a:lnTo>
                    <a:pt x="15946" y="10730"/>
                  </a:lnTo>
                  <a:lnTo>
                    <a:pt x="15976" y="10663"/>
                  </a:lnTo>
                  <a:lnTo>
                    <a:pt x="16003" y="10594"/>
                  </a:lnTo>
                  <a:lnTo>
                    <a:pt x="16027" y="10525"/>
                  </a:lnTo>
                  <a:lnTo>
                    <a:pt x="16048" y="10453"/>
                  </a:lnTo>
                  <a:lnTo>
                    <a:pt x="16064" y="10379"/>
                  </a:lnTo>
                  <a:lnTo>
                    <a:pt x="16078" y="10305"/>
                  </a:lnTo>
                  <a:lnTo>
                    <a:pt x="16087" y="10229"/>
                  </a:lnTo>
                  <a:lnTo>
                    <a:pt x="16093" y="10153"/>
                  </a:lnTo>
                  <a:lnTo>
                    <a:pt x="16095" y="10075"/>
                  </a:lnTo>
                  <a:lnTo>
                    <a:pt x="16095" y="7052"/>
                  </a:lnTo>
                  <a:lnTo>
                    <a:pt x="16095" y="7025"/>
                  </a:lnTo>
                  <a:lnTo>
                    <a:pt x="16094" y="6997"/>
                  </a:lnTo>
                  <a:lnTo>
                    <a:pt x="16093" y="6969"/>
                  </a:lnTo>
                  <a:lnTo>
                    <a:pt x="16091" y="6941"/>
                  </a:lnTo>
                  <a:lnTo>
                    <a:pt x="16089" y="6913"/>
                  </a:lnTo>
                  <a:lnTo>
                    <a:pt x="16086" y="6885"/>
                  </a:lnTo>
                  <a:lnTo>
                    <a:pt x="16083" y="6858"/>
                  </a:lnTo>
                  <a:lnTo>
                    <a:pt x="16079" y="6831"/>
                  </a:lnTo>
                  <a:lnTo>
                    <a:pt x="16075" y="6803"/>
                  </a:lnTo>
                  <a:lnTo>
                    <a:pt x="16070" y="6776"/>
                  </a:lnTo>
                  <a:lnTo>
                    <a:pt x="16065" y="6749"/>
                  </a:lnTo>
                  <a:lnTo>
                    <a:pt x="16059" y="6722"/>
                  </a:lnTo>
                  <a:lnTo>
                    <a:pt x="16053" y="6695"/>
                  </a:lnTo>
                  <a:lnTo>
                    <a:pt x="16046" y="6667"/>
                  </a:lnTo>
                  <a:lnTo>
                    <a:pt x="16039" y="6641"/>
                  </a:lnTo>
                  <a:lnTo>
                    <a:pt x="16031" y="6615"/>
                  </a:lnTo>
                  <a:lnTo>
                    <a:pt x="16023" y="6588"/>
                  </a:lnTo>
                  <a:lnTo>
                    <a:pt x="16014" y="6562"/>
                  </a:lnTo>
                  <a:lnTo>
                    <a:pt x="16004" y="6536"/>
                  </a:lnTo>
                  <a:lnTo>
                    <a:pt x="15994" y="6510"/>
                  </a:lnTo>
                  <a:lnTo>
                    <a:pt x="15984" y="6484"/>
                  </a:lnTo>
                  <a:lnTo>
                    <a:pt x="15974" y="6459"/>
                  </a:lnTo>
                  <a:lnTo>
                    <a:pt x="15963" y="6434"/>
                  </a:lnTo>
                  <a:lnTo>
                    <a:pt x="15951" y="6408"/>
                  </a:lnTo>
                  <a:lnTo>
                    <a:pt x="15939" y="6383"/>
                  </a:lnTo>
                  <a:lnTo>
                    <a:pt x="15927" y="6358"/>
                  </a:lnTo>
                  <a:lnTo>
                    <a:pt x="15914" y="6334"/>
                  </a:lnTo>
                  <a:lnTo>
                    <a:pt x="15900" y="6310"/>
                  </a:lnTo>
                  <a:lnTo>
                    <a:pt x="15886" y="6286"/>
                  </a:lnTo>
                  <a:lnTo>
                    <a:pt x="15872" y="6261"/>
                  </a:lnTo>
                  <a:lnTo>
                    <a:pt x="15857" y="6238"/>
                  </a:lnTo>
                  <a:lnTo>
                    <a:pt x="15842" y="6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77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92" name="ïṩlîḓê">
              <a:extLst>
                <a:ext uri="{FF2B5EF4-FFF2-40B4-BE49-F238E27FC236}">
                  <a16:creationId xmlns:a16="http://schemas.microsoft.com/office/drawing/2014/main" id="{A39B1FC8-7E30-4DE0-9AA3-B748C5E550C7}"/>
                </a:ext>
              </a:extLst>
            </p:cNvPr>
            <p:cNvSpPr/>
            <p:nvPr/>
          </p:nvSpPr>
          <p:spPr bwMode="auto">
            <a:xfrm>
              <a:off x="6270422" y="1722710"/>
              <a:ext cx="593599" cy="595008"/>
            </a:xfrm>
            <a:custGeom>
              <a:avLst/>
              <a:gdLst>
                <a:gd name="T0" fmla="*/ 11438 w 16419"/>
                <a:gd name="T1" fmla="*/ 11992 h 16036"/>
                <a:gd name="T2" fmla="*/ 12051 w 16419"/>
                <a:gd name="T3" fmla="*/ 9611 h 16036"/>
                <a:gd name="T4" fmla="*/ 15080 w 16419"/>
                <a:gd name="T5" fmla="*/ 9931 h 16036"/>
                <a:gd name="T6" fmla="*/ 13248 w 16419"/>
                <a:gd name="T7" fmla="*/ 12967 h 16036"/>
                <a:gd name="T8" fmla="*/ 4590 w 16419"/>
                <a:gd name="T9" fmla="*/ 10655 h 16036"/>
                <a:gd name="T10" fmla="*/ 4429 w 16419"/>
                <a:gd name="T11" fmla="*/ 12231 h 16036"/>
                <a:gd name="T12" fmla="*/ 2147 w 16419"/>
                <a:gd name="T13" fmla="*/ 11712 h 16036"/>
                <a:gd name="T14" fmla="*/ 1073 w 16419"/>
                <a:gd name="T15" fmla="*/ 8277 h 16036"/>
                <a:gd name="T16" fmla="*/ 4139 w 16419"/>
                <a:gd name="T17" fmla="*/ 4183 h 16036"/>
                <a:gd name="T18" fmla="*/ 4533 w 16419"/>
                <a:gd name="T19" fmla="*/ 5582 h 16036"/>
                <a:gd name="T20" fmla="*/ 1073 w 16419"/>
                <a:gd name="T21" fmla="*/ 7759 h 16036"/>
                <a:gd name="T22" fmla="*/ 1997 w 16419"/>
                <a:gd name="T23" fmla="*/ 4578 h 16036"/>
                <a:gd name="T24" fmla="*/ 9313 w 16419"/>
                <a:gd name="T25" fmla="*/ 5095 h 16036"/>
                <a:gd name="T26" fmla="*/ 11066 w 16419"/>
                <a:gd name="T27" fmla="*/ 4695 h 16036"/>
                <a:gd name="T28" fmla="*/ 11565 w 16419"/>
                <a:gd name="T29" fmla="*/ 6759 h 16036"/>
                <a:gd name="T30" fmla="*/ 10152 w 16419"/>
                <a:gd name="T31" fmla="*/ 11598 h 16036"/>
                <a:gd name="T32" fmla="*/ 8474 w 16419"/>
                <a:gd name="T33" fmla="*/ 11394 h 16036"/>
                <a:gd name="T34" fmla="*/ 11313 w 16419"/>
                <a:gd name="T35" fmla="*/ 10543 h 16036"/>
                <a:gd name="T36" fmla="*/ 12142 w 16419"/>
                <a:gd name="T37" fmla="*/ 12889 h 16036"/>
                <a:gd name="T38" fmla="*/ 11354 w 16419"/>
                <a:gd name="T39" fmla="*/ 14282 h 16036"/>
                <a:gd name="T40" fmla="*/ 9710 w 16419"/>
                <a:gd name="T41" fmla="*/ 14564 h 16036"/>
                <a:gd name="T42" fmla="*/ 10935 w 16419"/>
                <a:gd name="T43" fmla="*/ 12871 h 16036"/>
                <a:gd name="T44" fmla="*/ 9524 w 16419"/>
                <a:gd name="T45" fmla="*/ 12005 h 16036"/>
                <a:gd name="T46" fmla="*/ 10393 w 16419"/>
                <a:gd name="T47" fmla="*/ 12757 h 16036"/>
                <a:gd name="T48" fmla="*/ 8904 w 16419"/>
                <a:gd name="T49" fmla="*/ 14636 h 16036"/>
                <a:gd name="T50" fmla="*/ 5284 w 16419"/>
                <a:gd name="T51" fmla="*/ 14382 h 16036"/>
                <a:gd name="T52" fmla="*/ 4071 w 16419"/>
                <a:gd name="T53" fmla="*/ 13005 h 16036"/>
                <a:gd name="T54" fmla="*/ 5783 w 16419"/>
                <a:gd name="T55" fmla="*/ 13367 h 16036"/>
                <a:gd name="T56" fmla="*/ 7945 w 16419"/>
                <a:gd name="T57" fmla="*/ 8277 h 16036"/>
                <a:gd name="T58" fmla="*/ 6342 w 16419"/>
                <a:gd name="T59" fmla="*/ 11582 h 16036"/>
                <a:gd name="T60" fmla="*/ 5136 w 16419"/>
                <a:gd name="T61" fmla="*/ 10650 h 16036"/>
                <a:gd name="T62" fmla="*/ 7945 w 16419"/>
                <a:gd name="T63" fmla="*/ 8277 h 16036"/>
                <a:gd name="T64" fmla="*/ 7024 w 16419"/>
                <a:gd name="T65" fmla="*/ 5084 h 16036"/>
                <a:gd name="T66" fmla="*/ 4843 w 16419"/>
                <a:gd name="T67" fmla="*/ 6857 h 16036"/>
                <a:gd name="T68" fmla="*/ 5321 w 16419"/>
                <a:gd name="T69" fmla="*/ 4784 h 16036"/>
                <a:gd name="T70" fmla="*/ 3667 w 16419"/>
                <a:gd name="T71" fmla="*/ 3305 h 16036"/>
                <a:gd name="T72" fmla="*/ 5215 w 16419"/>
                <a:gd name="T73" fmla="*/ 1684 h 16036"/>
                <a:gd name="T74" fmla="*/ 6448 w 16419"/>
                <a:gd name="T75" fmla="*/ 1771 h 16036"/>
                <a:gd name="T76" fmla="*/ 5148 w 16419"/>
                <a:gd name="T77" fmla="*/ 3833 h 16036"/>
                <a:gd name="T78" fmla="*/ 6569 w 16419"/>
                <a:gd name="T79" fmla="*/ 4486 h 16036"/>
                <a:gd name="T80" fmla="*/ 6014 w 16419"/>
                <a:gd name="T81" fmla="*/ 3301 h 16036"/>
                <a:gd name="T82" fmla="*/ 7732 w 16419"/>
                <a:gd name="T83" fmla="*/ 1205 h 16036"/>
                <a:gd name="T84" fmla="*/ 11565 w 16419"/>
                <a:gd name="T85" fmla="*/ 1859 h 16036"/>
                <a:gd name="T86" fmla="*/ 12421 w 16419"/>
                <a:gd name="T87" fmla="*/ 3513 h 16036"/>
                <a:gd name="T88" fmla="*/ 11123 w 16419"/>
                <a:gd name="T89" fmla="*/ 3527 h 16036"/>
                <a:gd name="T90" fmla="*/ 9758 w 16419"/>
                <a:gd name="T91" fmla="*/ 1525 h 16036"/>
                <a:gd name="T92" fmla="*/ 9852 w 16419"/>
                <a:gd name="T93" fmla="*/ 2463 h 16036"/>
                <a:gd name="T94" fmla="*/ 10437 w 16419"/>
                <a:gd name="T95" fmla="*/ 4348 h 16036"/>
                <a:gd name="T96" fmla="*/ 8786 w 16419"/>
                <a:gd name="T97" fmla="*/ 4626 h 16036"/>
                <a:gd name="T98" fmla="*/ 6848 w 16419"/>
                <a:gd name="T99" fmla="*/ 13930 h 16036"/>
                <a:gd name="T100" fmla="*/ 6020 w 16419"/>
                <a:gd name="T101" fmla="*/ 12187 h 16036"/>
                <a:gd name="T102" fmla="*/ 7521 w 16419"/>
                <a:gd name="T103" fmla="*/ 11934 h 16036"/>
                <a:gd name="T104" fmla="*/ 12063 w 16419"/>
                <a:gd name="T105" fmla="*/ 6494 h 16036"/>
                <a:gd name="T106" fmla="*/ 11695 w 16419"/>
                <a:gd name="T107" fmla="*/ 4461 h 16036"/>
                <a:gd name="T108" fmla="*/ 13078 w 16419"/>
                <a:gd name="T109" fmla="*/ 3710 h 16036"/>
                <a:gd name="T110" fmla="*/ 14700 w 16419"/>
                <a:gd name="T111" fmla="*/ 5106 h 16036"/>
                <a:gd name="T112" fmla="*/ 6960 w 16419"/>
                <a:gd name="T113" fmla="*/ 92 h 16036"/>
                <a:gd name="T114" fmla="*/ 498 w 16419"/>
                <a:gd name="T115" fmla="*/ 5261 h 16036"/>
                <a:gd name="T116" fmla="*/ 2132 w 16419"/>
                <a:gd name="T117" fmla="*/ 13409 h 16036"/>
                <a:gd name="T118" fmla="*/ 10261 w 16419"/>
                <a:gd name="T119" fmla="*/ 15783 h 16036"/>
                <a:gd name="T120" fmla="*/ 16160 w 16419"/>
                <a:gd name="T121" fmla="*/ 10021 h 16036"/>
                <a:gd name="T122" fmla="*/ 13729 w 16419"/>
                <a:gd name="T123" fmla="*/ 2083 h 160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419" h="16036">
                  <a:moveTo>
                    <a:pt x="13248" y="12967"/>
                  </a:moveTo>
                  <a:lnTo>
                    <a:pt x="13139" y="12892"/>
                  </a:lnTo>
                  <a:lnTo>
                    <a:pt x="13030" y="12819"/>
                  </a:lnTo>
                  <a:lnTo>
                    <a:pt x="12919" y="12748"/>
                  </a:lnTo>
                  <a:lnTo>
                    <a:pt x="12807" y="12676"/>
                  </a:lnTo>
                  <a:lnTo>
                    <a:pt x="12693" y="12608"/>
                  </a:lnTo>
                  <a:lnTo>
                    <a:pt x="12579" y="12541"/>
                  </a:lnTo>
                  <a:lnTo>
                    <a:pt x="12463" y="12476"/>
                  </a:lnTo>
                  <a:lnTo>
                    <a:pt x="12347" y="12413"/>
                  </a:lnTo>
                  <a:lnTo>
                    <a:pt x="12229" y="12351"/>
                  </a:lnTo>
                  <a:lnTo>
                    <a:pt x="12110" y="12291"/>
                  </a:lnTo>
                  <a:lnTo>
                    <a:pt x="12051" y="12261"/>
                  </a:lnTo>
                  <a:lnTo>
                    <a:pt x="11990" y="12231"/>
                  </a:lnTo>
                  <a:lnTo>
                    <a:pt x="11930" y="12203"/>
                  </a:lnTo>
                  <a:lnTo>
                    <a:pt x="11869" y="12175"/>
                  </a:lnTo>
                  <a:lnTo>
                    <a:pt x="11808" y="12147"/>
                  </a:lnTo>
                  <a:lnTo>
                    <a:pt x="11747" y="12120"/>
                  </a:lnTo>
                  <a:lnTo>
                    <a:pt x="11686" y="12094"/>
                  </a:lnTo>
                  <a:lnTo>
                    <a:pt x="11625" y="12068"/>
                  </a:lnTo>
                  <a:lnTo>
                    <a:pt x="11562" y="12042"/>
                  </a:lnTo>
                  <a:lnTo>
                    <a:pt x="11499" y="12017"/>
                  </a:lnTo>
                  <a:lnTo>
                    <a:pt x="11438" y="11992"/>
                  </a:lnTo>
                  <a:lnTo>
                    <a:pt x="11374" y="11968"/>
                  </a:lnTo>
                  <a:lnTo>
                    <a:pt x="11419" y="11863"/>
                  </a:lnTo>
                  <a:lnTo>
                    <a:pt x="11463" y="11756"/>
                  </a:lnTo>
                  <a:lnTo>
                    <a:pt x="11505" y="11649"/>
                  </a:lnTo>
                  <a:lnTo>
                    <a:pt x="11546" y="11541"/>
                  </a:lnTo>
                  <a:lnTo>
                    <a:pt x="11585" y="11433"/>
                  </a:lnTo>
                  <a:lnTo>
                    <a:pt x="11624" y="11323"/>
                  </a:lnTo>
                  <a:lnTo>
                    <a:pt x="11661" y="11214"/>
                  </a:lnTo>
                  <a:lnTo>
                    <a:pt x="11696" y="11104"/>
                  </a:lnTo>
                  <a:lnTo>
                    <a:pt x="11731" y="10993"/>
                  </a:lnTo>
                  <a:lnTo>
                    <a:pt x="11765" y="10880"/>
                  </a:lnTo>
                  <a:lnTo>
                    <a:pt x="11798" y="10768"/>
                  </a:lnTo>
                  <a:lnTo>
                    <a:pt x="11829" y="10655"/>
                  </a:lnTo>
                  <a:lnTo>
                    <a:pt x="11859" y="10542"/>
                  </a:lnTo>
                  <a:lnTo>
                    <a:pt x="11887" y="10427"/>
                  </a:lnTo>
                  <a:lnTo>
                    <a:pt x="11914" y="10312"/>
                  </a:lnTo>
                  <a:lnTo>
                    <a:pt x="11941" y="10197"/>
                  </a:lnTo>
                  <a:lnTo>
                    <a:pt x="11965" y="10081"/>
                  </a:lnTo>
                  <a:lnTo>
                    <a:pt x="11988" y="9964"/>
                  </a:lnTo>
                  <a:lnTo>
                    <a:pt x="12010" y="9847"/>
                  </a:lnTo>
                  <a:lnTo>
                    <a:pt x="12031" y="9729"/>
                  </a:lnTo>
                  <a:lnTo>
                    <a:pt x="12051" y="9611"/>
                  </a:lnTo>
                  <a:lnTo>
                    <a:pt x="12068" y="9492"/>
                  </a:lnTo>
                  <a:lnTo>
                    <a:pt x="12084" y="9373"/>
                  </a:lnTo>
                  <a:lnTo>
                    <a:pt x="12100" y="9253"/>
                  </a:lnTo>
                  <a:lnTo>
                    <a:pt x="12113" y="9133"/>
                  </a:lnTo>
                  <a:lnTo>
                    <a:pt x="12126" y="9011"/>
                  </a:lnTo>
                  <a:lnTo>
                    <a:pt x="12137" y="8890"/>
                  </a:lnTo>
                  <a:lnTo>
                    <a:pt x="12147" y="8769"/>
                  </a:lnTo>
                  <a:lnTo>
                    <a:pt x="12155" y="8646"/>
                  </a:lnTo>
                  <a:lnTo>
                    <a:pt x="12161" y="8523"/>
                  </a:lnTo>
                  <a:lnTo>
                    <a:pt x="12166" y="8400"/>
                  </a:lnTo>
                  <a:lnTo>
                    <a:pt x="12171" y="8277"/>
                  </a:lnTo>
                  <a:lnTo>
                    <a:pt x="15347" y="8277"/>
                  </a:lnTo>
                  <a:lnTo>
                    <a:pt x="15337" y="8448"/>
                  </a:lnTo>
                  <a:lnTo>
                    <a:pt x="15325" y="8617"/>
                  </a:lnTo>
                  <a:lnTo>
                    <a:pt x="15309" y="8786"/>
                  </a:lnTo>
                  <a:lnTo>
                    <a:pt x="15287" y="8954"/>
                  </a:lnTo>
                  <a:lnTo>
                    <a:pt x="15262" y="9119"/>
                  </a:lnTo>
                  <a:lnTo>
                    <a:pt x="15234" y="9285"/>
                  </a:lnTo>
                  <a:lnTo>
                    <a:pt x="15201" y="9449"/>
                  </a:lnTo>
                  <a:lnTo>
                    <a:pt x="15164" y="9612"/>
                  </a:lnTo>
                  <a:lnTo>
                    <a:pt x="15124" y="9772"/>
                  </a:lnTo>
                  <a:lnTo>
                    <a:pt x="15080" y="9931"/>
                  </a:lnTo>
                  <a:lnTo>
                    <a:pt x="15032" y="10090"/>
                  </a:lnTo>
                  <a:lnTo>
                    <a:pt x="14980" y="10246"/>
                  </a:lnTo>
                  <a:lnTo>
                    <a:pt x="14925" y="10400"/>
                  </a:lnTo>
                  <a:lnTo>
                    <a:pt x="14866" y="10554"/>
                  </a:lnTo>
                  <a:lnTo>
                    <a:pt x="14804" y="10705"/>
                  </a:lnTo>
                  <a:lnTo>
                    <a:pt x="14738" y="10854"/>
                  </a:lnTo>
                  <a:lnTo>
                    <a:pt x="14668" y="11002"/>
                  </a:lnTo>
                  <a:lnTo>
                    <a:pt x="14596" y="11148"/>
                  </a:lnTo>
                  <a:lnTo>
                    <a:pt x="14521" y="11292"/>
                  </a:lnTo>
                  <a:lnTo>
                    <a:pt x="14441" y="11434"/>
                  </a:lnTo>
                  <a:lnTo>
                    <a:pt x="14358" y="11574"/>
                  </a:lnTo>
                  <a:lnTo>
                    <a:pt x="14272" y="11712"/>
                  </a:lnTo>
                  <a:lnTo>
                    <a:pt x="14183" y="11848"/>
                  </a:lnTo>
                  <a:lnTo>
                    <a:pt x="14092" y="11981"/>
                  </a:lnTo>
                  <a:lnTo>
                    <a:pt x="13996" y="12113"/>
                  </a:lnTo>
                  <a:lnTo>
                    <a:pt x="13898" y="12241"/>
                  </a:lnTo>
                  <a:lnTo>
                    <a:pt x="13797" y="12369"/>
                  </a:lnTo>
                  <a:lnTo>
                    <a:pt x="13693" y="12493"/>
                  </a:lnTo>
                  <a:lnTo>
                    <a:pt x="13586" y="12615"/>
                  </a:lnTo>
                  <a:lnTo>
                    <a:pt x="13476" y="12735"/>
                  </a:lnTo>
                  <a:lnTo>
                    <a:pt x="13364" y="12852"/>
                  </a:lnTo>
                  <a:lnTo>
                    <a:pt x="13248" y="12967"/>
                  </a:lnTo>
                  <a:close/>
                  <a:moveTo>
                    <a:pt x="1073" y="8277"/>
                  </a:moveTo>
                  <a:lnTo>
                    <a:pt x="4248" y="8277"/>
                  </a:lnTo>
                  <a:lnTo>
                    <a:pt x="4253" y="8400"/>
                  </a:lnTo>
                  <a:lnTo>
                    <a:pt x="4258" y="8523"/>
                  </a:lnTo>
                  <a:lnTo>
                    <a:pt x="4265" y="8646"/>
                  </a:lnTo>
                  <a:lnTo>
                    <a:pt x="4273" y="8769"/>
                  </a:lnTo>
                  <a:lnTo>
                    <a:pt x="4282" y="8890"/>
                  </a:lnTo>
                  <a:lnTo>
                    <a:pt x="4294" y="9011"/>
                  </a:lnTo>
                  <a:lnTo>
                    <a:pt x="4306" y="9133"/>
                  </a:lnTo>
                  <a:lnTo>
                    <a:pt x="4319" y="9253"/>
                  </a:lnTo>
                  <a:lnTo>
                    <a:pt x="4335" y="9373"/>
                  </a:lnTo>
                  <a:lnTo>
                    <a:pt x="4351" y="9492"/>
                  </a:lnTo>
                  <a:lnTo>
                    <a:pt x="4370" y="9611"/>
                  </a:lnTo>
                  <a:lnTo>
                    <a:pt x="4388" y="9729"/>
                  </a:lnTo>
                  <a:lnTo>
                    <a:pt x="4410" y="9847"/>
                  </a:lnTo>
                  <a:lnTo>
                    <a:pt x="4431" y="9964"/>
                  </a:lnTo>
                  <a:lnTo>
                    <a:pt x="4455" y="10081"/>
                  </a:lnTo>
                  <a:lnTo>
                    <a:pt x="4479" y="10197"/>
                  </a:lnTo>
                  <a:lnTo>
                    <a:pt x="4505" y="10312"/>
                  </a:lnTo>
                  <a:lnTo>
                    <a:pt x="4533" y="10427"/>
                  </a:lnTo>
                  <a:lnTo>
                    <a:pt x="4560" y="10542"/>
                  </a:lnTo>
                  <a:lnTo>
                    <a:pt x="4590" y="10655"/>
                  </a:lnTo>
                  <a:lnTo>
                    <a:pt x="4622" y="10768"/>
                  </a:lnTo>
                  <a:lnTo>
                    <a:pt x="4654" y="10880"/>
                  </a:lnTo>
                  <a:lnTo>
                    <a:pt x="4688" y="10993"/>
                  </a:lnTo>
                  <a:lnTo>
                    <a:pt x="4723" y="11104"/>
                  </a:lnTo>
                  <a:lnTo>
                    <a:pt x="4758" y="11214"/>
                  </a:lnTo>
                  <a:lnTo>
                    <a:pt x="4795" y="11323"/>
                  </a:lnTo>
                  <a:lnTo>
                    <a:pt x="4834" y="11433"/>
                  </a:lnTo>
                  <a:lnTo>
                    <a:pt x="4874" y="11541"/>
                  </a:lnTo>
                  <a:lnTo>
                    <a:pt x="4915" y="11649"/>
                  </a:lnTo>
                  <a:lnTo>
                    <a:pt x="4958" y="11756"/>
                  </a:lnTo>
                  <a:lnTo>
                    <a:pt x="5001" y="11863"/>
                  </a:lnTo>
                  <a:lnTo>
                    <a:pt x="5045" y="11968"/>
                  </a:lnTo>
                  <a:lnTo>
                    <a:pt x="4982" y="11992"/>
                  </a:lnTo>
                  <a:lnTo>
                    <a:pt x="4920" y="12017"/>
                  </a:lnTo>
                  <a:lnTo>
                    <a:pt x="4857" y="12042"/>
                  </a:lnTo>
                  <a:lnTo>
                    <a:pt x="4795" y="12068"/>
                  </a:lnTo>
                  <a:lnTo>
                    <a:pt x="4734" y="12094"/>
                  </a:lnTo>
                  <a:lnTo>
                    <a:pt x="4672" y="12120"/>
                  </a:lnTo>
                  <a:lnTo>
                    <a:pt x="4611" y="12147"/>
                  </a:lnTo>
                  <a:lnTo>
                    <a:pt x="4550" y="12175"/>
                  </a:lnTo>
                  <a:lnTo>
                    <a:pt x="4490" y="12203"/>
                  </a:lnTo>
                  <a:lnTo>
                    <a:pt x="4429" y="12231"/>
                  </a:lnTo>
                  <a:lnTo>
                    <a:pt x="4370" y="12261"/>
                  </a:lnTo>
                  <a:lnTo>
                    <a:pt x="4309" y="12291"/>
                  </a:lnTo>
                  <a:lnTo>
                    <a:pt x="4191" y="12351"/>
                  </a:lnTo>
                  <a:lnTo>
                    <a:pt x="4073" y="12413"/>
                  </a:lnTo>
                  <a:lnTo>
                    <a:pt x="3956" y="12476"/>
                  </a:lnTo>
                  <a:lnTo>
                    <a:pt x="3841" y="12541"/>
                  </a:lnTo>
                  <a:lnTo>
                    <a:pt x="3726" y="12608"/>
                  </a:lnTo>
                  <a:lnTo>
                    <a:pt x="3613" y="12676"/>
                  </a:lnTo>
                  <a:lnTo>
                    <a:pt x="3501" y="12748"/>
                  </a:lnTo>
                  <a:lnTo>
                    <a:pt x="3389" y="12819"/>
                  </a:lnTo>
                  <a:lnTo>
                    <a:pt x="3280" y="12892"/>
                  </a:lnTo>
                  <a:lnTo>
                    <a:pt x="3171" y="12967"/>
                  </a:lnTo>
                  <a:lnTo>
                    <a:pt x="3056" y="12852"/>
                  </a:lnTo>
                  <a:lnTo>
                    <a:pt x="2943" y="12735"/>
                  </a:lnTo>
                  <a:lnTo>
                    <a:pt x="2833" y="12615"/>
                  </a:lnTo>
                  <a:lnTo>
                    <a:pt x="2727" y="12493"/>
                  </a:lnTo>
                  <a:lnTo>
                    <a:pt x="2623" y="12369"/>
                  </a:lnTo>
                  <a:lnTo>
                    <a:pt x="2521" y="12241"/>
                  </a:lnTo>
                  <a:lnTo>
                    <a:pt x="2423" y="12113"/>
                  </a:lnTo>
                  <a:lnTo>
                    <a:pt x="2328" y="11981"/>
                  </a:lnTo>
                  <a:lnTo>
                    <a:pt x="2236" y="11848"/>
                  </a:lnTo>
                  <a:lnTo>
                    <a:pt x="2147" y="11712"/>
                  </a:lnTo>
                  <a:lnTo>
                    <a:pt x="2062" y="11574"/>
                  </a:lnTo>
                  <a:lnTo>
                    <a:pt x="1978" y="11434"/>
                  </a:lnTo>
                  <a:lnTo>
                    <a:pt x="1899" y="11292"/>
                  </a:lnTo>
                  <a:lnTo>
                    <a:pt x="1824" y="11148"/>
                  </a:lnTo>
                  <a:lnTo>
                    <a:pt x="1751" y="11002"/>
                  </a:lnTo>
                  <a:lnTo>
                    <a:pt x="1682" y="10854"/>
                  </a:lnTo>
                  <a:lnTo>
                    <a:pt x="1615" y="10705"/>
                  </a:lnTo>
                  <a:lnTo>
                    <a:pt x="1554" y="10554"/>
                  </a:lnTo>
                  <a:lnTo>
                    <a:pt x="1494" y="10400"/>
                  </a:lnTo>
                  <a:lnTo>
                    <a:pt x="1440" y="10246"/>
                  </a:lnTo>
                  <a:lnTo>
                    <a:pt x="1387" y="10090"/>
                  </a:lnTo>
                  <a:lnTo>
                    <a:pt x="1340" y="9931"/>
                  </a:lnTo>
                  <a:lnTo>
                    <a:pt x="1296" y="9772"/>
                  </a:lnTo>
                  <a:lnTo>
                    <a:pt x="1255" y="9612"/>
                  </a:lnTo>
                  <a:lnTo>
                    <a:pt x="1219" y="9449"/>
                  </a:lnTo>
                  <a:lnTo>
                    <a:pt x="1186" y="9285"/>
                  </a:lnTo>
                  <a:lnTo>
                    <a:pt x="1158" y="9119"/>
                  </a:lnTo>
                  <a:lnTo>
                    <a:pt x="1132" y="8954"/>
                  </a:lnTo>
                  <a:lnTo>
                    <a:pt x="1111" y="8786"/>
                  </a:lnTo>
                  <a:lnTo>
                    <a:pt x="1095" y="8617"/>
                  </a:lnTo>
                  <a:lnTo>
                    <a:pt x="1082" y="8448"/>
                  </a:lnTo>
                  <a:lnTo>
                    <a:pt x="1073" y="8277"/>
                  </a:lnTo>
                  <a:close/>
                  <a:moveTo>
                    <a:pt x="2878" y="3381"/>
                  </a:moveTo>
                  <a:lnTo>
                    <a:pt x="2935" y="3423"/>
                  </a:lnTo>
                  <a:lnTo>
                    <a:pt x="2992" y="3466"/>
                  </a:lnTo>
                  <a:lnTo>
                    <a:pt x="3050" y="3507"/>
                  </a:lnTo>
                  <a:lnTo>
                    <a:pt x="3107" y="3549"/>
                  </a:lnTo>
                  <a:lnTo>
                    <a:pt x="3165" y="3590"/>
                  </a:lnTo>
                  <a:lnTo>
                    <a:pt x="3223" y="3630"/>
                  </a:lnTo>
                  <a:lnTo>
                    <a:pt x="3282" y="3670"/>
                  </a:lnTo>
                  <a:lnTo>
                    <a:pt x="3341" y="3710"/>
                  </a:lnTo>
                  <a:lnTo>
                    <a:pt x="3401" y="3749"/>
                  </a:lnTo>
                  <a:lnTo>
                    <a:pt x="3460" y="3789"/>
                  </a:lnTo>
                  <a:lnTo>
                    <a:pt x="3521" y="3827"/>
                  </a:lnTo>
                  <a:lnTo>
                    <a:pt x="3581" y="3865"/>
                  </a:lnTo>
                  <a:lnTo>
                    <a:pt x="3642" y="3902"/>
                  </a:lnTo>
                  <a:lnTo>
                    <a:pt x="3702" y="3939"/>
                  </a:lnTo>
                  <a:lnTo>
                    <a:pt x="3764" y="3975"/>
                  </a:lnTo>
                  <a:lnTo>
                    <a:pt x="3826" y="4011"/>
                  </a:lnTo>
                  <a:lnTo>
                    <a:pt x="3887" y="4046"/>
                  </a:lnTo>
                  <a:lnTo>
                    <a:pt x="3950" y="4081"/>
                  </a:lnTo>
                  <a:lnTo>
                    <a:pt x="4012" y="4116"/>
                  </a:lnTo>
                  <a:lnTo>
                    <a:pt x="4076" y="4150"/>
                  </a:lnTo>
                  <a:lnTo>
                    <a:pt x="4139" y="4183"/>
                  </a:lnTo>
                  <a:lnTo>
                    <a:pt x="4202" y="4216"/>
                  </a:lnTo>
                  <a:lnTo>
                    <a:pt x="4267" y="4249"/>
                  </a:lnTo>
                  <a:lnTo>
                    <a:pt x="4331" y="4281"/>
                  </a:lnTo>
                  <a:lnTo>
                    <a:pt x="4395" y="4312"/>
                  </a:lnTo>
                  <a:lnTo>
                    <a:pt x="4461" y="4343"/>
                  </a:lnTo>
                  <a:lnTo>
                    <a:pt x="4525" y="4374"/>
                  </a:lnTo>
                  <a:lnTo>
                    <a:pt x="4591" y="4403"/>
                  </a:lnTo>
                  <a:lnTo>
                    <a:pt x="4657" y="4432"/>
                  </a:lnTo>
                  <a:lnTo>
                    <a:pt x="4724" y="4461"/>
                  </a:lnTo>
                  <a:lnTo>
                    <a:pt x="4789" y="4489"/>
                  </a:lnTo>
                  <a:lnTo>
                    <a:pt x="4856" y="4517"/>
                  </a:lnTo>
                  <a:lnTo>
                    <a:pt x="4822" y="4611"/>
                  </a:lnTo>
                  <a:lnTo>
                    <a:pt x="4789" y="4706"/>
                  </a:lnTo>
                  <a:lnTo>
                    <a:pt x="4756" y="4801"/>
                  </a:lnTo>
                  <a:lnTo>
                    <a:pt x="4726" y="4897"/>
                  </a:lnTo>
                  <a:lnTo>
                    <a:pt x="4695" y="4993"/>
                  </a:lnTo>
                  <a:lnTo>
                    <a:pt x="4665" y="5090"/>
                  </a:lnTo>
                  <a:lnTo>
                    <a:pt x="4637" y="5188"/>
                  </a:lnTo>
                  <a:lnTo>
                    <a:pt x="4610" y="5285"/>
                  </a:lnTo>
                  <a:lnTo>
                    <a:pt x="4583" y="5383"/>
                  </a:lnTo>
                  <a:lnTo>
                    <a:pt x="4557" y="5482"/>
                  </a:lnTo>
                  <a:lnTo>
                    <a:pt x="4533" y="5582"/>
                  </a:lnTo>
                  <a:lnTo>
                    <a:pt x="4509" y="5681"/>
                  </a:lnTo>
                  <a:lnTo>
                    <a:pt x="4486" y="5781"/>
                  </a:lnTo>
                  <a:lnTo>
                    <a:pt x="4465" y="5881"/>
                  </a:lnTo>
                  <a:lnTo>
                    <a:pt x="4444" y="5982"/>
                  </a:lnTo>
                  <a:lnTo>
                    <a:pt x="4425" y="6084"/>
                  </a:lnTo>
                  <a:lnTo>
                    <a:pt x="4406" y="6186"/>
                  </a:lnTo>
                  <a:lnTo>
                    <a:pt x="4388" y="6288"/>
                  </a:lnTo>
                  <a:lnTo>
                    <a:pt x="4372" y="6391"/>
                  </a:lnTo>
                  <a:lnTo>
                    <a:pt x="4356" y="6494"/>
                  </a:lnTo>
                  <a:lnTo>
                    <a:pt x="4342" y="6598"/>
                  </a:lnTo>
                  <a:lnTo>
                    <a:pt x="4328" y="6701"/>
                  </a:lnTo>
                  <a:lnTo>
                    <a:pt x="4315" y="6805"/>
                  </a:lnTo>
                  <a:lnTo>
                    <a:pt x="4304" y="6911"/>
                  </a:lnTo>
                  <a:lnTo>
                    <a:pt x="4294" y="7015"/>
                  </a:lnTo>
                  <a:lnTo>
                    <a:pt x="4284" y="7120"/>
                  </a:lnTo>
                  <a:lnTo>
                    <a:pt x="4275" y="7226"/>
                  </a:lnTo>
                  <a:lnTo>
                    <a:pt x="4268" y="7332"/>
                  </a:lnTo>
                  <a:lnTo>
                    <a:pt x="4262" y="7439"/>
                  </a:lnTo>
                  <a:lnTo>
                    <a:pt x="4257" y="7545"/>
                  </a:lnTo>
                  <a:lnTo>
                    <a:pt x="4253" y="7652"/>
                  </a:lnTo>
                  <a:lnTo>
                    <a:pt x="4248" y="7759"/>
                  </a:lnTo>
                  <a:lnTo>
                    <a:pt x="1073" y="7759"/>
                  </a:lnTo>
                  <a:lnTo>
                    <a:pt x="1081" y="7602"/>
                  </a:lnTo>
                  <a:lnTo>
                    <a:pt x="1092" y="7446"/>
                  </a:lnTo>
                  <a:lnTo>
                    <a:pt x="1107" y="7291"/>
                  </a:lnTo>
                  <a:lnTo>
                    <a:pt x="1125" y="7137"/>
                  </a:lnTo>
                  <a:lnTo>
                    <a:pt x="1146" y="6984"/>
                  </a:lnTo>
                  <a:lnTo>
                    <a:pt x="1171" y="6832"/>
                  </a:lnTo>
                  <a:lnTo>
                    <a:pt x="1200" y="6681"/>
                  </a:lnTo>
                  <a:lnTo>
                    <a:pt x="1231" y="6532"/>
                  </a:lnTo>
                  <a:lnTo>
                    <a:pt x="1265" y="6383"/>
                  </a:lnTo>
                  <a:lnTo>
                    <a:pt x="1304" y="6236"/>
                  </a:lnTo>
                  <a:lnTo>
                    <a:pt x="1345" y="6090"/>
                  </a:lnTo>
                  <a:lnTo>
                    <a:pt x="1389" y="5945"/>
                  </a:lnTo>
                  <a:lnTo>
                    <a:pt x="1437" y="5802"/>
                  </a:lnTo>
                  <a:lnTo>
                    <a:pt x="1487" y="5660"/>
                  </a:lnTo>
                  <a:lnTo>
                    <a:pt x="1540" y="5519"/>
                  </a:lnTo>
                  <a:lnTo>
                    <a:pt x="1597" y="5380"/>
                  </a:lnTo>
                  <a:lnTo>
                    <a:pt x="1656" y="5243"/>
                  </a:lnTo>
                  <a:lnTo>
                    <a:pt x="1719" y="5106"/>
                  </a:lnTo>
                  <a:lnTo>
                    <a:pt x="1785" y="4972"/>
                  </a:lnTo>
                  <a:lnTo>
                    <a:pt x="1852" y="4839"/>
                  </a:lnTo>
                  <a:lnTo>
                    <a:pt x="1923" y="4708"/>
                  </a:lnTo>
                  <a:lnTo>
                    <a:pt x="1997" y="4578"/>
                  </a:lnTo>
                  <a:lnTo>
                    <a:pt x="2074" y="4450"/>
                  </a:lnTo>
                  <a:lnTo>
                    <a:pt x="2153" y="4324"/>
                  </a:lnTo>
                  <a:lnTo>
                    <a:pt x="2234" y="4199"/>
                  </a:lnTo>
                  <a:lnTo>
                    <a:pt x="2319" y="4076"/>
                  </a:lnTo>
                  <a:lnTo>
                    <a:pt x="2405" y="3956"/>
                  </a:lnTo>
                  <a:lnTo>
                    <a:pt x="2496" y="3837"/>
                  </a:lnTo>
                  <a:lnTo>
                    <a:pt x="2587" y="3719"/>
                  </a:lnTo>
                  <a:lnTo>
                    <a:pt x="2681" y="3605"/>
                  </a:lnTo>
                  <a:lnTo>
                    <a:pt x="2779" y="3492"/>
                  </a:lnTo>
                  <a:lnTo>
                    <a:pt x="2878" y="3381"/>
                  </a:lnTo>
                  <a:close/>
                  <a:moveTo>
                    <a:pt x="8474" y="7759"/>
                  </a:moveTo>
                  <a:lnTo>
                    <a:pt x="8474" y="5160"/>
                  </a:lnTo>
                  <a:lnTo>
                    <a:pt x="8559" y="5157"/>
                  </a:lnTo>
                  <a:lnTo>
                    <a:pt x="8644" y="5153"/>
                  </a:lnTo>
                  <a:lnTo>
                    <a:pt x="8728" y="5149"/>
                  </a:lnTo>
                  <a:lnTo>
                    <a:pt x="8812" y="5143"/>
                  </a:lnTo>
                  <a:lnTo>
                    <a:pt x="8896" y="5137"/>
                  </a:lnTo>
                  <a:lnTo>
                    <a:pt x="8980" y="5131"/>
                  </a:lnTo>
                  <a:lnTo>
                    <a:pt x="9063" y="5122"/>
                  </a:lnTo>
                  <a:lnTo>
                    <a:pt x="9146" y="5114"/>
                  </a:lnTo>
                  <a:lnTo>
                    <a:pt x="9230" y="5105"/>
                  </a:lnTo>
                  <a:lnTo>
                    <a:pt x="9313" y="5095"/>
                  </a:lnTo>
                  <a:lnTo>
                    <a:pt x="9395" y="5084"/>
                  </a:lnTo>
                  <a:lnTo>
                    <a:pt x="9477" y="5073"/>
                  </a:lnTo>
                  <a:lnTo>
                    <a:pt x="9559" y="5061"/>
                  </a:lnTo>
                  <a:lnTo>
                    <a:pt x="9641" y="5048"/>
                  </a:lnTo>
                  <a:lnTo>
                    <a:pt x="9723" y="5035"/>
                  </a:lnTo>
                  <a:lnTo>
                    <a:pt x="9804" y="5020"/>
                  </a:lnTo>
                  <a:lnTo>
                    <a:pt x="9885" y="5005"/>
                  </a:lnTo>
                  <a:lnTo>
                    <a:pt x="9965" y="4990"/>
                  </a:lnTo>
                  <a:lnTo>
                    <a:pt x="10046" y="4973"/>
                  </a:lnTo>
                  <a:lnTo>
                    <a:pt x="10126" y="4956"/>
                  </a:lnTo>
                  <a:lnTo>
                    <a:pt x="10206" y="4938"/>
                  </a:lnTo>
                  <a:lnTo>
                    <a:pt x="10287" y="4920"/>
                  </a:lnTo>
                  <a:lnTo>
                    <a:pt x="10366" y="4900"/>
                  </a:lnTo>
                  <a:lnTo>
                    <a:pt x="10445" y="4880"/>
                  </a:lnTo>
                  <a:lnTo>
                    <a:pt x="10524" y="4860"/>
                  </a:lnTo>
                  <a:lnTo>
                    <a:pt x="10602" y="4838"/>
                  </a:lnTo>
                  <a:lnTo>
                    <a:pt x="10681" y="4816"/>
                  </a:lnTo>
                  <a:lnTo>
                    <a:pt x="10759" y="4793"/>
                  </a:lnTo>
                  <a:lnTo>
                    <a:pt x="10836" y="4770"/>
                  </a:lnTo>
                  <a:lnTo>
                    <a:pt x="10914" y="4746"/>
                  </a:lnTo>
                  <a:lnTo>
                    <a:pt x="10990" y="4721"/>
                  </a:lnTo>
                  <a:lnTo>
                    <a:pt x="11066" y="4695"/>
                  </a:lnTo>
                  <a:lnTo>
                    <a:pt x="11099" y="4784"/>
                  </a:lnTo>
                  <a:lnTo>
                    <a:pt x="11130" y="4873"/>
                  </a:lnTo>
                  <a:lnTo>
                    <a:pt x="11161" y="4963"/>
                  </a:lnTo>
                  <a:lnTo>
                    <a:pt x="11191" y="5053"/>
                  </a:lnTo>
                  <a:lnTo>
                    <a:pt x="11219" y="5145"/>
                  </a:lnTo>
                  <a:lnTo>
                    <a:pt x="11247" y="5236"/>
                  </a:lnTo>
                  <a:lnTo>
                    <a:pt x="11274" y="5328"/>
                  </a:lnTo>
                  <a:lnTo>
                    <a:pt x="11299" y="5420"/>
                  </a:lnTo>
                  <a:lnTo>
                    <a:pt x="11325" y="5513"/>
                  </a:lnTo>
                  <a:lnTo>
                    <a:pt x="11349" y="5607"/>
                  </a:lnTo>
                  <a:lnTo>
                    <a:pt x="11372" y="5701"/>
                  </a:lnTo>
                  <a:lnTo>
                    <a:pt x="11395" y="5795"/>
                  </a:lnTo>
                  <a:lnTo>
                    <a:pt x="11415" y="5889"/>
                  </a:lnTo>
                  <a:lnTo>
                    <a:pt x="11436" y="5984"/>
                  </a:lnTo>
                  <a:lnTo>
                    <a:pt x="11455" y="6080"/>
                  </a:lnTo>
                  <a:lnTo>
                    <a:pt x="11474" y="6176"/>
                  </a:lnTo>
                  <a:lnTo>
                    <a:pt x="11491" y="6272"/>
                  </a:lnTo>
                  <a:lnTo>
                    <a:pt x="11509" y="6368"/>
                  </a:lnTo>
                  <a:lnTo>
                    <a:pt x="11524" y="6466"/>
                  </a:lnTo>
                  <a:lnTo>
                    <a:pt x="11538" y="6563"/>
                  </a:lnTo>
                  <a:lnTo>
                    <a:pt x="11553" y="6661"/>
                  </a:lnTo>
                  <a:lnTo>
                    <a:pt x="11565" y="6759"/>
                  </a:lnTo>
                  <a:lnTo>
                    <a:pt x="11577" y="6857"/>
                  </a:lnTo>
                  <a:lnTo>
                    <a:pt x="11589" y="6957"/>
                  </a:lnTo>
                  <a:lnTo>
                    <a:pt x="11598" y="7056"/>
                  </a:lnTo>
                  <a:lnTo>
                    <a:pt x="11607" y="7155"/>
                  </a:lnTo>
                  <a:lnTo>
                    <a:pt x="11615" y="7255"/>
                  </a:lnTo>
                  <a:lnTo>
                    <a:pt x="11623" y="7356"/>
                  </a:lnTo>
                  <a:lnTo>
                    <a:pt x="11629" y="7456"/>
                  </a:lnTo>
                  <a:lnTo>
                    <a:pt x="11634" y="7557"/>
                  </a:lnTo>
                  <a:lnTo>
                    <a:pt x="11638" y="7658"/>
                  </a:lnTo>
                  <a:lnTo>
                    <a:pt x="11641" y="7759"/>
                  </a:lnTo>
                  <a:lnTo>
                    <a:pt x="8474" y="7759"/>
                  </a:lnTo>
                  <a:close/>
                  <a:moveTo>
                    <a:pt x="10879" y="11791"/>
                  </a:moveTo>
                  <a:lnTo>
                    <a:pt x="10807" y="11768"/>
                  </a:lnTo>
                  <a:lnTo>
                    <a:pt x="10735" y="11747"/>
                  </a:lnTo>
                  <a:lnTo>
                    <a:pt x="10663" y="11726"/>
                  </a:lnTo>
                  <a:lnTo>
                    <a:pt x="10590" y="11706"/>
                  </a:lnTo>
                  <a:lnTo>
                    <a:pt x="10518" y="11686"/>
                  </a:lnTo>
                  <a:lnTo>
                    <a:pt x="10446" y="11667"/>
                  </a:lnTo>
                  <a:lnTo>
                    <a:pt x="10373" y="11649"/>
                  </a:lnTo>
                  <a:lnTo>
                    <a:pt x="10299" y="11631"/>
                  </a:lnTo>
                  <a:lnTo>
                    <a:pt x="10226" y="11614"/>
                  </a:lnTo>
                  <a:lnTo>
                    <a:pt x="10152" y="11598"/>
                  </a:lnTo>
                  <a:lnTo>
                    <a:pt x="10078" y="11582"/>
                  </a:lnTo>
                  <a:lnTo>
                    <a:pt x="10003" y="11566"/>
                  </a:lnTo>
                  <a:lnTo>
                    <a:pt x="9929" y="11552"/>
                  </a:lnTo>
                  <a:lnTo>
                    <a:pt x="9854" y="11538"/>
                  </a:lnTo>
                  <a:lnTo>
                    <a:pt x="9780" y="11525"/>
                  </a:lnTo>
                  <a:lnTo>
                    <a:pt x="9704" y="11512"/>
                  </a:lnTo>
                  <a:lnTo>
                    <a:pt x="9629" y="11500"/>
                  </a:lnTo>
                  <a:lnTo>
                    <a:pt x="9553" y="11488"/>
                  </a:lnTo>
                  <a:lnTo>
                    <a:pt x="9477" y="11477"/>
                  </a:lnTo>
                  <a:lnTo>
                    <a:pt x="9401" y="11467"/>
                  </a:lnTo>
                  <a:lnTo>
                    <a:pt x="9325" y="11458"/>
                  </a:lnTo>
                  <a:lnTo>
                    <a:pt x="9249" y="11449"/>
                  </a:lnTo>
                  <a:lnTo>
                    <a:pt x="9172" y="11440"/>
                  </a:lnTo>
                  <a:lnTo>
                    <a:pt x="9095" y="11433"/>
                  </a:lnTo>
                  <a:lnTo>
                    <a:pt x="9018" y="11425"/>
                  </a:lnTo>
                  <a:lnTo>
                    <a:pt x="8941" y="11419"/>
                  </a:lnTo>
                  <a:lnTo>
                    <a:pt x="8864" y="11413"/>
                  </a:lnTo>
                  <a:lnTo>
                    <a:pt x="8786" y="11408"/>
                  </a:lnTo>
                  <a:lnTo>
                    <a:pt x="8708" y="11404"/>
                  </a:lnTo>
                  <a:lnTo>
                    <a:pt x="8630" y="11400"/>
                  </a:lnTo>
                  <a:lnTo>
                    <a:pt x="8552" y="11396"/>
                  </a:lnTo>
                  <a:lnTo>
                    <a:pt x="8474" y="11394"/>
                  </a:lnTo>
                  <a:lnTo>
                    <a:pt x="8474" y="8277"/>
                  </a:lnTo>
                  <a:lnTo>
                    <a:pt x="11641" y="8277"/>
                  </a:lnTo>
                  <a:lnTo>
                    <a:pt x="11637" y="8394"/>
                  </a:lnTo>
                  <a:lnTo>
                    <a:pt x="11632" y="8512"/>
                  </a:lnTo>
                  <a:lnTo>
                    <a:pt x="11626" y="8628"/>
                  </a:lnTo>
                  <a:lnTo>
                    <a:pt x="11617" y="8746"/>
                  </a:lnTo>
                  <a:lnTo>
                    <a:pt x="11608" y="8862"/>
                  </a:lnTo>
                  <a:lnTo>
                    <a:pt x="11598" y="8977"/>
                  </a:lnTo>
                  <a:lnTo>
                    <a:pt x="11586" y="9092"/>
                  </a:lnTo>
                  <a:lnTo>
                    <a:pt x="11572" y="9207"/>
                  </a:lnTo>
                  <a:lnTo>
                    <a:pt x="11558" y="9321"/>
                  </a:lnTo>
                  <a:lnTo>
                    <a:pt x="11542" y="9435"/>
                  </a:lnTo>
                  <a:lnTo>
                    <a:pt x="11525" y="9548"/>
                  </a:lnTo>
                  <a:lnTo>
                    <a:pt x="11506" y="9661"/>
                  </a:lnTo>
                  <a:lnTo>
                    <a:pt x="11486" y="9773"/>
                  </a:lnTo>
                  <a:lnTo>
                    <a:pt x="11466" y="9884"/>
                  </a:lnTo>
                  <a:lnTo>
                    <a:pt x="11443" y="9995"/>
                  </a:lnTo>
                  <a:lnTo>
                    <a:pt x="11419" y="10106"/>
                  </a:lnTo>
                  <a:lnTo>
                    <a:pt x="11395" y="10216"/>
                  </a:lnTo>
                  <a:lnTo>
                    <a:pt x="11368" y="10325"/>
                  </a:lnTo>
                  <a:lnTo>
                    <a:pt x="11341" y="10434"/>
                  </a:lnTo>
                  <a:lnTo>
                    <a:pt x="11313" y="10543"/>
                  </a:lnTo>
                  <a:lnTo>
                    <a:pt x="11283" y="10650"/>
                  </a:lnTo>
                  <a:lnTo>
                    <a:pt x="11252" y="10757"/>
                  </a:lnTo>
                  <a:lnTo>
                    <a:pt x="11220" y="10863"/>
                  </a:lnTo>
                  <a:lnTo>
                    <a:pt x="11186" y="10969"/>
                  </a:lnTo>
                  <a:lnTo>
                    <a:pt x="11152" y="11074"/>
                  </a:lnTo>
                  <a:lnTo>
                    <a:pt x="11117" y="11178"/>
                  </a:lnTo>
                  <a:lnTo>
                    <a:pt x="11080" y="11282"/>
                  </a:lnTo>
                  <a:lnTo>
                    <a:pt x="11042" y="11386"/>
                  </a:lnTo>
                  <a:lnTo>
                    <a:pt x="11003" y="11488"/>
                  </a:lnTo>
                  <a:lnTo>
                    <a:pt x="10962" y="11590"/>
                  </a:lnTo>
                  <a:lnTo>
                    <a:pt x="10921" y="11690"/>
                  </a:lnTo>
                  <a:lnTo>
                    <a:pt x="10879" y="11791"/>
                  </a:lnTo>
                  <a:close/>
                  <a:moveTo>
                    <a:pt x="11162" y="12440"/>
                  </a:moveTo>
                  <a:lnTo>
                    <a:pt x="11275" y="12484"/>
                  </a:lnTo>
                  <a:lnTo>
                    <a:pt x="11387" y="12529"/>
                  </a:lnTo>
                  <a:lnTo>
                    <a:pt x="11497" y="12575"/>
                  </a:lnTo>
                  <a:lnTo>
                    <a:pt x="11606" y="12624"/>
                  </a:lnTo>
                  <a:lnTo>
                    <a:pt x="11715" y="12674"/>
                  </a:lnTo>
                  <a:lnTo>
                    <a:pt x="11824" y="12726"/>
                  </a:lnTo>
                  <a:lnTo>
                    <a:pt x="11930" y="12779"/>
                  </a:lnTo>
                  <a:lnTo>
                    <a:pt x="12036" y="12833"/>
                  </a:lnTo>
                  <a:lnTo>
                    <a:pt x="12142" y="12889"/>
                  </a:lnTo>
                  <a:lnTo>
                    <a:pt x="12245" y="12946"/>
                  </a:lnTo>
                  <a:lnTo>
                    <a:pt x="12349" y="13005"/>
                  </a:lnTo>
                  <a:lnTo>
                    <a:pt x="12451" y="13065"/>
                  </a:lnTo>
                  <a:lnTo>
                    <a:pt x="12552" y="13127"/>
                  </a:lnTo>
                  <a:lnTo>
                    <a:pt x="12653" y="13191"/>
                  </a:lnTo>
                  <a:lnTo>
                    <a:pt x="12751" y="13255"/>
                  </a:lnTo>
                  <a:lnTo>
                    <a:pt x="12850" y="13320"/>
                  </a:lnTo>
                  <a:lnTo>
                    <a:pt x="12759" y="13395"/>
                  </a:lnTo>
                  <a:lnTo>
                    <a:pt x="12666" y="13469"/>
                  </a:lnTo>
                  <a:lnTo>
                    <a:pt x="12573" y="13540"/>
                  </a:lnTo>
                  <a:lnTo>
                    <a:pt x="12477" y="13612"/>
                  </a:lnTo>
                  <a:lnTo>
                    <a:pt x="12381" y="13681"/>
                  </a:lnTo>
                  <a:lnTo>
                    <a:pt x="12283" y="13748"/>
                  </a:lnTo>
                  <a:lnTo>
                    <a:pt x="12185" y="13814"/>
                  </a:lnTo>
                  <a:lnTo>
                    <a:pt x="12084" y="13878"/>
                  </a:lnTo>
                  <a:lnTo>
                    <a:pt x="11984" y="13940"/>
                  </a:lnTo>
                  <a:lnTo>
                    <a:pt x="11881" y="14001"/>
                  </a:lnTo>
                  <a:lnTo>
                    <a:pt x="11779" y="14062"/>
                  </a:lnTo>
                  <a:lnTo>
                    <a:pt x="11674" y="14119"/>
                  </a:lnTo>
                  <a:lnTo>
                    <a:pt x="11568" y="14175"/>
                  </a:lnTo>
                  <a:lnTo>
                    <a:pt x="11461" y="14229"/>
                  </a:lnTo>
                  <a:lnTo>
                    <a:pt x="11354" y="14282"/>
                  </a:lnTo>
                  <a:lnTo>
                    <a:pt x="11245" y="14333"/>
                  </a:lnTo>
                  <a:lnTo>
                    <a:pt x="11136" y="14382"/>
                  </a:lnTo>
                  <a:lnTo>
                    <a:pt x="11025" y="14429"/>
                  </a:lnTo>
                  <a:lnTo>
                    <a:pt x="10914" y="14475"/>
                  </a:lnTo>
                  <a:lnTo>
                    <a:pt x="10802" y="14519"/>
                  </a:lnTo>
                  <a:lnTo>
                    <a:pt x="10688" y="14561"/>
                  </a:lnTo>
                  <a:lnTo>
                    <a:pt x="10573" y="14601"/>
                  </a:lnTo>
                  <a:lnTo>
                    <a:pt x="10458" y="14639"/>
                  </a:lnTo>
                  <a:lnTo>
                    <a:pt x="10342" y="14676"/>
                  </a:lnTo>
                  <a:lnTo>
                    <a:pt x="10225" y="14710"/>
                  </a:lnTo>
                  <a:lnTo>
                    <a:pt x="10107" y="14743"/>
                  </a:lnTo>
                  <a:lnTo>
                    <a:pt x="9989" y="14774"/>
                  </a:lnTo>
                  <a:lnTo>
                    <a:pt x="9869" y="14802"/>
                  </a:lnTo>
                  <a:lnTo>
                    <a:pt x="9749" y="14829"/>
                  </a:lnTo>
                  <a:lnTo>
                    <a:pt x="9628" y="14854"/>
                  </a:lnTo>
                  <a:lnTo>
                    <a:pt x="9507" y="14877"/>
                  </a:lnTo>
                  <a:lnTo>
                    <a:pt x="9383" y="14898"/>
                  </a:lnTo>
                  <a:lnTo>
                    <a:pt x="9450" y="14833"/>
                  </a:lnTo>
                  <a:lnTo>
                    <a:pt x="9516" y="14767"/>
                  </a:lnTo>
                  <a:lnTo>
                    <a:pt x="9582" y="14700"/>
                  </a:lnTo>
                  <a:lnTo>
                    <a:pt x="9645" y="14633"/>
                  </a:lnTo>
                  <a:lnTo>
                    <a:pt x="9710" y="14564"/>
                  </a:lnTo>
                  <a:lnTo>
                    <a:pt x="9772" y="14495"/>
                  </a:lnTo>
                  <a:lnTo>
                    <a:pt x="9835" y="14424"/>
                  </a:lnTo>
                  <a:lnTo>
                    <a:pt x="9897" y="14354"/>
                  </a:lnTo>
                  <a:lnTo>
                    <a:pt x="9958" y="14282"/>
                  </a:lnTo>
                  <a:lnTo>
                    <a:pt x="10019" y="14210"/>
                  </a:lnTo>
                  <a:lnTo>
                    <a:pt x="10078" y="14137"/>
                  </a:lnTo>
                  <a:lnTo>
                    <a:pt x="10138" y="14064"/>
                  </a:lnTo>
                  <a:lnTo>
                    <a:pt x="10195" y="13988"/>
                  </a:lnTo>
                  <a:lnTo>
                    <a:pt x="10254" y="13913"/>
                  </a:lnTo>
                  <a:lnTo>
                    <a:pt x="10310" y="13837"/>
                  </a:lnTo>
                  <a:lnTo>
                    <a:pt x="10367" y="13761"/>
                  </a:lnTo>
                  <a:lnTo>
                    <a:pt x="10422" y="13684"/>
                  </a:lnTo>
                  <a:lnTo>
                    <a:pt x="10476" y="13606"/>
                  </a:lnTo>
                  <a:lnTo>
                    <a:pt x="10531" y="13526"/>
                  </a:lnTo>
                  <a:lnTo>
                    <a:pt x="10584" y="13447"/>
                  </a:lnTo>
                  <a:lnTo>
                    <a:pt x="10636" y="13367"/>
                  </a:lnTo>
                  <a:lnTo>
                    <a:pt x="10688" y="13286"/>
                  </a:lnTo>
                  <a:lnTo>
                    <a:pt x="10739" y="13204"/>
                  </a:lnTo>
                  <a:lnTo>
                    <a:pt x="10789" y="13121"/>
                  </a:lnTo>
                  <a:lnTo>
                    <a:pt x="10839" y="13039"/>
                  </a:lnTo>
                  <a:lnTo>
                    <a:pt x="10888" y="12955"/>
                  </a:lnTo>
                  <a:lnTo>
                    <a:pt x="10935" y="12871"/>
                  </a:lnTo>
                  <a:lnTo>
                    <a:pt x="10982" y="12786"/>
                  </a:lnTo>
                  <a:lnTo>
                    <a:pt x="11028" y="12701"/>
                  </a:lnTo>
                  <a:lnTo>
                    <a:pt x="11074" y="12614"/>
                  </a:lnTo>
                  <a:lnTo>
                    <a:pt x="11119" y="12528"/>
                  </a:lnTo>
                  <a:lnTo>
                    <a:pt x="11162" y="12440"/>
                  </a:lnTo>
                  <a:close/>
                  <a:moveTo>
                    <a:pt x="8474" y="14988"/>
                  </a:moveTo>
                  <a:lnTo>
                    <a:pt x="8474" y="11911"/>
                  </a:lnTo>
                  <a:lnTo>
                    <a:pt x="8545" y="11913"/>
                  </a:lnTo>
                  <a:lnTo>
                    <a:pt x="8616" y="11916"/>
                  </a:lnTo>
                  <a:lnTo>
                    <a:pt x="8687" y="11920"/>
                  </a:lnTo>
                  <a:lnTo>
                    <a:pt x="8757" y="11924"/>
                  </a:lnTo>
                  <a:lnTo>
                    <a:pt x="8828" y="11929"/>
                  </a:lnTo>
                  <a:lnTo>
                    <a:pt x="8899" y="11934"/>
                  </a:lnTo>
                  <a:lnTo>
                    <a:pt x="8969" y="11940"/>
                  </a:lnTo>
                  <a:lnTo>
                    <a:pt x="9039" y="11946"/>
                  </a:lnTo>
                  <a:lnTo>
                    <a:pt x="9108" y="11953"/>
                  </a:lnTo>
                  <a:lnTo>
                    <a:pt x="9178" y="11960"/>
                  </a:lnTo>
                  <a:lnTo>
                    <a:pt x="9248" y="11968"/>
                  </a:lnTo>
                  <a:lnTo>
                    <a:pt x="9317" y="11976"/>
                  </a:lnTo>
                  <a:lnTo>
                    <a:pt x="9387" y="11986"/>
                  </a:lnTo>
                  <a:lnTo>
                    <a:pt x="9455" y="11995"/>
                  </a:lnTo>
                  <a:lnTo>
                    <a:pt x="9524" y="12005"/>
                  </a:lnTo>
                  <a:lnTo>
                    <a:pt x="9593" y="12016"/>
                  </a:lnTo>
                  <a:lnTo>
                    <a:pt x="9661" y="12027"/>
                  </a:lnTo>
                  <a:lnTo>
                    <a:pt x="9729" y="12039"/>
                  </a:lnTo>
                  <a:lnTo>
                    <a:pt x="9797" y="12051"/>
                  </a:lnTo>
                  <a:lnTo>
                    <a:pt x="9865" y="12064"/>
                  </a:lnTo>
                  <a:lnTo>
                    <a:pt x="9932" y="12077"/>
                  </a:lnTo>
                  <a:lnTo>
                    <a:pt x="10000" y="12091"/>
                  </a:lnTo>
                  <a:lnTo>
                    <a:pt x="10067" y="12106"/>
                  </a:lnTo>
                  <a:lnTo>
                    <a:pt x="10134" y="12121"/>
                  </a:lnTo>
                  <a:lnTo>
                    <a:pt x="10200" y="12136"/>
                  </a:lnTo>
                  <a:lnTo>
                    <a:pt x="10267" y="12153"/>
                  </a:lnTo>
                  <a:lnTo>
                    <a:pt x="10334" y="12169"/>
                  </a:lnTo>
                  <a:lnTo>
                    <a:pt x="10399" y="12187"/>
                  </a:lnTo>
                  <a:lnTo>
                    <a:pt x="10465" y="12204"/>
                  </a:lnTo>
                  <a:lnTo>
                    <a:pt x="10531" y="12223"/>
                  </a:lnTo>
                  <a:lnTo>
                    <a:pt x="10596" y="12242"/>
                  </a:lnTo>
                  <a:lnTo>
                    <a:pt x="10661" y="12262"/>
                  </a:lnTo>
                  <a:lnTo>
                    <a:pt x="10610" y="12363"/>
                  </a:lnTo>
                  <a:lnTo>
                    <a:pt x="10557" y="12462"/>
                  </a:lnTo>
                  <a:lnTo>
                    <a:pt x="10504" y="12561"/>
                  </a:lnTo>
                  <a:lnTo>
                    <a:pt x="10450" y="12659"/>
                  </a:lnTo>
                  <a:lnTo>
                    <a:pt x="10393" y="12757"/>
                  </a:lnTo>
                  <a:lnTo>
                    <a:pt x="10337" y="12853"/>
                  </a:lnTo>
                  <a:lnTo>
                    <a:pt x="10279" y="12948"/>
                  </a:lnTo>
                  <a:lnTo>
                    <a:pt x="10220" y="13042"/>
                  </a:lnTo>
                  <a:lnTo>
                    <a:pt x="10159" y="13135"/>
                  </a:lnTo>
                  <a:lnTo>
                    <a:pt x="10099" y="13228"/>
                  </a:lnTo>
                  <a:lnTo>
                    <a:pt x="10036" y="13319"/>
                  </a:lnTo>
                  <a:lnTo>
                    <a:pt x="9972" y="13410"/>
                  </a:lnTo>
                  <a:lnTo>
                    <a:pt x="9909" y="13499"/>
                  </a:lnTo>
                  <a:lnTo>
                    <a:pt x="9843" y="13588"/>
                  </a:lnTo>
                  <a:lnTo>
                    <a:pt x="9776" y="13675"/>
                  </a:lnTo>
                  <a:lnTo>
                    <a:pt x="9710" y="13761"/>
                  </a:lnTo>
                  <a:lnTo>
                    <a:pt x="9641" y="13846"/>
                  </a:lnTo>
                  <a:lnTo>
                    <a:pt x="9571" y="13930"/>
                  </a:lnTo>
                  <a:lnTo>
                    <a:pt x="9501" y="14012"/>
                  </a:lnTo>
                  <a:lnTo>
                    <a:pt x="9430" y="14095"/>
                  </a:lnTo>
                  <a:lnTo>
                    <a:pt x="9358" y="14175"/>
                  </a:lnTo>
                  <a:lnTo>
                    <a:pt x="9284" y="14255"/>
                  </a:lnTo>
                  <a:lnTo>
                    <a:pt x="9210" y="14333"/>
                  </a:lnTo>
                  <a:lnTo>
                    <a:pt x="9135" y="14410"/>
                  </a:lnTo>
                  <a:lnTo>
                    <a:pt x="9059" y="14487"/>
                  </a:lnTo>
                  <a:lnTo>
                    <a:pt x="8982" y="14562"/>
                  </a:lnTo>
                  <a:lnTo>
                    <a:pt x="8904" y="14636"/>
                  </a:lnTo>
                  <a:lnTo>
                    <a:pt x="8825" y="14708"/>
                  </a:lnTo>
                  <a:lnTo>
                    <a:pt x="8746" y="14779"/>
                  </a:lnTo>
                  <a:lnTo>
                    <a:pt x="8666" y="14850"/>
                  </a:lnTo>
                  <a:lnTo>
                    <a:pt x="8584" y="14918"/>
                  </a:lnTo>
                  <a:lnTo>
                    <a:pt x="8502" y="14987"/>
                  </a:lnTo>
                  <a:lnTo>
                    <a:pt x="8474" y="14988"/>
                  </a:lnTo>
                  <a:close/>
                  <a:moveTo>
                    <a:pt x="7036" y="14898"/>
                  </a:moveTo>
                  <a:lnTo>
                    <a:pt x="6913" y="14877"/>
                  </a:lnTo>
                  <a:lnTo>
                    <a:pt x="6791" y="14854"/>
                  </a:lnTo>
                  <a:lnTo>
                    <a:pt x="6670" y="14829"/>
                  </a:lnTo>
                  <a:lnTo>
                    <a:pt x="6550" y="14802"/>
                  </a:lnTo>
                  <a:lnTo>
                    <a:pt x="6431" y="14774"/>
                  </a:lnTo>
                  <a:lnTo>
                    <a:pt x="6312" y="14743"/>
                  </a:lnTo>
                  <a:lnTo>
                    <a:pt x="6194" y="14710"/>
                  </a:lnTo>
                  <a:lnTo>
                    <a:pt x="6077" y="14676"/>
                  </a:lnTo>
                  <a:lnTo>
                    <a:pt x="5961" y="14639"/>
                  </a:lnTo>
                  <a:lnTo>
                    <a:pt x="5846" y="14601"/>
                  </a:lnTo>
                  <a:lnTo>
                    <a:pt x="5731" y="14561"/>
                  </a:lnTo>
                  <a:lnTo>
                    <a:pt x="5618" y="14519"/>
                  </a:lnTo>
                  <a:lnTo>
                    <a:pt x="5505" y="14475"/>
                  </a:lnTo>
                  <a:lnTo>
                    <a:pt x="5395" y="14429"/>
                  </a:lnTo>
                  <a:lnTo>
                    <a:pt x="5284" y="14382"/>
                  </a:lnTo>
                  <a:lnTo>
                    <a:pt x="5174" y="14333"/>
                  </a:lnTo>
                  <a:lnTo>
                    <a:pt x="5065" y="14282"/>
                  </a:lnTo>
                  <a:lnTo>
                    <a:pt x="4958" y="14229"/>
                  </a:lnTo>
                  <a:lnTo>
                    <a:pt x="4851" y="14175"/>
                  </a:lnTo>
                  <a:lnTo>
                    <a:pt x="4746" y="14119"/>
                  </a:lnTo>
                  <a:lnTo>
                    <a:pt x="4641" y="14062"/>
                  </a:lnTo>
                  <a:lnTo>
                    <a:pt x="4538" y="14001"/>
                  </a:lnTo>
                  <a:lnTo>
                    <a:pt x="4436" y="13940"/>
                  </a:lnTo>
                  <a:lnTo>
                    <a:pt x="4335" y="13878"/>
                  </a:lnTo>
                  <a:lnTo>
                    <a:pt x="4235" y="13814"/>
                  </a:lnTo>
                  <a:lnTo>
                    <a:pt x="4137" y="13748"/>
                  </a:lnTo>
                  <a:lnTo>
                    <a:pt x="4038" y="13681"/>
                  </a:lnTo>
                  <a:lnTo>
                    <a:pt x="3943" y="13612"/>
                  </a:lnTo>
                  <a:lnTo>
                    <a:pt x="3847" y="13540"/>
                  </a:lnTo>
                  <a:lnTo>
                    <a:pt x="3753" y="13469"/>
                  </a:lnTo>
                  <a:lnTo>
                    <a:pt x="3660" y="13395"/>
                  </a:lnTo>
                  <a:lnTo>
                    <a:pt x="3569" y="13320"/>
                  </a:lnTo>
                  <a:lnTo>
                    <a:pt x="3668" y="13255"/>
                  </a:lnTo>
                  <a:lnTo>
                    <a:pt x="3767" y="13191"/>
                  </a:lnTo>
                  <a:lnTo>
                    <a:pt x="3867" y="13127"/>
                  </a:lnTo>
                  <a:lnTo>
                    <a:pt x="3968" y="13065"/>
                  </a:lnTo>
                  <a:lnTo>
                    <a:pt x="4071" y="13005"/>
                  </a:lnTo>
                  <a:lnTo>
                    <a:pt x="4174" y="12946"/>
                  </a:lnTo>
                  <a:lnTo>
                    <a:pt x="4278" y="12889"/>
                  </a:lnTo>
                  <a:lnTo>
                    <a:pt x="4383" y="12833"/>
                  </a:lnTo>
                  <a:lnTo>
                    <a:pt x="4489" y="12779"/>
                  </a:lnTo>
                  <a:lnTo>
                    <a:pt x="4596" y="12726"/>
                  </a:lnTo>
                  <a:lnTo>
                    <a:pt x="4704" y="12674"/>
                  </a:lnTo>
                  <a:lnTo>
                    <a:pt x="4813" y="12624"/>
                  </a:lnTo>
                  <a:lnTo>
                    <a:pt x="4923" y="12575"/>
                  </a:lnTo>
                  <a:lnTo>
                    <a:pt x="5033" y="12529"/>
                  </a:lnTo>
                  <a:lnTo>
                    <a:pt x="5144" y="12484"/>
                  </a:lnTo>
                  <a:lnTo>
                    <a:pt x="5257" y="12440"/>
                  </a:lnTo>
                  <a:lnTo>
                    <a:pt x="5301" y="12528"/>
                  </a:lnTo>
                  <a:lnTo>
                    <a:pt x="5345" y="12614"/>
                  </a:lnTo>
                  <a:lnTo>
                    <a:pt x="5391" y="12701"/>
                  </a:lnTo>
                  <a:lnTo>
                    <a:pt x="5437" y="12786"/>
                  </a:lnTo>
                  <a:lnTo>
                    <a:pt x="5484" y="12871"/>
                  </a:lnTo>
                  <a:lnTo>
                    <a:pt x="5532" y="12955"/>
                  </a:lnTo>
                  <a:lnTo>
                    <a:pt x="5580" y="13039"/>
                  </a:lnTo>
                  <a:lnTo>
                    <a:pt x="5630" y="13121"/>
                  </a:lnTo>
                  <a:lnTo>
                    <a:pt x="5680" y="13204"/>
                  </a:lnTo>
                  <a:lnTo>
                    <a:pt x="5731" y="13286"/>
                  </a:lnTo>
                  <a:lnTo>
                    <a:pt x="5783" y="13367"/>
                  </a:lnTo>
                  <a:lnTo>
                    <a:pt x="5835" y="13447"/>
                  </a:lnTo>
                  <a:lnTo>
                    <a:pt x="5888" y="13526"/>
                  </a:lnTo>
                  <a:lnTo>
                    <a:pt x="5943" y="13606"/>
                  </a:lnTo>
                  <a:lnTo>
                    <a:pt x="5997" y="13684"/>
                  </a:lnTo>
                  <a:lnTo>
                    <a:pt x="6052" y="13761"/>
                  </a:lnTo>
                  <a:lnTo>
                    <a:pt x="6109" y="13837"/>
                  </a:lnTo>
                  <a:lnTo>
                    <a:pt x="6166" y="13913"/>
                  </a:lnTo>
                  <a:lnTo>
                    <a:pt x="6224" y="13988"/>
                  </a:lnTo>
                  <a:lnTo>
                    <a:pt x="6282" y="14064"/>
                  </a:lnTo>
                  <a:lnTo>
                    <a:pt x="6341" y="14137"/>
                  </a:lnTo>
                  <a:lnTo>
                    <a:pt x="6400" y="14210"/>
                  </a:lnTo>
                  <a:lnTo>
                    <a:pt x="6461" y="14282"/>
                  </a:lnTo>
                  <a:lnTo>
                    <a:pt x="6522" y="14354"/>
                  </a:lnTo>
                  <a:lnTo>
                    <a:pt x="6584" y="14424"/>
                  </a:lnTo>
                  <a:lnTo>
                    <a:pt x="6647" y="14495"/>
                  </a:lnTo>
                  <a:lnTo>
                    <a:pt x="6710" y="14564"/>
                  </a:lnTo>
                  <a:lnTo>
                    <a:pt x="6774" y="14633"/>
                  </a:lnTo>
                  <a:lnTo>
                    <a:pt x="6839" y="14700"/>
                  </a:lnTo>
                  <a:lnTo>
                    <a:pt x="6903" y="14767"/>
                  </a:lnTo>
                  <a:lnTo>
                    <a:pt x="6969" y="14833"/>
                  </a:lnTo>
                  <a:lnTo>
                    <a:pt x="7036" y="14898"/>
                  </a:lnTo>
                  <a:close/>
                  <a:moveTo>
                    <a:pt x="7945" y="8277"/>
                  </a:moveTo>
                  <a:lnTo>
                    <a:pt x="7945" y="11394"/>
                  </a:lnTo>
                  <a:lnTo>
                    <a:pt x="7867" y="11396"/>
                  </a:lnTo>
                  <a:lnTo>
                    <a:pt x="7789" y="11400"/>
                  </a:lnTo>
                  <a:lnTo>
                    <a:pt x="7711" y="11404"/>
                  </a:lnTo>
                  <a:lnTo>
                    <a:pt x="7633" y="11408"/>
                  </a:lnTo>
                  <a:lnTo>
                    <a:pt x="7555" y="11413"/>
                  </a:lnTo>
                  <a:lnTo>
                    <a:pt x="7478" y="11419"/>
                  </a:lnTo>
                  <a:lnTo>
                    <a:pt x="7401" y="11425"/>
                  </a:lnTo>
                  <a:lnTo>
                    <a:pt x="7324" y="11433"/>
                  </a:lnTo>
                  <a:lnTo>
                    <a:pt x="7247" y="11440"/>
                  </a:lnTo>
                  <a:lnTo>
                    <a:pt x="7170" y="11449"/>
                  </a:lnTo>
                  <a:lnTo>
                    <a:pt x="7094" y="11458"/>
                  </a:lnTo>
                  <a:lnTo>
                    <a:pt x="7018" y="11467"/>
                  </a:lnTo>
                  <a:lnTo>
                    <a:pt x="6942" y="11477"/>
                  </a:lnTo>
                  <a:lnTo>
                    <a:pt x="6866" y="11488"/>
                  </a:lnTo>
                  <a:lnTo>
                    <a:pt x="6790" y="11500"/>
                  </a:lnTo>
                  <a:lnTo>
                    <a:pt x="6715" y="11512"/>
                  </a:lnTo>
                  <a:lnTo>
                    <a:pt x="6640" y="11525"/>
                  </a:lnTo>
                  <a:lnTo>
                    <a:pt x="6565" y="11538"/>
                  </a:lnTo>
                  <a:lnTo>
                    <a:pt x="6491" y="11552"/>
                  </a:lnTo>
                  <a:lnTo>
                    <a:pt x="6416" y="11566"/>
                  </a:lnTo>
                  <a:lnTo>
                    <a:pt x="6342" y="11582"/>
                  </a:lnTo>
                  <a:lnTo>
                    <a:pt x="6268" y="11598"/>
                  </a:lnTo>
                  <a:lnTo>
                    <a:pt x="6194" y="11614"/>
                  </a:lnTo>
                  <a:lnTo>
                    <a:pt x="6120" y="11631"/>
                  </a:lnTo>
                  <a:lnTo>
                    <a:pt x="6047" y="11649"/>
                  </a:lnTo>
                  <a:lnTo>
                    <a:pt x="5973" y="11667"/>
                  </a:lnTo>
                  <a:lnTo>
                    <a:pt x="5901" y="11686"/>
                  </a:lnTo>
                  <a:lnTo>
                    <a:pt x="5829" y="11706"/>
                  </a:lnTo>
                  <a:lnTo>
                    <a:pt x="5756" y="11726"/>
                  </a:lnTo>
                  <a:lnTo>
                    <a:pt x="5684" y="11747"/>
                  </a:lnTo>
                  <a:lnTo>
                    <a:pt x="5612" y="11768"/>
                  </a:lnTo>
                  <a:lnTo>
                    <a:pt x="5540" y="11791"/>
                  </a:lnTo>
                  <a:lnTo>
                    <a:pt x="5498" y="11690"/>
                  </a:lnTo>
                  <a:lnTo>
                    <a:pt x="5457" y="11590"/>
                  </a:lnTo>
                  <a:lnTo>
                    <a:pt x="5417" y="11488"/>
                  </a:lnTo>
                  <a:lnTo>
                    <a:pt x="5377" y="11386"/>
                  </a:lnTo>
                  <a:lnTo>
                    <a:pt x="5339" y="11282"/>
                  </a:lnTo>
                  <a:lnTo>
                    <a:pt x="5303" y="11178"/>
                  </a:lnTo>
                  <a:lnTo>
                    <a:pt x="5267" y="11074"/>
                  </a:lnTo>
                  <a:lnTo>
                    <a:pt x="5233" y="10969"/>
                  </a:lnTo>
                  <a:lnTo>
                    <a:pt x="5200" y="10863"/>
                  </a:lnTo>
                  <a:lnTo>
                    <a:pt x="5167" y="10757"/>
                  </a:lnTo>
                  <a:lnTo>
                    <a:pt x="5136" y="10650"/>
                  </a:lnTo>
                  <a:lnTo>
                    <a:pt x="5106" y="10543"/>
                  </a:lnTo>
                  <a:lnTo>
                    <a:pt x="5079" y="10434"/>
                  </a:lnTo>
                  <a:lnTo>
                    <a:pt x="5051" y="10325"/>
                  </a:lnTo>
                  <a:lnTo>
                    <a:pt x="5025" y="10216"/>
                  </a:lnTo>
                  <a:lnTo>
                    <a:pt x="5000" y="10106"/>
                  </a:lnTo>
                  <a:lnTo>
                    <a:pt x="4976" y="9995"/>
                  </a:lnTo>
                  <a:lnTo>
                    <a:pt x="4954" y="9884"/>
                  </a:lnTo>
                  <a:lnTo>
                    <a:pt x="4933" y="9773"/>
                  </a:lnTo>
                  <a:lnTo>
                    <a:pt x="4913" y="9661"/>
                  </a:lnTo>
                  <a:lnTo>
                    <a:pt x="4895" y="9548"/>
                  </a:lnTo>
                  <a:lnTo>
                    <a:pt x="4877" y="9435"/>
                  </a:lnTo>
                  <a:lnTo>
                    <a:pt x="4861" y="9321"/>
                  </a:lnTo>
                  <a:lnTo>
                    <a:pt x="4847" y="9207"/>
                  </a:lnTo>
                  <a:lnTo>
                    <a:pt x="4833" y="9092"/>
                  </a:lnTo>
                  <a:lnTo>
                    <a:pt x="4822" y="8977"/>
                  </a:lnTo>
                  <a:lnTo>
                    <a:pt x="4811" y="8862"/>
                  </a:lnTo>
                  <a:lnTo>
                    <a:pt x="4802" y="8746"/>
                  </a:lnTo>
                  <a:lnTo>
                    <a:pt x="4794" y="8628"/>
                  </a:lnTo>
                  <a:lnTo>
                    <a:pt x="4787" y="8512"/>
                  </a:lnTo>
                  <a:lnTo>
                    <a:pt x="4782" y="8394"/>
                  </a:lnTo>
                  <a:lnTo>
                    <a:pt x="4779" y="8277"/>
                  </a:lnTo>
                  <a:lnTo>
                    <a:pt x="7945" y="8277"/>
                  </a:lnTo>
                  <a:close/>
                  <a:moveTo>
                    <a:pt x="5353" y="4695"/>
                  </a:moveTo>
                  <a:lnTo>
                    <a:pt x="5430" y="4721"/>
                  </a:lnTo>
                  <a:lnTo>
                    <a:pt x="5507" y="4746"/>
                  </a:lnTo>
                  <a:lnTo>
                    <a:pt x="5583" y="4770"/>
                  </a:lnTo>
                  <a:lnTo>
                    <a:pt x="5661" y="4793"/>
                  </a:lnTo>
                  <a:lnTo>
                    <a:pt x="5739" y="4816"/>
                  </a:lnTo>
                  <a:lnTo>
                    <a:pt x="5817" y="4838"/>
                  </a:lnTo>
                  <a:lnTo>
                    <a:pt x="5896" y="4860"/>
                  </a:lnTo>
                  <a:lnTo>
                    <a:pt x="5974" y="4880"/>
                  </a:lnTo>
                  <a:lnTo>
                    <a:pt x="6053" y="4900"/>
                  </a:lnTo>
                  <a:lnTo>
                    <a:pt x="6134" y="4920"/>
                  </a:lnTo>
                  <a:lnTo>
                    <a:pt x="6213" y="4938"/>
                  </a:lnTo>
                  <a:lnTo>
                    <a:pt x="6293" y="4956"/>
                  </a:lnTo>
                  <a:lnTo>
                    <a:pt x="6373" y="4973"/>
                  </a:lnTo>
                  <a:lnTo>
                    <a:pt x="6454" y="4990"/>
                  </a:lnTo>
                  <a:lnTo>
                    <a:pt x="6535" y="5005"/>
                  </a:lnTo>
                  <a:lnTo>
                    <a:pt x="6615" y="5020"/>
                  </a:lnTo>
                  <a:lnTo>
                    <a:pt x="6697" y="5035"/>
                  </a:lnTo>
                  <a:lnTo>
                    <a:pt x="6778" y="5048"/>
                  </a:lnTo>
                  <a:lnTo>
                    <a:pt x="6860" y="5061"/>
                  </a:lnTo>
                  <a:lnTo>
                    <a:pt x="6942" y="5073"/>
                  </a:lnTo>
                  <a:lnTo>
                    <a:pt x="7024" y="5084"/>
                  </a:lnTo>
                  <a:lnTo>
                    <a:pt x="7106" y="5095"/>
                  </a:lnTo>
                  <a:lnTo>
                    <a:pt x="7189" y="5105"/>
                  </a:lnTo>
                  <a:lnTo>
                    <a:pt x="7273" y="5114"/>
                  </a:lnTo>
                  <a:lnTo>
                    <a:pt x="7356" y="5122"/>
                  </a:lnTo>
                  <a:lnTo>
                    <a:pt x="7439" y="5131"/>
                  </a:lnTo>
                  <a:lnTo>
                    <a:pt x="7523" y="5137"/>
                  </a:lnTo>
                  <a:lnTo>
                    <a:pt x="7607" y="5143"/>
                  </a:lnTo>
                  <a:lnTo>
                    <a:pt x="7691" y="5149"/>
                  </a:lnTo>
                  <a:lnTo>
                    <a:pt x="7775" y="5153"/>
                  </a:lnTo>
                  <a:lnTo>
                    <a:pt x="7860" y="5157"/>
                  </a:lnTo>
                  <a:lnTo>
                    <a:pt x="7945" y="5160"/>
                  </a:lnTo>
                  <a:lnTo>
                    <a:pt x="7945" y="7759"/>
                  </a:lnTo>
                  <a:lnTo>
                    <a:pt x="4779" y="7759"/>
                  </a:lnTo>
                  <a:lnTo>
                    <a:pt x="4782" y="7658"/>
                  </a:lnTo>
                  <a:lnTo>
                    <a:pt x="4786" y="7557"/>
                  </a:lnTo>
                  <a:lnTo>
                    <a:pt x="4791" y="7456"/>
                  </a:lnTo>
                  <a:lnTo>
                    <a:pt x="4797" y="7356"/>
                  </a:lnTo>
                  <a:lnTo>
                    <a:pt x="4805" y="7255"/>
                  </a:lnTo>
                  <a:lnTo>
                    <a:pt x="4812" y="7155"/>
                  </a:lnTo>
                  <a:lnTo>
                    <a:pt x="4821" y="7056"/>
                  </a:lnTo>
                  <a:lnTo>
                    <a:pt x="4831" y="6957"/>
                  </a:lnTo>
                  <a:lnTo>
                    <a:pt x="4843" y="6857"/>
                  </a:lnTo>
                  <a:lnTo>
                    <a:pt x="4854" y="6759"/>
                  </a:lnTo>
                  <a:lnTo>
                    <a:pt x="4867" y="6661"/>
                  </a:lnTo>
                  <a:lnTo>
                    <a:pt x="4881" y="6563"/>
                  </a:lnTo>
                  <a:lnTo>
                    <a:pt x="4896" y="6466"/>
                  </a:lnTo>
                  <a:lnTo>
                    <a:pt x="4911" y="6368"/>
                  </a:lnTo>
                  <a:lnTo>
                    <a:pt x="4928" y="6272"/>
                  </a:lnTo>
                  <a:lnTo>
                    <a:pt x="4945" y="6176"/>
                  </a:lnTo>
                  <a:lnTo>
                    <a:pt x="4964" y="6080"/>
                  </a:lnTo>
                  <a:lnTo>
                    <a:pt x="4983" y="5984"/>
                  </a:lnTo>
                  <a:lnTo>
                    <a:pt x="5004" y="5889"/>
                  </a:lnTo>
                  <a:lnTo>
                    <a:pt x="5025" y="5795"/>
                  </a:lnTo>
                  <a:lnTo>
                    <a:pt x="5048" y="5701"/>
                  </a:lnTo>
                  <a:lnTo>
                    <a:pt x="5070" y="5607"/>
                  </a:lnTo>
                  <a:lnTo>
                    <a:pt x="5095" y="5513"/>
                  </a:lnTo>
                  <a:lnTo>
                    <a:pt x="5120" y="5420"/>
                  </a:lnTo>
                  <a:lnTo>
                    <a:pt x="5145" y="5328"/>
                  </a:lnTo>
                  <a:lnTo>
                    <a:pt x="5172" y="5236"/>
                  </a:lnTo>
                  <a:lnTo>
                    <a:pt x="5201" y="5145"/>
                  </a:lnTo>
                  <a:lnTo>
                    <a:pt x="5228" y="5053"/>
                  </a:lnTo>
                  <a:lnTo>
                    <a:pt x="5258" y="4963"/>
                  </a:lnTo>
                  <a:lnTo>
                    <a:pt x="5289" y="4873"/>
                  </a:lnTo>
                  <a:lnTo>
                    <a:pt x="5321" y="4784"/>
                  </a:lnTo>
                  <a:lnTo>
                    <a:pt x="5353" y="4695"/>
                  </a:lnTo>
                  <a:close/>
                  <a:moveTo>
                    <a:pt x="5056" y="4040"/>
                  </a:moveTo>
                  <a:lnTo>
                    <a:pt x="4994" y="4015"/>
                  </a:lnTo>
                  <a:lnTo>
                    <a:pt x="4934" y="3989"/>
                  </a:lnTo>
                  <a:lnTo>
                    <a:pt x="4873" y="3963"/>
                  </a:lnTo>
                  <a:lnTo>
                    <a:pt x="4813" y="3936"/>
                  </a:lnTo>
                  <a:lnTo>
                    <a:pt x="4753" y="3909"/>
                  </a:lnTo>
                  <a:lnTo>
                    <a:pt x="4693" y="3882"/>
                  </a:lnTo>
                  <a:lnTo>
                    <a:pt x="4633" y="3854"/>
                  </a:lnTo>
                  <a:lnTo>
                    <a:pt x="4575" y="3825"/>
                  </a:lnTo>
                  <a:lnTo>
                    <a:pt x="4515" y="3796"/>
                  </a:lnTo>
                  <a:lnTo>
                    <a:pt x="4457" y="3766"/>
                  </a:lnTo>
                  <a:lnTo>
                    <a:pt x="4398" y="3736"/>
                  </a:lnTo>
                  <a:lnTo>
                    <a:pt x="4341" y="3705"/>
                  </a:lnTo>
                  <a:lnTo>
                    <a:pt x="4282" y="3674"/>
                  </a:lnTo>
                  <a:lnTo>
                    <a:pt x="4225" y="3643"/>
                  </a:lnTo>
                  <a:lnTo>
                    <a:pt x="4168" y="3611"/>
                  </a:lnTo>
                  <a:lnTo>
                    <a:pt x="4111" y="3579"/>
                  </a:lnTo>
                  <a:lnTo>
                    <a:pt x="3998" y="3513"/>
                  </a:lnTo>
                  <a:lnTo>
                    <a:pt x="3886" y="3446"/>
                  </a:lnTo>
                  <a:lnTo>
                    <a:pt x="3776" y="3377"/>
                  </a:lnTo>
                  <a:lnTo>
                    <a:pt x="3667" y="3305"/>
                  </a:lnTo>
                  <a:lnTo>
                    <a:pt x="3559" y="3233"/>
                  </a:lnTo>
                  <a:lnTo>
                    <a:pt x="3451" y="3159"/>
                  </a:lnTo>
                  <a:lnTo>
                    <a:pt x="3345" y="3084"/>
                  </a:lnTo>
                  <a:lnTo>
                    <a:pt x="3241" y="3007"/>
                  </a:lnTo>
                  <a:lnTo>
                    <a:pt x="3337" y="2917"/>
                  </a:lnTo>
                  <a:lnTo>
                    <a:pt x="3436" y="2829"/>
                  </a:lnTo>
                  <a:lnTo>
                    <a:pt x="3535" y="2743"/>
                  </a:lnTo>
                  <a:lnTo>
                    <a:pt x="3637" y="2659"/>
                  </a:lnTo>
                  <a:lnTo>
                    <a:pt x="3740" y="2576"/>
                  </a:lnTo>
                  <a:lnTo>
                    <a:pt x="3845" y="2496"/>
                  </a:lnTo>
                  <a:lnTo>
                    <a:pt x="3951" y="2417"/>
                  </a:lnTo>
                  <a:lnTo>
                    <a:pt x="4059" y="2340"/>
                  </a:lnTo>
                  <a:lnTo>
                    <a:pt x="4168" y="2266"/>
                  </a:lnTo>
                  <a:lnTo>
                    <a:pt x="4279" y="2193"/>
                  </a:lnTo>
                  <a:lnTo>
                    <a:pt x="4391" y="2122"/>
                  </a:lnTo>
                  <a:lnTo>
                    <a:pt x="4505" y="2054"/>
                  </a:lnTo>
                  <a:lnTo>
                    <a:pt x="4620" y="1986"/>
                  </a:lnTo>
                  <a:lnTo>
                    <a:pt x="4736" y="1921"/>
                  </a:lnTo>
                  <a:lnTo>
                    <a:pt x="4854" y="1859"/>
                  </a:lnTo>
                  <a:lnTo>
                    <a:pt x="4973" y="1799"/>
                  </a:lnTo>
                  <a:lnTo>
                    <a:pt x="5093" y="1740"/>
                  </a:lnTo>
                  <a:lnTo>
                    <a:pt x="5215" y="1684"/>
                  </a:lnTo>
                  <a:lnTo>
                    <a:pt x="5338" y="1630"/>
                  </a:lnTo>
                  <a:lnTo>
                    <a:pt x="5461" y="1579"/>
                  </a:lnTo>
                  <a:lnTo>
                    <a:pt x="5587" y="1528"/>
                  </a:lnTo>
                  <a:lnTo>
                    <a:pt x="5714" y="1481"/>
                  </a:lnTo>
                  <a:lnTo>
                    <a:pt x="5841" y="1436"/>
                  </a:lnTo>
                  <a:lnTo>
                    <a:pt x="5969" y="1393"/>
                  </a:lnTo>
                  <a:lnTo>
                    <a:pt x="6100" y="1353"/>
                  </a:lnTo>
                  <a:lnTo>
                    <a:pt x="6230" y="1315"/>
                  </a:lnTo>
                  <a:lnTo>
                    <a:pt x="6362" y="1279"/>
                  </a:lnTo>
                  <a:lnTo>
                    <a:pt x="6495" y="1246"/>
                  </a:lnTo>
                  <a:lnTo>
                    <a:pt x="6628" y="1215"/>
                  </a:lnTo>
                  <a:lnTo>
                    <a:pt x="6764" y="1187"/>
                  </a:lnTo>
                  <a:lnTo>
                    <a:pt x="6899" y="1161"/>
                  </a:lnTo>
                  <a:lnTo>
                    <a:pt x="7036" y="1137"/>
                  </a:lnTo>
                  <a:lnTo>
                    <a:pt x="6960" y="1213"/>
                  </a:lnTo>
                  <a:lnTo>
                    <a:pt x="6884" y="1289"/>
                  </a:lnTo>
                  <a:lnTo>
                    <a:pt x="6809" y="1367"/>
                  </a:lnTo>
                  <a:lnTo>
                    <a:pt x="6735" y="1446"/>
                  </a:lnTo>
                  <a:lnTo>
                    <a:pt x="6662" y="1525"/>
                  </a:lnTo>
                  <a:lnTo>
                    <a:pt x="6589" y="1607"/>
                  </a:lnTo>
                  <a:lnTo>
                    <a:pt x="6518" y="1689"/>
                  </a:lnTo>
                  <a:lnTo>
                    <a:pt x="6448" y="1771"/>
                  </a:lnTo>
                  <a:lnTo>
                    <a:pt x="6379" y="1855"/>
                  </a:lnTo>
                  <a:lnTo>
                    <a:pt x="6310" y="1940"/>
                  </a:lnTo>
                  <a:lnTo>
                    <a:pt x="6242" y="2027"/>
                  </a:lnTo>
                  <a:lnTo>
                    <a:pt x="6176" y="2113"/>
                  </a:lnTo>
                  <a:lnTo>
                    <a:pt x="6110" y="2201"/>
                  </a:lnTo>
                  <a:lnTo>
                    <a:pt x="6045" y="2290"/>
                  </a:lnTo>
                  <a:lnTo>
                    <a:pt x="5982" y="2379"/>
                  </a:lnTo>
                  <a:lnTo>
                    <a:pt x="5919" y="2471"/>
                  </a:lnTo>
                  <a:lnTo>
                    <a:pt x="5857" y="2562"/>
                  </a:lnTo>
                  <a:lnTo>
                    <a:pt x="5797" y="2654"/>
                  </a:lnTo>
                  <a:lnTo>
                    <a:pt x="5736" y="2748"/>
                  </a:lnTo>
                  <a:lnTo>
                    <a:pt x="5678" y="2842"/>
                  </a:lnTo>
                  <a:lnTo>
                    <a:pt x="5620" y="2938"/>
                  </a:lnTo>
                  <a:lnTo>
                    <a:pt x="5564" y="3034"/>
                  </a:lnTo>
                  <a:lnTo>
                    <a:pt x="5508" y="3130"/>
                  </a:lnTo>
                  <a:lnTo>
                    <a:pt x="5453" y="3228"/>
                  </a:lnTo>
                  <a:lnTo>
                    <a:pt x="5400" y="3326"/>
                  </a:lnTo>
                  <a:lnTo>
                    <a:pt x="5347" y="3427"/>
                  </a:lnTo>
                  <a:lnTo>
                    <a:pt x="5296" y="3527"/>
                  </a:lnTo>
                  <a:lnTo>
                    <a:pt x="5246" y="3628"/>
                  </a:lnTo>
                  <a:lnTo>
                    <a:pt x="5197" y="3729"/>
                  </a:lnTo>
                  <a:lnTo>
                    <a:pt x="5148" y="3833"/>
                  </a:lnTo>
                  <a:lnTo>
                    <a:pt x="5102" y="3936"/>
                  </a:lnTo>
                  <a:lnTo>
                    <a:pt x="5056" y="4040"/>
                  </a:lnTo>
                  <a:close/>
                  <a:moveTo>
                    <a:pt x="7945" y="1047"/>
                  </a:moveTo>
                  <a:lnTo>
                    <a:pt x="7945" y="4642"/>
                  </a:lnTo>
                  <a:lnTo>
                    <a:pt x="7867" y="4639"/>
                  </a:lnTo>
                  <a:lnTo>
                    <a:pt x="7789" y="4635"/>
                  </a:lnTo>
                  <a:lnTo>
                    <a:pt x="7711" y="4631"/>
                  </a:lnTo>
                  <a:lnTo>
                    <a:pt x="7633" y="4626"/>
                  </a:lnTo>
                  <a:lnTo>
                    <a:pt x="7556" y="4621"/>
                  </a:lnTo>
                  <a:lnTo>
                    <a:pt x="7478" y="4614"/>
                  </a:lnTo>
                  <a:lnTo>
                    <a:pt x="7401" y="4607"/>
                  </a:lnTo>
                  <a:lnTo>
                    <a:pt x="7325" y="4600"/>
                  </a:lnTo>
                  <a:lnTo>
                    <a:pt x="7248" y="4591"/>
                  </a:lnTo>
                  <a:lnTo>
                    <a:pt x="7172" y="4582"/>
                  </a:lnTo>
                  <a:lnTo>
                    <a:pt x="7095" y="4573"/>
                  </a:lnTo>
                  <a:lnTo>
                    <a:pt x="7020" y="4562"/>
                  </a:lnTo>
                  <a:lnTo>
                    <a:pt x="6944" y="4551"/>
                  </a:lnTo>
                  <a:lnTo>
                    <a:pt x="6868" y="4540"/>
                  </a:lnTo>
                  <a:lnTo>
                    <a:pt x="6793" y="4527"/>
                  </a:lnTo>
                  <a:lnTo>
                    <a:pt x="6718" y="4514"/>
                  </a:lnTo>
                  <a:lnTo>
                    <a:pt x="6644" y="4501"/>
                  </a:lnTo>
                  <a:lnTo>
                    <a:pt x="6569" y="4486"/>
                  </a:lnTo>
                  <a:lnTo>
                    <a:pt x="6495" y="4471"/>
                  </a:lnTo>
                  <a:lnTo>
                    <a:pt x="6421" y="4456"/>
                  </a:lnTo>
                  <a:lnTo>
                    <a:pt x="6347" y="4439"/>
                  </a:lnTo>
                  <a:lnTo>
                    <a:pt x="6273" y="4423"/>
                  </a:lnTo>
                  <a:lnTo>
                    <a:pt x="6200" y="4405"/>
                  </a:lnTo>
                  <a:lnTo>
                    <a:pt x="6127" y="4387"/>
                  </a:lnTo>
                  <a:lnTo>
                    <a:pt x="6055" y="4368"/>
                  </a:lnTo>
                  <a:lnTo>
                    <a:pt x="5982" y="4348"/>
                  </a:lnTo>
                  <a:lnTo>
                    <a:pt x="5910" y="4328"/>
                  </a:lnTo>
                  <a:lnTo>
                    <a:pt x="5838" y="4308"/>
                  </a:lnTo>
                  <a:lnTo>
                    <a:pt x="5766" y="4286"/>
                  </a:lnTo>
                  <a:lnTo>
                    <a:pt x="5694" y="4264"/>
                  </a:lnTo>
                  <a:lnTo>
                    <a:pt x="5624" y="4242"/>
                  </a:lnTo>
                  <a:lnTo>
                    <a:pt x="5553" y="4217"/>
                  </a:lnTo>
                  <a:lnTo>
                    <a:pt x="5605" y="4099"/>
                  </a:lnTo>
                  <a:lnTo>
                    <a:pt x="5658" y="3982"/>
                  </a:lnTo>
                  <a:lnTo>
                    <a:pt x="5714" y="3866"/>
                  </a:lnTo>
                  <a:lnTo>
                    <a:pt x="5771" y="3750"/>
                  </a:lnTo>
                  <a:lnTo>
                    <a:pt x="5830" y="3637"/>
                  </a:lnTo>
                  <a:lnTo>
                    <a:pt x="5889" y="3524"/>
                  </a:lnTo>
                  <a:lnTo>
                    <a:pt x="5951" y="3412"/>
                  </a:lnTo>
                  <a:lnTo>
                    <a:pt x="6014" y="3301"/>
                  </a:lnTo>
                  <a:lnTo>
                    <a:pt x="6078" y="3192"/>
                  </a:lnTo>
                  <a:lnTo>
                    <a:pt x="6144" y="3084"/>
                  </a:lnTo>
                  <a:lnTo>
                    <a:pt x="6212" y="2978"/>
                  </a:lnTo>
                  <a:lnTo>
                    <a:pt x="6279" y="2871"/>
                  </a:lnTo>
                  <a:lnTo>
                    <a:pt x="6349" y="2767"/>
                  </a:lnTo>
                  <a:lnTo>
                    <a:pt x="6421" y="2664"/>
                  </a:lnTo>
                  <a:lnTo>
                    <a:pt x="6494" y="2563"/>
                  </a:lnTo>
                  <a:lnTo>
                    <a:pt x="6568" y="2463"/>
                  </a:lnTo>
                  <a:lnTo>
                    <a:pt x="6643" y="2363"/>
                  </a:lnTo>
                  <a:lnTo>
                    <a:pt x="6718" y="2265"/>
                  </a:lnTo>
                  <a:lnTo>
                    <a:pt x="6796" y="2169"/>
                  </a:lnTo>
                  <a:lnTo>
                    <a:pt x="6875" y="2074"/>
                  </a:lnTo>
                  <a:lnTo>
                    <a:pt x="6955" y="1980"/>
                  </a:lnTo>
                  <a:lnTo>
                    <a:pt x="7038" y="1888"/>
                  </a:lnTo>
                  <a:lnTo>
                    <a:pt x="7121" y="1798"/>
                  </a:lnTo>
                  <a:lnTo>
                    <a:pt x="7204" y="1709"/>
                  </a:lnTo>
                  <a:lnTo>
                    <a:pt x="7289" y="1621"/>
                  </a:lnTo>
                  <a:lnTo>
                    <a:pt x="7375" y="1534"/>
                  </a:lnTo>
                  <a:lnTo>
                    <a:pt x="7463" y="1449"/>
                  </a:lnTo>
                  <a:lnTo>
                    <a:pt x="7552" y="1366"/>
                  </a:lnTo>
                  <a:lnTo>
                    <a:pt x="7642" y="1285"/>
                  </a:lnTo>
                  <a:lnTo>
                    <a:pt x="7732" y="1205"/>
                  </a:lnTo>
                  <a:lnTo>
                    <a:pt x="7825" y="1126"/>
                  </a:lnTo>
                  <a:lnTo>
                    <a:pt x="7918" y="1049"/>
                  </a:lnTo>
                  <a:lnTo>
                    <a:pt x="7931" y="1048"/>
                  </a:lnTo>
                  <a:lnTo>
                    <a:pt x="7945" y="1047"/>
                  </a:lnTo>
                  <a:close/>
                  <a:moveTo>
                    <a:pt x="9383" y="1137"/>
                  </a:moveTo>
                  <a:lnTo>
                    <a:pt x="9520" y="1161"/>
                  </a:lnTo>
                  <a:lnTo>
                    <a:pt x="9656" y="1187"/>
                  </a:lnTo>
                  <a:lnTo>
                    <a:pt x="9791" y="1215"/>
                  </a:lnTo>
                  <a:lnTo>
                    <a:pt x="9924" y="1246"/>
                  </a:lnTo>
                  <a:lnTo>
                    <a:pt x="10058" y="1279"/>
                  </a:lnTo>
                  <a:lnTo>
                    <a:pt x="10189" y="1315"/>
                  </a:lnTo>
                  <a:lnTo>
                    <a:pt x="10320" y="1353"/>
                  </a:lnTo>
                  <a:lnTo>
                    <a:pt x="10450" y="1393"/>
                  </a:lnTo>
                  <a:lnTo>
                    <a:pt x="10578" y="1436"/>
                  </a:lnTo>
                  <a:lnTo>
                    <a:pt x="10706" y="1481"/>
                  </a:lnTo>
                  <a:lnTo>
                    <a:pt x="10832" y="1528"/>
                  </a:lnTo>
                  <a:lnTo>
                    <a:pt x="10958" y="1579"/>
                  </a:lnTo>
                  <a:lnTo>
                    <a:pt x="11082" y="1630"/>
                  </a:lnTo>
                  <a:lnTo>
                    <a:pt x="11205" y="1684"/>
                  </a:lnTo>
                  <a:lnTo>
                    <a:pt x="11326" y="1740"/>
                  </a:lnTo>
                  <a:lnTo>
                    <a:pt x="11446" y="1799"/>
                  </a:lnTo>
                  <a:lnTo>
                    <a:pt x="11565" y="1859"/>
                  </a:lnTo>
                  <a:lnTo>
                    <a:pt x="11683" y="1921"/>
                  </a:lnTo>
                  <a:lnTo>
                    <a:pt x="11799" y="1986"/>
                  </a:lnTo>
                  <a:lnTo>
                    <a:pt x="11914" y="2054"/>
                  </a:lnTo>
                  <a:lnTo>
                    <a:pt x="12028" y="2122"/>
                  </a:lnTo>
                  <a:lnTo>
                    <a:pt x="12140" y="2193"/>
                  </a:lnTo>
                  <a:lnTo>
                    <a:pt x="12251" y="2266"/>
                  </a:lnTo>
                  <a:lnTo>
                    <a:pt x="12360" y="2340"/>
                  </a:lnTo>
                  <a:lnTo>
                    <a:pt x="12468" y="2417"/>
                  </a:lnTo>
                  <a:lnTo>
                    <a:pt x="12574" y="2496"/>
                  </a:lnTo>
                  <a:lnTo>
                    <a:pt x="12679" y="2576"/>
                  </a:lnTo>
                  <a:lnTo>
                    <a:pt x="12782" y="2659"/>
                  </a:lnTo>
                  <a:lnTo>
                    <a:pt x="12884" y="2743"/>
                  </a:lnTo>
                  <a:lnTo>
                    <a:pt x="12983" y="2829"/>
                  </a:lnTo>
                  <a:lnTo>
                    <a:pt x="13082" y="2917"/>
                  </a:lnTo>
                  <a:lnTo>
                    <a:pt x="13178" y="3007"/>
                  </a:lnTo>
                  <a:lnTo>
                    <a:pt x="13074" y="3084"/>
                  </a:lnTo>
                  <a:lnTo>
                    <a:pt x="12968" y="3159"/>
                  </a:lnTo>
                  <a:lnTo>
                    <a:pt x="12861" y="3233"/>
                  </a:lnTo>
                  <a:lnTo>
                    <a:pt x="12752" y="3305"/>
                  </a:lnTo>
                  <a:lnTo>
                    <a:pt x="12644" y="3377"/>
                  </a:lnTo>
                  <a:lnTo>
                    <a:pt x="12533" y="3446"/>
                  </a:lnTo>
                  <a:lnTo>
                    <a:pt x="12421" y="3513"/>
                  </a:lnTo>
                  <a:lnTo>
                    <a:pt x="12308" y="3579"/>
                  </a:lnTo>
                  <a:lnTo>
                    <a:pt x="12252" y="3611"/>
                  </a:lnTo>
                  <a:lnTo>
                    <a:pt x="12194" y="3643"/>
                  </a:lnTo>
                  <a:lnTo>
                    <a:pt x="12137" y="3674"/>
                  </a:lnTo>
                  <a:lnTo>
                    <a:pt x="12078" y="3705"/>
                  </a:lnTo>
                  <a:lnTo>
                    <a:pt x="12021" y="3736"/>
                  </a:lnTo>
                  <a:lnTo>
                    <a:pt x="11962" y="3766"/>
                  </a:lnTo>
                  <a:lnTo>
                    <a:pt x="11904" y="3796"/>
                  </a:lnTo>
                  <a:lnTo>
                    <a:pt x="11844" y="3825"/>
                  </a:lnTo>
                  <a:lnTo>
                    <a:pt x="11786" y="3854"/>
                  </a:lnTo>
                  <a:lnTo>
                    <a:pt x="11726" y="3882"/>
                  </a:lnTo>
                  <a:lnTo>
                    <a:pt x="11667" y="3909"/>
                  </a:lnTo>
                  <a:lnTo>
                    <a:pt x="11606" y="3936"/>
                  </a:lnTo>
                  <a:lnTo>
                    <a:pt x="11546" y="3963"/>
                  </a:lnTo>
                  <a:lnTo>
                    <a:pt x="11485" y="3989"/>
                  </a:lnTo>
                  <a:lnTo>
                    <a:pt x="11425" y="4015"/>
                  </a:lnTo>
                  <a:lnTo>
                    <a:pt x="11363" y="4040"/>
                  </a:lnTo>
                  <a:lnTo>
                    <a:pt x="11317" y="3936"/>
                  </a:lnTo>
                  <a:lnTo>
                    <a:pt x="11271" y="3833"/>
                  </a:lnTo>
                  <a:lnTo>
                    <a:pt x="11222" y="3729"/>
                  </a:lnTo>
                  <a:lnTo>
                    <a:pt x="11173" y="3628"/>
                  </a:lnTo>
                  <a:lnTo>
                    <a:pt x="11123" y="3527"/>
                  </a:lnTo>
                  <a:lnTo>
                    <a:pt x="11072" y="3427"/>
                  </a:lnTo>
                  <a:lnTo>
                    <a:pt x="11019" y="3326"/>
                  </a:lnTo>
                  <a:lnTo>
                    <a:pt x="10966" y="3228"/>
                  </a:lnTo>
                  <a:lnTo>
                    <a:pt x="10911" y="3130"/>
                  </a:lnTo>
                  <a:lnTo>
                    <a:pt x="10855" y="3034"/>
                  </a:lnTo>
                  <a:lnTo>
                    <a:pt x="10799" y="2938"/>
                  </a:lnTo>
                  <a:lnTo>
                    <a:pt x="10741" y="2842"/>
                  </a:lnTo>
                  <a:lnTo>
                    <a:pt x="10683" y="2748"/>
                  </a:lnTo>
                  <a:lnTo>
                    <a:pt x="10623" y="2654"/>
                  </a:lnTo>
                  <a:lnTo>
                    <a:pt x="10562" y="2562"/>
                  </a:lnTo>
                  <a:lnTo>
                    <a:pt x="10500" y="2471"/>
                  </a:lnTo>
                  <a:lnTo>
                    <a:pt x="10437" y="2379"/>
                  </a:lnTo>
                  <a:lnTo>
                    <a:pt x="10374" y="2290"/>
                  </a:lnTo>
                  <a:lnTo>
                    <a:pt x="10309" y="2201"/>
                  </a:lnTo>
                  <a:lnTo>
                    <a:pt x="10243" y="2113"/>
                  </a:lnTo>
                  <a:lnTo>
                    <a:pt x="10177" y="2027"/>
                  </a:lnTo>
                  <a:lnTo>
                    <a:pt x="10109" y="1940"/>
                  </a:lnTo>
                  <a:lnTo>
                    <a:pt x="10041" y="1855"/>
                  </a:lnTo>
                  <a:lnTo>
                    <a:pt x="9971" y="1771"/>
                  </a:lnTo>
                  <a:lnTo>
                    <a:pt x="9901" y="1689"/>
                  </a:lnTo>
                  <a:lnTo>
                    <a:pt x="9830" y="1607"/>
                  </a:lnTo>
                  <a:lnTo>
                    <a:pt x="9758" y="1525"/>
                  </a:lnTo>
                  <a:lnTo>
                    <a:pt x="9685" y="1446"/>
                  </a:lnTo>
                  <a:lnTo>
                    <a:pt x="9610" y="1367"/>
                  </a:lnTo>
                  <a:lnTo>
                    <a:pt x="9536" y="1289"/>
                  </a:lnTo>
                  <a:lnTo>
                    <a:pt x="9460" y="1213"/>
                  </a:lnTo>
                  <a:lnTo>
                    <a:pt x="9383" y="1137"/>
                  </a:lnTo>
                  <a:close/>
                  <a:moveTo>
                    <a:pt x="8502" y="1049"/>
                  </a:moveTo>
                  <a:lnTo>
                    <a:pt x="8595" y="1126"/>
                  </a:lnTo>
                  <a:lnTo>
                    <a:pt x="8687" y="1205"/>
                  </a:lnTo>
                  <a:lnTo>
                    <a:pt x="8778" y="1285"/>
                  </a:lnTo>
                  <a:lnTo>
                    <a:pt x="8867" y="1366"/>
                  </a:lnTo>
                  <a:lnTo>
                    <a:pt x="8957" y="1449"/>
                  </a:lnTo>
                  <a:lnTo>
                    <a:pt x="9044" y="1534"/>
                  </a:lnTo>
                  <a:lnTo>
                    <a:pt x="9130" y="1621"/>
                  </a:lnTo>
                  <a:lnTo>
                    <a:pt x="9215" y="1709"/>
                  </a:lnTo>
                  <a:lnTo>
                    <a:pt x="9299" y="1798"/>
                  </a:lnTo>
                  <a:lnTo>
                    <a:pt x="9382" y="1888"/>
                  </a:lnTo>
                  <a:lnTo>
                    <a:pt x="9464" y="1980"/>
                  </a:lnTo>
                  <a:lnTo>
                    <a:pt x="9544" y="2074"/>
                  </a:lnTo>
                  <a:lnTo>
                    <a:pt x="9623" y="2169"/>
                  </a:lnTo>
                  <a:lnTo>
                    <a:pt x="9701" y="2265"/>
                  </a:lnTo>
                  <a:lnTo>
                    <a:pt x="9778" y="2363"/>
                  </a:lnTo>
                  <a:lnTo>
                    <a:pt x="9852" y="2463"/>
                  </a:lnTo>
                  <a:lnTo>
                    <a:pt x="9926" y="2563"/>
                  </a:lnTo>
                  <a:lnTo>
                    <a:pt x="9999" y="2664"/>
                  </a:lnTo>
                  <a:lnTo>
                    <a:pt x="10070" y="2767"/>
                  </a:lnTo>
                  <a:lnTo>
                    <a:pt x="10140" y="2871"/>
                  </a:lnTo>
                  <a:lnTo>
                    <a:pt x="10209" y="2978"/>
                  </a:lnTo>
                  <a:lnTo>
                    <a:pt x="10275" y="3084"/>
                  </a:lnTo>
                  <a:lnTo>
                    <a:pt x="10341" y="3192"/>
                  </a:lnTo>
                  <a:lnTo>
                    <a:pt x="10406" y="3301"/>
                  </a:lnTo>
                  <a:lnTo>
                    <a:pt x="10468" y="3412"/>
                  </a:lnTo>
                  <a:lnTo>
                    <a:pt x="10530" y="3524"/>
                  </a:lnTo>
                  <a:lnTo>
                    <a:pt x="10589" y="3637"/>
                  </a:lnTo>
                  <a:lnTo>
                    <a:pt x="10648" y="3750"/>
                  </a:lnTo>
                  <a:lnTo>
                    <a:pt x="10705" y="3866"/>
                  </a:lnTo>
                  <a:lnTo>
                    <a:pt x="10761" y="3982"/>
                  </a:lnTo>
                  <a:lnTo>
                    <a:pt x="10815" y="4099"/>
                  </a:lnTo>
                  <a:lnTo>
                    <a:pt x="10867" y="4217"/>
                  </a:lnTo>
                  <a:lnTo>
                    <a:pt x="10797" y="4242"/>
                  </a:lnTo>
                  <a:lnTo>
                    <a:pt x="10725" y="4264"/>
                  </a:lnTo>
                  <a:lnTo>
                    <a:pt x="10654" y="4286"/>
                  </a:lnTo>
                  <a:lnTo>
                    <a:pt x="10582" y="4308"/>
                  </a:lnTo>
                  <a:lnTo>
                    <a:pt x="10510" y="4328"/>
                  </a:lnTo>
                  <a:lnTo>
                    <a:pt x="10437" y="4348"/>
                  </a:lnTo>
                  <a:lnTo>
                    <a:pt x="10366" y="4368"/>
                  </a:lnTo>
                  <a:lnTo>
                    <a:pt x="10293" y="4387"/>
                  </a:lnTo>
                  <a:lnTo>
                    <a:pt x="10219" y="4405"/>
                  </a:lnTo>
                  <a:lnTo>
                    <a:pt x="10146" y="4423"/>
                  </a:lnTo>
                  <a:lnTo>
                    <a:pt x="10072" y="4439"/>
                  </a:lnTo>
                  <a:lnTo>
                    <a:pt x="9998" y="4456"/>
                  </a:lnTo>
                  <a:lnTo>
                    <a:pt x="9924" y="4471"/>
                  </a:lnTo>
                  <a:lnTo>
                    <a:pt x="9850" y="4486"/>
                  </a:lnTo>
                  <a:lnTo>
                    <a:pt x="9775" y="4501"/>
                  </a:lnTo>
                  <a:lnTo>
                    <a:pt x="9701" y="4514"/>
                  </a:lnTo>
                  <a:lnTo>
                    <a:pt x="9626" y="4527"/>
                  </a:lnTo>
                  <a:lnTo>
                    <a:pt x="9551" y="4540"/>
                  </a:lnTo>
                  <a:lnTo>
                    <a:pt x="9475" y="4551"/>
                  </a:lnTo>
                  <a:lnTo>
                    <a:pt x="9400" y="4562"/>
                  </a:lnTo>
                  <a:lnTo>
                    <a:pt x="9324" y="4573"/>
                  </a:lnTo>
                  <a:lnTo>
                    <a:pt x="9247" y="4582"/>
                  </a:lnTo>
                  <a:lnTo>
                    <a:pt x="9171" y="4591"/>
                  </a:lnTo>
                  <a:lnTo>
                    <a:pt x="9094" y="4600"/>
                  </a:lnTo>
                  <a:lnTo>
                    <a:pt x="9018" y="4607"/>
                  </a:lnTo>
                  <a:lnTo>
                    <a:pt x="8940" y="4614"/>
                  </a:lnTo>
                  <a:lnTo>
                    <a:pt x="8863" y="4621"/>
                  </a:lnTo>
                  <a:lnTo>
                    <a:pt x="8786" y="4626"/>
                  </a:lnTo>
                  <a:lnTo>
                    <a:pt x="8708" y="4631"/>
                  </a:lnTo>
                  <a:lnTo>
                    <a:pt x="8630" y="4635"/>
                  </a:lnTo>
                  <a:lnTo>
                    <a:pt x="8552" y="4639"/>
                  </a:lnTo>
                  <a:lnTo>
                    <a:pt x="8474" y="4642"/>
                  </a:lnTo>
                  <a:lnTo>
                    <a:pt x="8474" y="1047"/>
                  </a:lnTo>
                  <a:lnTo>
                    <a:pt x="8489" y="1048"/>
                  </a:lnTo>
                  <a:lnTo>
                    <a:pt x="8502" y="1049"/>
                  </a:lnTo>
                  <a:close/>
                  <a:moveTo>
                    <a:pt x="7917" y="14987"/>
                  </a:moveTo>
                  <a:lnTo>
                    <a:pt x="7835" y="14918"/>
                  </a:lnTo>
                  <a:lnTo>
                    <a:pt x="7754" y="14850"/>
                  </a:lnTo>
                  <a:lnTo>
                    <a:pt x="7673" y="14779"/>
                  </a:lnTo>
                  <a:lnTo>
                    <a:pt x="7594" y="14708"/>
                  </a:lnTo>
                  <a:lnTo>
                    <a:pt x="7515" y="14636"/>
                  </a:lnTo>
                  <a:lnTo>
                    <a:pt x="7437" y="14562"/>
                  </a:lnTo>
                  <a:lnTo>
                    <a:pt x="7360" y="14487"/>
                  </a:lnTo>
                  <a:lnTo>
                    <a:pt x="7284" y="14410"/>
                  </a:lnTo>
                  <a:lnTo>
                    <a:pt x="7209" y="14333"/>
                  </a:lnTo>
                  <a:lnTo>
                    <a:pt x="7135" y="14255"/>
                  </a:lnTo>
                  <a:lnTo>
                    <a:pt x="7061" y="14175"/>
                  </a:lnTo>
                  <a:lnTo>
                    <a:pt x="6989" y="14095"/>
                  </a:lnTo>
                  <a:lnTo>
                    <a:pt x="6919" y="14012"/>
                  </a:lnTo>
                  <a:lnTo>
                    <a:pt x="6848" y="13930"/>
                  </a:lnTo>
                  <a:lnTo>
                    <a:pt x="6778" y="13846"/>
                  </a:lnTo>
                  <a:lnTo>
                    <a:pt x="6710" y="13761"/>
                  </a:lnTo>
                  <a:lnTo>
                    <a:pt x="6643" y="13675"/>
                  </a:lnTo>
                  <a:lnTo>
                    <a:pt x="6576" y="13588"/>
                  </a:lnTo>
                  <a:lnTo>
                    <a:pt x="6511" y="13499"/>
                  </a:lnTo>
                  <a:lnTo>
                    <a:pt x="6447" y="13410"/>
                  </a:lnTo>
                  <a:lnTo>
                    <a:pt x="6383" y="13319"/>
                  </a:lnTo>
                  <a:lnTo>
                    <a:pt x="6321" y="13228"/>
                  </a:lnTo>
                  <a:lnTo>
                    <a:pt x="6260" y="13135"/>
                  </a:lnTo>
                  <a:lnTo>
                    <a:pt x="6199" y="13042"/>
                  </a:lnTo>
                  <a:lnTo>
                    <a:pt x="6141" y="12948"/>
                  </a:lnTo>
                  <a:lnTo>
                    <a:pt x="6082" y="12853"/>
                  </a:lnTo>
                  <a:lnTo>
                    <a:pt x="6026" y="12757"/>
                  </a:lnTo>
                  <a:lnTo>
                    <a:pt x="5969" y="12659"/>
                  </a:lnTo>
                  <a:lnTo>
                    <a:pt x="5915" y="12561"/>
                  </a:lnTo>
                  <a:lnTo>
                    <a:pt x="5862" y="12462"/>
                  </a:lnTo>
                  <a:lnTo>
                    <a:pt x="5809" y="12363"/>
                  </a:lnTo>
                  <a:lnTo>
                    <a:pt x="5758" y="12262"/>
                  </a:lnTo>
                  <a:lnTo>
                    <a:pt x="5823" y="12242"/>
                  </a:lnTo>
                  <a:lnTo>
                    <a:pt x="5888" y="12223"/>
                  </a:lnTo>
                  <a:lnTo>
                    <a:pt x="5954" y="12204"/>
                  </a:lnTo>
                  <a:lnTo>
                    <a:pt x="6020" y="12187"/>
                  </a:lnTo>
                  <a:lnTo>
                    <a:pt x="6086" y="12169"/>
                  </a:lnTo>
                  <a:lnTo>
                    <a:pt x="6152" y="12153"/>
                  </a:lnTo>
                  <a:lnTo>
                    <a:pt x="6219" y="12136"/>
                  </a:lnTo>
                  <a:lnTo>
                    <a:pt x="6285" y="12121"/>
                  </a:lnTo>
                  <a:lnTo>
                    <a:pt x="6352" y="12106"/>
                  </a:lnTo>
                  <a:lnTo>
                    <a:pt x="6420" y="12091"/>
                  </a:lnTo>
                  <a:lnTo>
                    <a:pt x="6487" y="12077"/>
                  </a:lnTo>
                  <a:lnTo>
                    <a:pt x="6554" y="12064"/>
                  </a:lnTo>
                  <a:lnTo>
                    <a:pt x="6622" y="12051"/>
                  </a:lnTo>
                  <a:lnTo>
                    <a:pt x="6691" y="12039"/>
                  </a:lnTo>
                  <a:lnTo>
                    <a:pt x="6758" y="12027"/>
                  </a:lnTo>
                  <a:lnTo>
                    <a:pt x="6827" y="12016"/>
                  </a:lnTo>
                  <a:lnTo>
                    <a:pt x="6895" y="12005"/>
                  </a:lnTo>
                  <a:lnTo>
                    <a:pt x="6964" y="11995"/>
                  </a:lnTo>
                  <a:lnTo>
                    <a:pt x="7033" y="11986"/>
                  </a:lnTo>
                  <a:lnTo>
                    <a:pt x="7102" y="11976"/>
                  </a:lnTo>
                  <a:lnTo>
                    <a:pt x="7171" y="11968"/>
                  </a:lnTo>
                  <a:lnTo>
                    <a:pt x="7241" y="11960"/>
                  </a:lnTo>
                  <a:lnTo>
                    <a:pt x="7311" y="11953"/>
                  </a:lnTo>
                  <a:lnTo>
                    <a:pt x="7380" y="11946"/>
                  </a:lnTo>
                  <a:lnTo>
                    <a:pt x="7450" y="11940"/>
                  </a:lnTo>
                  <a:lnTo>
                    <a:pt x="7521" y="11934"/>
                  </a:lnTo>
                  <a:lnTo>
                    <a:pt x="7591" y="11929"/>
                  </a:lnTo>
                  <a:lnTo>
                    <a:pt x="7662" y="11924"/>
                  </a:lnTo>
                  <a:lnTo>
                    <a:pt x="7732" y="11920"/>
                  </a:lnTo>
                  <a:lnTo>
                    <a:pt x="7803" y="11916"/>
                  </a:lnTo>
                  <a:lnTo>
                    <a:pt x="7874" y="11913"/>
                  </a:lnTo>
                  <a:lnTo>
                    <a:pt x="7945" y="11911"/>
                  </a:lnTo>
                  <a:lnTo>
                    <a:pt x="7945" y="14988"/>
                  </a:lnTo>
                  <a:lnTo>
                    <a:pt x="7917" y="14987"/>
                  </a:lnTo>
                  <a:close/>
                  <a:moveTo>
                    <a:pt x="15347" y="7759"/>
                  </a:moveTo>
                  <a:lnTo>
                    <a:pt x="12171" y="7759"/>
                  </a:lnTo>
                  <a:lnTo>
                    <a:pt x="12168" y="7652"/>
                  </a:lnTo>
                  <a:lnTo>
                    <a:pt x="12163" y="7545"/>
                  </a:lnTo>
                  <a:lnTo>
                    <a:pt x="12157" y="7439"/>
                  </a:lnTo>
                  <a:lnTo>
                    <a:pt x="12151" y="7332"/>
                  </a:lnTo>
                  <a:lnTo>
                    <a:pt x="12144" y="7226"/>
                  </a:lnTo>
                  <a:lnTo>
                    <a:pt x="12136" y="7120"/>
                  </a:lnTo>
                  <a:lnTo>
                    <a:pt x="12126" y="7015"/>
                  </a:lnTo>
                  <a:lnTo>
                    <a:pt x="12115" y="6911"/>
                  </a:lnTo>
                  <a:lnTo>
                    <a:pt x="12104" y="6805"/>
                  </a:lnTo>
                  <a:lnTo>
                    <a:pt x="12092" y="6701"/>
                  </a:lnTo>
                  <a:lnTo>
                    <a:pt x="12078" y="6598"/>
                  </a:lnTo>
                  <a:lnTo>
                    <a:pt x="12063" y="6494"/>
                  </a:lnTo>
                  <a:lnTo>
                    <a:pt x="12047" y="6391"/>
                  </a:lnTo>
                  <a:lnTo>
                    <a:pt x="12031" y="6288"/>
                  </a:lnTo>
                  <a:lnTo>
                    <a:pt x="12014" y="6186"/>
                  </a:lnTo>
                  <a:lnTo>
                    <a:pt x="11995" y="6084"/>
                  </a:lnTo>
                  <a:lnTo>
                    <a:pt x="11976" y="5982"/>
                  </a:lnTo>
                  <a:lnTo>
                    <a:pt x="11954" y="5881"/>
                  </a:lnTo>
                  <a:lnTo>
                    <a:pt x="11933" y="5781"/>
                  </a:lnTo>
                  <a:lnTo>
                    <a:pt x="11910" y="5681"/>
                  </a:lnTo>
                  <a:lnTo>
                    <a:pt x="11886" y="5582"/>
                  </a:lnTo>
                  <a:lnTo>
                    <a:pt x="11862" y="5482"/>
                  </a:lnTo>
                  <a:lnTo>
                    <a:pt x="11836" y="5383"/>
                  </a:lnTo>
                  <a:lnTo>
                    <a:pt x="11810" y="5285"/>
                  </a:lnTo>
                  <a:lnTo>
                    <a:pt x="11783" y="5188"/>
                  </a:lnTo>
                  <a:lnTo>
                    <a:pt x="11754" y="5090"/>
                  </a:lnTo>
                  <a:lnTo>
                    <a:pt x="11724" y="4993"/>
                  </a:lnTo>
                  <a:lnTo>
                    <a:pt x="11694" y="4897"/>
                  </a:lnTo>
                  <a:lnTo>
                    <a:pt x="11663" y="4801"/>
                  </a:lnTo>
                  <a:lnTo>
                    <a:pt x="11630" y="4706"/>
                  </a:lnTo>
                  <a:lnTo>
                    <a:pt x="11597" y="4611"/>
                  </a:lnTo>
                  <a:lnTo>
                    <a:pt x="11563" y="4517"/>
                  </a:lnTo>
                  <a:lnTo>
                    <a:pt x="11630" y="4489"/>
                  </a:lnTo>
                  <a:lnTo>
                    <a:pt x="11695" y="4461"/>
                  </a:lnTo>
                  <a:lnTo>
                    <a:pt x="11762" y="4432"/>
                  </a:lnTo>
                  <a:lnTo>
                    <a:pt x="11828" y="4403"/>
                  </a:lnTo>
                  <a:lnTo>
                    <a:pt x="11894" y="4374"/>
                  </a:lnTo>
                  <a:lnTo>
                    <a:pt x="11959" y="4343"/>
                  </a:lnTo>
                  <a:lnTo>
                    <a:pt x="12024" y="4312"/>
                  </a:lnTo>
                  <a:lnTo>
                    <a:pt x="12088" y="4281"/>
                  </a:lnTo>
                  <a:lnTo>
                    <a:pt x="12153" y="4249"/>
                  </a:lnTo>
                  <a:lnTo>
                    <a:pt x="12217" y="4216"/>
                  </a:lnTo>
                  <a:lnTo>
                    <a:pt x="12280" y="4183"/>
                  </a:lnTo>
                  <a:lnTo>
                    <a:pt x="12344" y="4150"/>
                  </a:lnTo>
                  <a:lnTo>
                    <a:pt x="12407" y="4116"/>
                  </a:lnTo>
                  <a:lnTo>
                    <a:pt x="12469" y="4081"/>
                  </a:lnTo>
                  <a:lnTo>
                    <a:pt x="12532" y="4046"/>
                  </a:lnTo>
                  <a:lnTo>
                    <a:pt x="12593" y="4011"/>
                  </a:lnTo>
                  <a:lnTo>
                    <a:pt x="12655" y="3975"/>
                  </a:lnTo>
                  <a:lnTo>
                    <a:pt x="12717" y="3939"/>
                  </a:lnTo>
                  <a:lnTo>
                    <a:pt x="12778" y="3902"/>
                  </a:lnTo>
                  <a:lnTo>
                    <a:pt x="12839" y="3865"/>
                  </a:lnTo>
                  <a:lnTo>
                    <a:pt x="12899" y="3827"/>
                  </a:lnTo>
                  <a:lnTo>
                    <a:pt x="12959" y="3789"/>
                  </a:lnTo>
                  <a:lnTo>
                    <a:pt x="13019" y="3749"/>
                  </a:lnTo>
                  <a:lnTo>
                    <a:pt x="13078" y="3710"/>
                  </a:lnTo>
                  <a:lnTo>
                    <a:pt x="13137" y="3670"/>
                  </a:lnTo>
                  <a:lnTo>
                    <a:pt x="13196" y="3630"/>
                  </a:lnTo>
                  <a:lnTo>
                    <a:pt x="13254" y="3590"/>
                  </a:lnTo>
                  <a:lnTo>
                    <a:pt x="13313" y="3549"/>
                  </a:lnTo>
                  <a:lnTo>
                    <a:pt x="13370" y="3507"/>
                  </a:lnTo>
                  <a:lnTo>
                    <a:pt x="13428" y="3466"/>
                  </a:lnTo>
                  <a:lnTo>
                    <a:pt x="13485" y="3423"/>
                  </a:lnTo>
                  <a:lnTo>
                    <a:pt x="13542" y="3381"/>
                  </a:lnTo>
                  <a:lnTo>
                    <a:pt x="13641" y="3492"/>
                  </a:lnTo>
                  <a:lnTo>
                    <a:pt x="13738" y="3605"/>
                  </a:lnTo>
                  <a:lnTo>
                    <a:pt x="13832" y="3719"/>
                  </a:lnTo>
                  <a:lnTo>
                    <a:pt x="13924" y="3837"/>
                  </a:lnTo>
                  <a:lnTo>
                    <a:pt x="14014" y="3956"/>
                  </a:lnTo>
                  <a:lnTo>
                    <a:pt x="14101" y="4076"/>
                  </a:lnTo>
                  <a:lnTo>
                    <a:pt x="14185" y="4199"/>
                  </a:lnTo>
                  <a:lnTo>
                    <a:pt x="14266" y="4324"/>
                  </a:lnTo>
                  <a:lnTo>
                    <a:pt x="14346" y="4450"/>
                  </a:lnTo>
                  <a:lnTo>
                    <a:pt x="14422" y="4578"/>
                  </a:lnTo>
                  <a:lnTo>
                    <a:pt x="14496" y="4708"/>
                  </a:lnTo>
                  <a:lnTo>
                    <a:pt x="14567" y="4839"/>
                  </a:lnTo>
                  <a:lnTo>
                    <a:pt x="14634" y="4972"/>
                  </a:lnTo>
                  <a:lnTo>
                    <a:pt x="14700" y="5106"/>
                  </a:lnTo>
                  <a:lnTo>
                    <a:pt x="14763" y="5243"/>
                  </a:lnTo>
                  <a:lnTo>
                    <a:pt x="14822" y="5380"/>
                  </a:lnTo>
                  <a:lnTo>
                    <a:pt x="14879" y="5519"/>
                  </a:lnTo>
                  <a:lnTo>
                    <a:pt x="14932" y="5660"/>
                  </a:lnTo>
                  <a:lnTo>
                    <a:pt x="14982" y="5802"/>
                  </a:lnTo>
                  <a:lnTo>
                    <a:pt x="15031" y="5945"/>
                  </a:lnTo>
                  <a:lnTo>
                    <a:pt x="15075" y="6090"/>
                  </a:lnTo>
                  <a:lnTo>
                    <a:pt x="15116" y="6236"/>
                  </a:lnTo>
                  <a:lnTo>
                    <a:pt x="15154" y="6383"/>
                  </a:lnTo>
                  <a:lnTo>
                    <a:pt x="15189" y="6532"/>
                  </a:lnTo>
                  <a:lnTo>
                    <a:pt x="15220" y="6681"/>
                  </a:lnTo>
                  <a:lnTo>
                    <a:pt x="15248" y="6832"/>
                  </a:lnTo>
                  <a:lnTo>
                    <a:pt x="15273" y="6984"/>
                  </a:lnTo>
                  <a:lnTo>
                    <a:pt x="15294" y="7137"/>
                  </a:lnTo>
                  <a:lnTo>
                    <a:pt x="15313" y="7291"/>
                  </a:lnTo>
                  <a:lnTo>
                    <a:pt x="15327" y="7446"/>
                  </a:lnTo>
                  <a:lnTo>
                    <a:pt x="15338" y="7602"/>
                  </a:lnTo>
                  <a:lnTo>
                    <a:pt x="15347" y="7759"/>
                  </a:lnTo>
                  <a:close/>
                  <a:moveTo>
                    <a:pt x="8210" y="0"/>
                  </a:moveTo>
                  <a:lnTo>
                    <a:pt x="7787" y="10"/>
                  </a:lnTo>
                  <a:lnTo>
                    <a:pt x="7370" y="41"/>
                  </a:lnTo>
                  <a:lnTo>
                    <a:pt x="6960" y="92"/>
                  </a:lnTo>
                  <a:lnTo>
                    <a:pt x="6555" y="162"/>
                  </a:lnTo>
                  <a:lnTo>
                    <a:pt x="6158" y="253"/>
                  </a:lnTo>
                  <a:lnTo>
                    <a:pt x="5768" y="361"/>
                  </a:lnTo>
                  <a:lnTo>
                    <a:pt x="5386" y="486"/>
                  </a:lnTo>
                  <a:lnTo>
                    <a:pt x="5014" y="630"/>
                  </a:lnTo>
                  <a:lnTo>
                    <a:pt x="4651" y="791"/>
                  </a:lnTo>
                  <a:lnTo>
                    <a:pt x="4297" y="967"/>
                  </a:lnTo>
                  <a:lnTo>
                    <a:pt x="3953" y="1161"/>
                  </a:lnTo>
                  <a:lnTo>
                    <a:pt x="3619" y="1369"/>
                  </a:lnTo>
                  <a:lnTo>
                    <a:pt x="3298" y="1593"/>
                  </a:lnTo>
                  <a:lnTo>
                    <a:pt x="2987" y="1831"/>
                  </a:lnTo>
                  <a:lnTo>
                    <a:pt x="2690" y="2083"/>
                  </a:lnTo>
                  <a:lnTo>
                    <a:pt x="2404" y="2348"/>
                  </a:lnTo>
                  <a:lnTo>
                    <a:pt x="2132" y="2627"/>
                  </a:lnTo>
                  <a:lnTo>
                    <a:pt x="1875" y="2918"/>
                  </a:lnTo>
                  <a:lnTo>
                    <a:pt x="1631" y="3220"/>
                  </a:lnTo>
                  <a:lnTo>
                    <a:pt x="1402" y="3535"/>
                  </a:lnTo>
                  <a:lnTo>
                    <a:pt x="1188" y="3861"/>
                  </a:lnTo>
                  <a:lnTo>
                    <a:pt x="991" y="4195"/>
                  </a:lnTo>
                  <a:lnTo>
                    <a:pt x="810" y="4541"/>
                  </a:lnTo>
                  <a:lnTo>
                    <a:pt x="645" y="4897"/>
                  </a:lnTo>
                  <a:lnTo>
                    <a:pt x="498" y="5261"/>
                  </a:lnTo>
                  <a:lnTo>
                    <a:pt x="369" y="5634"/>
                  </a:lnTo>
                  <a:lnTo>
                    <a:pt x="259" y="6014"/>
                  </a:lnTo>
                  <a:lnTo>
                    <a:pt x="167" y="6402"/>
                  </a:lnTo>
                  <a:lnTo>
                    <a:pt x="94" y="6797"/>
                  </a:lnTo>
                  <a:lnTo>
                    <a:pt x="42" y="7198"/>
                  </a:lnTo>
                  <a:lnTo>
                    <a:pt x="10" y="7605"/>
                  </a:lnTo>
                  <a:lnTo>
                    <a:pt x="0" y="8018"/>
                  </a:lnTo>
                  <a:lnTo>
                    <a:pt x="10" y="8431"/>
                  </a:lnTo>
                  <a:lnTo>
                    <a:pt x="42" y="8838"/>
                  </a:lnTo>
                  <a:lnTo>
                    <a:pt x="94" y="9239"/>
                  </a:lnTo>
                  <a:lnTo>
                    <a:pt x="167" y="9634"/>
                  </a:lnTo>
                  <a:lnTo>
                    <a:pt x="259" y="10021"/>
                  </a:lnTo>
                  <a:lnTo>
                    <a:pt x="369" y="10402"/>
                  </a:lnTo>
                  <a:lnTo>
                    <a:pt x="498" y="10774"/>
                  </a:lnTo>
                  <a:lnTo>
                    <a:pt x="645" y="11139"/>
                  </a:lnTo>
                  <a:lnTo>
                    <a:pt x="810" y="11494"/>
                  </a:lnTo>
                  <a:lnTo>
                    <a:pt x="991" y="11840"/>
                  </a:lnTo>
                  <a:lnTo>
                    <a:pt x="1188" y="12175"/>
                  </a:lnTo>
                  <a:lnTo>
                    <a:pt x="1402" y="12501"/>
                  </a:lnTo>
                  <a:lnTo>
                    <a:pt x="1631" y="12815"/>
                  </a:lnTo>
                  <a:lnTo>
                    <a:pt x="1875" y="13118"/>
                  </a:lnTo>
                  <a:lnTo>
                    <a:pt x="2132" y="13409"/>
                  </a:lnTo>
                  <a:lnTo>
                    <a:pt x="2404" y="13688"/>
                  </a:lnTo>
                  <a:lnTo>
                    <a:pt x="2690" y="13953"/>
                  </a:lnTo>
                  <a:lnTo>
                    <a:pt x="2987" y="14205"/>
                  </a:lnTo>
                  <a:lnTo>
                    <a:pt x="3298" y="14443"/>
                  </a:lnTo>
                  <a:lnTo>
                    <a:pt x="3619" y="14667"/>
                  </a:lnTo>
                  <a:lnTo>
                    <a:pt x="3953" y="14875"/>
                  </a:lnTo>
                  <a:lnTo>
                    <a:pt x="4297" y="15068"/>
                  </a:lnTo>
                  <a:lnTo>
                    <a:pt x="4651" y="15245"/>
                  </a:lnTo>
                  <a:lnTo>
                    <a:pt x="5014" y="15406"/>
                  </a:lnTo>
                  <a:lnTo>
                    <a:pt x="5386" y="15550"/>
                  </a:lnTo>
                  <a:lnTo>
                    <a:pt x="5768" y="15675"/>
                  </a:lnTo>
                  <a:lnTo>
                    <a:pt x="6158" y="15783"/>
                  </a:lnTo>
                  <a:lnTo>
                    <a:pt x="6555" y="15873"/>
                  </a:lnTo>
                  <a:lnTo>
                    <a:pt x="6960" y="15944"/>
                  </a:lnTo>
                  <a:lnTo>
                    <a:pt x="7370" y="15995"/>
                  </a:lnTo>
                  <a:lnTo>
                    <a:pt x="7787" y="16026"/>
                  </a:lnTo>
                  <a:lnTo>
                    <a:pt x="8210" y="16036"/>
                  </a:lnTo>
                  <a:lnTo>
                    <a:pt x="8632" y="16026"/>
                  </a:lnTo>
                  <a:lnTo>
                    <a:pt x="9049" y="15995"/>
                  </a:lnTo>
                  <a:lnTo>
                    <a:pt x="9459" y="15944"/>
                  </a:lnTo>
                  <a:lnTo>
                    <a:pt x="9864" y="15873"/>
                  </a:lnTo>
                  <a:lnTo>
                    <a:pt x="10261" y="15783"/>
                  </a:lnTo>
                  <a:lnTo>
                    <a:pt x="10651" y="15675"/>
                  </a:lnTo>
                  <a:lnTo>
                    <a:pt x="11033" y="15550"/>
                  </a:lnTo>
                  <a:lnTo>
                    <a:pt x="11405" y="15406"/>
                  </a:lnTo>
                  <a:lnTo>
                    <a:pt x="11768" y="15245"/>
                  </a:lnTo>
                  <a:lnTo>
                    <a:pt x="12122" y="15068"/>
                  </a:lnTo>
                  <a:lnTo>
                    <a:pt x="12466" y="14875"/>
                  </a:lnTo>
                  <a:lnTo>
                    <a:pt x="12800" y="14667"/>
                  </a:lnTo>
                  <a:lnTo>
                    <a:pt x="13122" y="14443"/>
                  </a:lnTo>
                  <a:lnTo>
                    <a:pt x="13432" y="14205"/>
                  </a:lnTo>
                  <a:lnTo>
                    <a:pt x="13729" y="13953"/>
                  </a:lnTo>
                  <a:lnTo>
                    <a:pt x="14015" y="13688"/>
                  </a:lnTo>
                  <a:lnTo>
                    <a:pt x="14287" y="13409"/>
                  </a:lnTo>
                  <a:lnTo>
                    <a:pt x="14544" y="13118"/>
                  </a:lnTo>
                  <a:lnTo>
                    <a:pt x="14788" y="12815"/>
                  </a:lnTo>
                  <a:lnTo>
                    <a:pt x="15017" y="12501"/>
                  </a:lnTo>
                  <a:lnTo>
                    <a:pt x="15231" y="12175"/>
                  </a:lnTo>
                  <a:lnTo>
                    <a:pt x="15428" y="11840"/>
                  </a:lnTo>
                  <a:lnTo>
                    <a:pt x="15609" y="11494"/>
                  </a:lnTo>
                  <a:lnTo>
                    <a:pt x="15774" y="11139"/>
                  </a:lnTo>
                  <a:lnTo>
                    <a:pt x="15921" y="10774"/>
                  </a:lnTo>
                  <a:lnTo>
                    <a:pt x="16050" y="10402"/>
                  </a:lnTo>
                  <a:lnTo>
                    <a:pt x="16160" y="10021"/>
                  </a:lnTo>
                  <a:lnTo>
                    <a:pt x="16253" y="9634"/>
                  </a:lnTo>
                  <a:lnTo>
                    <a:pt x="16325" y="9239"/>
                  </a:lnTo>
                  <a:lnTo>
                    <a:pt x="16377" y="8838"/>
                  </a:lnTo>
                  <a:lnTo>
                    <a:pt x="16409" y="8431"/>
                  </a:lnTo>
                  <a:lnTo>
                    <a:pt x="16419" y="8018"/>
                  </a:lnTo>
                  <a:lnTo>
                    <a:pt x="16409" y="7605"/>
                  </a:lnTo>
                  <a:lnTo>
                    <a:pt x="16377" y="7198"/>
                  </a:lnTo>
                  <a:lnTo>
                    <a:pt x="16325" y="6797"/>
                  </a:lnTo>
                  <a:lnTo>
                    <a:pt x="16253" y="6402"/>
                  </a:lnTo>
                  <a:lnTo>
                    <a:pt x="16160" y="6014"/>
                  </a:lnTo>
                  <a:lnTo>
                    <a:pt x="16050" y="5634"/>
                  </a:lnTo>
                  <a:lnTo>
                    <a:pt x="15921" y="5261"/>
                  </a:lnTo>
                  <a:lnTo>
                    <a:pt x="15774" y="4897"/>
                  </a:lnTo>
                  <a:lnTo>
                    <a:pt x="15609" y="4541"/>
                  </a:lnTo>
                  <a:lnTo>
                    <a:pt x="15428" y="4195"/>
                  </a:lnTo>
                  <a:lnTo>
                    <a:pt x="15231" y="3861"/>
                  </a:lnTo>
                  <a:lnTo>
                    <a:pt x="15017" y="3535"/>
                  </a:lnTo>
                  <a:lnTo>
                    <a:pt x="14788" y="3220"/>
                  </a:lnTo>
                  <a:lnTo>
                    <a:pt x="14544" y="2918"/>
                  </a:lnTo>
                  <a:lnTo>
                    <a:pt x="14287" y="2627"/>
                  </a:lnTo>
                  <a:lnTo>
                    <a:pt x="14015" y="2348"/>
                  </a:lnTo>
                  <a:lnTo>
                    <a:pt x="13729" y="2083"/>
                  </a:lnTo>
                  <a:lnTo>
                    <a:pt x="13432" y="1831"/>
                  </a:lnTo>
                  <a:lnTo>
                    <a:pt x="13122" y="1593"/>
                  </a:lnTo>
                  <a:lnTo>
                    <a:pt x="12800" y="1369"/>
                  </a:lnTo>
                  <a:lnTo>
                    <a:pt x="12466" y="1161"/>
                  </a:lnTo>
                  <a:lnTo>
                    <a:pt x="12122" y="967"/>
                  </a:lnTo>
                  <a:lnTo>
                    <a:pt x="11768" y="791"/>
                  </a:lnTo>
                  <a:lnTo>
                    <a:pt x="11405" y="630"/>
                  </a:lnTo>
                  <a:lnTo>
                    <a:pt x="11033" y="486"/>
                  </a:lnTo>
                  <a:lnTo>
                    <a:pt x="10651" y="361"/>
                  </a:lnTo>
                  <a:lnTo>
                    <a:pt x="10261" y="253"/>
                  </a:lnTo>
                  <a:lnTo>
                    <a:pt x="9864" y="162"/>
                  </a:lnTo>
                  <a:lnTo>
                    <a:pt x="9459" y="92"/>
                  </a:lnTo>
                  <a:lnTo>
                    <a:pt x="9049" y="41"/>
                  </a:lnTo>
                  <a:lnTo>
                    <a:pt x="8632" y="10"/>
                  </a:lnTo>
                  <a:lnTo>
                    <a:pt x="821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93" name="í$1íḍe">
              <a:extLst>
                <a:ext uri="{FF2B5EF4-FFF2-40B4-BE49-F238E27FC236}">
                  <a16:creationId xmlns:a16="http://schemas.microsoft.com/office/drawing/2014/main" id="{9FF962A5-1071-4DB1-98FA-D8AA1A2083E4}"/>
                </a:ext>
              </a:extLst>
            </p:cNvPr>
            <p:cNvSpPr/>
            <p:nvPr/>
          </p:nvSpPr>
          <p:spPr bwMode="auto">
            <a:xfrm>
              <a:off x="5839327" y="663455"/>
              <a:ext cx="415238" cy="402829"/>
            </a:xfrm>
            <a:custGeom>
              <a:avLst/>
              <a:gdLst>
                <a:gd name="T0" fmla="*/ 11715 w 16095"/>
                <a:gd name="T1" fmla="*/ 9432 h 15614"/>
                <a:gd name="T2" fmla="*/ 11598 w 16095"/>
                <a:gd name="T3" fmla="*/ 9669 h 15614"/>
                <a:gd name="T4" fmla="*/ 11540 w 16095"/>
                <a:gd name="T5" fmla="*/ 9924 h 15614"/>
                <a:gd name="T6" fmla="*/ 11544 w 16095"/>
                <a:gd name="T7" fmla="*/ 10189 h 15614"/>
                <a:gd name="T8" fmla="*/ 8441 w 16095"/>
                <a:gd name="T9" fmla="*/ 12438 h 15614"/>
                <a:gd name="T10" fmla="*/ 8156 w 16095"/>
                <a:gd name="T11" fmla="*/ 12375 h 15614"/>
                <a:gd name="T12" fmla="*/ 7866 w 16095"/>
                <a:gd name="T13" fmla="*/ 12384 h 15614"/>
                <a:gd name="T14" fmla="*/ 7586 w 16095"/>
                <a:gd name="T15" fmla="*/ 12464 h 15614"/>
                <a:gd name="T16" fmla="*/ 4558 w 16095"/>
                <a:gd name="T17" fmla="*/ 10123 h 15614"/>
                <a:gd name="T18" fmla="*/ 4547 w 16095"/>
                <a:gd name="T19" fmla="*/ 9859 h 15614"/>
                <a:gd name="T20" fmla="*/ 4473 w 16095"/>
                <a:gd name="T21" fmla="*/ 9607 h 15614"/>
                <a:gd name="T22" fmla="*/ 4342 w 16095"/>
                <a:gd name="T23" fmla="*/ 9376 h 15614"/>
                <a:gd name="T24" fmla="*/ 5386 w 16095"/>
                <a:gd name="T25" fmla="*/ 5551 h 15614"/>
                <a:gd name="T26" fmla="*/ 5658 w 16095"/>
                <a:gd name="T27" fmla="*/ 5467 h 15614"/>
                <a:gd name="T28" fmla="*/ 5899 w 16095"/>
                <a:gd name="T29" fmla="*/ 5323 h 15614"/>
                <a:gd name="T30" fmla="*/ 6097 w 16095"/>
                <a:gd name="T31" fmla="*/ 5126 h 15614"/>
                <a:gd name="T32" fmla="*/ 8048 w 16095"/>
                <a:gd name="T33" fmla="*/ 1134 h 15614"/>
                <a:gd name="T34" fmla="*/ 9998 w 16095"/>
                <a:gd name="T35" fmla="*/ 5126 h 15614"/>
                <a:gd name="T36" fmla="*/ 10196 w 16095"/>
                <a:gd name="T37" fmla="*/ 5323 h 15614"/>
                <a:gd name="T38" fmla="*/ 10437 w 16095"/>
                <a:gd name="T39" fmla="*/ 5467 h 15614"/>
                <a:gd name="T40" fmla="*/ 10708 w 16095"/>
                <a:gd name="T41" fmla="*/ 5551 h 15614"/>
                <a:gd name="T42" fmla="*/ 15973 w 16095"/>
                <a:gd name="T43" fmla="*/ 5675 h 15614"/>
                <a:gd name="T44" fmla="*/ 15794 w 16095"/>
                <a:gd name="T45" fmla="*/ 5421 h 15614"/>
                <a:gd name="T46" fmla="*/ 15554 w 16095"/>
                <a:gd name="T47" fmla="*/ 5223 h 15614"/>
                <a:gd name="T48" fmla="*/ 15266 w 16095"/>
                <a:gd name="T49" fmla="*/ 5094 h 15614"/>
                <a:gd name="T50" fmla="*/ 9061 w 16095"/>
                <a:gd name="T51" fmla="*/ 579 h 15614"/>
                <a:gd name="T52" fmla="*/ 8861 w 16095"/>
                <a:gd name="T53" fmla="*/ 324 h 15614"/>
                <a:gd name="T54" fmla="*/ 8601 w 16095"/>
                <a:gd name="T55" fmla="*/ 137 h 15614"/>
                <a:gd name="T56" fmla="*/ 8296 w 16095"/>
                <a:gd name="T57" fmla="*/ 26 h 15614"/>
                <a:gd name="T58" fmla="*/ 7963 w 16095"/>
                <a:gd name="T59" fmla="*/ 3 h 15614"/>
                <a:gd name="T60" fmla="*/ 7642 w 16095"/>
                <a:gd name="T61" fmla="*/ 72 h 15614"/>
                <a:gd name="T62" fmla="*/ 7357 w 16095"/>
                <a:gd name="T63" fmla="*/ 222 h 15614"/>
                <a:gd name="T64" fmla="*/ 7125 w 16095"/>
                <a:gd name="T65" fmla="*/ 444 h 15614"/>
                <a:gd name="T66" fmla="*/ 987 w 16095"/>
                <a:gd name="T67" fmla="*/ 5060 h 15614"/>
                <a:gd name="T68" fmla="*/ 680 w 16095"/>
                <a:gd name="T69" fmla="*/ 5150 h 15614"/>
                <a:gd name="T70" fmla="*/ 414 w 16095"/>
                <a:gd name="T71" fmla="*/ 5314 h 15614"/>
                <a:gd name="T72" fmla="*/ 203 w 16095"/>
                <a:gd name="T73" fmla="*/ 5541 h 15614"/>
                <a:gd name="T74" fmla="*/ 60 w 16095"/>
                <a:gd name="T75" fmla="*/ 5820 h 15614"/>
                <a:gd name="T76" fmla="*/ 1 w 16095"/>
                <a:gd name="T77" fmla="*/ 6128 h 15614"/>
                <a:gd name="T78" fmla="*/ 29 w 16095"/>
                <a:gd name="T79" fmla="*/ 6434 h 15614"/>
                <a:gd name="T80" fmla="*/ 141 w 16095"/>
                <a:gd name="T81" fmla="*/ 6721 h 15614"/>
                <a:gd name="T82" fmla="*/ 330 w 16095"/>
                <a:gd name="T83" fmla="*/ 6972 h 15614"/>
                <a:gd name="T84" fmla="*/ 2674 w 16095"/>
                <a:gd name="T85" fmla="*/ 14537 h 15614"/>
                <a:gd name="T86" fmla="*/ 2734 w 16095"/>
                <a:gd name="T87" fmla="*/ 14845 h 15614"/>
                <a:gd name="T88" fmla="*/ 2878 w 16095"/>
                <a:gd name="T89" fmla="*/ 15124 h 15614"/>
                <a:gd name="T90" fmla="*/ 3098 w 16095"/>
                <a:gd name="T91" fmla="*/ 15358 h 15614"/>
                <a:gd name="T92" fmla="*/ 3402 w 16095"/>
                <a:gd name="T93" fmla="*/ 15532 h 15614"/>
                <a:gd name="T94" fmla="*/ 3746 w 16095"/>
                <a:gd name="T95" fmla="*/ 15611 h 15614"/>
                <a:gd name="T96" fmla="*/ 4051 w 16095"/>
                <a:gd name="T97" fmla="*/ 15594 h 15614"/>
                <a:gd name="T98" fmla="*/ 4330 w 16095"/>
                <a:gd name="T99" fmla="*/ 15505 h 15614"/>
                <a:gd name="T100" fmla="*/ 11834 w 16095"/>
                <a:gd name="T101" fmla="*/ 15534 h 15614"/>
                <a:gd name="T102" fmla="*/ 12117 w 16095"/>
                <a:gd name="T103" fmla="*/ 15605 h 15614"/>
                <a:gd name="T104" fmla="*/ 12436 w 16095"/>
                <a:gd name="T105" fmla="*/ 15601 h 15614"/>
                <a:gd name="T106" fmla="*/ 12774 w 16095"/>
                <a:gd name="T107" fmla="*/ 15497 h 15614"/>
                <a:gd name="T108" fmla="*/ 13058 w 16095"/>
                <a:gd name="T109" fmla="*/ 15305 h 15614"/>
                <a:gd name="T110" fmla="*/ 13260 w 16095"/>
                <a:gd name="T111" fmla="*/ 15059 h 15614"/>
                <a:gd name="T112" fmla="*/ 13384 w 16095"/>
                <a:gd name="T113" fmla="*/ 14771 h 15614"/>
                <a:gd name="T114" fmla="*/ 13422 w 16095"/>
                <a:gd name="T115" fmla="*/ 14458 h 15614"/>
                <a:gd name="T116" fmla="*/ 15819 w 16095"/>
                <a:gd name="T117" fmla="*/ 6913 h 15614"/>
                <a:gd name="T118" fmla="*/ 15989 w 16095"/>
                <a:gd name="T119" fmla="*/ 6652 h 15614"/>
                <a:gd name="T120" fmla="*/ 16080 w 16095"/>
                <a:gd name="T121" fmla="*/ 6358 h 15614"/>
                <a:gd name="T122" fmla="*/ 16087 w 16095"/>
                <a:gd name="T123" fmla="*/ 6050 h 15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095" h="15614">
                  <a:moveTo>
                    <a:pt x="11864" y="9250"/>
                  </a:moveTo>
                  <a:lnTo>
                    <a:pt x="11840" y="9274"/>
                  </a:lnTo>
                  <a:lnTo>
                    <a:pt x="11817" y="9299"/>
                  </a:lnTo>
                  <a:lnTo>
                    <a:pt x="11796" y="9324"/>
                  </a:lnTo>
                  <a:lnTo>
                    <a:pt x="11773" y="9350"/>
                  </a:lnTo>
                  <a:lnTo>
                    <a:pt x="11753" y="9376"/>
                  </a:lnTo>
                  <a:lnTo>
                    <a:pt x="11734" y="9404"/>
                  </a:lnTo>
                  <a:lnTo>
                    <a:pt x="11715" y="9432"/>
                  </a:lnTo>
                  <a:lnTo>
                    <a:pt x="11698" y="9460"/>
                  </a:lnTo>
                  <a:lnTo>
                    <a:pt x="11681" y="9488"/>
                  </a:lnTo>
                  <a:lnTo>
                    <a:pt x="11665" y="9517"/>
                  </a:lnTo>
                  <a:lnTo>
                    <a:pt x="11650" y="9547"/>
                  </a:lnTo>
                  <a:lnTo>
                    <a:pt x="11636" y="9577"/>
                  </a:lnTo>
                  <a:lnTo>
                    <a:pt x="11623" y="9607"/>
                  </a:lnTo>
                  <a:lnTo>
                    <a:pt x="11610" y="9637"/>
                  </a:lnTo>
                  <a:lnTo>
                    <a:pt x="11598" y="9669"/>
                  </a:lnTo>
                  <a:lnTo>
                    <a:pt x="11587" y="9700"/>
                  </a:lnTo>
                  <a:lnTo>
                    <a:pt x="11578" y="9731"/>
                  </a:lnTo>
                  <a:lnTo>
                    <a:pt x="11569" y="9762"/>
                  </a:lnTo>
                  <a:lnTo>
                    <a:pt x="11561" y="9795"/>
                  </a:lnTo>
                  <a:lnTo>
                    <a:pt x="11554" y="9827"/>
                  </a:lnTo>
                  <a:lnTo>
                    <a:pt x="11549" y="9859"/>
                  </a:lnTo>
                  <a:lnTo>
                    <a:pt x="11544" y="9891"/>
                  </a:lnTo>
                  <a:lnTo>
                    <a:pt x="11540" y="9924"/>
                  </a:lnTo>
                  <a:lnTo>
                    <a:pt x="11537" y="9958"/>
                  </a:lnTo>
                  <a:lnTo>
                    <a:pt x="11535" y="9990"/>
                  </a:lnTo>
                  <a:lnTo>
                    <a:pt x="11534" y="10023"/>
                  </a:lnTo>
                  <a:lnTo>
                    <a:pt x="11534" y="10056"/>
                  </a:lnTo>
                  <a:lnTo>
                    <a:pt x="11535" y="10090"/>
                  </a:lnTo>
                  <a:lnTo>
                    <a:pt x="11537" y="10123"/>
                  </a:lnTo>
                  <a:lnTo>
                    <a:pt x="11540" y="10156"/>
                  </a:lnTo>
                  <a:lnTo>
                    <a:pt x="11544" y="10189"/>
                  </a:lnTo>
                  <a:lnTo>
                    <a:pt x="11549" y="10223"/>
                  </a:lnTo>
                  <a:lnTo>
                    <a:pt x="12260" y="14481"/>
                  </a:lnTo>
                  <a:lnTo>
                    <a:pt x="8610" y="12512"/>
                  </a:lnTo>
                  <a:lnTo>
                    <a:pt x="8577" y="12495"/>
                  </a:lnTo>
                  <a:lnTo>
                    <a:pt x="8543" y="12479"/>
                  </a:lnTo>
                  <a:lnTo>
                    <a:pt x="8509" y="12464"/>
                  </a:lnTo>
                  <a:lnTo>
                    <a:pt x="8475" y="12450"/>
                  </a:lnTo>
                  <a:lnTo>
                    <a:pt x="8441" y="12438"/>
                  </a:lnTo>
                  <a:lnTo>
                    <a:pt x="8406" y="12426"/>
                  </a:lnTo>
                  <a:lnTo>
                    <a:pt x="8370" y="12416"/>
                  </a:lnTo>
                  <a:lnTo>
                    <a:pt x="8335" y="12406"/>
                  </a:lnTo>
                  <a:lnTo>
                    <a:pt x="8300" y="12398"/>
                  </a:lnTo>
                  <a:lnTo>
                    <a:pt x="8264" y="12390"/>
                  </a:lnTo>
                  <a:lnTo>
                    <a:pt x="8229" y="12384"/>
                  </a:lnTo>
                  <a:lnTo>
                    <a:pt x="8192" y="12379"/>
                  </a:lnTo>
                  <a:lnTo>
                    <a:pt x="8156" y="12375"/>
                  </a:lnTo>
                  <a:lnTo>
                    <a:pt x="8120" y="12372"/>
                  </a:lnTo>
                  <a:lnTo>
                    <a:pt x="8084" y="12371"/>
                  </a:lnTo>
                  <a:lnTo>
                    <a:pt x="8048" y="12370"/>
                  </a:lnTo>
                  <a:lnTo>
                    <a:pt x="8011" y="12371"/>
                  </a:lnTo>
                  <a:lnTo>
                    <a:pt x="7975" y="12372"/>
                  </a:lnTo>
                  <a:lnTo>
                    <a:pt x="7939" y="12375"/>
                  </a:lnTo>
                  <a:lnTo>
                    <a:pt x="7903" y="12379"/>
                  </a:lnTo>
                  <a:lnTo>
                    <a:pt x="7866" y="12384"/>
                  </a:lnTo>
                  <a:lnTo>
                    <a:pt x="7831" y="12390"/>
                  </a:lnTo>
                  <a:lnTo>
                    <a:pt x="7795" y="12398"/>
                  </a:lnTo>
                  <a:lnTo>
                    <a:pt x="7760" y="12406"/>
                  </a:lnTo>
                  <a:lnTo>
                    <a:pt x="7725" y="12416"/>
                  </a:lnTo>
                  <a:lnTo>
                    <a:pt x="7689" y="12426"/>
                  </a:lnTo>
                  <a:lnTo>
                    <a:pt x="7655" y="12438"/>
                  </a:lnTo>
                  <a:lnTo>
                    <a:pt x="7620" y="12450"/>
                  </a:lnTo>
                  <a:lnTo>
                    <a:pt x="7586" y="12464"/>
                  </a:lnTo>
                  <a:lnTo>
                    <a:pt x="7553" y="12479"/>
                  </a:lnTo>
                  <a:lnTo>
                    <a:pt x="7518" y="12495"/>
                  </a:lnTo>
                  <a:lnTo>
                    <a:pt x="7485" y="12512"/>
                  </a:lnTo>
                  <a:lnTo>
                    <a:pt x="3834" y="14481"/>
                  </a:lnTo>
                  <a:lnTo>
                    <a:pt x="4546" y="10223"/>
                  </a:lnTo>
                  <a:lnTo>
                    <a:pt x="4551" y="10189"/>
                  </a:lnTo>
                  <a:lnTo>
                    <a:pt x="4555" y="10156"/>
                  </a:lnTo>
                  <a:lnTo>
                    <a:pt x="4558" y="10123"/>
                  </a:lnTo>
                  <a:lnTo>
                    <a:pt x="4560" y="10090"/>
                  </a:lnTo>
                  <a:lnTo>
                    <a:pt x="4561" y="10056"/>
                  </a:lnTo>
                  <a:lnTo>
                    <a:pt x="4561" y="10023"/>
                  </a:lnTo>
                  <a:lnTo>
                    <a:pt x="4560" y="9990"/>
                  </a:lnTo>
                  <a:lnTo>
                    <a:pt x="4558" y="9958"/>
                  </a:lnTo>
                  <a:lnTo>
                    <a:pt x="4555" y="9924"/>
                  </a:lnTo>
                  <a:lnTo>
                    <a:pt x="4551" y="9891"/>
                  </a:lnTo>
                  <a:lnTo>
                    <a:pt x="4547" y="9859"/>
                  </a:lnTo>
                  <a:lnTo>
                    <a:pt x="4541" y="9827"/>
                  </a:lnTo>
                  <a:lnTo>
                    <a:pt x="4534" y="9795"/>
                  </a:lnTo>
                  <a:lnTo>
                    <a:pt x="4526" y="9762"/>
                  </a:lnTo>
                  <a:lnTo>
                    <a:pt x="4518" y="9731"/>
                  </a:lnTo>
                  <a:lnTo>
                    <a:pt x="4508" y="9700"/>
                  </a:lnTo>
                  <a:lnTo>
                    <a:pt x="4497" y="9669"/>
                  </a:lnTo>
                  <a:lnTo>
                    <a:pt x="4485" y="9637"/>
                  </a:lnTo>
                  <a:lnTo>
                    <a:pt x="4473" y="9607"/>
                  </a:lnTo>
                  <a:lnTo>
                    <a:pt x="4459" y="9577"/>
                  </a:lnTo>
                  <a:lnTo>
                    <a:pt x="4445" y="9547"/>
                  </a:lnTo>
                  <a:lnTo>
                    <a:pt x="4430" y="9517"/>
                  </a:lnTo>
                  <a:lnTo>
                    <a:pt x="4414" y="9488"/>
                  </a:lnTo>
                  <a:lnTo>
                    <a:pt x="4398" y="9460"/>
                  </a:lnTo>
                  <a:lnTo>
                    <a:pt x="4380" y="9432"/>
                  </a:lnTo>
                  <a:lnTo>
                    <a:pt x="4361" y="9404"/>
                  </a:lnTo>
                  <a:lnTo>
                    <a:pt x="4342" y="9376"/>
                  </a:lnTo>
                  <a:lnTo>
                    <a:pt x="4322" y="9350"/>
                  </a:lnTo>
                  <a:lnTo>
                    <a:pt x="4300" y="9324"/>
                  </a:lnTo>
                  <a:lnTo>
                    <a:pt x="4278" y="9299"/>
                  </a:lnTo>
                  <a:lnTo>
                    <a:pt x="4255" y="9274"/>
                  </a:lnTo>
                  <a:lnTo>
                    <a:pt x="4231" y="9250"/>
                  </a:lnTo>
                  <a:lnTo>
                    <a:pt x="1163" y="6180"/>
                  </a:lnTo>
                  <a:lnTo>
                    <a:pt x="5351" y="5557"/>
                  </a:lnTo>
                  <a:lnTo>
                    <a:pt x="5386" y="5551"/>
                  </a:lnTo>
                  <a:lnTo>
                    <a:pt x="5422" y="5543"/>
                  </a:lnTo>
                  <a:lnTo>
                    <a:pt x="5456" y="5535"/>
                  </a:lnTo>
                  <a:lnTo>
                    <a:pt x="5491" y="5526"/>
                  </a:lnTo>
                  <a:lnTo>
                    <a:pt x="5526" y="5516"/>
                  </a:lnTo>
                  <a:lnTo>
                    <a:pt x="5560" y="5505"/>
                  </a:lnTo>
                  <a:lnTo>
                    <a:pt x="5593" y="5493"/>
                  </a:lnTo>
                  <a:lnTo>
                    <a:pt x="5626" y="5480"/>
                  </a:lnTo>
                  <a:lnTo>
                    <a:pt x="5658" y="5467"/>
                  </a:lnTo>
                  <a:lnTo>
                    <a:pt x="5691" y="5452"/>
                  </a:lnTo>
                  <a:lnTo>
                    <a:pt x="5722" y="5436"/>
                  </a:lnTo>
                  <a:lnTo>
                    <a:pt x="5753" y="5420"/>
                  </a:lnTo>
                  <a:lnTo>
                    <a:pt x="5783" y="5401"/>
                  </a:lnTo>
                  <a:lnTo>
                    <a:pt x="5813" y="5383"/>
                  </a:lnTo>
                  <a:lnTo>
                    <a:pt x="5842" y="5364"/>
                  </a:lnTo>
                  <a:lnTo>
                    <a:pt x="5871" y="5344"/>
                  </a:lnTo>
                  <a:lnTo>
                    <a:pt x="5899" y="5323"/>
                  </a:lnTo>
                  <a:lnTo>
                    <a:pt x="5926" y="5301"/>
                  </a:lnTo>
                  <a:lnTo>
                    <a:pt x="5952" y="5279"/>
                  </a:lnTo>
                  <a:lnTo>
                    <a:pt x="5978" y="5254"/>
                  </a:lnTo>
                  <a:lnTo>
                    <a:pt x="6003" y="5230"/>
                  </a:lnTo>
                  <a:lnTo>
                    <a:pt x="6028" y="5206"/>
                  </a:lnTo>
                  <a:lnTo>
                    <a:pt x="6052" y="5180"/>
                  </a:lnTo>
                  <a:lnTo>
                    <a:pt x="6075" y="5154"/>
                  </a:lnTo>
                  <a:lnTo>
                    <a:pt x="6097" y="5126"/>
                  </a:lnTo>
                  <a:lnTo>
                    <a:pt x="6118" y="5098"/>
                  </a:lnTo>
                  <a:lnTo>
                    <a:pt x="6138" y="5070"/>
                  </a:lnTo>
                  <a:lnTo>
                    <a:pt x="6158" y="5041"/>
                  </a:lnTo>
                  <a:lnTo>
                    <a:pt x="6176" y="5011"/>
                  </a:lnTo>
                  <a:lnTo>
                    <a:pt x="6195" y="4980"/>
                  </a:lnTo>
                  <a:lnTo>
                    <a:pt x="6212" y="4949"/>
                  </a:lnTo>
                  <a:lnTo>
                    <a:pt x="6227" y="4918"/>
                  </a:lnTo>
                  <a:lnTo>
                    <a:pt x="8048" y="1134"/>
                  </a:lnTo>
                  <a:lnTo>
                    <a:pt x="9868" y="4918"/>
                  </a:lnTo>
                  <a:lnTo>
                    <a:pt x="9884" y="4949"/>
                  </a:lnTo>
                  <a:lnTo>
                    <a:pt x="9900" y="4980"/>
                  </a:lnTo>
                  <a:lnTo>
                    <a:pt x="9919" y="5011"/>
                  </a:lnTo>
                  <a:lnTo>
                    <a:pt x="9938" y="5041"/>
                  </a:lnTo>
                  <a:lnTo>
                    <a:pt x="9957" y="5070"/>
                  </a:lnTo>
                  <a:lnTo>
                    <a:pt x="9977" y="5098"/>
                  </a:lnTo>
                  <a:lnTo>
                    <a:pt x="9998" y="5126"/>
                  </a:lnTo>
                  <a:lnTo>
                    <a:pt x="10020" y="5154"/>
                  </a:lnTo>
                  <a:lnTo>
                    <a:pt x="10043" y="5180"/>
                  </a:lnTo>
                  <a:lnTo>
                    <a:pt x="10067" y="5206"/>
                  </a:lnTo>
                  <a:lnTo>
                    <a:pt x="10092" y="5230"/>
                  </a:lnTo>
                  <a:lnTo>
                    <a:pt x="10117" y="5254"/>
                  </a:lnTo>
                  <a:lnTo>
                    <a:pt x="10143" y="5279"/>
                  </a:lnTo>
                  <a:lnTo>
                    <a:pt x="10169" y="5301"/>
                  </a:lnTo>
                  <a:lnTo>
                    <a:pt x="10196" y="5323"/>
                  </a:lnTo>
                  <a:lnTo>
                    <a:pt x="10224" y="5344"/>
                  </a:lnTo>
                  <a:lnTo>
                    <a:pt x="10254" y="5364"/>
                  </a:lnTo>
                  <a:lnTo>
                    <a:pt x="10282" y="5383"/>
                  </a:lnTo>
                  <a:lnTo>
                    <a:pt x="10312" y="5401"/>
                  </a:lnTo>
                  <a:lnTo>
                    <a:pt x="10342" y="5420"/>
                  </a:lnTo>
                  <a:lnTo>
                    <a:pt x="10373" y="5436"/>
                  </a:lnTo>
                  <a:lnTo>
                    <a:pt x="10404" y="5452"/>
                  </a:lnTo>
                  <a:lnTo>
                    <a:pt x="10437" y="5467"/>
                  </a:lnTo>
                  <a:lnTo>
                    <a:pt x="10469" y="5480"/>
                  </a:lnTo>
                  <a:lnTo>
                    <a:pt x="10502" y="5493"/>
                  </a:lnTo>
                  <a:lnTo>
                    <a:pt x="10535" y="5505"/>
                  </a:lnTo>
                  <a:lnTo>
                    <a:pt x="10569" y="5516"/>
                  </a:lnTo>
                  <a:lnTo>
                    <a:pt x="10604" y="5526"/>
                  </a:lnTo>
                  <a:lnTo>
                    <a:pt x="10638" y="5535"/>
                  </a:lnTo>
                  <a:lnTo>
                    <a:pt x="10673" y="5543"/>
                  </a:lnTo>
                  <a:lnTo>
                    <a:pt x="10708" y="5551"/>
                  </a:lnTo>
                  <a:lnTo>
                    <a:pt x="10744" y="5557"/>
                  </a:lnTo>
                  <a:lnTo>
                    <a:pt x="14933" y="6180"/>
                  </a:lnTo>
                  <a:lnTo>
                    <a:pt x="11864" y="9250"/>
                  </a:lnTo>
                  <a:close/>
                  <a:moveTo>
                    <a:pt x="16035" y="5820"/>
                  </a:moveTo>
                  <a:lnTo>
                    <a:pt x="16022" y="5783"/>
                  </a:lnTo>
                  <a:lnTo>
                    <a:pt x="16006" y="5746"/>
                  </a:lnTo>
                  <a:lnTo>
                    <a:pt x="15990" y="5711"/>
                  </a:lnTo>
                  <a:lnTo>
                    <a:pt x="15973" y="5675"/>
                  </a:lnTo>
                  <a:lnTo>
                    <a:pt x="15954" y="5640"/>
                  </a:lnTo>
                  <a:lnTo>
                    <a:pt x="15935" y="5607"/>
                  </a:lnTo>
                  <a:lnTo>
                    <a:pt x="15914" y="5574"/>
                  </a:lnTo>
                  <a:lnTo>
                    <a:pt x="15892" y="5541"/>
                  </a:lnTo>
                  <a:lnTo>
                    <a:pt x="15869" y="5509"/>
                  </a:lnTo>
                  <a:lnTo>
                    <a:pt x="15846" y="5479"/>
                  </a:lnTo>
                  <a:lnTo>
                    <a:pt x="15820" y="5449"/>
                  </a:lnTo>
                  <a:lnTo>
                    <a:pt x="15794" y="5421"/>
                  </a:lnTo>
                  <a:lnTo>
                    <a:pt x="15767" y="5392"/>
                  </a:lnTo>
                  <a:lnTo>
                    <a:pt x="15739" y="5365"/>
                  </a:lnTo>
                  <a:lnTo>
                    <a:pt x="15711" y="5339"/>
                  </a:lnTo>
                  <a:lnTo>
                    <a:pt x="15681" y="5314"/>
                  </a:lnTo>
                  <a:lnTo>
                    <a:pt x="15650" y="5290"/>
                  </a:lnTo>
                  <a:lnTo>
                    <a:pt x="15619" y="5266"/>
                  </a:lnTo>
                  <a:lnTo>
                    <a:pt x="15587" y="5244"/>
                  </a:lnTo>
                  <a:lnTo>
                    <a:pt x="15554" y="5223"/>
                  </a:lnTo>
                  <a:lnTo>
                    <a:pt x="15521" y="5203"/>
                  </a:lnTo>
                  <a:lnTo>
                    <a:pt x="15485" y="5184"/>
                  </a:lnTo>
                  <a:lnTo>
                    <a:pt x="15450" y="5166"/>
                  </a:lnTo>
                  <a:lnTo>
                    <a:pt x="15415" y="5150"/>
                  </a:lnTo>
                  <a:lnTo>
                    <a:pt x="15379" y="5133"/>
                  </a:lnTo>
                  <a:lnTo>
                    <a:pt x="15342" y="5119"/>
                  </a:lnTo>
                  <a:lnTo>
                    <a:pt x="15304" y="5106"/>
                  </a:lnTo>
                  <a:lnTo>
                    <a:pt x="15266" y="5094"/>
                  </a:lnTo>
                  <a:lnTo>
                    <a:pt x="15227" y="5084"/>
                  </a:lnTo>
                  <a:lnTo>
                    <a:pt x="15188" y="5075"/>
                  </a:lnTo>
                  <a:lnTo>
                    <a:pt x="15148" y="5067"/>
                  </a:lnTo>
                  <a:lnTo>
                    <a:pt x="15108" y="5060"/>
                  </a:lnTo>
                  <a:lnTo>
                    <a:pt x="10920" y="4436"/>
                  </a:lnTo>
                  <a:lnTo>
                    <a:pt x="9100" y="652"/>
                  </a:lnTo>
                  <a:lnTo>
                    <a:pt x="9081" y="615"/>
                  </a:lnTo>
                  <a:lnTo>
                    <a:pt x="9061" y="579"/>
                  </a:lnTo>
                  <a:lnTo>
                    <a:pt x="9040" y="544"/>
                  </a:lnTo>
                  <a:lnTo>
                    <a:pt x="9018" y="510"/>
                  </a:lnTo>
                  <a:lnTo>
                    <a:pt x="8995" y="476"/>
                  </a:lnTo>
                  <a:lnTo>
                    <a:pt x="8970" y="444"/>
                  </a:lnTo>
                  <a:lnTo>
                    <a:pt x="8945" y="413"/>
                  </a:lnTo>
                  <a:lnTo>
                    <a:pt x="8918" y="383"/>
                  </a:lnTo>
                  <a:lnTo>
                    <a:pt x="8890" y="353"/>
                  </a:lnTo>
                  <a:lnTo>
                    <a:pt x="8861" y="324"/>
                  </a:lnTo>
                  <a:lnTo>
                    <a:pt x="8832" y="297"/>
                  </a:lnTo>
                  <a:lnTo>
                    <a:pt x="8802" y="271"/>
                  </a:lnTo>
                  <a:lnTo>
                    <a:pt x="8770" y="246"/>
                  </a:lnTo>
                  <a:lnTo>
                    <a:pt x="8738" y="222"/>
                  </a:lnTo>
                  <a:lnTo>
                    <a:pt x="8704" y="198"/>
                  </a:lnTo>
                  <a:lnTo>
                    <a:pt x="8671" y="177"/>
                  </a:lnTo>
                  <a:lnTo>
                    <a:pt x="8636" y="156"/>
                  </a:lnTo>
                  <a:lnTo>
                    <a:pt x="8601" y="137"/>
                  </a:lnTo>
                  <a:lnTo>
                    <a:pt x="8565" y="119"/>
                  </a:lnTo>
                  <a:lnTo>
                    <a:pt x="8528" y="102"/>
                  </a:lnTo>
                  <a:lnTo>
                    <a:pt x="8491" y="86"/>
                  </a:lnTo>
                  <a:lnTo>
                    <a:pt x="8453" y="72"/>
                  </a:lnTo>
                  <a:lnTo>
                    <a:pt x="8415" y="57"/>
                  </a:lnTo>
                  <a:lnTo>
                    <a:pt x="8375" y="46"/>
                  </a:lnTo>
                  <a:lnTo>
                    <a:pt x="8335" y="35"/>
                  </a:lnTo>
                  <a:lnTo>
                    <a:pt x="8296" y="26"/>
                  </a:lnTo>
                  <a:lnTo>
                    <a:pt x="8255" y="18"/>
                  </a:lnTo>
                  <a:lnTo>
                    <a:pt x="8214" y="12"/>
                  </a:lnTo>
                  <a:lnTo>
                    <a:pt x="8173" y="7"/>
                  </a:lnTo>
                  <a:lnTo>
                    <a:pt x="8131" y="3"/>
                  </a:lnTo>
                  <a:lnTo>
                    <a:pt x="8090" y="1"/>
                  </a:lnTo>
                  <a:lnTo>
                    <a:pt x="8048" y="0"/>
                  </a:lnTo>
                  <a:lnTo>
                    <a:pt x="8005" y="1"/>
                  </a:lnTo>
                  <a:lnTo>
                    <a:pt x="7963" y="3"/>
                  </a:lnTo>
                  <a:lnTo>
                    <a:pt x="7922" y="7"/>
                  </a:lnTo>
                  <a:lnTo>
                    <a:pt x="7881" y="12"/>
                  </a:lnTo>
                  <a:lnTo>
                    <a:pt x="7840" y="18"/>
                  </a:lnTo>
                  <a:lnTo>
                    <a:pt x="7799" y="26"/>
                  </a:lnTo>
                  <a:lnTo>
                    <a:pt x="7760" y="35"/>
                  </a:lnTo>
                  <a:lnTo>
                    <a:pt x="7720" y="46"/>
                  </a:lnTo>
                  <a:lnTo>
                    <a:pt x="7681" y="57"/>
                  </a:lnTo>
                  <a:lnTo>
                    <a:pt x="7642" y="72"/>
                  </a:lnTo>
                  <a:lnTo>
                    <a:pt x="7605" y="86"/>
                  </a:lnTo>
                  <a:lnTo>
                    <a:pt x="7567" y="102"/>
                  </a:lnTo>
                  <a:lnTo>
                    <a:pt x="7530" y="119"/>
                  </a:lnTo>
                  <a:lnTo>
                    <a:pt x="7494" y="137"/>
                  </a:lnTo>
                  <a:lnTo>
                    <a:pt x="7459" y="156"/>
                  </a:lnTo>
                  <a:lnTo>
                    <a:pt x="7424" y="177"/>
                  </a:lnTo>
                  <a:lnTo>
                    <a:pt x="7391" y="198"/>
                  </a:lnTo>
                  <a:lnTo>
                    <a:pt x="7357" y="222"/>
                  </a:lnTo>
                  <a:lnTo>
                    <a:pt x="7325" y="246"/>
                  </a:lnTo>
                  <a:lnTo>
                    <a:pt x="7293" y="271"/>
                  </a:lnTo>
                  <a:lnTo>
                    <a:pt x="7263" y="297"/>
                  </a:lnTo>
                  <a:lnTo>
                    <a:pt x="7234" y="324"/>
                  </a:lnTo>
                  <a:lnTo>
                    <a:pt x="7205" y="353"/>
                  </a:lnTo>
                  <a:lnTo>
                    <a:pt x="7177" y="383"/>
                  </a:lnTo>
                  <a:lnTo>
                    <a:pt x="7150" y="413"/>
                  </a:lnTo>
                  <a:lnTo>
                    <a:pt x="7125" y="444"/>
                  </a:lnTo>
                  <a:lnTo>
                    <a:pt x="7100" y="476"/>
                  </a:lnTo>
                  <a:lnTo>
                    <a:pt x="7077" y="510"/>
                  </a:lnTo>
                  <a:lnTo>
                    <a:pt x="7055" y="544"/>
                  </a:lnTo>
                  <a:lnTo>
                    <a:pt x="7034" y="579"/>
                  </a:lnTo>
                  <a:lnTo>
                    <a:pt x="7013" y="615"/>
                  </a:lnTo>
                  <a:lnTo>
                    <a:pt x="6995" y="652"/>
                  </a:lnTo>
                  <a:lnTo>
                    <a:pt x="5175" y="4436"/>
                  </a:lnTo>
                  <a:lnTo>
                    <a:pt x="987" y="5060"/>
                  </a:lnTo>
                  <a:lnTo>
                    <a:pt x="947" y="5067"/>
                  </a:lnTo>
                  <a:lnTo>
                    <a:pt x="907" y="5075"/>
                  </a:lnTo>
                  <a:lnTo>
                    <a:pt x="868" y="5084"/>
                  </a:lnTo>
                  <a:lnTo>
                    <a:pt x="829" y="5094"/>
                  </a:lnTo>
                  <a:lnTo>
                    <a:pt x="791" y="5106"/>
                  </a:lnTo>
                  <a:lnTo>
                    <a:pt x="753" y="5119"/>
                  </a:lnTo>
                  <a:lnTo>
                    <a:pt x="716" y="5133"/>
                  </a:lnTo>
                  <a:lnTo>
                    <a:pt x="680" y="5150"/>
                  </a:lnTo>
                  <a:lnTo>
                    <a:pt x="644" y="5166"/>
                  </a:lnTo>
                  <a:lnTo>
                    <a:pt x="610" y="5184"/>
                  </a:lnTo>
                  <a:lnTo>
                    <a:pt x="574" y="5203"/>
                  </a:lnTo>
                  <a:lnTo>
                    <a:pt x="541" y="5223"/>
                  </a:lnTo>
                  <a:lnTo>
                    <a:pt x="508" y="5244"/>
                  </a:lnTo>
                  <a:lnTo>
                    <a:pt x="476" y="5266"/>
                  </a:lnTo>
                  <a:lnTo>
                    <a:pt x="445" y="5290"/>
                  </a:lnTo>
                  <a:lnTo>
                    <a:pt x="414" y="5314"/>
                  </a:lnTo>
                  <a:lnTo>
                    <a:pt x="384" y="5339"/>
                  </a:lnTo>
                  <a:lnTo>
                    <a:pt x="356" y="5365"/>
                  </a:lnTo>
                  <a:lnTo>
                    <a:pt x="328" y="5392"/>
                  </a:lnTo>
                  <a:lnTo>
                    <a:pt x="301" y="5421"/>
                  </a:lnTo>
                  <a:lnTo>
                    <a:pt x="275" y="5449"/>
                  </a:lnTo>
                  <a:lnTo>
                    <a:pt x="250" y="5479"/>
                  </a:lnTo>
                  <a:lnTo>
                    <a:pt x="226" y="5509"/>
                  </a:lnTo>
                  <a:lnTo>
                    <a:pt x="203" y="5541"/>
                  </a:lnTo>
                  <a:lnTo>
                    <a:pt x="181" y="5574"/>
                  </a:lnTo>
                  <a:lnTo>
                    <a:pt x="160" y="5607"/>
                  </a:lnTo>
                  <a:lnTo>
                    <a:pt x="141" y="5640"/>
                  </a:lnTo>
                  <a:lnTo>
                    <a:pt x="122" y="5675"/>
                  </a:lnTo>
                  <a:lnTo>
                    <a:pt x="105" y="5711"/>
                  </a:lnTo>
                  <a:lnTo>
                    <a:pt x="89" y="5746"/>
                  </a:lnTo>
                  <a:lnTo>
                    <a:pt x="73" y="5783"/>
                  </a:lnTo>
                  <a:lnTo>
                    <a:pt x="60" y="5820"/>
                  </a:lnTo>
                  <a:lnTo>
                    <a:pt x="48" y="5859"/>
                  </a:lnTo>
                  <a:lnTo>
                    <a:pt x="37" y="5897"/>
                  </a:lnTo>
                  <a:lnTo>
                    <a:pt x="27" y="5935"/>
                  </a:lnTo>
                  <a:lnTo>
                    <a:pt x="20" y="5974"/>
                  </a:lnTo>
                  <a:lnTo>
                    <a:pt x="13" y="6012"/>
                  </a:lnTo>
                  <a:lnTo>
                    <a:pt x="8" y="6050"/>
                  </a:lnTo>
                  <a:lnTo>
                    <a:pt x="4" y="6089"/>
                  </a:lnTo>
                  <a:lnTo>
                    <a:pt x="1" y="6128"/>
                  </a:lnTo>
                  <a:lnTo>
                    <a:pt x="0" y="6167"/>
                  </a:lnTo>
                  <a:lnTo>
                    <a:pt x="0" y="6205"/>
                  </a:lnTo>
                  <a:lnTo>
                    <a:pt x="2" y="6244"/>
                  </a:lnTo>
                  <a:lnTo>
                    <a:pt x="5" y="6282"/>
                  </a:lnTo>
                  <a:lnTo>
                    <a:pt x="9" y="6320"/>
                  </a:lnTo>
                  <a:lnTo>
                    <a:pt x="14" y="6358"/>
                  </a:lnTo>
                  <a:lnTo>
                    <a:pt x="21" y="6396"/>
                  </a:lnTo>
                  <a:lnTo>
                    <a:pt x="29" y="6434"/>
                  </a:lnTo>
                  <a:lnTo>
                    <a:pt x="39" y="6471"/>
                  </a:lnTo>
                  <a:lnTo>
                    <a:pt x="49" y="6508"/>
                  </a:lnTo>
                  <a:lnTo>
                    <a:pt x="61" y="6545"/>
                  </a:lnTo>
                  <a:lnTo>
                    <a:pt x="74" y="6580"/>
                  </a:lnTo>
                  <a:lnTo>
                    <a:pt x="90" y="6616"/>
                  </a:lnTo>
                  <a:lnTo>
                    <a:pt x="106" y="6652"/>
                  </a:lnTo>
                  <a:lnTo>
                    <a:pt x="123" y="6687"/>
                  </a:lnTo>
                  <a:lnTo>
                    <a:pt x="141" y="6721"/>
                  </a:lnTo>
                  <a:lnTo>
                    <a:pt x="160" y="6754"/>
                  </a:lnTo>
                  <a:lnTo>
                    <a:pt x="181" y="6788"/>
                  </a:lnTo>
                  <a:lnTo>
                    <a:pt x="203" y="6820"/>
                  </a:lnTo>
                  <a:lnTo>
                    <a:pt x="225" y="6852"/>
                  </a:lnTo>
                  <a:lnTo>
                    <a:pt x="250" y="6883"/>
                  </a:lnTo>
                  <a:lnTo>
                    <a:pt x="276" y="6913"/>
                  </a:lnTo>
                  <a:lnTo>
                    <a:pt x="303" y="6943"/>
                  </a:lnTo>
                  <a:lnTo>
                    <a:pt x="330" y="6972"/>
                  </a:lnTo>
                  <a:lnTo>
                    <a:pt x="3399" y="10040"/>
                  </a:lnTo>
                  <a:lnTo>
                    <a:pt x="2688" y="14297"/>
                  </a:lnTo>
                  <a:lnTo>
                    <a:pt x="2682" y="14337"/>
                  </a:lnTo>
                  <a:lnTo>
                    <a:pt x="2677" y="14377"/>
                  </a:lnTo>
                  <a:lnTo>
                    <a:pt x="2674" y="14417"/>
                  </a:lnTo>
                  <a:lnTo>
                    <a:pt x="2673" y="14458"/>
                  </a:lnTo>
                  <a:lnTo>
                    <a:pt x="2673" y="14497"/>
                  </a:lnTo>
                  <a:lnTo>
                    <a:pt x="2674" y="14537"/>
                  </a:lnTo>
                  <a:lnTo>
                    <a:pt x="2677" y="14576"/>
                  </a:lnTo>
                  <a:lnTo>
                    <a:pt x="2681" y="14616"/>
                  </a:lnTo>
                  <a:lnTo>
                    <a:pt x="2686" y="14655"/>
                  </a:lnTo>
                  <a:lnTo>
                    <a:pt x="2693" y="14694"/>
                  </a:lnTo>
                  <a:lnTo>
                    <a:pt x="2701" y="14733"/>
                  </a:lnTo>
                  <a:lnTo>
                    <a:pt x="2711" y="14771"/>
                  </a:lnTo>
                  <a:lnTo>
                    <a:pt x="2722" y="14808"/>
                  </a:lnTo>
                  <a:lnTo>
                    <a:pt x="2734" y="14845"/>
                  </a:lnTo>
                  <a:lnTo>
                    <a:pt x="2747" y="14883"/>
                  </a:lnTo>
                  <a:lnTo>
                    <a:pt x="2762" y="14919"/>
                  </a:lnTo>
                  <a:lnTo>
                    <a:pt x="2778" y="14954"/>
                  </a:lnTo>
                  <a:lnTo>
                    <a:pt x="2797" y="14989"/>
                  </a:lnTo>
                  <a:lnTo>
                    <a:pt x="2815" y="15025"/>
                  </a:lnTo>
                  <a:lnTo>
                    <a:pt x="2835" y="15059"/>
                  </a:lnTo>
                  <a:lnTo>
                    <a:pt x="2856" y="15092"/>
                  </a:lnTo>
                  <a:lnTo>
                    <a:pt x="2878" y="15124"/>
                  </a:lnTo>
                  <a:lnTo>
                    <a:pt x="2902" y="15157"/>
                  </a:lnTo>
                  <a:lnTo>
                    <a:pt x="2926" y="15188"/>
                  </a:lnTo>
                  <a:lnTo>
                    <a:pt x="2952" y="15218"/>
                  </a:lnTo>
                  <a:lnTo>
                    <a:pt x="2980" y="15248"/>
                  </a:lnTo>
                  <a:lnTo>
                    <a:pt x="3008" y="15277"/>
                  </a:lnTo>
                  <a:lnTo>
                    <a:pt x="3037" y="15305"/>
                  </a:lnTo>
                  <a:lnTo>
                    <a:pt x="3067" y="15332"/>
                  </a:lnTo>
                  <a:lnTo>
                    <a:pt x="3098" y="15358"/>
                  </a:lnTo>
                  <a:lnTo>
                    <a:pt x="3131" y="15383"/>
                  </a:lnTo>
                  <a:lnTo>
                    <a:pt x="3165" y="15407"/>
                  </a:lnTo>
                  <a:lnTo>
                    <a:pt x="3203" y="15432"/>
                  </a:lnTo>
                  <a:lnTo>
                    <a:pt x="3241" y="15455"/>
                  </a:lnTo>
                  <a:lnTo>
                    <a:pt x="3280" y="15477"/>
                  </a:lnTo>
                  <a:lnTo>
                    <a:pt x="3321" y="15497"/>
                  </a:lnTo>
                  <a:lnTo>
                    <a:pt x="3361" y="15515"/>
                  </a:lnTo>
                  <a:lnTo>
                    <a:pt x="3402" y="15532"/>
                  </a:lnTo>
                  <a:lnTo>
                    <a:pt x="3444" y="15549"/>
                  </a:lnTo>
                  <a:lnTo>
                    <a:pt x="3487" y="15562"/>
                  </a:lnTo>
                  <a:lnTo>
                    <a:pt x="3529" y="15574"/>
                  </a:lnTo>
                  <a:lnTo>
                    <a:pt x="3572" y="15585"/>
                  </a:lnTo>
                  <a:lnTo>
                    <a:pt x="3615" y="15594"/>
                  </a:lnTo>
                  <a:lnTo>
                    <a:pt x="3659" y="15601"/>
                  </a:lnTo>
                  <a:lnTo>
                    <a:pt x="3702" y="15607"/>
                  </a:lnTo>
                  <a:lnTo>
                    <a:pt x="3746" y="15611"/>
                  </a:lnTo>
                  <a:lnTo>
                    <a:pt x="3790" y="15613"/>
                  </a:lnTo>
                  <a:lnTo>
                    <a:pt x="3834" y="15614"/>
                  </a:lnTo>
                  <a:lnTo>
                    <a:pt x="3870" y="15613"/>
                  </a:lnTo>
                  <a:lnTo>
                    <a:pt x="3906" y="15612"/>
                  </a:lnTo>
                  <a:lnTo>
                    <a:pt x="3942" y="15609"/>
                  </a:lnTo>
                  <a:lnTo>
                    <a:pt x="3978" y="15605"/>
                  </a:lnTo>
                  <a:lnTo>
                    <a:pt x="4015" y="15600"/>
                  </a:lnTo>
                  <a:lnTo>
                    <a:pt x="4051" y="15594"/>
                  </a:lnTo>
                  <a:lnTo>
                    <a:pt x="4086" y="15587"/>
                  </a:lnTo>
                  <a:lnTo>
                    <a:pt x="4121" y="15579"/>
                  </a:lnTo>
                  <a:lnTo>
                    <a:pt x="4158" y="15570"/>
                  </a:lnTo>
                  <a:lnTo>
                    <a:pt x="4192" y="15559"/>
                  </a:lnTo>
                  <a:lnTo>
                    <a:pt x="4227" y="15548"/>
                  </a:lnTo>
                  <a:lnTo>
                    <a:pt x="4261" y="15534"/>
                  </a:lnTo>
                  <a:lnTo>
                    <a:pt x="4295" y="15520"/>
                  </a:lnTo>
                  <a:lnTo>
                    <a:pt x="4330" y="15505"/>
                  </a:lnTo>
                  <a:lnTo>
                    <a:pt x="4363" y="15490"/>
                  </a:lnTo>
                  <a:lnTo>
                    <a:pt x="4396" y="15473"/>
                  </a:lnTo>
                  <a:lnTo>
                    <a:pt x="8048" y="13505"/>
                  </a:lnTo>
                  <a:lnTo>
                    <a:pt x="11699" y="15473"/>
                  </a:lnTo>
                  <a:lnTo>
                    <a:pt x="11732" y="15490"/>
                  </a:lnTo>
                  <a:lnTo>
                    <a:pt x="11765" y="15505"/>
                  </a:lnTo>
                  <a:lnTo>
                    <a:pt x="11800" y="15520"/>
                  </a:lnTo>
                  <a:lnTo>
                    <a:pt x="11834" y="15534"/>
                  </a:lnTo>
                  <a:lnTo>
                    <a:pt x="11868" y="15548"/>
                  </a:lnTo>
                  <a:lnTo>
                    <a:pt x="11903" y="15559"/>
                  </a:lnTo>
                  <a:lnTo>
                    <a:pt x="11938" y="15570"/>
                  </a:lnTo>
                  <a:lnTo>
                    <a:pt x="11974" y="15579"/>
                  </a:lnTo>
                  <a:lnTo>
                    <a:pt x="12009" y="15587"/>
                  </a:lnTo>
                  <a:lnTo>
                    <a:pt x="12044" y="15594"/>
                  </a:lnTo>
                  <a:lnTo>
                    <a:pt x="12080" y="15600"/>
                  </a:lnTo>
                  <a:lnTo>
                    <a:pt x="12117" y="15605"/>
                  </a:lnTo>
                  <a:lnTo>
                    <a:pt x="12153" y="15609"/>
                  </a:lnTo>
                  <a:lnTo>
                    <a:pt x="12189" y="15612"/>
                  </a:lnTo>
                  <a:lnTo>
                    <a:pt x="12224" y="15613"/>
                  </a:lnTo>
                  <a:lnTo>
                    <a:pt x="12260" y="15614"/>
                  </a:lnTo>
                  <a:lnTo>
                    <a:pt x="12305" y="15613"/>
                  </a:lnTo>
                  <a:lnTo>
                    <a:pt x="12349" y="15611"/>
                  </a:lnTo>
                  <a:lnTo>
                    <a:pt x="12393" y="15607"/>
                  </a:lnTo>
                  <a:lnTo>
                    <a:pt x="12436" y="15601"/>
                  </a:lnTo>
                  <a:lnTo>
                    <a:pt x="12480" y="15594"/>
                  </a:lnTo>
                  <a:lnTo>
                    <a:pt x="12523" y="15585"/>
                  </a:lnTo>
                  <a:lnTo>
                    <a:pt x="12566" y="15574"/>
                  </a:lnTo>
                  <a:lnTo>
                    <a:pt x="12608" y="15562"/>
                  </a:lnTo>
                  <a:lnTo>
                    <a:pt x="12651" y="15549"/>
                  </a:lnTo>
                  <a:lnTo>
                    <a:pt x="12693" y="15532"/>
                  </a:lnTo>
                  <a:lnTo>
                    <a:pt x="12734" y="15515"/>
                  </a:lnTo>
                  <a:lnTo>
                    <a:pt x="12774" y="15497"/>
                  </a:lnTo>
                  <a:lnTo>
                    <a:pt x="12815" y="15477"/>
                  </a:lnTo>
                  <a:lnTo>
                    <a:pt x="12854" y="15455"/>
                  </a:lnTo>
                  <a:lnTo>
                    <a:pt x="12893" y="15432"/>
                  </a:lnTo>
                  <a:lnTo>
                    <a:pt x="12930" y="15407"/>
                  </a:lnTo>
                  <a:lnTo>
                    <a:pt x="12965" y="15383"/>
                  </a:lnTo>
                  <a:lnTo>
                    <a:pt x="12997" y="15358"/>
                  </a:lnTo>
                  <a:lnTo>
                    <a:pt x="13028" y="15332"/>
                  </a:lnTo>
                  <a:lnTo>
                    <a:pt x="13058" y="15305"/>
                  </a:lnTo>
                  <a:lnTo>
                    <a:pt x="13087" y="15277"/>
                  </a:lnTo>
                  <a:lnTo>
                    <a:pt x="13115" y="15248"/>
                  </a:lnTo>
                  <a:lnTo>
                    <a:pt x="13143" y="15218"/>
                  </a:lnTo>
                  <a:lnTo>
                    <a:pt x="13169" y="15188"/>
                  </a:lnTo>
                  <a:lnTo>
                    <a:pt x="13194" y="15157"/>
                  </a:lnTo>
                  <a:lnTo>
                    <a:pt x="13217" y="15124"/>
                  </a:lnTo>
                  <a:lnTo>
                    <a:pt x="13239" y="15092"/>
                  </a:lnTo>
                  <a:lnTo>
                    <a:pt x="13260" y="15059"/>
                  </a:lnTo>
                  <a:lnTo>
                    <a:pt x="13280" y="15025"/>
                  </a:lnTo>
                  <a:lnTo>
                    <a:pt x="13298" y="14989"/>
                  </a:lnTo>
                  <a:lnTo>
                    <a:pt x="13317" y="14954"/>
                  </a:lnTo>
                  <a:lnTo>
                    <a:pt x="13333" y="14919"/>
                  </a:lnTo>
                  <a:lnTo>
                    <a:pt x="13347" y="14883"/>
                  </a:lnTo>
                  <a:lnTo>
                    <a:pt x="13361" y="14845"/>
                  </a:lnTo>
                  <a:lnTo>
                    <a:pt x="13373" y="14808"/>
                  </a:lnTo>
                  <a:lnTo>
                    <a:pt x="13384" y="14771"/>
                  </a:lnTo>
                  <a:lnTo>
                    <a:pt x="13394" y="14733"/>
                  </a:lnTo>
                  <a:lnTo>
                    <a:pt x="13402" y="14694"/>
                  </a:lnTo>
                  <a:lnTo>
                    <a:pt x="13409" y="14655"/>
                  </a:lnTo>
                  <a:lnTo>
                    <a:pt x="13414" y="14616"/>
                  </a:lnTo>
                  <a:lnTo>
                    <a:pt x="13418" y="14576"/>
                  </a:lnTo>
                  <a:lnTo>
                    <a:pt x="13421" y="14537"/>
                  </a:lnTo>
                  <a:lnTo>
                    <a:pt x="13422" y="14497"/>
                  </a:lnTo>
                  <a:lnTo>
                    <a:pt x="13422" y="14458"/>
                  </a:lnTo>
                  <a:lnTo>
                    <a:pt x="13421" y="14417"/>
                  </a:lnTo>
                  <a:lnTo>
                    <a:pt x="13418" y="14377"/>
                  </a:lnTo>
                  <a:lnTo>
                    <a:pt x="13413" y="14337"/>
                  </a:lnTo>
                  <a:lnTo>
                    <a:pt x="13407" y="14297"/>
                  </a:lnTo>
                  <a:lnTo>
                    <a:pt x="12695" y="10040"/>
                  </a:lnTo>
                  <a:lnTo>
                    <a:pt x="15765" y="6972"/>
                  </a:lnTo>
                  <a:lnTo>
                    <a:pt x="15793" y="6943"/>
                  </a:lnTo>
                  <a:lnTo>
                    <a:pt x="15819" y="6913"/>
                  </a:lnTo>
                  <a:lnTo>
                    <a:pt x="15845" y="6883"/>
                  </a:lnTo>
                  <a:lnTo>
                    <a:pt x="15870" y="6852"/>
                  </a:lnTo>
                  <a:lnTo>
                    <a:pt x="15893" y="6820"/>
                  </a:lnTo>
                  <a:lnTo>
                    <a:pt x="15914" y="6788"/>
                  </a:lnTo>
                  <a:lnTo>
                    <a:pt x="15935" y="6754"/>
                  </a:lnTo>
                  <a:lnTo>
                    <a:pt x="15954" y="6721"/>
                  </a:lnTo>
                  <a:lnTo>
                    <a:pt x="15973" y="6687"/>
                  </a:lnTo>
                  <a:lnTo>
                    <a:pt x="15989" y="6652"/>
                  </a:lnTo>
                  <a:lnTo>
                    <a:pt x="16005" y="6616"/>
                  </a:lnTo>
                  <a:lnTo>
                    <a:pt x="16021" y="6580"/>
                  </a:lnTo>
                  <a:lnTo>
                    <a:pt x="16034" y="6545"/>
                  </a:lnTo>
                  <a:lnTo>
                    <a:pt x="16046" y="6508"/>
                  </a:lnTo>
                  <a:lnTo>
                    <a:pt x="16056" y="6471"/>
                  </a:lnTo>
                  <a:lnTo>
                    <a:pt x="16066" y="6434"/>
                  </a:lnTo>
                  <a:lnTo>
                    <a:pt x="16074" y="6396"/>
                  </a:lnTo>
                  <a:lnTo>
                    <a:pt x="16080" y="6358"/>
                  </a:lnTo>
                  <a:lnTo>
                    <a:pt x="16086" y="6320"/>
                  </a:lnTo>
                  <a:lnTo>
                    <a:pt x="16090" y="6282"/>
                  </a:lnTo>
                  <a:lnTo>
                    <a:pt x="16093" y="6244"/>
                  </a:lnTo>
                  <a:lnTo>
                    <a:pt x="16095" y="6205"/>
                  </a:lnTo>
                  <a:lnTo>
                    <a:pt x="16095" y="6167"/>
                  </a:lnTo>
                  <a:lnTo>
                    <a:pt x="16094" y="6128"/>
                  </a:lnTo>
                  <a:lnTo>
                    <a:pt x="16091" y="6089"/>
                  </a:lnTo>
                  <a:lnTo>
                    <a:pt x="16087" y="6050"/>
                  </a:lnTo>
                  <a:lnTo>
                    <a:pt x="16082" y="6012"/>
                  </a:lnTo>
                  <a:lnTo>
                    <a:pt x="16075" y="5974"/>
                  </a:lnTo>
                  <a:lnTo>
                    <a:pt x="16067" y="5935"/>
                  </a:lnTo>
                  <a:lnTo>
                    <a:pt x="16058" y="5897"/>
                  </a:lnTo>
                  <a:lnTo>
                    <a:pt x="16047" y="5859"/>
                  </a:lnTo>
                  <a:lnTo>
                    <a:pt x="16035" y="58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94" name="íśļïḋê">
              <a:extLst>
                <a:ext uri="{FF2B5EF4-FFF2-40B4-BE49-F238E27FC236}">
                  <a16:creationId xmlns:a16="http://schemas.microsoft.com/office/drawing/2014/main" id="{32778090-E016-45CD-90DD-2ADF4457DBA0}"/>
                </a:ext>
              </a:extLst>
            </p:cNvPr>
            <p:cNvSpPr/>
            <p:nvPr/>
          </p:nvSpPr>
          <p:spPr bwMode="auto">
            <a:xfrm>
              <a:off x="5889880" y="1111763"/>
              <a:ext cx="363600" cy="362763"/>
            </a:xfrm>
            <a:custGeom>
              <a:avLst/>
              <a:gdLst>
                <a:gd name="T0" fmla="*/ 13537 w 16094"/>
                <a:gd name="T1" fmla="*/ 6059 h 16058"/>
                <a:gd name="T2" fmla="*/ 13105 w 16094"/>
                <a:gd name="T3" fmla="*/ 4843 h 16058"/>
                <a:gd name="T4" fmla="*/ 12309 w 16094"/>
                <a:gd name="T5" fmla="*/ 3778 h 16058"/>
                <a:gd name="T6" fmla="*/ 11103 w 16094"/>
                <a:gd name="T7" fmla="*/ 2914 h 16058"/>
                <a:gd name="T8" fmla="*/ 9730 w 16094"/>
                <a:gd name="T9" fmla="*/ 2510 h 16058"/>
                <a:gd name="T10" fmla="*/ 10548 w 16094"/>
                <a:gd name="T11" fmla="*/ 1344 h 16058"/>
                <a:gd name="T12" fmla="*/ 11273 w 16094"/>
                <a:gd name="T13" fmla="*/ 1058 h 16058"/>
                <a:gd name="T14" fmla="*/ 12175 w 16094"/>
                <a:gd name="T15" fmla="*/ 1030 h 16058"/>
                <a:gd name="T16" fmla="*/ 13215 w 16094"/>
                <a:gd name="T17" fmla="*/ 1370 h 16058"/>
                <a:gd name="T18" fmla="*/ 14130 w 16094"/>
                <a:gd name="T19" fmla="*/ 2061 h 16058"/>
                <a:gd name="T20" fmla="*/ 14752 w 16094"/>
                <a:gd name="T21" fmla="*/ 2927 h 16058"/>
                <a:gd name="T22" fmla="*/ 15061 w 16094"/>
                <a:gd name="T23" fmla="*/ 3885 h 16058"/>
                <a:gd name="T24" fmla="*/ 15035 w 16094"/>
                <a:gd name="T25" fmla="*/ 4794 h 16058"/>
                <a:gd name="T26" fmla="*/ 14704 w 16094"/>
                <a:gd name="T27" fmla="*/ 5577 h 16058"/>
                <a:gd name="T28" fmla="*/ 4429 w 16094"/>
                <a:gd name="T29" fmla="*/ 13990 h 16058"/>
                <a:gd name="T30" fmla="*/ 4128 w 16094"/>
                <a:gd name="T31" fmla="*/ 13119 h 16058"/>
                <a:gd name="T32" fmla="*/ 3522 w 16094"/>
                <a:gd name="T33" fmla="*/ 12349 h 16058"/>
                <a:gd name="T34" fmla="*/ 2735 w 16094"/>
                <a:gd name="T35" fmla="*/ 11832 h 16058"/>
                <a:gd name="T36" fmla="*/ 1857 w 16094"/>
                <a:gd name="T37" fmla="*/ 11600 h 16058"/>
                <a:gd name="T38" fmla="*/ 2349 w 16094"/>
                <a:gd name="T39" fmla="*/ 9539 h 16058"/>
                <a:gd name="T40" fmla="*/ 3383 w 16094"/>
                <a:gd name="T41" fmla="*/ 9051 h 16058"/>
                <a:gd name="T42" fmla="*/ 5065 w 16094"/>
                <a:gd name="T43" fmla="*/ 9305 h 16058"/>
                <a:gd name="T44" fmla="*/ 6529 w 16094"/>
                <a:gd name="T45" fmla="*/ 10574 h 16058"/>
                <a:gd name="T46" fmla="*/ 7057 w 16094"/>
                <a:gd name="T47" fmla="*/ 12341 h 16058"/>
                <a:gd name="T48" fmla="*/ 6481 w 16094"/>
                <a:gd name="T49" fmla="*/ 13816 h 16058"/>
                <a:gd name="T50" fmla="*/ 1899 w 16094"/>
                <a:gd name="T51" fmla="*/ 15034 h 16058"/>
                <a:gd name="T52" fmla="*/ 1430 w 16094"/>
                <a:gd name="T53" fmla="*/ 14978 h 16058"/>
                <a:gd name="T54" fmla="*/ 1080 w 16094"/>
                <a:gd name="T55" fmla="*/ 14626 h 16058"/>
                <a:gd name="T56" fmla="*/ 1037 w 16094"/>
                <a:gd name="T57" fmla="*/ 14110 h 16058"/>
                <a:gd name="T58" fmla="*/ 2133 w 16094"/>
                <a:gd name="T59" fmla="*/ 12161 h 16058"/>
                <a:gd name="T60" fmla="*/ 2879 w 16094"/>
                <a:gd name="T61" fmla="*/ 12483 h 16058"/>
                <a:gd name="T62" fmla="*/ 3517 w 16094"/>
                <a:gd name="T63" fmla="*/ 13089 h 16058"/>
                <a:gd name="T64" fmla="*/ 3887 w 16094"/>
                <a:gd name="T65" fmla="*/ 13837 h 16058"/>
                <a:gd name="T66" fmla="*/ 5275 w 16094"/>
                <a:gd name="T67" fmla="*/ 8311 h 16058"/>
                <a:gd name="T68" fmla="*/ 4471 w 16094"/>
                <a:gd name="T69" fmla="*/ 8075 h 16058"/>
                <a:gd name="T70" fmla="*/ 3832 w 16094"/>
                <a:gd name="T71" fmla="*/ 8011 h 16058"/>
                <a:gd name="T72" fmla="*/ 8544 w 16094"/>
                <a:gd name="T73" fmla="*/ 3613 h 16058"/>
                <a:gd name="T74" fmla="*/ 9615 w 16094"/>
                <a:gd name="T75" fmla="*/ 3512 h 16058"/>
                <a:gd name="T76" fmla="*/ 7177 w 16094"/>
                <a:gd name="T77" fmla="*/ 9768 h 16058"/>
                <a:gd name="T78" fmla="*/ 6475 w 16094"/>
                <a:gd name="T79" fmla="*/ 9029 h 16058"/>
                <a:gd name="T80" fmla="*/ 10683 w 16094"/>
                <a:gd name="T81" fmla="*/ 3831 h 16058"/>
                <a:gd name="T82" fmla="*/ 11597 w 16094"/>
                <a:gd name="T83" fmla="*/ 4487 h 16058"/>
                <a:gd name="T84" fmla="*/ 12178 w 16094"/>
                <a:gd name="T85" fmla="*/ 5258 h 16058"/>
                <a:gd name="T86" fmla="*/ 7882 w 16094"/>
                <a:gd name="T87" fmla="*/ 11105 h 16058"/>
                <a:gd name="T88" fmla="*/ 12576 w 16094"/>
                <a:gd name="T89" fmla="*/ 6482 h 16058"/>
                <a:gd name="T90" fmla="*/ 12439 w 16094"/>
                <a:gd name="T91" fmla="*/ 7635 h 16058"/>
                <a:gd name="T92" fmla="*/ 11948 w 16094"/>
                <a:gd name="T93" fmla="*/ 8406 h 16058"/>
                <a:gd name="T94" fmla="*/ 14463 w 16094"/>
                <a:gd name="T95" fmla="*/ 1003 h 16058"/>
                <a:gd name="T96" fmla="*/ 13190 w 16094"/>
                <a:gd name="T97" fmla="*/ 260 h 16058"/>
                <a:gd name="T98" fmla="*/ 11795 w 16094"/>
                <a:gd name="T99" fmla="*/ 0 h 16058"/>
                <a:gd name="T100" fmla="*/ 10660 w 16094"/>
                <a:gd name="T101" fmla="*/ 187 h 16058"/>
                <a:gd name="T102" fmla="*/ 9684 w 16094"/>
                <a:gd name="T103" fmla="*/ 727 h 16058"/>
                <a:gd name="T104" fmla="*/ 1704 w 16094"/>
                <a:gd name="T105" fmla="*/ 8728 h 16058"/>
                <a:gd name="T106" fmla="*/ 1279 w 16094"/>
                <a:gd name="T107" fmla="*/ 9454 h 16058"/>
                <a:gd name="T108" fmla="*/ 0 w 16094"/>
                <a:gd name="T109" fmla="*/ 14302 h 16058"/>
                <a:gd name="T110" fmla="*/ 402 w 16094"/>
                <a:gd name="T111" fmla="*/ 15419 h 16058"/>
                <a:gd name="T112" fmla="*/ 1407 w 16094"/>
                <a:gd name="T113" fmla="*/ 16022 h 16058"/>
                <a:gd name="T114" fmla="*/ 2275 w 16094"/>
                <a:gd name="T115" fmla="*/ 15980 h 16058"/>
                <a:gd name="T116" fmla="*/ 7227 w 16094"/>
                <a:gd name="T117" fmla="*/ 14541 h 16058"/>
                <a:gd name="T118" fmla="*/ 15901 w 16094"/>
                <a:gd name="T119" fmla="*/ 5421 h 16058"/>
                <a:gd name="T120" fmla="*/ 15857 w 16094"/>
                <a:gd name="T121" fmla="*/ 2953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094" h="16058">
                  <a:moveTo>
                    <a:pt x="14431" y="5907"/>
                  </a:moveTo>
                  <a:lnTo>
                    <a:pt x="13584" y="6759"/>
                  </a:lnTo>
                  <a:lnTo>
                    <a:pt x="13585" y="6717"/>
                  </a:lnTo>
                  <a:lnTo>
                    <a:pt x="13586" y="6675"/>
                  </a:lnTo>
                  <a:lnTo>
                    <a:pt x="13588" y="6633"/>
                  </a:lnTo>
                  <a:lnTo>
                    <a:pt x="13590" y="6591"/>
                  </a:lnTo>
                  <a:lnTo>
                    <a:pt x="13591" y="6549"/>
                  </a:lnTo>
                  <a:lnTo>
                    <a:pt x="13591" y="6507"/>
                  </a:lnTo>
                  <a:lnTo>
                    <a:pt x="13590" y="6464"/>
                  </a:lnTo>
                  <a:lnTo>
                    <a:pt x="13587" y="6420"/>
                  </a:lnTo>
                  <a:lnTo>
                    <a:pt x="13578" y="6330"/>
                  </a:lnTo>
                  <a:lnTo>
                    <a:pt x="13566" y="6240"/>
                  </a:lnTo>
                  <a:lnTo>
                    <a:pt x="13553" y="6148"/>
                  </a:lnTo>
                  <a:lnTo>
                    <a:pt x="13537" y="6059"/>
                  </a:lnTo>
                  <a:lnTo>
                    <a:pt x="13520" y="5969"/>
                  </a:lnTo>
                  <a:lnTo>
                    <a:pt x="13500" y="5879"/>
                  </a:lnTo>
                  <a:lnTo>
                    <a:pt x="13478" y="5790"/>
                  </a:lnTo>
                  <a:lnTo>
                    <a:pt x="13453" y="5702"/>
                  </a:lnTo>
                  <a:lnTo>
                    <a:pt x="13427" y="5613"/>
                  </a:lnTo>
                  <a:lnTo>
                    <a:pt x="13400" y="5525"/>
                  </a:lnTo>
                  <a:lnTo>
                    <a:pt x="13370" y="5439"/>
                  </a:lnTo>
                  <a:lnTo>
                    <a:pt x="13338" y="5351"/>
                  </a:lnTo>
                  <a:lnTo>
                    <a:pt x="13305" y="5265"/>
                  </a:lnTo>
                  <a:lnTo>
                    <a:pt x="13268" y="5180"/>
                  </a:lnTo>
                  <a:lnTo>
                    <a:pt x="13230" y="5094"/>
                  </a:lnTo>
                  <a:lnTo>
                    <a:pt x="13191" y="5010"/>
                  </a:lnTo>
                  <a:lnTo>
                    <a:pt x="13150" y="4927"/>
                  </a:lnTo>
                  <a:lnTo>
                    <a:pt x="13105" y="4843"/>
                  </a:lnTo>
                  <a:lnTo>
                    <a:pt x="13060" y="4761"/>
                  </a:lnTo>
                  <a:lnTo>
                    <a:pt x="13014" y="4680"/>
                  </a:lnTo>
                  <a:lnTo>
                    <a:pt x="12965" y="4600"/>
                  </a:lnTo>
                  <a:lnTo>
                    <a:pt x="12913" y="4520"/>
                  </a:lnTo>
                  <a:lnTo>
                    <a:pt x="12861" y="4441"/>
                  </a:lnTo>
                  <a:lnTo>
                    <a:pt x="12807" y="4364"/>
                  </a:lnTo>
                  <a:lnTo>
                    <a:pt x="12750" y="4286"/>
                  </a:lnTo>
                  <a:lnTo>
                    <a:pt x="12692" y="4210"/>
                  </a:lnTo>
                  <a:lnTo>
                    <a:pt x="12633" y="4136"/>
                  </a:lnTo>
                  <a:lnTo>
                    <a:pt x="12571" y="4062"/>
                  </a:lnTo>
                  <a:lnTo>
                    <a:pt x="12508" y="3989"/>
                  </a:lnTo>
                  <a:lnTo>
                    <a:pt x="12443" y="3917"/>
                  </a:lnTo>
                  <a:lnTo>
                    <a:pt x="12376" y="3847"/>
                  </a:lnTo>
                  <a:lnTo>
                    <a:pt x="12309" y="3778"/>
                  </a:lnTo>
                  <a:lnTo>
                    <a:pt x="12230" y="3701"/>
                  </a:lnTo>
                  <a:lnTo>
                    <a:pt x="12152" y="3628"/>
                  </a:lnTo>
                  <a:lnTo>
                    <a:pt x="12071" y="3557"/>
                  </a:lnTo>
                  <a:lnTo>
                    <a:pt x="11989" y="3487"/>
                  </a:lnTo>
                  <a:lnTo>
                    <a:pt x="11905" y="3419"/>
                  </a:lnTo>
                  <a:lnTo>
                    <a:pt x="11821" y="3354"/>
                  </a:lnTo>
                  <a:lnTo>
                    <a:pt x="11735" y="3292"/>
                  </a:lnTo>
                  <a:lnTo>
                    <a:pt x="11648" y="3231"/>
                  </a:lnTo>
                  <a:lnTo>
                    <a:pt x="11560" y="3172"/>
                  </a:lnTo>
                  <a:lnTo>
                    <a:pt x="11471" y="3116"/>
                  </a:lnTo>
                  <a:lnTo>
                    <a:pt x="11380" y="3062"/>
                  </a:lnTo>
                  <a:lnTo>
                    <a:pt x="11289" y="3010"/>
                  </a:lnTo>
                  <a:lnTo>
                    <a:pt x="11196" y="2961"/>
                  </a:lnTo>
                  <a:lnTo>
                    <a:pt x="11103" y="2914"/>
                  </a:lnTo>
                  <a:lnTo>
                    <a:pt x="11009" y="2868"/>
                  </a:lnTo>
                  <a:lnTo>
                    <a:pt x="10913" y="2826"/>
                  </a:lnTo>
                  <a:lnTo>
                    <a:pt x="10818" y="2786"/>
                  </a:lnTo>
                  <a:lnTo>
                    <a:pt x="10721" y="2749"/>
                  </a:lnTo>
                  <a:lnTo>
                    <a:pt x="10625" y="2714"/>
                  </a:lnTo>
                  <a:lnTo>
                    <a:pt x="10527" y="2681"/>
                  </a:lnTo>
                  <a:lnTo>
                    <a:pt x="10429" y="2651"/>
                  </a:lnTo>
                  <a:lnTo>
                    <a:pt x="10330" y="2622"/>
                  </a:lnTo>
                  <a:lnTo>
                    <a:pt x="10231" y="2597"/>
                  </a:lnTo>
                  <a:lnTo>
                    <a:pt x="10132" y="2574"/>
                  </a:lnTo>
                  <a:lnTo>
                    <a:pt x="10031" y="2554"/>
                  </a:lnTo>
                  <a:lnTo>
                    <a:pt x="9932" y="2537"/>
                  </a:lnTo>
                  <a:lnTo>
                    <a:pt x="9831" y="2522"/>
                  </a:lnTo>
                  <a:lnTo>
                    <a:pt x="9730" y="2510"/>
                  </a:lnTo>
                  <a:lnTo>
                    <a:pt x="9630" y="2500"/>
                  </a:lnTo>
                  <a:lnTo>
                    <a:pt x="9529" y="2493"/>
                  </a:lnTo>
                  <a:lnTo>
                    <a:pt x="9428" y="2489"/>
                  </a:lnTo>
                  <a:lnTo>
                    <a:pt x="9327" y="2487"/>
                  </a:lnTo>
                  <a:lnTo>
                    <a:pt x="10160" y="1649"/>
                  </a:lnTo>
                  <a:lnTo>
                    <a:pt x="10199" y="1611"/>
                  </a:lnTo>
                  <a:lnTo>
                    <a:pt x="10240" y="1574"/>
                  </a:lnTo>
                  <a:lnTo>
                    <a:pt x="10282" y="1538"/>
                  </a:lnTo>
                  <a:lnTo>
                    <a:pt x="10324" y="1502"/>
                  </a:lnTo>
                  <a:lnTo>
                    <a:pt x="10367" y="1468"/>
                  </a:lnTo>
                  <a:lnTo>
                    <a:pt x="10411" y="1435"/>
                  </a:lnTo>
                  <a:lnTo>
                    <a:pt x="10456" y="1404"/>
                  </a:lnTo>
                  <a:lnTo>
                    <a:pt x="10502" y="1373"/>
                  </a:lnTo>
                  <a:lnTo>
                    <a:pt x="10548" y="1344"/>
                  </a:lnTo>
                  <a:lnTo>
                    <a:pt x="10596" y="1316"/>
                  </a:lnTo>
                  <a:lnTo>
                    <a:pt x="10644" y="1289"/>
                  </a:lnTo>
                  <a:lnTo>
                    <a:pt x="10692" y="1263"/>
                  </a:lnTo>
                  <a:lnTo>
                    <a:pt x="10742" y="1237"/>
                  </a:lnTo>
                  <a:lnTo>
                    <a:pt x="10793" y="1214"/>
                  </a:lnTo>
                  <a:lnTo>
                    <a:pt x="10843" y="1192"/>
                  </a:lnTo>
                  <a:lnTo>
                    <a:pt x="10894" y="1171"/>
                  </a:lnTo>
                  <a:lnTo>
                    <a:pt x="10947" y="1151"/>
                  </a:lnTo>
                  <a:lnTo>
                    <a:pt x="11000" y="1132"/>
                  </a:lnTo>
                  <a:lnTo>
                    <a:pt x="11053" y="1115"/>
                  </a:lnTo>
                  <a:lnTo>
                    <a:pt x="11108" y="1099"/>
                  </a:lnTo>
                  <a:lnTo>
                    <a:pt x="11162" y="1084"/>
                  </a:lnTo>
                  <a:lnTo>
                    <a:pt x="11217" y="1070"/>
                  </a:lnTo>
                  <a:lnTo>
                    <a:pt x="11273" y="1058"/>
                  </a:lnTo>
                  <a:lnTo>
                    <a:pt x="11329" y="1046"/>
                  </a:lnTo>
                  <a:lnTo>
                    <a:pt x="11386" y="1037"/>
                  </a:lnTo>
                  <a:lnTo>
                    <a:pt x="11444" y="1028"/>
                  </a:lnTo>
                  <a:lnTo>
                    <a:pt x="11501" y="1021"/>
                  </a:lnTo>
                  <a:lnTo>
                    <a:pt x="11559" y="1015"/>
                  </a:lnTo>
                  <a:lnTo>
                    <a:pt x="11618" y="1010"/>
                  </a:lnTo>
                  <a:lnTo>
                    <a:pt x="11676" y="1007"/>
                  </a:lnTo>
                  <a:lnTo>
                    <a:pt x="11735" y="1005"/>
                  </a:lnTo>
                  <a:lnTo>
                    <a:pt x="11795" y="1004"/>
                  </a:lnTo>
                  <a:lnTo>
                    <a:pt x="11871" y="1005"/>
                  </a:lnTo>
                  <a:lnTo>
                    <a:pt x="11947" y="1008"/>
                  </a:lnTo>
                  <a:lnTo>
                    <a:pt x="12023" y="1014"/>
                  </a:lnTo>
                  <a:lnTo>
                    <a:pt x="12098" y="1021"/>
                  </a:lnTo>
                  <a:lnTo>
                    <a:pt x="12175" y="1030"/>
                  </a:lnTo>
                  <a:lnTo>
                    <a:pt x="12251" y="1042"/>
                  </a:lnTo>
                  <a:lnTo>
                    <a:pt x="12327" y="1055"/>
                  </a:lnTo>
                  <a:lnTo>
                    <a:pt x="12402" y="1071"/>
                  </a:lnTo>
                  <a:lnTo>
                    <a:pt x="12478" y="1088"/>
                  </a:lnTo>
                  <a:lnTo>
                    <a:pt x="12553" y="1108"/>
                  </a:lnTo>
                  <a:lnTo>
                    <a:pt x="12629" y="1129"/>
                  </a:lnTo>
                  <a:lnTo>
                    <a:pt x="12703" y="1153"/>
                  </a:lnTo>
                  <a:lnTo>
                    <a:pt x="12777" y="1178"/>
                  </a:lnTo>
                  <a:lnTo>
                    <a:pt x="12852" y="1205"/>
                  </a:lnTo>
                  <a:lnTo>
                    <a:pt x="12925" y="1234"/>
                  </a:lnTo>
                  <a:lnTo>
                    <a:pt x="12999" y="1266"/>
                  </a:lnTo>
                  <a:lnTo>
                    <a:pt x="13071" y="1299"/>
                  </a:lnTo>
                  <a:lnTo>
                    <a:pt x="13144" y="1334"/>
                  </a:lnTo>
                  <a:lnTo>
                    <a:pt x="13215" y="1370"/>
                  </a:lnTo>
                  <a:lnTo>
                    <a:pt x="13285" y="1408"/>
                  </a:lnTo>
                  <a:lnTo>
                    <a:pt x="13356" y="1448"/>
                  </a:lnTo>
                  <a:lnTo>
                    <a:pt x="13425" y="1490"/>
                  </a:lnTo>
                  <a:lnTo>
                    <a:pt x="13495" y="1535"/>
                  </a:lnTo>
                  <a:lnTo>
                    <a:pt x="13562" y="1580"/>
                  </a:lnTo>
                  <a:lnTo>
                    <a:pt x="13629" y="1627"/>
                  </a:lnTo>
                  <a:lnTo>
                    <a:pt x="13696" y="1676"/>
                  </a:lnTo>
                  <a:lnTo>
                    <a:pt x="13761" y="1727"/>
                  </a:lnTo>
                  <a:lnTo>
                    <a:pt x="13827" y="1779"/>
                  </a:lnTo>
                  <a:lnTo>
                    <a:pt x="13890" y="1834"/>
                  </a:lnTo>
                  <a:lnTo>
                    <a:pt x="13952" y="1889"/>
                  </a:lnTo>
                  <a:lnTo>
                    <a:pt x="14014" y="1946"/>
                  </a:lnTo>
                  <a:lnTo>
                    <a:pt x="14075" y="2005"/>
                  </a:lnTo>
                  <a:lnTo>
                    <a:pt x="14130" y="2061"/>
                  </a:lnTo>
                  <a:lnTo>
                    <a:pt x="14185" y="2119"/>
                  </a:lnTo>
                  <a:lnTo>
                    <a:pt x="14237" y="2177"/>
                  </a:lnTo>
                  <a:lnTo>
                    <a:pt x="14288" y="2235"/>
                  </a:lnTo>
                  <a:lnTo>
                    <a:pt x="14338" y="2295"/>
                  </a:lnTo>
                  <a:lnTo>
                    <a:pt x="14386" y="2356"/>
                  </a:lnTo>
                  <a:lnTo>
                    <a:pt x="14433" y="2417"/>
                  </a:lnTo>
                  <a:lnTo>
                    <a:pt x="14478" y="2478"/>
                  </a:lnTo>
                  <a:lnTo>
                    <a:pt x="14522" y="2540"/>
                  </a:lnTo>
                  <a:lnTo>
                    <a:pt x="14564" y="2603"/>
                  </a:lnTo>
                  <a:lnTo>
                    <a:pt x="14605" y="2667"/>
                  </a:lnTo>
                  <a:lnTo>
                    <a:pt x="14644" y="2731"/>
                  </a:lnTo>
                  <a:lnTo>
                    <a:pt x="14682" y="2796"/>
                  </a:lnTo>
                  <a:lnTo>
                    <a:pt x="14718" y="2861"/>
                  </a:lnTo>
                  <a:lnTo>
                    <a:pt x="14752" y="2927"/>
                  </a:lnTo>
                  <a:lnTo>
                    <a:pt x="14785" y="2993"/>
                  </a:lnTo>
                  <a:lnTo>
                    <a:pt x="14816" y="3060"/>
                  </a:lnTo>
                  <a:lnTo>
                    <a:pt x="14846" y="3126"/>
                  </a:lnTo>
                  <a:lnTo>
                    <a:pt x="14874" y="3195"/>
                  </a:lnTo>
                  <a:lnTo>
                    <a:pt x="14900" y="3262"/>
                  </a:lnTo>
                  <a:lnTo>
                    <a:pt x="14925" y="3330"/>
                  </a:lnTo>
                  <a:lnTo>
                    <a:pt x="14948" y="3398"/>
                  </a:lnTo>
                  <a:lnTo>
                    <a:pt x="14969" y="3468"/>
                  </a:lnTo>
                  <a:lnTo>
                    <a:pt x="14988" y="3537"/>
                  </a:lnTo>
                  <a:lnTo>
                    <a:pt x="15007" y="3606"/>
                  </a:lnTo>
                  <a:lnTo>
                    <a:pt x="15023" y="3675"/>
                  </a:lnTo>
                  <a:lnTo>
                    <a:pt x="15038" y="3746"/>
                  </a:lnTo>
                  <a:lnTo>
                    <a:pt x="15050" y="3816"/>
                  </a:lnTo>
                  <a:lnTo>
                    <a:pt x="15061" y="3885"/>
                  </a:lnTo>
                  <a:lnTo>
                    <a:pt x="15070" y="3955"/>
                  </a:lnTo>
                  <a:lnTo>
                    <a:pt x="15078" y="4026"/>
                  </a:lnTo>
                  <a:lnTo>
                    <a:pt x="15084" y="4097"/>
                  </a:lnTo>
                  <a:lnTo>
                    <a:pt x="15087" y="4162"/>
                  </a:lnTo>
                  <a:lnTo>
                    <a:pt x="15089" y="4227"/>
                  </a:lnTo>
                  <a:lnTo>
                    <a:pt x="15089" y="4292"/>
                  </a:lnTo>
                  <a:lnTo>
                    <a:pt x="15088" y="4357"/>
                  </a:lnTo>
                  <a:lnTo>
                    <a:pt x="15085" y="4420"/>
                  </a:lnTo>
                  <a:lnTo>
                    <a:pt x="15081" y="4484"/>
                  </a:lnTo>
                  <a:lnTo>
                    <a:pt x="15075" y="4546"/>
                  </a:lnTo>
                  <a:lnTo>
                    <a:pt x="15067" y="4610"/>
                  </a:lnTo>
                  <a:lnTo>
                    <a:pt x="15058" y="4672"/>
                  </a:lnTo>
                  <a:lnTo>
                    <a:pt x="15048" y="4733"/>
                  </a:lnTo>
                  <a:lnTo>
                    <a:pt x="15035" y="4794"/>
                  </a:lnTo>
                  <a:lnTo>
                    <a:pt x="15022" y="4855"/>
                  </a:lnTo>
                  <a:lnTo>
                    <a:pt x="15006" y="4914"/>
                  </a:lnTo>
                  <a:lnTo>
                    <a:pt x="14989" y="4973"/>
                  </a:lnTo>
                  <a:lnTo>
                    <a:pt x="14970" y="5032"/>
                  </a:lnTo>
                  <a:lnTo>
                    <a:pt x="14950" y="5089"/>
                  </a:lnTo>
                  <a:lnTo>
                    <a:pt x="14929" y="5147"/>
                  </a:lnTo>
                  <a:lnTo>
                    <a:pt x="14906" y="5203"/>
                  </a:lnTo>
                  <a:lnTo>
                    <a:pt x="14882" y="5259"/>
                  </a:lnTo>
                  <a:lnTo>
                    <a:pt x="14856" y="5314"/>
                  </a:lnTo>
                  <a:lnTo>
                    <a:pt x="14829" y="5368"/>
                  </a:lnTo>
                  <a:lnTo>
                    <a:pt x="14799" y="5422"/>
                  </a:lnTo>
                  <a:lnTo>
                    <a:pt x="14769" y="5474"/>
                  </a:lnTo>
                  <a:lnTo>
                    <a:pt x="14737" y="5526"/>
                  </a:lnTo>
                  <a:lnTo>
                    <a:pt x="14704" y="5577"/>
                  </a:lnTo>
                  <a:lnTo>
                    <a:pt x="14670" y="5627"/>
                  </a:lnTo>
                  <a:lnTo>
                    <a:pt x="14633" y="5675"/>
                  </a:lnTo>
                  <a:lnTo>
                    <a:pt x="14595" y="5724"/>
                  </a:lnTo>
                  <a:lnTo>
                    <a:pt x="14557" y="5772"/>
                  </a:lnTo>
                  <a:lnTo>
                    <a:pt x="14516" y="5818"/>
                  </a:lnTo>
                  <a:lnTo>
                    <a:pt x="14474" y="5863"/>
                  </a:lnTo>
                  <a:lnTo>
                    <a:pt x="14431" y="5907"/>
                  </a:lnTo>
                  <a:close/>
                  <a:moveTo>
                    <a:pt x="4463" y="14370"/>
                  </a:moveTo>
                  <a:lnTo>
                    <a:pt x="4461" y="14307"/>
                  </a:lnTo>
                  <a:lnTo>
                    <a:pt x="4458" y="14243"/>
                  </a:lnTo>
                  <a:lnTo>
                    <a:pt x="4453" y="14180"/>
                  </a:lnTo>
                  <a:lnTo>
                    <a:pt x="4446" y="14117"/>
                  </a:lnTo>
                  <a:lnTo>
                    <a:pt x="4438" y="14053"/>
                  </a:lnTo>
                  <a:lnTo>
                    <a:pt x="4429" y="13990"/>
                  </a:lnTo>
                  <a:lnTo>
                    <a:pt x="4417" y="13926"/>
                  </a:lnTo>
                  <a:lnTo>
                    <a:pt x="4405" y="13863"/>
                  </a:lnTo>
                  <a:lnTo>
                    <a:pt x="4391" y="13800"/>
                  </a:lnTo>
                  <a:lnTo>
                    <a:pt x="4375" y="13737"/>
                  </a:lnTo>
                  <a:lnTo>
                    <a:pt x="4357" y="13673"/>
                  </a:lnTo>
                  <a:lnTo>
                    <a:pt x="4338" y="13610"/>
                  </a:lnTo>
                  <a:lnTo>
                    <a:pt x="4317" y="13548"/>
                  </a:lnTo>
                  <a:lnTo>
                    <a:pt x="4295" y="13486"/>
                  </a:lnTo>
                  <a:lnTo>
                    <a:pt x="4271" y="13423"/>
                  </a:lnTo>
                  <a:lnTo>
                    <a:pt x="4246" y="13362"/>
                  </a:lnTo>
                  <a:lnTo>
                    <a:pt x="4219" y="13300"/>
                  </a:lnTo>
                  <a:lnTo>
                    <a:pt x="4191" y="13240"/>
                  </a:lnTo>
                  <a:lnTo>
                    <a:pt x="4161" y="13179"/>
                  </a:lnTo>
                  <a:lnTo>
                    <a:pt x="4128" y="13119"/>
                  </a:lnTo>
                  <a:lnTo>
                    <a:pt x="4095" y="13059"/>
                  </a:lnTo>
                  <a:lnTo>
                    <a:pt x="4060" y="13000"/>
                  </a:lnTo>
                  <a:lnTo>
                    <a:pt x="4024" y="12942"/>
                  </a:lnTo>
                  <a:lnTo>
                    <a:pt x="3986" y="12884"/>
                  </a:lnTo>
                  <a:lnTo>
                    <a:pt x="3946" y="12826"/>
                  </a:lnTo>
                  <a:lnTo>
                    <a:pt x="3905" y="12769"/>
                  </a:lnTo>
                  <a:lnTo>
                    <a:pt x="3862" y="12714"/>
                  </a:lnTo>
                  <a:lnTo>
                    <a:pt x="3818" y="12658"/>
                  </a:lnTo>
                  <a:lnTo>
                    <a:pt x="3771" y="12604"/>
                  </a:lnTo>
                  <a:lnTo>
                    <a:pt x="3723" y="12549"/>
                  </a:lnTo>
                  <a:lnTo>
                    <a:pt x="3674" y="12497"/>
                  </a:lnTo>
                  <a:lnTo>
                    <a:pt x="3622" y="12445"/>
                  </a:lnTo>
                  <a:lnTo>
                    <a:pt x="3573" y="12396"/>
                  </a:lnTo>
                  <a:lnTo>
                    <a:pt x="3522" y="12349"/>
                  </a:lnTo>
                  <a:lnTo>
                    <a:pt x="3470" y="12303"/>
                  </a:lnTo>
                  <a:lnTo>
                    <a:pt x="3418" y="12258"/>
                  </a:lnTo>
                  <a:lnTo>
                    <a:pt x="3366" y="12215"/>
                  </a:lnTo>
                  <a:lnTo>
                    <a:pt x="3312" y="12174"/>
                  </a:lnTo>
                  <a:lnTo>
                    <a:pt x="3257" y="12133"/>
                  </a:lnTo>
                  <a:lnTo>
                    <a:pt x="3202" y="12094"/>
                  </a:lnTo>
                  <a:lnTo>
                    <a:pt x="3146" y="12057"/>
                  </a:lnTo>
                  <a:lnTo>
                    <a:pt x="3088" y="12020"/>
                  </a:lnTo>
                  <a:lnTo>
                    <a:pt x="3031" y="11985"/>
                  </a:lnTo>
                  <a:lnTo>
                    <a:pt x="2974" y="11952"/>
                  </a:lnTo>
                  <a:lnTo>
                    <a:pt x="2914" y="11920"/>
                  </a:lnTo>
                  <a:lnTo>
                    <a:pt x="2855" y="11889"/>
                  </a:lnTo>
                  <a:lnTo>
                    <a:pt x="2796" y="11860"/>
                  </a:lnTo>
                  <a:lnTo>
                    <a:pt x="2735" y="11832"/>
                  </a:lnTo>
                  <a:lnTo>
                    <a:pt x="2675" y="11806"/>
                  </a:lnTo>
                  <a:lnTo>
                    <a:pt x="2613" y="11781"/>
                  </a:lnTo>
                  <a:lnTo>
                    <a:pt x="2552" y="11757"/>
                  </a:lnTo>
                  <a:lnTo>
                    <a:pt x="2490" y="11735"/>
                  </a:lnTo>
                  <a:lnTo>
                    <a:pt x="2427" y="11715"/>
                  </a:lnTo>
                  <a:lnTo>
                    <a:pt x="2365" y="11696"/>
                  </a:lnTo>
                  <a:lnTo>
                    <a:pt x="2303" y="11679"/>
                  </a:lnTo>
                  <a:lnTo>
                    <a:pt x="2239" y="11663"/>
                  </a:lnTo>
                  <a:lnTo>
                    <a:pt x="2176" y="11648"/>
                  </a:lnTo>
                  <a:lnTo>
                    <a:pt x="2112" y="11636"/>
                  </a:lnTo>
                  <a:lnTo>
                    <a:pt x="2048" y="11625"/>
                  </a:lnTo>
                  <a:lnTo>
                    <a:pt x="1985" y="11615"/>
                  </a:lnTo>
                  <a:lnTo>
                    <a:pt x="1920" y="11607"/>
                  </a:lnTo>
                  <a:lnTo>
                    <a:pt x="1857" y="11600"/>
                  </a:lnTo>
                  <a:lnTo>
                    <a:pt x="1793" y="11595"/>
                  </a:lnTo>
                  <a:lnTo>
                    <a:pt x="1728" y="11592"/>
                  </a:lnTo>
                  <a:lnTo>
                    <a:pt x="2229" y="9781"/>
                  </a:lnTo>
                  <a:lnTo>
                    <a:pt x="2236" y="9759"/>
                  </a:lnTo>
                  <a:lnTo>
                    <a:pt x="2244" y="9736"/>
                  </a:lnTo>
                  <a:lnTo>
                    <a:pt x="2253" y="9714"/>
                  </a:lnTo>
                  <a:lnTo>
                    <a:pt x="2263" y="9692"/>
                  </a:lnTo>
                  <a:lnTo>
                    <a:pt x="2273" y="9670"/>
                  </a:lnTo>
                  <a:lnTo>
                    <a:pt x="2284" y="9648"/>
                  </a:lnTo>
                  <a:lnTo>
                    <a:pt x="2296" y="9626"/>
                  </a:lnTo>
                  <a:lnTo>
                    <a:pt x="2308" y="9604"/>
                  </a:lnTo>
                  <a:lnTo>
                    <a:pt x="2321" y="9583"/>
                  </a:lnTo>
                  <a:lnTo>
                    <a:pt x="2335" y="9561"/>
                  </a:lnTo>
                  <a:lnTo>
                    <a:pt x="2349" y="9539"/>
                  </a:lnTo>
                  <a:lnTo>
                    <a:pt x="2363" y="9518"/>
                  </a:lnTo>
                  <a:lnTo>
                    <a:pt x="2378" y="9498"/>
                  </a:lnTo>
                  <a:lnTo>
                    <a:pt x="2393" y="9478"/>
                  </a:lnTo>
                  <a:lnTo>
                    <a:pt x="2409" y="9458"/>
                  </a:lnTo>
                  <a:lnTo>
                    <a:pt x="2426" y="9438"/>
                  </a:lnTo>
                  <a:lnTo>
                    <a:pt x="2522" y="9374"/>
                  </a:lnTo>
                  <a:lnTo>
                    <a:pt x="2621" y="9314"/>
                  </a:lnTo>
                  <a:lnTo>
                    <a:pt x="2723" y="9260"/>
                  </a:lnTo>
                  <a:lnTo>
                    <a:pt x="2828" y="9211"/>
                  </a:lnTo>
                  <a:lnTo>
                    <a:pt x="2934" y="9169"/>
                  </a:lnTo>
                  <a:lnTo>
                    <a:pt x="3044" y="9131"/>
                  </a:lnTo>
                  <a:lnTo>
                    <a:pt x="3156" y="9099"/>
                  </a:lnTo>
                  <a:lnTo>
                    <a:pt x="3268" y="9072"/>
                  </a:lnTo>
                  <a:lnTo>
                    <a:pt x="3383" y="9051"/>
                  </a:lnTo>
                  <a:lnTo>
                    <a:pt x="3500" y="9034"/>
                  </a:lnTo>
                  <a:lnTo>
                    <a:pt x="3617" y="9024"/>
                  </a:lnTo>
                  <a:lnTo>
                    <a:pt x="3736" y="9018"/>
                  </a:lnTo>
                  <a:lnTo>
                    <a:pt x="3857" y="9018"/>
                  </a:lnTo>
                  <a:lnTo>
                    <a:pt x="3976" y="9023"/>
                  </a:lnTo>
                  <a:lnTo>
                    <a:pt x="4098" y="9033"/>
                  </a:lnTo>
                  <a:lnTo>
                    <a:pt x="4220" y="9049"/>
                  </a:lnTo>
                  <a:lnTo>
                    <a:pt x="4342" y="9070"/>
                  </a:lnTo>
                  <a:lnTo>
                    <a:pt x="4463" y="9096"/>
                  </a:lnTo>
                  <a:lnTo>
                    <a:pt x="4584" y="9127"/>
                  </a:lnTo>
                  <a:lnTo>
                    <a:pt x="4706" y="9164"/>
                  </a:lnTo>
                  <a:lnTo>
                    <a:pt x="4826" y="9206"/>
                  </a:lnTo>
                  <a:lnTo>
                    <a:pt x="4946" y="9252"/>
                  </a:lnTo>
                  <a:lnTo>
                    <a:pt x="5065" y="9305"/>
                  </a:lnTo>
                  <a:lnTo>
                    <a:pt x="5184" y="9363"/>
                  </a:lnTo>
                  <a:lnTo>
                    <a:pt x="5300" y="9425"/>
                  </a:lnTo>
                  <a:lnTo>
                    <a:pt x="5415" y="9493"/>
                  </a:lnTo>
                  <a:lnTo>
                    <a:pt x="5529" y="9566"/>
                  </a:lnTo>
                  <a:lnTo>
                    <a:pt x="5640" y="9644"/>
                  </a:lnTo>
                  <a:lnTo>
                    <a:pt x="5750" y="9727"/>
                  </a:lnTo>
                  <a:lnTo>
                    <a:pt x="5857" y="9815"/>
                  </a:lnTo>
                  <a:lnTo>
                    <a:pt x="5962" y="9909"/>
                  </a:lnTo>
                  <a:lnTo>
                    <a:pt x="6065" y="10007"/>
                  </a:lnTo>
                  <a:lnTo>
                    <a:pt x="6168" y="10115"/>
                  </a:lnTo>
                  <a:lnTo>
                    <a:pt x="6267" y="10226"/>
                  </a:lnTo>
                  <a:lnTo>
                    <a:pt x="6360" y="10339"/>
                  </a:lnTo>
                  <a:lnTo>
                    <a:pt x="6447" y="10456"/>
                  </a:lnTo>
                  <a:lnTo>
                    <a:pt x="6529" y="10574"/>
                  </a:lnTo>
                  <a:lnTo>
                    <a:pt x="6604" y="10695"/>
                  </a:lnTo>
                  <a:lnTo>
                    <a:pt x="6673" y="10816"/>
                  </a:lnTo>
                  <a:lnTo>
                    <a:pt x="6738" y="10941"/>
                  </a:lnTo>
                  <a:lnTo>
                    <a:pt x="6796" y="11065"/>
                  </a:lnTo>
                  <a:lnTo>
                    <a:pt x="6848" y="11191"/>
                  </a:lnTo>
                  <a:lnTo>
                    <a:pt x="6895" y="11318"/>
                  </a:lnTo>
                  <a:lnTo>
                    <a:pt x="6936" y="11446"/>
                  </a:lnTo>
                  <a:lnTo>
                    <a:pt x="6971" y="11574"/>
                  </a:lnTo>
                  <a:lnTo>
                    <a:pt x="7000" y="11702"/>
                  </a:lnTo>
                  <a:lnTo>
                    <a:pt x="7023" y="11831"/>
                  </a:lnTo>
                  <a:lnTo>
                    <a:pt x="7041" y="11959"/>
                  </a:lnTo>
                  <a:lnTo>
                    <a:pt x="7052" y="12087"/>
                  </a:lnTo>
                  <a:lnTo>
                    <a:pt x="7058" y="12214"/>
                  </a:lnTo>
                  <a:lnTo>
                    <a:pt x="7057" y="12341"/>
                  </a:lnTo>
                  <a:lnTo>
                    <a:pt x="7051" y="12466"/>
                  </a:lnTo>
                  <a:lnTo>
                    <a:pt x="7039" y="12589"/>
                  </a:lnTo>
                  <a:lnTo>
                    <a:pt x="7019" y="12712"/>
                  </a:lnTo>
                  <a:lnTo>
                    <a:pt x="6995" y="12832"/>
                  </a:lnTo>
                  <a:lnTo>
                    <a:pt x="6965" y="12952"/>
                  </a:lnTo>
                  <a:lnTo>
                    <a:pt x="6929" y="13068"/>
                  </a:lnTo>
                  <a:lnTo>
                    <a:pt x="6886" y="13183"/>
                  </a:lnTo>
                  <a:lnTo>
                    <a:pt x="6837" y="13294"/>
                  </a:lnTo>
                  <a:lnTo>
                    <a:pt x="6783" y="13402"/>
                  </a:lnTo>
                  <a:lnTo>
                    <a:pt x="6722" y="13508"/>
                  </a:lnTo>
                  <a:lnTo>
                    <a:pt x="6655" y="13610"/>
                  </a:lnTo>
                  <a:lnTo>
                    <a:pt x="6582" y="13710"/>
                  </a:lnTo>
                  <a:lnTo>
                    <a:pt x="6502" y="13805"/>
                  </a:lnTo>
                  <a:lnTo>
                    <a:pt x="6481" y="13816"/>
                  </a:lnTo>
                  <a:lnTo>
                    <a:pt x="6459" y="13827"/>
                  </a:lnTo>
                  <a:lnTo>
                    <a:pt x="6437" y="13838"/>
                  </a:lnTo>
                  <a:lnTo>
                    <a:pt x="6415" y="13848"/>
                  </a:lnTo>
                  <a:lnTo>
                    <a:pt x="6392" y="13858"/>
                  </a:lnTo>
                  <a:lnTo>
                    <a:pt x="6369" y="13867"/>
                  </a:lnTo>
                  <a:lnTo>
                    <a:pt x="6345" y="13876"/>
                  </a:lnTo>
                  <a:lnTo>
                    <a:pt x="6322" y="13884"/>
                  </a:lnTo>
                  <a:lnTo>
                    <a:pt x="4463" y="14370"/>
                  </a:lnTo>
                  <a:close/>
                  <a:moveTo>
                    <a:pt x="2096" y="14991"/>
                  </a:moveTo>
                  <a:lnTo>
                    <a:pt x="2070" y="14997"/>
                  </a:lnTo>
                  <a:lnTo>
                    <a:pt x="2036" y="15005"/>
                  </a:lnTo>
                  <a:lnTo>
                    <a:pt x="1995" y="15014"/>
                  </a:lnTo>
                  <a:lnTo>
                    <a:pt x="1949" y="15024"/>
                  </a:lnTo>
                  <a:lnTo>
                    <a:pt x="1899" y="15034"/>
                  </a:lnTo>
                  <a:lnTo>
                    <a:pt x="1849" y="15043"/>
                  </a:lnTo>
                  <a:lnTo>
                    <a:pt x="1825" y="15046"/>
                  </a:lnTo>
                  <a:lnTo>
                    <a:pt x="1801" y="15050"/>
                  </a:lnTo>
                  <a:lnTo>
                    <a:pt x="1777" y="15052"/>
                  </a:lnTo>
                  <a:lnTo>
                    <a:pt x="1755" y="15054"/>
                  </a:lnTo>
                  <a:lnTo>
                    <a:pt x="1716" y="15053"/>
                  </a:lnTo>
                  <a:lnTo>
                    <a:pt x="1679" y="15049"/>
                  </a:lnTo>
                  <a:lnTo>
                    <a:pt x="1641" y="15044"/>
                  </a:lnTo>
                  <a:lnTo>
                    <a:pt x="1604" y="15037"/>
                  </a:lnTo>
                  <a:lnTo>
                    <a:pt x="1568" y="15029"/>
                  </a:lnTo>
                  <a:lnTo>
                    <a:pt x="1532" y="15018"/>
                  </a:lnTo>
                  <a:lnTo>
                    <a:pt x="1498" y="15006"/>
                  </a:lnTo>
                  <a:lnTo>
                    <a:pt x="1464" y="14993"/>
                  </a:lnTo>
                  <a:lnTo>
                    <a:pt x="1430" y="14978"/>
                  </a:lnTo>
                  <a:lnTo>
                    <a:pt x="1398" y="14961"/>
                  </a:lnTo>
                  <a:lnTo>
                    <a:pt x="1367" y="14943"/>
                  </a:lnTo>
                  <a:lnTo>
                    <a:pt x="1336" y="14923"/>
                  </a:lnTo>
                  <a:lnTo>
                    <a:pt x="1307" y="14902"/>
                  </a:lnTo>
                  <a:lnTo>
                    <a:pt x="1279" y="14880"/>
                  </a:lnTo>
                  <a:lnTo>
                    <a:pt x="1251" y="14856"/>
                  </a:lnTo>
                  <a:lnTo>
                    <a:pt x="1225" y="14832"/>
                  </a:lnTo>
                  <a:lnTo>
                    <a:pt x="1201" y="14804"/>
                  </a:lnTo>
                  <a:lnTo>
                    <a:pt x="1177" y="14777"/>
                  </a:lnTo>
                  <a:lnTo>
                    <a:pt x="1155" y="14749"/>
                  </a:lnTo>
                  <a:lnTo>
                    <a:pt x="1134" y="14720"/>
                  </a:lnTo>
                  <a:lnTo>
                    <a:pt x="1115" y="14689"/>
                  </a:lnTo>
                  <a:lnTo>
                    <a:pt x="1096" y="14658"/>
                  </a:lnTo>
                  <a:lnTo>
                    <a:pt x="1080" y="14626"/>
                  </a:lnTo>
                  <a:lnTo>
                    <a:pt x="1065" y="14593"/>
                  </a:lnTo>
                  <a:lnTo>
                    <a:pt x="1051" y="14559"/>
                  </a:lnTo>
                  <a:lnTo>
                    <a:pt x="1040" y="14524"/>
                  </a:lnTo>
                  <a:lnTo>
                    <a:pt x="1030" y="14488"/>
                  </a:lnTo>
                  <a:lnTo>
                    <a:pt x="1021" y="14452"/>
                  </a:lnTo>
                  <a:lnTo>
                    <a:pt x="1015" y="14415"/>
                  </a:lnTo>
                  <a:lnTo>
                    <a:pt x="1010" y="14378"/>
                  </a:lnTo>
                  <a:lnTo>
                    <a:pt x="1007" y="14340"/>
                  </a:lnTo>
                  <a:lnTo>
                    <a:pt x="1006" y="14302"/>
                  </a:lnTo>
                  <a:lnTo>
                    <a:pt x="1009" y="14268"/>
                  </a:lnTo>
                  <a:lnTo>
                    <a:pt x="1015" y="14229"/>
                  </a:lnTo>
                  <a:lnTo>
                    <a:pt x="1022" y="14189"/>
                  </a:lnTo>
                  <a:lnTo>
                    <a:pt x="1029" y="14149"/>
                  </a:lnTo>
                  <a:lnTo>
                    <a:pt x="1037" y="14110"/>
                  </a:lnTo>
                  <a:lnTo>
                    <a:pt x="1045" y="14074"/>
                  </a:lnTo>
                  <a:lnTo>
                    <a:pt x="1051" y="14043"/>
                  </a:lnTo>
                  <a:lnTo>
                    <a:pt x="1056" y="14020"/>
                  </a:lnTo>
                  <a:lnTo>
                    <a:pt x="1586" y="12106"/>
                  </a:lnTo>
                  <a:lnTo>
                    <a:pt x="1641" y="12105"/>
                  </a:lnTo>
                  <a:lnTo>
                    <a:pt x="1695" y="12105"/>
                  </a:lnTo>
                  <a:lnTo>
                    <a:pt x="1749" y="12107"/>
                  </a:lnTo>
                  <a:lnTo>
                    <a:pt x="1804" y="12111"/>
                  </a:lnTo>
                  <a:lnTo>
                    <a:pt x="1858" y="12116"/>
                  </a:lnTo>
                  <a:lnTo>
                    <a:pt x="1913" y="12122"/>
                  </a:lnTo>
                  <a:lnTo>
                    <a:pt x="1968" y="12130"/>
                  </a:lnTo>
                  <a:lnTo>
                    <a:pt x="2023" y="12139"/>
                  </a:lnTo>
                  <a:lnTo>
                    <a:pt x="2077" y="12149"/>
                  </a:lnTo>
                  <a:lnTo>
                    <a:pt x="2133" y="12161"/>
                  </a:lnTo>
                  <a:lnTo>
                    <a:pt x="2187" y="12175"/>
                  </a:lnTo>
                  <a:lnTo>
                    <a:pt x="2242" y="12190"/>
                  </a:lnTo>
                  <a:lnTo>
                    <a:pt x="2297" y="12206"/>
                  </a:lnTo>
                  <a:lnTo>
                    <a:pt x="2351" y="12224"/>
                  </a:lnTo>
                  <a:lnTo>
                    <a:pt x="2405" y="12243"/>
                  </a:lnTo>
                  <a:lnTo>
                    <a:pt x="2460" y="12264"/>
                  </a:lnTo>
                  <a:lnTo>
                    <a:pt x="2513" y="12286"/>
                  </a:lnTo>
                  <a:lnTo>
                    <a:pt x="2566" y="12309"/>
                  </a:lnTo>
                  <a:lnTo>
                    <a:pt x="2619" y="12335"/>
                  </a:lnTo>
                  <a:lnTo>
                    <a:pt x="2673" y="12362"/>
                  </a:lnTo>
                  <a:lnTo>
                    <a:pt x="2725" y="12390"/>
                  </a:lnTo>
                  <a:lnTo>
                    <a:pt x="2776" y="12420"/>
                  </a:lnTo>
                  <a:lnTo>
                    <a:pt x="2829" y="12451"/>
                  </a:lnTo>
                  <a:lnTo>
                    <a:pt x="2879" y="12483"/>
                  </a:lnTo>
                  <a:lnTo>
                    <a:pt x="2930" y="12517"/>
                  </a:lnTo>
                  <a:lnTo>
                    <a:pt x="2980" y="12553"/>
                  </a:lnTo>
                  <a:lnTo>
                    <a:pt x="3029" y="12590"/>
                  </a:lnTo>
                  <a:lnTo>
                    <a:pt x="3078" y="12629"/>
                  </a:lnTo>
                  <a:lnTo>
                    <a:pt x="3126" y="12669"/>
                  </a:lnTo>
                  <a:lnTo>
                    <a:pt x="3174" y="12711"/>
                  </a:lnTo>
                  <a:lnTo>
                    <a:pt x="3220" y="12754"/>
                  </a:lnTo>
                  <a:lnTo>
                    <a:pt x="3266" y="12799"/>
                  </a:lnTo>
                  <a:lnTo>
                    <a:pt x="3312" y="12845"/>
                  </a:lnTo>
                  <a:lnTo>
                    <a:pt x="3356" y="12893"/>
                  </a:lnTo>
                  <a:lnTo>
                    <a:pt x="3398" y="12941"/>
                  </a:lnTo>
                  <a:lnTo>
                    <a:pt x="3439" y="12990"/>
                  </a:lnTo>
                  <a:lnTo>
                    <a:pt x="3479" y="13039"/>
                  </a:lnTo>
                  <a:lnTo>
                    <a:pt x="3517" y="13089"/>
                  </a:lnTo>
                  <a:lnTo>
                    <a:pt x="3553" y="13139"/>
                  </a:lnTo>
                  <a:lnTo>
                    <a:pt x="3588" y="13191"/>
                  </a:lnTo>
                  <a:lnTo>
                    <a:pt x="3621" y="13243"/>
                  </a:lnTo>
                  <a:lnTo>
                    <a:pt x="3653" y="13295"/>
                  </a:lnTo>
                  <a:lnTo>
                    <a:pt x="3683" y="13348"/>
                  </a:lnTo>
                  <a:lnTo>
                    <a:pt x="3712" y="13401"/>
                  </a:lnTo>
                  <a:lnTo>
                    <a:pt x="3739" y="13455"/>
                  </a:lnTo>
                  <a:lnTo>
                    <a:pt x="3765" y="13509"/>
                  </a:lnTo>
                  <a:lnTo>
                    <a:pt x="3788" y="13563"/>
                  </a:lnTo>
                  <a:lnTo>
                    <a:pt x="3811" y="13617"/>
                  </a:lnTo>
                  <a:lnTo>
                    <a:pt x="3833" y="13671"/>
                  </a:lnTo>
                  <a:lnTo>
                    <a:pt x="3852" y="13727"/>
                  </a:lnTo>
                  <a:lnTo>
                    <a:pt x="3870" y="13782"/>
                  </a:lnTo>
                  <a:lnTo>
                    <a:pt x="3887" y="13837"/>
                  </a:lnTo>
                  <a:lnTo>
                    <a:pt x="3902" y="13892"/>
                  </a:lnTo>
                  <a:lnTo>
                    <a:pt x="3915" y="13948"/>
                  </a:lnTo>
                  <a:lnTo>
                    <a:pt x="3927" y="14004"/>
                  </a:lnTo>
                  <a:lnTo>
                    <a:pt x="3938" y="14060"/>
                  </a:lnTo>
                  <a:lnTo>
                    <a:pt x="3946" y="14115"/>
                  </a:lnTo>
                  <a:lnTo>
                    <a:pt x="3954" y="14170"/>
                  </a:lnTo>
                  <a:lnTo>
                    <a:pt x="3960" y="14225"/>
                  </a:lnTo>
                  <a:lnTo>
                    <a:pt x="3964" y="14282"/>
                  </a:lnTo>
                  <a:lnTo>
                    <a:pt x="3967" y="14337"/>
                  </a:lnTo>
                  <a:lnTo>
                    <a:pt x="3968" y="14391"/>
                  </a:lnTo>
                  <a:lnTo>
                    <a:pt x="3968" y="14446"/>
                  </a:lnTo>
                  <a:lnTo>
                    <a:pt x="3967" y="14500"/>
                  </a:lnTo>
                  <a:lnTo>
                    <a:pt x="2096" y="14991"/>
                  </a:lnTo>
                  <a:close/>
                  <a:moveTo>
                    <a:pt x="5275" y="8311"/>
                  </a:moveTo>
                  <a:lnTo>
                    <a:pt x="5187" y="8277"/>
                  </a:lnTo>
                  <a:lnTo>
                    <a:pt x="5099" y="8245"/>
                  </a:lnTo>
                  <a:lnTo>
                    <a:pt x="5011" y="8215"/>
                  </a:lnTo>
                  <a:lnTo>
                    <a:pt x="4921" y="8186"/>
                  </a:lnTo>
                  <a:lnTo>
                    <a:pt x="4877" y="8173"/>
                  </a:lnTo>
                  <a:lnTo>
                    <a:pt x="4833" y="8159"/>
                  </a:lnTo>
                  <a:lnTo>
                    <a:pt x="4787" y="8147"/>
                  </a:lnTo>
                  <a:lnTo>
                    <a:pt x="4742" y="8135"/>
                  </a:lnTo>
                  <a:lnTo>
                    <a:pt x="4698" y="8124"/>
                  </a:lnTo>
                  <a:lnTo>
                    <a:pt x="4652" y="8113"/>
                  </a:lnTo>
                  <a:lnTo>
                    <a:pt x="4607" y="8103"/>
                  </a:lnTo>
                  <a:lnTo>
                    <a:pt x="4562" y="8093"/>
                  </a:lnTo>
                  <a:lnTo>
                    <a:pt x="4517" y="8084"/>
                  </a:lnTo>
                  <a:lnTo>
                    <a:pt x="4471" y="8075"/>
                  </a:lnTo>
                  <a:lnTo>
                    <a:pt x="4426" y="8067"/>
                  </a:lnTo>
                  <a:lnTo>
                    <a:pt x="4380" y="8059"/>
                  </a:lnTo>
                  <a:lnTo>
                    <a:pt x="4335" y="8052"/>
                  </a:lnTo>
                  <a:lnTo>
                    <a:pt x="4289" y="8045"/>
                  </a:lnTo>
                  <a:lnTo>
                    <a:pt x="4243" y="8039"/>
                  </a:lnTo>
                  <a:lnTo>
                    <a:pt x="4198" y="8034"/>
                  </a:lnTo>
                  <a:lnTo>
                    <a:pt x="4153" y="8029"/>
                  </a:lnTo>
                  <a:lnTo>
                    <a:pt x="4106" y="8025"/>
                  </a:lnTo>
                  <a:lnTo>
                    <a:pt x="4061" y="8021"/>
                  </a:lnTo>
                  <a:lnTo>
                    <a:pt x="4015" y="8018"/>
                  </a:lnTo>
                  <a:lnTo>
                    <a:pt x="3969" y="8015"/>
                  </a:lnTo>
                  <a:lnTo>
                    <a:pt x="3923" y="8013"/>
                  </a:lnTo>
                  <a:lnTo>
                    <a:pt x="3878" y="8011"/>
                  </a:lnTo>
                  <a:lnTo>
                    <a:pt x="3832" y="8011"/>
                  </a:lnTo>
                  <a:lnTo>
                    <a:pt x="7706" y="4116"/>
                  </a:lnTo>
                  <a:lnTo>
                    <a:pt x="7763" y="4063"/>
                  </a:lnTo>
                  <a:lnTo>
                    <a:pt x="7820" y="4012"/>
                  </a:lnTo>
                  <a:lnTo>
                    <a:pt x="7880" y="3964"/>
                  </a:lnTo>
                  <a:lnTo>
                    <a:pt x="7941" y="3918"/>
                  </a:lnTo>
                  <a:lnTo>
                    <a:pt x="8003" y="3875"/>
                  </a:lnTo>
                  <a:lnTo>
                    <a:pt x="8067" y="3834"/>
                  </a:lnTo>
                  <a:lnTo>
                    <a:pt x="8131" y="3796"/>
                  </a:lnTo>
                  <a:lnTo>
                    <a:pt x="8197" y="3760"/>
                  </a:lnTo>
                  <a:lnTo>
                    <a:pt x="8265" y="3725"/>
                  </a:lnTo>
                  <a:lnTo>
                    <a:pt x="8333" y="3694"/>
                  </a:lnTo>
                  <a:lnTo>
                    <a:pt x="8403" y="3665"/>
                  </a:lnTo>
                  <a:lnTo>
                    <a:pt x="8473" y="3638"/>
                  </a:lnTo>
                  <a:lnTo>
                    <a:pt x="8544" y="3613"/>
                  </a:lnTo>
                  <a:lnTo>
                    <a:pt x="8616" y="3591"/>
                  </a:lnTo>
                  <a:lnTo>
                    <a:pt x="8689" y="3571"/>
                  </a:lnTo>
                  <a:lnTo>
                    <a:pt x="8764" y="3554"/>
                  </a:lnTo>
                  <a:lnTo>
                    <a:pt x="8838" y="3539"/>
                  </a:lnTo>
                  <a:lnTo>
                    <a:pt x="8914" y="3526"/>
                  </a:lnTo>
                  <a:lnTo>
                    <a:pt x="8989" y="3515"/>
                  </a:lnTo>
                  <a:lnTo>
                    <a:pt x="9067" y="3507"/>
                  </a:lnTo>
                  <a:lnTo>
                    <a:pt x="9143" y="3501"/>
                  </a:lnTo>
                  <a:lnTo>
                    <a:pt x="9220" y="3497"/>
                  </a:lnTo>
                  <a:lnTo>
                    <a:pt x="9299" y="3496"/>
                  </a:lnTo>
                  <a:lnTo>
                    <a:pt x="9377" y="3497"/>
                  </a:lnTo>
                  <a:lnTo>
                    <a:pt x="9457" y="3500"/>
                  </a:lnTo>
                  <a:lnTo>
                    <a:pt x="9535" y="3505"/>
                  </a:lnTo>
                  <a:lnTo>
                    <a:pt x="9615" y="3512"/>
                  </a:lnTo>
                  <a:lnTo>
                    <a:pt x="9694" y="3522"/>
                  </a:lnTo>
                  <a:lnTo>
                    <a:pt x="9775" y="3534"/>
                  </a:lnTo>
                  <a:lnTo>
                    <a:pt x="9854" y="3548"/>
                  </a:lnTo>
                  <a:lnTo>
                    <a:pt x="9934" y="3565"/>
                  </a:lnTo>
                  <a:lnTo>
                    <a:pt x="10014" y="3583"/>
                  </a:lnTo>
                  <a:lnTo>
                    <a:pt x="5275" y="8311"/>
                  </a:lnTo>
                  <a:close/>
                  <a:moveTo>
                    <a:pt x="7441" y="10165"/>
                  </a:moveTo>
                  <a:lnTo>
                    <a:pt x="7406" y="10107"/>
                  </a:lnTo>
                  <a:lnTo>
                    <a:pt x="7369" y="10049"/>
                  </a:lnTo>
                  <a:lnTo>
                    <a:pt x="7332" y="9992"/>
                  </a:lnTo>
                  <a:lnTo>
                    <a:pt x="7295" y="9936"/>
                  </a:lnTo>
                  <a:lnTo>
                    <a:pt x="7257" y="9880"/>
                  </a:lnTo>
                  <a:lnTo>
                    <a:pt x="7218" y="9824"/>
                  </a:lnTo>
                  <a:lnTo>
                    <a:pt x="7177" y="9768"/>
                  </a:lnTo>
                  <a:lnTo>
                    <a:pt x="7137" y="9714"/>
                  </a:lnTo>
                  <a:lnTo>
                    <a:pt x="7096" y="9660"/>
                  </a:lnTo>
                  <a:lnTo>
                    <a:pt x="7053" y="9606"/>
                  </a:lnTo>
                  <a:lnTo>
                    <a:pt x="7009" y="9553"/>
                  </a:lnTo>
                  <a:lnTo>
                    <a:pt x="6965" y="9500"/>
                  </a:lnTo>
                  <a:lnTo>
                    <a:pt x="6919" y="9448"/>
                  </a:lnTo>
                  <a:lnTo>
                    <a:pt x="6873" y="9397"/>
                  </a:lnTo>
                  <a:lnTo>
                    <a:pt x="6824" y="9347"/>
                  </a:lnTo>
                  <a:lnTo>
                    <a:pt x="6776" y="9297"/>
                  </a:lnTo>
                  <a:lnTo>
                    <a:pt x="6718" y="9240"/>
                  </a:lnTo>
                  <a:lnTo>
                    <a:pt x="6658" y="9185"/>
                  </a:lnTo>
                  <a:lnTo>
                    <a:pt x="6598" y="9131"/>
                  </a:lnTo>
                  <a:lnTo>
                    <a:pt x="6538" y="9079"/>
                  </a:lnTo>
                  <a:lnTo>
                    <a:pt x="6475" y="9029"/>
                  </a:lnTo>
                  <a:lnTo>
                    <a:pt x="6412" y="8978"/>
                  </a:lnTo>
                  <a:lnTo>
                    <a:pt x="6348" y="8930"/>
                  </a:lnTo>
                  <a:lnTo>
                    <a:pt x="6284" y="8884"/>
                  </a:lnTo>
                  <a:lnTo>
                    <a:pt x="6220" y="8838"/>
                  </a:lnTo>
                  <a:lnTo>
                    <a:pt x="6153" y="8794"/>
                  </a:lnTo>
                  <a:lnTo>
                    <a:pt x="6087" y="8750"/>
                  </a:lnTo>
                  <a:lnTo>
                    <a:pt x="6021" y="8707"/>
                  </a:lnTo>
                  <a:lnTo>
                    <a:pt x="5953" y="8666"/>
                  </a:lnTo>
                  <a:lnTo>
                    <a:pt x="5885" y="8626"/>
                  </a:lnTo>
                  <a:lnTo>
                    <a:pt x="5816" y="8587"/>
                  </a:lnTo>
                  <a:lnTo>
                    <a:pt x="5748" y="8549"/>
                  </a:lnTo>
                  <a:lnTo>
                    <a:pt x="10542" y="3766"/>
                  </a:lnTo>
                  <a:lnTo>
                    <a:pt x="10613" y="3798"/>
                  </a:lnTo>
                  <a:lnTo>
                    <a:pt x="10683" y="3831"/>
                  </a:lnTo>
                  <a:lnTo>
                    <a:pt x="10752" y="3866"/>
                  </a:lnTo>
                  <a:lnTo>
                    <a:pt x="10821" y="3903"/>
                  </a:lnTo>
                  <a:lnTo>
                    <a:pt x="10889" y="3942"/>
                  </a:lnTo>
                  <a:lnTo>
                    <a:pt x="10958" y="3983"/>
                  </a:lnTo>
                  <a:lnTo>
                    <a:pt x="11025" y="4026"/>
                  </a:lnTo>
                  <a:lnTo>
                    <a:pt x="11091" y="4070"/>
                  </a:lnTo>
                  <a:lnTo>
                    <a:pt x="11157" y="4115"/>
                  </a:lnTo>
                  <a:lnTo>
                    <a:pt x="11222" y="4163"/>
                  </a:lnTo>
                  <a:lnTo>
                    <a:pt x="11287" y="4212"/>
                  </a:lnTo>
                  <a:lnTo>
                    <a:pt x="11351" y="4263"/>
                  </a:lnTo>
                  <a:lnTo>
                    <a:pt x="11413" y="4317"/>
                  </a:lnTo>
                  <a:lnTo>
                    <a:pt x="11476" y="4372"/>
                  </a:lnTo>
                  <a:lnTo>
                    <a:pt x="11537" y="4428"/>
                  </a:lnTo>
                  <a:lnTo>
                    <a:pt x="11597" y="4487"/>
                  </a:lnTo>
                  <a:lnTo>
                    <a:pt x="11648" y="4537"/>
                  </a:lnTo>
                  <a:lnTo>
                    <a:pt x="11696" y="4590"/>
                  </a:lnTo>
                  <a:lnTo>
                    <a:pt x="11743" y="4642"/>
                  </a:lnTo>
                  <a:lnTo>
                    <a:pt x="11790" y="4696"/>
                  </a:lnTo>
                  <a:lnTo>
                    <a:pt x="11835" y="4749"/>
                  </a:lnTo>
                  <a:lnTo>
                    <a:pt x="11878" y="4803"/>
                  </a:lnTo>
                  <a:lnTo>
                    <a:pt x="11919" y="4859"/>
                  </a:lnTo>
                  <a:lnTo>
                    <a:pt x="11961" y="4915"/>
                  </a:lnTo>
                  <a:lnTo>
                    <a:pt x="12000" y="4970"/>
                  </a:lnTo>
                  <a:lnTo>
                    <a:pt x="12038" y="5027"/>
                  </a:lnTo>
                  <a:lnTo>
                    <a:pt x="12075" y="5084"/>
                  </a:lnTo>
                  <a:lnTo>
                    <a:pt x="12110" y="5142"/>
                  </a:lnTo>
                  <a:lnTo>
                    <a:pt x="12145" y="5200"/>
                  </a:lnTo>
                  <a:lnTo>
                    <a:pt x="12178" y="5258"/>
                  </a:lnTo>
                  <a:lnTo>
                    <a:pt x="12210" y="5316"/>
                  </a:lnTo>
                  <a:lnTo>
                    <a:pt x="12241" y="5375"/>
                  </a:lnTo>
                  <a:lnTo>
                    <a:pt x="7441" y="10165"/>
                  </a:lnTo>
                  <a:close/>
                  <a:moveTo>
                    <a:pt x="8055" y="11941"/>
                  </a:moveTo>
                  <a:lnTo>
                    <a:pt x="8045" y="11856"/>
                  </a:lnTo>
                  <a:lnTo>
                    <a:pt x="8035" y="11772"/>
                  </a:lnTo>
                  <a:lnTo>
                    <a:pt x="8022" y="11687"/>
                  </a:lnTo>
                  <a:lnTo>
                    <a:pt x="8008" y="11603"/>
                  </a:lnTo>
                  <a:lnTo>
                    <a:pt x="7991" y="11519"/>
                  </a:lnTo>
                  <a:lnTo>
                    <a:pt x="7973" y="11435"/>
                  </a:lnTo>
                  <a:lnTo>
                    <a:pt x="7953" y="11352"/>
                  </a:lnTo>
                  <a:lnTo>
                    <a:pt x="7931" y="11270"/>
                  </a:lnTo>
                  <a:lnTo>
                    <a:pt x="7907" y="11187"/>
                  </a:lnTo>
                  <a:lnTo>
                    <a:pt x="7882" y="11105"/>
                  </a:lnTo>
                  <a:lnTo>
                    <a:pt x="7854" y="11024"/>
                  </a:lnTo>
                  <a:lnTo>
                    <a:pt x="7825" y="10943"/>
                  </a:lnTo>
                  <a:lnTo>
                    <a:pt x="7795" y="10861"/>
                  </a:lnTo>
                  <a:lnTo>
                    <a:pt x="7763" y="10781"/>
                  </a:lnTo>
                  <a:lnTo>
                    <a:pt x="7729" y="10702"/>
                  </a:lnTo>
                  <a:lnTo>
                    <a:pt x="7693" y="10622"/>
                  </a:lnTo>
                  <a:lnTo>
                    <a:pt x="12448" y="5878"/>
                  </a:lnTo>
                  <a:lnTo>
                    <a:pt x="12475" y="5965"/>
                  </a:lnTo>
                  <a:lnTo>
                    <a:pt x="12499" y="6051"/>
                  </a:lnTo>
                  <a:lnTo>
                    <a:pt x="12519" y="6137"/>
                  </a:lnTo>
                  <a:lnTo>
                    <a:pt x="12537" y="6223"/>
                  </a:lnTo>
                  <a:lnTo>
                    <a:pt x="12553" y="6310"/>
                  </a:lnTo>
                  <a:lnTo>
                    <a:pt x="12566" y="6396"/>
                  </a:lnTo>
                  <a:lnTo>
                    <a:pt x="12576" y="6482"/>
                  </a:lnTo>
                  <a:lnTo>
                    <a:pt x="12583" y="6568"/>
                  </a:lnTo>
                  <a:lnTo>
                    <a:pt x="12588" y="6654"/>
                  </a:lnTo>
                  <a:lnTo>
                    <a:pt x="12591" y="6739"/>
                  </a:lnTo>
                  <a:lnTo>
                    <a:pt x="12591" y="6824"/>
                  </a:lnTo>
                  <a:lnTo>
                    <a:pt x="12588" y="6908"/>
                  </a:lnTo>
                  <a:lnTo>
                    <a:pt x="12582" y="6992"/>
                  </a:lnTo>
                  <a:lnTo>
                    <a:pt x="12574" y="7075"/>
                  </a:lnTo>
                  <a:lnTo>
                    <a:pt x="12563" y="7158"/>
                  </a:lnTo>
                  <a:lnTo>
                    <a:pt x="12549" y="7239"/>
                  </a:lnTo>
                  <a:lnTo>
                    <a:pt x="12533" y="7320"/>
                  </a:lnTo>
                  <a:lnTo>
                    <a:pt x="12513" y="7400"/>
                  </a:lnTo>
                  <a:lnTo>
                    <a:pt x="12492" y="7479"/>
                  </a:lnTo>
                  <a:lnTo>
                    <a:pt x="12467" y="7557"/>
                  </a:lnTo>
                  <a:lnTo>
                    <a:pt x="12439" y="7635"/>
                  </a:lnTo>
                  <a:lnTo>
                    <a:pt x="12409" y="7710"/>
                  </a:lnTo>
                  <a:lnTo>
                    <a:pt x="12376" y="7784"/>
                  </a:lnTo>
                  <a:lnTo>
                    <a:pt x="12340" y="7857"/>
                  </a:lnTo>
                  <a:lnTo>
                    <a:pt x="12302" y="7930"/>
                  </a:lnTo>
                  <a:lnTo>
                    <a:pt x="12260" y="8000"/>
                  </a:lnTo>
                  <a:lnTo>
                    <a:pt x="12216" y="8069"/>
                  </a:lnTo>
                  <a:lnTo>
                    <a:pt x="12169" y="8136"/>
                  </a:lnTo>
                  <a:lnTo>
                    <a:pt x="12120" y="8203"/>
                  </a:lnTo>
                  <a:lnTo>
                    <a:pt x="12066" y="8267"/>
                  </a:lnTo>
                  <a:lnTo>
                    <a:pt x="12011" y="8329"/>
                  </a:lnTo>
                  <a:lnTo>
                    <a:pt x="11953" y="8389"/>
                  </a:lnTo>
                  <a:lnTo>
                    <a:pt x="11947" y="8394"/>
                  </a:lnTo>
                  <a:lnTo>
                    <a:pt x="11940" y="8400"/>
                  </a:lnTo>
                  <a:lnTo>
                    <a:pt x="11948" y="8406"/>
                  </a:lnTo>
                  <a:lnTo>
                    <a:pt x="8060" y="12314"/>
                  </a:lnTo>
                  <a:lnTo>
                    <a:pt x="8061" y="12268"/>
                  </a:lnTo>
                  <a:lnTo>
                    <a:pt x="8061" y="12222"/>
                  </a:lnTo>
                  <a:lnTo>
                    <a:pt x="8062" y="12175"/>
                  </a:lnTo>
                  <a:lnTo>
                    <a:pt x="8062" y="12129"/>
                  </a:lnTo>
                  <a:lnTo>
                    <a:pt x="8062" y="12082"/>
                  </a:lnTo>
                  <a:lnTo>
                    <a:pt x="8061" y="12035"/>
                  </a:lnTo>
                  <a:lnTo>
                    <a:pt x="8059" y="11988"/>
                  </a:lnTo>
                  <a:lnTo>
                    <a:pt x="8055" y="11941"/>
                  </a:lnTo>
                  <a:close/>
                  <a:moveTo>
                    <a:pt x="14785" y="1295"/>
                  </a:moveTo>
                  <a:lnTo>
                    <a:pt x="14707" y="1218"/>
                  </a:lnTo>
                  <a:lnTo>
                    <a:pt x="14626" y="1144"/>
                  </a:lnTo>
                  <a:lnTo>
                    <a:pt x="14546" y="1072"/>
                  </a:lnTo>
                  <a:lnTo>
                    <a:pt x="14463" y="1003"/>
                  </a:lnTo>
                  <a:lnTo>
                    <a:pt x="14379" y="934"/>
                  </a:lnTo>
                  <a:lnTo>
                    <a:pt x="14294" y="869"/>
                  </a:lnTo>
                  <a:lnTo>
                    <a:pt x="14208" y="806"/>
                  </a:lnTo>
                  <a:lnTo>
                    <a:pt x="14119" y="745"/>
                  </a:lnTo>
                  <a:lnTo>
                    <a:pt x="14031" y="685"/>
                  </a:lnTo>
                  <a:lnTo>
                    <a:pt x="13941" y="629"/>
                  </a:lnTo>
                  <a:lnTo>
                    <a:pt x="13851" y="575"/>
                  </a:lnTo>
                  <a:lnTo>
                    <a:pt x="13758" y="523"/>
                  </a:lnTo>
                  <a:lnTo>
                    <a:pt x="13666" y="473"/>
                  </a:lnTo>
                  <a:lnTo>
                    <a:pt x="13572" y="426"/>
                  </a:lnTo>
                  <a:lnTo>
                    <a:pt x="13478" y="380"/>
                  </a:lnTo>
                  <a:lnTo>
                    <a:pt x="13382" y="338"/>
                  </a:lnTo>
                  <a:lnTo>
                    <a:pt x="13286" y="298"/>
                  </a:lnTo>
                  <a:lnTo>
                    <a:pt x="13190" y="260"/>
                  </a:lnTo>
                  <a:lnTo>
                    <a:pt x="13092" y="225"/>
                  </a:lnTo>
                  <a:lnTo>
                    <a:pt x="12995" y="193"/>
                  </a:lnTo>
                  <a:lnTo>
                    <a:pt x="12896" y="162"/>
                  </a:lnTo>
                  <a:lnTo>
                    <a:pt x="12798" y="134"/>
                  </a:lnTo>
                  <a:lnTo>
                    <a:pt x="12698" y="109"/>
                  </a:lnTo>
                  <a:lnTo>
                    <a:pt x="12598" y="86"/>
                  </a:lnTo>
                  <a:lnTo>
                    <a:pt x="12499" y="66"/>
                  </a:lnTo>
                  <a:lnTo>
                    <a:pt x="12398" y="49"/>
                  </a:lnTo>
                  <a:lnTo>
                    <a:pt x="12299" y="34"/>
                  </a:lnTo>
                  <a:lnTo>
                    <a:pt x="12198" y="22"/>
                  </a:lnTo>
                  <a:lnTo>
                    <a:pt x="12097" y="12"/>
                  </a:lnTo>
                  <a:lnTo>
                    <a:pt x="11996" y="5"/>
                  </a:lnTo>
                  <a:lnTo>
                    <a:pt x="11895" y="1"/>
                  </a:lnTo>
                  <a:lnTo>
                    <a:pt x="11795" y="0"/>
                  </a:lnTo>
                  <a:lnTo>
                    <a:pt x="11710" y="1"/>
                  </a:lnTo>
                  <a:lnTo>
                    <a:pt x="11626" y="4"/>
                  </a:lnTo>
                  <a:lnTo>
                    <a:pt x="11542" y="9"/>
                  </a:lnTo>
                  <a:lnTo>
                    <a:pt x="11459" y="16"/>
                  </a:lnTo>
                  <a:lnTo>
                    <a:pt x="11376" y="24"/>
                  </a:lnTo>
                  <a:lnTo>
                    <a:pt x="11294" y="35"/>
                  </a:lnTo>
                  <a:lnTo>
                    <a:pt x="11212" y="47"/>
                  </a:lnTo>
                  <a:lnTo>
                    <a:pt x="11131" y="62"/>
                  </a:lnTo>
                  <a:lnTo>
                    <a:pt x="11051" y="78"/>
                  </a:lnTo>
                  <a:lnTo>
                    <a:pt x="10971" y="96"/>
                  </a:lnTo>
                  <a:lnTo>
                    <a:pt x="10892" y="116"/>
                  </a:lnTo>
                  <a:lnTo>
                    <a:pt x="10814" y="139"/>
                  </a:lnTo>
                  <a:lnTo>
                    <a:pt x="10736" y="162"/>
                  </a:lnTo>
                  <a:lnTo>
                    <a:pt x="10660" y="187"/>
                  </a:lnTo>
                  <a:lnTo>
                    <a:pt x="10584" y="215"/>
                  </a:lnTo>
                  <a:lnTo>
                    <a:pt x="10509" y="243"/>
                  </a:lnTo>
                  <a:lnTo>
                    <a:pt x="10435" y="274"/>
                  </a:lnTo>
                  <a:lnTo>
                    <a:pt x="10361" y="307"/>
                  </a:lnTo>
                  <a:lnTo>
                    <a:pt x="10289" y="341"/>
                  </a:lnTo>
                  <a:lnTo>
                    <a:pt x="10217" y="377"/>
                  </a:lnTo>
                  <a:lnTo>
                    <a:pt x="10147" y="416"/>
                  </a:lnTo>
                  <a:lnTo>
                    <a:pt x="10078" y="455"/>
                  </a:lnTo>
                  <a:lnTo>
                    <a:pt x="10010" y="496"/>
                  </a:lnTo>
                  <a:lnTo>
                    <a:pt x="9943" y="539"/>
                  </a:lnTo>
                  <a:lnTo>
                    <a:pt x="9876" y="583"/>
                  </a:lnTo>
                  <a:lnTo>
                    <a:pt x="9811" y="629"/>
                  </a:lnTo>
                  <a:lnTo>
                    <a:pt x="9748" y="677"/>
                  </a:lnTo>
                  <a:lnTo>
                    <a:pt x="9684" y="727"/>
                  </a:lnTo>
                  <a:lnTo>
                    <a:pt x="9623" y="778"/>
                  </a:lnTo>
                  <a:lnTo>
                    <a:pt x="9562" y="831"/>
                  </a:lnTo>
                  <a:lnTo>
                    <a:pt x="9503" y="885"/>
                  </a:lnTo>
                  <a:lnTo>
                    <a:pt x="9446" y="941"/>
                  </a:lnTo>
                  <a:lnTo>
                    <a:pt x="6997" y="3403"/>
                  </a:lnTo>
                  <a:lnTo>
                    <a:pt x="6986" y="3412"/>
                  </a:lnTo>
                  <a:lnTo>
                    <a:pt x="6974" y="3422"/>
                  </a:lnTo>
                  <a:lnTo>
                    <a:pt x="6969" y="3428"/>
                  </a:lnTo>
                  <a:lnTo>
                    <a:pt x="6964" y="3435"/>
                  </a:lnTo>
                  <a:lnTo>
                    <a:pt x="6965" y="3436"/>
                  </a:lnTo>
                  <a:lnTo>
                    <a:pt x="1769" y="8659"/>
                  </a:lnTo>
                  <a:lnTo>
                    <a:pt x="1747" y="8681"/>
                  </a:lnTo>
                  <a:lnTo>
                    <a:pt x="1725" y="8704"/>
                  </a:lnTo>
                  <a:lnTo>
                    <a:pt x="1704" y="8728"/>
                  </a:lnTo>
                  <a:lnTo>
                    <a:pt x="1683" y="8751"/>
                  </a:lnTo>
                  <a:lnTo>
                    <a:pt x="1642" y="8799"/>
                  </a:lnTo>
                  <a:lnTo>
                    <a:pt x="1602" y="8847"/>
                  </a:lnTo>
                  <a:lnTo>
                    <a:pt x="1564" y="8897"/>
                  </a:lnTo>
                  <a:lnTo>
                    <a:pt x="1528" y="8949"/>
                  </a:lnTo>
                  <a:lnTo>
                    <a:pt x="1494" y="9002"/>
                  </a:lnTo>
                  <a:lnTo>
                    <a:pt x="1461" y="9055"/>
                  </a:lnTo>
                  <a:lnTo>
                    <a:pt x="1429" y="9109"/>
                  </a:lnTo>
                  <a:lnTo>
                    <a:pt x="1400" y="9165"/>
                  </a:lnTo>
                  <a:lnTo>
                    <a:pt x="1372" y="9221"/>
                  </a:lnTo>
                  <a:lnTo>
                    <a:pt x="1347" y="9279"/>
                  </a:lnTo>
                  <a:lnTo>
                    <a:pt x="1322" y="9336"/>
                  </a:lnTo>
                  <a:lnTo>
                    <a:pt x="1300" y="9395"/>
                  </a:lnTo>
                  <a:lnTo>
                    <a:pt x="1279" y="9454"/>
                  </a:lnTo>
                  <a:lnTo>
                    <a:pt x="1260" y="9514"/>
                  </a:lnTo>
                  <a:lnTo>
                    <a:pt x="78" y="13784"/>
                  </a:lnTo>
                  <a:lnTo>
                    <a:pt x="74" y="13803"/>
                  </a:lnTo>
                  <a:lnTo>
                    <a:pt x="65" y="13846"/>
                  </a:lnTo>
                  <a:lnTo>
                    <a:pt x="53" y="13908"/>
                  </a:lnTo>
                  <a:lnTo>
                    <a:pt x="38" y="13984"/>
                  </a:lnTo>
                  <a:lnTo>
                    <a:pt x="31" y="14025"/>
                  </a:lnTo>
                  <a:lnTo>
                    <a:pt x="24" y="14066"/>
                  </a:lnTo>
                  <a:lnTo>
                    <a:pt x="18" y="14109"/>
                  </a:lnTo>
                  <a:lnTo>
                    <a:pt x="12" y="14151"/>
                  </a:lnTo>
                  <a:lnTo>
                    <a:pt x="7" y="14192"/>
                  </a:lnTo>
                  <a:lnTo>
                    <a:pt x="3" y="14231"/>
                  </a:lnTo>
                  <a:lnTo>
                    <a:pt x="1" y="14268"/>
                  </a:lnTo>
                  <a:lnTo>
                    <a:pt x="0" y="14302"/>
                  </a:lnTo>
                  <a:lnTo>
                    <a:pt x="2" y="14392"/>
                  </a:lnTo>
                  <a:lnTo>
                    <a:pt x="9" y="14481"/>
                  </a:lnTo>
                  <a:lnTo>
                    <a:pt x="20" y="14569"/>
                  </a:lnTo>
                  <a:lnTo>
                    <a:pt x="36" y="14656"/>
                  </a:lnTo>
                  <a:lnTo>
                    <a:pt x="55" y="14740"/>
                  </a:lnTo>
                  <a:lnTo>
                    <a:pt x="79" y="14824"/>
                  </a:lnTo>
                  <a:lnTo>
                    <a:pt x="107" y="14906"/>
                  </a:lnTo>
                  <a:lnTo>
                    <a:pt x="139" y="14985"/>
                  </a:lnTo>
                  <a:lnTo>
                    <a:pt x="174" y="15063"/>
                  </a:lnTo>
                  <a:lnTo>
                    <a:pt x="212" y="15139"/>
                  </a:lnTo>
                  <a:lnTo>
                    <a:pt x="256" y="15212"/>
                  </a:lnTo>
                  <a:lnTo>
                    <a:pt x="301" y="15283"/>
                  </a:lnTo>
                  <a:lnTo>
                    <a:pt x="350" y="15352"/>
                  </a:lnTo>
                  <a:lnTo>
                    <a:pt x="402" y="15419"/>
                  </a:lnTo>
                  <a:lnTo>
                    <a:pt x="458" y="15483"/>
                  </a:lnTo>
                  <a:lnTo>
                    <a:pt x="516" y="15543"/>
                  </a:lnTo>
                  <a:lnTo>
                    <a:pt x="577" y="15601"/>
                  </a:lnTo>
                  <a:lnTo>
                    <a:pt x="642" y="15657"/>
                  </a:lnTo>
                  <a:lnTo>
                    <a:pt x="708" y="15709"/>
                  </a:lnTo>
                  <a:lnTo>
                    <a:pt x="778" y="15758"/>
                  </a:lnTo>
                  <a:lnTo>
                    <a:pt x="849" y="15804"/>
                  </a:lnTo>
                  <a:lnTo>
                    <a:pt x="922" y="15846"/>
                  </a:lnTo>
                  <a:lnTo>
                    <a:pt x="999" y="15884"/>
                  </a:lnTo>
                  <a:lnTo>
                    <a:pt x="1076" y="15919"/>
                  </a:lnTo>
                  <a:lnTo>
                    <a:pt x="1157" y="15952"/>
                  </a:lnTo>
                  <a:lnTo>
                    <a:pt x="1238" y="15979"/>
                  </a:lnTo>
                  <a:lnTo>
                    <a:pt x="1323" y="16003"/>
                  </a:lnTo>
                  <a:lnTo>
                    <a:pt x="1407" y="16022"/>
                  </a:lnTo>
                  <a:lnTo>
                    <a:pt x="1495" y="16038"/>
                  </a:lnTo>
                  <a:lnTo>
                    <a:pt x="1582" y="16049"/>
                  </a:lnTo>
                  <a:lnTo>
                    <a:pt x="1672" y="16056"/>
                  </a:lnTo>
                  <a:lnTo>
                    <a:pt x="1763" y="16058"/>
                  </a:lnTo>
                  <a:lnTo>
                    <a:pt x="1801" y="16057"/>
                  </a:lnTo>
                  <a:lnTo>
                    <a:pt x="1843" y="16054"/>
                  </a:lnTo>
                  <a:lnTo>
                    <a:pt x="1887" y="16049"/>
                  </a:lnTo>
                  <a:lnTo>
                    <a:pt x="1933" y="16044"/>
                  </a:lnTo>
                  <a:lnTo>
                    <a:pt x="1981" y="16037"/>
                  </a:lnTo>
                  <a:lnTo>
                    <a:pt x="2028" y="16029"/>
                  </a:lnTo>
                  <a:lnTo>
                    <a:pt x="2075" y="16020"/>
                  </a:lnTo>
                  <a:lnTo>
                    <a:pt x="2122" y="16012"/>
                  </a:lnTo>
                  <a:lnTo>
                    <a:pt x="2205" y="15995"/>
                  </a:lnTo>
                  <a:lnTo>
                    <a:pt x="2275" y="15980"/>
                  </a:lnTo>
                  <a:lnTo>
                    <a:pt x="2324" y="15969"/>
                  </a:lnTo>
                  <a:lnTo>
                    <a:pt x="2345" y="15964"/>
                  </a:lnTo>
                  <a:lnTo>
                    <a:pt x="6609" y="14846"/>
                  </a:lnTo>
                  <a:lnTo>
                    <a:pt x="6669" y="14827"/>
                  </a:lnTo>
                  <a:lnTo>
                    <a:pt x="6729" y="14805"/>
                  </a:lnTo>
                  <a:lnTo>
                    <a:pt x="6788" y="14783"/>
                  </a:lnTo>
                  <a:lnTo>
                    <a:pt x="6845" y="14759"/>
                  </a:lnTo>
                  <a:lnTo>
                    <a:pt x="6903" y="14733"/>
                  </a:lnTo>
                  <a:lnTo>
                    <a:pt x="6960" y="14705"/>
                  </a:lnTo>
                  <a:lnTo>
                    <a:pt x="7015" y="14675"/>
                  </a:lnTo>
                  <a:lnTo>
                    <a:pt x="7070" y="14644"/>
                  </a:lnTo>
                  <a:lnTo>
                    <a:pt x="7123" y="14612"/>
                  </a:lnTo>
                  <a:lnTo>
                    <a:pt x="7175" y="14577"/>
                  </a:lnTo>
                  <a:lnTo>
                    <a:pt x="7227" y="14541"/>
                  </a:lnTo>
                  <a:lnTo>
                    <a:pt x="7277" y="14502"/>
                  </a:lnTo>
                  <a:lnTo>
                    <a:pt x="7326" y="14463"/>
                  </a:lnTo>
                  <a:lnTo>
                    <a:pt x="7375" y="14422"/>
                  </a:lnTo>
                  <a:lnTo>
                    <a:pt x="7421" y="14380"/>
                  </a:lnTo>
                  <a:lnTo>
                    <a:pt x="7466" y="14336"/>
                  </a:lnTo>
                  <a:lnTo>
                    <a:pt x="15143" y="6617"/>
                  </a:lnTo>
                  <a:lnTo>
                    <a:pt x="15270" y="6483"/>
                  </a:lnTo>
                  <a:lnTo>
                    <a:pt x="15387" y="6344"/>
                  </a:lnTo>
                  <a:lnTo>
                    <a:pt x="15495" y="6200"/>
                  </a:lnTo>
                  <a:lnTo>
                    <a:pt x="15594" y="6053"/>
                  </a:lnTo>
                  <a:lnTo>
                    <a:pt x="15685" y="5900"/>
                  </a:lnTo>
                  <a:lnTo>
                    <a:pt x="15766" y="5744"/>
                  </a:lnTo>
                  <a:lnTo>
                    <a:pt x="15837" y="5584"/>
                  </a:lnTo>
                  <a:lnTo>
                    <a:pt x="15901" y="5421"/>
                  </a:lnTo>
                  <a:lnTo>
                    <a:pt x="15955" y="5254"/>
                  </a:lnTo>
                  <a:lnTo>
                    <a:pt x="16000" y="5084"/>
                  </a:lnTo>
                  <a:lnTo>
                    <a:pt x="16037" y="4913"/>
                  </a:lnTo>
                  <a:lnTo>
                    <a:pt x="16065" y="4739"/>
                  </a:lnTo>
                  <a:lnTo>
                    <a:pt x="16083" y="4563"/>
                  </a:lnTo>
                  <a:lnTo>
                    <a:pt x="16093" y="4387"/>
                  </a:lnTo>
                  <a:lnTo>
                    <a:pt x="16094" y="4208"/>
                  </a:lnTo>
                  <a:lnTo>
                    <a:pt x="16087" y="4030"/>
                  </a:lnTo>
                  <a:lnTo>
                    <a:pt x="16070" y="3850"/>
                  </a:lnTo>
                  <a:lnTo>
                    <a:pt x="16045" y="3669"/>
                  </a:lnTo>
                  <a:lnTo>
                    <a:pt x="16011" y="3490"/>
                  </a:lnTo>
                  <a:lnTo>
                    <a:pt x="15968" y="3310"/>
                  </a:lnTo>
                  <a:lnTo>
                    <a:pt x="15917" y="3131"/>
                  </a:lnTo>
                  <a:lnTo>
                    <a:pt x="15857" y="2953"/>
                  </a:lnTo>
                  <a:lnTo>
                    <a:pt x="15788" y="2776"/>
                  </a:lnTo>
                  <a:lnTo>
                    <a:pt x="15711" y="2601"/>
                  </a:lnTo>
                  <a:lnTo>
                    <a:pt x="15625" y="2428"/>
                  </a:lnTo>
                  <a:lnTo>
                    <a:pt x="15531" y="2257"/>
                  </a:lnTo>
                  <a:lnTo>
                    <a:pt x="15428" y="2089"/>
                  </a:lnTo>
                  <a:lnTo>
                    <a:pt x="15316" y="1923"/>
                  </a:lnTo>
                  <a:lnTo>
                    <a:pt x="15196" y="1760"/>
                  </a:lnTo>
                  <a:lnTo>
                    <a:pt x="15067" y="1602"/>
                  </a:lnTo>
                  <a:lnTo>
                    <a:pt x="14930" y="1446"/>
                  </a:lnTo>
                  <a:lnTo>
                    <a:pt x="14785" y="129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95" name="ïş1ïḋè">
              <a:extLst>
                <a:ext uri="{FF2B5EF4-FFF2-40B4-BE49-F238E27FC236}">
                  <a16:creationId xmlns:a16="http://schemas.microsoft.com/office/drawing/2014/main" id="{B5ACF620-3DC8-4643-AA6A-FAEF5D3BA8F7}"/>
                </a:ext>
              </a:extLst>
            </p:cNvPr>
            <p:cNvSpPr/>
            <p:nvPr/>
          </p:nvSpPr>
          <p:spPr bwMode="auto">
            <a:xfrm>
              <a:off x="6441312" y="2900034"/>
              <a:ext cx="300105" cy="199152"/>
            </a:xfrm>
            <a:custGeom>
              <a:avLst/>
              <a:gdLst>
                <a:gd name="T0" fmla="*/ 503 w 12071"/>
                <a:gd name="T1" fmla="*/ 502 h 8033"/>
                <a:gd name="T2" fmla="*/ 11568 w 12071"/>
                <a:gd name="T3" fmla="*/ 0 h 8033"/>
                <a:gd name="T4" fmla="*/ 452 w 12071"/>
                <a:gd name="T5" fmla="*/ 5 h 8033"/>
                <a:gd name="T6" fmla="*/ 377 w 12071"/>
                <a:gd name="T7" fmla="*/ 18 h 8033"/>
                <a:gd name="T8" fmla="*/ 307 w 12071"/>
                <a:gd name="T9" fmla="*/ 41 h 8033"/>
                <a:gd name="T10" fmla="*/ 242 w 12071"/>
                <a:gd name="T11" fmla="*/ 74 h 8033"/>
                <a:gd name="T12" fmla="*/ 183 w 12071"/>
                <a:gd name="T13" fmla="*/ 116 h 8033"/>
                <a:gd name="T14" fmla="*/ 131 w 12071"/>
                <a:gd name="T15" fmla="*/ 166 h 8033"/>
                <a:gd name="T16" fmla="*/ 85 w 12071"/>
                <a:gd name="T17" fmla="*/ 222 h 8033"/>
                <a:gd name="T18" fmla="*/ 49 w 12071"/>
                <a:gd name="T19" fmla="*/ 284 h 8033"/>
                <a:gd name="T20" fmla="*/ 22 w 12071"/>
                <a:gd name="T21" fmla="*/ 353 h 8033"/>
                <a:gd name="T22" fmla="*/ 6 w 12071"/>
                <a:gd name="T23" fmla="*/ 426 h 8033"/>
                <a:gd name="T24" fmla="*/ 0 w 12071"/>
                <a:gd name="T25" fmla="*/ 502 h 8033"/>
                <a:gd name="T26" fmla="*/ 3 w 12071"/>
                <a:gd name="T27" fmla="*/ 7582 h 8033"/>
                <a:gd name="T28" fmla="*/ 16 w 12071"/>
                <a:gd name="T29" fmla="*/ 7656 h 8033"/>
                <a:gd name="T30" fmla="*/ 39 w 12071"/>
                <a:gd name="T31" fmla="*/ 7726 h 8033"/>
                <a:gd name="T32" fmla="*/ 72 w 12071"/>
                <a:gd name="T33" fmla="*/ 7792 h 8033"/>
                <a:gd name="T34" fmla="*/ 115 w 12071"/>
                <a:gd name="T35" fmla="*/ 7850 h 8033"/>
                <a:gd name="T36" fmla="*/ 165 w 12071"/>
                <a:gd name="T37" fmla="*/ 7902 h 8033"/>
                <a:gd name="T38" fmla="*/ 221 w 12071"/>
                <a:gd name="T39" fmla="*/ 7947 h 8033"/>
                <a:gd name="T40" fmla="*/ 285 w 12071"/>
                <a:gd name="T41" fmla="*/ 7983 h 8033"/>
                <a:gd name="T42" fmla="*/ 353 w 12071"/>
                <a:gd name="T43" fmla="*/ 8011 h 8033"/>
                <a:gd name="T44" fmla="*/ 426 w 12071"/>
                <a:gd name="T45" fmla="*/ 8027 h 8033"/>
                <a:gd name="T46" fmla="*/ 503 w 12071"/>
                <a:gd name="T47" fmla="*/ 8033 h 8033"/>
                <a:gd name="T48" fmla="*/ 11619 w 12071"/>
                <a:gd name="T49" fmla="*/ 8030 h 8033"/>
                <a:gd name="T50" fmla="*/ 11694 w 12071"/>
                <a:gd name="T51" fmla="*/ 8017 h 8033"/>
                <a:gd name="T52" fmla="*/ 11764 w 12071"/>
                <a:gd name="T53" fmla="*/ 7994 h 8033"/>
                <a:gd name="T54" fmla="*/ 11829 w 12071"/>
                <a:gd name="T55" fmla="*/ 7960 h 8033"/>
                <a:gd name="T56" fmla="*/ 11888 w 12071"/>
                <a:gd name="T57" fmla="*/ 7918 h 8033"/>
                <a:gd name="T58" fmla="*/ 11940 w 12071"/>
                <a:gd name="T59" fmla="*/ 7868 h 8033"/>
                <a:gd name="T60" fmla="*/ 11986 w 12071"/>
                <a:gd name="T61" fmla="*/ 7812 h 8033"/>
                <a:gd name="T62" fmla="*/ 12022 w 12071"/>
                <a:gd name="T63" fmla="*/ 7749 h 8033"/>
                <a:gd name="T64" fmla="*/ 12049 w 12071"/>
                <a:gd name="T65" fmla="*/ 7680 h 8033"/>
                <a:gd name="T66" fmla="*/ 12065 w 12071"/>
                <a:gd name="T67" fmla="*/ 7607 h 8033"/>
                <a:gd name="T68" fmla="*/ 12071 w 12071"/>
                <a:gd name="T69" fmla="*/ 7531 h 8033"/>
                <a:gd name="T70" fmla="*/ 12068 w 12071"/>
                <a:gd name="T71" fmla="*/ 451 h 8033"/>
                <a:gd name="T72" fmla="*/ 12055 w 12071"/>
                <a:gd name="T73" fmla="*/ 377 h 8033"/>
                <a:gd name="T74" fmla="*/ 12032 w 12071"/>
                <a:gd name="T75" fmla="*/ 306 h 8033"/>
                <a:gd name="T76" fmla="*/ 11999 w 12071"/>
                <a:gd name="T77" fmla="*/ 242 h 8033"/>
                <a:gd name="T78" fmla="*/ 11956 w 12071"/>
                <a:gd name="T79" fmla="*/ 183 h 8033"/>
                <a:gd name="T80" fmla="*/ 11906 w 12071"/>
                <a:gd name="T81" fmla="*/ 131 h 8033"/>
                <a:gd name="T82" fmla="*/ 11850 w 12071"/>
                <a:gd name="T83" fmla="*/ 85 h 8033"/>
                <a:gd name="T84" fmla="*/ 11786 w 12071"/>
                <a:gd name="T85" fmla="*/ 49 h 8033"/>
                <a:gd name="T86" fmla="*/ 11718 w 12071"/>
                <a:gd name="T87" fmla="*/ 22 h 8033"/>
                <a:gd name="T88" fmla="*/ 11645 w 12071"/>
                <a:gd name="T89" fmla="*/ 6 h 8033"/>
                <a:gd name="T90" fmla="*/ 11568 w 12071"/>
                <a:gd name="T91" fmla="*/ 0 h 8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071" h="8033">
                  <a:moveTo>
                    <a:pt x="11568" y="7533"/>
                  </a:moveTo>
                  <a:lnTo>
                    <a:pt x="503" y="7533"/>
                  </a:lnTo>
                  <a:lnTo>
                    <a:pt x="503" y="502"/>
                  </a:lnTo>
                  <a:lnTo>
                    <a:pt x="11568" y="502"/>
                  </a:lnTo>
                  <a:lnTo>
                    <a:pt x="11568" y="7533"/>
                  </a:lnTo>
                  <a:close/>
                  <a:moveTo>
                    <a:pt x="11568" y="0"/>
                  </a:moveTo>
                  <a:lnTo>
                    <a:pt x="503" y="2"/>
                  </a:lnTo>
                  <a:lnTo>
                    <a:pt x="477" y="3"/>
                  </a:lnTo>
                  <a:lnTo>
                    <a:pt x="452" y="5"/>
                  </a:lnTo>
                  <a:lnTo>
                    <a:pt x="426" y="8"/>
                  </a:lnTo>
                  <a:lnTo>
                    <a:pt x="401" y="12"/>
                  </a:lnTo>
                  <a:lnTo>
                    <a:pt x="377" y="18"/>
                  </a:lnTo>
                  <a:lnTo>
                    <a:pt x="353" y="24"/>
                  </a:lnTo>
                  <a:lnTo>
                    <a:pt x="330" y="32"/>
                  </a:lnTo>
                  <a:lnTo>
                    <a:pt x="307" y="41"/>
                  </a:lnTo>
                  <a:lnTo>
                    <a:pt x="285" y="51"/>
                  </a:lnTo>
                  <a:lnTo>
                    <a:pt x="263" y="62"/>
                  </a:lnTo>
                  <a:lnTo>
                    <a:pt x="242" y="74"/>
                  </a:lnTo>
                  <a:lnTo>
                    <a:pt x="221" y="87"/>
                  </a:lnTo>
                  <a:lnTo>
                    <a:pt x="202" y="102"/>
                  </a:lnTo>
                  <a:lnTo>
                    <a:pt x="183" y="116"/>
                  </a:lnTo>
                  <a:lnTo>
                    <a:pt x="165" y="132"/>
                  </a:lnTo>
                  <a:lnTo>
                    <a:pt x="147" y="148"/>
                  </a:lnTo>
                  <a:lnTo>
                    <a:pt x="131" y="166"/>
                  </a:lnTo>
                  <a:lnTo>
                    <a:pt x="115" y="184"/>
                  </a:lnTo>
                  <a:lnTo>
                    <a:pt x="99" y="202"/>
                  </a:lnTo>
                  <a:lnTo>
                    <a:pt x="85" y="222"/>
                  </a:lnTo>
                  <a:lnTo>
                    <a:pt x="72" y="242"/>
                  </a:lnTo>
                  <a:lnTo>
                    <a:pt x="60" y="263"/>
                  </a:lnTo>
                  <a:lnTo>
                    <a:pt x="49" y="284"/>
                  </a:lnTo>
                  <a:lnTo>
                    <a:pt x="39" y="307"/>
                  </a:lnTo>
                  <a:lnTo>
                    <a:pt x="30" y="329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1"/>
                  </a:lnTo>
                  <a:lnTo>
                    <a:pt x="1" y="476"/>
                  </a:lnTo>
                  <a:lnTo>
                    <a:pt x="0" y="502"/>
                  </a:lnTo>
                  <a:lnTo>
                    <a:pt x="0" y="7531"/>
                  </a:lnTo>
                  <a:lnTo>
                    <a:pt x="1" y="7557"/>
                  </a:lnTo>
                  <a:lnTo>
                    <a:pt x="3" y="7582"/>
                  </a:lnTo>
                  <a:lnTo>
                    <a:pt x="6" y="7607"/>
                  </a:lnTo>
                  <a:lnTo>
                    <a:pt x="10" y="7632"/>
                  </a:lnTo>
                  <a:lnTo>
                    <a:pt x="16" y="7656"/>
                  </a:lnTo>
                  <a:lnTo>
                    <a:pt x="22" y="7680"/>
                  </a:lnTo>
                  <a:lnTo>
                    <a:pt x="30" y="7703"/>
                  </a:lnTo>
                  <a:lnTo>
                    <a:pt x="39" y="7726"/>
                  </a:lnTo>
                  <a:lnTo>
                    <a:pt x="49" y="7749"/>
                  </a:lnTo>
                  <a:lnTo>
                    <a:pt x="60" y="7771"/>
                  </a:lnTo>
                  <a:lnTo>
                    <a:pt x="72" y="7792"/>
                  </a:lnTo>
                  <a:lnTo>
                    <a:pt x="85" y="7812"/>
                  </a:lnTo>
                  <a:lnTo>
                    <a:pt x="99" y="7831"/>
                  </a:lnTo>
                  <a:lnTo>
                    <a:pt x="115" y="7850"/>
                  </a:lnTo>
                  <a:lnTo>
                    <a:pt x="131" y="7868"/>
                  </a:lnTo>
                  <a:lnTo>
                    <a:pt x="147" y="7886"/>
                  </a:lnTo>
                  <a:lnTo>
                    <a:pt x="165" y="7902"/>
                  </a:lnTo>
                  <a:lnTo>
                    <a:pt x="183" y="7918"/>
                  </a:lnTo>
                  <a:lnTo>
                    <a:pt x="202" y="7933"/>
                  </a:lnTo>
                  <a:lnTo>
                    <a:pt x="221" y="7947"/>
                  </a:lnTo>
                  <a:lnTo>
                    <a:pt x="242" y="7960"/>
                  </a:lnTo>
                  <a:lnTo>
                    <a:pt x="263" y="7972"/>
                  </a:lnTo>
                  <a:lnTo>
                    <a:pt x="285" y="7983"/>
                  </a:lnTo>
                  <a:lnTo>
                    <a:pt x="307" y="7994"/>
                  </a:lnTo>
                  <a:lnTo>
                    <a:pt x="330" y="8003"/>
                  </a:lnTo>
                  <a:lnTo>
                    <a:pt x="353" y="8011"/>
                  </a:lnTo>
                  <a:lnTo>
                    <a:pt x="377" y="8017"/>
                  </a:lnTo>
                  <a:lnTo>
                    <a:pt x="401" y="8023"/>
                  </a:lnTo>
                  <a:lnTo>
                    <a:pt x="426" y="8027"/>
                  </a:lnTo>
                  <a:lnTo>
                    <a:pt x="452" y="8030"/>
                  </a:lnTo>
                  <a:lnTo>
                    <a:pt x="477" y="8032"/>
                  </a:lnTo>
                  <a:lnTo>
                    <a:pt x="503" y="8033"/>
                  </a:lnTo>
                  <a:lnTo>
                    <a:pt x="11568" y="8033"/>
                  </a:lnTo>
                  <a:lnTo>
                    <a:pt x="11594" y="8032"/>
                  </a:lnTo>
                  <a:lnTo>
                    <a:pt x="11619" y="8030"/>
                  </a:lnTo>
                  <a:lnTo>
                    <a:pt x="11645" y="8027"/>
                  </a:lnTo>
                  <a:lnTo>
                    <a:pt x="11670" y="8023"/>
                  </a:lnTo>
                  <a:lnTo>
                    <a:pt x="11694" y="8017"/>
                  </a:lnTo>
                  <a:lnTo>
                    <a:pt x="11718" y="8011"/>
                  </a:lnTo>
                  <a:lnTo>
                    <a:pt x="11741" y="8003"/>
                  </a:lnTo>
                  <a:lnTo>
                    <a:pt x="11764" y="7994"/>
                  </a:lnTo>
                  <a:lnTo>
                    <a:pt x="11786" y="7983"/>
                  </a:lnTo>
                  <a:lnTo>
                    <a:pt x="11809" y="7972"/>
                  </a:lnTo>
                  <a:lnTo>
                    <a:pt x="11829" y="7960"/>
                  </a:lnTo>
                  <a:lnTo>
                    <a:pt x="11850" y="7947"/>
                  </a:lnTo>
                  <a:lnTo>
                    <a:pt x="11869" y="7933"/>
                  </a:lnTo>
                  <a:lnTo>
                    <a:pt x="11888" y="7918"/>
                  </a:lnTo>
                  <a:lnTo>
                    <a:pt x="11906" y="7902"/>
                  </a:lnTo>
                  <a:lnTo>
                    <a:pt x="11924" y="7886"/>
                  </a:lnTo>
                  <a:lnTo>
                    <a:pt x="11940" y="7868"/>
                  </a:lnTo>
                  <a:lnTo>
                    <a:pt x="11956" y="7850"/>
                  </a:lnTo>
                  <a:lnTo>
                    <a:pt x="11972" y="7831"/>
                  </a:lnTo>
                  <a:lnTo>
                    <a:pt x="11986" y="7812"/>
                  </a:lnTo>
                  <a:lnTo>
                    <a:pt x="11999" y="7792"/>
                  </a:lnTo>
                  <a:lnTo>
                    <a:pt x="12011" y="7771"/>
                  </a:lnTo>
                  <a:lnTo>
                    <a:pt x="12022" y="7749"/>
                  </a:lnTo>
                  <a:lnTo>
                    <a:pt x="12032" y="7726"/>
                  </a:lnTo>
                  <a:lnTo>
                    <a:pt x="12041" y="7703"/>
                  </a:lnTo>
                  <a:lnTo>
                    <a:pt x="12049" y="7680"/>
                  </a:lnTo>
                  <a:lnTo>
                    <a:pt x="12055" y="7656"/>
                  </a:lnTo>
                  <a:lnTo>
                    <a:pt x="12061" y="7632"/>
                  </a:lnTo>
                  <a:lnTo>
                    <a:pt x="12065" y="7607"/>
                  </a:lnTo>
                  <a:lnTo>
                    <a:pt x="12068" y="7582"/>
                  </a:lnTo>
                  <a:lnTo>
                    <a:pt x="12070" y="7557"/>
                  </a:lnTo>
                  <a:lnTo>
                    <a:pt x="12071" y="7531"/>
                  </a:lnTo>
                  <a:lnTo>
                    <a:pt x="12071" y="502"/>
                  </a:lnTo>
                  <a:lnTo>
                    <a:pt x="12070" y="476"/>
                  </a:lnTo>
                  <a:lnTo>
                    <a:pt x="12068" y="451"/>
                  </a:lnTo>
                  <a:lnTo>
                    <a:pt x="12065" y="426"/>
                  </a:lnTo>
                  <a:lnTo>
                    <a:pt x="12061" y="401"/>
                  </a:lnTo>
                  <a:lnTo>
                    <a:pt x="12055" y="377"/>
                  </a:lnTo>
                  <a:lnTo>
                    <a:pt x="12049" y="353"/>
                  </a:lnTo>
                  <a:lnTo>
                    <a:pt x="12041" y="329"/>
                  </a:lnTo>
                  <a:lnTo>
                    <a:pt x="12032" y="306"/>
                  </a:lnTo>
                  <a:lnTo>
                    <a:pt x="12022" y="284"/>
                  </a:lnTo>
                  <a:lnTo>
                    <a:pt x="12011" y="263"/>
                  </a:lnTo>
                  <a:lnTo>
                    <a:pt x="11999" y="242"/>
                  </a:lnTo>
                  <a:lnTo>
                    <a:pt x="11986" y="221"/>
                  </a:lnTo>
                  <a:lnTo>
                    <a:pt x="11972" y="202"/>
                  </a:lnTo>
                  <a:lnTo>
                    <a:pt x="11956" y="183"/>
                  </a:lnTo>
                  <a:lnTo>
                    <a:pt x="11940" y="165"/>
                  </a:lnTo>
                  <a:lnTo>
                    <a:pt x="11924" y="147"/>
                  </a:lnTo>
                  <a:lnTo>
                    <a:pt x="11906" y="131"/>
                  </a:lnTo>
                  <a:lnTo>
                    <a:pt x="11888" y="115"/>
                  </a:lnTo>
                  <a:lnTo>
                    <a:pt x="11869" y="100"/>
                  </a:lnTo>
                  <a:lnTo>
                    <a:pt x="11850" y="85"/>
                  </a:lnTo>
                  <a:lnTo>
                    <a:pt x="11829" y="72"/>
                  </a:lnTo>
                  <a:lnTo>
                    <a:pt x="11809" y="60"/>
                  </a:lnTo>
                  <a:lnTo>
                    <a:pt x="11786" y="49"/>
                  </a:lnTo>
                  <a:lnTo>
                    <a:pt x="11764" y="39"/>
                  </a:lnTo>
                  <a:lnTo>
                    <a:pt x="11741" y="30"/>
                  </a:lnTo>
                  <a:lnTo>
                    <a:pt x="11718" y="22"/>
                  </a:lnTo>
                  <a:lnTo>
                    <a:pt x="11694" y="16"/>
                  </a:lnTo>
                  <a:lnTo>
                    <a:pt x="11670" y="10"/>
                  </a:lnTo>
                  <a:lnTo>
                    <a:pt x="11645" y="6"/>
                  </a:lnTo>
                  <a:lnTo>
                    <a:pt x="11619" y="3"/>
                  </a:lnTo>
                  <a:lnTo>
                    <a:pt x="11594" y="1"/>
                  </a:lnTo>
                  <a:lnTo>
                    <a:pt x="1156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96" name="îŝlîḍé">
              <a:extLst>
                <a:ext uri="{FF2B5EF4-FFF2-40B4-BE49-F238E27FC236}">
                  <a16:creationId xmlns:a16="http://schemas.microsoft.com/office/drawing/2014/main" id="{CBC8ED41-0454-4753-A332-EE83DF2B9C0E}"/>
                </a:ext>
              </a:extLst>
            </p:cNvPr>
            <p:cNvSpPr/>
            <p:nvPr/>
          </p:nvSpPr>
          <p:spPr bwMode="auto">
            <a:xfrm>
              <a:off x="6391753" y="2850475"/>
              <a:ext cx="399222" cy="373525"/>
            </a:xfrm>
            <a:custGeom>
              <a:avLst/>
              <a:gdLst>
                <a:gd name="T0" fmla="*/ 15066 w 16095"/>
                <a:gd name="T1" fmla="*/ 11696 h 15059"/>
                <a:gd name="T2" fmla="*/ 14988 w 16095"/>
                <a:gd name="T3" fmla="*/ 11847 h 15059"/>
                <a:gd name="T4" fmla="*/ 14867 w 16095"/>
                <a:gd name="T5" fmla="*/ 11963 h 15059"/>
                <a:gd name="T6" fmla="*/ 14712 w 16095"/>
                <a:gd name="T7" fmla="*/ 12033 h 15059"/>
                <a:gd name="T8" fmla="*/ 6036 w 16095"/>
                <a:gd name="T9" fmla="*/ 12049 h 15059"/>
                <a:gd name="T10" fmla="*/ 1359 w 16095"/>
                <a:gd name="T11" fmla="*/ 12027 h 15059"/>
                <a:gd name="T12" fmla="*/ 1208 w 16095"/>
                <a:gd name="T13" fmla="*/ 11949 h 15059"/>
                <a:gd name="T14" fmla="*/ 1091 w 16095"/>
                <a:gd name="T15" fmla="*/ 11828 h 15059"/>
                <a:gd name="T16" fmla="*/ 1022 w 16095"/>
                <a:gd name="T17" fmla="*/ 11672 h 15059"/>
                <a:gd name="T18" fmla="*/ 1007 w 16095"/>
                <a:gd name="T19" fmla="*/ 1480 h 15059"/>
                <a:gd name="T20" fmla="*/ 1045 w 16095"/>
                <a:gd name="T21" fmla="*/ 1310 h 15059"/>
                <a:gd name="T22" fmla="*/ 1137 w 16095"/>
                <a:gd name="T23" fmla="*/ 1169 h 15059"/>
                <a:gd name="T24" fmla="*/ 1268 w 16095"/>
                <a:gd name="T25" fmla="*/ 1064 h 15059"/>
                <a:gd name="T26" fmla="*/ 1432 w 16095"/>
                <a:gd name="T27" fmla="*/ 1010 h 15059"/>
                <a:gd name="T28" fmla="*/ 14663 w 16095"/>
                <a:gd name="T29" fmla="*/ 1010 h 15059"/>
                <a:gd name="T30" fmla="*/ 14826 w 16095"/>
                <a:gd name="T31" fmla="*/ 1064 h 15059"/>
                <a:gd name="T32" fmla="*/ 14958 w 16095"/>
                <a:gd name="T33" fmla="*/ 1169 h 15059"/>
                <a:gd name="T34" fmla="*/ 15050 w 16095"/>
                <a:gd name="T35" fmla="*/ 1310 h 15059"/>
                <a:gd name="T36" fmla="*/ 15088 w 16095"/>
                <a:gd name="T37" fmla="*/ 1480 h 15059"/>
                <a:gd name="T38" fmla="*/ 1279 w 16095"/>
                <a:gd name="T39" fmla="*/ 17 h 15059"/>
                <a:gd name="T40" fmla="*/ 790 w 16095"/>
                <a:gd name="T41" fmla="*/ 182 h 15059"/>
                <a:gd name="T42" fmla="*/ 391 w 16095"/>
                <a:gd name="T43" fmla="*/ 493 h 15059"/>
                <a:gd name="T44" fmla="*/ 119 w 16095"/>
                <a:gd name="T45" fmla="*/ 920 h 15059"/>
                <a:gd name="T46" fmla="*/ 2 w 16095"/>
                <a:gd name="T47" fmla="*/ 1429 h 15059"/>
                <a:gd name="T48" fmla="*/ 47 w 16095"/>
                <a:gd name="T49" fmla="*/ 11922 h 15059"/>
                <a:gd name="T50" fmla="*/ 257 w 16095"/>
                <a:gd name="T51" fmla="*/ 12387 h 15059"/>
                <a:gd name="T52" fmla="*/ 604 w 16095"/>
                <a:gd name="T53" fmla="*/ 12752 h 15059"/>
                <a:gd name="T54" fmla="*/ 1056 w 16095"/>
                <a:gd name="T55" fmla="*/ 12984 h 15059"/>
                <a:gd name="T56" fmla="*/ 6539 w 16095"/>
                <a:gd name="T57" fmla="*/ 13053 h 15059"/>
                <a:gd name="T58" fmla="*/ 3299 w 16095"/>
                <a:gd name="T59" fmla="*/ 14106 h 15059"/>
                <a:gd name="T60" fmla="*/ 3180 w 16095"/>
                <a:gd name="T61" fmla="*/ 14188 h 15059"/>
                <a:gd name="T62" fmla="*/ 3089 w 16095"/>
                <a:gd name="T63" fmla="*/ 14299 h 15059"/>
                <a:gd name="T64" fmla="*/ 3034 w 16095"/>
                <a:gd name="T65" fmla="*/ 14431 h 15059"/>
                <a:gd name="T66" fmla="*/ 3019 w 16095"/>
                <a:gd name="T67" fmla="*/ 14583 h 15059"/>
                <a:gd name="T68" fmla="*/ 3057 w 16095"/>
                <a:gd name="T69" fmla="*/ 14753 h 15059"/>
                <a:gd name="T70" fmla="*/ 3149 w 16095"/>
                <a:gd name="T71" fmla="*/ 14894 h 15059"/>
                <a:gd name="T72" fmla="*/ 3280 w 16095"/>
                <a:gd name="T73" fmla="*/ 14999 h 15059"/>
                <a:gd name="T74" fmla="*/ 3444 w 16095"/>
                <a:gd name="T75" fmla="*/ 15053 h 15059"/>
                <a:gd name="T76" fmla="*/ 12651 w 16095"/>
                <a:gd name="T77" fmla="*/ 15053 h 15059"/>
                <a:gd name="T78" fmla="*/ 12814 w 16095"/>
                <a:gd name="T79" fmla="*/ 14999 h 15059"/>
                <a:gd name="T80" fmla="*/ 12946 w 16095"/>
                <a:gd name="T81" fmla="*/ 14894 h 15059"/>
                <a:gd name="T82" fmla="*/ 13038 w 16095"/>
                <a:gd name="T83" fmla="*/ 14753 h 15059"/>
                <a:gd name="T84" fmla="*/ 13076 w 16095"/>
                <a:gd name="T85" fmla="*/ 14583 h 15059"/>
                <a:gd name="T86" fmla="*/ 13061 w 16095"/>
                <a:gd name="T87" fmla="*/ 14431 h 15059"/>
                <a:gd name="T88" fmla="*/ 13006 w 16095"/>
                <a:gd name="T89" fmla="*/ 14299 h 15059"/>
                <a:gd name="T90" fmla="*/ 12915 w 16095"/>
                <a:gd name="T91" fmla="*/ 14188 h 15059"/>
                <a:gd name="T92" fmla="*/ 12796 w 16095"/>
                <a:gd name="T93" fmla="*/ 14106 h 15059"/>
                <a:gd name="T94" fmla="*/ 9556 w 16095"/>
                <a:gd name="T95" fmla="*/ 13053 h 15059"/>
                <a:gd name="T96" fmla="*/ 15039 w 16095"/>
                <a:gd name="T97" fmla="*/ 12984 h 15059"/>
                <a:gd name="T98" fmla="*/ 15491 w 16095"/>
                <a:gd name="T99" fmla="*/ 12752 h 15059"/>
                <a:gd name="T100" fmla="*/ 15838 w 16095"/>
                <a:gd name="T101" fmla="*/ 12387 h 15059"/>
                <a:gd name="T102" fmla="*/ 16048 w 16095"/>
                <a:gd name="T103" fmla="*/ 11922 h 15059"/>
                <a:gd name="T104" fmla="*/ 16093 w 16095"/>
                <a:gd name="T105" fmla="*/ 1429 h 15059"/>
                <a:gd name="T106" fmla="*/ 15976 w 16095"/>
                <a:gd name="T107" fmla="*/ 920 h 15059"/>
                <a:gd name="T108" fmla="*/ 15703 w 16095"/>
                <a:gd name="T109" fmla="*/ 493 h 15059"/>
                <a:gd name="T110" fmla="*/ 15305 w 16095"/>
                <a:gd name="T111" fmla="*/ 182 h 15059"/>
                <a:gd name="T112" fmla="*/ 14815 w 16095"/>
                <a:gd name="T113" fmla="*/ 17 h 15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5059">
                  <a:moveTo>
                    <a:pt x="15089" y="11547"/>
                  </a:moveTo>
                  <a:lnTo>
                    <a:pt x="15088" y="11573"/>
                  </a:lnTo>
                  <a:lnTo>
                    <a:pt x="15086" y="11598"/>
                  </a:lnTo>
                  <a:lnTo>
                    <a:pt x="15083" y="11623"/>
                  </a:lnTo>
                  <a:lnTo>
                    <a:pt x="15079" y="11648"/>
                  </a:lnTo>
                  <a:lnTo>
                    <a:pt x="15073" y="11672"/>
                  </a:lnTo>
                  <a:lnTo>
                    <a:pt x="15066" y="11696"/>
                  </a:lnTo>
                  <a:lnTo>
                    <a:pt x="15059" y="11719"/>
                  </a:lnTo>
                  <a:lnTo>
                    <a:pt x="15050" y="11743"/>
                  </a:lnTo>
                  <a:lnTo>
                    <a:pt x="15040" y="11765"/>
                  </a:lnTo>
                  <a:lnTo>
                    <a:pt x="15029" y="11786"/>
                  </a:lnTo>
                  <a:lnTo>
                    <a:pt x="15016" y="11807"/>
                  </a:lnTo>
                  <a:lnTo>
                    <a:pt x="15003" y="11828"/>
                  </a:lnTo>
                  <a:lnTo>
                    <a:pt x="14988" y="11847"/>
                  </a:lnTo>
                  <a:lnTo>
                    <a:pt x="14974" y="11866"/>
                  </a:lnTo>
                  <a:lnTo>
                    <a:pt x="14958" y="11884"/>
                  </a:lnTo>
                  <a:lnTo>
                    <a:pt x="14941" y="11902"/>
                  </a:lnTo>
                  <a:lnTo>
                    <a:pt x="14924" y="11918"/>
                  </a:lnTo>
                  <a:lnTo>
                    <a:pt x="14906" y="11934"/>
                  </a:lnTo>
                  <a:lnTo>
                    <a:pt x="14887" y="11949"/>
                  </a:lnTo>
                  <a:lnTo>
                    <a:pt x="14867" y="11963"/>
                  </a:lnTo>
                  <a:lnTo>
                    <a:pt x="14847" y="11977"/>
                  </a:lnTo>
                  <a:lnTo>
                    <a:pt x="14826" y="11989"/>
                  </a:lnTo>
                  <a:lnTo>
                    <a:pt x="14803" y="12000"/>
                  </a:lnTo>
                  <a:lnTo>
                    <a:pt x="14781" y="12010"/>
                  </a:lnTo>
                  <a:lnTo>
                    <a:pt x="14759" y="12019"/>
                  </a:lnTo>
                  <a:lnTo>
                    <a:pt x="14735" y="12027"/>
                  </a:lnTo>
                  <a:lnTo>
                    <a:pt x="14712" y="12033"/>
                  </a:lnTo>
                  <a:lnTo>
                    <a:pt x="14687" y="12039"/>
                  </a:lnTo>
                  <a:lnTo>
                    <a:pt x="14663" y="12043"/>
                  </a:lnTo>
                  <a:lnTo>
                    <a:pt x="14637" y="12047"/>
                  </a:lnTo>
                  <a:lnTo>
                    <a:pt x="14612" y="12048"/>
                  </a:lnTo>
                  <a:lnTo>
                    <a:pt x="14586" y="12049"/>
                  </a:lnTo>
                  <a:lnTo>
                    <a:pt x="10059" y="12049"/>
                  </a:lnTo>
                  <a:lnTo>
                    <a:pt x="6036" y="12049"/>
                  </a:lnTo>
                  <a:lnTo>
                    <a:pt x="1509" y="12049"/>
                  </a:lnTo>
                  <a:lnTo>
                    <a:pt x="1483" y="12048"/>
                  </a:lnTo>
                  <a:lnTo>
                    <a:pt x="1458" y="12047"/>
                  </a:lnTo>
                  <a:lnTo>
                    <a:pt x="1432" y="12043"/>
                  </a:lnTo>
                  <a:lnTo>
                    <a:pt x="1407" y="12039"/>
                  </a:lnTo>
                  <a:lnTo>
                    <a:pt x="1383" y="12033"/>
                  </a:lnTo>
                  <a:lnTo>
                    <a:pt x="1359" y="12027"/>
                  </a:lnTo>
                  <a:lnTo>
                    <a:pt x="1336" y="12019"/>
                  </a:lnTo>
                  <a:lnTo>
                    <a:pt x="1313" y="12010"/>
                  </a:lnTo>
                  <a:lnTo>
                    <a:pt x="1291" y="12000"/>
                  </a:lnTo>
                  <a:lnTo>
                    <a:pt x="1268" y="11989"/>
                  </a:lnTo>
                  <a:lnTo>
                    <a:pt x="1248" y="11977"/>
                  </a:lnTo>
                  <a:lnTo>
                    <a:pt x="1227" y="11963"/>
                  </a:lnTo>
                  <a:lnTo>
                    <a:pt x="1208" y="11949"/>
                  </a:lnTo>
                  <a:lnTo>
                    <a:pt x="1189" y="11934"/>
                  </a:lnTo>
                  <a:lnTo>
                    <a:pt x="1171" y="11918"/>
                  </a:lnTo>
                  <a:lnTo>
                    <a:pt x="1153" y="11902"/>
                  </a:lnTo>
                  <a:lnTo>
                    <a:pt x="1137" y="11884"/>
                  </a:lnTo>
                  <a:lnTo>
                    <a:pt x="1121" y="11866"/>
                  </a:lnTo>
                  <a:lnTo>
                    <a:pt x="1106" y="11847"/>
                  </a:lnTo>
                  <a:lnTo>
                    <a:pt x="1091" y="11828"/>
                  </a:lnTo>
                  <a:lnTo>
                    <a:pt x="1078" y="11807"/>
                  </a:lnTo>
                  <a:lnTo>
                    <a:pt x="1066" y="11786"/>
                  </a:lnTo>
                  <a:lnTo>
                    <a:pt x="1055" y="11765"/>
                  </a:lnTo>
                  <a:lnTo>
                    <a:pt x="1045" y="11743"/>
                  </a:lnTo>
                  <a:lnTo>
                    <a:pt x="1036" y="11719"/>
                  </a:lnTo>
                  <a:lnTo>
                    <a:pt x="1028" y="11696"/>
                  </a:lnTo>
                  <a:lnTo>
                    <a:pt x="1022" y="11672"/>
                  </a:lnTo>
                  <a:lnTo>
                    <a:pt x="1016" y="11648"/>
                  </a:lnTo>
                  <a:lnTo>
                    <a:pt x="1012" y="11623"/>
                  </a:lnTo>
                  <a:lnTo>
                    <a:pt x="1009" y="11598"/>
                  </a:lnTo>
                  <a:lnTo>
                    <a:pt x="1007" y="11573"/>
                  </a:lnTo>
                  <a:lnTo>
                    <a:pt x="1006" y="11547"/>
                  </a:lnTo>
                  <a:lnTo>
                    <a:pt x="1006" y="1506"/>
                  </a:lnTo>
                  <a:lnTo>
                    <a:pt x="1007" y="1480"/>
                  </a:lnTo>
                  <a:lnTo>
                    <a:pt x="1009" y="1455"/>
                  </a:lnTo>
                  <a:lnTo>
                    <a:pt x="1012" y="1430"/>
                  </a:lnTo>
                  <a:lnTo>
                    <a:pt x="1016" y="1405"/>
                  </a:lnTo>
                  <a:lnTo>
                    <a:pt x="1022" y="1381"/>
                  </a:lnTo>
                  <a:lnTo>
                    <a:pt x="1028" y="1356"/>
                  </a:lnTo>
                  <a:lnTo>
                    <a:pt x="1036" y="1333"/>
                  </a:lnTo>
                  <a:lnTo>
                    <a:pt x="1045" y="1310"/>
                  </a:lnTo>
                  <a:lnTo>
                    <a:pt x="1055" y="1288"/>
                  </a:lnTo>
                  <a:lnTo>
                    <a:pt x="1066" y="1267"/>
                  </a:lnTo>
                  <a:lnTo>
                    <a:pt x="1078" y="1246"/>
                  </a:lnTo>
                  <a:lnTo>
                    <a:pt x="1091" y="1225"/>
                  </a:lnTo>
                  <a:lnTo>
                    <a:pt x="1106" y="1206"/>
                  </a:lnTo>
                  <a:lnTo>
                    <a:pt x="1121" y="1187"/>
                  </a:lnTo>
                  <a:lnTo>
                    <a:pt x="1137" y="1169"/>
                  </a:lnTo>
                  <a:lnTo>
                    <a:pt x="1153" y="1151"/>
                  </a:lnTo>
                  <a:lnTo>
                    <a:pt x="1171" y="1135"/>
                  </a:lnTo>
                  <a:lnTo>
                    <a:pt x="1189" y="1119"/>
                  </a:lnTo>
                  <a:lnTo>
                    <a:pt x="1208" y="1103"/>
                  </a:lnTo>
                  <a:lnTo>
                    <a:pt x="1227" y="1090"/>
                  </a:lnTo>
                  <a:lnTo>
                    <a:pt x="1248" y="1077"/>
                  </a:lnTo>
                  <a:lnTo>
                    <a:pt x="1268" y="1064"/>
                  </a:lnTo>
                  <a:lnTo>
                    <a:pt x="1291" y="1053"/>
                  </a:lnTo>
                  <a:lnTo>
                    <a:pt x="1313" y="1043"/>
                  </a:lnTo>
                  <a:lnTo>
                    <a:pt x="1336" y="1034"/>
                  </a:lnTo>
                  <a:lnTo>
                    <a:pt x="1359" y="1027"/>
                  </a:lnTo>
                  <a:lnTo>
                    <a:pt x="1383" y="1020"/>
                  </a:lnTo>
                  <a:lnTo>
                    <a:pt x="1407" y="1014"/>
                  </a:lnTo>
                  <a:lnTo>
                    <a:pt x="1432" y="1010"/>
                  </a:lnTo>
                  <a:lnTo>
                    <a:pt x="1458" y="1007"/>
                  </a:lnTo>
                  <a:lnTo>
                    <a:pt x="1483" y="1005"/>
                  </a:lnTo>
                  <a:lnTo>
                    <a:pt x="1509" y="1004"/>
                  </a:lnTo>
                  <a:lnTo>
                    <a:pt x="14586" y="1004"/>
                  </a:lnTo>
                  <a:lnTo>
                    <a:pt x="14612" y="1005"/>
                  </a:lnTo>
                  <a:lnTo>
                    <a:pt x="14637" y="1007"/>
                  </a:lnTo>
                  <a:lnTo>
                    <a:pt x="14663" y="1010"/>
                  </a:lnTo>
                  <a:lnTo>
                    <a:pt x="14687" y="1014"/>
                  </a:lnTo>
                  <a:lnTo>
                    <a:pt x="14712" y="1020"/>
                  </a:lnTo>
                  <a:lnTo>
                    <a:pt x="14735" y="1027"/>
                  </a:lnTo>
                  <a:lnTo>
                    <a:pt x="14759" y="1034"/>
                  </a:lnTo>
                  <a:lnTo>
                    <a:pt x="14781" y="1043"/>
                  </a:lnTo>
                  <a:lnTo>
                    <a:pt x="14803" y="1053"/>
                  </a:lnTo>
                  <a:lnTo>
                    <a:pt x="14826" y="1064"/>
                  </a:lnTo>
                  <a:lnTo>
                    <a:pt x="14847" y="1077"/>
                  </a:lnTo>
                  <a:lnTo>
                    <a:pt x="14867" y="1090"/>
                  </a:lnTo>
                  <a:lnTo>
                    <a:pt x="14887" y="1103"/>
                  </a:lnTo>
                  <a:lnTo>
                    <a:pt x="14906" y="1119"/>
                  </a:lnTo>
                  <a:lnTo>
                    <a:pt x="14924" y="1135"/>
                  </a:lnTo>
                  <a:lnTo>
                    <a:pt x="14941" y="1151"/>
                  </a:lnTo>
                  <a:lnTo>
                    <a:pt x="14958" y="1169"/>
                  </a:lnTo>
                  <a:lnTo>
                    <a:pt x="14974" y="1187"/>
                  </a:lnTo>
                  <a:lnTo>
                    <a:pt x="14988" y="1206"/>
                  </a:lnTo>
                  <a:lnTo>
                    <a:pt x="15003" y="1225"/>
                  </a:lnTo>
                  <a:lnTo>
                    <a:pt x="15016" y="1246"/>
                  </a:lnTo>
                  <a:lnTo>
                    <a:pt x="15029" y="1267"/>
                  </a:lnTo>
                  <a:lnTo>
                    <a:pt x="15040" y="1288"/>
                  </a:lnTo>
                  <a:lnTo>
                    <a:pt x="15050" y="1310"/>
                  </a:lnTo>
                  <a:lnTo>
                    <a:pt x="15059" y="1333"/>
                  </a:lnTo>
                  <a:lnTo>
                    <a:pt x="15066" y="1356"/>
                  </a:lnTo>
                  <a:lnTo>
                    <a:pt x="15073" y="1381"/>
                  </a:lnTo>
                  <a:lnTo>
                    <a:pt x="15079" y="1405"/>
                  </a:lnTo>
                  <a:lnTo>
                    <a:pt x="15083" y="1430"/>
                  </a:lnTo>
                  <a:lnTo>
                    <a:pt x="15086" y="1455"/>
                  </a:lnTo>
                  <a:lnTo>
                    <a:pt x="15088" y="1480"/>
                  </a:lnTo>
                  <a:lnTo>
                    <a:pt x="15089" y="1506"/>
                  </a:lnTo>
                  <a:lnTo>
                    <a:pt x="15089" y="11547"/>
                  </a:lnTo>
                  <a:close/>
                  <a:moveTo>
                    <a:pt x="14586" y="0"/>
                  </a:moveTo>
                  <a:lnTo>
                    <a:pt x="1509" y="0"/>
                  </a:lnTo>
                  <a:lnTo>
                    <a:pt x="1431" y="2"/>
                  </a:lnTo>
                  <a:lnTo>
                    <a:pt x="1354" y="8"/>
                  </a:lnTo>
                  <a:lnTo>
                    <a:pt x="1279" y="17"/>
                  </a:lnTo>
                  <a:lnTo>
                    <a:pt x="1204" y="30"/>
                  </a:lnTo>
                  <a:lnTo>
                    <a:pt x="1132" y="47"/>
                  </a:lnTo>
                  <a:lnTo>
                    <a:pt x="1060" y="67"/>
                  </a:lnTo>
                  <a:lnTo>
                    <a:pt x="990" y="91"/>
                  </a:lnTo>
                  <a:lnTo>
                    <a:pt x="921" y="118"/>
                  </a:lnTo>
                  <a:lnTo>
                    <a:pt x="854" y="149"/>
                  </a:lnTo>
                  <a:lnTo>
                    <a:pt x="790" y="182"/>
                  </a:lnTo>
                  <a:lnTo>
                    <a:pt x="726" y="218"/>
                  </a:lnTo>
                  <a:lnTo>
                    <a:pt x="665" y="257"/>
                  </a:lnTo>
                  <a:lnTo>
                    <a:pt x="606" y="299"/>
                  </a:lnTo>
                  <a:lnTo>
                    <a:pt x="549" y="344"/>
                  </a:lnTo>
                  <a:lnTo>
                    <a:pt x="494" y="392"/>
                  </a:lnTo>
                  <a:lnTo>
                    <a:pt x="442" y="441"/>
                  </a:lnTo>
                  <a:lnTo>
                    <a:pt x="391" y="493"/>
                  </a:lnTo>
                  <a:lnTo>
                    <a:pt x="344" y="548"/>
                  </a:lnTo>
                  <a:lnTo>
                    <a:pt x="300" y="605"/>
                  </a:lnTo>
                  <a:lnTo>
                    <a:pt x="258" y="664"/>
                  </a:lnTo>
                  <a:lnTo>
                    <a:pt x="218" y="725"/>
                  </a:lnTo>
                  <a:lnTo>
                    <a:pt x="182" y="788"/>
                  </a:lnTo>
                  <a:lnTo>
                    <a:pt x="149" y="853"/>
                  </a:lnTo>
                  <a:lnTo>
                    <a:pt x="119" y="920"/>
                  </a:lnTo>
                  <a:lnTo>
                    <a:pt x="92" y="988"/>
                  </a:lnTo>
                  <a:lnTo>
                    <a:pt x="67" y="1058"/>
                  </a:lnTo>
                  <a:lnTo>
                    <a:pt x="47" y="1130"/>
                  </a:lnTo>
                  <a:lnTo>
                    <a:pt x="30" y="1203"/>
                  </a:lnTo>
                  <a:lnTo>
                    <a:pt x="17" y="1277"/>
                  </a:lnTo>
                  <a:lnTo>
                    <a:pt x="8" y="1352"/>
                  </a:lnTo>
                  <a:lnTo>
                    <a:pt x="2" y="1429"/>
                  </a:lnTo>
                  <a:lnTo>
                    <a:pt x="0" y="1506"/>
                  </a:lnTo>
                  <a:lnTo>
                    <a:pt x="0" y="11547"/>
                  </a:lnTo>
                  <a:lnTo>
                    <a:pt x="2" y="11624"/>
                  </a:lnTo>
                  <a:lnTo>
                    <a:pt x="8" y="11700"/>
                  </a:lnTo>
                  <a:lnTo>
                    <a:pt x="17" y="11776"/>
                  </a:lnTo>
                  <a:lnTo>
                    <a:pt x="30" y="11850"/>
                  </a:lnTo>
                  <a:lnTo>
                    <a:pt x="47" y="11922"/>
                  </a:lnTo>
                  <a:lnTo>
                    <a:pt x="67" y="11994"/>
                  </a:lnTo>
                  <a:lnTo>
                    <a:pt x="92" y="12064"/>
                  </a:lnTo>
                  <a:lnTo>
                    <a:pt x="118" y="12132"/>
                  </a:lnTo>
                  <a:lnTo>
                    <a:pt x="148" y="12198"/>
                  </a:lnTo>
                  <a:lnTo>
                    <a:pt x="181" y="12264"/>
                  </a:lnTo>
                  <a:lnTo>
                    <a:pt x="217" y="12326"/>
                  </a:lnTo>
                  <a:lnTo>
                    <a:pt x="257" y="12387"/>
                  </a:lnTo>
                  <a:lnTo>
                    <a:pt x="299" y="12446"/>
                  </a:lnTo>
                  <a:lnTo>
                    <a:pt x="343" y="12504"/>
                  </a:lnTo>
                  <a:lnTo>
                    <a:pt x="390" y="12558"/>
                  </a:lnTo>
                  <a:lnTo>
                    <a:pt x="441" y="12610"/>
                  </a:lnTo>
                  <a:lnTo>
                    <a:pt x="493" y="12660"/>
                  </a:lnTo>
                  <a:lnTo>
                    <a:pt x="547" y="12707"/>
                  </a:lnTo>
                  <a:lnTo>
                    <a:pt x="604" y="12752"/>
                  </a:lnTo>
                  <a:lnTo>
                    <a:pt x="663" y="12794"/>
                  </a:lnTo>
                  <a:lnTo>
                    <a:pt x="724" y="12833"/>
                  </a:lnTo>
                  <a:lnTo>
                    <a:pt x="787" y="12869"/>
                  </a:lnTo>
                  <a:lnTo>
                    <a:pt x="852" y="12902"/>
                  </a:lnTo>
                  <a:lnTo>
                    <a:pt x="918" y="12933"/>
                  </a:lnTo>
                  <a:lnTo>
                    <a:pt x="987" y="12959"/>
                  </a:lnTo>
                  <a:lnTo>
                    <a:pt x="1056" y="12984"/>
                  </a:lnTo>
                  <a:lnTo>
                    <a:pt x="1128" y="13004"/>
                  </a:lnTo>
                  <a:lnTo>
                    <a:pt x="1201" y="13021"/>
                  </a:lnTo>
                  <a:lnTo>
                    <a:pt x="1275" y="13035"/>
                  </a:lnTo>
                  <a:lnTo>
                    <a:pt x="1350" y="13044"/>
                  </a:lnTo>
                  <a:lnTo>
                    <a:pt x="1426" y="13050"/>
                  </a:lnTo>
                  <a:lnTo>
                    <a:pt x="1504" y="13053"/>
                  </a:lnTo>
                  <a:lnTo>
                    <a:pt x="6539" y="13053"/>
                  </a:lnTo>
                  <a:lnTo>
                    <a:pt x="6539" y="13663"/>
                  </a:lnTo>
                  <a:lnTo>
                    <a:pt x="3399" y="14070"/>
                  </a:lnTo>
                  <a:lnTo>
                    <a:pt x="3378" y="14076"/>
                  </a:lnTo>
                  <a:lnTo>
                    <a:pt x="3358" y="14082"/>
                  </a:lnTo>
                  <a:lnTo>
                    <a:pt x="3338" y="14090"/>
                  </a:lnTo>
                  <a:lnTo>
                    <a:pt x="3319" y="14098"/>
                  </a:lnTo>
                  <a:lnTo>
                    <a:pt x="3299" y="14106"/>
                  </a:lnTo>
                  <a:lnTo>
                    <a:pt x="3280" y="14116"/>
                  </a:lnTo>
                  <a:lnTo>
                    <a:pt x="3262" y="14126"/>
                  </a:lnTo>
                  <a:lnTo>
                    <a:pt x="3245" y="14137"/>
                  </a:lnTo>
                  <a:lnTo>
                    <a:pt x="3228" y="14149"/>
                  </a:lnTo>
                  <a:lnTo>
                    <a:pt x="3211" y="14161"/>
                  </a:lnTo>
                  <a:lnTo>
                    <a:pt x="3196" y="14174"/>
                  </a:lnTo>
                  <a:lnTo>
                    <a:pt x="3180" y="14188"/>
                  </a:lnTo>
                  <a:lnTo>
                    <a:pt x="3166" y="14203"/>
                  </a:lnTo>
                  <a:lnTo>
                    <a:pt x="3151" y="14217"/>
                  </a:lnTo>
                  <a:lnTo>
                    <a:pt x="3138" y="14233"/>
                  </a:lnTo>
                  <a:lnTo>
                    <a:pt x="3124" y="14249"/>
                  </a:lnTo>
                  <a:lnTo>
                    <a:pt x="3112" y="14265"/>
                  </a:lnTo>
                  <a:lnTo>
                    <a:pt x="3100" y="14282"/>
                  </a:lnTo>
                  <a:lnTo>
                    <a:pt x="3089" y="14299"/>
                  </a:lnTo>
                  <a:lnTo>
                    <a:pt x="3079" y="14316"/>
                  </a:lnTo>
                  <a:lnTo>
                    <a:pt x="3070" y="14335"/>
                  </a:lnTo>
                  <a:lnTo>
                    <a:pt x="3061" y="14353"/>
                  </a:lnTo>
                  <a:lnTo>
                    <a:pt x="3053" y="14372"/>
                  </a:lnTo>
                  <a:lnTo>
                    <a:pt x="3046" y="14391"/>
                  </a:lnTo>
                  <a:lnTo>
                    <a:pt x="3039" y="14411"/>
                  </a:lnTo>
                  <a:lnTo>
                    <a:pt x="3034" y="14431"/>
                  </a:lnTo>
                  <a:lnTo>
                    <a:pt x="3029" y="14452"/>
                  </a:lnTo>
                  <a:lnTo>
                    <a:pt x="3025" y="14473"/>
                  </a:lnTo>
                  <a:lnTo>
                    <a:pt x="3022" y="14493"/>
                  </a:lnTo>
                  <a:lnTo>
                    <a:pt x="3020" y="14514"/>
                  </a:lnTo>
                  <a:lnTo>
                    <a:pt x="3018" y="14536"/>
                  </a:lnTo>
                  <a:lnTo>
                    <a:pt x="3018" y="14557"/>
                  </a:lnTo>
                  <a:lnTo>
                    <a:pt x="3019" y="14583"/>
                  </a:lnTo>
                  <a:lnTo>
                    <a:pt x="3020" y="14608"/>
                  </a:lnTo>
                  <a:lnTo>
                    <a:pt x="3024" y="14633"/>
                  </a:lnTo>
                  <a:lnTo>
                    <a:pt x="3028" y="14658"/>
                  </a:lnTo>
                  <a:lnTo>
                    <a:pt x="3034" y="14682"/>
                  </a:lnTo>
                  <a:lnTo>
                    <a:pt x="3040" y="14707"/>
                  </a:lnTo>
                  <a:lnTo>
                    <a:pt x="3048" y="14730"/>
                  </a:lnTo>
                  <a:lnTo>
                    <a:pt x="3057" y="14753"/>
                  </a:lnTo>
                  <a:lnTo>
                    <a:pt x="3067" y="14775"/>
                  </a:lnTo>
                  <a:lnTo>
                    <a:pt x="3078" y="14797"/>
                  </a:lnTo>
                  <a:lnTo>
                    <a:pt x="3090" y="14818"/>
                  </a:lnTo>
                  <a:lnTo>
                    <a:pt x="3103" y="14838"/>
                  </a:lnTo>
                  <a:lnTo>
                    <a:pt x="3117" y="14857"/>
                  </a:lnTo>
                  <a:lnTo>
                    <a:pt x="3132" y="14876"/>
                  </a:lnTo>
                  <a:lnTo>
                    <a:pt x="3149" y="14894"/>
                  </a:lnTo>
                  <a:lnTo>
                    <a:pt x="3165" y="14912"/>
                  </a:lnTo>
                  <a:lnTo>
                    <a:pt x="3183" y="14928"/>
                  </a:lnTo>
                  <a:lnTo>
                    <a:pt x="3201" y="14945"/>
                  </a:lnTo>
                  <a:lnTo>
                    <a:pt x="3220" y="14960"/>
                  </a:lnTo>
                  <a:lnTo>
                    <a:pt x="3239" y="14974"/>
                  </a:lnTo>
                  <a:lnTo>
                    <a:pt x="3260" y="14987"/>
                  </a:lnTo>
                  <a:lnTo>
                    <a:pt x="3280" y="14999"/>
                  </a:lnTo>
                  <a:lnTo>
                    <a:pt x="3302" y="15010"/>
                  </a:lnTo>
                  <a:lnTo>
                    <a:pt x="3325" y="15020"/>
                  </a:lnTo>
                  <a:lnTo>
                    <a:pt x="3348" y="15029"/>
                  </a:lnTo>
                  <a:lnTo>
                    <a:pt x="3371" y="15037"/>
                  </a:lnTo>
                  <a:lnTo>
                    <a:pt x="3395" y="15043"/>
                  </a:lnTo>
                  <a:lnTo>
                    <a:pt x="3419" y="15049"/>
                  </a:lnTo>
                  <a:lnTo>
                    <a:pt x="3444" y="15053"/>
                  </a:lnTo>
                  <a:lnTo>
                    <a:pt x="3469" y="15056"/>
                  </a:lnTo>
                  <a:lnTo>
                    <a:pt x="3495" y="15058"/>
                  </a:lnTo>
                  <a:lnTo>
                    <a:pt x="3521" y="15059"/>
                  </a:lnTo>
                  <a:lnTo>
                    <a:pt x="12574" y="15059"/>
                  </a:lnTo>
                  <a:lnTo>
                    <a:pt x="12600" y="15058"/>
                  </a:lnTo>
                  <a:lnTo>
                    <a:pt x="12626" y="15056"/>
                  </a:lnTo>
                  <a:lnTo>
                    <a:pt x="12651" y="15053"/>
                  </a:lnTo>
                  <a:lnTo>
                    <a:pt x="12676" y="15049"/>
                  </a:lnTo>
                  <a:lnTo>
                    <a:pt x="12700" y="15043"/>
                  </a:lnTo>
                  <a:lnTo>
                    <a:pt x="12724" y="15037"/>
                  </a:lnTo>
                  <a:lnTo>
                    <a:pt x="12747" y="15029"/>
                  </a:lnTo>
                  <a:lnTo>
                    <a:pt x="12770" y="15020"/>
                  </a:lnTo>
                  <a:lnTo>
                    <a:pt x="12793" y="15010"/>
                  </a:lnTo>
                  <a:lnTo>
                    <a:pt x="12814" y="14999"/>
                  </a:lnTo>
                  <a:lnTo>
                    <a:pt x="12835" y="14987"/>
                  </a:lnTo>
                  <a:lnTo>
                    <a:pt x="12856" y="14974"/>
                  </a:lnTo>
                  <a:lnTo>
                    <a:pt x="12875" y="14960"/>
                  </a:lnTo>
                  <a:lnTo>
                    <a:pt x="12894" y="14945"/>
                  </a:lnTo>
                  <a:lnTo>
                    <a:pt x="12912" y="14928"/>
                  </a:lnTo>
                  <a:lnTo>
                    <a:pt x="12930" y="14912"/>
                  </a:lnTo>
                  <a:lnTo>
                    <a:pt x="12946" y="14894"/>
                  </a:lnTo>
                  <a:lnTo>
                    <a:pt x="12963" y="14876"/>
                  </a:lnTo>
                  <a:lnTo>
                    <a:pt x="12978" y="14857"/>
                  </a:lnTo>
                  <a:lnTo>
                    <a:pt x="12992" y="14838"/>
                  </a:lnTo>
                  <a:lnTo>
                    <a:pt x="13005" y="14818"/>
                  </a:lnTo>
                  <a:lnTo>
                    <a:pt x="13017" y="14797"/>
                  </a:lnTo>
                  <a:lnTo>
                    <a:pt x="13028" y="14775"/>
                  </a:lnTo>
                  <a:lnTo>
                    <a:pt x="13038" y="14753"/>
                  </a:lnTo>
                  <a:lnTo>
                    <a:pt x="13047" y="14730"/>
                  </a:lnTo>
                  <a:lnTo>
                    <a:pt x="13055" y="14707"/>
                  </a:lnTo>
                  <a:lnTo>
                    <a:pt x="13061" y="14682"/>
                  </a:lnTo>
                  <a:lnTo>
                    <a:pt x="13067" y="14658"/>
                  </a:lnTo>
                  <a:lnTo>
                    <a:pt x="13071" y="14633"/>
                  </a:lnTo>
                  <a:lnTo>
                    <a:pt x="13074" y="14608"/>
                  </a:lnTo>
                  <a:lnTo>
                    <a:pt x="13076" y="14583"/>
                  </a:lnTo>
                  <a:lnTo>
                    <a:pt x="13077" y="14557"/>
                  </a:lnTo>
                  <a:lnTo>
                    <a:pt x="13077" y="14536"/>
                  </a:lnTo>
                  <a:lnTo>
                    <a:pt x="13075" y="14514"/>
                  </a:lnTo>
                  <a:lnTo>
                    <a:pt x="13073" y="14493"/>
                  </a:lnTo>
                  <a:lnTo>
                    <a:pt x="13070" y="14473"/>
                  </a:lnTo>
                  <a:lnTo>
                    <a:pt x="13066" y="14452"/>
                  </a:lnTo>
                  <a:lnTo>
                    <a:pt x="13061" y="14431"/>
                  </a:lnTo>
                  <a:lnTo>
                    <a:pt x="13056" y="14411"/>
                  </a:lnTo>
                  <a:lnTo>
                    <a:pt x="13049" y="14391"/>
                  </a:lnTo>
                  <a:lnTo>
                    <a:pt x="13042" y="14372"/>
                  </a:lnTo>
                  <a:lnTo>
                    <a:pt x="13034" y="14353"/>
                  </a:lnTo>
                  <a:lnTo>
                    <a:pt x="13025" y="14335"/>
                  </a:lnTo>
                  <a:lnTo>
                    <a:pt x="13016" y="14316"/>
                  </a:lnTo>
                  <a:lnTo>
                    <a:pt x="13006" y="14299"/>
                  </a:lnTo>
                  <a:lnTo>
                    <a:pt x="12995" y="14282"/>
                  </a:lnTo>
                  <a:lnTo>
                    <a:pt x="12983" y="14265"/>
                  </a:lnTo>
                  <a:lnTo>
                    <a:pt x="12971" y="14249"/>
                  </a:lnTo>
                  <a:lnTo>
                    <a:pt x="12957" y="14233"/>
                  </a:lnTo>
                  <a:lnTo>
                    <a:pt x="12944" y="14217"/>
                  </a:lnTo>
                  <a:lnTo>
                    <a:pt x="12930" y="14203"/>
                  </a:lnTo>
                  <a:lnTo>
                    <a:pt x="12915" y="14188"/>
                  </a:lnTo>
                  <a:lnTo>
                    <a:pt x="12900" y="14174"/>
                  </a:lnTo>
                  <a:lnTo>
                    <a:pt x="12884" y="14161"/>
                  </a:lnTo>
                  <a:lnTo>
                    <a:pt x="12867" y="14149"/>
                  </a:lnTo>
                  <a:lnTo>
                    <a:pt x="12850" y="14137"/>
                  </a:lnTo>
                  <a:lnTo>
                    <a:pt x="12833" y="14126"/>
                  </a:lnTo>
                  <a:lnTo>
                    <a:pt x="12815" y="14116"/>
                  </a:lnTo>
                  <a:lnTo>
                    <a:pt x="12796" y="14106"/>
                  </a:lnTo>
                  <a:lnTo>
                    <a:pt x="12776" y="14098"/>
                  </a:lnTo>
                  <a:lnTo>
                    <a:pt x="12757" y="14090"/>
                  </a:lnTo>
                  <a:lnTo>
                    <a:pt x="12737" y="14082"/>
                  </a:lnTo>
                  <a:lnTo>
                    <a:pt x="12717" y="14076"/>
                  </a:lnTo>
                  <a:lnTo>
                    <a:pt x="12696" y="14070"/>
                  </a:lnTo>
                  <a:lnTo>
                    <a:pt x="9556" y="13663"/>
                  </a:lnTo>
                  <a:lnTo>
                    <a:pt x="9556" y="13053"/>
                  </a:lnTo>
                  <a:lnTo>
                    <a:pt x="14591" y="13053"/>
                  </a:lnTo>
                  <a:lnTo>
                    <a:pt x="14669" y="13050"/>
                  </a:lnTo>
                  <a:lnTo>
                    <a:pt x="14745" y="13044"/>
                  </a:lnTo>
                  <a:lnTo>
                    <a:pt x="14820" y="13035"/>
                  </a:lnTo>
                  <a:lnTo>
                    <a:pt x="14894" y="13021"/>
                  </a:lnTo>
                  <a:lnTo>
                    <a:pt x="14967" y="13004"/>
                  </a:lnTo>
                  <a:lnTo>
                    <a:pt x="15039" y="12984"/>
                  </a:lnTo>
                  <a:lnTo>
                    <a:pt x="15108" y="12959"/>
                  </a:lnTo>
                  <a:lnTo>
                    <a:pt x="15177" y="12933"/>
                  </a:lnTo>
                  <a:lnTo>
                    <a:pt x="15243" y="12902"/>
                  </a:lnTo>
                  <a:lnTo>
                    <a:pt x="15308" y="12869"/>
                  </a:lnTo>
                  <a:lnTo>
                    <a:pt x="15371" y="12833"/>
                  </a:lnTo>
                  <a:lnTo>
                    <a:pt x="15432" y="12794"/>
                  </a:lnTo>
                  <a:lnTo>
                    <a:pt x="15491" y="12752"/>
                  </a:lnTo>
                  <a:lnTo>
                    <a:pt x="15548" y="12707"/>
                  </a:lnTo>
                  <a:lnTo>
                    <a:pt x="15602" y="12660"/>
                  </a:lnTo>
                  <a:lnTo>
                    <a:pt x="15654" y="12610"/>
                  </a:lnTo>
                  <a:lnTo>
                    <a:pt x="15705" y="12558"/>
                  </a:lnTo>
                  <a:lnTo>
                    <a:pt x="15752" y="12504"/>
                  </a:lnTo>
                  <a:lnTo>
                    <a:pt x="15796" y="12446"/>
                  </a:lnTo>
                  <a:lnTo>
                    <a:pt x="15838" y="12387"/>
                  </a:lnTo>
                  <a:lnTo>
                    <a:pt x="15878" y="12326"/>
                  </a:lnTo>
                  <a:lnTo>
                    <a:pt x="15914" y="12264"/>
                  </a:lnTo>
                  <a:lnTo>
                    <a:pt x="15947" y="12198"/>
                  </a:lnTo>
                  <a:lnTo>
                    <a:pt x="15977" y="12132"/>
                  </a:lnTo>
                  <a:lnTo>
                    <a:pt x="16003" y="12064"/>
                  </a:lnTo>
                  <a:lnTo>
                    <a:pt x="16028" y="11994"/>
                  </a:lnTo>
                  <a:lnTo>
                    <a:pt x="16048" y="11922"/>
                  </a:lnTo>
                  <a:lnTo>
                    <a:pt x="16065" y="11850"/>
                  </a:lnTo>
                  <a:lnTo>
                    <a:pt x="16078" y="11776"/>
                  </a:lnTo>
                  <a:lnTo>
                    <a:pt x="16087" y="11700"/>
                  </a:lnTo>
                  <a:lnTo>
                    <a:pt x="16093" y="11624"/>
                  </a:lnTo>
                  <a:lnTo>
                    <a:pt x="16095" y="11547"/>
                  </a:lnTo>
                  <a:lnTo>
                    <a:pt x="16095" y="1506"/>
                  </a:lnTo>
                  <a:lnTo>
                    <a:pt x="16093" y="1429"/>
                  </a:lnTo>
                  <a:lnTo>
                    <a:pt x="16087" y="1352"/>
                  </a:lnTo>
                  <a:lnTo>
                    <a:pt x="16078" y="1277"/>
                  </a:lnTo>
                  <a:lnTo>
                    <a:pt x="16064" y="1203"/>
                  </a:lnTo>
                  <a:lnTo>
                    <a:pt x="16048" y="1130"/>
                  </a:lnTo>
                  <a:lnTo>
                    <a:pt x="16028" y="1058"/>
                  </a:lnTo>
                  <a:lnTo>
                    <a:pt x="16003" y="988"/>
                  </a:lnTo>
                  <a:lnTo>
                    <a:pt x="15976" y="920"/>
                  </a:lnTo>
                  <a:lnTo>
                    <a:pt x="15946" y="853"/>
                  </a:lnTo>
                  <a:lnTo>
                    <a:pt x="15913" y="788"/>
                  </a:lnTo>
                  <a:lnTo>
                    <a:pt x="15877" y="725"/>
                  </a:lnTo>
                  <a:lnTo>
                    <a:pt x="15837" y="664"/>
                  </a:lnTo>
                  <a:lnTo>
                    <a:pt x="15795" y="605"/>
                  </a:lnTo>
                  <a:lnTo>
                    <a:pt x="15750" y="548"/>
                  </a:lnTo>
                  <a:lnTo>
                    <a:pt x="15703" y="493"/>
                  </a:lnTo>
                  <a:lnTo>
                    <a:pt x="15652" y="441"/>
                  </a:lnTo>
                  <a:lnTo>
                    <a:pt x="15600" y="392"/>
                  </a:lnTo>
                  <a:lnTo>
                    <a:pt x="15546" y="344"/>
                  </a:lnTo>
                  <a:lnTo>
                    <a:pt x="15488" y="299"/>
                  </a:lnTo>
                  <a:lnTo>
                    <a:pt x="15429" y="257"/>
                  </a:lnTo>
                  <a:lnTo>
                    <a:pt x="15369" y="218"/>
                  </a:lnTo>
                  <a:lnTo>
                    <a:pt x="15305" y="182"/>
                  </a:lnTo>
                  <a:lnTo>
                    <a:pt x="15240" y="149"/>
                  </a:lnTo>
                  <a:lnTo>
                    <a:pt x="15174" y="118"/>
                  </a:lnTo>
                  <a:lnTo>
                    <a:pt x="15105" y="91"/>
                  </a:lnTo>
                  <a:lnTo>
                    <a:pt x="15035" y="67"/>
                  </a:lnTo>
                  <a:lnTo>
                    <a:pt x="14963" y="47"/>
                  </a:lnTo>
                  <a:lnTo>
                    <a:pt x="14890" y="30"/>
                  </a:lnTo>
                  <a:lnTo>
                    <a:pt x="14815" y="17"/>
                  </a:lnTo>
                  <a:lnTo>
                    <a:pt x="14740" y="8"/>
                  </a:lnTo>
                  <a:lnTo>
                    <a:pt x="14664" y="2"/>
                  </a:lnTo>
                  <a:lnTo>
                    <a:pt x="1458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97" name="îṩļîḍé">
              <a:extLst>
                <a:ext uri="{FF2B5EF4-FFF2-40B4-BE49-F238E27FC236}">
                  <a16:creationId xmlns:a16="http://schemas.microsoft.com/office/drawing/2014/main" id="{44BF3302-83D9-4588-BD39-ECEF06AAA6DE}"/>
                </a:ext>
              </a:extLst>
            </p:cNvPr>
            <p:cNvSpPr/>
            <p:nvPr/>
          </p:nvSpPr>
          <p:spPr bwMode="auto">
            <a:xfrm>
              <a:off x="9509830" y="594703"/>
              <a:ext cx="394077" cy="394076"/>
            </a:xfrm>
            <a:custGeom>
              <a:avLst/>
              <a:gdLst>
                <a:gd name="T0" fmla="*/ 12841 w 16095"/>
                <a:gd name="T1" fmla="*/ 13554 h 16095"/>
                <a:gd name="T2" fmla="*/ 11503 w 16095"/>
                <a:gd name="T3" fmla="*/ 13401 h 16095"/>
                <a:gd name="T4" fmla="*/ 10658 w 16095"/>
                <a:gd name="T5" fmla="*/ 12629 h 16095"/>
                <a:gd name="T6" fmla="*/ 10662 w 16095"/>
                <a:gd name="T7" fmla="*/ 11527 h 16095"/>
                <a:gd name="T8" fmla="*/ 11493 w 16095"/>
                <a:gd name="T9" fmla="*/ 10565 h 16095"/>
                <a:gd name="T10" fmla="*/ 12883 w 16095"/>
                <a:gd name="T11" fmla="*/ 10073 h 16095"/>
                <a:gd name="T12" fmla="*/ 14197 w 16095"/>
                <a:gd name="T13" fmla="*/ 10278 h 16095"/>
                <a:gd name="T14" fmla="*/ 14987 w 16095"/>
                <a:gd name="T15" fmla="*/ 11093 h 16095"/>
                <a:gd name="T16" fmla="*/ 14913 w 16095"/>
                <a:gd name="T17" fmla="*/ 12196 h 16095"/>
                <a:gd name="T18" fmla="*/ 14027 w 16095"/>
                <a:gd name="T19" fmla="*/ 13134 h 16095"/>
                <a:gd name="T20" fmla="*/ 3191 w 16095"/>
                <a:gd name="T21" fmla="*/ 15076 h 16095"/>
                <a:gd name="T22" fmla="*/ 1877 w 16095"/>
                <a:gd name="T23" fmla="*/ 14871 h 16095"/>
                <a:gd name="T24" fmla="*/ 1085 w 16095"/>
                <a:gd name="T25" fmla="*/ 14057 h 16095"/>
                <a:gd name="T26" fmla="*/ 1161 w 16095"/>
                <a:gd name="T27" fmla="*/ 12953 h 16095"/>
                <a:gd name="T28" fmla="*/ 2046 w 16095"/>
                <a:gd name="T29" fmla="*/ 12015 h 16095"/>
                <a:gd name="T30" fmla="*/ 3454 w 16095"/>
                <a:gd name="T31" fmla="*/ 11573 h 16095"/>
                <a:gd name="T32" fmla="*/ 4742 w 16095"/>
                <a:gd name="T33" fmla="*/ 11830 h 16095"/>
                <a:gd name="T34" fmla="*/ 5477 w 16095"/>
                <a:gd name="T35" fmla="*/ 12686 h 16095"/>
                <a:gd name="T36" fmla="*/ 5332 w 16095"/>
                <a:gd name="T37" fmla="*/ 13787 h 16095"/>
                <a:gd name="T38" fmla="*/ 4393 w 16095"/>
                <a:gd name="T39" fmla="*/ 14700 h 16095"/>
                <a:gd name="T40" fmla="*/ 15473 w 16095"/>
                <a:gd name="T41" fmla="*/ 76 h 16095"/>
                <a:gd name="T42" fmla="*/ 15002 w 16095"/>
                <a:gd name="T43" fmla="*/ 4 h 16095"/>
                <a:gd name="T44" fmla="*/ 6031 w 16095"/>
                <a:gd name="T45" fmla="*/ 1646 h 16095"/>
                <a:gd name="T46" fmla="*/ 5647 w 16095"/>
                <a:gd name="T47" fmla="*/ 2047 h 16095"/>
                <a:gd name="T48" fmla="*/ 5532 w 16095"/>
                <a:gd name="T49" fmla="*/ 4024 h 16095"/>
                <a:gd name="T50" fmla="*/ 4898 w 16095"/>
                <a:gd name="T51" fmla="*/ 10801 h 16095"/>
                <a:gd name="T52" fmla="*/ 4095 w 16095"/>
                <a:gd name="T53" fmla="*/ 10593 h 16095"/>
                <a:gd name="T54" fmla="*/ 3144 w 16095"/>
                <a:gd name="T55" fmla="*/ 10592 h 16095"/>
                <a:gd name="T56" fmla="*/ 2088 w 16095"/>
                <a:gd name="T57" fmla="*/ 10870 h 16095"/>
                <a:gd name="T58" fmla="*/ 1086 w 16095"/>
                <a:gd name="T59" fmla="*/ 11468 h 16095"/>
                <a:gd name="T60" fmla="*/ 369 w 16095"/>
                <a:gd name="T61" fmla="*/ 12304 h 16095"/>
                <a:gd name="T62" fmla="*/ 51 w 16095"/>
                <a:gd name="T63" fmla="*/ 13112 h 16095"/>
                <a:gd name="T64" fmla="*/ 17 w 16095"/>
                <a:gd name="T65" fmla="*/ 13888 h 16095"/>
                <a:gd name="T66" fmla="*/ 320 w 16095"/>
                <a:gd name="T67" fmla="*/ 14775 h 16095"/>
                <a:gd name="T68" fmla="*/ 1277 w 16095"/>
                <a:gd name="T69" fmla="*/ 15690 h 16095"/>
                <a:gd name="T70" fmla="*/ 2674 w 16095"/>
                <a:gd name="T71" fmla="*/ 16087 h 16095"/>
                <a:gd name="T72" fmla="*/ 3792 w 16095"/>
                <a:gd name="T73" fmla="*/ 15996 h 16095"/>
                <a:gd name="T74" fmla="*/ 4864 w 16095"/>
                <a:gd name="T75" fmla="*/ 15590 h 16095"/>
                <a:gd name="T76" fmla="*/ 5766 w 16095"/>
                <a:gd name="T77" fmla="*/ 14893 h 16095"/>
                <a:gd name="T78" fmla="*/ 6343 w 16095"/>
                <a:gd name="T79" fmla="*/ 14007 h 16095"/>
                <a:gd name="T80" fmla="*/ 6528 w 16095"/>
                <a:gd name="T81" fmla="*/ 13143 h 16095"/>
                <a:gd name="T82" fmla="*/ 15089 w 16095"/>
                <a:gd name="T83" fmla="*/ 9642 h 16095"/>
                <a:gd name="T84" fmla="*/ 14397 w 16095"/>
                <a:gd name="T85" fmla="*/ 9270 h 16095"/>
                <a:gd name="T86" fmla="*/ 13586 w 16095"/>
                <a:gd name="T87" fmla="*/ 9076 h 16095"/>
                <a:gd name="T88" fmla="*/ 12620 w 16095"/>
                <a:gd name="T89" fmla="*/ 9094 h 16095"/>
                <a:gd name="T90" fmla="*/ 11560 w 16095"/>
                <a:gd name="T91" fmla="*/ 9397 h 16095"/>
                <a:gd name="T92" fmla="*/ 10577 w 16095"/>
                <a:gd name="T93" fmla="*/ 10017 h 16095"/>
                <a:gd name="T94" fmla="*/ 9884 w 16095"/>
                <a:gd name="T95" fmla="*/ 10868 h 16095"/>
                <a:gd name="T96" fmla="*/ 9598 w 16095"/>
                <a:gd name="T97" fmla="*/ 11664 h 16095"/>
                <a:gd name="T98" fmla="*/ 9583 w 16095"/>
                <a:gd name="T99" fmla="*/ 12438 h 16095"/>
                <a:gd name="T100" fmla="*/ 9931 w 16095"/>
                <a:gd name="T101" fmla="*/ 13352 h 16095"/>
                <a:gd name="T102" fmla="*/ 10929 w 16095"/>
                <a:gd name="T103" fmla="*/ 14231 h 16095"/>
                <a:gd name="T104" fmla="*/ 12350 w 16095"/>
                <a:gd name="T105" fmla="*/ 14584 h 16095"/>
                <a:gd name="T106" fmla="*/ 13429 w 16095"/>
                <a:gd name="T107" fmla="*/ 14468 h 16095"/>
                <a:gd name="T108" fmla="*/ 14500 w 16095"/>
                <a:gd name="T109" fmla="*/ 14037 h 16095"/>
                <a:gd name="T110" fmla="*/ 15380 w 16095"/>
                <a:gd name="T111" fmla="*/ 13320 h 16095"/>
                <a:gd name="T112" fmla="*/ 15926 w 16095"/>
                <a:gd name="T113" fmla="*/ 12432 h 16095"/>
                <a:gd name="T114" fmla="*/ 16086 w 16095"/>
                <a:gd name="T115" fmla="*/ 11568 h 16095"/>
                <a:gd name="T116" fmla="*/ 16065 w 16095"/>
                <a:gd name="T117" fmla="*/ 761 h 16095"/>
                <a:gd name="T118" fmla="*/ 15920 w 16095"/>
                <a:gd name="T119" fmla="*/ 439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095" h="16095">
                  <a:moveTo>
                    <a:pt x="15069" y="2515"/>
                  </a:moveTo>
                  <a:lnTo>
                    <a:pt x="6518" y="4024"/>
                  </a:lnTo>
                  <a:lnTo>
                    <a:pt x="6518" y="3521"/>
                  </a:lnTo>
                  <a:lnTo>
                    <a:pt x="6518" y="2515"/>
                  </a:lnTo>
                  <a:lnTo>
                    <a:pt x="15069" y="1006"/>
                  </a:lnTo>
                  <a:lnTo>
                    <a:pt x="15069" y="2012"/>
                  </a:lnTo>
                  <a:lnTo>
                    <a:pt x="15069" y="2515"/>
                  </a:lnTo>
                  <a:close/>
                  <a:moveTo>
                    <a:pt x="13405" y="13423"/>
                  </a:moveTo>
                  <a:lnTo>
                    <a:pt x="13292" y="13458"/>
                  </a:lnTo>
                  <a:lnTo>
                    <a:pt x="13179" y="13488"/>
                  </a:lnTo>
                  <a:lnTo>
                    <a:pt x="13066" y="13515"/>
                  </a:lnTo>
                  <a:lnTo>
                    <a:pt x="12953" y="13537"/>
                  </a:lnTo>
                  <a:lnTo>
                    <a:pt x="12841" y="13554"/>
                  </a:lnTo>
                  <a:lnTo>
                    <a:pt x="12729" y="13567"/>
                  </a:lnTo>
                  <a:lnTo>
                    <a:pt x="12618" y="13576"/>
                  </a:lnTo>
                  <a:lnTo>
                    <a:pt x="12509" y="13580"/>
                  </a:lnTo>
                  <a:lnTo>
                    <a:pt x="12400" y="13580"/>
                  </a:lnTo>
                  <a:lnTo>
                    <a:pt x="12293" y="13576"/>
                  </a:lnTo>
                  <a:lnTo>
                    <a:pt x="12187" y="13568"/>
                  </a:lnTo>
                  <a:lnTo>
                    <a:pt x="12082" y="13556"/>
                  </a:lnTo>
                  <a:lnTo>
                    <a:pt x="11981" y="13540"/>
                  </a:lnTo>
                  <a:lnTo>
                    <a:pt x="11880" y="13520"/>
                  </a:lnTo>
                  <a:lnTo>
                    <a:pt x="11783" y="13495"/>
                  </a:lnTo>
                  <a:lnTo>
                    <a:pt x="11687" y="13467"/>
                  </a:lnTo>
                  <a:lnTo>
                    <a:pt x="11593" y="13436"/>
                  </a:lnTo>
                  <a:lnTo>
                    <a:pt x="11503" y="13401"/>
                  </a:lnTo>
                  <a:lnTo>
                    <a:pt x="11415" y="13362"/>
                  </a:lnTo>
                  <a:lnTo>
                    <a:pt x="11332" y="13319"/>
                  </a:lnTo>
                  <a:lnTo>
                    <a:pt x="11250" y="13273"/>
                  </a:lnTo>
                  <a:lnTo>
                    <a:pt x="11173" y="13223"/>
                  </a:lnTo>
                  <a:lnTo>
                    <a:pt x="11099" y="13171"/>
                  </a:lnTo>
                  <a:lnTo>
                    <a:pt x="11028" y="13114"/>
                  </a:lnTo>
                  <a:lnTo>
                    <a:pt x="10963" y="13054"/>
                  </a:lnTo>
                  <a:lnTo>
                    <a:pt x="10900" y="12991"/>
                  </a:lnTo>
                  <a:lnTo>
                    <a:pt x="10842" y="12925"/>
                  </a:lnTo>
                  <a:lnTo>
                    <a:pt x="10789" y="12856"/>
                  </a:lnTo>
                  <a:lnTo>
                    <a:pt x="10740" y="12783"/>
                  </a:lnTo>
                  <a:lnTo>
                    <a:pt x="10696" y="12708"/>
                  </a:lnTo>
                  <a:lnTo>
                    <a:pt x="10658" y="12629"/>
                  </a:lnTo>
                  <a:lnTo>
                    <a:pt x="10625" y="12548"/>
                  </a:lnTo>
                  <a:lnTo>
                    <a:pt x="10597" y="12464"/>
                  </a:lnTo>
                  <a:lnTo>
                    <a:pt x="10574" y="12380"/>
                  </a:lnTo>
                  <a:lnTo>
                    <a:pt x="10558" y="12295"/>
                  </a:lnTo>
                  <a:lnTo>
                    <a:pt x="10548" y="12210"/>
                  </a:lnTo>
                  <a:lnTo>
                    <a:pt x="10543" y="12124"/>
                  </a:lnTo>
                  <a:lnTo>
                    <a:pt x="10544" y="12038"/>
                  </a:lnTo>
                  <a:lnTo>
                    <a:pt x="10550" y="11952"/>
                  </a:lnTo>
                  <a:lnTo>
                    <a:pt x="10562" y="11867"/>
                  </a:lnTo>
                  <a:lnTo>
                    <a:pt x="10579" y="11781"/>
                  </a:lnTo>
                  <a:lnTo>
                    <a:pt x="10602" y="11696"/>
                  </a:lnTo>
                  <a:lnTo>
                    <a:pt x="10630" y="11611"/>
                  </a:lnTo>
                  <a:lnTo>
                    <a:pt x="10662" y="11527"/>
                  </a:lnTo>
                  <a:lnTo>
                    <a:pt x="10699" y="11444"/>
                  </a:lnTo>
                  <a:lnTo>
                    <a:pt x="10741" y="11362"/>
                  </a:lnTo>
                  <a:lnTo>
                    <a:pt x="10788" y="11281"/>
                  </a:lnTo>
                  <a:lnTo>
                    <a:pt x="10840" y="11201"/>
                  </a:lnTo>
                  <a:lnTo>
                    <a:pt x="10895" y="11122"/>
                  </a:lnTo>
                  <a:lnTo>
                    <a:pt x="10956" y="11046"/>
                  </a:lnTo>
                  <a:lnTo>
                    <a:pt x="11020" y="10971"/>
                  </a:lnTo>
                  <a:lnTo>
                    <a:pt x="11089" y="10898"/>
                  </a:lnTo>
                  <a:lnTo>
                    <a:pt x="11162" y="10827"/>
                  </a:lnTo>
                  <a:lnTo>
                    <a:pt x="11239" y="10757"/>
                  </a:lnTo>
                  <a:lnTo>
                    <a:pt x="11320" y="10691"/>
                  </a:lnTo>
                  <a:lnTo>
                    <a:pt x="11404" y="10626"/>
                  </a:lnTo>
                  <a:lnTo>
                    <a:pt x="11493" y="10565"/>
                  </a:lnTo>
                  <a:lnTo>
                    <a:pt x="11585" y="10506"/>
                  </a:lnTo>
                  <a:lnTo>
                    <a:pt x="11681" y="10449"/>
                  </a:lnTo>
                  <a:lnTo>
                    <a:pt x="11780" y="10396"/>
                  </a:lnTo>
                  <a:lnTo>
                    <a:pt x="11881" y="10347"/>
                  </a:lnTo>
                  <a:lnTo>
                    <a:pt x="11987" y="10300"/>
                  </a:lnTo>
                  <a:lnTo>
                    <a:pt x="12095" y="10257"/>
                  </a:lnTo>
                  <a:lnTo>
                    <a:pt x="12207" y="10217"/>
                  </a:lnTo>
                  <a:lnTo>
                    <a:pt x="12320" y="10182"/>
                  </a:lnTo>
                  <a:lnTo>
                    <a:pt x="12433" y="10152"/>
                  </a:lnTo>
                  <a:lnTo>
                    <a:pt x="12546" y="10125"/>
                  </a:lnTo>
                  <a:lnTo>
                    <a:pt x="12659" y="10103"/>
                  </a:lnTo>
                  <a:lnTo>
                    <a:pt x="12771" y="10086"/>
                  </a:lnTo>
                  <a:lnTo>
                    <a:pt x="12883" y="10073"/>
                  </a:lnTo>
                  <a:lnTo>
                    <a:pt x="12994" y="10065"/>
                  </a:lnTo>
                  <a:lnTo>
                    <a:pt x="13103" y="10060"/>
                  </a:lnTo>
                  <a:lnTo>
                    <a:pt x="13212" y="10060"/>
                  </a:lnTo>
                  <a:lnTo>
                    <a:pt x="13320" y="10064"/>
                  </a:lnTo>
                  <a:lnTo>
                    <a:pt x="13425" y="10072"/>
                  </a:lnTo>
                  <a:lnTo>
                    <a:pt x="13530" y="10084"/>
                  </a:lnTo>
                  <a:lnTo>
                    <a:pt x="13631" y="10100"/>
                  </a:lnTo>
                  <a:lnTo>
                    <a:pt x="13732" y="10121"/>
                  </a:lnTo>
                  <a:lnTo>
                    <a:pt x="13830" y="10145"/>
                  </a:lnTo>
                  <a:lnTo>
                    <a:pt x="13925" y="10173"/>
                  </a:lnTo>
                  <a:lnTo>
                    <a:pt x="14019" y="10204"/>
                  </a:lnTo>
                  <a:lnTo>
                    <a:pt x="14109" y="10239"/>
                  </a:lnTo>
                  <a:lnTo>
                    <a:pt x="14197" y="10278"/>
                  </a:lnTo>
                  <a:lnTo>
                    <a:pt x="14280" y="10321"/>
                  </a:lnTo>
                  <a:lnTo>
                    <a:pt x="14362" y="10367"/>
                  </a:lnTo>
                  <a:lnTo>
                    <a:pt x="14439" y="10417"/>
                  </a:lnTo>
                  <a:lnTo>
                    <a:pt x="14514" y="10469"/>
                  </a:lnTo>
                  <a:lnTo>
                    <a:pt x="14584" y="10526"/>
                  </a:lnTo>
                  <a:lnTo>
                    <a:pt x="14649" y="10586"/>
                  </a:lnTo>
                  <a:lnTo>
                    <a:pt x="14712" y="10650"/>
                  </a:lnTo>
                  <a:lnTo>
                    <a:pt x="14770" y="10715"/>
                  </a:lnTo>
                  <a:lnTo>
                    <a:pt x="14823" y="10784"/>
                  </a:lnTo>
                  <a:lnTo>
                    <a:pt x="14872" y="10857"/>
                  </a:lnTo>
                  <a:lnTo>
                    <a:pt x="14916" y="10933"/>
                  </a:lnTo>
                  <a:lnTo>
                    <a:pt x="14954" y="11012"/>
                  </a:lnTo>
                  <a:lnTo>
                    <a:pt x="14987" y="11093"/>
                  </a:lnTo>
                  <a:lnTo>
                    <a:pt x="15016" y="11177"/>
                  </a:lnTo>
                  <a:lnTo>
                    <a:pt x="15038" y="11260"/>
                  </a:lnTo>
                  <a:lnTo>
                    <a:pt x="15054" y="11346"/>
                  </a:lnTo>
                  <a:lnTo>
                    <a:pt x="15064" y="11430"/>
                  </a:lnTo>
                  <a:lnTo>
                    <a:pt x="15069" y="11516"/>
                  </a:lnTo>
                  <a:lnTo>
                    <a:pt x="15068" y="11602"/>
                  </a:lnTo>
                  <a:lnTo>
                    <a:pt x="15062" y="11688"/>
                  </a:lnTo>
                  <a:lnTo>
                    <a:pt x="15050" y="11773"/>
                  </a:lnTo>
                  <a:lnTo>
                    <a:pt x="15033" y="11860"/>
                  </a:lnTo>
                  <a:lnTo>
                    <a:pt x="15011" y="11944"/>
                  </a:lnTo>
                  <a:lnTo>
                    <a:pt x="14982" y="12029"/>
                  </a:lnTo>
                  <a:lnTo>
                    <a:pt x="14950" y="12113"/>
                  </a:lnTo>
                  <a:lnTo>
                    <a:pt x="14913" y="12196"/>
                  </a:lnTo>
                  <a:lnTo>
                    <a:pt x="14871" y="12278"/>
                  </a:lnTo>
                  <a:lnTo>
                    <a:pt x="14825" y="12360"/>
                  </a:lnTo>
                  <a:lnTo>
                    <a:pt x="14773" y="12439"/>
                  </a:lnTo>
                  <a:lnTo>
                    <a:pt x="14717" y="12518"/>
                  </a:lnTo>
                  <a:lnTo>
                    <a:pt x="14657" y="12594"/>
                  </a:lnTo>
                  <a:lnTo>
                    <a:pt x="14592" y="12670"/>
                  </a:lnTo>
                  <a:lnTo>
                    <a:pt x="14523" y="12742"/>
                  </a:lnTo>
                  <a:lnTo>
                    <a:pt x="14450" y="12813"/>
                  </a:lnTo>
                  <a:lnTo>
                    <a:pt x="14373" y="12883"/>
                  </a:lnTo>
                  <a:lnTo>
                    <a:pt x="14292" y="12949"/>
                  </a:lnTo>
                  <a:lnTo>
                    <a:pt x="14208" y="13014"/>
                  </a:lnTo>
                  <a:lnTo>
                    <a:pt x="14119" y="13075"/>
                  </a:lnTo>
                  <a:lnTo>
                    <a:pt x="14027" y="13134"/>
                  </a:lnTo>
                  <a:lnTo>
                    <a:pt x="13931" y="13191"/>
                  </a:lnTo>
                  <a:lnTo>
                    <a:pt x="13833" y="13244"/>
                  </a:lnTo>
                  <a:lnTo>
                    <a:pt x="13731" y="13293"/>
                  </a:lnTo>
                  <a:lnTo>
                    <a:pt x="13625" y="13341"/>
                  </a:lnTo>
                  <a:lnTo>
                    <a:pt x="13517" y="13383"/>
                  </a:lnTo>
                  <a:lnTo>
                    <a:pt x="13405" y="13423"/>
                  </a:lnTo>
                  <a:close/>
                  <a:moveTo>
                    <a:pt x="3867" y="14932"/>
                  </a:moveTo>
                  <a:lnTo>
                    <a:pt x="3753" y="14967"/>
                  </a:lnTo>
                  <a:lnTo>
                    <a:pt x="3640" y="14997"/>
                  </a:lnTo>
                  <a:lnTo>
                    <a:pt x="3528" y="15024"/>
                  </a:lnTo>
                  <a:lnTo>
                    <a:pt x="3415" y="15046"/>
                  </a:lnTo>
                  <a:lnTo>
                    <a:pt x="3302" y="15063"/>
                  </a:lnTo>
                  <a:lnTo>
                    <a:pt x="3191" y="15076"/>
                  </a:lnTo>
                  <a:lnTo>
                    <a:pt x="3080" y="15084"/>
                  </a:lnTo>
                  <a:lnTo>
                    <a:pt x="2971" y="15089"/>
                  </a:lnTo>
                  <a:lnTo>
                    <a:pt x="2862" y="15089"/>
                  </a:lnTo>
                  <a:lnTo>
                    <a:pt x="2754" y="15085"/>
                  </a:lnTo>
                  <a:lnTo>
                    <a:pt x="2649" y="15077"/>
                  </a:lnTo>
                  <a:lnTo>
                    <a:pt x="2544" y="15065"/>
                  </a:lnTo>
                  <a:lnTo>
                    <a:pt x="2442" y="15049"/>
                  </a:lnTo>
                  <a:lnTo>
                    <a:pt x="2342" y="15028"/>
                  </a:lnTo>
                  <a:lnTo>
                    <a:pt x="2243" y="15004"/>
                  </a:lnTo>
                  <a:lnTo>
                    <a:pt x="2148" y="14976"/>
                  </a:lnTo>
                  <a:lnTo>
                    <a:pt x="2055" y="14945"/>
                  </a:lnTo>
                  <a:lnTo>
                    <a:pt x="1965" y="14909"/>
                  </a:lnTo>
                  <a:lnTo>
                    <a:pt x="1877" y="14871"/>
                  </a:lnTo>
                  <a:lnTo>
                    <a:pt x="1793" y="14827"/>
                  </a:lnTo>
                  <a:lnTo>
                    <a:pt x="1712" y="14782"/>
                  </a:lnTo>
                  <a:lnTo>
                    <a:pt x="1635" y="14732"/>
                  </a:lnTo>
                  <a:lnTo>
                    <a:pt x="1560" y="14680"/>
                  </a:lnTo>
                  <a:lnTo>
                    <a:pt x="1490" y="14623"/>
                  </a:lnTo>
                  <a:lnTo>
                    <a:pt x="1423" y="14563"/>
                  </a:lnTo>
                  <a:lnTo>
                    <a:pt x="1362" y="14499"/>
                  </a:lnTo>
                  <a:lnTo>
                    <a:pt x="1304" y="14434"/>
                  </a:lnTo>
                  <a:lnTo>
                    <a:pt x="1250" y="14365"/>
                  </a:lnTo>
                  <a:lnTo>
                    <a:pt x="1202" y="14292"/>
                  </a:lnTo>
                  <a:lnTo>
                    <a:pt x="1158" y="14217"/>
                  </a:lnTo>
                  <a:lnTo>
                    <a:pt x="1120" y="14138"/>
                  </a:lnTo>
                  <a:lnTo>
                    <a:pt x="1085" y="14057"/>
                  </a:lnTo>
                  <a:lnTo>
                    <a:pt x="1058" y="13973"/>
                  </a:lnTo>
                  <a:lnTo>
                    <a:pt x="1036" y="13889"/>
                  </a:lnTo>
                  <a:lnTo>
                    <a:pt x="1020" y="13804"/>
                  </a:lnTo>
                  <a:lnTo>
                    <a:pt x="1009" y="13719"/>
                  </a:lnTo>
                  <a:lnTo>
                    <a:pt x="1005" y="13633"/>
                  </a:lnTo>
                  <a:lnTo>
                    <a:pt x="1006" y="13547"/>
                  </a:lnTo>
                  <a:lnTo>
                    <a:pt x="1012" y="13461"/>
                  </a:lnTo>
                  <a:lnTo>
                    <a:pt x="1024" y="13376"/>
                  </a:lnTo>
                  <a:lnTo>
                    <a:pt x="1041" y="13290"/>
                  </a:lnTo>
                  <a:lnTo>
                    <a:pt x="1063" y="13205"/>
                  </a:lnTo>
                  <a:lnTo>
                    <a:pt x="1091" y="13120"/>
                  </a:lnTo>
                  <a:lnTo>
                    <a:pt x="1124" y="13036"/>
                  </a:lnTo>
                  <a:lnTo>
                    <a:pt x="1161" y="12953"/>
                  </a:lnTo>
                  <a:lnTo>
                    <a:pt x="1203" y="12871"/>
                  </a:lnTo>
                  <a:lnTo>
                    <a:pt x="1249" y="12790"/>
                  </a:lnTo>
                  <a:lnTo>
                    <a:pt x="1302" y="12710"/>
                  </a:lnTo>
                  <a:lnTo>
                    <a:pt x="1357" y="12631"/>
                  </a:lnTo>
                  <a:lnTo>
                    <a:pt x="1417" y="12555"/>
                  </a:lnTo>
                  <a:lnTo>
                    <a:pt x="1482" y="12479"/>
                  </a:lnTo>
                  <a:lnTo>
                    <a:pt x="1551" y="12407"/>
                  </a:lnTo>
                  <a:lnTo>
                    <a:pt x="1624" y="12336"/>
                  </a:lnTo>
                  <a:lnTo>
                    <a:pt x="1701" y="12266"/>
                  </a:lnTo>
                  <a:lnTo>
                    <a:pt x="1782" y="12200"/>
                  </a:lnTo>
                  <a:lnTo>
                    <a:pt x="1866" y="12135"/>
                  </a:lnTo>
                  <a:lnTo>
                    <a:pt x="1955" y="12074"/>
                  </a:lnTo>
                  <a:lnTo>
                    <a:pt x="2046" y="12015"/>
                  </a:lnTo>
                  <a:lnTo>
                    <a:pt x="2142" y="11958"/>
                  </a:lnTo>
                  <a:lnTo>
                    <a:pt x="2241" y="11905"/>
                  </a:lnTo>
                  <a:lnTo>
                    <a:pt x="2343" y="11856"/>
                  </a:lnTo>
                  <a:lnTo>
                    <a:pt x="2448" y="11808"/>
                  </a:lnTo>
                  <a:lnTo>
                    <a:pt x="2557" y="11765"/>
                  </a:lnTo>
                  <a:lnTo>
                    <a:pt x="2668" y="11726"/>
                  </a:lnTo>
                  <a:lnTo>
                    <a:pt x="2781" y="11691"/>
                  </a:lnTo>
                  <a:lnTo>
                    <a:pt x="2894" y="11661"/>
                  </a:lnTo>
                  <a:lnTo>
                    <a:pt x="3008" y="11634"/>
                  </a:lnTo>
                  <a:lnTo>
                    <a:pt x="3120" y="11612"/>
                  </a:lnTo>
                  <a:lnTo>
                    <a:pt x="3232" y="11595"/>
                  </a:lnTo>
                  <a:lnTo>
                    <a:pt x="3344" y="11582"/>
                  </a:lnTo>
                  <a:lnTo>
                    <a:pt x="3454" y="11573"/>
                  </a:lnTo>
                  <a:lnTo>
                    <a:pt x="3565" y="11569"/>
                  </a:lnTo>
                  <a:lnTo>
                    <a:pt x="3674" y="11569"/>
                  </a:lnTo>
                  <a:lnTo>
                    <a:pt x="3780" y="11573"/>
                  </a:lnTo>
                  <a:lnTo>
                    <a:pt x="3887" y="11581"/>
                  </a:lnTo>
                  <a:lnTo>
                    <a:pt x="3991" y="11593"/>
                  </a:lnTo>
                  <a:lnTo>
                    <a:pt x="4093" y="11609"/>
                  </a:lnTo>
                  <a:lnTo>
                    <a:pt x="4194" y="11629"/>
                  </a:lnTo>
                  <a:lnTo>
                    <a:pt x="4291" y="11654"/>
                  </a:lnTo>
                  <a:lnTo>
                    <a:pt x="4387" y="11682"/>
                  </a:lnTo>
                  <a:lnTo>
                    <a:pt x="4480" y="11713"/>
                  </a:lnTo>
                  <a:lnTo>
                    <a:pt x="4570" y="11748"/>
                  </a:lnTo>
                  <a:lnTo>
                    <a:pt x="4657" y="11787"/>
                  </a:lnTo>
                  <a:lnTo>
                    <a:pt x="4742" y="11830"/>
                  </a:lnTo>
                  <a:lnTo>
                    <a:pt x="4823" y="11876"/>
                  </a:lnTo>
                  <a:lnTo>
                    <a:pt x="4901" y="11925"/>
                  </a:lnTo>
                  <a:lnTo>
                    <a:pt x="4975" y="11978"/>
                  </a:lnTo>
                  <a:lnTo>
                    <a:pt x="5045" y="12035"/>
                  </a:lnTo>
                  <a:lnTo>
                    <a:pt x="5111" y="12095"/>
                  </a:lnTo>
                  <a:lnTo>
                    <a:pt x="5174" y="12158"/>
                  </a:lnTo>
                  <a:lnTo>
                    <a:pt x="5231" y="12224"/>
                  </a:lnTo>
                  <a:lnTo>
                    <a:pt x="5284" y="12293"/>
                  </a:lnTo>
                  <a:lnTo>
                    <a:pt x="5333" y="12366"/>
                  </a:lnTo>
                  <a:lnTo>
                    <a:pt x="5377" y="12441"/>
                  </a:lnTo>
                  <a:lnTo>
                    <a:pt x="5416" y="12521"/>
                  </a:lnTo>
                  <a:lnTo>
                    <a:pt x="5449" y="12602"/>
                  </a:lnTo>
                  <a:lnTo>
                    <a:pt x="5477" y="12686"/>
                  </a:lnTo>
                  <a:lnTo>
                    <a:pt x="5499" y="12769"/>
                  </a:lnTo>
                  <a:lnTo>
                    <a:pt x="5516" y="12855"/>
                  </a:lnTo>
                  <a:lnTo>
                    <a:pt x="5526" y="12939"/>
                  </a:lnTo>
                  <a:lnTo>
                    <a:pt x="5531" y="13025"/>
                  </a:lnTo>
                  <a:lnTo>
                    <a:pt x="5530" y="13111"/>
                  </a:lnTo>
                  <a:lnTo>
                    <a:pt x="5524" y="13197"/>
                  </a:lnTo>
                  <a:lnTo>
                    <a:pt x="5512" y="13282"/>
                  </a:lnTo>
                  <a:lnTo>
                    <a:pt x="5494" y="13368"/>
                  </a:lnTo>
                  <a:lnTo>
                    <a:pt x="5472" y="13453"/>
                  </a:lnTo>
                  <a:lnTo>
                    <a:pt x="5444" y="13538"/>
                  </a:lnTo>
                  <a:lnTo>
                    <a:pt x="5412" y="13622"/>
                  </a:lnTo>
                  <a:lnTo>
                    <a:pt x="5375" y="13705"/>
                  </a:lnTo>
                  <a:lnTo>
                    <a:pt x="5332" y="13787"/>
                  </a:lnTo>
                  <a:lnTo>
                    <a:pt x="5285" y="13869"/>
                  </a:lnTo>
                  <a:lnTo>
                    <a:pt x="5234" y="13948"/>
                  </a:lnTo>
                  <a:lnTo>
                    <a:pt x="5179" y="14027"/>
                  </a:lnTo>
                  <a:lnTo>
                    <a:pt x="5118" y="14103"/>
                  </a:lnTo>
                  <a:lnTo>
                    <a:pt x="5054" y="14179"/>
                  </a:lnTo>
                  <a:lnTo>
                    <a:pt x="4984" y="14251"/>
                  </a:lnTo>
                  <a:lnTo>
                    <a:pt x="4912" y="14322"/>
                  </a:lnTo>
                  <a:lnTo>
                    <a:pt x="4835" y="14392"/>
                  </a:lnTo>
                  <a:lnTo>
                    <a:pt x="4754" y="14458"/>
                  </a:lnTo>
                  <a:lnTo>
                    <a:pt x="4670" y="14523"/>
                  </a:lnTo>
                  <a:lnTo>
                    <a:pt x="4581" y="14584"/>
                  </a:lnTo>
                  <a:lnTo>
                    <a:pt x="4488" y="14643"/>
                  </a:lnTo>
                  <a:lnTo>
                    <a:pt x="4393" y="14700"/>
                  </a:lnTo>
                  <a:lnTo>
                    <a:pt x="4294" y="14753"/>
                  </a:lnTo>
                  <a:lnTo>
                    <a:pt x="4192" y="14802"/>
                  </a:lnTo>
                  <a:lnTo>
                    <a:pt x="4087" y="14849"/>
                  </a:lnTo>
                  <a:lnTo>
                    <a:pt x="3978" y="14892"/>
                  </a:lnTo>
                  <a:lnTo>
                    <a:pt x="3867" y="14932"/>
                  </a:lnTo>
                  <a:close/>
                  <a:moveTo>
                    <a:pt x="15735" y="235"/>
                  </a:moveTo>
                  <a:lnTo>
                    <a:pt x="15701" y="208"/>
                  </a:lnTo>
                  <a:lnTo>
                    <a:pt x="15665" y="182"/>
                  </a:lnTo>
                  <a:lnTo>
                    <a:pt x="15628" y="157"/>
                  </a:lnTo>
                  <a:lnTo>
                    <a:pt x="15591" y="134"/>
                  </a:lnTo>
                  <a:lnTo>
                    <a:pt x="15552" y="113"/>
                  </a:lnTo>
                  <a:lnTo>
                    <a:pt x="15513" y="94"/>
                  </a:lnTo>
                  <a:lnTo>
                    <a:pt x="15473" y="76"/>
                  </a:lnTo>
                  <a:lnTo>
                    <a:pt x="15432" y="60"/>
                  </a:lnTo>
                  <a:lnTo>
                    <a:pt x="15391" y="46"/>
                  </a:lnTo>
                  <a:lnTo>
                    <a:pt x="15349" y="34"/>
                  </a:lnTo>
                  <a:lnTo>
                    <a:pt x="15306" y="24"/>
                  </a:lnTo>
                  <a:lnTo>
                    <a:pt x="15263" y="15"/>
                  </a:lnTo>
                  <a:lnTo>
                    <a:pt x="15220" y="9"/>
                  </a:lnTo>
                  <a:lnTo>
                    <a:pt x="15177" y="4"/>
                  </a:lnTo>
                  <a:lnTo>
                    <a:pt x="15133" y="1"/>
                  </a:lnTo>
                  <a:lnTo>
                    <a:pt x="15089" y="0"/>
                  </a:lnTo>
                  <a:lnTo>
                    <a:pt x="15067" y="0"/>
                  </a:lnTo>
                  <a:lnTo>
                    <a:pt x="15046" y="1"/>
                  </a:lnTo>
                  <a:lnTo>
                    <a:pt x="15024" y="2"/>
                  </a:lnTo>
                  <a:lnTo>
                    <a:pt x="15002" y="4"/>
                  </a:lnTo>
                  <a:lnTo>
                    <a:pt x="14979" y="6"/>
                  </a:lnTo>
                  <a:lnTo>
                    <a:pt x="14958" y="9"/>
                  </a:lnTo>
                  <a:lnTo>
                    <a:pt x="14936" y="12"/>
                  </a:lnTo>
                  <a:lnTo>
                    <a:pt x="14914" y="15"/>
                  </a:lnTo>
                  <a:lnTo>
                    <a:pt x="6363" y="1524"/>
                  </a:lnTo>
                  <a:lnTo>
                    <a:pt x="6318" y="1533"/>
                  </a:lnTo>
                  <a:lnTo>
                    <a:pt x="6274" y="1544"/>
                  </a:lnTo>
                  <a:lnTo>
                    <a:pt x="6232" y="1557"/>
                  </a:lnTo>
                  <a:lnTo>
                    <a:pt x="6190" y="1571"/>
                  </a:lnTo>
                  <a:lnTo>
                    <a:pt x="6148" y="1587"/>
                  </a:lnTo>
                  <a:lnTo>
                    <a:pt x="6108" y="1606"/>
                  </a:lnTo>
                  <a:lnTo>
                    <a:pt x="6069" y="1625"/>
                  </a:lnTo>
                  <a:lnTo>
                    <a:pt x="6031" y="1646"/>
                  </a:lnTo>
                  <a:lnTo>
                    <a:pt x="5993" y="1669"/>
                  </a:lnTo>
                  <a:lnTo>
                    <a:pt x="5957" y="1693"/>
                  </a:lnTo>
                  <a:lnTo>
                    <a:pt x="5923" y="1719"/>
                  </a:lnTo>
                  <a:lnTo>
                    <a:pt x="5889" y="1746"/>
                  </a:lnTo>
                  <a:lnTo>
                    <a:pt x="5857" y="1775"/>
                  </a:lnTo>
                  <a:lnTo>
                    <a:pt x="5825" y="1805"/>
                  </a:lnTo>
                  <a:lnTo>
                    <a:pt x="5795" y="1836"/>
                  </a:lnTo>
                  <a:lnTo>
                    <a:pt x="5767" y="1868"/>
                  </a:lnTo>
                  <a:lnTo>
                    <a:pt x="5740" y="1901"/>
                  </a:lnTo>
                  <a:lnTo>
                    <a:pt x="5715" y="1937"/>
                  </a:lnTo>
                  <a:lnTo>
                    <a:pt x="5691" y="1973"/>
                  </a:lnTo>
                  <a:lnTo>
                    <a:pt x="5668" y="2009"/>
                  </a:lnTo>
                  <a:lnTo>
                    <a:pt x="5647" y="2047"/>
                  </a:lnTo>
                  <a:lnTo>
                    <a:pt x="5628" y="2085"/>
                  </a:lnTo>
                  <a:lnTo>
                    <a:pt x="5610" y="2126"/>
                  </a:lnTo>
                  <a:lnTo>
                    <a:pt x="5594" y="2166"/>
                  </a:lnTo>
                  <a:lnTo>
                    <a:pt x="5580" y="2207"/>
                  </a:lnTo>
                  <a:lnTo>
                    <a:pt x="5568" y="2249"/>
                  </a:lnTo>
                  <a:lnTo>
                    <a:pt x="5557" y="2292"/>
                  </a:lnTo>
                  <a:lnTo>
                    <a:pt x="5548" y="2336"/>
                  </a:lnTo>
                  <a:lnTo>
                    <a:pt x="5541" y="2379"/>
                  </a:lnTo>
                  <a:lnTo>
                    <a:pt x="5536" y="2424"/>
                  </a:lnTo>
                  <a:lnTo>
                    <a:pt x="5533" y="2470"/>
                  </a:lnTo>
                  <a:lnTo>
                    <a:pt x="5532" y="2515"/>
                  </a:lnTo>
                  <a:lnTo>
                    <a:pt x="5532" y="3521"/>
                  </a:lnTo>
                  <a:lnTo>
                    <a:pt x="5532" y="4024"/>
                  </a:lnTo>
                  <a:lnTo>
                    <a:pt x="5532" y="11151"/>
                  </a:lnTo>
                  <a:lnTo>
                    <a:pt x="5483" y="11116"/>
                  </a:lnTo>
                  <a:lnTo>
                    <a:pt x="5434" y="11083"/>
                  </a:lnTo>
                  <a:lnTo>
                    <a:pt x="5385" y="11051"/>
                  </a:lnTo>
                  <a:lnTo>
                    <a:pt x="5333" y="11020"/>
                  </a:lnTo>
                  <a:lnTo>
                    <a:pt x="5282" y="10989"/>
                  </a:lnTo>
                  <a:lnTo>
                    <a:pt x="5230" y="10959"/>
                  </a:lnTo>
                  <a:lnTo>
                    <a:pt x="5177" y="10930"/>
                  </a:lnTo>
                  <a:lnTo>
                    <a:pt x="5122" y="10903"/>
                  </a:lnTo>
                  <a:lnTo>
                    <a:pt x="5067" y="10876"/>
                  </a:lnTo>
                  <a:lnTo>
                    <a:pt x="5012" y="10851"/>
                  </a:lnTo>
                  <a:lnTo>
                    <a:pt x="4955" y="10826"/>
                  </a:lnTo>
                  <a:lnTo>
                    <a:pt x="4898" y="10801"/>
                  </a:lnTo>
                  <a:lnTo>
                    <a:pt x="4841" y="10779"/>
                  </a:lnTo>
                  <a:lnTo>
                    <a:pt x="4782" y="10758"/>
                  </a:lnTo>
                  <a:lnTo>
                    <a:pt x="4723" y="10737"/>
                  </a:lnTo>
                  <a:lnTo>
                    <a:pt x="4663" y="10718"/>
                  </a:lnTo>
                  <a:lnTo>
                    <a:pt x="4602" y="10700"/>
                  </a:lnTo>
                  <a:lnTo>
                    <a:pt x="4541" y="10682"/>
                  </a:lnTo>
                  <a:lnTo>
                    <a:pt x="4479" y="10666"/>
                  </a:lnTo>
                  <a:lnTo>
                    <a:pt x="4417" y="10651"/>
                  </a:lnTo>
                  <a:lnTo>
                    <a:pt x="4354" y="10636"/>
                  </a:lnTo>
                  <a:lnTo>
                    <a:pt x="4290" y="10624"/>
                  </a:lnTo>
                  <a:lnTo>
                    <a:pt x="4226" y="10612"/>
                  </a:lnTo>
                  <a:lnTo>
                    <a:pt x="4161" y="10602"/>
                  </a:lnTo>
                  <a:lnTo>
                    <a:pt x="4095" y="10593"/>
                  </a:lnTo>
                  <a:lnTo>
                    <a:pt x="4030" y="10585"/>
                  </a:lnTo>
                  <a:lnTo>
                    <a:pt x="3963" y="10578"/>
                  </a:lnTo>
                  <a:lnTo>
                    <a:pt x="3896" y="10572"/>
                  </a:lnTo>
                  <a:lnTo>
                    <a:pt x="3829" y="10568"/>
                  </a:lnTo>
                  <a:lnTo>
                    <a:pt x="3761" y="10565"/>
                  </a:lnTo>
                  <a:lnTo>
                    <a:pt x="3693" y="10563"/>
                  </a:lnTo>
                  <a:lnTo>
                    <a:pt x="3623" y="10562"/>
                  </a:lnTo>
                  <a:lnTo>
                    <a:pt x="3544" y="10563"/>
                  </a:lnTo>
                  <a:lnTo>
                    <a:pt x="3463" y="10566"/>
                  </a:lnTo>
                  <a:lnTo>
                    <a:pt x="3384" y="10570"/>
                  </a:lnTo>
                  <a:lnTo>
                    <a:pt x="3303" y="10575"/>
                  </a:lnTo>
                  <a:lnTo>
                    <a:pt x="3223" y="10583"/>
                  </a:lnTo>
                  <a:lnTo>
                    <a:pt x="3144" y="10592"/>
                  </a:lnTo>
                  <a:lnTo>
                    <a:pt x="3063" y="10602"/>
                  </a:lnTo>
                  <a:lnTo>
                    <a:pt x="2984" y="10615"/>
                  </a:lnTo>
                  <a:lnTo>
                    <a:pt x="2904" y="10629"/>
                  </a:lnTo>
                  <a:lnTo>
                    <a:pt x="2825" y="10644"/>
                  </a:lnTo>
                  <a:lnTo>
                    <a:pt x="2745" y="10662"/>
                  </a:lnTo>
                  <a:lnTo>
                    <a:pt x="2666" y="10681"/>
                  </a:lnTo>
                  <a:lnTo>
                    <a:pt x="2587" y="10701"/>
                  </a:lnTo>
                  <a:lnTo>
                    <a:pt x="2508" y="10723"/>
                  </a:lnTo>
                  <a:lnTo>
                    <a:pt x="2429" y="10746"/>
                  </a:lnTo>
                  <a:lnTo>
                    <a:pt x="2351" y="10771"/>
                  </a:lnTo>
                  <a:lnTo>
                    <a:pt x="2262" y="10802"/>
                  </a:lnTo>
                  <a:lnTo>
                    <a:pt x="2175" y="10835"/>
                  </a:lnTo>
                  <a:lnTo>
                    <a:pt x="2088" y="10870"/>
                  </a:lnTo>
                  <a:lnTo>
                    <a:pt x="2003" y="10906"/>
                  </a:lnTo>
                  <a:lnTo>
                    <a:pt x="1918" y="10943"/>
                  </a:lnTo>
                  <a:lnTo>
                    <a:pt x="1836" y="10984"/>
                  </a:lnTo>
                  <a:lnTo>
                    <a:pt x="1754" y="11025"/>
                  </a:lnTo>
                  <a:lnTo>
                    <a:pt x="1674" y="11068"/>
                  </a:lnTo>
                  <a:lnTo>
                    <a:pt x="1595" y="11112"/>
                  </a:lnTo>
                  <a:lnTo>
                    <a:pt x="1518" y="11159"/>
                  </a:lnTo>
                  <a:lnTo>
                    <a:pt x="1443" y="11207"/>
                  </a:lnTo>
                  <a:lnTo>
                    <a:pt x="1368" y="11256"/>
                  </a:lnTo>
                  <a:lnTo>
                    <a:pt x="1295" y="11307"/>
                  </a:lnTo>
                  <a:lnTo>
                    <a:pt x="1224" y="11360"/>
                  </a:lnTo>
                  <a:lnTo>
                    <a:pt x="1154" y="11413"/>
                  </a:lnTo>
                  <a:lnTo>
                    <a:pt x="1086" y="11468"/>
                  </a:lnTo>
                  <a:lnTo>
                    <a:pt x="1020" y="11526"/>
                  </a:lnTo>
                  <a:lnTo>
                    <a:pt x="956" y="11583"/>
                  </a:lnTo>
                  <a:lnTo>
                    <a:pt x="892" y="11643"/>
                  </a:lnTo>
                  <a:lnTo>
                    <a:pt x="832" y="11704"/>
                  </a:lnTo>
                  <a:lnTo>
                    <a:pt x="773" y="11766"/>
                  </a:lnTo>
                  <a:lnTo>
                    <a:pt x="715" y="11830"/>
                  </a:lnTo>
                  <a:lnTo>
                    <a:pt x="660" y="11894"/>
                  </a:lnTo>
                  <a:lnTo>
                    <a:pt x="606" y="11959"/>
                  </a:lnTo>
                  <a:lnTo>
                    <a:pt x="554" y="12026"/>
                  </a:lnTo>
                  <a:lnTo>
                    <a:pt x="505" y="12094"/>
                  </a:lnTo>
                  <a:lnTo>
                    <a:pt x="458" y="12164"/>
                  </a:lnTo>
                  <a:lnTo>
                    <a:pt x="412" y="12233"/>
                  </a:lnTo>
                  <a:lnTo>
                    <a:pt x="369" y="12304"/>
                  </a:lnTo>
                  <a:lnTo>
                    <a:pt x="328" y="12377"/>
                  </a:lnTo>
                  <a:lnTo>
                    <a:pt x="289" y="12450"/>
                  </a:lnTo>
                  <a:lnTo>
                    <a:pt x="251" y="12524"/>
                  </a:lnTo>
                  <a:lnTo>
                    <a:pt x="225" y="12582"/>
                  </a:lnTo>
                  <a:lnTo>
                    <a:pt x="200" y="12639"/>
                  </a:lnTo>
                  <a:lnTo>
                    <a:pt x="176" y="12699"/>
                  </a:lnTo>
                  <a:lnTo>
                    <a:pt x="154" y="12757"/>
                  </a:lnTo>
                  <a:lnTo>
                    <a:pt x="133" y="12815"/>
                  </a:lnTo>
                  <a:lnTo>
                    <a:pt x="114" y="12875"/>
                  </a:lnTo>
                  <a:lnTo>
                    <a:pt x="96" y="12934"/>
                  </a:lnTo>
                  <a:lnTo>
                    <a:pt x="79" y="12994"/>
                  </a:lnTo>
                  <a:lnTo>
                    <a:pt x="65" y="13053"/>
                  </a:lnTo>
                  <a:lnTo>
                    <a:pt x="51" y="13112"/>
                  </a:lnTo>
                  <a:lnTo>
                    <a:pt x="40" y="13173"/>
                  </a:lnTo>
                  <a:lnTo>
                    <a:pt x="30" y="13232"/>
                  </a:lnTo>
                  <a:lnTo>
                    <a:pt x="21" y="13292"/>
                  </a:lnTo>
                  <a:lnTo>
                    <a:pt x="14" y="13352"/>
                  </a:lnTo>
                  <a:lnTo>
                    <a:pt x="8" y="13412"/>
                  </a:lnTo>
                  <a:lnTo>
                    <a:pt x="4" y="13471"/>
                  </a:lnTo>
                  <a:lnTo>
                    <a:pt x="1" y="13532"/>
                  </a:lnTo>
                  <a:lnTo>
                    <a:pt x="0" y="13591"/>
                  </a:lnTo>
                  <a:lnTo>
                    <a:pt x="0" y="13650"/>
                  </a:lnTo>
                  <a:lnTo>
                    <a:pt x="2" y="13711"/>
                  </a:lnTo>
                  <a:lnTo>
                    <a:pt x="6" y="13770"/>
                  </a:lnTo>
                  <a:lnTo>
                    <a:pt x="11" y="13829"/>
                  </a:lnTo>
                  <a:lnTo>
                    <a:pt x="17" y="13888"/>
                  </a:lnTo>
                  <a:lnTo>
                    <a:pt x="25" y="13947"/>
                  </a:lnTo>
                  <a:lnTo>
                    <a:pt x="35" y="14006"/>
                  </a:lnTo>
                  <a:lnTo>
                    <a:pt x="46" y="14064"/>
                  </a:lnTo>
                  <a:lnTo>
                    <a:pt x="58" y="14122"/>
                  </a:lnTo>
                  <a:lnTo>
                    <a:pt x="72" y="14180"/>
                  </a:lnTo>
                  <a:lnTo>
                    <a:pt x="89" y="14238"/>
                  </a:lnTo>
                  <a:lnTo>
                    <a:pt x="106" y="14295"/>
                  </a:lnTo>
                  <a:lnTo>
                    <a:pt x="124" y="14352"/>
                  </a:lnTo>
                  <a:lnTo>
                    <a:pt x="145" y="14408"/>
                  </a:lnTo>
                  <a:lnTo>
                    <a:pt x="182" y="14504"/>
                  </a:lnTo>
                  <a:lnTo>
                    <a:pt x="224" y="14596"/>
                  </a:lnTo>
                  <a:lnTo>
                    <a:pt x="271" y="14687"/>
                  </a:lnTo>
                  <a:lnTo>
                    <a:pt x="320" y="14775"/>
                  </a:lnTo>
                  <a:lnTo>
                    <a:pt x="373" y="14861"/>
                  </a:lnTo>
                  <a:lnTo>
                    <a:pt x="431" y="14944"/>
                  </a:lnTo>
                  <a:lnTo>
                    <a:pt x="491" y="15026"/>
                  </a:lnTo>
                  <a:lnTo>
                    <a:pt x="555" y="15104"/>
                  </a:lnTo>
                  <a:lnTo>
                    <a:pt x="624" y="15181"/>
                  </a:lnTo>
                  <a:lnTo>
                    <a:pt x="694" y="15254"/>
                  </a:lnTo>
                  <a:lnTo>
                    <a:pt x="769" y="15324"/>
                  </a:lnTo>
                  <a:lnTo>
                    <a:pt x="846" y="15392"/>
                  </a:lnTo>
                  <a:lnTo>
                    <a:pt x="926" y="15457"/>
                  </a:lnTo>
                  <a:lnTo>
                    <a:pt x="1010" y="15520"/>
                  </a:lnTo>
                  <a:lnTo>
                    <a:pt x="1096" y="15579"/>
                  </a:lnTo>
                  <a:lnTo>
                    <a:pt x="1185" y="15636"/>
                  </a:lnTo>
                  <a:lnTo>
                    <a:pt x="1277" y="15690"/>
                  </a:lnTo>
                  <a:lnTo>
                    <a:pt x="1371" y="15740"/>
                  </a:lnTo>
                  <a:lnTo>
                    <a:pt x="1469" y="15787"/>
                  </a:lnTo>
                  <a:lnTo>
                    <a:pt x="1567" y="15831"/>
                  </a:lnTo>
                  <a:lnTo>
                    <a:pt x="1669" y="15873"/>
                  </a:lnTo>
                  <a:lnTo>
                    <a:pt x="1772" y="15910"/>
                  </a:lnTo>
                  <a:lnTo>
                    <a:pt x="1879" y="15944"/>
                  </a:lnTo>
                  <a:lnTo>
                    <a:pt x="1987" y="15975"/>
                  </a:lnTo>
                  <a:lnTo>
                    <a:pt x="2097" y="16003"/>
                  </a:lnTo>
                  <a:lnTo>
                    <a:pt x="2209" y="16028"/>
                  </a:lnTo>
                  <a:lnTo>
                    <a:pt x="2323" y="16048"/>
                  </a:lnTo>
                  <a:lnTo>
                    <a:pt x="2438" y="16065"/>
                  </a:lnTo>
                  <a:lnTo>
                    <a:pt x="2555" y="16078"/>
                  </a:lnTo>
                  <a:lnTo>
                    <a:pt x="2674" y="16087"/>
                  </a:lnTo>
                  <a:lnTo>
                    <a:pt x="2793" y="16093"/>
                  </a:lnTo>
                  <a:lnTo>
                    <a:pt x="2914" y="16095"/>
                  </a:lnTo>
                  <a:lnTo>
                    <a:pt x="2995" y="16094"/>
                  </a:lnTo>
                  <a:lnTo>
                    <a:pt x="3075" y="16092"/>
                  </a:lnTo>
                  <a:lnTo>
                    <a:pt x="3155" y="16088"/>
                  </a:lnTo>
                  <a:lnTo>
                    <a:pt x="3235" y="16082"/>
                  </a:lnTo>
                  <a:lnTo>
                    <a:pt x="3315" y="16075"/>
                  </a:lnTo>
                  <a:lnTo>
                    <a:pt x="3395" y="16066"/>
                  </a:lnTo>
                  <a:lnTo>
                    <a:pt x="3475" y="16055"/>
                  </a:lnTo>
                  <a:lnTo>
                    <a:pt x="3554" y="16043"/>
                  </a:lnTo>
                  <a:lnTo>
                    <a:pt x="3633" y="16029"/>
                  </a:lnTo>
                  <a:lnTo>
                    <a:pt x="3713" y="16014"/>
                  </a:lnTo>
                  <a:lnTo>
                    <a:pt x="3792" y="15996"/>
                  </a:lnTo>
                  <a:lnTo>
                    <a:pt x="3872" y="15977"/>
                  </a:lnTo>
                  <a:lnTo>
                    <a:pt x="3950" y="15957"/>
                  </a:lnTo>
                  <a:lnTo>
                    <a:pt x="4029" y="15935"/>
                  </a:lnTo>
                  <a:lnTo>
                    <a:pt x="4107" y="15911"/>
                  </a:lnTo>
                  <a:lnTo>
                    <a:pt x="4186" y="15886"/>
                  </a:lnTo>
                  <a:lnTo>
                    <a:pt x="4275" y="15855"/>
                  </a:lnTo>
                  <a:lnTo>
                    <a:pt x="4363" y="15822"/>
                  </a:lnTo>
                  <a:lnTo>
                    <a:pt x="4449" y="15788"/>
                  </a:lnTo>
                  <a:lnTo>
                    <a:pt x="4535" y="15752"/>
                  </a:lnTo>
                  <a:lnTo>
                    <a:pt x="4619" y="15714"/>
                  </a:lnTo>
                  <a:lnTo>
                    <a:pt x="4702" y="15674"/>
                  </a:lnTo>
                  <a:lnTo>
                    <a:pt x="4783" y="15633"/>
                  </a:lnTo>
                  <a:lnTo>
                    <a:pt x="4864" y="15590"/>
                  </a:lnTo>
                  <a:lnTo>
                    <a:pt x="4942" y="15546"/>
                  </a:lnTo>
                  <a:lnTo>
                    <a:pt x="5020" y="15499"/>
                  </a:lnTo>
                  <a:lnTo>
                    <a:pt x="5096" y="15451"/>
                  </a:lnTo>
                  <a:lnTo>
                    <a:pt x="5171" y="15402"/>
                  </a:lnTo>
                  <a:lnTo>
                    <a:pt x="5243" y="15351"/>
                  </a:lnTo>
                  <a:lnTo>
                    <a:pt x="5314" y="15298"/>
                  </a:lnTo>
                  <a:lnTo>
                    <a:pt x="5384" y="15245"/>
                  </a:lnTo>
                  <a:lnTo>
                    <a:pt x="5452" y="15190"/>
                  </a:lnTo>
                  <a:lnTo>
                    <a:pt x="5519" y="15133"/>
                  </a:lnTo>
                  <a:lnTo>
                    <a:pt x="5583" y="15075"/>
                  </a:lnTo>
                  <a:lnTo>
                    <a:pt x="5645" y="15016"/>
                  </a:lnTo>
                  <a:lnTo>
                    <a:pt x="5707" y="14955"/>
                  </a:lnTo>
                  <a:lnTo>
                    <a:pt x="5766" y="14893"/>
                  </a:lnTo>
                  <a:lnTo>
                    <a:pt x="5823" y="14829"/>
                  </a:lnTo>
                  <a:lnTo>
                    <a:pt x="5879" y="14765"/>
                  </a:lnTo>
                  <a:lnTo>
                    <a:pt x="5932" y="14700"/>
                  </a:lnTo>
                  <a:lnTo>
                    <a:pt x="5983" y="14632"/>
                  </a:lnTo>
                  <a:lnTo>
                    <a:pt x="6034" y="14565"/>
                  </a:lnTo>
                  <a:lnTo>
                    <a:pt x="6081" y="14495"/>
                  </a:lnTo>
                  <a:lnTo>
                    <a:pt x="6126" y="14426"/>
                  </a:lnTo>
                  <a:lnTo>
                    <a:pt x="6169" y="14355"/>
                  </a:lnTo>
                  <a:lnTo>
                    <a:pt x="6211" y="14282"/>
                  </a:lnTo>
                  <a:lnTo>
                    <a:pt x="6250" y="14210"/>
                  </a:lnTo>
                  <a:lnTo>
                    <a:pt x="6286" y="14135"/>
                  </a:lnTo>
                  <a:lnTo>
                    <a:pt x="6316" y="14071"/>
                  </a:lnTo>
                  <a:lnTo>
                    <a:pt x="6343" y="14007"/>
                  </a:lnTo>
                  <a:lnTo>
                    <a:pt x="6369" y="13941"/>
                  </a:lnTo>
                  <a:lnTo>
                    <a:pt x="6393" y="13876"/>
                  </a:lnTo>
                  <a:lnTo>
                    <a:pt x="6414" y="13809"/>
                  </a:lnTo>
                  <a:lnTo>
                    <a:pt x="6434" y="13744"/>
                  </a:lnTo>
                  <a:lnTo>
                    <a:pt x="6452" y="13678"/>
                  </a:lnTo>
                  <a:lnTo>
                    <a:pt x="6468" y="13611"/>
                  </a:lnTo>
                  <a:lnTo>
                    <a:pt x="6482" y="13545"/>
                  </a:lnTo>
                  <a:lnTo>
                    <a:pt x="6494" y="13477"/>
                  </a:lnTo>
                  <a:lnTo>
                    <a:pt x="6504" y="13411"/>
                  </a:lnTo>
                  <a:lnTo>
                    <a:pt x="6513" y="13345"/>
                  </a:lnTo>
                  <a:lnTo>
                    <a:pt x="6519" y="13277"/>
                  </a:lnTo>
                  <a:lnTo>
                    <a:pt x="6525" y="13211"/>
                  </a:lnTo>
                  <a:lnTo>
                    <a:pt x="6528" y="13143"/>
                  </a:lnTo>
                  <a:lnTo>
                    <a:pt x="6530" y="13077"/>
                  </a:lnTo>
                  <a:lnTo>
                    <a:pt x="6538" y="13077"/>
                  </a:lnTo>
                  <a:lnTo>
                    <a:pt x="6538" y="5030"/>
                  </a:lnTo>
                  <a:lnTo>
                    <a:pt x="6560" y="5029"/>
                  </a:lnTo>
                  <a:lnTo>
                    <a:pt x="6582" y="5029"/>
                  </a:lnTo>
                  <a:lnTo>
                    <a:pt x="6603" y="5028"/>
                  </a:lnTo>
                  <a:lnTo>
                    <a:pt x="6625" y="5026"/>
                  </a:lnTo>
                  <a:lnTo>
                    <a:pt x="6647" y="5024"/>
                  </a:lnTo>
                  <a:lnTo>
                    <a:pt x="6669" y="5021"/>
                  </a:lnTo>
                  <a:lnTo>
                    <a:pt x="6691" y="5018"/>
                  </a:lnTo>
                  <a:lnTo>
                    <a:pt x="6713" y="5015"/>
                  </a:lnTo>
                  <a:lnTo>
                    <a:pt x="15089" y="3536"/>
                  </a:lnTo>
                  <a:lnTo>
                    <a:pt x="15089" y="9642"/>
                  </a:lnTo>
                  <a:lnTo>
                    <a:pt x="15041" y="9607"/>
                  </a:lnTo>
                  <a:lnTo>
                    <a:pt x="14991" y="9574"/>
                  </a:lnTo>
                  <a:lnTo>
                    <a:pt x="14941" y="9542"/>
                  </a:lnTo>
                  <a:lnTo>
                    <a:pt x="14891" y="9511"/>
                  </a:lnTo>
                  <a:lnTo>
                    <a:pt x="14840" y="9480"/>
                  </a:lnTo>
                  <a:lnTo>
                    <a:pt x="14786" y="9450"/>
                  </a:lnTo>
                  <a:lnTo>
                    <a:pt x="14733" y="9421"/>
                  </a:lnTo>
                  <a:lnTo>
                    <a:pt x="14680" y="9394"/>
                  </a:lnTo>
                  <a:lnTo>
                    <a:pt x="14624" y="9367"/>
                  </a:lnTo>
                  <a:lnTo>
                    <a:pt x="14569" y="9342"/>
                  </a:lnTo>
                  <a:lnTo>
                    <a:pt x="14513" y="9317"/>
                  </a:lnTo>
                  <a:lnTo>
                    <a:pt x="14455" y="9293"/>
                  </a:lnTo>
                  <a:lnTo>
                    <a:pt x="14397" y="9270"/>
                  </a:lnTo>
                  <a:lnTo>
                    <a:pt x="14339" y="9249"/>
                  </a:lnTo>
                  <a:lnTo>
                    <a:pt x="14279" y="9228"/>
                  </a:lnTo>
                  <a:lnTo>
                    <a:pt x="14220" y="9209"/>
                  </a:lnTo>
                  <a:lnTo>
                    <a:pt x="14160" y="9191"/>
                  </a:lnTo>
                  <a:lnTo>
                    <a:pt x="14098" y="9173"/>
                  </a:lnTo>
                  <a:lnTo>
                    <a:pt x="14036" y="9157"/>
                  </a:lnTo>
                  <a:lnTo>
                    <a:pt x="13973" y="9142"/>
                  </a:lnTo>
                  <a:lnTo>
                    <a:pt x="13910" y="9128"/>
                  </a:lnTo>
                  <a:lnTo>
                    <a:pt x="13847" y="9115"/>
                  </a:lnTo>
                  <a:lnTo>
                    <a:pt x="13782" y="9103"/>
                  </a:lnTo>
                  <a:lnTo>
                    <a:pt x="13718" y="9093"/>
                  </a:lnTo>
                  <a:lnTo>
                    <a:pt x="13653" y="9084"/>
                  </a:lnTo>
                  <a:lnTo>
                    <a:pt x="13586" y="9076"/>
                  </a:lnTo>
                  <a:lnTo>
                    <a:pt x="13520" y="9069"/>
                  </a:lnTo>
                  <a:lnTo>
                    <a:pt x="13453" y="9063"/>
                  </a:lnTo>
                  <a:lnTo>
                    <a:pt x="13385" y="9059"/>
                  </a:lnTo>
                  <a:lnTo>
                    <a:pt x="13318" y="9056"/>
                  </a:lnTo>
                  <a:lnTo>
                    <a:pt x="13249" y="9054"/>
                  </a:lnTo>
                  <a:lnTo>
                    <a:pt x="13180" y="9053"/>
                  </a:lnTo>
                  <a:lnTo>
                    <a:pt x="13100" y="9054"/>
                  </a:lnTo>
                  <a:lnTo>
                    <a:pt x="13020" y="9057"/>
                  </a:lnTo>
                  <a:lnTo>
                    <a:pt x="12940" y="9061"/>
                  </a:lnTo>
                  <a:lnTo>
                    <a:pt x="12860" y="9067"/>
                  </a:lnTo>
                  <a:lnTo>
                    <a:pt x="12780" y="9074"/>
                  </a:lnTo>
                  <a:lnTo>
                    <a:pt x="12700" y="9083"/>
                  </a:lnTo>
                  <a:lnTo>
                    <a:pt x="12620" y="9094"/>
                  </a:lnTo>
                  <a:lnTo>
                    <a:pt x="12541" y="9106"/>
                  </a:lnTo>
                  <a:lnTo>
                    <a:pt x="12462" y="9120"/>
                  </a:lnTo>
                  <a:lnTo>
                    <a:pt x="12382" y="9135"/>
                  </a:lnTo>
                  <a:lnTo>
                    <a:pt x="12303" y="9153"/>
                  </a:lnTo>
                  <a:lnTo>
                    <a:pt x="12223" y="9172"/>
                  </a:lnTo>
                  <a:lnTo>
                    <a:pt x="12144" y="9192"/>
                  </a:lnTo>
                  <a:lnTo>
                    <a:pt x="12065" y="9214"/>
                  </a:lnTo>
                  <a:lnTo>
                    <a:pt x="11987" y="9237"/>
                  </a:lnTo>
                  <a:lnTo>
                    <a:pt x="11908" y="9262"/>
                  </a:lnTo>
                  <a:lnTo>
                    <a:pt x="11820" y="9293"/>
                  </a:lnTo>
                  <a:lnTo>
                    <a:pt x="11731" y="9326"/>
                  </a:lnTo>
                  <a:lnTo>
                    <a:pt x="11645" y="9361"/>
                  </a:lnTo>
                  <a:lnTo>
                    <a:pt x="11560" y="9397"/>
                  </a:lnTo>
                  <a:lnTo>
                    <a:pt x="11476" y="9434"/>
                  </a:lnTo>
                  <a:lnTo>
                    <a:pt x="11393" y="9475"/>
                  </a:lnTo>
                  <a:lnTo>
                    <a:pt x="11312" y="9516"/>
                  </a:lnTo>
                  <a:lnTo>
                    <a:pt x="11231" y="9559"/>
                  </a:lnTo>
                  <a:lnTo>
                    <a:pt x="11153" y="9603"/>
                  </a:lnTo>
                  <a:lnTo>
                    <a:pt x="11075" y="9650"/>
                  </a:lnTo>
                  <a:lnTo>
                    <a:pt x="10999" y="9698"/>
                  </a:lnTo>
                  <a:lnTo>
                    <a:pt x="10925" y="9747"/>
                  </a:lnTo>
                  <a:lnTo>
                    <a:pt x="10852" y="9798"/>
                  </a:lnTo>
                  <a:lnTo>
                    <a:pt x="10781" y="9851"/>
                  </a:lnTo>
                  <a:lnTo>
                    <a:pt x="10711" y="9904"/>
                  </a:lnTo>
                  <a:lnTo>
                    <a:pt x="10644" y="9959"/>
                  </a:lnTo>
                  <a:lnTo>
                    <a:pt x="10577" y="10017"/>
                  </a:lnTo>
                  <a:lnTo>
                    <a:pt x="10513" y="10074"/>
                  </a:lnTo>
                  <a:lnTo>
                    <a:pt x="10450" y="10134"/>
                  </a:lnTo>
                  <a:lnTo>
                    <a:pt x="10388" y="10195"/>
                  </a:lnTo>
                  <a:lnTo>
                    <a:pt x="10330" y="10257"/>
                  </a:lnTo>
                  <a:lnTo>
                    <a:pt x="10273" y="10321"/>
                  </a:lnTo>
                  <a:lnTo>
                    <a:pt x="10216" y="10385"/>
                  </a:lnTo>
                  <a:lnTo>
                    <a:pt x="10163" y="10450"/>
                  </a:lnTo>
                  <a:lnTo>
                    <a:pt x="10112" y="10517"/>
                  </a:lnTo>
                  <a:lnTo>
                    <a:pt x="10062" y="10585"/>
                  </a:lnTo>
                  <a:lnTo>
                    <a:pt x="10014" y="10655"/>
                  </a:lnTo>
                  <a:lnTo>
                    <a:pt x="9969" y="10724"/>
                  </a:lnTo>
                  <a:lnTo>
                    <a:pt x="9926" y="10795"/>
                  </a:lnTo>
                  <a:lnTo>
                    <a:pt x="9884" y="10868"/>
                  </a:lnTo>
                  <a:lnTo>
                    <a:pt x="9846" y="10941"/>
                  </a:lnTo>
                  <a:lnTo>
                    <a:pt x="9809" y="11015"/>
                  </a:lnTo>
                  <a:lnTo>
                    <a:pt x="9782" y="11073"/>
                  </a:lnTo>
                  <a:lnTo>
                    <a:pt x="9757" y="11131"/>
                  </a:lnTo>
                  <a:lnTo>
                    <a:pt x="9733" y="11190"/>
                  </a:lnTo>
                  <a:lnTo>
                    <a:pt x="9711" y="11248"/>
                  </a:lnTo>
                  <a:lnTo>
                    <a:pt x="9690" y="11306"/>
                  </a:lnTo>
                  <a:lnTo>
                    <a:pt x="9671" y="11366"/>
                  </a:lnTo>
                  <a:lnTo>
                    <a:pt x="9653" y="11425"/>
                  </a:lnTo>
                  <a:lnTo>
                    <a:pt x="9637" y="11485"/>
                  </a:lnTo>
                  <a:lnTo>
                    <a:pt x="9622" y="11544"/>
                  </a:lnTo>
                  <a:lnTo>
                    <a:pt x="9609" y="11603"/>
                  </a:lnTo>
                  <a:lnTo>
                    <a:pt x="9598" y="11664"/>
                  </a:lnTo>
                  <a:lnTo>
                    <a:pt x="9587" y="11723"/>
                  </a:lnTo>
                  <a:lnTo>
                    <a:pt x="9579" y="11783"/>
                  </a:lnTo>
                  <a:lnTo>
                    <a:pt x="9571" y="11843"/>
                  </a:lnTo>
                  <a:lnTo>
                    <a:pt x="9565" y="11903"/>
                  </a:lnTo>
                  <a:lnTo>
                    <a:pt x="9561" y="11962"/>
                  </a:lnTo>
                  <a:lnTo>
                    <a:pt x="9558" y="12023"/>
                  </a:lnTo>
                  <a:lnTo>
                    <a:pt x="9557" y="12082"/>
                  </a:lnTo>
                  <a:lnTo>
                    <a:pt x="9558" y="12142"/>
                  </a:lnTo>
                  <a:lnTo>
                    <a:pt x="9560" y="12202"/>
                  </a:lnTo>
                  <a:lnTo>
                    <a:pt x="9563" y="12261"/>
                  </a:lnTo>
                  <a:lnTo>
                    <a:pt x="9568" y="12320"/>
                  </a:lnTo>
                  <a:lnTo>
                    <a:pt x="9575" y="12379"/>
                  </a:lnTo>
                  <a:lnTo>
                    <a:pt x="9583" y="12438"/>
                  </a:lnTo>
                  <a:lnTo>
                    <a:pt x="9593" y="12497"/>
                  </a:lnTo>
                  <a:lnTo>
                    <a:pt x="9604" y="12555"/>
                  </a:lnTo>
                  <a:lnTo>
                    <a:pt x="9616" y="12613"/>
                  </a:lnTo>
                  <a:lnTo>
                    <a:pt x="9630" y="12672"/>
                  </a:lnTo>
                  <a:lnTo>
                    <a:pt x="9646" y="12729"/>
                  </a:lnTo>
                  <a:lnTo>
                    <a:pt x="9663" y="12786"/>
                  </a:lnTo>
                  <a:lnTo>
                    <a:pt x="9682" y="12843"/>
                  </a:lnTo>
                  <a:lnTo>
                    <a:pt x="9702" y="12899"/>
                  </a:lnTo>
                  <a:lnTo>
                    <a:pt x="9739" y="12995"/>
                  </a:lnTo>
                  <a:lnTo>
                    <a:pt x="9782" y="13087"/>
                  </a:lnTo>
                  <a:lnTo>
                    <a:pt x="9828" y="13178"/>
                  </a:lnTo>
                  <a:lnTo>
                    <a:pt x="9877" y="13266"/>
                  </a:lnTo>
                  <a:lnTo>
                    <a:pt x="9931" y="13352"/>
                  </a:lnTo>
                  <a:lnTo>
                    <a:pt x="9988" y="13435"/>
                  </a:lnTo>
                  <a:lnTo>
                    <a:pt x="10049" y="13517"/>
                  </a:lnTo>
                  <a:lnTo>
                    <a:pt x="10113" y="13595"/>
                  </a:lnTo>
                  <a:lnTo>
                    <a:pt x="10181" y="13672"/>
                  </a:lnTo>
                  <a:lnTo>
                    <a:pt x="10252" y="13745"/>
                  </a:lnTo>
                  <a:lnTo>
                    <a:pt x="10326" y="13815"/>
                  </a:lnTo>
                  <a:lnTo>
                    <a:pt x="10403" y="13883"/>
                  </a:lnTo>
                  <a:lnTo>
                    <a:pt x="10484" y="13948"/>
                  </a:lnTo>
                  <a:lnTo>
                    <a:pt x="10567" y="14011"/>
                  </a:lnTo>
                  <a:lnTo>
                    <a:pt x="10654" y="14070"/>
                  </a:lnTo>
                  <a:lnTo>
                    <a:pt x="10742" y="14127"/>
                  </a:lnTo>
                  <a:lnTo>
                    <a:pt x="10834" y="14181"/>
                  </a:lnTo>
                  <a:lnTo>
                    <a:pt x="10929" y="14231"/>
                  </a:lnTo>
                  <a:lnTo>
                    <a:pt x="11025" y="14278"/>
                  </a:lnTo>
                  <a:lnTo>
                    <a:pt x="11125" y="14322"/>
                  </a:lnTo>
                  <a:lnTo>
                    <a:pt x="11226" y="14364"/>
                  </a:lnTo>
                  <a:lnTo>
                    <a:pt x="11330" y="14401"/>
                  </a:lnTo>
                  <a:lnTo>
                    <a:pt x="11435" y="14436"/>
                  </a:lnTo>
                  <a:lnTo>
                    <a:pt x="11544" y="14466"/>
                  </a:lnTo>
                  <a:lnTo>
                    <a:pt x="11654" y="14494"/>
                  </a:lnTo>
                  <a:lnTo>
                    <a:pt x="11765" y="14519"/>
                  </a:lnTo>
                  <a:lnTo>
                    <a:pt x="11879" y="14539"/>
                  </a:lnTo>
                  <a:lnTo>
                    <a:pt x="11995" y="14556"/>
                  </a:lnTo>
                  <a:lnTo>
                    <a:pt x="12111" y="14569"/>
                  </a:lnTo>
                  <a:lnTo>
                    <a:pt x="12230" y="14578"/>
                  </a:lnTo>
                  <a:lnTo>
                    <a:pt x="12350" y="14584"/>
                  </a:lnTo>
                  <a:lnTo>
                    <a:pt x="12472" y="14586"/>
                  </a:lnTo>
                  <a:lnTo>
                    <a:pt x="12551" y="14585"/>
                  </a:lnTo>
                  <a:lnTo>
                    <a:pt x="12632" y="14583"/>
                  </a:lnTo>
                  <a:lnTo>
                    <a:pt x="12712" y="14579"/>
                  </a:lnTo>
                  <a:lnTo>
                    <a:pt x="12792" y="14573"/>
                  </a:lnTo>
                  <a:lnTo>
                    <a:pt x="12872" y="14566"/>
                  </a:lnTo>
                  <a:lnTo>
                    <a:pt x="12951" y="14557"/>
                  </a:lnTo>
                  <a:lnTo>
                    <a:pt x="13032" y="14546"/>
                  </a:lnTo>
                  <a:lnTo>
                    <a:pt x="13111" y="14534"/>
                  </a:lnTo>
                  <a:lnTo>
                    <a:pt x="13191" y="14520"/>
                  </a:lnTo>
                  <a:lnTo>
                    <a:pt x="13270" y="14505"/>
                  </a:lnTo>
                  <a:lnTo>
                    <a:pt x="13350" y="14487"/>
                  </a:lnTo>
                  <a:lnTo>
                    <a:pt x="13429" y="14468"/>
                  </a:lnTo>
                  <a:lnTo>
                    <a:pt x="13508" y="14448"/>
                  </a:lnTo>
                  <a:lnTo>
                    <a:pt x="13586" y="14426"/>
                  </a:lnTo>
                  <a:lnTo>
                    <a:pt x="13665" y="14402"/>
                  </a:lnTo>
                  <a:lnTo>
                    <a:pt x="13743" y="14377"/>
                  </a:lnTo>
                  <a:lnTo>
                    <a:pt x="13832" y="14347"/>
                  </a:lnTo>
                  <a:lnTo>
                    <a:pt x="13920" y="14313"/>
                  </a:lnTo>
                  <a:lnTo>
                    <a:pt x="14007" y="14279"/>
                  </a:lnTo>
                  <a:lnTo>
                    <a:pt x="14092" y="14243"/>
                  </a:lnTo>
                  <a:lnTo>
                    <a:pt x="14177" y="14206"/>
                  </a:lnTo>
                  <a:lnTo>
                    <a:pt x="14259" y="14165"/>
                  </a:lnTo>
                  <a:lnTo>
                    <a:pt x="14341" y="14124"/>
                  </a:lnTo>
                  <a:lnTo>
                    <a:pt x="14421" y="14081"/>
                  </a:lnTo>
                  <a:lnTo>
                    <a:pt x="14500" y="14037"/>
                  </a:lnTo>
                  <a:lnTo>
                    <a:pt x="14577" y="13990"/>
                  </a:lnTo>
                  <a:lnTo>
                    <a:pt x="14652" y="13942"/>
                  </a:lnTo>
                  <a:lnTo>
                    <a:pt x="14727" y="13893"/>
                  </a:lnTo>
                  <a:lnTo>
                    <a:pt x="14800" y="13843"/>
                  </a:lnTo>
                  <a:lnTo>
                    <a:pt x="14871" y="13790"/>
                  </a:lnTo>
                  <a:lnTo>
                    <a:pt x="14941" y="13736"/>
                  </a:lnTo>
                  <a:lnTo>
                    <a:pt x="15009" y="13681"/>
                  </a:lnTo>
                  <a:lnTo>
                    <a:pt x="15075" y="13624"/>
                  </a:lnTo>
                  <a:lnTo>
                    <a:pt x="15139" y="13566"/>
                  </a:lnTo>
                  <a:lnTo>
                    <a:pt x="15203" y="13507"/>
                  </a:lnTo>
                  <a:lnTo>
                    <a:pt x="15264" y="13446"/>
                  </a:lnTo>
                  <a:lnTo>
                    <a:pt x="15322" y="13384"/>
                  </a:lnTo>
                  <a:lnTo>
                    <a:pt x="15380" y="13320"/>
                  </a:lnTo>
                  <a:lnTo>
                    <a:pt x="15436" y="13256"/>
                  </a:lnTo>
                  <a:lnTo>
                    <a:pt x="15489" y="13191"/>
                  </a:lnTo>
                  <a:lnTo>
                    <a:pt x="15541" y="13124"/>
                  </a:lnTo>
                  <a:lnTo>
                    <a:pt x="15590" y="13056"/>
                  </a:lnTo>
                  <a:lnTo>
                    <a:pt x="15638" y="12986"/>
                  </a:lnTo>
                  <a:lnTo>
                    <a:pt x="15684" y="12917"/>
                  </a:lnTo>
                  <a:lnTo>
                    <a:pt x="15727" y="12846"/>
                  </a:lnTo>
                  <a:lnTo>
                    <a:pt x="15768" y="12773"/>
                  </a:lnTo>
                  <a:lnTo>
                    <a:pt x="15806" y="12701"/>
                  </a:lnTo>
                  <a:lnTo>
                    <a:pt x="15844" y="12626"/>
                  </a:lnTo>
                  <a:lnTo>
                    <a:pt x="15873" y="12562"/>
                  </a:lnTo>
                  <a:lnTo>
                    <a:pt x="15901" y="12498"/>
                  </a:lnTo>
                  <a:lnTo>
                    <a:pt x="15926" y="12432"/>
                  </a:lnTo>
                  <a:lnTo>
                    <a:pt x="15950" y="12367"/>
                  </a:lnTo>
                  <a:lnTo>
                    <a:pt x="15971" y="12300"/>
                  </a:lnTo>
                  <a:lnTo>
                    <a:pt x="15991" y="12235"/>
                  </a:lnTo>
                  <a:lnTo>
                    <a:pt x="16008" y="12169"/>
                  </a:lnTo>
                  <a:lnTo>
                    <a:pt x="16025" y="12102"/>
                  </a:lnTo>
                  <a:lnTo>
                    <a:pt x="16039" y="12036"/>
                  </a:lnTo>
                  <a:lnTo>
                    <a:pt x="16051" y="11969"/>
                  </a:lnTo>
                  <a:lnTo>
                    <a:pt x="16062" y="11902"/>
                  </a:lnTo>
                  <a:lnTo>
                    <a:pt x="16070" y="11836"/>
                  </a:lnTo>
                  <a:lnTo>
                    <a:pt x="16077" y="11768"/>
                  </a:lnTo>
                  <a:lnTo>
                    <a:pt x="16081" y="11702"/>
                  </a:lnTo>
                  <a:lnTo>
                    <a:pt x="16085" y="11635"/>
                  </a:lnTo>
                  <a:lnTo>
                    <a:pt x="16086" y="11568"/>
                  </a:lnTo>
                  <a:lnTo>
                    <a:pt x="16095" y="11568"/>
                  </a:lnTo>
                  <a:lnTo>
                    <a:pt x="16095" y="2515"/>
                  </a:lnTo>
                  <a:lnTo>
                    <a:pt x="16095" y="2012"/>
                  </a:lnTo>
                  <a:lnTo>
                    <a:pt x="16095" y="1006"/>
                  </a:lnTo>
                  <a:lnTo>
                    <a:pt x="16095" y="978"/>
                  </a:lnTo>
                  <a:lnTo>
                    <a:pt x="16093" y="951"/>
                  </a:lnTo>
                  <a:lnTo>
                    <a:pt x="16092" y="923"/>
                  </a:lnTo>
                  <a:lnTo>
                    <a:pt x="16089" y="895"/>
                  </a:lnTo>
                  <a:lnTo>
                    <a:pt x="16085" y="868"/>
                  </a:lnTo>
                  <a:lnTo>
                    <a:pt x="16081" y="841"/>
                  </a:lnTo>
                  <a:lnTo>
                    <a:pt x="16077" y="814"/>
                  </a:lnTo>
                  <a:lnTo>
                    <a:pt x="16071" y="787"/>
                  </a:lnTo>
                  <a:lnTo>
                    <a:pt x="16065" y="761"/>
                  </a:lnTo>
                  <a:lnTo>
                    <a:pt x="16058" y="734"/>
                  </a:lnTo>
                  <a:lnTo>
                    <a:pt x="16050" y="708"/>
                  </a:lnTo>
                  <a:lnTo>
                    <a:pt x="16042" y="682"/>
                  </a:lnTo>
                  <a:lnTo>
                    <a:pt x="16032" y="657"/>
                  </a:lnTo>
                  <a:lnTo>
                    <a:pt x="16023" y="631"/>
                  </a:lnTo>
                  <a:lnTo>
                    <a:pt x="16012" y="606"/>
                  </a:lnTo>
                  <a:lnTo>
                    <a:pt x="16000" y="581"/>
                  </a:lnTo>
                  <a:lnTo>
                    <a:pt x="15988" y="556"/>
                  </a:lnTo>
                  <a:lnTo>
                    <a:pt x="15976" y="532"/>
                  </a:lnTo>
                  <a:lnTo>
                    <a:pt x="15963" y="508"/>
                  </a:lnTo>
                  <a:lnTo>
                    <a:pt x="15949" y="485"/>
                  </a:lnTo>
                  <a:lnTo>
                    <a:pt x="15935" y="462"/>
                  </a:lnTo>
                  <a:lnTo>
                    <a:pt x="15920" y="439"/>
                  </a:lnTo>
                  <a:lnTo>
                    <a:pt x="15904" y="416"/>
                  </a:lnTo>
                  <a:lnTo>
                    <a:pt x="15888" y="394"/>
                  </a:lnTo>
                  <a:lnTo>
                    <a:pt x="15871" y="373"/>
                  </a:lnTo>
                  <a:lnTo>
                    <a:pt x="15854" y="352"/>
                  </a:lnTo>
                  <a:lnTo>
                    <a:pt x="15834" y="332"/>
                  </a:lnTo>
                  <a:lnTo>
                    <a:pt x="15816" y="312"/>
                  </a:lnTo>
                  <a:lnTo>
                    <a:pt x="15797" y="292"/>
                  </a:lnTo>
                  <a:lnTo>
                    <a:pt x="15777" y="273"/>
                  </a:lnTo>
                  <a:lnTo>
                    <a:pt x="15756" y="254"/>
                  </a:lnTo>
                  <a:lnTo>
                    <a:pt x="15735" y="2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98" name="íSļîdé">
              <a:extLst>
                <a:ext uri="{FF2B5EF4-FFF2-40B4-BE49-F238E27FC236}">
                  <a16:creationId xmlns:a16="http://schemas.microsoft.com/office/drawing/2014/main" id="{66523FAA-CFE1-4E83-B2BA-0AB32E1EAA31}"/>
                </a:ext>
              </a:extLst>
            </p:cNvPr>
            <p:cNvSpPr/>
            <p:nvPr/>
          </p:nvSpPr>
          <p:spPr bwMode="auto">
            <a:xfrm>
              <a:off x="7299357" y="2508789"/>
              <a:ext cx="613338" cy="401842"/>
            </a:xfrm>
            <a:custGeom>
              <a:avLst/>
              <a:gdLst>
                <a:gd name="T0" fmla="*/ 8477 w 16095"/>
                <a:gd name="T1" fmla="*/ 6935 h 10545"/>
                <a:gd name="T2" fmla="*/ 8249 w 16095"/>
                <a:gd name="T3" fmla="*/ 7011 h 10545"/>
                <a:gd name="T4" fmla="*/ 8006 w 16095"/>
                <a:gd name="T5" fmla="*/ 7030 h 10545"/>
                <a:gd name="T6" fmla="*/ 7768 w 16095"/>
                <a:gd name="T7" fmla="*/ 6992 h 10545"/>
                <a:gd name="T8" fmla="*/ 7547 w 16095"/>
                <a:gd name="T9" fmla="*/ 6897 h 10545"/>
                <a:gd name="T10" fmla="*/ 1006 w 16095"/>
                <a:gd name="T11" fmla="*/ 2010 h 10545"/>
                <a:gd name="T12" fmla="*/ 1038 w 16095"/>
                <a:gd name="T13" fmla="*/ 1758 h 10545"/>
                <a:gd name="T14" fmla="*/ 1152 w 16095"/>
                <a:gd name="T15" fmla="*/ 1488 h 10545"/>
                <a:gd name="T16" fmla="*/ 1336 w 16095"/>
                <a:gd name="T17" fmla="*/ 1265 h 10545"/>
                <a:gd name="T18" fmla="*/ 1576 w 16095"/>
                <a:gd name="T19" fmla="*/ 1104 h 10545"/>
                <a:gd name="T20" fmla="*/ 1859 w 16095"/>
                <a:gd name="T21" fmla="*/ 1016 h 10545"/>
                <a:gd name="T22" fmla="*/ 14186 w 16095"/>
                <a:gd name="T23" fmla="*/ 1009 h 10545"/>
                <a:gd name="T24" fmla="*/ 14474 w 16095"/>
                <a:gd name="T25" fmla="*/ 1084 h 10545"/>
                <a:gd name="T26" fmla="*/ 14723 w 16095"/>
                <a:gd name="T27" fmla="*/ 1234 h 10545"/>
                <a:gd name="T28" fmla="*/ 14917 w 16095"/>
                <a:gd name="T29" fmla="*/ 1447 h 10545"/>
                <a:gd name="T30" fmla="*/ 15044 w 16095"/>
                <a:gd name="T31" fmla="*/ 1710 h 10545"/>
                <a:gd name="T32" fmla="*/ 15089 w 16095"/>
                <a:gd name="T33" fmla="*/ 2009 h 10545"/>
                <a:gd name="T34" fmla="*/ 15089 w 16095"/>
                <a:gd name="T35" fmla="*/ 8535 h 10545"/>
                <a:gd name="T36" fmla="*/ 15044 w 16095"/>
                <a:gd name="T37" fmla="*/ 8835 h 10545"/>
                <a:gd name="T38" fmla="*/ 14917 w 16095"/>
                <a:gd name="T39" fmla="*/ 9097 h 10545"/>
                <a:gd name="T40" fmla="*/ 14723 w 16095"/>
                <a:gd name="T41" fmla="*/ 9311 h 10545"/>
                <a:gd name="T42" fmla="*/ 14474 w 16095"/>
                <a:gd name="T43" fmla="*/ 9461 h 10545"/>
                <a:gd name="T44" fmla="*/ 14186 w 16095"/>
                <a:gd name="T45" fmla="*/ 9535 h 10545"/>
                <a:gd name="T46" fmla="*/ 1859 w 16095"/>
                <a:gd name="T47" fmla="*/ 9529 h 10545"/>
                <a:gd name="T48" fmla="*/ 1576 w 16095"/>
                <a:gd name="T49" fmla="*/ 9441 h 10545"/>
                <a:gd name="T50" fmla="*/ 1336 w 16095"/>
                <a:gd name="T51" fmla="*/ 9280 h 10545"/>
                <a:gd name="T52" fmla="*/ 1152 w 16095"/>
                <a:gd name="T53" fmla="*/ 9057 h 10545"/>
                <a:gd name="T54" fmla="*/ 1038 w 16095"/>
                <a:gd name="T55" fmla="*/ 8786 h 10545"/>
                <a:gd name="T56" fmla="*/ 4945 w 16095"/>
                <a:gd name="T57" fmla="*/ 5587 h 10545"/>
                <a:gd name="T58" fmla="*/ 7271 w 16095"/>
                <a:gd name="T59" fmla="*/ 7318 h 10545"/>
                <a:gd name="T60" fmla="*/ 7435 w 16095"/>
                <a:gd name="T61" fmla="*/ 7403 h 10545"/>
                <a:gd name="T62" fmla="*/ 7605 w 16095"/>
                <a:gd name="T63" fmla="*/ 7466 h 10545"/>
                <a:gd name="T64" fmla="*/ 7780 w 16095"/>
                <a:gd name="T65" fmla="*/ 7509 h 10545"/>
                <a:gd name="T66" fmla="*/ 7958 w 16095"/>
                <a:gd name="T67" fmla="*/ 7530 h 10545"/>
                <a:gd name="T68" fmla="*/ 8137 w 16095"/>
                <a:gd name="T69" fmla="*/ 7530 h 10545"/>
                <a:gd name="T70" fmla="*/ 8315 w 16095"/>
                <a:gd name="T71" fmla="*/ 7509 h 10545"/>
                <a:gd name="T72" fmla="*/ 8490 w 16095"/>
                <a:gd name="T73" fmla="*/ 7466 h 10545"/>
                <a:gd name="T74" fmla="*/ 8660 w 16095"/>
                <a:gd name="T75" fmla="*/ 7403 h 10545"/>
                <a:gd name="T76" fmla="*/ 8823 w 16095"/>
                <a:gd name="T77" fmla="*/ 7318 h 10545"/>
                <a:gd name="T78" fmla="*/ 11150 w 16095"/>
                <a:gd name="T79" fmla="*/ 5587 h 10545"/>
                <a:gd name="T80" fmla="*/ 14083 w 16095"/>
                <a:gd name="T81" fmla="*/ 0 h 10545"/>
                <a:gd name="T82" fmla="*/ 1509 w 16095"/>
                <a:gd name="T83" fmla="*/ 63 h 10545"/>
                <a:gd name="T84" fmla="*/ 969 w 16095"/>
                <a:gd name="T85" fmla="*/ 291 h 10545"/>
                <a:gd name="T86" fmla="*/ 523 w 16095"/>
                <a:gd name="T87" fmla="*/ 658 h 10545"/>
                <a:gd name="T88" fmla="*/ 198 w 16095"/>
                <a:gd name="T89" fmla="*/ 1138 h 10545"/>
                <a:gd name="T90" fmla="*/ 23 w 16095"/>
                <a:gd name="T91" fmla="*/ 1702 h 10545"/>
                <a:gd name="T92" fmla="*/ 10 w 16095"/>
                <a:gd name="T93" fmla="*/ 8741 h 10545"/>
                <a:gd name="T94" fmla="*/ 158 w 16095"/>
                <a:gd name="T95" fmla="*/ 9318 h 10545"/>
                <a:gd name="T96" fmla="*/ 460 w 16095"/>
                <a:gd name="T97" fmla="*/ 9814 h 10545"/>
                <a:gd name="T98" fmla="*/ 887 w 16095"/>
                <a:gd name="T99" fmla="*/ 10202 h 10545"/>
                <a:gd name="T100" fmla="*/ 1413 w 16095"/>
                <a:gd name="T101" fmla="*/ 10455 h 10545"/>
                <a:gd name="T102" fmla="*/ 2012 w 16095"/>
                <a:gd name="T103" fmla="*/ 10545 h 10545"/>
                <a:gd name="T104" fmla="*/ 14586 w 16095"/>
                <a:gd name="T105" fmla="*/ 10482 h 10545"/>
                <a:gd name="T106" fmla="*/ 15126 w 16095"/>
                <a:gd name="T107" fmla="*/ 10254 h 10545"/>
                <a:gd name="T108" fmla="*/ 15572 w 16095"/>
                <a:gd name="T109" fmla="*/ 9886 h 10545"/>
                <a:gd name="T110" fmla="*/ 15897 w 16095"/>
                <a:gd name="T111" fmla="*/ 9407 h 10545"/>
                <a:gd name="T112" fmla="*/ 16072 w 16095"/>
                <a:gd name="T113" fmla="*/ 8842 h 10545"/>
                <a:gd name="T114" fmla="*/ 16085 w 16095"/>
                <a:gd name="T115" fmla="*/ 1803 h 10545"/>
                <a:gd name="T116" fmla="*/ 15937 w 16095"/>
                <a:gd name="T117" fmla="*/ 1227 h 10545"/>
                <a:gd name="T118" fmla="*/ 15635 w 16095"/>
                <a:gd name="T119" fmla="*/ 731 h 10545"/>
                <a:gd name="T120" fmla="*/ 15208 w 16095"/>
                <a:gd name="T121" fmla="*/ 343 h 10545"/>
                <a:gd name="T122" fmla="*/ 14682 w 16095"/>
                <a:gd name="T123" fmla="*/ 90 h 10545"/>
                <a:gd name="T124" fmla="*/ 14083 w 16095"/>
                <a:gd name="T125" fmla="*/ 0 h 10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95" h="10545">
                  <a:moveTo>
                    <a:pt x="8651" y="6830"/>
                  </a:moveTo>
                  <a:lnTo>
                    <a:pt x="8618" y="6853"/>
                  </a:lnTo>
                  <a:lnTo>
                    <a:pt x="8584" y="6876"/>
                  </a:lnTo>
                  <a:lnTo>
                    <a:pt x="8548" y="6897"/>
                  </a:lnTo>
                  <a:lnTo>
                    <a:pt x="8513" y="6917"/>
                  </a:lnTo>
                  <a:lnTo>
                    <a:pt x="8477" y="6935"/>
                  </a:lnTo>
                  <a:lnTo>
                    <a:pt x="8441" y="6951"/>
                  </a:lnTo>
                  <a:lnTo>
                    <a:pt x="8404" y="6966"/>
                  </a:lnTo>
                  <a:lnTo>
                    <a:pt x="8365" y="6980"/>
                  </a:lnTo>
                  <a:lnTo>
                    <a:pt x="8327" y="6992"/>
                  </a:lnTo>
                  <a:lnTo>
                    <a:pt x="8288" y="7002"/>
                  </a:lnTo>
                  <a:lnTo>
                    <a:pt x="8249" y="7011"/>
                  </a:lnTo>
                  <a:lnTo>
                    <a:pt x="8209" y="7018"/>
                  </a:lnTo>
                  <a:lnTo>
                    <a:pt x="8169" y="7023"/>
                  </a:lnTo>
                  <a:lnTo>
                    <a:pt x="8129" y="7027"/>
                  </a:lnTo>
                  <a:lnTo>
                    <a:pt x="8089" y="7030"/>
                  </a:lnTo>
                  <a:lnTo>
                    <a:pt x="8048" y="7031"/>
                  </a:lnTo>
                  <a:lnTo>
                    <a:pt x="8006" y="7030"/>
                  </a:lnTo>
                  <a:lnTo>
                    <a:pt x="7966" y="7027"/>
                  </a:lnTo>
                  <a:lnTo>
                    <a:pt x="7926" y="7023"/>
                  </a:lnTo>
                  <a:lnTo>
                    <a:pt x="7886" y="7018"/>
                  </a:lnTo>
                  <a:lnTo>
                    <a:pt x="7845" y="7011"/>
                  </a:lnTo>
                  <a:lnTo>
                    <a:pt x="7806" y="7002"/>
                  </a:lnTo>
                  <a:lnTo>
                    <a:pt x="7768" y="6992"/>
                  </a:lnTo>
                  <a:lnTo>
                    <a:pt x="7730" y="6980"/>
                  </a:lnTo>
                  <a:lnTo>
                    <a:pt x="7691" y="6966"/>
                  </a:lnTo>
                  <a:lnTo>
                    <a:pt x="7654" y="6951"/>
                  </a:lnTo>
                  <a:lnTo>
                    <a:pt x="7618" y="6935"/>
                  </a:lnTo>
                  <a:lnTo>
                    <a:pt x="7582" y="6917"/>
                  </a:lnTo>
                  <a:lnTo>
                    <a:pt x="7547" y="6897"/>
                  </a:lnTo>
                  <a:lnTo>
                    <a:pt x="7511" y="6876"/>
                  </a:lnTo>
                  <a:lnTo>
                    <a:pt x="7477" y="6853"/>
                  </a:lnTo>
                  <a:lnTo>
                    <a:pt x="7444" y="6830"/>
                  </a:lnTo>
                  <a:lnTo>
                    <a:pt x="5364" y="5273"/>
                  </a:lnTo>
                  <a:lnTo>
                    <a:pt x="4945" y="4958"/>
                  </a:lnTo>
                  <a:lnTo>
                    <a:pt x="1006" y="2010"/>
                  </a:lnTo>
                  <a:lnTo>
                    <a:pt x="1006" y="2009"/>
                  </a:lnTo>
                  <a:lnTo>
                    <a:pt x="1007" y="1957"/>
                  </a:lnTo>
                  <a:lnTo>
                    <a:pt x="1011" y="1906"/>
                  </a:lnTo>
                  <a:lnTo>
                    <a:pt x="1018" y="1856"/>
                  </a:lnTo>
                  <a:lnTo>
                    <a:pt x="1026" y="1807"/>
                  </a:lnTo>
                  <a:lnTo>
                    <a:pt x="1038" y="1758"/>
                  </a:lnTo>
                  <a:lnTo>
                    <a:pt x="1051" y="1710"/>
                  </a:lnTo>
                  <a:lnTo>
                    <a:pt x="1067" y="1663"/>
                  </a:lnTo>
                  <a:lnTo>
                    <a:pt x="1085" y="1618"/>
                  </a:lnTo>
                  <a:lnTo>
                    <a:pt x="1106" y="1574"/>
                  </a:lnTo>
                  <a:lnTo>
                    <a:pt x="1128" y="1531"/>
                  </a:lnTo>
                  <a:lnTo>
                    <a:pt x="1152" y="1488"/>
                  </a:lnTo>
                  <a:lnTo>
                    <a:pt x="1178" y="1447"/>
                  </a:lnTo>
                  <a:lnTo>
                    <a:pt x="1206" y="1408"/>
                  </a:lnTo>
                  <a:lnTo>
                    <a:pt x="1236" y="1370"/>
                  </a:lnTo>
                  <a:lnTo>
                    <a:pt x="1267" y="1334"/>
                  </a:lnTo>
                  <a:lnTo>
                    <a:pt x="1301" y="1299"/>
                  </a:lnTo>
                  <a:lnTo>
                    <a:pt x="1336" y="1265"/>
                  </a:lnTo>
                  <a:lnTo>
                    <a:pt x="1372" y="1234"/>
                  </a:lnTo>
                  <a:lnTo>
                    <a:pt x="1410" y="1204"/>
                  </a:lnTo>
                  <a:lnTo>
                    <a:pt x="1450" y="1176"/>
                  </a:lnTo>
                  <a:lnTo>
                    <a:pt x="1491" y="1150"/>
                  </a:lnTo>
                  <a:lnTo>
                    <a:pt x="1533" y="1126"/>
                  </a:lnTo>
                  <a:lnTo>
                    <a:pt x="1576" y="1104"/>
                  </a:lnTo>
                  <a:lnTo>
                    <a:pt x="1621" y="1084"/>
                  </a:lnTo>
                  <a:lnTo>
                    <a:pt x="1666" y="1066"/>
                  </a:lnTo>
                  <a:lnTo>
                    <a:pt x="1713" y="1049"/>
                  </a:lnTo>
                  <a:lnTo>
                    <a:pt x="1760" y="1036"/>
                  </a:lnTo>
                  <a:lnTo>
                    <a:pt x="1810" y="1024"/>
                  </a:lnTo>
                  <a:lnTo>
                    <a:pt x="1859" y="1016"/>
                  </a:lnTo>
                  <a:lnTo>
                    <a:pt x="1909" y="1009"/>
                  </a:lnTo>
                  <a:lnTo>
                    <a:pt x="1961" y="1005"/>
                  </a:lnTo>
                  <a:lnTo>
                    <a:pt x="2012" y="1004"/>
                  </a:lnTo>
                  <a:lnTo>
                    <a:pt x="14083" y="1004"/>
                  </a:lnTo>
                  <a:lnTo>
                    <a:pt x="14134" y="1005"/>
                  </a:lnTo>
                  <a:lnTo>
                    <a:pt x="14186" y="1009"/>
                  </a:lnTo>
                  <a:lnTo>
                    <a:pt x="14236" y="1016"/>
                  </a:lnTo>
                  <a:lnTo>
                    <a:pt x="14285" y="1024"/>
                  </a:lnTo>
                  <a:lnTo>
                    <a:pt x="14335" y="1036"/>
                  </a:lnTo>
                  <a:lnTo>
                    <a:pt x="14382" y="1049"/>
                  </a:lnTo>
                  <a:lnTo>
                    <a:pt x="14428" y="1066"/>
                  </a:lnTo>
                  <a:lnTo>
                    <a:pt x="14474" y="1084"/>
                  </a:lnTo>
                  <a:lnTo>
                    <a:pt x="14519" y="1104"/>
                  </a:lnTo>
                  <a:lnTo>
                    <a:pt x="14562" y="1126"/>
                  </a:lnTo>
                  <a:lnTo>
                    <a:pt x="14604" y="1150"/>
                  </a:lnTo>
                  <a:lnTo>
                    <a:pt x="14645" y="1176"/>
                  </a:lnTo>
                  <a:lnTo>
                    <a:pt x="14685" y="1204"/>
                  </a:lnTo>
                  <a:lnTo>
                    <a:pt x="14723" y="1234"/>
                  </a:lnTo>
                  <a:lnTo>
                    <a:pt x="14759" y="1265"/>
                  </a:lnTo>
                  <a:lnTo>
                    <a:pt x="14794" y="1299"/>
                  </a:lnTo>
                  <a:lnTo>
                    <a:pt x="14828" y="1334"/>
                  </a:lnTo>
                  <a:lnTo>
                    <a:pt x="14859" y="1370"/>
                  </a:lnTo>
                  <a:lnTo>
                    <a:pt x="14889" y="1408"/>
                  </a:lnTo>
                  <a:lnTo>
                    <a:pt x="14917" y="1447"/>
                  </a:lnTo>
                  <a:lnTo>
                    <a:pt x="14943" y="1488"/>
                  </a:lnTo>
                  <a:lnTo>
                    <a:pt x="14967" y="1531"/>
                  </a:lnTo>
                  <a:lnTo>
                    <a:pt x="14989" y="1574"/>
                  </a:lnTo>
                  <a:lnTo>
                    <a:pt x="15010" y="1618"/>
                  </a:lnTo>
                  <a:lnTo>
                    <a:pt x="15028" y="1663"/>
                  </a:lnTo>
                  <a:lnTo>
                    <a:pt x="15044" y="1710"/>
                  </a:lnTo>
                  <a:lnTo>
                    <a:pt x="15058" y="1758"/>
                  </a:lnTo>
                  <a:lnTo>
                    <a:pt x="15069" y="1807"/>
                  </a:lnTo>
                  <a:lnTo>
                    <a:pt x="15078" y="1856"/>
                  </a:lnTo>
                  <a:lnTo>
                    <a:pt x="15084" y="1906"/>
                  </a:lnTo>
                  <a:lnTo>
                    <a:pt x="15088" y="1957"/>
                  </a:lnTo>
                  <a:lnTo>
                    <a:pt x="15089" y="2009"/>
                  </a:lnTo>
                  <a:lnTo>
                    <a:pt x="8651" y="6830"/>
                  </a:lnTo>
                  <a:close/>
                  <a:moveTo>
                    <a:pt x="15089" y="7908"/>
                  </a:moveTo>
                  <a:lnTo>
                    <a:pt x="11569" y="5273"/>
                  </a:lnTo>
                  <a:lnTo>
                    <a:pt x="15089" y="2636"/>
                  </a:lnTo>
                  <a:lnTo>
                    <a:pt x="15089" y="7908"/>
                  </a:lnTo>
                  <a:close/>
                  <a:moveTo>
                    <a:pt x="15089" y="8535"/>
                  </a:moveTo>
                  <a:lnTo>
                    <a:pt x="15088" y="8588"/>
                  </a:lnTo>
                  <a:lnTo>
                    <a:pt x="15084" y="8639"/>
                  </a:lnTo>
                  <a:lnTo>
                    <a:pt x="15078" y="8689"/>
                  </a:lnTo>
                  <a:lnTo>
                    <a:pt x="15069" y="8738"/>
                  </a:lnTo>
                  <a:lnTo>
                    <a:pt x="15058" y="8786"/>
                  </a:lnTo>
                  <a:lnTo>
                    <a:pt x="15044" y="8835"/>
                  </a:lnTo>
                  <a:lnTo>
                    <a:pt x="15028" y="8881"/>
                  </a:lnTo>
                  <a:lnTo>
                    <a:pt x="15010" y="8927"/>
                  </a:lnTo>
                  <a:lnTo>
                    <a:pt x="14989" y="8971"/>
                  </a:lnTo>
                  <a:lnTo>
                    <a:pt x="14967" y="9014"/>
                  </a:lnTo>
                  <a:lnTo>
                    <a:pt x="14943" y="9057"/>
                  </a:lnTo>
                  <a:lnTo>
                    <a:pt x="14917" y="9097"/>
                  </a:lnTo>
                  <a:lnTo>
                    <a:pt x="14889" y="9137"/>
                  </a:lnTo>
                  <a:lnTo>
                    <a:pt x="14859" y="9174"/>
                  </a:lnTo>
                  <a:lnTo>
                    <a:pt x="14828" y="9211"/>
                  </a:lnTo>
                  <a:lnTo>
                    <a:pt x="14794" y="9246"/>
                  </a:lnTo>
                  <a:lnTo>
                    <a:pt x="14759" y="9280"/>
                  </a:lnTo>
                  <a:lnTo>
                    <a:pt x="14723" y="9311"/>
                  </a:lnTo>
                  <a:lnTo>
                    <a:pt x="14685" y="9341"/>
                  </a:lnTo>
                  <a:lnTo>
                    <a:pt x="14645" y="9369"/>
                  </a:lnTo>
                  <a:lnTo>
                    <a:pt x="14604" y="9395"/>
                  </a:lnTo>
                  <a:lnTo>
                    <a:pt x="14562" y="9419"/>
                  </a:lnTo>
                  <a:lnTo>
                    <a:pt x="14519" y="9441"/>
                  </a:lnTo>
                  <a:lnTo>
                    <a:pt x="14474" y="9461"/>
                  </a:lnTo>
                  <a:lnTo>
                    <a:pt x="14428" y="9479"/>
                  </a:lnTo>
                  <a:lnTo>
                    <a:pt x="14382" y="9496"/>
                  </a:lnTo>
                  <a:lnTo>
                    <a:pt x="14335" y="9509"/>
                  </a:lnTo>
                  <a:lnTo>
                    <a:pt x="14285" y="9520"/>
                  </a:lnTo>
                  <a:lnTo>
                    <a:pt x="14236" y="9529"/>
                  </a:lnTo>
                  <a:lnTo>
                    <a:pt x="14186" y="9535"/>
                  </a:lnTo>
                  <a:lnTo>
                    <a:pt x="14134" y="9539"/>
                  </a:lnTo>
                  <a:lnTo>
                    <a:pt x="14083" y="9540"/>
                  </a:lnTo>
                  <a:lnTo>
                    <a:pt x="2012" y="9540"/>
                  </a:lnTo>
                  <a:lnTo>
                    <a:pt x="1961" y="9539"/>
                  </a:lnTo>
                  <a:lnTo>
                    <a:pt x="1909" y="9535"/>
                  </a:lnTo>
                  <a:lnTo>
                    <a:pt x="1859" y="9529"/>
                  </a:lnTo>
                  <a:lnTo>
                    <a:pt x="1810" y="9520"/>
                  </a:lnTo>
                  <a:lnTo>
                    <a:pt x="1760" y="9509"/>
                  </a:lnTo>
                  <a:lnTo>
                    <a:pt x="1713" y="9496"/>
                  </a:lnTo>
                  <a:lnTo>
                    <a:pt x="1666" y="9479"/>
                  </a:lnTo>
                  <a:lnTo>
                    <a:pt x="1621" y="9461"/>
                  </a:lnTo>
                  <a:lnTo>
                    <a:pt x="1576" y="9441"/>
                  </a:lnTo>
                  <a:lnTo>
                    <a:pt x="1533" y="9419"/>
                  </a:lnTo>
                  <a:lnTo>
                    <a:pt x="1491" y="9395"/>
                  </a:lnTo>
                  <a:lnTo>
                    <a:pt x="1450" y="9369"/>
                  </a:lnTo>
                  <a:lnTo>
                    <a:pt x="1410" y="9341"/>
                  </a:lnTo>
                  <a:lnTo>
                    <a:pt x="1372" y="9311"/>
                  </a:lnTo>
                  <a:lnTo>
                    <a:pt x="1336" y="9280"/>
                  </a:lnTo>
                  <a:lnTo>
                    <a:pt x="1301" y="9246"/>
                  </a:lnTo>
                  <a:lnTo>
                    <a:pt x="1267" y="9211"/>
                  </a:lnTo>
                  <a:lnTo>
                    <a:pt x="1236" y="9174"/>
                  </a:lnTo>
                  <a:lnTo>
                    <a:pt x="1206" y="9137"/>
                  </a:lnTo>
                  <a:lnTo>
                    <a:pt x="1178" y="9097"/>
                  </a:lnTo>
                  <a:lnTo>
                    <a:pt x="1152" y="9057"/>
                  </a:lnTo>
                  <a:lnTo>
                    <a:pt x="1128" y="9014"/>
                  </a:lnTo>
                  <a:lnTo>
                    <a:pt x="1106" y="8971"/>
                  </a:lnTo>
                  <a:lnTo>
                    <a:pt x="1085" y="8927"/>
                  </a:lnTo>
                  <a:lnTo>
                    <a:pt x="1067" y="8881"/>
                  </a:lnTo>
                  <a:lnTo>
                    <a:pt x="1051" y="8835"/>
                  </a:lnTo>
                  <a:lnTo>
                    <a:pt x="1038" y="8786"/>
                  </a:lnTo>
                  <a:lnTo>
                    <a:pt x="1026" y="8738"/>
                  </a:lnTo>
                  <a:lnTo>
                    <a:pt x="1018" y="8689"/>
                  </a:lnTo>
                  <a:lnTo>
                    <a:pt x="1011" y="8639"/>
                  </a:lnTo>
                  <a:lnTo>
                    <a:pt x="1007" y="8588"/>
                  </a:lnTo>
                  <a:lnTo>
                    <a:pt x="1006" y="8535"/>
                  </a:lnTo>
                  <a:lnTo>
                    <a:pt x="4945" y="5587"/>
                  </a:lnTo>
                  <a:lnTo>
                    <a:pt x="7142" y="7232"/>
                  </a:lnTo>
                  <a:lnTo>
                    <a:pt x="7167" y="7250"/>
                  </a:lnTo>
                  <a:lnTo>
                    <a:pt x="7193" y="7268"/>
                  </a:lnTo>
                  <a:lnTo>
                    <a:pt x="7219" y="7285"/>
                  </a:lnTo>
                  <a:lnTo>
                    <a:pt x="7245" y="7302"/>
                  </a:lnTo>
                  <a:lnTo>
                    <a:pt x="7271" y="7318"/>
                  </a:lnTo>
                  <a:lnTo>
                    <a:pt x="7298" y="7333"/>
                  </a:lnTo>
                  <a:lnTo>
                    <a:pt x="7325" y="7348"/>
                  </a:lnTo>
                  <a:lnTo>
                    <a:pt x="7352" y="7363"/>
                  </a:lnTo>
                  <a:lnTo>
                    <a:pt x="7380" y="7376"/>
                  </a:lnTo>
                  <a:lnTo>
                    <a:pt x="7407" y="7391"/>
                  </a:lnTo>
                  <a:lnTo>
                    <a:pt x="7435" y="7403"/>
                  </a:lnTo>
                  <a:lnTo>
                    <a:pt x="7462" y="7415"/>
                  </a:lnTo>
                  <a:lnTo>
                    <a:pt x="7490" y="7427"/>
                  </a:lnTo>
                  <a:lnTo>
                    <a:pt x="7518" y="7437"/>
                  </a:lnTo>
                  <a:lnTo>
                    <a:pt x="7548" y="7448"/>
                  </a:lnTo>
                  <a:lnTo>
                    <a:pt x="7576" y="7457"/>
                  </a:lnTo>
                  <a:lnTo>
                    <a:pt x="7605" y="7466"/>
                  </a:lnTo>
                  <a:lnTo>
                    <a:pt x="7633" y="7475"/>
                  </a:lnTo>
                  <a:lnTo>
                    <a:pt x="7662" y="7483"/>
                  </a:lnTo>
                  <a:lnTo>
                    <a:pt x="7691" y="7490"/>
                  </a:lnTo>
                  <a:lnTo>
                    <a:pt x="7721" y="7497"/>
                  </a:lnTo>
                  <a:lnTo>
                    <a:pt x="7750" y="7503"/>
                  </a:lnTo>
                  <a:lnTo>
                    <a:pt x="7780" y="7509"/>
                  </a:lnTo>
                  <a:lnTo>
                    <a:pt x="7809" y="7514"/>
                  </a:lnTo>
                  <a:lnTo>
                    <a:pt x="7839" y="7518"/>
                  </a:lnTo>
                  <a:lnTo>
                    <a:pt x="7868" y="7522"/>
                  </a:lnTo>
                  <a:lnTo>
                    <a:pt x="7899" y="7525"/>
                  </a:lnTo>
                  <a:lnTo>
                    <a:pt x="7928" y="7528"/>
                  </a:lnTo>
                  <a:lnTo>
                    <a:pt x="7958" y="7530"/>
                  </a:lnTo>
                  <a:lnTo>
                    <a:pt x="7988" y="7531"/>
                  </a:lnTo>
                  <a:lnTo>
                    <a:pt x="8017" y="7532"/>
                  </a:lnTo>
                  <a:lnTo>
                    <a:pt x="8048" y="7532"/>
                  </a:lnTo>
                  <a:lnTo>
                    <a:pt x="8078" y="7532"/>
                  </a:lnTo>
                  <a:lnTo>
                    <a:pt x="8107" y="7531"/>
                  </a:lnTo>
                  <a:lnTo>
                    <a:pt x="8137" y="7530"/>
                  </a:lnTo>
                  <a:lnTo>
                    <a:pt x="8167" y="7528"/>
                  </a:lnTo>
                  <a:lnTo>
                    <a:pt x="8196" y="7525"/>
                  </a:lnTo>
                  <a:lnTo>
                    <a:pt x="8227" y="7522"/>
                  </a:lnTo>
                  <a:lnTo>
                    <a:pt x="8256" y="7518"/>
                  </a:lnTo>
                  <a:lnTo>
                    <a:pt x="8286" y="7514"/>
                  </a:lnTo>
                  <a:lnTo>
                    <a:pt x="8315" y="7509"/>
                  </a:lnTo>
                  <a:lnTo>
                    <a:pt x="8344" y="7503"/>
                  </a:lnTo>
                  <a:lnTo>
                    <a:pt x="8374" y="7497"/>
                  </a:lnTo>
                  <a:lnTo>
                    <a:pt x="8404" y="7490"/>
                  </a:lnTo>
                  <a:lnTo>
                    <a:pt x="8433" y="7483"/>
                  </a:lnTo>
                  <a:lnTo>
                    <a:pt x="8461" y="7475"/>
                  </a:lnTo>
                  <a:lnTo>
                    <a:pt x="8490" y="7466"/>
                  </a:lnTo>
                  <a:lnTo>
                    <a:pt x="8519" y="7457"/>
                  </a:lnTo>
                  <a:lnTo>
                    <a:pt x="8547" y="7448"/>
                  </a:lnTo>
                  <a:lnTo>
                    <a:pt x="8576" y="7437"/>
                  </a:lnTo>
                  <a:lnTo>
                    <a:pt x="8605" y="7427"/>
                  </a:lnTo>
                  <a:lnTo>
                    <a:pt x="8632" y="7415"/>
                  </a:lnTo>
                  <a:lnTo>
                    <a:pt x="8660" y="7403"/>
                  </a:lnTo>
                  <a:lnTo>
                    <a:pt x="8688" y="7391"/>
                  </a:lnTo>
                  <a:lnTo>
                    <a:pt x="8715" y="7376"/>
                  </a:lnTo>
                  <a:lnTo>
                    <a:pt x="8743" y="7363"/>
                  </a:lnTo>
                  <a:lnTo>
                    <a:pt x="8770" y="7348"/>
                  </a:lnTo>
                  <a:lnTo>
                    <a:pt x="8797" y="7333"/>
                  </a:lnTo>
                  <a:lnTo>
                    <a:pt x="8823" y="7318"/>
                  </a:lnTo>
                  <a:lnTo>
                    <a:pt x="8850" y="7302"/>
                  </a:lnTo>
                  <a:lnTo>
                    <a:pt x="8876" y="7285"/>
                  </a:lnTo>
                  <a:lnTo>
                    <a:pt x="8902" y="7268"/>
                  </a:lnTo>
                  <a:lnTo>
                    <a:pt x="8928" y="7250"/>
                  </a:lnTo>
                  <a:lnTo>
                    <a:pt x="8953" y="7232"/>
                  </a:lnTo>
                  <a:lnTo>
                    <a:pt x="11150" y="5587"/>
                  </a:lnTo>
                  <a:lnTo>
                    <a:pt x="15089" y="8535"/>
                  </a:lnTo>
                  <a:close/>
                  <a:moveTo>
                    <a:pt x="1006" y="2636"/>
                  </a:moveTo>
                  <a:lnTo>
                    <a:pt x="4527" y="5273"/>
                  </a:lnTo>
                  <a:lnTo>
                    <a:pt x="1006" y="7908"/>
                  </a:lnTo>
                  <a:lnTo>
                    <a:pt x="1006" y="2636"/>
                  </a:lnTo>
                  <a:close/>
                  <a:moveTo>
                    <a:pt x="14083" y="0"/>
                  </a:moveTo>
                  <a:lnTo>
                    <a:pt x="2012" y="0"/>
                  </a:lnTo>
                  <a:lnTo>
                    <a:pt x="1908" y="3"/>
                  </a:lnTo>
                  <a:lnTo>
                    <a:pt x="1806" y="10"/>
                  </a:lnTo>
                  <a:lnTo>
                    <a:pt x="1705" y="23"/>
                  </a:lnTo>
                  <a:lnTo>
                    <a:pt x="1606" y="41"/>
                  </a:lnTo>
                  <a:lnTo>
                    <a:pt x="1509" y="63"/>
                  </a:lnTo>
                  <a:lnTo>
                    <a:pt x="1413" y="90"/>
                  </a:lnTo>
                  <a:lnTo>
                    <a:pt x="1320" y="122"/>
                  </a:lnTo>
                  <a:lnTo>
                    <a:pt x="1229" y="158"/>
                  </a:lnTo>
                  <a:lnTo>
                    <a:pt x="1140" y="198"/>
                  </a:lnTo>
                  <a:lnTo>
                    <a:pt x="1053" y="242"/>
                  </a:lnTo>
                  <a:lnTo>
                    <a:pt x="969" y="291"/>
                  </a:lnTo>
                  <a:lnTo>
                    <a:pt x="887" y="343"/>
                  </a:lnTo>
                  <a:lnTo>
                    <a:pt x="808" y="399"/>
                  </a:lnTo>
                  <a:lnTo>
                    <a:pt x="732" y="459"/>
                  </a:lnTo>
                  <a:lnTo>
                    <a:pt x="659" y="522"/>
                  </a:lnTo>
                  <a:lnTo>
                    <a:pt x="589" y="589"/>
                  </a:lnTo>
                  <a:lnTo>
                    <a:pt x="523" y="658"/>
                  </a:lnTo>
                  <a:lnTo>
                    <a:pt x="460" y="731"/>
                  </a:lnTo>
                  <a:lnTo>
                    <a:pt x="399" y="806"/>
                  </a:lnTo>
                  <a:lnTo>
                    <a:pt x="344" y="886"/>
                  </a:lnTo>
                  <a:lnTo>
                    <a:pt x="292" y="967"/>
                  </a:lnTo>
                  <a:lnTo>
                    <a:pt x="242" y="1051"/>
                  </a:lnTo>
                  <a:lnTo>
                    <a:pt x="198" y="1138"/>
                  </a:lnTo>
                  <a:lnTo>
                    <a:pt x="158" y="1227"/>
                  </a:lnTo>
                  <a:lnTo>
                    <a:pt x="122" y="1318"/>
                  </a:lnTo>
                  <a:lnTo>
                    <a:pt x="91" y="1411"/>
                  </a:lnTo>
                  <a:lnTo>
                    <a:pt x="63" y="1506"/>
                  </a:lnTo>
                  <a:lnTo>
                    <a:pt x="41" y="1604"/>
                  </a:lnTo>
                  <a:lnTo>
                    <a:pt x="23" y="1702"/>
                  </a:lnTo>
                  <a:lnTo>
                    <a:pt x="10" y="1803"/>
                  </a:lnTo>
                  <a:lnTo>
                    <a:pt x="3" y="1905"/>
                  </a:lnTo>
                  <a:lnTo>
                    <a:pt x="0" y="2009"/>
                  </a:lnTo>
                  <a:lnTo>
                    <a:pt x="0" y="8535"/>
                  </a:lnTo>
                  <a:lnTo>
                    <a:pt x="3" y="8639"/>
                  </a:lnTo>
                  <a:lnTo>
                    <a:pt x="10" y="8741"/>
                  </a:lnTo>
                  <a:lnTo>
                    <a:pt x="23" y="8842"/>
                  </a:lnTo>
                  <a:lnTo>
                    <a:pt x="41" y="8941"/>
                  </a:lnTo>
                  <a:lnTo>
                    <a:pt x="63" y="9038"/>
                  </a:lnTo>
                  <a:lnTo>
                    <a:pt x="91" y="9133"/>
                  </a:lnTo>
                  <a:lnTo>
                    <a:pt x="122" y="9226"/>
                  </a:lnTo>
                  <a:lnTo>
                    <a:pt x="158" y="9318"/>
                  </a:lnTo>
                  <a:lnTo>
                    <a:pt x="198" y="9407"/>
                  </a:lnTo>
                  <a:lnTo>
                    <a:pt x="242" y="9494"/>
                  </a:lnTo>
                  <a:lnTo>
                    <a:pt x="292" y="9578"/>
                  </a:lnTo>
                  <a:lnTo>
                    <a:pt x="344" y="9659"/>
                  </a:lnTo>
                  <a:lnTo>
                    <a:pt x="399" y="9738"/>
                  </a:lnTo>
                  <a:lnTo>
                    <a:pt x="460" y="9814"/>
                  </a:lnTo>
                  <a:lnTo>
                    <a:pt x="523" y="9886"/>
                  </a:lnTo>
                  <a:lnTo>
                    <a:pt x="589" y="9956"/>
                  </a:lnTo>
                  <a:lnTo>
                    <a:pt x="659" y="10023"/>
                  </a:lnTo>
                  <a:lnTo>
                    <a:pt x="732" y="10086"/>
                  </a:lnTo>
                  <a:lnTo>
                    <a:pt x="808" y="10145"/>
                  </a:lnTo>
                  <a:lnTo>
                    <a:pt x="887" y="10202"/>
                  </a:lnTo>
                  <a:lnTo>
                    <a:pt x="969" y="10254"/>
                  </a:lnTo>
                  <a:lnTo>
                    <a:pt x="1053" y="10303"/>
                  </a:lnTo>
                  <a:lnTo>
                    <a:pt x="1140" y="10347"/>
                  </a:lnTo>
                  <a:lnTo>
                    <a:pt x="1229" y="10387"/>
                  </a:lnTo>
                  <a:lnTo>
                    <a:pt x="1320" y="10423"/>
                  </a:lnTo>
                  <a:lnTo>
                    <a:pt x="1413" y="10455"/>
                  </a:lnTo>
                  <a:lnTo>
                    <a:pt x="1509" y="10482"/>
                  </a:lnTo>
                  <a:lnTo>
                    <a:pt x="1606" y="10504"/>
                  </a:lnTo>
                  <a:lnTo>
                    <a:pt x="1705" y="10522"/>
                  </a:lnTo>
                  <a:lnTo>
                    <a:pt x="1806" y="10535"/>
                  </a:lnTo>
                  <a:lnTo>
                    <a:pt x="1908" y="10542"/>
                  </a:lnTo>
                  <a:lnTo>
                    <a:pt x="2012" y="10545"/>
                  </a:lnTo>
                  <a:lnTo>
                    <a:pt x="14083" y="10545"/>
                  </a:lnTo>
                  <a:lnTo>
                    <a:pt x="14187" y="10542"/>
                  </a:lnTo>
                  <a:lnTo>
                    <a:pt x="14289" y="10535"/>
                  </a:lnTo>
                  <a:lnTo>
                    <a:pt x="14390" y="10522"/>
                  </a:lnTo>
                  <a:lnTo>
                    <a:pt x="14489" y="10504"/>
                  </a:lnTo>
                  <a:lnTo>
                    <a:pt x="14586" y="10482"/>
                  </a:lnTo>
                  <a:lnTo>
                    <a:pt x="14682" y="10455"/>
                  </a:lnTo>
                  <a:lnTo>
                    <a:pt x="14775" y="10423"/>
                  </a:lnTo>
                  <a:lnTo>
                    <a:pt x="14867" y="10387"/>
                  </a:lnTo>
                  <a:lnTo>
                    <a:pt x="14955" y="10347"/>
                  </a:lnTo>
                  <a:lnTo>
                    <a:pt x="15042" y="10303"/>
                  </a:lnTo>
                  <a:lnTo>
                    <a:pt x="15126" y="10254"/>
                  </a:lnTo>
                  <a:lnTo>
                    <a:pt x="15208" y="10202"/>
                  </a:lnTo>
                  <a:lnTo>
                    <a:pt x="15287" y="10145"/>
                  </a:lnTo>
                  <a:lnTo>
                    <a:pt x="15363" y="10086"/>
                  </a:lnTo>
                  <a:lnTo>
                    <a:pt x="15436" y="10023"/>
                  </a:lnTo>
                  <a:lnTo>
                    <a:pt x="15506" y="9956"/>
                  </a:lnTo>
                  <a:lnTo>
                    <a:pt x="15572" y="9886"/>
                  </a:lnTo>
                  <a:lnTo>
                    <a:pt x="15635" y="9814"/>
                  </a:lnTo>
                  <a:lnTo>
                    <a:pt x="15696" y="9738"/>
                  </a:lnTo>
                  <a:lnTo>
                    <a:pt x="15751" y="9659"/>
                  </a:lnTo>
                  <a:lnTo>
                    <a:pt x="15803" y="9578"/>
                  </a:lnTo>
                  <a:lnTo>
                    <a:pt x="15853" y="9494"/>
                  </a:lnTo>
                  <a:lnTo>
                    <a:pt x="15897" y="9407"/>
                  </a:lnTo>
                  <a:lnTo>
                    <a:pt x="15937" y="9318"/>
                  </a:lnTo>
                  <a:lnTo>
                    <a:pt x="15973" y="9226"/>
                  </a:lnTo>
                  <a:lnTo>
                    <a:pt x="16004" y="9133"/>
                  </a:lnTo>
                  <a:lnTo>
                    <a:pt x="16032" y="9038"/>
                  </a:lnTo>
                  <a:lnTo>
                    <a:pt x="16054" y="8941"/>
                  </a:lnTo>
                  <a:lnTo>
                    <a:pt x="16072" y="8842"/>
                  </a:lnTo>
                  <a:lnTo>
                    <a:pt x="16085" y="8741"/>
                  </a:lnTo>
                  <a:lnTo>
                    <a:pt x="16092" y="8639"/>
                  </a:lnTo>
                  <a:lnTo>
                    <a:pt x="16095" y="8535"/>
                  </a:lnTo>
                  <a:lnTo>
                    <a:pt x="16095" y="2009"/>
                  </a:lnTo>
                  <a:lnTo>
                    <a:pt x="16092" y="1905"/>
                  </a:lnTo>
                  <a:lnTo>
                    <a:pt x="16085" y="1803"/>
                  </a:lnTo>
                  <a:lnTo>
                    <a:pt x="16072" y="1702"/>
                  </a:lnTo>
                  <a:lnTo>
                    <a:pt x="16054" y="1604"/>
                  </a:lnTo>
                  <a:lnTo>
                    <a:pt x="16032" y="1506"/>
                  </a:lnTo>
                  <a:lnTo>
                    <a:pt x="16004" y="1411"/>
                  </a:lnTo>
                  <a:lnTo>
                    <a:pt x="15973" y="1318"/>
                  </a:lnTo>
                  <a:lnTo>
                    <a:pt x="15937" y="1227"/>
                  </a:lnTo>
                  <a:lnTo>
                    <a:pt x="15897" y="1138"/>
                  </a:lnTo>
                  <a:lnTo>
                    <a:pt x="15853" y="1051"/>
                  </a:lnTo>
                  <a:lnTo>
                    <a:pt x="15803" y="967"/>
                  </a:lnTo>
                  <a:lnTo>
                    <a:pt x="15751" y="886"/>
                  </a:lnTo>
                  <a:lnTo>
                    <a:pt x="15696" y="806"/>
                  </a:lnTo>
                  <a:lnTo>
                    <a:pt x="15635" y="731"/>
                  </a:lnTo>
                  <a:lnTo>
                    <a:pt x="15572" y="658"/>
                  </a:lnTo>
                  <a:lnTo>
                    <a:pt x="15506" y="589"/>
                  </a:lnTo>
                  <a:lnTo>
                    <a:pt x="15436" y="522"/>
                  </a:lnTo>
                  <a:lnTo>
                    <a:pt x="15363" y="459"/>
                  </a:lnTo>
                  <a:lnTo>
                    <a:pt x="15287" y="399"/>
                  </a:lnTo>
                  <a:lnTo>
                    <a:pt x="15208" y="343"/>
                  </a:lnTo>
                  <a:lnTo>
                    <a:pt x="15126" y="291"/>
                  </a:lnTo>
                  <a:lnTo>
                    <a:pt x="15042" y="242"/>
                  </a:lnTo>
                  <a:lnTo>
                    <a:pt x="14955" y="198"/>
                  </a:lnTo>
                  <a:lnTo>
                    <a:pt x="14867" y="158"/>
                  </a:lnTo>
                  <a:lnTo>
                    <a:pt x="14775" y="122"/>
                  </a:lnTo>
                  <a:lnTo>
                    <a:pt x="14682" y="90"/>
                  </a:lnTo>
                  <a:lnTo>
                    <a:pt x="14586" y="63"/>
                  </a:lnTo>
                  <a:lnTo>
                    <a:pt x="14489" y="41"/>
                  </a:lnTo>
                  <a:lnTo>
                    <a:pt x="14390" y="23"/>
                  </a:lnTo>
                  <a:lnTo>
                    <a:pt x="14289" y="10"/>
                  </a:lnTo>
                  <a:lnTo>
                    <a:pt x="14187" y="3"/>
                  </a:lnTo>
                  <a:lnTo>
                    <a:pt x="1408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99" name="isḻiḍè">
              <a:extLst>
                <a:ext uri="{FF2B5EF4-FFF2-40B4-BE49-F238E27FC236}">
                  <a16:creationId xmlns:a16="http://schemas.microsoft.com/office/drawing/2014/main" id="{4E1DA72B-853A-49DB-9F6A-E6B28C3FE84F}"/>
                </a:ext>
              </a:extLst>
            </p:cNvPr>
            <p:cNvSpPr/>
            <p:nvPr/>
          </p:nvSpPr>
          <p:spPr bwMode="auto">
            <a:xfrm>
              <a:off x="6803911" y="1970278"/>
              <a:ext cx="614748" cy="613338"/>
            </a:xfrm>
            <a:custGeom>
              <a:avLst/>
              <a:gdLst>
                <a:gd name="T0" fmla="*/ 3529 w 16132"/>
                <a:gd name="T1" fmla="*/ 12574 h 16095"/>
                <a:gd name="T2" fmla="*/ 1156 w 16132"/>
                <a:gd name="T3" fmla="*/ 9639 h 16095"/>
                <a:gd name="T4" fmla="*/ 3459 w 16132"/>
                <a:gd name="T5" fmla="*/ 6841 h 16095"/>
                <a:gd name="T6" fmla="*/ 6612 w 16132"/>
                <a:gd name="T7" fmla="*/ 4902 h 16095"/>
                <a:gd name="T8" fmla="*/ 9339 w 16132"/>
                <a:gd name="T9" fmla="*/ 2534 h 16095"/>
                <a:gd name="T10" fmla="*/ 11655 w 16132"/>
                <a:gd name="T11" fmla="*/ 2575 h 16095"/>
                <a:gd name="T12" fmla="*/ 14497 w 16132"/>
                <a:gd name="T13" fmla="*/ 5410 h 16095"/>
                <a:gd name="T14" fmla="*/ 13598 w 16132"/>
                <a:gd name="T15" fmla="*/ 8480 h 16095"/>
                <a:gd name="T16" fmla="*/ 10587 w 16132"/>
                <a:gd name="T17" fmla="*/ 10562 h 16095"/>
                <a:gd name="T18" fmla="*/ 7575 w 16132"/>
                <a:gd name="T19" fmla="*/ 12645 h 16095"/>
                <a:gd name="T20" fmla="*/ 10795 w 16132"/>
                <a:gd name="T21" fmla="*/ 295 h 16095"/>
                <a:gd name="T22" fmla="*/ 10560 w 16132"/>
                <a:gd name="T23" fmla="*/ 121 h 16095"/>
                <a:gd name="T24" fmla="*/ 10290 w 16132"/>
                <a:gd name="T25" fmla="*/ 22 h 16095"/>
                <a:gd name="T26" fmla="*/ 10002 w 16132"/>
                <a:gd name="T27" fmla="*/ 3 h 16095"/>
                <a:gd name="T28" fmla="*/ 9708 w 16132"/>
                <a:gd name="T29" fmla="*/ 71 h 16095"/>
                <a:gd name="T30" fmla="*/ 9445 w 16132"/>
                <a:gd name="T31" fmla="*/ 226 h 16095"/>
                <a:gd name="T32" fmla="*/ 9253 w 16132"/>
                <a:gd name="T33" fmla="*/ 434 h 16095"/>
                <a:gd name="T34" fmla="*/ 9129 w 16132"/>
                <a:gd name="T35" fmla="*/ 679 h 16095"/>
                <a:gd name="T36" fmla="*/ 8916 w 16132"/>
                <a:gd name="T37" fmla="*/ 1244 h 16095"/>
                <a:gd name="T38" fmla="*/ 8610 w 16132"/>
                <a:gd name="T39" fmla="*/ 1810 h 16095"/>
                <a:gd name="T40" fmla="*/ 8220 w 16132"/>
                <a:gd name="T41" fmla="*/ 2338 h 16095"/>
                <a:gd name="T42" fmla="*/ 7686 w 16132"/>
                <a:gd name="T43" fmla="*/ 2886 h 16095"/>
                <a:gd name="T44" fmla="*/ 6944 w 16132"/>
                <a:gd name="T45" fmla="*/ 3480 h 16095"/>
                <a:gd name="T46" fmla="*/ 6121 w 16132"/>
                <a:gd name="T47" fmla="*/ 4023 h 16095"/>
                <a:gd name="T48" fmla="*/ 4611 w 16132"/>
                <a:gd name="T49" fmla="*/ 4912 h 16095"/>
                <a:gd name="T50" fmla="*/ 3435 w 16132"/>
                <a:gd name="T51" fmla="*/ 5632 h 16095"/>
                <a:gd name="T52" fmla="*/ 2514 w 16132"/>
                <a:gd name="T53" fmla="*/ 6295 h 16095"/>
                <a:gd name="T54" fmla="*/ 1677 w 16132"/>
                <a:gd name="T55" fmla="*/ 7047 h 16095"/>
                <a:gd name="T56" fmla="*/ 1059 w 16132"/>
                <a:gd name="T57" fmla="*/ 7768 h 16095"/>
                <a:gd name="T58" fmla="*/ 561 w 16132"/>
                <a:gd name="T59" fmla="*/ 8540 h 16095"/>
                <a:gd name="T60" fmla="*/ 178 w 16132"/>
                <a:gd name="T61" fmla="*/ 9371 h 16095"/>
                <a:gd name="T62" fmla="*/ 8 w 16132"/>
                <a:gd name="T63" fmla="*/ 9931 h 16095"/>
                <a:gd name="T64" fmla="*/ 16 w 16132"/>
                <a:gd name="T65" fmla="*/ 10235 h 16095"/>
                <a:gd name="T66" fmla="*/ 113 w 16132"/>
                <a:gd name="T67" fmla="*/ 10522 h 16095"/>
                <a:gd name="T68" fmla="*/ 295 w 16132"/>
                <a:gd name="T69" fmla="*/ 10771 h 16095"/>
                <a:gd name="T70" fmla="*/ 5543 w 16132"/>
                <a:gd name="T71" fmla="*/ 15959 h 16095"/>
                <a:gd name="T72" fmla="*/ 5811 w 16132"/>
                <a:gd name="T73" fmla="*/ 16066 h 16095"/>
                <a:gd name="T74" fmla="*/ 6098 w 16132"/>
                <a:gd name="T75" fmla="*/ 16094 h 16095"/>
                <a:gd name="T76" fmla="*/ 6391 w 16132"/>
                <a:gd name="T77" fmla="*/ 16036 h 16095"/>
                <a:gd name="T78" fmla="*/ 6660 w 16132"/>
                <a:gd name="T79" fmla="*/ 15890 h 16095"/>
                <a:gd name="T80" fmla="*/ 6861 w 16132"/>
                <a:gd name="T81" fmla="*/ 15686 h 16095"/>
                <a:gd name="T82" fmla="*/ 6992 w 16132"/>
                <a:gd name="T83" fmla="*/ 15445 h 16095"/>
                <a:gd name="T84" fmla="*/ 7187 w 16132"/>
                <a:gd name="T85" fmla="*/ 14915 h 16095"/>
                <a:gd name="T86" fmla="*/ 7483 w 16132"/>
                <a:gd name="T87" fmla="*/ 14346 h 16095"/>
                <a:gd name="T88" fmla="*/ 7864 w 16132"/>
                <a:gd name="T89" fmla="*/ 13814 h 16095"/>
                <a:gd name="T90" fmla="*/ 8370 w 16132"/>
                <a:gd name="T91" fmla="*/ 13278 h 16095"/>
                <a:gd name="T92" fmla="*/ 9101 w 16132"/>
                <a:gd name="T93" fmla="*/ 12678 h 16095"/>
                <a:gd name="T94" fmla="*/ 9917 w 16132"/>
                <a:gd name="T95" fmla="*/ 12131 h 16095"/>
                <a:gd name="T96" fmla="*/ 11308 w 16132"/>
                <a:gd name="T97" fmla="*/ 11309 h 16095"/>
                <a:gd name="T98" fmla="*/ 12591 w 16132"/>
                <a:gd name="T99" fmla="*/ 10530 h 16095"/>
                <a:gd name="T100" fmla="*/ 13519 w 16132"/>
                <a:gd name="T101" fmla="*/ 9876 h 16095"/>
                <a:gd name="T102" fmla="*/ 14379 w 16132"/>
                <a:gd name="T103" fmla="*/ 9125 h 16095"/>
                <a:gd name="T104" fmla="*/ 15011 w 16132"/>
                <a:gd name="T105" fmla="*/ 8410 h 16095"/>
                <a:gd name="T106" fmla="*/ 15522 w 16132"/>
                <a:gd name="T107" fmla="*/ 7643 h 16095"/>
                <a:gd name="T108" fmla="*/ 15916 w 16132"/>
                <a:gd name="T109" fmla="*/ 6818 h 16095"/>
                <a:gd name="T110" fmla="*/ 16119 w 16132"/>
                <a:gd name="T111" fmla="*/ 6198 h 16095"/>
                <a:gd name="T112" fmla="*/ 16122 w 16132"/>
                <a:gd name="T113" fmla="*/ 5893 h 16095"/>
                <a:gd name="T114" fmla="*/ 16034 w 16132"/>
                <a:gd name="T115" fmla="*/ 5603 h 16095"/>
                <a:gd name="T116" fmla="*/ 15861 w 16132"/>
                <a:gd name="T117" fmla="*/ 5350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132" h="16095">
                  <a:moveTo>
                    <a:pt x="6050" y="15089"/>
                  </a:moveTo>
                  <a:lnTo>
                    <a:pt x="5736" y="14776"/>
                  </a:lnTo>
                  <a:lnTo>
                    <a:pt x="5422" y="14463"/>
                  </a:lnTo>
                  <a:lnTo>
                    <a:pt x="5108" y="14150"/>
                  </a:lnTo>
                  <a:lnTo>
                    <a:pt x="4792" y="13835"/>
                  </a:lnTo>
                  <a:lnTo>
                    <a:pt x="4477" y="13520"/>
                  </a:lnTo>
                  <a:lnTo>
                    <a:pt x="4161" y="13205"/>
                  </a:lnTo>
                  <a:lnTo>
                    <a:pt x="3844" y="12889"/>
                  </a:lnTo>
                  <a:lnTo>
                    <a:pt x="3529" y="12574"/>
                  </a:lnTo>
                  <a:lnTo>
                    <a:pt x="3213" y="12258"/>
                  </a:lnTo>
                  <a:lnTo>
                    <a:pt x="2897" y="11943"/>
                  </a:lnTo>
                  <a:lnTo>
                    <a:pt x="2581" y="11629"/>
                  </a:lnTo>
                  <a:lnTo>
                    <a:pt x="2266" y="11314"/>
                  </a:lnTo>
                  <a:lnTo>
                    <a:pt x="1950" y="10999"/>
                  </a:lnTo>
                  <a:lnTo>
                    <a:pt x="1635" y="10685"/>
                  </a:lnTo>
                  <a:lnTo>
                    <a:pt x="1322" y="10372"/>
                  </a:lnTo>
                  <a:lnTo>
                    <a:pt x="1008" y="10059"/>
                  </a:lnTo>
                  <a:lnTo>
                    <a:pt x="1156" y="9639"/>
                  </a:lnTo>
                  <a:lnTo>
                    <a:pt x="1330" y="9246"/>
                  </a:lnTo>
                  <a:lnTo>
                    <a:pt x="1529" y="8877"/>
                  </a:lnTo>
                  <a:lnTo>
                    <a:pt x="1750" y="8531"/>
                  </a:lnTo>
                  <a:lnTo>
                    <a:pt x="1993" y="8206"/>
                  </a:lnTo>
                  <a:lnTo>
                    <a:pt x="2254" y="7902"/>
                  </a:lnTo>
                  <a:lnTo>
                    <a:pt x="2534" y="7615"/>
                  </a:lnTo>
                  <a:lnTo>
                    <a:pt x="2829" y="7343"/>
                  </a:lnTo>
                  <a:lnTo>
                    <a:pt x="3138" y="7086"/>
                  </a:lnTo>
                  <a:lnTo>
                    <a:pt x="3459" y="6841"/>
                  </a:lnTo>
                  <a:lnTo>
                    <a:pt x="3791" y="6607"/>
                  </a:lnTo>
                  <a:lnTo>
                    <a:pt x="4131" y="6382"/>
                  </a:lnTo>
                  <a:lnTo>
                    <a:pt x="4479" y="6162"/>
                  </a:lnTo>
                  <a:lnTo>
                    <a:pt x="4832" y="5950"/>
                  </a:lnTo>
                  <a:lnTo>
                    <a:pt x="5187" y="5740"/>
                  </a:lnTo>
                  <a:lnTo>
                    <a:pt x="5545" y="5533"/>
                  </a:lnTo>
                  <a:lnTo>
                    <a:pt x="5903" y="5324"/>
                  </a:lnTo>
                  <a:lnTo>
                    <a:pt x="6259" y="5115"/>
                  </a:lnTo>
                  <a:lnTo>
                    <a:pt x="6612" y="4902"/>
                  </a:lnTo>
                  <a:lnTo>
                    <a:pt x="6960" y="4684"/>
                  </a:lnTo>
                  <a:lnTo>
                    <a:pt x="7300" y="4458"/>
                  </a:lnTo>
                  <a:lnTo>
                    <a:pt x="7631" y="4224"/>
                  </a:lnTo>
                  <a:lnTo>
                    <a:pt x="7953" y="3979"/>
                  </a:lnTo>
                  <a:lnTo>
                    <a:pt x="8262" y="3722"/>
                  </a:lnTo>
                  <a:lnTo>
                    <a:pt x="8557" y="3450"/>
                  </a:lnTo>
                  <a:lnTo>
                    <a:pt x="8835" y="3164"/>
                  </a:lnTo>
                  <a:lnTo>
                    <a:pt x="9097" y="2858"/>
                  </a:lnTo>
                  <a:lnTo>
                    <a:pt x="9339" y="2534"/>
                  </a:lnTo>
                  <a:lnTo>
                    <a:pt x="9561" y="2188"/>
                  </a:lnTo>
                  <a:lnTo>
                    <a:pt x="9760" y="1820"/>
                  </a:lnTo>
                  <a:lnTo>
                    <a:pt x="9934" y="1425"/>
                  </a:lnTo>
                  <a:lnTo>
                    <a:pt x="10083" y="1006"/>
                  </a:lnTo>
                  <a:lnTo>
                    <a:pt x="10396" y="1319"/>
                  </a:lnTo>
                  <a:lnTo>
                    <a:pt x="10710" y="1632"/>
                  </a:lnTo>
                  <a:lnTo>
                    <a:pt x="11024" y="1945"/>
                  </a:lnTo>
                  <a:lnTo>
                    <a:pt x="11340" y="2260"/>
                  </a:lnTo>
                  <a:lnTo>
                    <a:pt x="11655" y="2575"/>
                  </a:lnTo>
                  <a:lnTo>
                    <a:pt x="11971" y="2890"/>
                  </a:lnTo>
                  <a:lnTo>
                    <a:pt x="12288" y="3205"/>
                  </a:lnTo>
                  <a:lnTo>
                    <a:pt x="12603" y="3521"/>
                  </a:lnTo>
                  <a:lnTo>
                    <a:pt x="12920" y="3836"/>
                  </a:lnTo>
                  <a:lnTo>
                    <a:pt x="13235" y="4152"/>
                  </a:lnTo>
                  <a:lnTo>
                    <a:pt x="13551" y="4466"/>
                  </a:lnTo>
                  <a:lnTo>
                    <a:pt x="13866" y="4781"/>
                  </a:lnTo>
                  <a:lnTo>
                    <a:pt x="14182" y="5095"/>
                  </a:lnTo>
                  <a:lnTo>
                    <a:pt x="14497" y="5410"/>
                  </a:lnTo>
                  <a:lnTo>
                    <a:pt x="14810" y="5723"/>
                  </a:lnTo>
                  <a:lnTo>
                    <a:pt x="15124" y="6036"/>
                  </a:lnTo>
                  <a:lnTo>
                    <a:pt x="14977" y="6455"/>
                  </a:lnTo>
                  <a:lnTo>
                    <a:pt x="14802" y="6848"/>
                  </a:lnTo>
                  <a:lnTo>
                    <a:pt x="14603" y="7218"/>
                  </a:lnTo>
                  <a:lnTo>
                    <a:pt x="14382" y="7564"/>
                  </a:lnTo>
                  <a:lnTo>
                    <a:pt x="14139" y="7888"/>
                  </a:lnTo>
                  <a:lnTo>
                    <a:pt x="13878" y="8192"/>
                  </a:lnTo>
                  <a:lnTo>
                    <a:pt x="13598" y="8480"/>
                  </a:lnTo>
                  <a:lnTo>
                    <a:pt x="13303" y="8752"/>
                  </a:lnTo>
                  <a:lnTo>
                    <a:pt x="12994" y="9008"/>
                  </a:lnTo>
                  <a:lnTo>
                    <a:pt x="12673" y="9254"/>
                  </a:lnTo>
                  <a:lnTo>
                    <a:pt x="12341" y="9488"/>
                  </a:lnTo>
                  <a:lnTo>
                    <a:pt x="12001" y="9713"/>
                  </a:lnTo>
                  <a:lnTo>
                    <a:pt x="11653" y="9932"/>
                  </a:lnTo>
                  <a:lnTo>
                    <a:pt x="11300" y="10145"/>
                  </a:lnTo>
                  <a:lnTo>
                    <a:pt x="10945" y="10354"/>
                  </a:lnTo>
                  <a:lnTo>
                    <a:pt x="10587" y="10562"/>
                  </a:lnTo>
                  <a:lnTo>
                    <a:pt x="10229" y="10770"/>
                  </a:lnTo>
                  <a:lnTo>
                    <a:pt x="9873" y="10980"/>
                  </a:lnTo>
                  <a:lnTo>
                    <a:pt x="9520" y="11192"/>
                  </a:lnTo>
                  <a:lnTo>
                    <a:pt x="9173" y="11410"/>
                  </a:lnTo>
                  <a:lnTo>
                    <a:pt x="8832" y="11637"/>
                  </a:lnTo>
                  <a:lnTo>
                    <a:pt x="8501" y="11871"/>
                  </a:lnTo>
                  <a:lnTo>
                    <a:pt x="8179" y="12116"/>
                  </a:lnTo>
                  <a:lnTo>
                    <a:pt x="7870" y="12373"/>
                  </a:lnTo>
                  <a:lnTo>
                    <a:pt x="7575" y="12645"/>
                  </a:lnTo>
                  <a:lnTo>
                    <a:pt x="7297" y="12931"/>
                  </a:lnTo>
                  <a:lnTo>
                    <a:pt x="7035" y="13237"/>
                  </a:lnTo>
                  <a:lnTo>
                    <a:pt x="6793" y="13561"/>
                  </a:lnTo>
                  <a:lnTo>
                    <a:pt x="6571" y="13907"/>
                  </a:lnTo>
                  <a:lnTo>
                    <a:pt x="6372" y="14275"/>
                  </a:lnTo>
                  <a:lnTo>
                    <a:pt x="6198" y="14670"/>
                  </a:lnTo>
                  <a:lnTo>
                    <a:pt x="6050" y="15089"/>
                  </a:lnTo>
                  <a:close/>
                  <a:moveTo>
                    <a:pt x="15837" y="5324"/>
                  </a:moveTo>
                  <a:lnTo>
                    <a:pt x="10795" y="295"/>
                  </a:lnTo>
                  <a:lnTo>
                    <a:pt x="10772" y="272"/>
                  </a:lnTo>
                  <a:lnTo>
                    <a:pt x="10747" y="249"/>
                  </a:lnTo>
                  <a:lnTo>
                    <a:pt x="10723" y="228"/>
                  </a:lnTo>
                  <a:lnTo>
                    <a:pt x="10697" y="208"/>
                  </a:lnTo>
                  <a:lnTo>
                    <a:pt x="10670" y="189"/>
                  </a:lnTo>
                  <a:lnTo>
                    <a:pt x="10644" y="170"/>
                  </a:lnTo>
                  <a:lnTo>
                    <a:pt x="10617" y="153"/>
                  </a:lnTo>
                  <a:lnTo>
                    <a:pt x="10589" y="136"/>
                  </a:lnTo>
                  <a:lnTo>
                    <a:pt x="10560" y="121"/>
                  </a:lnTo>
                  <a:lnTo>
                    <a:pt x="10532" y="106"/>
                  </a:lnTo>
                  <a:lnTo>
                    <a:pt x="10503" y="92"/>
                  </a:lnTo>
                  <a:lnTo>
                    <a:pt x="10474" y="78"/>
                  </a:lnTo>
                  <a:lnTo>
                    <a:pt x="10444" y="66"/>
                  </a:lnTo>
                  <a:lnTo>
                    <a:pt x="10414" y="56"/>
                  </a:lnTo>
                  <a:lnTo>
                    <a:pt x="10384" y="46"/>
                  </a:lnTo>
                  <a:lnTo>
                    <a:pt x="10353" y="37"/>
                  </a:lnTo>
                  <a:lnTo>
                    <a:pt x="10321" y="29"/>
                  </a:lnTo>
                  <a:lnTo>
                    <a:pt x="10290" y="22"/>
                  </a:lnTo>
                  <a:lnTo>
                    <a:pt x="10259" y="16"/>
                  </a:lnTo>
                  <a:lnTo>
                    <a:pt x="10228" y="10"/>
                  </a:lnTo>
                  <a:lnTo>
                    <a:pt x="10195" y="6"/>
                  </a:lnTo>
                  <a:lnTo>
                    <a:pt x="10163" y="3"/>
                  </a:lnTo>
                  <a:lnTo>
                    <a:pt x="10131" y="1"/>
                  </a:lnTo>
                  <a:lnTo>
                    <a:pt x="10099" y="0"/>
                  </a:lnTo>
                  <a:lnTo>
                    <a:pt x="10066" y="0"/>
                  </a:lnTo>
                  <a:lnTo>
                    <a:pt x="10034" y="1"/>
                  </a:lnTo>
                  <a:lnTo>
                    <a:pt x="10002" y="3"/>
                  </a:lnTo>
                  <a:lnTo>
                    <a:pt x="9970" y="6"/>
                  </a:lnTo>
                  <a:lnTo>
                    <a:pt x="9937" y="11"/>
                  </a:lnTo>
                  <a:lnTo>
                    <a:pt x="9905" y="16"/>
                  </a:lnTo>
                  <a:lnTo>
                    <a:pt x="9873" y="22"/>
                  </a:lnTo>
                  <a:lnTo>
                    <a:pt x="9841" y="29"/>
                  </a:lnTo>
                  <a:lnTo>
                    <a:pt x="9806" y="38"/>
                  </a:lnTo>
                  <a:lnTo>
                    <a:pt x="9773" y="48"/>
                  </a:lnTo>
                  <a:lnTo>
                    <a:pt x="9741" y="59"/>
                  </a:lnTo>
                  <a:lnTo>
                    <a:pt x="9708" y="71"/>
                  </a:lnTo>
                  <a:lnTo>
                    <a:pt x="9676" y="84"/>
                  </a:lnTo>
                  <a:lnTo>
                    <a:pt x="9645" y="99"/>
                  </a:lnTo>
                  <a:lnTo>
                    <a:pt x="9615" y="115"/>
                  </a:lnTo>
                  <a:lnTo>
                    <a:pt x="9584" y="131"/>
                  </a:lnTo>
                  <a:lnTo>
                    <a:pt x="9555" y="148"/>
                  </a:lnTo>
                  <a:lnTo>
                    <a:pt x="9527" y="166"/>
                  </a:lnTo>
                  <a:lnTo>
                    <a:pt x="9499" y="185"/>
                  </a:lnTo>
                  <a:lnTo>
                    <a:pt x="9472" y="205"/>
                  </a:lnTo>
                  <a:lnTo>
                    <a:pt x="9445" y="226"/>
                  </a:lnTo>
                  <a:lnTo>
                    <a:pt x="9419" y="248"/>
                  </a:lnTo>
                  <a:lnTo>
                    <a:pt x="9394" y="271"/>
                  </a:lnTo>
                  <a:lnTo>
                    <a:pt x="9370" y="295"/>
                  </a:lnTo>
                  <a:lnTo>
                    <a:pt x="9348" y="316"/>
                  </a:lnTo>
                  <a:lnTo>
                    <a:pt x="9328" y="339"/>
                  </a:lnTo>
                  <a:lnTo>
                    <a:pt x="9308" y="362"/>
                  </a:lnTo>
                  <a:lnTo>
                    <a:pt x="9289" y="385"/>
                  </a:lnTo>
                  <a:lnTo>
                    <a:pt x="9271" y="409"/>
                  </a:lnTo>
                  <a:lnTo>
                    <a:pt x="9253" y="434"/>
                  </a:lnTo>
                  <a:lnTo>
                    <a:pt x="9237" y="459"/>
                  </a:lnTo>
                  <a:lnTo>
                    <a:pt x="9220" y="485"/>
                  </a:lnTo>
                  <a:lnTo>
                    <a:pt x="9204" y="511"/>
                  </a:lnTo>
                  <a:lnTo>
                    <a:pt x="9190" y="538"/>
                  </a:lnTo>
                  <a:lnTo>
                    <a:pt x="9176" y="565"/>
                  </a:lnTo>
                  <a:lnTo>
                    <a:pt x="9163" y="592"/>
                  </a:lnTo>
                  <a:lnTo>
                    <a:pt x="9151" y="621"/>
                  </a:lnTo>
                  <a:lnTo>
                    <a:pt x="9140" y="650"/>
                  </a:lnTo>
                  <a:lnTo>
                    <a:pt x="9129" y="679"/>
                  </a:lnTo>
                  <a:lnTo>
                    <a:pt x="9120" y="708"/>
                  </a:lnTo>
                  <a:lnTo>
                    <a:pt x="9097" y="777"/>
                  </a:lnTo>
                  <a:lnTo>
                    <a:pt x="9074" y="846"/>
                  </a:lnTo>
                  <a:lnTo>
                    <a:pt x="9051" y="913"/>
                  </a:lnTo>
                  <a:lnTo>
                    <a:pt x="9026" y="981"/>
                  </a:lnTo>
                  <a:lnTo>
                    <a:pt x="9000" y="1047"/>
                  </a:lnTo>
                  <a:lnTo>
                    <a:pt x="8973" y="1114"/>
                  </a:lnTo>
                  <a:lnTo>
                    <a:pt x="8945" y="1180"/>
                  </a:lnTo>
                  <a:lnTo>
                    <a:pt x="8916" y="1244"/>
                  </a:lnTo>
                  <a:lnTo>
                    <a:pt x="8887" y="1310"/>
                  </a:lnTo>
                  <a:lnTo>
                    <a:pt x="8855" y="1373"/>
                  </a:lnTo>
                  <a:lnTo>
                    <a:pt x="8823" y="1437"/>
                  </a:lnTo>
                  <a:lnTo>
                    <a:pt x="8791" y="1501"/>
                  </a:lnTo>
                  <a:lnTo>
                    <a:pt x="8757" y="1563"/>
                  </a:lnTo>
                  <a:lnTo>
                    <a:pt x="8721" y="1626"/>
                  </a:lnTo>
                  <a:lnTo>
                    <a:pt x="8686" y="1687"/>
                  </a:lnTo>
                  <a:lnTo>
                    <a:pt x="8649" y="1748"/>
                  </a:lnTo>
                  <a:lnTo>
                    <a:pt x="8610" y="1810"/>
                  </a:lnTo>
                  <a:lnTo>
                    <a:pt x="8571" y="1870"/>
                  </a:lnTo>
                  <a:lnTo>
                    <a:pt x="8532" y="1929"/>
                  </a:lnTo>
                  <a:lnTo>
                    <a:pt x="8490" y="1990"/>
                  </a:lnTo>
                  <a:lnTo>
                    <a:pt x="8448" y="2048"/>
                  </a:lnTo>
                  <a:lnTo>
                    <a:pt x="8405" y="2107"/>
                  </a:lnTo>
                  <a:lnTo>
                    <a:pt x="8360" y="2166"/>
                  </a:lnTo>
                  <a:lnTo>
                    <a:pt x="8315" y="2223"/>
                  </a:lnTo>
                  <a:lnTo>
                    <a:pt x="8268" y="2280"/>
                  </a:lnTo>
                  <a:lnTo>
                    <a:pt x="8220" y="2338"/>
                  </a:lnTo>
                  <a:lnTo>
                    <a:pt x="8172" y="2394"/>
                  </a:lnTo>
                  <a:lnTo>
                    <a:pt x="8121" y="2450"/>
                  </a:lnTo>
                  <a:lnTo>
                    <a:pt x="8071" y="2507"/>
                  </a:lnTo>
                  <a:lnTo>
                    <a:pt x="8019" y="2562"/>
                  </a:lnTo>
                  <a:lnTo>
                    <a:pt x="7966" y="2617"/>
                  </a:lnTo>
                  <a:lnTo>
                    <a:pt x="7912" y="2672"/>
                  </a:lnTo>
                  <a:lnTo>
                    <a:pt x="7838" y="2744"/>
                  </a:lnTo>
                  <a:lnTo>
                    <a:pt x="7763" y="2816"/>
                  </a:lnTo>
                  <a:lnTo>
                    <a:pt x="7686" y="2886"/>
                  </a:lnTo>
                  <a:lnTo>
                    <a:pt x="7608" y="2955"/>
                  </a:lnTo>
                  <a:lnTo>
                    <a:pt x="7530" y="3024"/>
                  </a:lnTo>
                  <a:lnTo>
                    <a:pt x="7449" y="3091"/>
                  </a:lnTo>
                  <a:lnTo>
                    <a:pt x="7367" y="3158"/>
                  </a:lnTo>
                  <a:lnTo>
                    <a:pt x="7285" y="3224"/>
                  </a:lnTo>
                  <a:lnTo>
                    <a:pt x="7201" y="3288"/>
                  </a:lnTo>
                  <a:lnTo>
                    <a:pt x="7116" y="3353"/>
                  </a:lnTo>
                  <a:lnTo>
                    <a:pt x="7031" y="3416"/>
                  </a:lnTo>
                  <a:lnTo>
                    <a:pt x="6944" y="3480"/>
                  </a:lnTo>
                  <a:lnTo>
                    <a:pt x="6856" y="3542"/>
                  </a:lnTo>
                  <a:lnTo>
                    <a:pt x="6767" y="3603"/>
                  </a:lnTo>
                  <a:lnTo>
                    <a:pt x="6678" y="3665"/>
                  </a:lnTo>
                  <a:lnTo>
                    <a:pt x="6587" y="3725"/>
                  </a:lnTo>
                  <a:lnTo>
                    <a:pt x="6495" y="3785"/>
                  </a:lnTo>
                  <a:lnTo>
                    <a:pt x="6402" y="3846"/>
                  </a:lnTo>
                  <a:lnTo>
                    <a:pt x="6310" y="3905"/>
                  </a:lnTo>
                  <a:lnTo>
                    <a:pt x="6215" y="3963"/>
                  </a:lnTo>
                  <a:lnTo>
                    <a:pt x="6121" y="4023"/>
                  </a:lnTo>
                  <a:lnTo>
                    <a:pt x="6025" y="4081"/>
                  </a:lnTo>
                  <a:lnTo>
                    <a:pt x="5930" y="4139"/>
                  </a:lnTo>
                  <a:lnTo>
                    <a:pt x="5833" y="4198"/>
                  </a:lnTo>
                  <a:lnTo>
                    <a:pt x="5637" y="4314"/>
                  </a:lnTo>
                  <a:lnTo>
                    <a:pt x="5440" y="4430"/>
                  </a:lnTo>
                  <a:lnTo>
                    <a:pt x="5241" y="4546"/>
                  </a:lnTo>
                  <a:lnTo>
                    <a:pt x="5039" y="4663"/>
                  </a:lnTo>
                  <a:lnTo>
                    <a:pt x="4825" y="4786"/>
                  </a:lnTo>
                  <a:lnTo>
                    <a:pt x="4611" y="4912"/>
                  </a:lnTo>
                  <a:lnTo>
                    <a:pt x="4395" y="5038"/>
                  </a:lnTo>
                  <a:lnTo>
                    <a:pt x="4180" y="5165"/>
                  </a:lnTo>
                  <a:lnTo>
                    <a:pt x="4073" y="5231"/>
                  </a:lnTo>
                  <a:lnTo>
                    <a:pt x="3966" y="5296"/>
                  </a:lnTo>
                  <a:lnTo>
                    <a:pt x="3860" y="5362"/>
                  </a:lnTo>
                  <a:lnTo>
                    <a:pt x="3753" y="5428"/>
                  </a:lnTo>
                  <a:lnTo>
                    <a:pt x="3647" y="5495"/>
                  </a:lnTo>
                  <a:lnTo>
                    <a:pt x="3541" y="5564"/>
                  </a:lnTo>
                  <a:lnTo>
                    <a:pt x="3435" y="5632"/>
                  </a:lnTo>
                  <a:lnTo>
                    <a:pt x="3330" y="5702"/>
                  </a:lnTo>
                  <a:lnTo>
                    <a:pt x="3226" y="5773"/>
                  </a:lnTo>
                  <a:lnTo>
                    <a:pt x="3123" y="5844"/>
                  </a:lnTo>
                  <a:lnTo>
                    <a:pt x="3020" y="5917"/>
                  </a:lnTo>
                  <a:lnTo>
                    <a:pt x="2917" y="5990"/>
                  </a:lnTo>
                  <a:lnTo>
                    <a:pt x="2815" y="6065"/>
                  </a:lnTo>
                  <a:lnTo>
                    <a:pt x="2713" y="6140"/>
                  </a:lnTo>
                  <a:lnTo>
                    <a:pt x="2613" y="6218"/>
                  </a:lnTo>
                  <a:lnTo>
                    <a:pt x="2514" y="6295"/>
                  </a:lnTo>
                  <a:lnTo>
                    <a:pt x="2415" y="6375"/>
                  </a:lnTo>
                  <a:lnTo>
                    <a:pt x="2317" y="6455"/>
                  </a:lnTo>
                  <a:lnTo>
                    <a:pt x="2220" y="6538"/>
                  </a:lnTo>
                  <a:lnTo>
                    <a:pt x="2125" y="6621"/>
                  </a:lnTo>
                  <a:lnTo>
                    <a:pt x="2031" y="6706"/>
                  </a:lnTo>
                  <a:lnTo>
                    <a:pt x="1937" y="6792"/>
                  </a:lnTo>
                  <a:lnTo>
                    <a:pt x="1844" y="6880"/>
                  </a:lnTo>
                  <a:lnTo>
                    <a:pt x="1753" y="6969"/>
                  </a:lnTo>
                  <a:lnTo>
                    <a:pt x="1677" y="7047"/>
                  </a:lnTo>
                  <a:lnTo>
                    <a:pt x="1602" y="7124"/>
                  </a:lnTo>
                  <a:lnTo>
                    <a:pt x="1529" y="7203"/>
                  </a:lnTo>
                  <a:lnTo>
                    <a:pt x="1457" y="7282"/>
                  </a:lnTo>
                  <a:lnTo>
                    <a:pt x="1387" y="7361"/>
                  </a:lnTo>
                  <a:lnTo>
                    <a:pt x="1319" y="7441"/>
                  </a:lnTo>
                  <a:lnTo>
                    <a:pt x="1251" y="7521"/>
                  </a:lnTo>
                  <a:lnTo>
                    <a:pt x="1186" y="7603"/>
                  </a:lnTo>
                  <a:lnTo>
                    <a:pt x="1121" y="7685"/>
                  </a:lnTo>
                  <a:lnTo>
                    <a:pt x="1059" y="7768"/>
                  </a:lnTo>
                  <a:lnTo>
                    <a:pt x="998" y="7850"/>
                  </a:lnTo>
                  <a:lnTo>
                    <a:pt x="938" y="7935"/>
                  </a:lnTo>
                  <a:lnTo>
                    <a:pt x="880" y="8018"/>
                  </a:lnTo>
                  <a:lnTo>
                    <a:pt x="823" y="8104"/>
                  </a:lnTo>
                  <a:lnTo>
                    <a:pt x="767" y="8189"/>
                  </a:lnTo>
                  <a:lnTo>
                    <a:pt x="714" y="8276"/>
                  </a:lnTo>
                  <a:lnTo>
                    <a:pt x="661" y="8363"/>
                  </a:lnTo>
                  <a:lnTo>
                    <a:pt x="610" y="8451"/>
                  </a:lnTo>
                  <a:lnTo>
                    <a:pt x="561" y="8540"/>
                  </a:lnTo>
                  <a:lnTo>
                    <a:pt x="513" y="8629"/>
                  </a:lnTo>
                  <a:lnTo>
                    <a:pt x="466" y="8719"/>
                  </a:lnTo>
                  <a:lnTo>
                    <a:pt x="420" y="8810"/>
                  </a:lnTo>
                  <a:lnTo>
                    <a:pt x="377" y="8902"/>
                  </a:lnTo>
                  <a:lnTo>
                    <a:pt x="335" y="8994"/>
                  </a:lnTo>
                  <a:lnTo>
                    <a:pt x="293" y="9088"/>
                  </a:lnTo>
                  <a:lnTo>
                    <a:pt x="254" y="9181"/>
                  </a:lnTo>
                  <a:lnTo>
                    <a:pt x="216" y="9276"/>
                  </a:lnTo>
                  <a:lnTo>
                    <a:pt x="178" y="9371"/>
                  </a:lnTo>
                  <a:lnTo>
                    <a:pt x="143" y="9468"/>
                  </a:lnTo>
                  <a:lnTo>
                    <a:pt x="109" y="9564"/>
                  </a:lnTo>
                  <a:lnTo>
                    <a:pt x="77" y="9663"/>
                  </a:lnTo>
                  <a:lnTo>
                    <a:pt x="45" y="9762"/>
                  </a:lnTo>
                  <a:lnTo>
                    <a:pt x="35" y="9795"/>
                  </a:lnTo>
                  <a:lnTo>
                    <a:pt x="27" y="9829"/>
                  </a:lnTo>
                  <a:lnTo>
                    <a:pt x="19" y="9863"/>
                  </a:lnTo>
                  <a:lnTo>
                    <a:pt x="13" y="9896"/>
                  </a:lnTo>
                  <a:lnTo>
                    <a:pt x="8" y="9931"/>
                  </a:lnTo>
                  <a:lnTo>
                    <a:pt x="5" y="9965"/>
                  </a:lnTo>
                  <a:lnTo>
                    <a:pt x="2" y="9999"/>
                  </a:lnTo>
                  <a:lnTo>
                    <a:pt x="0" y="10033"/>
                  </a:lnTo>
                  <a:lnTo>
                    <a:pt x="0" y="10067"/>
                  </a:lnTo>
                  <a:lnTo>
                    <a:pt x="1" y="10101"/>
                  </a:lnTo>
                  <a:lnTo>
                    <a:pt x="3" y="10135"/>
                  </a:lnTo>
                  <a:lnTo>
                    <a:pt x="6" y="10168"/>
                  </a:lnTo>
                  <a:lnTo>
                    <a:pt x="10" y="10202"/>
                  </a:lnTo>
                  <a:lnTo>
                    <a:pt x="16" y="10235"/>
                  </a:lnTo>
                  <a:lnTo>
                    <a:pt x="22" y="10269"/>
                  </a:lnTo>
                  <a:lnTo>
                    <a:pt x="29" y="10301"/>
                  </a:lnTo>
                  <a:lnTo>
                    <a:pt x="38" y="10334"/>
                  </a:lnTo>
                  <a:lnTo>
                    <a:pt x="48" y="10366"/>
                  </a:lnTo>
                  <a:lnTo>
                    <a:pt x="58" y="10398"/>
                  </a:lnTo>
                  <a:lnTo>
                    <a:pt x="71" y="10430"/>
                  </a:lnTo>
                  <a:lnTo>
                    <a:pt x="84" y="10461"/>
                  </a:lnTo>
                  <a:lnTo>
                    <a:pt x="98" y="10492"/>
                  </a:lnTo>
                  <a:lnTo>
                    <a:pt x="113" y="10522"/>
                  </a:lnTo>
                  <a:lnTo>
                    <a:pt x="129" y="10552"/>
                  </a:lnTo>
                  <a:lnTo>
                    <a:pt x="146" y="10581"/>
                  </a:lnTo>
                  <a:lnTo>
                    <a:pt x="164" y="10611"/>
                  </a:lnTo>
                  <a:lnTo>
                    <a:pt x="184" y="10639"/>
                  </a:lnTo>
                  <a:lnTo>
                    <a:pt x="204" y="10666"/>
                  </a:lnTo>
                  <a:lnTo>
                    <a:pt x="225" y="10693"/>
                  </a:lnTo>
                  <a:lnTo>
                    <a:pt x="248" y="10719"/>
                  </a:lnTo>
                  <a:lnTo>
                    <a:pt x="271" y="10745"/>
                  </a:lnTo>
                  <a:lnTo>
                    <a:pt x="295" y="10771"/>
                  </a:lnTo>
                  <a:lnTo>
                    <a:pt x="5337" y="15800"/>
                  </a:lnTo>
                  <a:lnTo>
                    <a:pt x="5360" y="15823"/>
                  </a:lnTo>
                  <a:lnTo>
                    <a:pt x="5385" y="15846"/>
                  </a:lnTo>
                  <a:lnTo>
                    <a:pt x="5409" y="15867"/>
                  </a:lnTo>
                  <a:lnTo>
                    <a:pt x="5435" y="15887"/>
                  </a:lnTo>
                  <a:lnTo>
                    <a:pt x="5462" y="15906"/>
                  </a:lnTo>
                  <a:lnTo>
                    <a:pt x="5488" y="15925"/>
                  </a:lnTo>
                  <a:lnTo>
                    <a:pt x="5515" y="15942"/>
                  </a:lnTo>
                  <a:lnTo>
                    <a:pt x="5543" y="15959"/>
                  </a:lnTo>
                  <a:lnTo>
                    <a:pt x="5572" y="15974"/>
                  </a:lnTo>
                  <a:lnTo>
                    <a:pt x="5600" y="15989"/>
                  </a:lnTo>
                  <a:lnTo>
                    <a:pt x="5629" y="16003"/>
                  </a:lnTo>
                  <a:lnTo>
                    <a:pt x="5658" y="16017"/>
                  </a:lnTo>
                  <a:lnTo>
                    <a:pt x="5688" y="16029"/>
                  </a:lnTo>
                  <a:lnTo>
                    <a:pt x="5718" y="16039"/>
                  </a:lnTo>
                  <a:lnTo>
                    <a:pt x="5749" y="16049"/>
                  </a:lnTo>
                  <a:lnTo>
                    <a:pt x="5779" y="16058"/>
                  </a:lnTo>
                  <a:lnTo>
                    <a:pt x="5811" y="16066"/>
                  </a:lnTo>
                  <a:lnTo>
                    <a:pt x="5842" y="16073"/>
                  </a:lnTo>
                  <a:lnTo>
                    <a:pt x="5873" y="16079"/>
                  </a:lnTo>
                  <a:lnTo>
                    <a:pt x="5904" y="16085"/>
                  </a:lnTo>
                  <a:lnTo>
                    <a:pt x="5937" y="16089"/>
                  </a:lnTo>
                  <a:lnTo>
                    <a:pt x="5969" y="16092"/>
                  </a:lnTo>
                  <a:lnTo>
                    <a:pt x="6001" y="16094"/>
                  </a:lnTo>
                  <a:lnTo>
                    <a:pt x="6033" y="16095"/>
                  </a:lnTo>
                  <a:lnTo>
                    <a:pt x="6066" y="16095"/>
                  </a:lnTo>
                  <a:lnTo>
                    <a:pt x="6098" y="16094"/>
                  </a:lnTo>
                  <a:lnTo>
                    <a:pt x="6130" y="16092"/>
                  </a:lnTo>
                  <a:lnTo>
                    <a:pt x="6162" y="16089"/>
                  </a:lnTo>
                  <a:lnTo>
                    <a:pt x="6195" y="16084"/>
                  </a:lnTo>
                  <a:lnTo>
                    <a:pt x="6227" y="16079"/>
                  </a:lnTo>
                  <a:lnTo>
                    <a:pt x="6259" y="16073"/>
                  </a:lnTo>
                  <a:lnTo>
                    <a:pt x="6291" y="16066"/>
                  </a:lnTo>
                  <a:lnTo>
                    <a:pt x="6326" y="16057"/>
                  </a:lnTo>
                  <a:lnTo>
                    <a:pt x="6359" y="16047"/>
                  </a:lnTo>
                  <a:lnTo>
                    <a:pt x="6391" y="16036"/>
                  </a:lnTo>
                  <a:lnTo>
                    <a:pt x="6424" y="16024"/>
                  </a:lnTo>
                  <a:lnTo>
                    <a:pt x="6456" y="16009"/>
                  </a:lnTo>
                  <a:lnTo>
                    <a:pt x="6487" y="15995"/>
                  </a:lnTo>
                  <a:lnTo>
                    <a:pt x="6517" y="15980"/>
                  </a:lnTo>
                  <a:lnTo>
                    <a:pt x="6548" y="15964"/>
                  </a:lnTo>
                  <a:lnTo>
                    <a:pt x="6577" y="15947"/>
                  </a:lnTo>
                  <a:lnTo>
                    <a:pt x="6605" y="15929"/>
                  </a:lnTo>
                  <a:lnTo>
                    <a:pt x="6633" y="15909"/>
                  </a:lnTo>
                  <a:lnTo>
                    <a:pt x="6660" y="15890"/>
                  </a:lnTo>
                  <a:lnTo>
                    <a:pt x="6687" y="15869"/>
                  </a:lnTo>
                  <a:lnTo>
                    <a:pt x="6713" y="15847"/>
                  </a:lnTo>
                  <a:lnTo>
                    <a:pt x="6738" y="15823"/>
                  </a:lnTo>
                  <a:lnTo>
                    <a:pt x="6762" y="15800"/>
                  </a:lnTo>
                  <a:lnTo>
                    <a:pt x="6784" y="15778"/>
                  </a:lnTo>
                  <a:lnTo>
                    <a:pt x="6804" y="15756"/>
                  </a:lnTo>
                  <a:lnTo>
                    <a:pt x="6824" y="15733"/>
                  </a:lnTo>
                  <a:lnTo>
                    <a:pt x="6843" y="15710"/>
                  </a:lnTo>
                  <a:lnTo>
                    <a:pt x="6861" y="15686"/>
                  </a:lnTo>
                  <a:lnTo>
                    <a:pt x="6879" y="15661"/>
                  </a:lnTo>
                  <a:lnTo>
                    <a:pt x="6895" y="15635"/>
                  </a:lnTo>
                  <a:lnTo>
                    <a:pt x="6912" y="15610"/>
                  </a:lnTo>
                  <a:lnTo>
                    <a:pt x="6928" y="15584"/>
                  </a:lnTo>
                  <a:lnTo>
                    <a:pt x="6942" y="15557"/>
                  </a:lnTo>
                  <a:lnTo>
                    <a:pt x="6956" y="15530"/>
                  </a:lnTo>
                  <a:lnTo>
                    <a:pt x="6969" y="15501"/>
                  </a:lnTo>
                  <a:lnTo>
                    <a:pt x="6981" y="15473"/>
                  </a:lnTo>
                  <a:lnTo>
                    <a:pt x="6992" y="15445"/>
                  </a:lnTo>
                  <a:lnTo>
                    <a:pt x="7003" y="15416"/>
                  </a:lnTo>
                  <a:lnTo>
                    <a:pt x="7012" y="15386"/>
                  </a:lnTo>
                  <a:lnTo>
                    <a:pt x="7035" y="15317"/>
                  </a:lnTo>
                  <a:lnTo>
                    <a:pt x="7058" y="15249"/>
                  </a:lnTo>
                  <a:lnTo>
                    <a:pt x="7081" y="15181"/>
                  </a:lnTo>
                  <a:lnTo>
                    <a:pt x="7106" y="15113"/>
                  </a:lnTo>
                  <a:lnTo>
                    <a:pt x="7132" y="15047"/>
                  </a:lnTo>
                  <a:lnTo>
                    <a:pt x="7159" y="14980"/>
                  </a:lnTo>
                  <a:lnTo>
                    <a:pt x="7187" y="14915"/>
                  </a:lnTo>
                  <a:lnTo>
                    <a:pt x="7216" y="14850"/>
                  </a:lnTo>
                  <a:lnTo>
                    <a:pt x="7245" y="14784"/>
                  </a:lnTo>
                  <a:lnTo>
                    <a:pt x="7277" y="14721"/>
                  </a:lnTo>
                  <a:lnTo>
                    <a:pt x="7309" y="14657"/>
                  </a:lnTo>
                  <a:lnTo>
                    <a:pt x="7341" y="14593"/>
                  </a:lnTo>
                  <a:lnTo>
                    <a:pt x="7375" y="14531"/>
                  </a:lnTo>
                  <a:lnTo>
                    <a:pt x="7411" y="14468"/>
                  </a:lnTo>
                  <a:lnTo>
                    <a:pt x="7446" y="14407"/>
                  </a:lnTo>
                  <a:lnTo>
                    <a:pt x="7483" y="14346"/>
                  </a:lnTo>
                  <a:lnTo>
                    <a:pt x="7522" y="14284"/>
                  </a:lnTo>
                  <a:lnTo>
                    <a:pt x="7561" y="14224"/>
                  </a:lnTo>
                  <a:lnTo>
                    <a:pt x="7601" y="14165"/>
                  </a:lnTo>
                  <a:lnTo>
                    <a:pt x="7642" y="14104"/>
                  </a:lnTo>
                  <a:lnTo>
                    <a:pt x="7684" y="14046"/>
                  </a:lnTo>
                  <a:lnTo>
                    <a:pt x="7727" y="13987"/>
                  </a:lnTo>
                  <a:lnTo>
                    <a:pt x="7773" y="13929"/>
                  </a:lnTo>
                  <a:lnTo>
                    <a:pt x="7818" y="13871"/>
                  </a:lnTo>
                  <a:lnTo>
                    <a:pt x="7864" y="13814"/>
                  </a:lnTo>
                  <a:lnTo>
                    <a:pt x="7912" y="13756"/>
                  </a:lnTo>
                  <a:lnTo>
                    <a:pt x="7961" y="13700"/>
                  </a:lnTo>
                  <a:lnTo>
                    <a:pt x="8011" y="13644"/>
                  </a:lnTo>
                  <a:lnTo>
                    <a:pt x="8062" y="13588"/>
                  </a:lnTo>
                  <a:lnTo>
                    <a:pt x="8113" y="13532"/>
                  </a:lnTo>
                  <a:lnTo>
                    <a:pt x="8167" y="13478"/>
                  </a:lnTo>
                  <a:lnTo>
                    <a:pt x="8221" y="13422"/>
                  </a:lnTo>
                  <a:lnTo>
                    <a:pt x="8295" y="13350"/>
                  </a:lnTo>
                  <a:lnTo>
                    <a:pt x="8370" y="13278"/>
                  </a:lnTo>
                  <a:lnTo>
                    <a:pt x="8446" y="13208"/>
                  </a:lnTo>
                  <a:lnTo>
                    <a:pt x="8524" y="13139"/>
                  </a:lnTo>
                  <a:lnTo>
                    <a:pt x="8603" y="13070"/>
                  </a:lnTo>
                  <a:lnTo>
                    <a:pt x="8683" y="13003"/>
                  </a:lnTo>
                  <a:lnTo>
                    <a:pt x="8765" y="12936"/>
                  </a:lnTo>
                  <a:lnTo>
                    <a:pt x="8847" y="12871"/>
                  </a:lnTo>
                  <a:lnTo>
                    <a:pt x="8931" y="12806"/>
                  </a:lnTo>
                  <a:lnTo>
                    <a:pt x="9016" y="12741"/>
                  </a:lnTo>
                  <a:lnTo>
                    <a:pt x="9101" y="12678"/>
                  </a:lnTo>
                  <a:lnTo>
                    <a:pt x="9188" y="12615"/>
                  </a:lnTo>
                  <a:lnTo>
                    <a:pt x="9277" y="12553"/>
                  </a:lnTo>
                  <a:lnTo>
                    <a:pt x="9366" y="12491"/>
                  </a:lnTo>
                  <a:lnTo>
                    <a:pt x="9455" y="12430"/>
                  </a:lnTo>
                  <a:lnTo>
                    <a:pt x="9546" y="12369"/>
                  </a:lnTo>
                  <a:lnTo>
                    <a:pt x="9638" y="12309"/>
                  </a:lnTo>
                  <a:lnTo>
                    <a:pt x="9730" y="12249"/>
                  </a:lnTo>
                  <a:lnTo>
                    <a:pt x="9823" y="12190"/>
                  </a:lnTo>
                  <a:lnTo>
                    <a:pt x="9917" y="12131"/>
                  </a:lnTo>
                  <a:lnTo>
                    <a:pt x="10012" y="12072"/>
                  </a:lnTo>
                  <a:lnTo>
                    <a:pt x="10107" y="12014"/>
                  </a:lnTo>
                  <a:lnTo>
                    <a:pt x="10203" y="11956"/>
                  </a:lnTo>
                  <a:lnTo>
                    <a:pt x="10300" y="11897"/>
                  </a:lnTo>
                  <a:lnTo>
                    <a:pt x="10495" y="11781"/>
                  </a:lnTo>
                  <a:lnTo>
                    <a:pt x="10692" y="11665"/>
                  </a:lnTo>
                  <a:lnTo>
                    <a:pt x="10892" y="11549"/>
                  </a:lnTo>
                  <a:lnTo>
                    <a:pt x="11093" y="11432"/>
                  </a:lnTo>
                  <a:lnTo>
                    <a:pt x="11308" y="11309"/>
                  </a:lnTo>
                  <a:lnTo>
                    <a:pt x="11522" y="11183"/>
                  </a:lnTo>
                  <a:lnTo>
                    <a:pt x="11737" y="11056"/>
                  </a:lnTo>
                  <a:lnTo>
                    <a:pt x="11952" y="10929"/>
                  </a:lnTo>
                  <a:lnTo>
                    <a:pt x="12059" y="10864"/>
                  </a:lnTo>
                  <a:lnTo>
                    <a:pt x="12166" y="10799"/>
                  </a:lnTo>
                  <a:lnTo>
                    <a:pt x="12272" y="10732"/>
                  </a:lnTo>
                  <a:lnTo>
                    <a:pt x="12379" y="10666"/>
                  </a:lnTo>
                  <a:lnTo>
                    <a:pt x="12485" y="10599"/>
                  </a:lnTo>
                  <a:lnTo>
                    <a:pt x="12591" y="10530"/>
                  </a:lnTo>
                  <a:lnTo>
                    <a:pt x="12697" y="10462"/>
                  </a:lnTo>
                  <a:lnTo>
                    <a:pt x="12802" y="10392"/>
                  </a:lnTo>
                  <a:lnTo>
                    <a:pt x="12906" y="10321"/>
                  </a:lnTo>
                  <a:lnTo>
                    <a:pt x="13009" y="10249"/>
                  </a:lnTo>
                  <a:lnTo>
                    <a:pt x="13113" y="10177"/>
                  </a:lnTo>
                  <a:lnTo>
                    <a:pt x="13215" y="10104"/>
                  </a:lnTo>
                  <a:lnTo>
                    <a:pt x="13317" y="10029"/>
                  </a:lnTo>
                  <a:lnTo>
                    <a:pt x="13419" y="9954"/>
                  </a:lnTo>
                  <a:lnTo>
                    <a:pt x="13519" y="9876"/>
                  </a:lnTo>
                  <a:lnTo>
                    <a:pt x="13618" y="9799"/>
                  </a:lnTo>
                  <a:lnTo>
                    <a:pt x="13717" y="9719"/>
                  </a:lnTo>
                  <a:lnTo>
                    <a:pt x="13815" y="9639"/>
                  </a:lnTo>
                  <a:lnTo>
                    <a:pt x="13912" y="9556"/>
                  </a:lnTo>
                  <a:lnTo>
                    <a:pt x="14007" y="9473"/>
                  </a:lnTo>
                  <a:lnTo>
                    <a:pt x="14101" y="9388"/>
                  </a:lnTo>
                  <a:lnTo>
                    <a:pt x="14195" y="9302"/>
                  </a:lnTo>
                  <a:lnTo>
                    <a:pt x="14288" y="9214"/>
                  </a:lnTo>
                  <a:lnTo>
                    <a:pt x="14379" y="9125"/>
                  </a:lnTo>
                  <a:lnTo>
                    <a:pt x="14455" y="9047"/>
                  </a:lnTo>
                  <a:lnTo>
                    <a:pt x="14530" y="8970"/>
                  </a:lnTo>
                  <a:lnTo>
                    <a:pt x="14602" y="8891"/>
                  </a:lnTo>
                  <a:lnTo>
                    <a:pt x="14675" y="8813"/>
                  </a:lnTo>
                  <a:lnTo>
                    <a:pt x="14745" y="8734"/>
                  </a:lnTo>
                  <a:lnTo>
                    <a:pt x="14813" y="8653"/>
                  </a:lnTo>
                  <a:lnTo>
                    <a:pt x="14881" y="8573"/>
                  </a:lnTo>
                  <a:lnTo>
                    <a:pt x="14946" y="8491"/>
                  </a:lnTo>
                  <a:lnTo>
                    <a:pt x="15011" y="8410"/>
                  </a:lnTo>
                  <a:lnTo>
                    <a:pt x="15073" y="8327"/>
                  </a:lnTo>
                  <a:lnTo>
                    <a:pt x="15134" y="8244"/>
                  </a:lnTo>
                  <a:lnTo>
                    <a:pt x="15194" y="8160"/>
                  </a:lnTo>
                  <a:lnTo>
                    <a:pt x="15252" y="8076"/>
                  </a:lnTo>
                  <a:lnTo>
                    <a:pt x="15309" y="7990"/>
                  </a:lnTo>
                  <a:lnTo>
                    <a:pt x="15365" y="7905"/>
                  </a:lnTo>
                  <a:lnTo>
                    <a:pt x="15418" y="7818"/>
                  </a:lnTo>
                  <a:lnTo>
                    <a:pt x="15471" y="7731"/>
                  </a:lnTo>
                  <a:lnTo>
                    <a:pt x="15522" y="7643"/>
                  </a:lnTo>
                  <a:lnTo>
                    <a:pt x="15571" y="7555"/>
                  </a:lnTo>
                  <a:lnTo>
                    <a:pt x="15619" y="7465"/>
                  </a:lnTo>
                  <a:lnTo>
                    <a:pt x="15666" y="7375"/>
                  </a:lnTo>
                  <a:lnTo>
                    <a:pt x="15712" y="7284"/>
                  </a:lnTo>
                  <a:lnTo>
                    <a:pt x="15755" y="7192"/>
                  </a:lnTo>
                  <a:lnTo>
                    <a:pt x="15797" y="7100"/>
                  </a:lnTo>
                  <a:lnTo>
                    <a:pt x="15839" y="7007"/>
                  </a:lnTo>
                  <a:lnTo>
                    <a:pt x="15878" y="6913"/>
                  </a:lnTo>
                  <a:lnTo>
                    <a:pt x="15916" y="6818"/>
                  </a:lnTo>
                  <a:lnTo>
                    <a:pt x="15954" y="6723"/>
                  </a:lnTo>
                  <a:lnTo>
                    <a:pt x="15989" y="6626"/>
                  </a:lnTo>
                  <a:lnTo>
                    <a:pt x="16023" y="6530"/>
                  </a:lnTo>
                  <a:lnTo>
                    <a:pt x="16055" y="6431"/>
                  </a:lnTo>
                  <a:lnTo>
                    <a:pt x="16087" y="6332"/>
                  </a:lnTo>
                  <a:lnTo>
                    <a:pt x="16097" y="6299"/>
                  </a:lnTo>
                  <a:lnTo>
                    <a:pt x="16105" y="6265"/>
                  </a:lnTo>
                  <a:lnTo>
                    <a:pt x="16113" y="6232"/>
                  </a:lnTo>
                  <a:lnTo>
                    <a:pt x="16119" y="6198"/>
                  </a:lnTo>
                  <a:lnTo>
                    <a:pt x="16124" y="6163"/>
                  </a:lnTo>
                  <a:lnTo>
                    <a:pt x="16127" y="6129"/>
                  </a:lnTo>
                  <a:lnTo>
                    <a:pt x="16130" y="6095"/>
                  </a:lnTo>
                  <a:lnTo>
                    <a:pt x="16132" y="6062"/>
                  </a:lnTo>
                  <a:lnTo>
                    <a:pt x="16132" y="6028"/>
                  </a:lnTo>
                  <a:lnTo>
                    <a:pt x="16131" y="5993"/>
                  </a:lnTo>
                  <a:lnTo>
                    <a:pt x="16129" y="5960"/>
                  </a:lnTo>
                  <a:lnTo>
                    <a:pt x="16126" y="5926"/>
                  </a:lnTo>
                  <a:lnTo>
                    <a:pt x="16122" y="5893"/>
                  </a:lnTo>
                  <a:lnTo>
                    <a:pt x="16116" y="5860"/>
                  </a:lnTo>
                  <a:lnTo>
                    <a:pt x="16110" y="5826"/>
                  </a:lnTo>
                  <a:lnTo>
                    <a:pt x="16103" y="5793"/>
                  </a:lnTo>
                  <a:lnTo>
                    <a:pt x="16094" y="5761"/>
                  </a:lnTo>
                  <a:lnTo>
                    <a:pt x="16084" y="5729"/>
                  </a:lnTo>
                  <a:lnTo>
                    <a:pt x="16074" y="5697"/>
                  </a:lnTo>
                  <a:lnTo>
                    <a:pt x="16061" y="5664"/>
                  </a:lnTo>
                  <a:lnTo>
                    <a:pt x="16048" y="5633"/>
                  </a:lnTo>
                  <a:lnTo>
                    <a:pt x="16034" y="5603"/>
                  </a:lnTo>
                  <a:lnTo>
                    <a:pt x="16019" y="5573"/>
                  </a:lnTo>
                  <a:lnTo>
                    <a:pt x="16003" y="5543"/>
                  </a:lnTo>
                  <a:lnTo>
                    <a:pt x="15986" y="5514"/>
                  </a:lnTo>
                  <a:lnTo>
                    <a:pt x="15968" y="5484"/>
                  </a:lnTo>
                  <a:lnTo>
                    <a:pt x="15948" y="5456"/>
                  </a:lnTo>
                  <a:lnTo>
                    <a:pt x="15928" y="5429"/>
                  </a:lnTo>
                  <a:lnTo>
                    <a:pt x="15907" y="5402"/>
                  </a:lnTo>
                  <a:lnTo>
                    <a:pt x="15884" y="5375"/>
                  </a:lnTo>
                  <a:lnTo>
                    <a:pt x="15861" y="5350"/>
                  </a:lnTo>
                  <a:lnTo>
                    <a:pt x="15837" y="53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00" name="íṥlîḋe">
              <a:extLst>
                <a:ext uri="{FF2B5EF4-FFF2-40B4-BE49-F238E27FC236}">
                  <a16:creationId xmlns:a16="http://schemas.microsoft.com/office/drawing/2014/main" id="{890B63B9-624E-4A6D-B3B5-C0DD237204F4}"/>
                </a:ext>
              </a:extLst>
            </p:cNvPr>
            <p:cNvSpPr/>
            <p:nvPr/>
          </p:nvSpPr>
          <p:spPr bwMode="auto">
            <a:xfrm>
              <a:off x="7028097" y="2187414"/>
              <a:ext cx="164967" cy="172017"/>
            </a:xfrm>
            <a:custGeom>
              <a:avLst/>
              <a:gdLst>
                <a:gd name="T0" fmla="*/ 3132 w 4362"/>
                <a:gd name="T1" fmla="*/ 3096 h 4518"/>
                <a:gd name="T2" fmla="*/ 2633 w 4362"/>
                <a:gd name="T3" fmla="*/ 2415 h 4518"/>
                <a:gd name="T4" fmla="*/ 3056 w 4362"/>
                <a:gd name="T5" fmla="*/ 2277 h 4518"/>
                <a:gd name="T6" fmla="*/ 3379 w 4362"/>
                <a:gd name="T7" fmla="*/ 2332 h 4518"/>
                <a:gd name="T8" fmla="*/ 3583 w 4362"/>
                <a:gd name="T9" fmla="*/ 2521 h 4518"/>
                <a:gd name="T10" fmla="*/ 3655 w 4362"/>
                <a:gd name="T11" fmla="*/ 2803 h 4518"/>
                <a:gd name="T12" fmla="*/ 1124 w 4362"/>
                <a:gd name="T13" fmla="*/ 2140 h 4518"/>
                <a:gd name="T14" fmla="*/ 801 w 4362"/>
                <a:gd name="T15" fmla="*/ 1993 h 4518"/>
                <a:gd name="T16" fmla="*/ 680 w 4362"/>
                <a:gd name="T17" fmla="*/ 1678 h 4518"/>
                <a:gd name="T18" fmla="*/ 821 w 4362"/>
                <a:gd name="T19" fmla="*/ 1269 h 4518"/>
                <a:gd name="T20" fmla="*/ 1394 w 4362"/>
                <a:gd name="T21" fmla="*/ 1652 h 4518"/>
                <a:gd name="T22" fmla="*/ 1411 w 4362"/>
                <a:gd name="T23" fmla="*/ 2093 h 4518"/>
                <a:gd name="T24" fmla="*/ 3840 w 4362"/>
                <a:gd name="T25" fmla="*/ 1684 h 4518"/>
                <a:gd name="T26" fmla="*/ 3406 w 4362"/>
                <a:gd name="T27" fmla="*/ 1499 h 4518"/>
                <a:gd name="T28" fmla="*/ 2969 w 4362"/>
                <a:gd name="T29" fmla="*/ 1472 h 4518"/>
                <a:gd name="T30" fmla="*/ 2528 w 4362"/>
                <a:gd name="T31" fmla="*/ 1573 h 4518"/>
                <a:gd name="T32" fmla="*/ 1732 w 4362"/>
                <a:gd name="T33" fmla="*/ 1516 h 4518"/>
                <a:gd name="T34" fmla="*/ 1241 w 4362"/>
                <a:gd name="T35" fmla="*/ 847 h 4518"/>
                <a:gd name="T36" fmla="*/ 1571 w 4362"/>
                <a:gd name="T37" fmla="*/ 732 h 4518"/>
                <a:gd name="T38" fmla="*/ 2116 w 4362"/>
                <a:gd name="T39" fmla="*/ 825 h 4518"/>
                <a:gd name="T40" fmla="*/ 2348 w 4362"/>
                <a:gd name="T41" fmla="*/ 801 h 4518"/>
                <a:gd name="T42" fmla="*/ 2491 w 4362"/>
                <a:gd name="T43" fmla="*/ 617 h 4518"/>
                <a:gd name="T44" fmla="*/ 2475 w 4362"/>
                <a:gd name="T45" fmla="*/ 366 h 4518"/>
                <a:gd name="T46" fmla="*/ 2240 w 4362"/>
                <a:gd name="T47" fmla="*/ 108 h 4518"/>
                <a:gd name="T48" fmla="*/ 1861 w 4362"/>
                <a:gd name="T49" fmla="*/ 2 h 4518"/>
                <a:gd name="T50" fmla="*/ 1447 w 4362"/>
                <a:gd name="T51" fmla="*/ 51 h 4518"/>
                <a:gd name="T52" fmla="*/ 1028 w 4362"/>
                <a:gd name="T53" fmla="*/ 241 h 4518"/>
                <a:gd name="T54" fmla="*/ 593 w 4362"/>
                <a:gd name="T55" fmla="*/ 342 h 4518"/>
                <a:gd name="T56" fmla="*/ 417 w 4362"/>
                <a:gd name="T57" fmla="*/ 344 h 4518"/>
                <a:gd name="T58" fmla="*/ 317 w 4362"/>
                <a:gd name="T59" fmla="*/ 504 h 4518"/>
                <a:gd name="T60" fmla="*/ 456 w 4362"/>
                <a:gd name="T61" fmla="*/ 721 h 4518"/>
                <a:gd name="T62" fmla="*/ 211 w 4362"/>
                <a:gd name="T63" fmla="*/ 1149 h 4518"/>
                <a:gd name="T64" fmla="*/ 34 w 4362"/>
                <a:gd name="T65" fmla="*/ 1621 h 4518"/>
                <a:gd name="T66" fmla="*/ 10 w 4362"/>
                <a:gd name="T67" fmla="*/ 2070 h 4518"/>
                <a:gd name="T68" fmla="*/ 158 w 4362"/>
                <a:gd name="T69" fmla="*/ 2459 h 4518"/>
                <a:gd name="T70" fmla="*/ 474 w 4362"/>
                <a:gd name="T71" fmla="*/ 2756 h 4518"/>
                <a:gd name="T72" fmla="*/ 828 w 4362"/>
                <a:gd name="T73" fmla="*/ 2905 h 4518"/>
                <a:gd name="T74" fmla="*/ 1261 w 4362"/>
                <a:gd name="T75" fmla="*/ 2929 h 4518"/>
                <a:gd name="T76" fmla="*/ 2177 w 4362"/>
                <a:gd name="T77" fmla="*/ 2653 h 4518"/>
                <a:gd name="T78" fmla="*/ 2973 w 4362"/>
                <a:gd name="T79" fmla="*/ 3437 h 4518"/>
                <a:gd name="T80" fmla="*/ 2902 w 4362"/>
                <a:gd name="T81" fmla="*/ 3773 h 4518"/>
                <a:gd name="T82" fmla="*/ 2620 w 4362"/>
                <a:gd name="T83" fmla="*/ 3814 h 4518"/>
                <a:gd name="T84" fmla="*/ 2301 w 4362"/>
                <a:gd name="T85" fmla="*/ 3676 h 4518"/>
                <a:gd name="T86" fmla="*/ 1951 w 4362"/>
                <a:gd name="T87" fmla="*/ 3525 h 4518"/>
                <a:gd name="T88" fmla="*/ 1747 w 4362"/>
                <a:gd name="T89" fmla="*/ 3591 h 4518"/>
                <a:gd name="T90" fmla="*/ 1591 w 4362"/>
                <a:gd name="T91" fmla="*/ 3790 h 4518"/>
                <a:gd name="T92" fmla="*/ 1619 w 4362"/>
                <a:gd name="T93" fmla="*/ 4034 h 4518"/>
                <a:gd name="T94" fmla="*/ 1834 w 4362"/>
                <a:gd name="T95" fmla="*/ 4277 h 4518"/>
                <a:gd name="T96" fmla="*/ 2170 w 4362"/>
                <a:gd name="T97" fmla="*/ 4454 h 4518"/>
                <a:gd name="T98" fmla="*/ 2588 w 4362"/>
                <a:gd name="T99" fmla="*/ 4518 h 4518"/>
                <a:gd name="T100" fmla="*/ 3057 w 4362"/>
                <a:gd name="T101" fmla="*/ 4420 h 4518"/>
                <a:gd name="T102" fmla="*/ 3543 w 4362"/>
                <a:gd name="T103" fmla="*/ 4094 h 4518"/>
                <a:gd name="T104" fmla="*/ 3921 w 4362"/>
                <a:gd name="T105" fmla="*/ 4346 h 4518"/>
                <a:gd name="T106" fmla="*/ 4078 w 4362"/>
                <a:gd name="T107" fmla="*/ 4315 h 4518"/>
                <a:gd name="T108" fmla="*/ 4164 w 4362"/>
                <a:gd name="T109" fmla="*/ 4161 h 4518"/>
                <a:gd name="T110" fmla="*/ 4000 w 4362"/>
                <a:gd name="T111" fmla="*/ 3928 h 4518"/>
                <a:gd name="T112" fmla="*/ 4060 w 4362"/>
                <a:gd name="T113" fmla="*/ 3466 h 4518"/>
                <a:gd name="T114" fmla="*/ 4292 w 4362"/>
                <a:gd name="T115" fmla="*/ 2963 h 4518"/>
                <a:gd name="T116" fmla="*/ 4361 w 4362"/>
                <a:gd name="T117" fmla="*/ 2501 h 4518"/>
                <a:gd name="T118" fmla="*/ 4260 w 4362"/>
                <a:gd name="T119" fmla="*/ 2107 h 4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362" h="4518">
                  <a:moveTo>
                    <a:pt x="3555" y="3147"/>
                  </a:moveTo>
                  <a:lnTo>
                    <a:pt x="3538" y="3178"/>
                  </a:lnTo>
                  <a:lnTo>
                    <a:pt x="3520" y="3209"/>
                  </a:lnTo>
                  <a:lnTo>
                    <a:pt x="3501" y="3238"/>
                  </a:lnTo>
                  <a:lnTo>
                    <a:pt x="3481" y="3266"/>
                  </a:lnTo>
                  <a:lnTo>
                    <a:pt x="3461" y="3293"/>
                  </a:lnTo>
                  <a:lnTo>
                    <a:pt x="3441" y="3319"/>
                  </a:lnTo>
                  <a:lnTo>
                    <a:pt x="3419" y="3345"/>
                  </a:lnTo>
                  <a:lnTo>
                    <a:pt x="3397" y="3371"/>
                  </a:lnTo>
                  <a:lnTo>
                    <a:pt x="3343" y="3316"/>
                  </a:lnTo>
                  <a:lnTo>
                    <a:pt x="3291" y="3262"/>
                  </a:lnTo>
                  <a:lnTo>
                    <a:pt x="3237" y="3208"/>
                  </a:lnTo>
                  <a:lnTo>
                    <a:pt x="3185" y="3151"/>
                  </a:lnTo>
                  <a:lnTo>
                    <a:pt x="3132" y="3096"/>
                  </a:lnTo>
                  <a:lnTo>
                    <a:pt x="3079" y="3040"/>
                  </a:lnTo>
                  <a:lnTo>
                    <a:pt x="3026" y="2982"/>
                  </a:lnTo>
                  <a:lnTo>
                    <a:pt x="2973" y="2925"/>
                  </a:lnTo>
                  <a:lnTo>
                    <a:pt x="2920" y="2867"/>
                  </a:lnTo>
                  <a:lnTo>
                    <a:pt x="2867" y="2808"/>
                  </a:lnTo>
                  <a:lnTo>
                    <a:pt x="2814" y="2750"/>
                  </a:lnTo>
                  <a:lnTo>
                    <a:pt x="2762" y="2690"/>
                  </a:lnTo>
                  <a:lnTo>
                    <a:pt x="2708" y="2631"/>
                  </a:lnTo>
                  <a:lnTo>
                    <a:pt x="2656" y="2572"/>
                  </a:lnTo>
                  <a:lnTo>
                    <a:pt x="2602" y="2511"/>
                  </a:lnTo>
                  <a:lnTo>
                    <a:pt x="2550" y="2452"/>
                  </a:lnTo>
                  <a:lnTo>
                    <a:pt x="2577" y="2440"/>
                  </a:lnTo>
                  <a:lnTo>
                    <a:pt x="2604" y="2427"/>
                  </a:lnTo>
                  <a:lnTo>
                    <a:pt x="2633" y="2415"/>
                  </a:lnTo>
                  <a:lnTo>
                    <a:pt x="2661" y="2403"/>
                  </a:lnTo>
                  <a:lnTo>
                    <a:pt x="2690" y="2390"/>
                  </a:lnTo>
                  <a:lnTo>
                    <a:pt x="2719" y="2377"/>
                  </a:lnTo>
                  <a:lnTo>
                    <a:pt x="2748" y="2365"/>
                  </a:lnTo>
                  <a:lnTo>
                    <a:pt x="2779" y="2351"/>
                  </a:lnTo>
                  <a:lnTo>
                    <a:pt x="2810" y="2339"/>
                  </a:lnTo>
                  <a:lnTo>
                    <a:pt x="2840" y="2328"/>
                  </a:lnTo>
                  <a:lnTo>
                    <a:pt x="2871" y="2318"/>
                  </a:lnTo>
                  <a:lnTo>
                    <a:pt x="2902" y="2308"/>
                  </a:lnTo>
                  <a:lnTo>
                    <a:pt x="2932" y="2300"/>
                  </a:lnTo>
                  <a:lnTo>
                    <a:pt x="2963" y="2293"/>
                  </a:lnTo>
                  <a:lnTo>
                    <a:pt x="2993" y="2286"/>
                  </a:lnTo>
                  <a:lnTo>
                    <a:pt x="3025" y="2281"/>
                  </a:lnTo>
                  <a:lnTo>
                    <a:pt x="3056" y="2277"/>
                  </a:lnTo>
                  <a:lnTo>
                    <a:pt x="3087" y="2274"/>
                  </a:lnTo>
                  <a:lnTo>
                    <a:pt x="3119" y="2273"/>
                  </a:lnTo>
                  <a:lnTo>
                    <a:pt x="3149" y="2274"/>
                  </a:lnTo>
                  <a:lnTo>
                    <a:pt x="3180" y="2276"/>
                  </a:lnTo>
                  <a:lnTo>
                    <a:pt x="3211" y="2280"/>
                  </a:lnTo>
                  <a:lnTo>
                    <a:pt x="3243" y="2285"/>
                  </a:lnTo>
                  <a:lnTo>
                    <a:pt x="3274" y="2292"/>
                  </a:lnTo>
                  <a:lnTo>
                    <a:pt x="3289" y="2296"/>
                  </a:lnTo>
                  <a:lnTo>
                    <a:pt x="3304" y="2300"/>
                  </a:lnTo>
                  <a:lnTo>
                    <a:pt x="3319" y="2306"/>
                  </a:lnTo>
                  <a:lnTo>
                    <a:pt x="3334" y="2311"/>
                  </a:lnTo>
                  <a:lnTo>
                    <a:pt x="3349" y="2318"/>
                  </a:lnTo>
                  <a:lnTo>
                    <a:pt x="3364" y="2325"/>
                  </a:lnTo>
                  <a:lnTo>
                    <a:pt x="3379" y="2332"/>
                  </a:lnTo>
                  <a:lnTo>
                    <a:pt x="3393" y="2340"/>
                  </a:lnTo>
                  <a:lnTo>
                    <a:pt x="3408" y="2349"/>
                  </a:lnTo>
                  <a:lnTo>
                    <a:pt x="3422" y="2359"/>
                  </a:lnTo>
                  <a:lnTo>
                    <a:pt x="3436" y="2369"/>
                  </a:lnTo>
                  <a:lnTo>
                    <a:pt x="3450" y="2379"/>
                  </a:lnTo>
                  <a:lnTo>
                    <a:pt x="3463" y="2390"/>
                  </a:lnTo>
                  <a:lnTo>
                    <a:pt x="3477" y="2401"/>
                  </a:lnTo>
                  <a:lnTo>
                    <a:pt x="3492" y="2413"/>
                  </a:lnTo>
                  <a:lnTo>
                    <a:pt x="3505" y="2426"/>
                  </a:lnTo>
                  <a:lnTo>
                    <a:pt x="3530" y="2453"/>
                  </a:lnTo>
                  <a:lnTo>
                    <a:pt x="3553" y="2480"/>
                  </a:lnTo>
                  <a:lnTo>
                    <a:pt x="3564" y="2493"/>
                  </a:lnTo>
                  <a:lnTo>
                    <a:pt x="3573" y="2507"/>
                  </a:lnTo>
                  <a:lnTo>
                    <a:pt x="3583" y="2521"/>
                  </a:lnTo>
                  <a:lnTo>
                    <a:pt x="3591" y="2535"/>
                  </a:lnTo>
                  <a:lnTo>
                    <a:pt x="3599" y="2549"/>
                  </a:lnTo>
                  <a:lnTo>
                    <a:pt x="3608" y="2563"/>
                  </a:lnTo>
                  <a:lnTo>
                    <a:pt x="3615" y="2578"/>
                  </a:lnTo>
                  <a:lnTo>
                    <a:pt x="3621" y="2592"/>
                  </a:lnTo>
                  <a:lnTo>
                    <a:pt x="3626" y="2606"/>
                  </a:lnTo>
                  <a:lnTo>
                    <a:pt x="3631" y="2621"/>
                  </a:lnTo>
                  <a:lnTo>
                    <a:pt x="3635" y="2635"/>
                  </a:lnTo>
                  <a:lnTo>
                    <a:pt x="3639" y="2650"/>
                  </a:lnTo>
                  <a:lnTo>
                    <a:pt x="3645" y="2680"/>
                  </a:lnTo>
                  <a:lnTo>
                    <a:pt x="3650" y="2711"/>
                  </a:lnTo>
                  <a:lnTo>
                    <a:pt x="3653" y="2742"/>
                  </a:lnTo>
                  <a:lnTo>
                    <a:pt x="3655" y="2772"/>
                  </a:lnTo>
                  <a:lnTo>
                    <a:pt x="3655" y="2803"/>
                  </a:lnTo>
                  <a:lnTo>
                    <a:pt x="3653" y="2833"/>
                  </a:lnTo>
                  <a:lnTo>
                    <a:pt x="3650" y="2865"/>
                  </a:lnTo>
                  <a:lnTo>
                    <a:pt x="3646" y="2896"/>
                  </a:lnTo>
                  <a:lnTo>
                    <a:pt x="3640" y="2927"/>
                  </a:lnTo>
                  <a:lnTo>
                    <a:pt x="3632" y="2958"/>
                  </a:lnTo>
                  <a:lnTo>
                    <a:pt x="3623" y="2989"/>
                  </a:lnTo>
                  <a:lnTo>
                    <a:pt x="3613" y="3021"/>
                  </a:lnTo>
                  <a:lnTo>
                    <a:pt x="3600" y="3053"/>
                  </a:lnTo>
                  <a:lnTo>
                    <a:pt x="3586" y="3084"/>
                  </a:lnTo>
                  <a:lnTo>
                    <a:pt x="3571" y="3116"/>
                  </a:lnTo>
                  <a:lnTo>
                    <a:pt x="3555" y="3147"/>
                  </a:lnTo>
                  <a:close/>
                  <a:moveTo>
                    <a:pt x="1177" y="2140"/>
                  </a:moveTo>
                  <a:lnTo>
                    <a:pt x="1150" y="2141"/>
                  </a:lnTo>
                  <a:lnTo>
                    <a:pt x="1124" y="2140"/>
                  </a:lnTo>
                  <a:lnTo>
                    <a:pt x="1099" y="2138"/>
                  </a:lnTo>
                  <a:lnTo>
                    <a:pt x="1074" y="2135"/>
                  </a:lnTo>
                  <a:lnTo>
                    <a:pt x="1049" y="2130"/>
                  </a:lnTo>
                  <a:lnTo>
                    <a:pt x="1024" y="2124"/>
                  </a:lnTo>
                  <a:lnTo>
                    <a:pt x="1000" y="2117"/>
                  </a:lnTo>
                  <a:lnTo>
                    <a:pt x="976" y="2109"/>
                  </a:lnTo>
                  <a:lnTo>
                    <a:pt x="953" y="2099"/>
                  </a:lnTo>
                  <a:lnTo>
                    <a:pt x="931" y="2088"/>
                  </a:lnTo>
                  <a:lnTo>
                    <a:pt x="907" y="2076"/>
                  </a:lnTo>
                  <a:lnTo>
                    <a:pt x="885" y="2062"/>
                  </a:lnTo>
                  <a:lnTo>
                    <a:pt x="864" y="2047"/>
                  </a:lnTo>
                  <a:lnTo>
                    <a:pt x="843" y="2031"/>
                  </a:lnTo>
                  <a:lnTo>
                    <a:pt x="822" y="2012"/>
                  </a:lnTo>
                  <a:lnTo>
                    <a:pt x="801" y="1993"/>
                  </a:lnTo>
                  <a:lnTo>
                    <a:pt x="784" y="1977"/>
                  </a:lnTo>
                  <a:lnTo>
                    <a:pt x="769" y="1959"/>
                  </a:lnTo>
                  <a:lnTo>
                    <a:pt x="755" y="1940"/>
                  </a:lnTo>
                  <a:lnTo>
                    <a:pt x="742" y="1920"/>
                  </a:lnTo>
                  <a:lnTo>
                    <a:pt x="730" y="1900"/>
                  </a:lnTo>
                  <a:lnTo>
                    <a:pt x="720" y="1878"/>
                  </a:lnTo>
                  <a:lnTo>
                    <a:pt x="711" y="1856"/>
                  </a:lnTo>
                  <a:lnTo>
                    <a:pt x="703" y="1831"/>
                  </a:lnTo>
                  <a:lnTo>
                    <a:pt x="696" y="1807"/>
                  </a:lnTo>
                  <a:lnTo>
                    <a:pt x="690" y="1783"/>
                  </a:lnTo>
                  <a:lnTo>
                    <a:pt x="686" y="1758"/>
                  </a:lnTo>
                  <a:lnTo>
                    <a:pt x="683" y="1732"/>
                  </a:lnTo>
                  <a:lnTo>
                    <a:pt x="681" y="1705"/>
                  </a:lnTo>
                  <a:lnTo>
                    <a:pt x="680" y="1678"/>
                  </a:lnTo>
                  <a:lnTo>
                    <a:pt x="681" y="1650"/>
                  </a:lnTo>
                  <a:lnTo>
                    <a:pt x="684" y="1622"/>
                  </a:lnTo>
                  <a:lnTo>
                    <a:pt x="687" y="1593"/>
                  </a:lnTo>
                  <a:lnTo>
                    <a:pt x="691" y="1564"/>
                  </a:lnTo>
                  <a:lnTo>
                    <a:pt x="698" y="1536"/>
                  </a:lnTo>
                  <a:lnTo>
                    <a:pt x="705" y="1507"/>
                  </a:lnTo>
                  <a:lnTo>
                    <a:pt x="715" y="1476"/>
                  </a:lnTo>
                  <a:lnTo>
                    <a:pt x="725" y="1447"/>
                  </a:lnTo>
                  <a:lnTo>
                    <a:pt x="738" y="1418"/>
                  </a:lnTo>
                  <a:lnTo>
                    <a:pt x="752" y="1388"/>
                  </a:lnTo>
                  <a:lnTo>
                    <a:pt x="766" y="1358"/>
                  </a:lnTo>
                  <a:lnTo>
                    <a:pt x="783" y="1328"/>
                  </a:lnTo>
                  <a:lnTo>
                    <a:pt x="802" y="1298"/>
                  </a:lnTo>
                  <a:lnTo>
                    <a:pt x="821" y="1269"/>
                  </a:lnTo>
                  <a:lnTo>
                    <a:pt x="842" y="1240"/>
                  </a:lnTo>
                  <a:lnTo>
                    <a:pt x="865" y="1210"/>
                  </a:lnTo>
                  <a:lnTo>
                    <a:pt x="889" y="1181"/>
                  </a:lnTo>
                  <a:lnTo>
                    <a:pt x="915" y="1152"/>
                  </a:lnTo>
                  <a:lnTo>
                    <a:pt x="963" y="1200"/>
                  </a:lnTo>
                  <a:lnTo>
                    <a:pt x="1011" y="1248"/>
                  </a:lnTo>
                  <a:lnTo>
                    <a:pt x="1060" y="1297"/>
                  </a:lnTo>
                  <a:lnTo>
                    <a:pt x="1107" y="1347"/>
                  </a:lnTo>
                  <a:lnTo>
                    <a:pt x="1154" y="1397"/>
                  </a:lnTo>
                  <a:lnTo>
                    <a:pt x="1203" y="1447"/>
                  </a:lnTo>
                  <a:lnTo>
                    <a:pt x="1250" y="1497"/>
                  </a:lnTo>
                  <a:lnTo>
                    <a:pt x="1299" y="1549"/>
                  </a:lnTo>
                  <a:lnTo>
                    <a:pt x="1346" y="1600"/>
                  </a:lnTo>
                  <a:lnTo>
                    <a:pt x="1394" y="1652"/>
                  </a:lnTo>
                  <a:lnTo>
                    <a:pt x="1442" y="1705"/>
                  </a:lnTo>
                  <a:lnTo>
                    <a:pt x="1490" y="1758"/>
                  </a:lnTo>
                  <a:lnTo>
                    <a:pt x="1538" y="1810"/>
                  </a:lnTo>
                  <a:lnTo>
                    <a:pt x="1586" y="1864"/>
                  </a:lnTo>
                  <a:lnTo>
                    <a:pt x="1633" y="1918"/>
                  </a:lnTo>
                  <a:lnTo>
                    <a:pt x="1682" y="1971"/>
                  </a:lnTo>
                  <a:lnTo>
                    <a:pt x="1645" y="1990"/>
                  </a:lnTo>
                  <a:lnTo>
                    <a:pt x="1610" y="2008"/>
                  </a:lnTo>
                  <a:lnTo>
                    <a:pt x="1575" y="2026"/>
                  </a:lnTo>
                  <a:lnTo>
                    <a:pt x="1541" y="2042"/>
                  </a:lnTo>
                  <a:lnTo>
                    <a:pt x="1507" y="2057"/>
                  </a:lnTo>
                  <a:lnTo>
                    <a:pt x="1474" y="2070"/>
                  </a:lnTo>
                  <a:lnTo>
                    <a:pt x="1442" y="2082"/>
                  </a:lnTo>
                  <a:lnTo>
                    <a:pt x="1411" y="2093"/>
                  </a:lnTo>
                  <a:lnTo>
                    <a:pt x="1379" y="2103"/>
                  </a:lnTo>
                  <a:lnTo>
                    <a:pt x="1348" y="2112"/>
                  </a:lnTo>
                  <a:lnTo>
                    <a:pt x="1319" y="2120"/>
                  </a:lnTo>
                  <a:lnTo>
                    <a:pt x="1289" y="2126"/>
                  </a:lnTo>
                  <a:lnTo>
                    <a:pt x="1260" y="2131"/>
                  </a:lnTo>
                  <a:lnTo>
                    <a:pt x="1232" y="2135"/>
                  </a:lnTo>
                  <a:lnTo>
                    <a:pt x="1204" y="2138"/>
                  </a:lnTo>
                  <a:lnTo>
                    <a:pt x="1177" y="2140"/>
                  </a:lnTo>
                  <a:close/>
                  <a:moveTo>
                    <a:pt x="3995" y="1799"/>
                  </a:moveTo>
                  <a:lnTo>
                    <a:pt x="3964" y="1774"/>
                  </a:lnTo>
                  <a:lnTo>
                    <a:pt x="3933" y="1750"/>
                  </a:lnTo>
                  <a:lnTo>
                    <a:pt x="3903" y="1727"/>
                  </a:lnTo>
                  <a:lnTo>
                    <a:pt x="3872" y="1705"/>
                  </a:lnTo>
                  <a:lnTo>
                    <a:pt x="3840" y="1684"/>
                  </a:lnTo>
                  <a:lnTo>
                    <a:pt x="3810" y="1663"/>
                  </a:lnTo>
                  <a:lnTo>
                    <a:pt x="3779" y="1644"/>
                  </a:lnTo>
                  <a:lnTo>
                    <a:pt x="3748" y="1626"/>
                  </a:lnTo>
                  <a:lnTo>
                    <a:pt x="3716" y="1610"/>
                  </a:lnTo>
                  <a:lnTo>
                    <a:pt x="3686" y="1594"/>
                  </a:lnTo>
                  <a:lnTo>
                    <a:pt x="3655" y="1579"/>
                  </a:lnTo>
                  <a:lnTo>
                    <a:pt x="3624" y="1566"/>
                  </a:lnTo>
                  <a:lnTo>
                    <a:pt x="3592" y="1554"/>
                  </a:lnTo>
                  <a:lnTo>
                    <a:pt x="3561" y="1542"/>
                  </a:lnTo>
                  <a:lnTo>
                    <a:pt x="3530" y="1532"/>
                  </a:lnTo>
                  <a:lnTo>
                    <a:pt x="3499" y="1523"/>
                  </a:lnTo>
                  <a:lnTo>
                    <a:pt x="3468" y="1515"/>
                  </a:lnTo>
                  <a:lnTo>
                    <a:pt x="3437" y="1507"/>
                  </a:lnTo>
                  <a:lnTo>
                    <a:pt x="3406" y="1499"/>
                  </a:lnTo>
                  <a:lnTo>
                    <a:pt x="3375" y="1493"/>
                  </a:lnTo>
                  <a:lnTo>
                    <a:pt x="3344" y="1487"/>
                  </a:lnTo>
                  <a:lnTo>
                    <a:pt x="3313" y="1482"/>
                  </a:lnTo>
                  <a:lnTo>
                    <a:pt x="3282" y="1478"/>
                  </a:lnTo>
                  <a:lnTo>
                    <a:pt x="3251" y="1474"/>
                  </a:lnTo>
                  <a:lnTo>
                    <a:pt x="3219" y="1471"/>
                  </a:lnTo>
                  <a:lnTo>
                    <a:pt x="3188" y="1469"/>
                  </a:lnTo>
                  <a:lnTo>
                    <a:pt x="3157" y="1467"/>
                  </a:lnTo>
                  <a:lnTo>
                    <a:pt x="3126" y="1466"/>
                  </a:lnTo>
                  <a:lnTo>
                    <a:pt x="3094" y="1466"/>
                  </a:lnTo>
                  <a:lnTo>
                    <a:pt x="3063" y="1466"/>
                  </a:lnTo>
                  <a:lnTo>
                    <a:pt x="3032" y="1467"/>
                  </a:lnTo>
                  <a:lnTo>
                    <a:pt x="3001" y="1469"/>
                  </a:lnTo>
                  <a:lnTo>
                    <a:pt x="2969" y="1472"/>
                  </a:lnTo>
                  <a:lnTo>
                    <a:pt x="2938" y="1475"/>
                  </a:lnTo>
                  <a:lnTo>
                    <a:pt x="2907" y="1479"/>
                  </a:lnTo>
                  <a:lnTo>
                    <a:pt x="2876" y="1483"/>
                  </a:lnTo>
                  <a:lnTo>
                    <a:pt x="2844" y="1488"/>
                  </a:lnTo>
                  <a:lnTo>
                    <a:pt x="2813" y="1494"/>
                  </a:lnTo>
                  <a:lnTo>
                    <a:pt x="2782" y="1500"/>
                  </a:lnTo>
                  <a:lnTo>
                    <a:pt x="2751" y="1508"/>
                  </a:lnTo>
                  <a:lnTo>
                    <a:pt x="2718" y="1515"/>
                  </a:lnTo>
                  <a:lnTo>
                    <a:pt x="2687" y="1523"/>
                  </a:lnTo>
                  <a:lnTo>
                    <a:pt x="2655" y="1532"/>
                  </a:lnTo>
                  <a:lnTo>
                    <a:pt x="2623" y="1541"/>
                  </a:lnTo>
                  <a:lnTo>
                    <a:pt x="2591" y="1551"/>
                  </a:lnTo>
                  <a:lnTo>
                    <a:pt x="2560" y="1562"/>
                  </a:lnTo>
                  <a:lnTo>
                    <a:pt x="2528" y="1573"/>
                  </a:lnTo>
                  <a:lnTo>
                    <a:pt x="2496" y="1585"/>
                  </a:lnTo>
                  <a:lnTo>
                    <a:pt x="2433" y="1609"/>
                  </a:lnTo>
                  <a:lnTo>
                    <a:pt x="2369" y="1635"/>
                  </a:lnTo>
                  <a:lnTo>
                    <a:pt x="2306" y="1661"/>
                  </a:lnTo>
                  <a:lnTo>
                    <a:pt x="2241" y="1688"/>
                  </a:lnTo>
                  <a:lnTo>
                    <a:pt x="2178" y="1716"/>
                  </a:lnTo>
                  <a:lnTo>
                    <a:pt x="2114" y="1744"/>
                  </a:lnTo>
                  <a:lnTo>
                    <a:pt x="2050" y="1774"/>
                  </a:lnTo>
                  <a:lnTo>
                    <a:pt x="1986" y="1804"/>
                  </a:lnTo>
                  <a:lnTo>
                    <a:pt x="1935" y="1746"/>
                  </a:lnTo>
                  <a:lnTo>
                    <a:pt x="1884" y="1689"/>
                  </a:lnTo>
                  <a:lnTo>
                    <a:pt x="1833" y="1630"/>
                  </a:lnTo>
                  <a:lnTo>
                    <a:pt x="1783" y="1573"/>
                  </a:lnTo>
                  <a:lnTo>
                    <a:pt x="1732" y="1516"/>
                  </a:lnTo>
                  <a:lnTo>
                    <a:pt x="1681" y="1458"/>
                  </a:lnTo>
                  <a:lnTo>
                    <a:pt x="1630" y="1401"/>
                  </a:lnTo>
                  <a:lnTo>
                    <a:pt x="1580" y="1344"/>
                  </a:lnTo>
                  <a:lnTo>
                    <a:pt x="1529" y="1287"/>
                  </a:lnTo>
                  <a:lnTo>
                    <a:pt x="1478" y="1231"/>
                  </a:lnTo>
                  <a:lnTo>
                    <a:pt x="1428" y="1176"/>
                  </a:lnTo>
                  <a:lnTo>
                    <a:pt x="1376" y="1120"/>
                  </a:lnTo>
                  <a:lnTo>
                    <a:pt x="1326" y="1065"/>
                  </a:lnTo>
                  <a:lnTo>
                    <a:pt x="1274" y="1011"/>
                  </a:lnTo>
                  <a:lnTo>
                    <a:pt x="1224" y="956"/>
                  </a:lnTo>
                  <a:lnTo>
                    <a:pt x="1174" y="903"/>
                  </a:lnTo>
                  <a:lnTo>
                    <a:pt x="1196" y="883"/>
                  </a:lnTo>
                  <a:lnTo>
                    <a:pt x="1219" y="864"/>
                  </a:lnTo>
                  <a:lnTo>
                    <a:pt x="1241" y="847"/>
                  </a:lnTo>
                  <a:lnTo>
                    <a:pt x="1264" y="830"/>
                  </a:lnTo>
                  <a:lnTo>
                    <a:pt x="1287" y="815"/>
                  </a:lnTo>
                  <a:lnTo>
                    <a:pt x="1309" y="801"/>
                  </a:lnTo>
                  <a:lnTo>
                    <a:pt x="1331" y="789"/>
                  </a:lnTo>
                  <a:lnTo>
                    <a:pt x="1353" y="777"/>
                  </a:lnTo>
                  <a:lnTo>
                    <a:pt x="1375" y="768"/>
                  </a:lnTo>
                  <a:lnTo>
                    <a:pt x="1397" y="759"/>
                  </a:lnTo>
                  <a:lnTo>
                    <a:pt x="1420" y="751"/>
                  </a:lnTo>
                  <a:lnTo>
                    <a:pt x="1442" y="745"/>
                  </a:lnTo>
                  <a:lnTo>
                    <a:pt x="1463" y="740"/>
                  </a:lnTo>
                  <a:lnTo>
                    <a:pt x="1485" y="737"/>
                  </a:lnTo>
                  <a:lnTo>
                    <a:pt x="1506" y="734"/>
                  </a:lnTo>
                  <a:lnTo>
                    <a:pt x="1527" y="733"/>
                  </a:lnTo>
                  <a:lnTo>
                    <a:pt x="1571" y="732"/>
                  </a:lnTo>
                  <a:lnTo>
                    <a:pt x="1613" y="732"/>
                  </a:lnTo>
                  <a:lnTo>
                    <a:pt x="1655" y="734"/>
                  </a:lnTo>
                  <a:lnTo>
                    <a:pt x="1696" y="737"/>
                  </a:lnTo>
                  <a:lnTo>
                    <a:pt x="1737" y="742"/>
                  </a:lnTo>
                  <a:lnTo>
                    <a:pt x="1778" y="749"/>
                  </a:lnTo>
                  <a:lnTo>
                    <a:pt x="1817" y="757"/>
                  </a:lnTo>
                  <a:lnTo>
                    <a:pt x="1856" y="766"/>
                  </a:lnTo>
                  <a:lnTo>
                    <a:pt x="1897" y="776"/>
                  </a:lnTo>
                  <a:lnTo>
                    <a:pt x="1935" y="785"/>
                  </a:lnTo>
                  <a:lnTo>
                    <a:pt x="1972" y="794"/>
                  </a:lnTo>
                  <a:lnTo>
                    <a:pt x="2009" y="802"/>
                  </a:lnTo>
                  <a:lnTo>
                    <a:pt x="2046" y="810"/>
                  </a:lnTo>
                  <a:lnTo>
                    <a:pt x="2081" y="818"/>
                  </a:lnTo>
                  <a:lnTo>
                    <a:pt x="2116" y="825"/>
                  </a:lnTo>
                  <a:lnTo>
                    <a:pt x="2151" y="833"/>
                  </a:lnTo>
                  <a:lnTo>
                    <a:pt x="2167" y="836"/>
                  </a:lnTo>
                  <a:lnTo>
                    <a:pt x="2184" y="838"/>
                  </a:lnTo>
                  <a:lnTo>
                    <a:pt x="2200" y="839"/>
                  </a:lnTo>
                  <a:lnTo>
                    <a:pt x="2216" y="840"/>
                  </a:lnTo>
                  <a:lnTo>
                    <a:pt x="2231" y="839"/>
                  </a:lnTo>
                  <a:lnTo>
                    <a:pt x="2247" y="837"/>
                  </a:lnTo>
                  <a:lnTo>
                    <a:pt x="2263" y="835"/>
                  </a:lnTo>
                  <a:lnTo>
                    <a:pt x="2278" y="832"/>
                  </a:lnTo>
                  <a:lnTo>
                    <a:pt x="2292" y="827"/>
                  </a:lnTo>
                  <a:lnTo>
                    <a:pt x="2307" y="822"/>
                  </a:lnTo>
                  <a:lnTo>
                    <a:pt x="2321" y="816"/>
                  </a:lnTo>
                  <a:lnTo>
                    <a:pt x="2335" y="809"/>
                  </a:lnTo>
                  <a:lnTo>
                    <a:pt x="2348" y="801"/>
                  </a:lnTo>
                  <a:lnTo>
                    <a:pt x="2362" y="792"/>
                  </a:lnTo>
                  <a:lnTo>
                    <a:pt x="2375" y="783"/>
                  </a:lnTo>
                  <a:lnTo>
                    <a:pt x="2389" y="773"/>
                  </a:lnTo>
                  <a:lnTo>
                    <a:pt x="2402" y="761"/>
                  </a:lnTo>
                  <a:lnTo>
                    <a:pt x="2414" y="748"/>
                  </a:lnTo>
                  <a:lnTo>
                    <a:pt x="2426" y="735"/>
                  </a:lnTo>
                  <a:lnTo>
                    <a:pt x="2437" y="722"/>
                  </a:lnTo>
                  <a:lnTo>
                    <a:pt x="2447" y="709"/>
                  </a:lnTo>
                  <a:lnTo>
                    <a:pt x="2456" y="695"/>
                  </a:lnTo>
                  <a:lnTo>
                    <a:pt x="2465" y="680"/>
                  </a:lnTo>
                  <a:lnTo>
                    <a:pt x="2473" y="665"/>
                  </a:lnTo>
                  <a:lnTo>
                    <a:pt x="2480" y="649"/>
                  </a:lnTo>
                  <a:lnTo>
                    <a:pt x="2486" y="633"/>
                  </a:lnTo>
                  <a:lnTo>
                    <a:pt x="2491" y="617"/>
                  </a:lnTo>
                  <a:lnTo>
                    <a:pt x="2496" y="600"/>
                  </a:lnTo>
                  <a:lnTo>
                    <a:pt x="2500" y="584"/>
                  </a:lnTo>
                  <a:lnTo>
                    <a:pt x="2503" y="566"/>
                  </a:lnTo>
                  <a:lnTo>
                    <a:pt x="2507" y="549"/>
                  </a:lnTo>
                  <a:lnTo>
                    <a:pt x="2508" y="530"/>
                  </a:lnTo>
                  <a:lnTo>
                    <a:pt x="2508" y="512"/>
                  </a:lnTo>
                  <a:lnTo>
                    <a:pt x="2508" y="494"/>
                  </a:lnTo>
                  <a:lnTo>
                    <a:pt x="2505" y="474"/>
                  </a:lnTo>
                  <a:lnTo>
                    <a:pt x="2503" y="456"/>
                  </a:lnTo>
                  <a:lnTo>
                    <a:pt x="2499" y="438"/>
                  </a:lnTo>
                  <a:lnTo>
                    <a:pt x="2495" y="420"/>
                  </a:lnTo>
                  <a:lnTo>
                    <a:pt x="2489" y="402"/>
                  </a:lnTo>
                  <a:lnTo>
                    <a:pt x="2482" y="384"/>
                  </a:lnTo>
                  <a:lnTo>
                    <a:pt x="2475" y="366"/>
                  </a:lnTo>
                  <a:lnTo>
                    <a:pt x="2466" y="348"/>
                  </a:lnTo>
                  <a:lnTo>
                    <a:pt x="2456" y="330"/>
                  </a:lnTo>
                  <a:lnTo>
                    <a:pt x="2446" y="311"/>
                  </a:lnTo>
                  <a:lnTo>
                    <a:pt x="2434" y="293"/>
                  </a:lnTo>
                  <a:lnTo>
                    <a:pt x="2421" y="276"/>
                  </a:lnTo>
                  <a:lnTo>
                    <a:pt x="2407" y="258"/>
                  </a:lnTo>
                  <a:lnTo>
                    <a:pt x="2393" y="240"/>
                  </a:lnTo>
                  <a:lnTo>
                    <a:pt x="2372" y="218"/>
                  </a:lnTo>
                  <a:lnTo>
                    <a:pt x="2351" y="197"/>
                  </a:lnTo>
                  <a:lnTo>
                    <a:pt x="2330" y="177"/>
                  </a:lnTo>
                  <a:lnTo>
                    <a:pt x="2308" y="159"/>
                  </a:lnTo>
                  <a:lnTo>
                    <a:pt x="2286" y="140"/>
                  </a:lnTo>
                  <a:lnTo>
                    <a:pt x="2264" y="123"/>
                  </a:lnTo>
                  <a:lnTo>
                    <a:pt x="2240" y="108"/>
                  </a:lnTo>
                  <a:lnTo>
                    <a:pt x="2216" y="93"/>
                  </a:lnTo>
                  <a:lnTo>
                    <a:pt x="2192" y="80"/>
                  </a:lnTo>
                  <a:lnTo>
                    <a:pt x="2167" y="68"/>
                  </a:lnTo>
                  <a:lnTo>
                    <a:pt x="2142" y="57"/>
                  </a:lnTo>
                  <a:lnTo>
                    <a:pt x="2115" y="47"/>
                  </a:lnTo>
                  <a:lnTo>
                    <a:pt x="2088" y="38"/>
                  </a:lnTo>
                  <a:lnTo>
                    <a:pt x="2061" y="30"/>
                  </a:lnTo>
                  <a:lnTo>
                    <a:pt x="2033" y="23"/>
                  </a:lnTo>
                  <a:lnTo>
                    <a:pt x="2004" y="18"/>
                  </a:lnTo>
                  <a:lnTo>
                    <a:pt x="1976" y="13"/>
                  </a:lnTo>
                  <a:lnTo>
                    <a:pt x="1947" y="9"/>
                  </a:lnTo>
                  <a:lnTo>
                    <a:pt x="1919" y="6"/>
                  </a:lnTo>
                  <a:lnTo>
                    <a:pt x="1889" y="3"/>
                  </a:lnTo>
                  <a:lnTo>
                    <a:pt x="1861" y="2"/>
                  </a:lnTo>
                  <a:lnTo>
                    <a:pt x="1832" y="0"/>
                  </a:lnTo>
                  <a:lnTo>
                    <a:pt x="1803" y="0"/>
                  </a:lnTo>
                  <a:lnTo>
                    <a:pt x="1774" y="0"/>
                  </a:lnTo>
                  <a:lnTo>
                    <a:pt x="1744" y="1"/>
                  </a:lnTo>
                  <a:lnTo>
                    <a:pt x="1715" y="3"/>
                  </a:lnTo>
                  <a:lnTo>
                    <a:pt x="1685" y="5"/>
                  </a:lnTo>
                  <a:lnTo>
                    <a:pt x="1656" y="8"/>
                  </a:lnTo>
                  <a:lnTo>
                    <a:pt x="1625" y="12"/>
                  </a:lnTo>
                  <a:lnTo>
                    <a:pt x="1596" y="17"/>
                  </a:lnTo>
                  <a:lnTo>
                    <a:pt x="1566" y="22"/>
                  </a:lnTo>
                  <a:lnTo>
                    <a:pt x="1536" y="29"/>
                  </a:lnTo>
                  <a:lnTo>
                    <a:pt x="1505" y="36"/>
                  </a:lnTo>
                  <a:lnTo>
                    <a:pt x="1476" y="43"/>
                  </a:lnTo>
                  <a:lnTo>
                    <a:pt x="1447" y="51"/>
                  </a:lnTo>
                  <a:lnTo>
                    <a:pt x="1418" y="60"/>
                  </a:lnTo>
                  <a:lnTo>
                    <a:pt x="1388" y="69"/>
                  </a:lnTo>
                  <a:lnTo>
                    <a:pt x="1359" y="79"/>
                  </a:lnTo>
                  <a:lnTo>
                    <a:pt x="1331" y="89"/>
                  </a:lnTo>
                  <a:lnTo>
                    <a:pt x="1303" y="100"/>
                  </a:lnTo>
                  <a:lnTo>
                    <a:pt x="1274" y="112"/>
                  </a:lnTo>
                  <a:lnTo>
                    <a:pt x="1246" y="124"/>
                  </a:lnTo>
                  <a:lnTo>
                    <a:pt x="1218" y="136"/>
                  </a:lnTo>
                  <a:lnTo>
                    <a:pt x="1190" y="151"/>
                  </a:lnTo>
                  <a:lnTo>
                    <a:pt x="1163" y="164"/>
                  </a:lnTo>
                  <a:lnTo>
                    <a:pt x="1135" y="179"/>
                  </a:lnTo>
                  <a:lnTo>
                    <a:pt x="1108" y="194"/>
                  </a:lnTo>
                  <a:lnTo>
                    <a:pt x="1081" y="209"/>
                  </a:lnTo>
                  <a:lnTo>
                    <a:pt x="1028" y="241"/>
                  </a:lnTo>
                  <a:lnTo>
                    <a:pt x="978" y="272"/>
                  </a:lnTo>
                  <a:lnTo>
                    <a:pt x="932" y="304"/>
                  </a:lnTo>
                  <a:lnTo>
                    <a:pt x="886" y="337"/>
                  </a:lnTo>
                  <a:lnTo>
                    <a:pt x="845" y="369"/>
                  </a:lnTo>
                  <a:lnTo>
                    <a:pt x="806" y="401"/>
                  </a:lnTo>
                  <a:lnTo>
                    <a:pt x="769" y="432"/>
                  </a:lnTo>
                  <a:lnTo>
                    <a:pt x="736" y="464"/>
                  </a:lnTo>
                  <a:lnTo>
                    <a:pt x="712" y="441"/>
                  </a:lnTo>
                  <a:lnTo>
                    <a:pt x="687" y="418"/>
                  </a:lnTo>
                  <a:lnTo>
                    <a:pt x="662" y="395"/>
                  </a:lnTo>
                  <a:lnTo>
                    <a:pt x="637" y="372"/>
                  </a:lnTo>
                  <a:lnTo>
                    <a:pt x="623" y="360"/>
                  </a:lnTo>
                  <a:lnTo>
                    <a:pt x="609" y="350"/>
                  </a:lnTo>
                  <a:lnTo>
                    <a:pt x="593" y="342"/>
                  </a:lnTo>
                  <a:lnTo>
                    <a:pt x="577" y="335"/>
                  </a:lnTo>
                  <a:lnTo>
                    <a:pt x="559" y="329"/>
                  </a:lnTo>
                  <a:lnTo>
                    <a:pt x="540" y="325"/>
                  </a:lnTo>
                  <a:lnTo>
                    <a:pt x="521" y="323"/>
                  </a:lnTo>
                  <a:lnTo>
                    <a:pt x="502" y="323"/>
                  </a:lnTo>
                  <a:lnTo>
                    <a:pt x="491" y="323"/>
                  </a:lnTo>
                  <a:lnTo>
                    <a:pt x="482" y="324"/>
                  </a:lnTo>
                  <a:lnTo>
                    <a:pt x="472" y="325"/>
                  </a:lnTo>
                  <a:lnTo>
                    <a:pt x="462" y="327"/>
                  </a:lnTo>
                  <a:lnTo>
                    <a:pt x="453" y="329"/>
                  </a:lnTo>
                  <a:lnTo>
                    <a:pt x="444" y="332"/>
                  </a:lnTo>
                  <a:lnTo>
                    <a:pt x="435" y="336"/>
                  </a:lnTo>
                  <a:lnTo>
                    <a:pt x="426" y="340"/>
                  </a:lnTo>
                  <a:lnTo>
                    <a:pt x="417" y="344"/>
                  </a:lnTo>
                  <a:lnTo>
                    <a:pt x="409" y="349"/>
                  </a:lnTo>
                  <a:lnTo>
                    <a:pt x="401" y="355"/>
                  </a:lnTo>
                  <a:lnTo>
                    <a:pt x="393" y="360"/>
                  </a:lnTo>
                  <a:lnTo>
                    <a:pt x="378" y="374"/>
                  </a:lnTo>
                  <a:lnTo>
                    <a:pt x="364" y="389"/>
                  </a:lnTo>
                  <a:lnTo>
                    <a:pt x="351" y="405"/>
                  </a:lnTo>
                  <a:lnTo>
                    <a:pt x="341" y="422"/>
                  </a:lnTo>
                  <a:lnTo>
                    <a:pt x="332" y="439"/>
                  </a:lnTo>
                  <a:lnTo>
                    <a:pt x="325" y="457"/>
                  </a:lnTo>
                  <a:lnTo>
                    <a:pt x="322" y="466"/>
                  </a:lnTo>
                  <a:lnTo>
                    <a:pt x="320" y="475"/>
                  </a:lnTo>
                  <a:lnTo>
                    <a:pt x="318" y="484"/>
                  </a:lnTo>
                  <a:lnTo>
                    <a:pt x="317" y="494"/>
                  </a:lnTo>
                  <a:lnTo>
                    <a:pt x="317" y="504"/>
                  </a:lnTo>
                  <a:lnTo>
                    <a:pt x="316" y="513"/>
                  </a:lnTo>
                  <a:lnTo>
                    <a:pt x="317" y="523"/>
                  </a:lnTo>
                  <a:lnTo>
                    <a:pt x="318" y="533"/>
                  </a:lnTo>
                  <a:lnTo>
                    <a:pt x="321" y="552"/>
                  </a:lnTo>
                  <a:lnTo>
                    <a:pt x="325" y="570"/>
                  </a:lnTo>
                  <a:lnTo>
                    <a:pt x="330" y="588"/>
                  </a:lnTo>
                  <a:lnTo>
                    <a:pt x="338" y="604"/>
                  </a:lnTo>
                  <a:lnTo>
                    <a:pt x="346" y="619"/>
                  </a:lnTo>
                  <a:lnTo>
                    <a:pt x="357" y="633"/>
                  </a:lnTo>
                  <a:lnTo>
                    <a:pt x="368" y="646"/>
                  </a:lnTo>
                  <a:lnTo>
                    <a:pt x="381" y="660"/>
                  </a:lnTo>
                  <a:lnTo>
                    <a:pt x="406" y="680"/>
                  </a:lnTo>
                  <a:lnTo>
                    <a:pt x="431" y="700"/>
                  </a:lnTo>
                  <a:lnTo>
                    <a:pt x="456" y="721"/>
                  </a:lnTo>
                  <a:lnTo>
                    <a:pt x="480" y="743"/>
                  </a:lnTo>
                  <a:lnTo>
                    <a:pt x="456" y="772"/>
                  </a:lnTo>
                  <a:lnTo>
                    <a:pt x="433" y="801"/>
                  </a:lnTo>
                  <a:lnTo>
                    <a:pt x="410" y="832"/>
                  </a:lnTo>
                  <a:lnTo>
                    <a:pt x="387" y="862"/>
                  </a:lnTo>
                  <a:lnTo>
                    <a:pt x="366" y="893"/>
                  </a:lnTo>
                  <a:lnTo>
                    <a:pt x="345" y="924"/>
                  </a:lnTo>
                  <a:lnTo>
                    <a:pt x="324" y="955"/>
                  </a:lnTo>
                  <a:lnTo>
                    <a:pt x="303" y="986"/>
                  </a:lnTo>
                  <a:lnTo>
                    <a:pt x="284" y="1019"/>
                  </a:lnTo>
                  <a:lnTo>
                    <a:pt x="265" y="1051"/>
                  </a:lnTo>
                  <a:lnTo>
                    <a:pt x="246" y="1084"/>
                  </a:lnTo>
                  <a:lnTo>
                    <a:pt x="228" y="1116"/>
                  </a:lnTo>
                  <a:lnTo>
                    <a:pt x="211" y="1149"/>
                  </a:lnTo>
                  <a:lnTo>
                    <a:pt x="194" y="1183"/>
                  </a:lnTo>
                  <a:lnTo>
                    <a:pt x="177" y="1217"/>
                  </a:lnTo>
                  <a:lnTo>
                    <a:pt x="161" y="1251"/>
                  </a:lnTo>
                  <a:lnTo>
                    <a:pt x="146" y="1284"/>
                  </a:lnTo>
                  <a:lnTo>
                    <a:pt x="131" y="1318"/>
                  </a:lnTo>
                  <a:lnTo>
                    <a:pt x="117" y="1353"/>
                  </a:lnTo>
                  <a:lnTo>
                    <a:pt x="104" y="1387"/>
                  </a:lnTo>
                  <a:lnTo>
                    <a:pt x="92" y="1420"/>
                  </a:lnTo>
                  <a:lnTo>
                    <a:pt x="81" y="1454"/>
                  </a:lnTo>
                  <a:lnTo>
                    <a:pt x="70" y="1487"/>
                  </a:lnTo>
                  <a:lnTo>
                    <a:pt x="59" y="1521"/>
                  </a:lnTo>
                  <a:lnTo>
                    <a:pt x="50" y="1555"/>
                  </a:lnTo>
                  <a:lnTo>
                    <a:pt x="42" y="1588"/>
                  </a:lnTo>
                  <a:lnTo>
                    <a:pt x="34" y="1621"/>
                  </a:lnTo>
                  <a:lnTo>
                    <a:pt x="27" y="1654"/>
                  </a:lnTo>
                  <a:lnTo>
                    <a:pt x="21" y="1688"/>
                  </a:lnTo>
                  <a:lnTo>
                    <a:pt x="16" y="1721"/>
                  </a:lnTo>
                  <a:lnTo>
                    <a:pt x="11" y="1754"/>
                  </a:lnTo>
                  <a:lnTo>
                    <a:pt x="8" y="1787"/>
                  </a:lnTo>
                  <a:lnTo>
                    <a:pt x="4" y="1819"/>
                  </a:lnTo>
                  <a:lnTo>
                    <a:pt x="2" y="1852"/>
                  </a:lnTo>
                  <a:lnTo>
                    <a:pt x="1" y="1884"/>
                  </a:lnTo>
                  <a:lnTo>
                    <a:pt x="0" y="1916"/>
                  </a:lnTo>
                  <a:lnTo>
                    <a:pt x="0" y="1947"/>
                  </a:lnTo>
                  <a:lnTo>
                    <a:pt x="1" y="1978"/>
                  </a:lnTo>
                  <a:lnTo>
                    <a:pt x="4" y="2009"/>
                  </a:lnTo>
                  <a:lnTo>
                    <a:pt x="6" y="2040"/>
                  </a:lnTo>
                  <a:lnTo>
                    <a:pt x="10" y="2070"/>
                  </a:lnTo>
                  <a:lnTo>
                    <a:pt x="15" y="2100"/>
                  </a:lnTo>
                  <a:lnTo>
                    <a:pt x="20" y="2129"/>
                  </a:lnTo>
                  <a:lnTo>
                    <a:pt x="26" y="2158"/>
                  </a:lnTo>
                  <a:lnTo>
                    <a:pt x="34" y="2188"/>
                  </a:lnTo>
                  <a:lnTo>
                    <a:pt x="42" y="2217"/>
                  </a:lnTo>
                  <a:lnTo>
                    <a:pt x="50" y="2245"/>
                  </a:lnTo>
                  <a:lnTo>
                    <a:pt x="60" y="2273"/>
                  </a:lnTo>
                  <a:lnTo>
                    <a:pt x="72" y="2301"/>
                  </a:lnTo>
                  <a:lnTo>
                    <a:pt x="83" y="2328"/>
                  </a:lnTo>
                  <a:lnTo>
                    <a:pt x="96" y="2356"/>
                  </a:lnTo>
                  <a:lnTo>
                    <a:pt x="110" y="2382"/>
                  </a:lnTo>
                  <a:lnTo>
                    <a:pt x="125" y="2408"/>
                  </a:lnTo>
                  <a:lnTo>
                    <a:pt x="141" y="2433"/>
                  </a:lnTo>
                  <a:lnTo>
                    <a:pt x="158" y="2459"/>
                  </a:lnTo>
                  <a:lnTo>
                    <a:pt x="176" y="2483"/>
                  </a:lnTo>
                  <a:lnTo>
                    <a:pt x="196" y="2508"/>
                  </a:lnTo>
                  <a:lnTo>
                    <a:pt x="216" y="2533"/>
                  </a:lnTo>
                  <a:lnTo>
                    <a:pt x="237" y="2556"/>
                  </a:lnTo>
                  <a:lnTo>
                    <a:pt x="259" y="2580"/>
                  </a:lnTo>
                  <a:lnTo>
                    <a:pt x="282" y="2603"/>
                  </a:lnTo>
                  <a:lnTo>
                    <a:pt x="308" y="2626"/>
                  </a:lnTo>
                  <a:lnTo>
                    <a:pt x="333" y="2649"/>
                  </a:lnTo>
                  <a:lnTo>
                    <a:pt x="360" y="2672"/>
                  </a:lnTo>
                  <a:lnTo>
                    <a:pt x="382" y="2690"/>
                  </a:lnTo>
                  <a:lnTo>
                    <a:pt x="405" y="2708"/>
                  </a:lnTo>
                  <a:lnTo>
                    <a:pt x="427" y="2724"/>
                  </a:lnTo>
                  <a:lnTo>
                    <a:pt x="451" y="2740"/>
                  </a:lnTo>
                  <a:lnTo>
                    <a:pt x="474" y="2756"/>
                  </a:lnTo>
                  <a:lnTo>
                    <a:pt x="498" y="2771"/>
                  </a:lnTo>
                  <a:lnTo>
                    <a:pt x="522" y="2785"/>
                  </a:lnTo>
                  <a:lnTo>
                    <a:pt x="545" y="2798"/>
                  </a:lnTo>
                  <a:lnTo>
                    <a:pt x="571" y="2811"/>
                  </a:lnTo>
                  <a:lnTo>
                    <a:pt x="595" y="2823"/>
                  </a:lnTo>
                  <a:lnTo>
                    <a:pt x="620" y="2834"/>
                  </a:lnTo>
                  <a:lnTo>
                    <a:pt x="645" y="2845"/>
                  </a:lnTo>
                  <a:lnTo>
                    <a:pt x="670" y="2856"/>
                  </a:lnTo>
                  <a:lnTo>
                    <a:pt x="696" y="2866"/>
                  </a:lnTo>
                  <a:lnTo>
                    <a:pt x="722" y="2875"/>
                  </a:lnTo>
                  <a:lnTo>
                    <a:pt x="748" y="2883"/>
                  </a:lnTo>
                  <a:lnTo>
                    <a:pt x="774" y="2891"/>
                  </a:lnTo>
                  <a:lnTo>
                    <a:pt x="802" y="2898"/>
                  </a:lnTo>
                  <a:lnTo>
                    <a:pt x="828" y="2905"/>
                  </a:lnTo>
                  <a:lnTo>
                    <a:pt x="855" y="2910"/>
                  </a:lnTo>
                  <a:lnTo>
                    <a:pt x="882" y="2916"/>
                  </a:lnTo>
                  <a:lnTo>
                    <a:pt x="910" y="2920"/>
                  </a:lnTo>
                  <a:lnTo>
                    <a:pt x="938" y="2924"/>
                  </a:lnTo>
                  <a:lnTo>
                    <a:pt x="966" y="2928"/>
                  </a:lnTo>
                  <a:lnTo>
                    <a:pt x="995" y="2931"/>
                  </a:lnTo>
                  <a:lnTo>
                    <a:pt x="1023" y="2933"/>
                  </a:lnTo>
                  <a:lnTo>
                    <a:pt x="1053" y="2934"/>
                  </a:lnTo>
                  <a:lnTo>
                    <a:pt x="1082" y="2935"/>
                  </a:lnTo>
                  <a:lnTo>
                    <a:pt x="1111" y="2936"/>
                  </a:lnTo>
                  <a:lnTo>
                    <a:pt x="1140" y="2935"/>
                  </a:lnTo>
                  <a:lnTo>
                    <a:pt x="1171" y="2935"/>
                  </a:lnTo>
                  <a:lnTo>
                    <a:pt x="1201" y="2933"/>
                  </a:lnTo>
                  <a:lnTo>
                    <a:pt x="1261" y="2929"/>
                  </a:lnTo>
                  <a:lnTo>
                    <a:pt x="1323" y="2922"/>
                  </a:lnTo>
                  <a:lnTo>
                    <a:pt x="1385" y="2914"/>
                  </a:lnTo>
                  <a:lnTo>
                    <a:pt x="1448" y="2904"/>
                  </a:lnTo>
                  <a:lnTo>
                    <a:pt x="1511" y="2892"/>
                  </a:lnTo>
                  <a:lnTo>
                    <a:pt x="1575" y="2878"/>
                  </a:lnTo>
                  <a:lnTo>
                    <a:pt x="1639" y="2862"/>
                  </a:lnTo>
                  <a:lnTo>
                    <a:pt x="1705" y="2842"/>
                  </a:lnTo>
                  <a:lnTo>
                    <a:pt x="1770" y="2822"/>
                  </a:lnTo>
                  <a:lnTo>
                    <a:pt x="1836" y="2800"/>
                  </a:lnTo>
                  <a:lnTo>
                    <a:pt x="1904" y="2775"/>
                  </a:lnTo>
                  <a:lnTo>
                    <a:pt x="1971" y="2748"/>
                  </a:lnTo>
                  <a:lnTo>
                    <a:pt x="2039" y="2719"/>
                  </a:lnTo>
                  <a:lnTo>
                    <a:pt x="2107" y="2687"/>
                  </a:lnTo>
                  <a:lnTo>
                    <a:pt x="2177" y="2653"/>
                  </a:lnTo>
                  <a:lnTo>
                    <a:pt x="2246" y="2617"/>
                  </a:lnTo>
                  <a:lnTo>
                    <a:pt x="2302" y="2681"/>
                  </a:lnTo>
                  <a:lnTo>
                    <a:pt x="2358" y="2745"/>
                  </a:lnTo>
                  <a:lnTo>
                    <a:pt x="2414" y="2809"/>
                  </a:lnTo>
                  <a:lnTo>
                    <a:pt x="2470" y="2874"/>
                  </a:lnTo>
                  <a:lnTo>
                    <a:pt x="2526" y="2937"/>
                  </a:lnTo>
                  <a:lnTo>
                    <a:pt x="2582" y="3000"/>
                  </a:lnTo>
                  <a:lnTo>
                    <a:pt x="2638" y="3064"/>
                  </a:lnTo>
                  <a:lnTo>
                    <a:pt x="2693" y="3127"/>
                  </a:lnTo>
                  <a:lnTo>
                    <a:pt x="2749" y="3189"/>
                  </a:lnTo>
                  <a:lnTo>
                    <a:pt x="2805" y="3252"/>
                  </a:lnTo>
                  <a:lnTo>
                    <a:pt x="2861" y="3314"/>
                  </a:lnTo>
                  <a:lnTo>
                    <a:pt x="2917" y="3376"/>
                  </a:lnTo>
                  <a:lnTo>
                    <a:pt x="2973" y="3437"/>
                  </a:lnTo>
                  <a:lnTo>
                    <a:pt x="3029" y="3497"/>
                  </a:lnTo>
                  <a:lnTo>
                    <a:pt x="3085" y="3558"/>
                  </a:lnTo>
                  <a:lnTo>
                    <a:pt x="3141" y="3617"/>
                  </a:lnTo>
                  <a:lnTo>
                    <a:pt x="3118" y="3636"/>
                  </a:lnTo>
                  <a:lnTo>
                    <a:pt x="3094" y="3655"/>
                  </a:lnTo>
                  <a:lnTo>
                    <a:pt x="3071" y="3672"/>
                  </a:lnTo>
                  <a:lnTo>
                    <a:pt x="3049" y="3688"/>
                  </a:lnTo>
                  <a:lnTo>
                    <a:pt x="3027" y="3703"/>
                  </a:lnTo>
                  <a:lnTo>
                    <a:pt x="3006" y="3718"/>
                  </a:lnTo>
                  <a:lnTo>
                    <a:pt x="2984" y="3731"/>
                  </a:lnTo>
                  <a:lnTo>
                    <a:pt x="2963" y="3743"/>
                  </a:lnTo>
                  <a:lnTo>
                    <a:pt x="2942" y="3754"/>
                  </a:lnTo>
                  <a:lnTo>
                    <a:pt x="2922" y="3764"/>
                  </a:lnTo>
                  <a:lnTo>
                    <a:pt x="2902" y="3773"/>
                  </a:lnTo>
                  <a:lnTo>
                    <a:pt x="2883" y="3781"/>
                  </a:lnTo>
                  <a:lnTo>
                    <a:pt x="2863" y="3788"/>
                  </a:lnTo>
                  <a:lnTo>
                    <a:pt x="2844" y="3794"/>
                  </a:lnTo>
                  <a:lnTo>
                    <a:pt x="2825" y="3799"/>
                  </a:lnTo>
                  <a:lnTo>
                    <a:pt x="2807" y="3804"/>
                  </a:lnTo>
                  <a:lnTo>
                    <a:pt x="2771" y="3810"/>
                  </a:lnTo>
                  <a:lnTo>
                    <a:pt x="2735" y="3815"/>
                  </a:lnTo>
                  <a:lnTo>
                    <a:pt x="2718" y="3816"/>
                  </a:lnTo>
                  <a:lnTo>
                    <a:pt x="2701" y="3817"/>
                  </a:lnTo>
                  <a:lnTo>
                    <a:pt x="2685" y="3818"/>
                  </a:lnTo>
                  <a:lnTo>
                    <a:pt x="2668" y="3818"/>
                  </a:lnTo>
                  <a:lnTo>
                    <a:pt x="2652" y="3817"/>
                  </a:lnTo>
                  <a:lnTo>
                    <a:pt x="2636" y="3816"/>
                  </a:lnTo>
                  <a:lnTo>
                    <a:pt x="2620" y="3814"/>
                  </a:lnTo>
                  <a:lnTo>
                    <a:pt x="2604" y="3812"/>
                  </a:lnTo>
                  <a:lnTo>
                    <a:pt x="2589" y="3809"/>
                  </a:lnTo>
                  <a:lnTo>
                    <a:pt x="2574" y="3806"/>
                  </a:lnTo>
                  <a:lnTo>
                    <a:pt x="2559" y="3803"/>
                  </a:lnTo>
                  <a:lnTo>
                    <a:pt x="2544" y="3799"/>
                  </a:lnTo>
                  <a:lnTo>
                    <a:pt x="2515" y="3789"/>
                  </a:lnTo>
                  <a:lnTo>
                    <a:pt x="2486" y="3778"/>
                  </a:lnTo>
                  <a:lnTo>
                    <a:pt x="2458" y="3767"/>
                  </a:lnTo>
                  <a:lnTo>
                    <a:pt x="2430" y="3754"/>
                  </a:lnTo>
                  <a:lnTo>
                    <a:pt x="2403" y="3740"/>
                  </a:lnTo>
                  <a:lnTo>
                    <a:pt x="2376" y="3726"/>
                  </a:lnTo>
                  <a:lnTo>
                    <a:pt x="2351" y="3710"/>
                  </a:lnTo>
                  <a:lnTo>
                    <a:pt x="2325" y="3693"/>
                  </a:lnTo>
                  <a:lnTo>
                    <a:pt x="2301" y="3676"/>
                  </a:lnTo>
                  <a:lnTo>
                    <a:pt x="2276" y="3660"/>
                  </a:lnTo>
                  <a:lnTo>
                    <a:pt x="2250" y="3644"/>
                  </a:lnTo>
                  <a:lnTo>
                    <a:pt x="2225" y="3629"/>
                  </a:lnTo>
                  <a:lnTo>
                    <a:pt x="2201" y="3615"/>
                  </a:lnTo>
                  <a:lnTo>
                    <a:pt x="2176" y="3601"/>
                  </a:lnTo>
                  <a:lnTo>
                    <a:pt x="2152" y="3588"/>
                  </a:lnTo>
                  <a:lnTo>
                    <a:pt x="2126" y="3576"/>
                  </a:lnTo>
                  <a:lnTo>
                    <a:pt x="2102" y="3565"/>
                  </a:lnTo>
                  <a:lnTo>
                    <a:pt x="2077" y="3555"/>
                  </a:lnTo>
                  <a:lnTo>
                    <a:pt x="2053" y="3546"/>
                  </a:lnTo>
                  <a:lnTo>
                    <a:pt x="2028" y="3539"/>
                  </a:lnTo>
                  <a:lnTo>
                    <a:pt x="2002" y="3532"/>
                  </a:lnTo>
                  <a:lnTo>
                    <a:pt x="1977" y="3528"/>
                  </a:lnTo>
                  <a:lnTo>
                    <a:pt x="1951" y="3525"/>
                  </a:lnTo>
                  <a:lnTo>
                    <a:pt x="1926" y="3524"/>
                  </a:lnTo>
                  <a:lnTo>
                    <a:pt x="1913" y="3524"/>
                  </a:lnTo>
                  <a:lnTo>
                    <a:pt x="1900" y="3525"/>
                  </a:lnTo>
                  <a:lnTo>
                    <a:pt x="1886" y="3527"/>
                  </a:lnTo>
                  <a:lnTo>
                    <a:pt x="1873" y="3530"/>
                  </a:lnTo>
                  <a:lnTo>
                    <a:pt x="1859" y="3533"/>
                  </a:lnTo>
                  <a:lnTo>
                    <a:pt x="1846" y="3537"/>
                  </a:lnTo>
                  <a:lnTo>
                    <a:pt x="1832" y="3543"/>
                  </a:lnTo>
                  <a:lnTo>
                    <a:pt x="1819" y="3549"/>
                  </a:lnTo>
                  <a:lnTo>
                    <a:pt x="1805" y="3556"/>
                  </a:lnTo>
                  <a:lnTo>
                    <a:pt x="1791" y="3563"/>
                  </a:lnTo>
                  <a:lnTo>
                    <a:pt x="1777" y="3572"/>
                  </a:lnTo>
                  <a:lnTo>
                    <a:pt x="1762" y="3581"/>
                  </a:lnTo>
                  <a:lnTo>
                    <a:pt x="1747" y="3591"/>
                  </a:lnTo>
                  <a:lnTo>
                    <a:pt x="1733" y="3601"/>
                  </a:lnTo>
                  <a:lnTo>
                    <a:pt x="1718" y="3613"/>
                  </a:lnTo>
                  <a:lnTo>
                    <a:pt x="1703" y="3625"/>
                  </a:lnTo>
                  <a:lnTo>
                    <a:pt x="1688" y="3639"/>
                  </a:lnTo>
                  <a:lnTo>
                    <a:pt x="1674" y="3653"/>
                  </a:lnTo>
                  <a:lnTo>
                    <a:pt x="1661" y="3667"/>
                  </a:lnTo>
                  <a:lnTo>
                    <a:pt x="1648" y="3681"/>
                  </a:lnTo>
                  <a:lnTo>
                    <a:pt x="1637" y="3696"/>
                  </a:lnTo>
                  <a:lnTo>
                    <a:pt x="1627" y="3712"/>
                  </a:lnTo>
                  <a:lnTo>
                    <a:pt x="1618" y="3727"/>
                  </a:lnTo>
                  <a:lnTo>
                    <a:pt x="1610" y="3742"/>
                  </a:lnTo>
                  <a:lnTo>
                    <a:pt x="1603" y="3758"/>
                  </a:lnTo>
                  <a:lnTo>
                    <a:pt x="1596" y="3774"/>
                  </a:lnTo>
                  <a:lnTo>
                    <a:pt x="1591" y="3790"/>
                  </a:lnTo>
                  <a:lnTo>
                    <a:pt x="1587" y="3806"/>
                  </a:lnTo>
                  <a:lnTo>
                    <a:pt x="1583" y="3823"/>
                  </a:lnTo>
                  <a:lnTo>
                    <a:pt x="1581" y="3840"/>
                  </a:lnTo>
                  <a:lnTo>
                    <a:pt x="1580" y="3857"/>
                  </a:lnTo>
                  <a:lnTo>
                    <a:pt x="1579" y="3875"/>
                  </a:lnTo>
                  <a:lnTo>
                    <a:pt x="1580" y="3893"/>
                  </a:lnTo>
                  <a:lnTo>
                    <a:pt x="1581" y="3911"/>
                  </a:lnTo>
                  <a:lnTo>
                    <a:pt x="1584" y="3928"/>
                  </a:lnTo>
                  <a:lnTo>
                    <a:pt x="1587" y="3946"/>
                  </a:lnTo>
                  <a:lnTo>
                    <a:pt x="1592" y="3963"/>
                  </a:lnTo>
                  <a:lnTo>
                    <a:pt x="1597" y="3981"/>
                  </a:lnTo>
                  <a:lnTo>
                    <a:pt x="1604" y="3998"/>
                  </a:lnTo>
                  <a:lnTo>
                    <a:pt x="1611" y="4016"/>
                  </a:lnTo>
                  <a:lnTo>
                    <a:pt x="1619" y="4034"/>
                  </a:lnTo>
                  <a:lnTo>
                    <a:pt x="1629" y="4053"/>
                  </a:lnTo>
                  <a:lnTo>
                    <a:pt x="1639" y="4071"/>
                  </a:lnTo>
                  <a:lnTo>
                    <a:pt x="1652" y="4088"/>
                  </a:lnTo>
                  <a:lnTo>
                    <a:pt x="1664" y="4106"/>
                  </a:lnTo>
                  <a:lnTo>
                    <a:pt x="1677" y="4124"/>
                  </a:lnTo>
                  <a:lnTo>
                    <a:pt x="1692" y="4142"/>
                  </a:lnTo>
                  <a:lnTo>
                    <a:pt x="1707" y="4160"/>
                  </a:lnTo>
                  <a:lnTo>
                    <a:pt x="1723" y="4178"/>
                  </a:lnTo>
                  <a:lnTo>
                    <a:pt x="1740" y="4195"/>
                  </a:lnTo>
                  <a:lnTo>
                    <a:pt x="1757" y="4212"/>
                  </a:lnTo>
                  <a:lnTo>
                    <a:pt x="1776" y="4230"/>
                  </a:lnTo>
                  <a:lnTo>
                    <a:pt x="1795" y="4246"/>
                  </a:lnTo>
                  <a:lnTo>
                    <a:pt x="1814" y="4262"/>
                  </a:lnTo>
                  <a:lnTo>
                    <a:pt x="1834" y="4277"/>
                  </a:lnTo>
                  <a:lnTo>
                    <a:pt x="1854" y="4293"/>
                  </a:lnTo>
                  <a:lnTo>
                    <a:pt x="1875" y="4307"/>
                  </a:lnTo>
                  <a:lnTo>
                    <a:pt x="1898" y="4322"/>
                  </a:lnTo>
                  <a:lnTo>
                    <a:pt x="1920" y="4336"/>
                  </a:lnTo>
                  <a:lnTo>
                    <a:pt x="1942" y="4349"/>
                  </a:lnTo>
                  <a:lnTo>
                    <a:pt x="1965" y="4363"/>
                  </a:lnTo>
                  <a:lnTo>
                    <a:pt x="1989" y="4375"/>
                  </a:lnTo>
                  <a:lnTo>
                    <a:pt x="2013" y="4389"/>
                  </a:lnTo>
                  <a:lnTo>
                    <a:pt x="2039" y="4401"/>
                  </a:lnTo>
                  <a:lnTo>
                    <a:pt x="2064" y="4413"/>
                  </a:lnTo>
                  <a:lnTo>
                    <a:pt x="2090" y="4424"/>
                  </a:lnTo>
                  <a:lnTo>
                    <a:pt x="2116" y="4434"/>
                  </a:lnTo>
                  <a:lnTo>
                    <a:pt x="2144" y="4444"/>
                  </a:lnTo>
                  <a:lnTo>
                    <a:pt x="2170" y="4454"/>
                  </a:lnTo>
                  <a:lnTo>
                    <a:pt x="2198" y="4462"/>
                  </a:lnTo>
                  <a:lnTo>
                    <a:pt x="2225" y="4471"/>
                  </a:lnTo>
                  <a:lnTo>
                    <a:pt x="2253" y="4478"/>
                  </a:lnTo>
                  <a:lnTo>
                    <a:pt x="2283" y="4485"/>
                  </a:lnTo>
                  <a:lnTo>
                    <a:pt x="2311" y="4491"/>
                  </a:lnTo>
                  <a:lnTo>
                    <a:pt x="2340" y="4497"/>
                  </a:lnTo>
                  <a:lnTo>
                    <a:pt x="2370" y="4502"/>
                  </a:lnTo>
                  <a:lnTo>
                    <a:pt x="2401" y="4506"/>
                  </a:lnTo>
                  <a:lnTo>
                    <a:pt x="2431" y="4510"/>
                  </a:lnTo>
                  <a:lnTo>
                    <a:pt x="2462" y="4513"/>
                  </a:lnTo>
                  <a:lnTo>
                    <a:pt x="2493" y="4516"/>
                  </a:lnTo>
                  <a:lnTo>
                    <a:pt x="2525" y="4517"/>
                  </a:lnTo>
                  <a:lnTo>
                    <a:pt x="2556" y="4518"/>
                  </a:lnTo>
                  <a:lnTo>
                    <a:pt x="2588" y="4518"/>
                  </a:lnTo>
                  <a:lnTo>
                    <a:pt x="2620" y="4517"/>
                  </a:lnTo>
                  <a:lnTo>
                    <a:pt x="2653" y="4515"/>
                  </a:lnTo>
                  <a:lnTo>
                    <a:pt x="2685" y="4513"/>
                  </a:lnTo>
                  <a:lnTo>
                    <a:pt x="2717" y="4509"/>
                  </a:lnTo>
                  <a:lnTo>
                    <a:pt x="2751" y="4504"/>
                  </a:lnTo>
                  <a:lnTo>
                    <a:pt x="2784" y="4499"/>
                  </a:lnTo>
                  <a:lnTo>
                    <a:pt x="2817" y="4492"/>
                  </a:lnTo>
                  <a:lnTo>
                    <a:pt x="2850" y="4485"/>
                  </a:lnTo>
                  <a:lnTo>
                    <a:pt x="2885" y="4477"/>
                  </a:lnTo>
                  <a:lnTo>
                    <a:pt x="2919" y="4467"/>
                  </a:lnTo>
                  <a:lnTo>
                    <a:pt x="2953" y="4457"/>
                  </a:lnTo>
                  <a:lnTo>
                    <a:pt x="2987" y="4446"/>
                  </a:lnTo>
                  <a:lnTo>
                    <a:pt x="3023" y="4434"/>
                  </a:lnTo>
                  <a:lnTo>
                    <a:pt x="3057" y="4420"/>
                  </a:lnTo>
                  <a:lnTo>
                    <a:pt x="3092" y="4406"/>
                  </a:lnTo>
                  <a:lnTo>
                    <a:pt x="3128" y="4390"/>
                  </a:lnTo>
                  <a:lnTo>
                    <a:pt x="3162" y="4372"/>
                  </a:lnTo>
                  <a:lnTo>
                    <a:pt x="3197" y="4353"/>
                  </a:lnTo>
                  <a:lnTo>
                    <a:pt x="3231" y="4333"/>
                  </a:lnTo>
                  <a:lnTo>
                    <a:pt x="3267" y="4312"/>
                  </a:lnTo>
                  <a:lnTo>
                    <a:pt x="3301" y="4290"/>
                  </a:lnTo>
                  <a:lnTo>
                    <a:pt x="3336" y="4266"/>
                  </a:lnTo>
                  <a:lnTo>
                    <a:pt x="3371" y="4241"/>
                  </a:lnTo>
                  <a:lnTo>
                    <a:pt x="3405" y="4213"/>
                  </a:lnTo>
                  <a:lnTo>
                    <a:pt x="3440" y="4185"/>
                  </a:lnTo>
                  <a:lnTo>
                    <a:pt x="3474" y="4156"/>
                  </a:lnTo>
                  <a:lnTo>
                    <a:pt x="3509" y="4126"/>
                  </a:lnTo>
                  <a:lnTo>
                    <a:pt x="3543" y="4094"/>
                  </a:lnTo>
                  <a:lnTo>
                    <a:pt x="3576" y="4060"/>
                  </a:lnTo>
                  <a:lnTo>
                    <a:pt x="3610" y="4092"/>
                  </a:lnTo>
                  <a:lnTo>
                    <a:pt x="3643" y="4123"/>
                  </a:lnTo>
                  <a:lnTo>
                    <a:pt x="3676" y="4154"/>
                  </a:lnTo>
                  <a:lnTo>
                    <a:pt x="3709" y="4185"/>
                  </a:lnTo>
                  <a:lnTo>
                    <a:pt x="3743" y="4215"/>
                  </a:lnTo>
                  <a:lnTo>
                    <a:pt x="3776" y="4246"/>
                  </a:lnTo>
                  <a:lnTo>
                    <a:pt x="3808" y="4276"/>
                  </a:lnTo>
                  <a:lnTo>
                    <a:pt x="3841" y="4306"/>
                  </a:lnTo>
                  <a:lnTo>
                    <a:pt x="3856" y="4317"/>
                  </a:lnTo>
                  <a:lnTo>
                    <a:pt x="3872" y="4326"/>
                  </a:lnTo>
                  <a:lnTo>
                    <a:pt x="3887" y="4335"/>
                  </a:lnTo>
                  <a:lnTo>
                    <a:pt x="3904" y="4341"/>
                  </a:lnTo>
                  <a:lnTo>
                    <a:pt x="3921" y="4346"/>
                  </a:lnTo>
                  <a:lnTo>
                    <a:pt x="3940" y="4349"/>
                  </a:lnTo>
                  <a:lnTo>
                    <a:pt x="3959" y="4350"/>
                  </a:lnTo>
                  <a:lnTo>
                    <a:pt x="3980" y="4350"/>
                  </a:lnTo>
                  <a:lnTo>
                    <a:pt x="3990" y="4349"/>
                  </a:lnTo>
                  <a:lnTo>
                    <a:pt x="3999" y="4348"/>
                  </a:lnTo>
                  <a:lnTo>
                    <a:pt x="4009" y="4346"/>
                  </a:lnTo>
                  <a:lnTo>
                    <a:pt x="4018" y="4344"/>
                  </a:lnTo>
                  <a:lnTo>
                    <a:pt x="4027" y="4341"/>
                  </a:lnTo>
                  <a:lnTo>
                    <a:pt x="4036" y="4338"/>
                  </a:lnTo>
                  <a:lnTo>
                    <a:pt x="4045" y="4334"/>
                  </a:lnTo>
                  <a:lnTo>
                    <a:pt x="4053" y="4330"/>
                  </a:lnTo>
                  <a:lnTo>
                    <a:pt x="4062" y="4325"/>
                  </a:lnTo>
                  <a:lnTo>
                    <a:pt x="4070" y="4320"/>
                  </a:lnTo>
                  <a:lnTo>
                    <a:pt x="4078" y="4315"/>
                  </a:lnTo>
                  <a:lnTo>
                    <a:pt x="4086" y="4308"/>
                  </a:lnTo>
                  <a:lnTo>
                    <a:pt x="4102" y="4295"/>
                  </a:lnTo>
                  <a:lnTo>
                    <a:pt x="4116" y="4279"/>
                  </a:lnTo>
                  <a:lnTo>
                    <a:pt x="4129" y="4262"/>
                  </a:lnTo>
                  <a:lnTo>
                    <a:pt x="4140" y="4245"/>
                  </a:lnTo>
                  <a:lnTo>
                    <a:pt x="4144" y="4236"/>
                  </a:lnTo>
                  <a:lnTo>
                    <a:pt x="4148" y="4227"/>
                  </a:lnTo>
                  <a:lnTo>
                    <a:pt x="4152" y="4218"/>
                  </a:lnTo>
                  <a:lnTo>
                    <a:pt x="4155" y="4207"/>
                  </a:lnTo>
                  <a:lnTo>
                    <a:pt x="4158" y="4198"/>
                  </a:lnTo>
                  <a:lnTo>
                    <a:pt x="4160" y="4189"/>
                  </a:lnTo>
                  <a:lnTo>
                    <a:pt x="4162" y="4180"/>
                  </a:lnTo>
                  <a:lnTo>
                    <a:pt x="4163" y="4170"/>
                  </a:lnTo>
                  <a:lnTo>
                    <a:pt x="4164" y="4161"/>
                  </a:lnTo>
                  <a:lnTo>
                    <a:pt x="4164" y="4151"/>
                  </a:lnTo>
                  <a:lnTo>
                    <a:pt x="4163" y="4141"/>
                  </a:lnTo>
                  <a:lnTo>
                    <a:pt x="4163" y="4131"/>
                  </a:lnTo>
                  <a:lnTo>
                    <a:pt x="4160" y="4112"/>
                  </a:lnTo>
                  <a:lnTo>
                    <a:pt x="4156" y="4094"/>
                  </a:lnTo>
                  <a:lnTo>
                    <a:pt x="4150" y="4078"/>
                  </a:lnTo>
                  <a:lnTo>
                    <a:pt x="4143" y="4062"/>
                  </a:lnTo>
                  <a:lnTo>
                    <a:pt x="4134" y="4046"/>
                  </a:lnTo>
                  <a:lnTo>
                    <a:pt x="4124" y="4032"/>
                  </a:lnTo>
                  <a:lnTo>
                    <a:pt x="4113" y="4020"/>
                  </a:lnTo>
                  <a:lnTo>
                    <a:pt x="4100" y="4009"/>
                  </a:lnTo>
                  <a:lnTo>
                    <a:pt x="4066" y="3982"/>
                  </a:lnTo>
                  <a:lnTo>
                    <a:pt x="4033" y="3955"/>
                  </a:lnTo>
                  <a:lnTo>
                    <a:pt x="4000" y="3928"/>
                  </a:lnTo>
                  <a:lnTo>
                    <a:pt x="3966" y="3900"/>
                  </a:lnTo>
                  <a:lnTo>
                    <a:pt x="3933" y="3871"/>
                  </a:lnTo>
                  <a:lnTo>
                    <a:pt x="3900" y="3843"/>
                  </a:lnTo>
                  <a:lnTo>
                    <a:pt x="3867" y="3814"/>
                  </a:lnTo>
                  <a:lnTo>
                    <a:pt x="3833" y="3785"/>
                  </a:lnTo>
                  <a:lnTo>
                    <a:pt x="3862" y="3751"/>
                  </a:lnTo>
                  <a:lnTo>
                    <a:pt x="3889" y="3716"/>
                  </a:lnTo>
                  <a:lnTo>
                    <a:pt x="3915" y="3680"/>
                  </a:lnTo>
                  <a:lnTo>
                    <a:pt x="3941" y="3645"/>
                  </a:lnTo>
                  <a:lnTo>
                    <a:pt x="3966" y="3609"/>
                  </a:lnTo>
                  <a:lnTo>
                    <a:pt x="3991" y="3574"/>
                  </a:lnTo>
                  <a:lnTo>
                    <a:pt x="4015" y="3537"/>
                  </a:lnTo>
                  <a:lnTo>
                    <a:pt x="4037" y="3502"/>
                  </a:lnTo>
                  <a:lnTo>
                    <a:pt x="4060" y="3466"/>
                  </a:lnTo>
                  <a:lnTo>
                    <a:pt x="4081" y="3430"/>
                  </a:lnTo>
                  <a:lnTo>
                    <a:pt x="4103" y="3394"/>
                  </a:lnTo>
                  <a:lnTo>
                    <a:pt x="4122" y="3357"/>
                  </a:lnTo>
                  <a:lnTo>
                    <a:pt x="4142" y="3321"/>
                  </a:lnTo>
                  <a:lnTo>
                    <a:pt x="4160" y="3285"/>
                  </a:lnTo>
                  <a:lnTo>
                    <a:pt x="4178" y="3250"/>
                  </a:lnTo>
                  <a:lnTo>
                    <a:pt x="4195" y="3214"/>
                  </a:lnTo>
                  <a:lnTo>
                    <a:pt x="4211" y="3177"/>
                  </a:lnTo>
                  <a:lnTo>
                    <a:pt x="4228" y="3141"/>
                  </a:lnTo>
                  <a:lnTo>
                    <a:pt x="4242" y="3105"/>
                  </a:lnTo>
                  <a:lnTo>
                    <a:pt x="4256" y="3070"/>
                  </a:lnTo>
                  <a:lnTo>
                    <a:pt x="4269" y="3034"/>
                  </a:lnTo>
                  <a:lnTo>
                    <a:pt x="4281" y="2998"/>
                  </a:lnTo>
                  <a:lnTo>
                    <a:pt x="4292" y="2963"/>
                  </a:lnTo>
                  <a:lnTo>
                    <a:pt x="4302" y="2929"/>
                  </a:lnTo>
                  <a:lnTo>
                    <a:pt x="4312" y="2895"/>
                  </a:lnTo>
                  <a:lnTo>
                    <a:pt x="4320" y="2859"/>
                  </a:lnTo>
                  <a:lnTo>
                    <a:pt x="4328" y="2826"/>
                  </a:lnTo>
                  <a:lnTo>
                    <a:pt x="4335" y="2792"/>
                  </a:lnTo>
                  <a:lnTo>
                    <a:pt x="4342" y="2759"/>
                  </a:lnTo>
                  <a:lnTo>
                    <a:pt x="4348" y="2726"/>
                  </a:lnTo>
                  <a:lnTo>
                    <a:pt x="4352" y="2693"/>
                  </a:lnTo>
                  <a:lnTo>
                    <a:pt x="4356" y="2660"/>
                  </a:lnTo>
                  <a:lnTo>
                    <a:pt x="4359" y="2627"/>
                  </a:lnTo>
                  <a:lnTo>
                    <a:pt x="4361" y="2596"/>
                  </a:lnTo>
                  <a:lnTo>
                    <a:pt x="4362" y="2564"/>
                  </a:lnTo>
                  <a:lnTo>
                    <a:pt x="4362" y="2533"/>
                  </a:lnTo>
                  <a:lnTo>
                    <a:pt x="4361" y="2501"/>
                  </a:lnTo>
                  <a:lnTo>
                    <a:pt x="4360" y="2471"/>
                  </a:lnTo>
                  <a:lnTo>
                    <a:pt x="4357" y="2441"/>
                  </a:lnTo>
                  <a:lnTo>
                    <a:pt x="4354" y="2412"/>
                  </a:lnTo>
                  <a:lnTo>
                    <a:pt x="4350" y="2382"/>
                  </a:lnTo>
                  <a:lnTo>
                    <a:pt x="4345" y="2354"/>
                  </a:lnTo>
                  <a:lnTo>
                    <a:pt x="4338" y="2324"/>
                  </a:lnTo>
                  <a:lnTo>
                    <a:pt x="4331" y="2296"/>
                  </a:lnTo>
                  <a:lnTo>
                    <a:pt x="4323" y="2268"/>
                  </a:lnTo>
                  <a:lnTo>
                    <a:pt x="4315" y="2241"/>
                  </a:lnTo>
                  <a:lnTo>
                    <a:pt x="4306" y="2214"/>
                  </a:lnTo>
                  <a:lnTo>
                    <a:pt x="4296" y="2187"/>
                  </a:lnTo>
                  <a:lnTo>
                    <a:pt x="4285" y="2159"/>
                  </a:lnTo>
                  <a:lnTo>
                    <a:pt x="4273" y="2133"/>
                  </a:lnTo>
                  <a:lnTo>
                    <a:pt x="4260" y="2107"/>
                  </a:lnTo>
                  <a:lnTo>
                    <a:pt x="4245" y="2082"/>
                  </a:lnTo>
                  <a:lnTo>
                    <a:pt x="4230" y="2057"/>
                  </a:lnTo>
                  <a:lnTo>
                    <a:pt x="4213" y="2032"/>
                  </a:lnTo>
                  <a:lnTo>
                    <a:pt x="4196" y="2007"/>
                  </a:lnTo>
                  <a:lnTo>
                    <a:pt x="4178" y="1983"/>
                  </a:lnTo>
                  <a:lnTo>
                    <a:pt x="4159" y="1960"/>
                  </a:lnTo>
                  <a:lnTo>
                    <a:pt x="4139" y="1936"/>
                  </a:lnTo>
                  <a:lnTo>
                    <a:pt x="4118" y="1913"/>
                  </a:lnTo>
                  <a:lnTo>
                    <a:pt x="4095" y="1890"/>
                  </a:lnTo>
                  <a:lnTo>
                    <a:pt x="4071" y="1867"/>
                  </a:lnTo>
                  <a:lnTo>
                    <a:pt x="4047" y="1845"/>
                  </a:lnTo>
                  <a:lnTo>
                    <a:pt x="4022" y="1821"/>
                  </a:lnTo>
                  <a:lnTo>
                    <a:pt x="3995" y="17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3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01" name="ïS1ïdê">
              <a:extLst>
                <a:ext uri="{FF2B5EF4-FFF2-40B4-BE49-F238E27FC236}">
                  <a16:creationId xmlns:a16="http://schemas.microsoft.com/office/drawing/2014/main" id="{11285A33-1C60-43F5-B13D-962CDA03397D}"/>
                </a:ext>
              </a:extLst>
            </p:cNvPr>
            <p:cNvSpPr/>
            <p:nvPr/>
          </p:nvSpPr>
          <p:spPr bwMode="auto">
            <a:xfrm>
              <a:off x="7009767" y="2393269"/>
              <a:ext cx="93058" cy="97288"/>
            </a:xfrm>
            <a:custGeom>
              <a:avLst/>
              <a:gdLst>
                <a:gd name="T0" fmla="*/ 1968 w 2440"/>
                <a:gd name="T1" fmla="*/ 101 h 2551"/>
                <a:gd name="T2" fmla="*/ 1793 w 2440"/>
                <a:gd name="T3" fmla="*/ 240 h 2551"/>
                <a:gd name="T4" fmla="*/ 1619 w 2440"/>
                <a:gd name="T5" fmla="*/ 382 h 2551"/>
                <a:gd name="T6" fmla="*/ 1449 w 2440"/>
                <a:gd name="T7" fmla="*/ 528 h 2551"/>
                <a:gd name="T8" fmla="*/ 1283 w 2440"/>
                <a:gd name="T9" fmla="*/ 680 h 2551"/>
                <a:gd name="T10" fmla="*/ 1120 w 2440"/>
                <a:gd name="T11" fmla="*/ 836 h 2551"/>
                <a:gd name="T12" fmla="*/ 969 w 2440"/>
                <a:gd name="T13" fmla="*/ 992 h 2551"/>
                <a:gd name="T14" fmla="*/ 824 w 2440"/>
                <a:gd name="T15" fmla="*/ 1150 h 2551"/>
                <a:gd name="T16" fmla="*/ 684 w 2440"/>
                <a:gd name="T17" fmla="*/ 1310 h 2551"/>
                <a:gd name="T18" fmla="*/ 551 w 2440"/>
                <a:gd name="T19" fmla="*/ 1472 h 2551"/>
                <a:gd name="T20" fmla="*/ 425 w 2440"/>
                <a:gd name="T21" fmla="*/ 1636 h 2551"/>
                <a:gd name="T22" fmla="*/ 40 w 2440"/>
                <a:gd name="T23" fmla="*/ 2162 h 2551"/>
                <a:gd name="T24" fmla="*/ 12 w 2440"/>
                <a:gd name="T25" fmla="*/ 2221 h 2551"/>
                <a:gd name="T26" fmla="*/ 0 w 2440"/>
                <a:gd name="T27" fmla="*/ 2282 h 2551"/>
                <a:gd name="T28" fmla="*/ 4 w 2440"/>
                <a:gd name="T29" fmla="*/ 2345 h 2551"/>
                <a:gd name="T30" fmla="*/ 23 w 2440"/>
                <a:gd name="T31" fmla="*/ 2406 h 2551"/>
                <a:gd name="T32" fmla="*/ 59 w 2440"/>
                <a:gd name="T33" fmla="*/ 2461 h 2551"/>
                <a:gd name="T34" fmla="*/ 93 w 2440"/>
                <a:gd name="T35" fmla="*/ 2494 h 2551"/>
                <a:gd name="T36" fmla="*/ 123 w 2440"/>
                <a:gd name="T37" fmla="*/ 2516 h 2551"/>
                <a:gd name="T38" fmla="*/ 156 w 2440"/>
                <a:gd name="T39" fmla="*/ 2532 h 2551"/>
                <a:gd name="T40" fmla="*/ 192 w 2440"/>
                <a:gd name="T41" fmla="*/ 2544 h 2551"/>
                <a:gd name="T42" fmla="*/ 228 w 2440"/>
                <a:gd name="T43" fmla="*/ 2550 h 2551"/>
                <a:gd name="T44" fmla="*/ 264 w 2440"/>
                <a:gd name="T45" fmla="*/ 2551 h 2551"/>
                <a:gd name="T46" fmla="*/ 301 w 2440"/>
                <a:gd name="T47" fmla="*/ 2547 h 2551"/>
                <a:gd name="T48" fmla="*/ 336 w 2440"/>
                <a:gd name="T49" fmla="*/ 2536 h 2551"/>
                <a:gd name="T50" fmla="*/ 370 w 2440"/>
                <a:gd name="T51" fmla="*/ 2522 h 2551"/>
                <a:gd name="T52" fmla="*/ 402 w 2440"/>
                <a:gd name="T53" fmla="*/ 2502 h 2551"/>
                <a:gd name="T54" fmla="*/ 432 w 2440"/>
                <a:gd name="T55" fmla="*/ 2477 h 2551"/>
                <a:gd name="T56" fmla="*/ 461 w 2440"/>
                <a:gd name="T57" fmla="*/ 2440 h 2551"/>
                <a:gd name="T58" fmla="*/ 829 w 2440"/>
                <a:gd name="T59" fmla="*/ 1936 h 2551"/>
                <a:gd name="T60" fmla="*/ 946 w 2440"/>
                <a:gd name="T61" fmla="*/ 1784 h 2551"/>
                <a:gd name="T62" fmla="*/ 1070 w 2440"/>
                <a:gd name="T63" fmla="*/ 1633 h 2551"/>
                <a:gd name="T64" fmla="*/ 1200 w 2440"/>
                <a:gd name="T65" fmla="*/ 1484 h 2551"/>
                <a:gd name="T66" fmla="*/ 1336 w 2440"/>
                <a:gd name="T67" fmla="*/ 1337 h 2551"/>
                <a:gd name="T68" fmla="*/ 1477 w 2440"/>
                <a:gd name="T69" fmla="*/ 1193 h 2551"/>
                <a:gd name="T70" fmla="*/ 1634 w 2440"/>
                <a:gd name="T71" fmla="*/ 1040 h 2551"/>
                <a:gd name="T72" fmla="*/ 1791 w 2440"/>
                <a:gd name="T73" fmla="*/ 898 h 2551"/>
                <a:gd name="T74" fmla="*/ 1948 w 2440"/>
                <a:gd name="T75" fmla="*/ 762 h 2551"/>
                <a:gd name="T76" fmla="*/ 2111 w 2440"/>
                <a:gd name="T77" fmla="*/ 629 h 2551"/>
                <a:gd name="T78" fmla="*/ 2282 w 2440"/>
                <a:gd name="T79" fmla="*/ 495 h 2551"/>
                <a:gd name="T80" fmla="*/ 2353 w 2440"/>
                <a:gd name="T81" fmla="*/ 440 h 2551"/>
                <a:gd name="T82" fmla="*/ 2383 w 2440"/>
                <a:gd name="T83" fmla="*/ 410 h 2551"/>
                <a:gd name="T84" fmla="*/ 2405 w 2440"/>
                <a:gd name="T85" fmla="*/ 379 h 2551"/>
                <a:gd name="T86" fmla="*/ 2421 w 2440"/>
                <a:gd name="T87" fmla="*/ 346 h 2551"/>
                <a:gd name="T88" fmla="*/ 2433 w 2440"/>
                <a:gd name="T89" fmla="*/ 311 h 2551"/>
                <a:gd name="T90" fmla="*/ 2439 w 2440"/>
                <a:gd name="T91" fmla="*/ 275 h 2551"/>
                <a:gd name="T92" fmla="*/ 2439 w 2440"/>
                <a:gd name="T93" fmla="*/ 239 h 2551"/>
                <a:gd name="T94" fmla="*/ 2435 w 2440"/>
                <a:gd name="T95" fmla="*/ 203 h 2551"/>
                <a:gd name="T96" fmla="*/ 2426 w 2440"/>
                <a:gd name="T97" fmla="*/ 168 h 2551"/>
                <a:gd name="T98" fmla="*/ 2411 w 2440"/>
                <a:gd name="T99" fmla="*/ 133 h 2551"/>
                <a:gd name="T100" fmla="*/ 2391 w 2440"/>
                <a:gd name="T101" fmla="*/ 101 h 2551"/>
                <a:gd name="T102" fmla="*/ 2365 w 2440"/>
                <a:gd name="T103" fmla="*/ 72 h 2551"/>
                <a:gd name="T104" fmla="*/ 2338 w 2440"/>
                <a:gd name="T105" fmla="*/ 49 h 2551"/>
                <a:gd name="T106" fmla="*/ 2309 w 2440"/>
                <a:gd name="T107" fmla="*/ 30 h 2551"/>
                <a:gd name="T108" fmla="*/ 2277 w 2440"/>
                <a:gd name="T109" fmla="*/ 16 h 2551"/>
                <a:gd name="T110" fmla="*/ 2244 w 2440"/>
                <a:gd name="T111" fmla="*/ 6 h 2551"/>
                <a:gd name="T112" fmla="*/ 2211 w 2440"/>
                <a:gd name="T113" fmla="*/ 1 h 2551"/>
                <a:gd name="T114" fmla="*/ 2154 w 2440"/>
                <a:gd name="T115" fmla="*/ 2 h 2551"/>
                <a:gd name="T116" fmla="*/ 2120 w 2440"/>
                <a:gd name="T117" fmla="*/ 9 h 2551"/>
                <a:gd name="T118" fmla="*/ 2088 w 2440"/>
                <a:gd name="T119" fmla="*/ 20 h 2551"/>
                <a:gd name="T120" fmla="*/ 2057 w 2440"/>
                <a:gd name="T121" fmla="*/ 36 h 2551"/>
                <a:gd name="T122" fmla="*/ 2029 w 2440"/>
                <a:gd name="T123" fmla="*/ 56 h 2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440" h="2551">
                  <a:moveTo>
                    <a:pt x="2029" y="56"/>
                  </a:moveTo>
                  <a:lnTo>
                    <a:pt x="2028" y="56"/>
                  </a:lnTo>
                  <a:lnTo>
                    <a:pt x="1968" y="101"/>
                  </a:lnTo>
                  <a:lnTo>
                    <a:pt x="1910" y="147"/>
                  </a:lnTo>
                  <a:lnTo>
                    <a:pt x="1851" y="193"/>
                  </a:lnTo>
                  <a:lnTo>
                    <a:pt x="1793" y="240"/>
                  </a:lnTo>
                  <a:lnTo>
                    <a:pt x="1734" y="286"/>
                  </a:lnTo>
                  <a:lnTo>
                    <a:pt x="1677" y="333"/>
                  </a:lnTo>
                  <a:lnTo>
                    <a:pt x="1619" y="382"/>
                  </a:lnTo>
                  <a:lnTo>
                    <a:pt x="1562" y="430"/>
                  </a:lnTo>
                  <a:lnTo>
                    <a:pt x="1505" y="478"/>
                  </a:lnTo>
                  <a:lnTo>
                    <a:pt x="1449" y="528"/>
                  </a:lnTo>
                  <a:lnTo>
                    <a:pt x="1394" y="578"/>
                  </a:lnTo>
                  <a:lnTo>
                    <a:pt x="1337" y="628"/>
                  </a:lnTo>
                  <a:lnTo>
                    <a:pt x="1283" y="680"/>
                  </a:lnTo>
                  <a:lnTo>
                    <a:pt x="1228" y="732"/>
                  </a:lnTo>
                  <a:lnTo>
                    <a:pt x="1174" y="784"/>
                  </a:lnTo>
                  <a:lnTo>
                    <a:pt x="1120" y="836"/>
                  </a:lnTo>
                  <a:lnTo>
                    <a:pt x="1069" y="889"/>
                  </a:lnTo>
                  <a:lnTo>
                    <a:pt x="1018" y="940"/>
                  </a:lnTo>
                  <a:lnTo>
                    <a:pt x="969" y="992"/>
                  </a:lnTo>
                  <a:lnTo>
                    <a:pt x="920" y="1045"/>
                  </a:lnTo>
                  <a:lnTo>
                    <a:pt x="871" y="1097"/>
                  </a:lnTo>
                  <a:lnTo>
                    <a:pt x="824" y="1150"/>
                  </a:lnTo>
                  <a:lnTo>
                    <a:pt x="776" y="1203"/>
                  </a:lnTo>
                  <a:lnTo>
                    <a:pt x="730" y="1257"/>
                  </a:lnTo>
                  <a:lnTo>
                    <a:pt x="684" y="1310"/>
                  </a:lnTo>
                  <a:lnTo>
                    <a:pt x="639" y="1364"/>
                  </a:lnTo>
                  <a:lnTo>
                    <a:pt x="594" y="1418"/>
                  </a:lnTo>
                  <a:lnTo>
                    <a:pt x="551" y="1472"/>
                  </a:lnTo>
                  <a:lnTo>
                    <a:pt x="508" y="1527"/>
                  </a:lnTo>
                  <a:lnTo>
                    <a:pt x="466" y="1582"/>
                  </a:lnTo>
                  <a:lnTo>
                    <a:pt x="425" y="1636"/>
                  </a:lnTo>
                  <a:lnTo>
                    <a:pt x="383" y="1692"/>
                  </a:lnTo>
                  <a:lnTo>
                    <a:pt x="39" y="2161"/>
                  </a:lnTo>
                  <a:lnTo>
                    <a:pt x="40" y="2162"/>
                  </a:lnTo>
                  <a:lnTo>
                    <a:pt x="29" y="2180"/>
                  </a:lnTo>
                  <a:lnTo>
                    <a:pt x="20" y="2201"/>
                  </a:lnTo>
                  <a:lnTo>
                    <a:pt x="12" y="2221"/>
                  </a:lnTo>
                  <a:lnTo>
                    <a:pt x="6" y="2241"/>
                  </a:lnTo>
                  <a:lnTo>
                    <a:pt x="2" y="2262"/>
                  </a:lnTo>
                  <a:lnTo>
                    <a:pt x="0" y="2282"/>
                  </a:lnTo>
                  <a:lnTo>
                    <a:pt x="0" y="2303"/>
                  </a:lnTo>
                  <a:lnTo>
                    <a:pt x="1" y="2324"/>
                  </a:lnTo>
                  <a:lnTo>
                    <a:pt x="4" y="2345"/>
                  </a:lnTo>
                  <a:lnTo>
                    <a:pt x="8" y="2365"/>
                  </a:lnTo>
                  <a:lnTo>
                    <a:pt x="15" y="2387"/>
                  </a:lnTo>
                  <a:lnTo>
                    <a:pt x="23" y="2406"/>
                  </a:lnTo>
                  <a:lnTo>
                    <a:pt x="33" y="2425"/>
                  </a:lnTo>
                  <a:lnTo>
                    <a:pt x="44" y="2443"/>
                  </a:lnTo>
                  <a:lnTo>
                    <a:pt x="59" y="2461"/>
                  </a:lnTo>
                  <a:lnTo>
                    <a:pt x="74" y="2477"/>
                  </a:lnTo>
                  <a:lnTo>
                    <a:pt x="83" y="2486"/>
                  </a:lnTo>
                  <a:lnTo>
                    <a:pt x="93" y="2494"/>
                  </a:lnTo>
                  <a:lnTo>
                    <a:pt x="103" y="2502"/>
                  </a:lnTo>
                  <a:lnTo>
                    <a:pt x="113" y="2509"/>
                  </a:lnTo>
                  <a:lnTo>
                    <a:pt x="123" y="2516"/>
                  </a:lnTo>
                  <a:lnTo>
                    <a:pt x="134" y="2522"/>
                  </a:lnTo>
                  <a:lnTo>
                    <a:pt x="145" y="2527"/>
                  </a:lnTo>
                  <a:lnTo>
                    <a:pt x="156" y="2532"/>
                  </a:lnTo>
                  <a:lnTo>
                    <a:pt x="168" y="2536"/>
                  </a:lnTo>
                  <a:lnTo>
                    <a:pt x="180" y="2541"/>
                  </a:lnTo>
                  <a:lnTo>
                    <a:pt x="192" y="2544"/>
                  </a:lnTo>
                  <a:lnTo>
                    <a:pt x="204" y="2547"/>
                  </a:lnTo>
                  <a:lnTo>
                    <a:pt x="216" y="2549"/>
                  </a:lnTo>
                  <a:lnTo>
                    <a:pt x="228" y="2550"/>
                  </a:lnTo>
                  <a:lnTo>
                    <a:pt x="240" y="2551"/>
                  </a:lnTo>
                  <a:lnTo>
                    <a:pt x="252" y="2551"/>
                  </a:lnTo>
                  <a:lnTo>
                    <a:pt x="264" y="2551"/>
                  </a:lnTo>
                  <a:lnTo>
                    <a:pt x="276" y="2550"/>
                  </a:lnTo>
                  <a:lnTo>
                    <a:pt x="288" y="2549"/>
                  </a:lnTo>
                  <a:lnTo>
                    <a:pt x="301" y="2547"/>
                  </a:lnTo>
                  <a:lnTo>
                    <a:pt x="313" y="2544"/>
                  </a:lnTo>
                  <a:lnTo>
                    <a:pt x="324" y="2541"/>
                  </a:lnTo>
                  <a:lnTo>
                    <a:pt x="336" y="2536"/>
                  </a:lnTo>
                  <a:lnTo>
                    <a:pt x="347" y="2532"/>
                  </a:lnTo>
                  <a:lnTo>
                    <a:pt x="359" y="2527"/>
                  </a:lnTo>
                  <a:lnTo>
                    <a:pt x="370" y="2522"/>
                  </a:lnTo>
                  <a:lnTo>
                    <a:pt x="381" y="2516"/>
                  </a:lnTo>
                  <a:lnTo>
                    <a:pt x="391" y="2509"/>
                  </a:lnTo>
                  <a:lnTo>
                    <a:pt x="402" y="2502"/>
                  </a:lnTo>
                  <a:lnTo>
                    <a:pt x="412" y="2494"/>
                  </a:lnTo>
                  <a:lnTo>
                    <a:pt x="422" y="2486"/>
                  </a:lnTo>
                  <a:lnTo>
                    <a:pt x="432" y="2477"/>
                  </a:lnTo>
                  <a:lnTo>
                    <a:pt x="442" y="2465"/>
                  </a:lnTo>
                  <a:lnTo>
                    <a:pt x="452" y="2453"/>
                  </a:lnTo>
                  <a:lnTo>
                    <a:pt x="461" y="2440"/>
                  </a:lnTo>
                  <a:lnTo>
                    <a:pt x="469" y="2427"/>
                  </a:lnTo>
                  <a:lnTo>
                    <a:pt x="791" y="1987"/>
                  </a:lnTo>
                  <a:lnTo>
                    <a:pt x="829" y="1936"/>
                  </a:lnTo>
                  <a:lnTo>
                    <a:pt x="867" y="1886"/>
                  </a:lnTo>
                  <a:lnTo>
                    <a:pt x="907" y="1834"/>
                  </a:lnTo>
                  <a:lnTo>
                    <a:pt x="946" y="1784"/>
                  </a:lnTo>
                  <a:lnTo>
                    <a:pt x="987" y="1734"/>
                  </a:lnTo>
                  <a:lnTo>
                    <a:pt x="1029" y="1683"/>
                  </a:lnTo>
                  <a:lnTo>
                    <a:pt x="1070" y="1633"/>
                  </a:lnTo>
                  <a:lnTo>
                    <a:pt x="1113" y="1583"/>
                  </a:lnTo>
                  <a:lnTo>
                    <a:pt x="1157" y="1534"/>
                  </a:lnTo>
                  <a:lnTo>
                    <a:pt x="1200" y="1484"/>
                  </a:lnTo>
                  <a:lnTo>
                    <a:pt x="1244" y="1435"/>
                  </a:lnTo>
                  <a:lnTo>
                    <a:pt x="1290" y="1386"/>
                  </a:lnTo>
                  <a:lnTo>
                    <a:pt x="1336" y="1337"/>
                  </a:lnTo>
                  <a:lnTo>
                    <a:pt x="1382" y="1288"/>
                  </a:lnTo>
                  <a:lnTo>
                    <a:pt x="1429" y="1241"/>
                  </a:lnTo>
                  <a:lnTo>
                    <a:pt x="1477" y="1193"/>
                  </a:lnTo>
                  <a:lnTo>
                    <a:pt x="1530" y="1140"/>
                  </a:lnTo>
                  <a:lnTo>
                    <a:pt x="1582" y="1090"/>
                  </a:lnTo>
                  <a:lnTo>
                    <a:pt x="1634" y="1040"/>
                  </a:lnTo>
                  <a:lnTo>
                    <a:pt x="1686" y="991"/>
                  </a:lnTo>
                  <a:lnTo>
                    <a:pt x="1738" y="944"/>
                  </a:lnTo>
                  <a:lnTo>
                    <a:pt x="1791" y="898"/>
                  </a:lnTo>
                  <a:lnTo>
                    <a:pt x="1842" y="852"/>
                  </a:lnTo>
                  <a:lnTo>
                    <a:pt x="1896" y="806"/>
                  </a:lnTo>
                  <a:lnTo>
                    <a:pt x="1948" y="762"/>
                  </a:lnTo>
                  <a:lnTo>
                    <a:pt x="2001" y="718"/>
                  </a:lnTo>
                  <a:lnTo>
                    <a:pt x="2056" y="673"/>
                  </a:lnTo>
                  <a:lnTo>
                    <a:pt x="2111" y="629"/>
                  </a:lnTo>
                  <a:lnTo>
                    <a:pt x="2167" y="585"/>
                  </a:lnTo>
                  <a:lnTo>
                    <a:pt x="2223" y="541"/>
                  </a:lnTo>
                  <a:lnTo>
                    <a:pt x="2282" y="495"/>
                  </a:lnTo>
                  <a:lnTo>
                    <a:pt x="2341" y="450"/>
                  </a:lnTo>
                  <a:lnTo>
                    <a:pt x="2340" y="449"/>
                  </a:lnTo>
                  <a:lnTo>
                    <a:pt x="2353" y="440"/>
                  </a:lnTo>
                  <a:lnTo>
                    <a:pt x="2365" y="429"/>
                  </a:lnTo>
                  <a:lnTo>
                    <a:pt x="2375" y="419"/>
                  </a:lnTo>
                  <a:lnTo>
                    <a:pt x="2383" y="410"/>
                  </a:lnTo>
                  <a:lnTo>
                    <a:pt x="2391" y="400"/>
                  </a:lnTo>
                  <a:lnTo>
                    <a:pt x="2398" y="390"/>
                  </a:lnTo>
                  <a:lnTo>
                    <a:pt x="2405" y="379"/>
                  </a:lnTo>
                  <a:lnTo>
                    <a:pt x="2411" y="368"/>
                  </a:lnTo>
                  <a:lnTo>
                    <a:pt x="2416" y="357"/>
                  </a:lnTo>
                  <a:lnTo>
                    <a:pt x="2421" y="346"/>
                  </a:lnTo>
                  <a:lnTo>
                    <a:pt x="2426" y="334"/>
                  </a:lnTo>
                  <a:lnTo>
                    <a:pt x="2429" y="322"/>
                  </a:lnTo>
                  <a:lnTo>
                    <a:pt x="2433" y="311"/>
                  </a:lnTo>
                  <a:lnTo>
                    <a:pt x="2435" y="299"/>
                  </a:lnTo>
                  <a:lnTo>
                    <a:pt x="2437" y="287"/>
                  </a:lnTo>
                  <a:lnTo>
                    <a:pt x="2439" y="275"/>
                  </a:lnTo>
                  <a:lnTo>
                    <a:pt x="2439" y="263"/>
                  </a:lnTo>
                  <a:lnTo>
                    <a:pt x="2440" y="251"/>
                  </a:lnTo>
                  <a:lnTo>
                    <a:pt x="2439" y="239"/>
                  </a:lnTo>
                  <a:lnTo>
                    <a:pt x="2439" y="227"/>
                  </a:lnTo>
                  <a:lnTo>
                    <a:pt x="2437" y="215"/>
                  </a:lnTo>
                  <a:lnTo>
                    <a:pt x="2435" y="203"/>
                  </a:lnTo>
                  <a:lnTo>
                    <a:pt x="2433" y="191"/>
                  </a:lnTo>
                  <a:lnTo>
                    <a:pt x="2429" y="179"/>
                  </a:lnTo>
                  <a:lnTo>
                    <a:pt x="2426" y="168"/>
                  </a:lnTo>
                  <a:lnTo>
                    <a:pt x="2421" y="155"/>
                  </a:lnTo>
                  <a:lnTo>
                    <a:pt x="2416" y="144"/>
                  </a:lnTo>
                  <a:lnTo>
                    <a:pt x="2411" y="133"/>
                  </a:lnTo>
                  <a:lnTo>
                    <a:pt x="2405" y="122"/>
                  </a:lnTo>
                  <a:lnTo>
                    <a:pt x="2398" y="112"/>
                  </a:lnTo>
                  <a:lnTo>
                    <a:pt x="2391" y="101"/>
                  </a:lnTo>
                  <a:lnTo>
                    <a:pt x="2383" y="91"/>
                  </a:lnTo>
                  <a:lnTo>
                    <a:pt x="2375" y="82"/>
                  </a:lnTo>
                  <a:lnTo>
                    <a:pt x="2365" y="72"/>
                  </a:lnTo>
                  <a:lnTo>
                    <a:pt x="2356" y="64"/>
                  </a:lnTo>
                  <a:lnTo>
                    <a:pt x="2347" y="56"/>
                  </a:lnTo>
                  <a:lnTo>
                    <a:pt x="2338" y="49"/>
                  </a:lnTo>
                  <a:lnTo>
                    <a:pt x="2329" y="42"/>
                  </a:lnTo>
                  <a:lnTo>
                    <a:pt x="2319" y="36"/>
                  </a:lnTo>
                  <a:lnTo>
                    <a:pt x="2309" y="30"/>
                  </a:lnTo>
                  <a:lnTo>
                    <a:pt x="2298" y="25"/>
                  </a:lnTo>
                  <a:lnTo>
                    <a:pt x="2288" y="20"/>
                  </a:lnTo>
                  <a:lnTo>
                    <a:pt x="2277" y="16"/>
                  </a:lnTo>
                  <a:lnTo>
                    <a:pt x="2267" y="12"/>
                  </a:lnTo>
                  <a:lnTo>
                    <a:pt x="2256" y="9"/>
                  </a:lnTo>
                  <a:lnTo>
                    <a:pt x="2244" y="6"/>
                  </a:lnTo>
                  <a:lnTo>
                    <a:pt x="2233" y="4"/>
                  </a:lnTo>
                  <a:lnTo>
                    <a:pt x="2222" y="2"/>
                  </a:lnTo>
                  <a:lnTo>
                    <a:pt x="2211" y="1"/>
                  </a:lnTo>
                  <a:lnTo>
                    <a:pt x="2199" y="0"/>
                  </a:lnTo>
                  <a:lnTo>
                    <a:pt x="2177" y="0"/>
                  </a:lnTo>
                  <a:lnTo>
                    <a:pt x="2154" y="2"/>
                  </a:lnTo>
                  <a:lnTo>
                    <a:pt x="2143" y="4"/>
                  </a:lnTo>
                  <a:lnTo>
                    <a:pt x="2132" y="6"/>
                  </a:lnTo>
                  <a:lnTo>
                    <a:pt x="2120" y="9"/>
                  </a:lnTo>
                  <a:lnTo>
                    <a:pt x="2109" y="12"/>
                  </a:lnTo>
                  <a:lnTo>
                    <a:pt x="2099" y="16"/>
                  </a:lnTo>
                  <a:lnTo>
                    <a:pt x="2088" y="20"/>
                  </a:lnTo>
                  <a:lnTo>
                    <a:pt x="2078" y="25"/>
                  </a:lnTo>
                  <a:lnTo>
                    <a:pt x="2067" y="30"/>
                  </a:lnTo>
                  <a:lnTo>
                    <a:pt x="2057" y="36"/>
                  </a:lnTo>
                  <a:lnTo>
                    <a:pt x="2048" y="42"/>
                  </a:lnTo>
                  <a:lnTo>
                    <a:pt x="2038" y="49"/>
                  </a:lnTo>
                  <a:lnTo>
                    <a:pt x="2029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02" name="îṧḷîḓê">
              <a:extLst>
                <a:ext uri="{FF2B5EF4-FFF2-40B4-BE49-F238E27FC236}">
                  <a16:creationId xmlns:a16="http://schemas.microsoft.com/office/drawing/2014/main" id="{E6C40850-9D4B-44A6-A629-2FFE9EE51951}"/>
                </a:ext>
              </a:extLst>
            </p:cNvPr>
            <p:cNvSpPr/>
            <p:nvPr/>
          </p:nvSpPr>
          <p:spPr bwMode="auto">
            <a:xfrm>
              <a:off x="7119745" y="2064747"/>
              <a:ext cx="94469" cy="98698"/>
            </a:xfrm>
            <a:custGeom>
              <a:avLst/>
              <a:gdLst>
                <a:gd name="T0" fmla="*/ 830 w 2478"/>
                <a:gd name="T1" fmla="*/ 1534 h 2592"/>
                <a:gd name="T2" fmla="*/ 622 w 2478"/>
                <a:gd name="T3" fmla="*/ 1720 h 2592"/>
                <a:gd name="T4" fmla="*/ 408 w 2478"/>
                <a:gd name="T5" fmla="*/ 1899 h 2592"/>
                <a:gd name="T6" fmla="*/ 189 w 2478"/>
                <a:gd name="T7" fmla="*/ 2072 h 2592"/>
                <a:gd name="T8" fmla="*/ 89 w 2478"/>
                <a:gd name="T9" fmla="*/ 2144 h 2592"/>
                <a:gd name="T10" fmla="*/ 49 w 2478"/>
                <a:gd name="T11" fmla="*/ 2187 h 2592"/>
                <a:gd name="T12" fmla="*/ 24 w 2478"/>
                <a:gd name="T13" fmla="*/ 2230 h 2592"/>
                <a:gd name="T14" fmla="*/ 7 w 2478"/>
                <a:gd name="T15" fmla="*/ 2277 h 2592"/>
                <a:gd name="T16" fmla="*/ 1 w 2478"/>
                <a:gd name="T17" fmla="*/ 2325 h 2592"/>
                <a:gd name="T18" fmla="*/ 3 w 2478"/>
                <a:gd name="T19" fmla="*/ 2374 h 2592"/>
                <a:gd name="T20" fmla="*/ 14 w 2478"/>
                <a:gd name="T21" fmla="*/ 2421 h 2592"/>
                <a:gd name="T22" fmla="*/ 35 w 2478"/>
                <a:gd name="T23" fmla="*/ 2466 h 2592"/>
                <a:gd name="T24" fmla="*/ 65 w 2478"/>
                <a:gd name="T25" fmla="*/ 2508 h 2592"/>
                <a:gd name="T26" fmla="*/ 104 w 2478"/>
                <a:gd name="T27" fmla="*/ 2542 h 2592"/>
                <a:gd name="T28" fmla="*/ 145 w 2478"/>
                <a:gd name="T29" fmla="*/ 2567 h 2592"/>
                <a:gd name="T30" fmla="*/ 190 w 2478"/>
                <a:gd name="T31" fmla="*/ 2584 h 2592"/>
                <a:gd name="T32" fmla="*/ 238 w 2478"/>
                <a:gd name="T33" fmla="*/ 2591 h 2592"/>
                <a:gd name="T34" fmla="*/ 285 w 2478"/>
                <a:gd name="T35" fmla="*/ 2590 h 2592"/>
                <a:gd name="T36" fmla="*/ 333 w 2478"/>
                <a:gd name="T37" fmla="*/ 2579 h 2592"/>
                <a:gd name="T38" fmla="*/ 377 w 2478"/>
                <a:gd name="T39" fmla="*/ 2560 h 2592"/>
                <a:gd name="T40" fmla="*/ 418 w 2478"/>
                <a:gd name="T41" fmla="*/ 2533 h 2592"/>
                <a:gd name="T42" fmla="*/ 547 w 2478"/>
                <a:gd name="T43" fmla="*/ 2434 h 2592"/>
                <a:gd name="T44" fmla="*/ 780 w 2478"/>
                <a:gd name="T45" fmla="*/ 2246 h 2592"/>
                <a:gd name="T46" fmla="*/ 1007 w 2478"/>
                <a:gd name="T47" fmla="*/ 2052 h 2592"/>
                <a:gd name="T48" fmla="*/ 1228 w 2478"/>
                <a:gd name="T49" fmla="*/ 1849 h 2592"/>
                <a:gd name="T50" fmla="*/ 1438 w 2478"/>
                <a:gd name="T51" fmla="*/ 1640 h 2592"/>
                <a:gd name="T52" fmla="*/ 1632 w 2478"/>
                <a:gd name="T53" fmla="*/ 1431 h 2592"/>
                <a:gd name="T54" fmla="*/ 1817 w 2478"/>
                <a:gd name="T55" fmla="*/ 1217 h 2592"/>
                <a:gd name="T56" fmla="*/ 1990 w 2478"/>
                <a:gd name="T57" fmla="*/ 1000 h 2592"/>
                <a:gd name="T58" fmla="*/ 2417 w 2478"/>
                <a:gd name="T59" fmla="*/ 417 h 2592"/>
                <a:gd name="T60" fmla="*/ 2444 w 2478"/>
                <a:gd name="T61" fmla="*/ 378 h 2592"/>
                <a:gd name="T62" fmla="*/ 2464 w 2478"/>
                <a:gd name="T63" fmla="*/ 335 h 2592"/>
                <a:gd name="T64" fmla="*/ 2475 w 2478"/>
                <a:gd name="T65" fmla="*/ 289 h 2592"/>
                <a:gd name="T66" fmla="*/ 2478 w 2478"/>
                <a:gd name="T67" fmla="*/ 243 h 2592"/>
                <a:gd name="T68" fmla="*/ 2472 w 2478"/>
                <a:gd name="T69" fmla="*/ 198 h 2592"/>
                <a:gd name="T70" fmla="*/ 2458 w 2478"/>
                <a:gd name="T71" fmla="*/ 154 h 2592"/>
                <a:gd name="T72" fmla="*/ 2435 w 2478"/>
                <a:gd name="T73" fmla="*/ 111 h 2592"/>
                <a:gd name="T74" fmla="*/ 2403 w 2478"/>
                <a:gd name="T75" fmla="*/ 74 h 2592"/>
                <a:gd name="T76" fmla="*/ 2363 w 2478"/>
                <a:gd name="T77" fmla="*/ 41 h 2592"/>
                <a:gd name="T78" fmla="*/ 2320 w 2478"/>
                <a:gd name="T79" fmla="*/ 18 h 2592"/>
                <a:gd name="T80" fmla="*/ 2272 w 2478"/>
                <a:gd name="T81" fmla="*/ 4 h 2592"/>
                <a:gd name="T82" fmla="*/ 2224 w 2478"/>
                <a:gd name="T83" fmla="*/ 0 h 2592"/>
                <a:gd name="T84" fmla="*/ 2176 w 2478"/>
                <a:gd name="T85" fmla="*/ 4 h 2592"/>
                <a:gd name="T86" fmla="*/ 2128 w 2478"/>
                <a:gd name="T87" fmla="*/ 18 h 2592"/>
                <a:gd name="T88" fmla="*/ 2084 w 2478"/>
                <a:gd name="T89" fmla="*/ 41 h 2592"/>
                <a:gd name="T90" fmla="*/ 2044 w 2478"/>
                <a:gd name="T91" fmla="*/ 74 h 2592"/>
                <a:gd name="T92" fmla="*/ 2000 w 2478"/>
                <a:gd name="T93" fmla="*/ 136 h 2592"/>
                <a:gd name="T94" fmla="*/ 1549 w 2478"/>
                <a:gd name="T95" fmla="*/ 746 h 2592"/>
                <a:gd name="T96" fmla="*/ 1386 w 2478"/>
                <a:gd name="T97" fmla="*/ 948 h 2592"/>
                <a:gd name="T98" fmla="*/ 1212 w 2478"/>
                <a:gd name="T99" fmla="*/ 1146 h 2592"/>
                <a:gd name="T100" fmla="*/ 1027 w 2478"/>
                <a:gd name="T101" fmla="*/ 1341 h 2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478" h="2592">
                  <a:moveTo>
                    <a:pt x="980" y="1388"/>
                  </a:moveTo>
                  <a:lnTo>
                    <a:pt x="929" y="1437"/>
                  </a:lnTo>
                  <a:lnTo>
                    <a:pt x="880" y="1485"/>
                  </a:lnTo>
                  <a:lnTo>
                    <a:pt x="830" y="1534"/>
                  </a:lnTo>
                  <a:lnTo>
                    <a:pt x="778" y="1581"/>
                  </a:lnTo>
                  <a:lnTo>
                    <a:pt x="727" y="1627"/>
                  </a:lnTo>
                  <a:lnTo>
                    <a:pt x="674" y="1674"/>
                  </a:lnTo>
                  <a:lnTo>
                    <a:pt x="622" y="1720"/>
                  </a:lnTo>
                  <a:lnTo>
                    <a:pt x="569" y="1765"/>
                  </a:lnTo>
                  <a:lnTo>
                    <a:pt x="516" y="1810"/>
                  </a:lnTo>
                  <a:lnTo>
                    <a:pt x="463" y="1855"/>
                  </a:lnTo>
                  <a:lnTo>
                    <a:pt x="408" y="1899"/>
                  </a:lnTo>
                  <a:lnTo>
                    <a:pt x="354" y="1942"/>
                  </a:lnTo>
                  <a:lnTo>
                    <a:pt x="299" y="1985"/>
                  </a:lnTo>
                  <a:lnTo>
                    <a:pt x="245" y="2029"/>
                  </a:lnTo>
                  <a:lnTo>
                    <a:pt x="189" y="2072"/>
                  </a:lnTo>
                  <a:lnTo>
                    <a:pt x="134" y="2114"/>
                  </a:lnTo>
                  <a:lnTo>
                    <a:pt x="119" y="2123"/>
                  </a:lnTo>
                  <a:lnTo>
                    <a:pt x="103" y="2133"/>
                  </a:lnTo>
                  <a:lnTo>
                    <a:pt x="89" y="2144"/>
                  </a:lnTo>
                  <a:lnTo>
                    <a:pt x="74" y="2157"/>
                  </a:lnTo>
                  <a:lnTo>
                    <a:pt x="65" y="2166"/>
                  </a:lnTo>
                  <a:lnTo>
                    <a:pt x="57" y="2177"/>
                  </a:lnTo>
                  <a:lnTo>
                    <a:pt x="49" y="2187"/>
                  </a:lnTo>
                  <a:lnTo>
                    <a:pt x="42" y="2198"/>
                  </a:lnTo>
                  <a:lnTo>
                    <a:pt x="35" y="2208"/>
                  </a:lnTo>
                  <a:lnTo>
                    <a:pt x="29" y="2219"/>
                  </a:lnTo>
                  <a:lnTo>
                    <a:pt x="24" y="2230"/>
                  </a:lnTo>
                  <a:lnTo>
                    <a:pt x="19" y="2242"/>
                  </a:lnTo>
                  <a:lnTo>
                    <a:pt x="14" y="2253"/>
                  </a:lnTo>
                  <a:lnTo>
                    <a:pt x="11" y="2265"/>
                  </a:lnTo>
                  <a:lnTo>
                    <a:pt x="7" y="2277"/>
                  </a:lnTo>
                  <a:lnTo>
                    <a:pt x="5" y="2288"/>
                  </a:lnTo>
                  <a:lnTo>
                    <a:pt x="3" y="2300"/>
                  </a:lnTo>
                  <a:lnTo>
                    <a:pt x="1" y="2313"/>
                  </a:lnTo>
                  <a:lnTo>
                    <a:pt x="1" y="2325"/>
                  </a:lnTo>
                  <a:lnTo>
                    <a:pt x="0" y="2338"/>
                  </a:lnTo>
                  <a:lnTo>
                    <a:pt x="1" y="2350"/>
                  </a:lnTo>
                  <a:lnTo>
                    <a:pt x="1" y="2362"/>
                  </a:lnTo>
                  <a:lnTo>
                    <a:pt x="3" y="2374"/>
                  </a:lnTo>
                  <a:lnTo>
                    <a:pt x="5" y="2386"/>
                  </a:lnTo>
                  <a:lnTo>
                    <a:pt x="7" y="2398"/>
                  </a:lnTo>
                  <a:lnTo>
                    <a:pt x="11" y="2410"/>
                  </a:lnTo>
                  <a:lnTo>
                    <a:pt x="14" y="2421"/>
                  </a:lnTo>
                  <a:lnTo>
                    <a:pt x="19" y="2433"/>
                  </a:lnTo>
                  <a:lnTo>
                    <a:pt x="24" y="2444"/>
                  </a:lnTo>
                  <a:lnTo>
                    <a:pt x="29" y="2455"/>
                  </a:lnTo>
                  <a:lnTo>
                    <a:pt x="35" y="2466"/>
                  </a:lnTo>
                  <a:lnTo>
                    <a:pt x="42" y="2477"/>
                  </a:lnTo>
                  <a:lnTo>
                    <a:pt x="49" y="2487"/>
                  </a:lnTo>
                  <a:lnTo>
                    <a:pt x="57" y="2497"/>
                  </a:lnTo>
                  <a:lnTo>
                    <a:pt x="65" y="2508"/>
                  </a:lnTo>
                  <a:lnTo>
                    <a:pt x="74" y="2517"/>
                  </a:lnTo>
                  <a:lnTo>
                    <a:pt x="83" y="2526"/>
                  </a:lnTo>
                  <a:lnTo>
                    <a:pt x="94" y="2534"/>
                  </a:lnTo>
                  <a:lnTo>
                    <a:pt x="104" y="2542"/>
                  </a:lnTo>
                  <a:lnTo>
                    <a:pt x="114" y="2549"/>
                  </a:lnTo>
                  <a:lnTo>
                    <a:pt x="124" y="2556"/>
                  </a:lnTo>
                  <a:lnTo>
                    <a:pt x="135" y="2562"/>
                  </a:lnTo>
                  <a:lnTo>
                    <a:pt x="145" y="2567"/>
                  </a:lnTo>
                  <a:lnTo>
                    <a:pt x="156" y="2572"/>
                  </a:lnTo>
                  <a:lnTo>
                    <a:pt x="168" y="2577"/>
                  </a:lnTo>
                  <a:lnTo>
                    <a:pt x="179" y="2580"/>
                  </a:lnTo>
                  <a:lnTo>
                    <a:pt x="190" y="2584"/>
                  </a:lnTo>
                  <a:lnTo>
                    <a:pt x="202" y="2586"/>
                  </a:lnTo>
                  <a:lnTo>
                    <a:pt x="215" y="2588"/>
                  </a:lnTo>
                  <a:lnTo>
                    <a:pt x="226" y="2590"/>
                  </a:lnTo>
                  <a:lnTo>
                    <a:pt x="238" y="2591"/>
                  </a:lnTo>
                  <a:lnTo>
                    <a:pt x="250" y="2592"/>
                  </a:lnTo>
                  <a:lnTo>
                    <a:pt x="262" y="2591"/>
                  </a:lnTo>
                  <a:lnTo>
                    <a:pt x="274" y="2591"/>
                  </a:lnTo>
                  <a:lnTo>
                    <a:pt x="285" y="2590"/>
                  </a:lnTo>
                  <a:lnTo>
                    <a:pt x="297" y="2588"/>
                  </a:lnTo>
                  <a:lnTo>
                    <a:pt x="309" y="2586"/>
                  </a:lnTo>
                  <a:lnTo>
                    <a:pt x="320" y="2583"/>
                  </a:lnTo>
                  <a:lnTo>
                    <a:pt x="333" y="2579"/>
                  </a:lnTo>
                  <a:lnTo>
                    <a:pt x="344" y="2576"/>
                  </a:lnTo>
                  <a:lnTo>
                    <a:pt x="355" y="2571"/>
                  </a:lnTo>
                  <a:lnTo>
                    <a:pt x="366" y="2566"/>
                  </a:lnTo>
                  <a:lnTo>
                    <a:pt x="377" y="2560"/>
                  </a:lnTo>
                  <a:lnTo>
                    <a:pt x="388" y="2554"/>
                  </a:lnTo>
                  <a:lnTo>
                    <a:pt x="398" y="2548"/>
                  </a:lnTo>
                  <a:lnTo>
                    <a:pt x="408" y="2540"/>
                  </a:lnTo>
                  <a:lnTo>
                    <a:pt x="418" y="2533"/>
                  </a:lnTo>
                  <a:lnTo>
                    <a:pt x="427" y="2524"/>
                  </a:lnTo>
                  <a:lnTo>
                    <a:pt x="429" y="2525"/>
                  </a:lnTo>
                  <a:lnTo>
                    <a:pt x="488" y="2479"/>
                  </a:lnTo>
                  <a:lnTo>
                    <a:pt x="547" y="2434"/>
                  </a:lnTo>
                  <a:lnTo>
                    <a:pt x="606" y="2388"/>
                  </a:lnTo>
                  <a:lnTo>
                    <a:pt x="664" y="2341"/>
                  </a:lnTo>
                  <a:lnTo>
                    <a:pt x="722" y="2293"/>
                  </a:lnTo>
                  <a:lnTo>
                    <a:pt x="780" y="2246"/>
                  </a:lnTo>
                  <a:lnTo>
                    <a:pt x="837" y="2199"/>
                  </a:lnTo>
                  <a:lnTo>
                    <a:pt x="894" y="2150"/>
                  </a:lnTo>
                  <a:lnTo>
                    <a:pt x="951" y="2101"/>
                  </a:lnTo>
                  <a:lnTo>
                    <a:pt x="1007" y="2052"/>
                  </a:lnTo>
                  <a:lnTo>
                    <a:pt x="1063" y="2003"/>
                  </a:lnTo>
                  <a:lnTo>
                    <a:pt x="1119" y="1951"/>
                  </a:lnTo>
                  <a:lnTo>
                    <a:pt x="1173" y="1901"/>
                  </a:lnTo>
                  <a:lnTo>
                    <a:pt x="1228" y="1849"/>
                  </a:lnTo>
                  <a:lnTo>
                    <a:pt x="1282" y="1796"/>
                  </a:lnTo>
                  <a:lnTo>
                    <a:pt x="1336" y="1744"/>
                  </a:lnTo>
                  <a:lnTo>
                    <a:pt x="1387" y="1693"/>
                  </a:lnTo>
                  <a:lnTo>
                    <a:pt x="1438" y="1640"/>
                  </a:lnTo>
                  <a:lnTo>
                    <a:pt x="1487" y="1589"/>
                  </a:lnTo>
                  <a:lnTo>
                    <a:pt x="1536" y="1537"/>
                  </a:lnTo>
                  <a:lnTo>
                    <a:pt x="1585" y="1483"/>
                  </a:lnTo>
                  <a:lnTo>
                    <a:pt x="1632" y="1431"/>
                  </a:lnTo>
                  <a:lnTo>
                    <a:pt x="1680" y="1378"/>
                  </a:lnTo>
                  <a:lnTo>
                    <a:pt x="1726" y="1325"/>
                  </a:lnTo>
                  <a:lnTo>
                    <a:pt x="1772" y="1271"/>
                  </a:lnTo>
                  <a:lnTo>
                    <a:pt x="1817" y="1217"/>
                  </a:lnTo>
                  <a:lnTo>
                    <a:pt x="1861" y="1164"/>
                  </a:lnTo>
                  <a:lnTo>
                    <a:pt x="1905" y="1109"/>
                  </a:lnTo>
                  <a:lnTo>
                    <a:pt x="1948" y="1055"/>
                  </a:lnTo>
                  <a:lnTo>
                    <a:pt x="1990" y="1000"/>
                  </a:lnTo>
                  <a:lnTo>
                    <a:pt x="2031" y="945"/>
                  </a:lnTo>
                  <a:lnTo>
                    <a:pt x="2073" y="890"/>
                  </a:lnTo>
                  <a:lnTo>
                    <a:pt x="2418" y="418"/>
                  </a:lnTo>
                  <a:lnTo>
                    <a:pt x="2417" y="417"/>
                  </a:lnTo>
                  <a:lnTo>
                    <a:pt x="2424" y="408"/>
                  </a:lnTo>
                  <a:lnTo>
                    <a:pt x="2432" y="398"/>
                  </a:lnTo>
                  <a:lnTo>
                    <a:pt x="2438" y="388"/>
                  </a:lnTo>
                  <a:lnTo>
                    <a:pt x="2444" y="378"/>
                  </a:lnTo>
                  <a:lnTo>
                    <a:pt x="2450" y="367"/>
                  </a:lnTo>
                  <a:lnTo>
                    <a:pt x="2455" y="357"/>
                  </a:lnTo>
                  <a:lnTo>
                    <a:pt x="2460" y="346"/>
                  </a:lnTo>
                  <a:lnTo>
                    <a:pt x="2464" y="335"/>
                  </a:lnTo>
                  <a:lnTo>
                    <a:pt x="2467" y="324"/>
                  </a:lnTo>
                  <a:lnTo>
                    <a:pt x="2470" y="313"/>
                  </a:lnTo>
                  <a:lnTo>
                    <a:pt x="2473" y="301"/>
                  </a:lnTo>
                  <a:lnTo>
                    <a:pt x="2475" y="289"/>
                  </a:lnTo>
                  <a:lnTo>
                    <a:pt x="2476" y="278"/>
                  </a:lnTo>
                  <a:lnTo>
                    <a:pt x="2477" y="266"/>
                  </a:lnTo>
                  <a:lnTo>
                    <a:pt x="2478" y="255"/>
                  </a:lnTo>
                  <a:lnTo>
                    <a:pt x="2478" y="243"/>
                  </a:lnTo>
                  <a:lnTo>
                    <a:pt x="2477" y="232"/>
                  </a:lnTo>
                  <a:lnTo>
                    <a:pt x="2476" y="220"/>
                  </a:lnTo>
                  <a:lnTo>
                    <a:pt x="2474" y="209"/>
                  </a:lnTo>
                  <a:lnTo>
                    <a:pt x="2472" y="198"/>
                  </a:lnTo>
                  <a:lnTo>
                    <a:pt x="2469" y="186"/>
                  </a:lnTo>
                  <a:lnTo>
                    <a:pt x="2466" y="175"/>
                  </a:lnTo>
                  <a:lnTo>
                    <a:pt x="2462" y="164"/>
                  </a:lnTo>
                  <a:lnTo>
                    <a:pt x="2458" y="154"/>
                  </a:lnTo>
                  <a:lnTo>
                    <a:pt x="2453" y="143"/>
                  </a:lnTo>
                  <a:lnTo>
                    <a:pt x="2447" y="132"/>
                  </a:lnTo>
                  <a:lnTo>
                    <a:pt x="2441" y="121"/>
                  </a:lnTo>
                  <a:lnTo>
                    <a:pt x="2435" y="111"/>
                  </a:lnTo>
                  <a:lnTo>
                    <a:pt x="2428" y="101"/>
                  </a:lnTo>
                  <a:lnTo>
                    <a:pt x="2420" y="92"/>
                  </a:lnTo>
                  <a:lnTo>
                    <a:pt x="2412" y="83"/>
                  </a:lnTo>
                  <a:lnTo>
                    <a:pt x="2403" y="74"/>
                  </a:lnTo>
                  <a:lnTo>
                    <a:pt x="2393" y="65"/>
                  </a:lnTo>
                  <a:lnTo>
                    <a:pt x="2384" y="56"/>
                  </a:lnTo>
                  <a:lnTo>
                    <a:pt x="2374" y="49"/>
                  </a:lnTo>
                  <a:lnTo>
                    <a:pt x="2363" y="41"/>
                  </a:lnTo>
                  <a:lnTo>
                    <a:pt x="2353" y="35"/>
                  </a:lnTo>
                  <a:lnTo>
                    <a:pt x="2342" y="29"/>
                  </a:lnTo>
                  <a:lnTo>
                    <a:pt x="2331" y="23"/>
                  </a:lnTo>
                  <a:lnTo>
                    <a:pt x="2320" y="18"/>
                  </a:lnTo>
                  <a:lnTo>
                    <a:pt x="2308" y="14"/>
                  </a:lnTo>
                  <a:lnTo>
                    <a:pt x="2297" y="10"/>
                  </a:lnTo>
                  <a:lnTo>
                    <a:pt x="2284" y="7"/>
                  </a:lnTo>
                  <a:lnTo>
                    <a:pt x="2272" y="4"/>
                  </a:lnTo>
                  <a:lnTo>
                    <a:pt x="2260" y="2"/>
                  </a:lnTo>
                  <a:lnTo>
                    <a:pt x="2248" y="1"/>
                  </a:lnTo>
                  <a:lnTo>
                    <a:pt x="2236" y="0"/>
                  </a:lnTo>
                  <a:lnTo>
                    <a:pt x="2224" y="0"/>
                  </a:lnTo>
                  <a:lnTo>
                    <a:pt x="2212" y="0"/>
                  </a:lnTo>
                  <a:lnTo>
                    <a:pt x="2200" y="1"/>
                  </a:lnTo>
                  <a:lnTo>
                    <a:pt x="2188" y="2"/>
                  </a:lnTo>
                  <a:lnTo>
                    <a:pt x="2176" y="4"/>
                  </a:lnTo>
                  <a:lnTo>
                    <a:pt x="2163" y="7"/>
                  </a:lnTo>
                  <a:lnTo>
                    <a:pt x="2151" y="10"/>
                  </a:lnTo>
                  <a:lnTo>
                    <a:pt x="2139" y="14"/>
                  </a:lnTo>
                  <a:lnTo>
                    <a:pt x="2128" y="18"/>
                  </a:lnTo>
                  <a:lnTo>
                    <a:pt x="2117" y="23"/>
                  </a:lnTo>
                  <a:lnTo>
                    <a:pt x="2105" y="29"/>
                  </a:lnTo>
                  <a:lnTo>
                    <a:pt x="2095" y="35"/>
                  </a:lnTo>
                  <a:lnTo>
                    <a:pt x="2084" y="41"/>
                  </a:lnTo>
                  <a:lnTo>
                    <a:pt x="2074" y="49"/>
                  </a:lnTo>
                  <a:lnTo>
                    <a:pt x="2063" y="56"/>
                  </a:lnTo>
                  <a:lnTo>
                    <a:pt x="2054" y="65"/>
                  </a:lnTo>
                  <a:lnTo>
                    <a:pt x="2044" y="74"/>
                  </a:lnTo>
                  <a:lnTo>
                    <a:pt x="2031" y="88"/>
                  </a:lnTo>
                  <a:lnTo>
                    <a:pt x="2019" y="103"/>
                  </a:lnTo>
                  <a:lnTo>
                    <a:pt x="2009" y="119"/>
                  </a:lnTo>
                  <a:lnTo>
                    <a:pt x="2000" y="136"/>
                  </a:lnTo>
                  <a:lnTo>
                    <a:pt x="1664" y="593"/>
                  </a:lnTo>
                  <a:lnTo>
                    <a:pt x="1627" y="645"/>
                  </a:lnTo>
                  <a:lnTo>
                    <a:pt x="1589" y="696"/>
                  </a:lnTo>
                  <a:lnTo>
                    <a:pt x="1549" y="746"/>
                  </a:lnTo>
                  <a:lnTo>
                    <a:pt x="1509" y="797"/>
                  </a:lnTo>
                  <a:lnTo>
                    <a:pt x="1469" y="848"/>
                  </a:lnTo>
                  <a:lnTo>
                    <a:pt x="1427" y="898"/>
                  </a:lnTo>
                  <a:lnTo>
                    <a:pt x="1386" y="948"/>
                  </a:lnTo>
                  <a:lnTo>
                    <a:pt x="1343" y="998"/>
                  </a:lnTo>
                  <a:lnTo>
                    <a:pt x="1299" y="1048"/>
                  </a:lnTo>
                  <a:lnTo>
                    <a:pt x="1256" y="1097"/>
                  </a:lnTo>
                  <a:lnTo>
                    <a:pt x="1212" y="1146"/>
                  </a:lnTo>
                  <a:lnTo>
                    <a:pt x="1166" y="1195"/>
                  </a:lnTo>
                  <a:lnTo>
                    <a:pt x="1120" y="1244"/>
                  </a:lnTo>
                  <a:lnTo>
                    <a:pt x="1074" y="1292"/>
                  </a:lnTo>
                  <a:lnTo>
                    <a:pt x="1027" y="1341"/>
                  </a:lnTo>
                  <a:lnTo>
                    <a:pt x="980" y="13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03" name="îŝḻïḑe">
              <a:extLst>
                <a:ext uri="{FF2B5EF4-FFF2-40B4-BE49-F238E27FC236}">
                  <a16:creationId xmlns:a16="http://schemas.microsoft.com/office/drawing/2014/main" id="{C11A4DFA-0C04-49CF-8517-0892F1B2D042}"/>
                </a:ext>
              </a:extLst>
            </p:cNvPr>
            <p:cNvSpPr/>
            <p:nvPr/>
          </p:nvSpPr>
          <p:spPr bwMode="auto">
            <a:xfrm>
              <a:off x="5577284" y="3491653"/>
              <a:ext cx="268740" cy="268739"/>
            </a:xfrm>
            <a:custGeom>
              <a:avLst/>
              <a:gdLst>
                <a:gd name="T0" fmla="*/ 8330 w 16095"/>
                <a:gd name="T1" fmla="*/ 13155 h 16095"/>
                <a:gd name="T2" fmla="*/ 8153 w 16095"/>
                <a:gd name="T3" fmla="*/ 13120 h 16095"/>
                <a:gd name="T4" fmla="*/ 5125 w 16095"/>
                <a:gd name="T5" fmla="*/ 12104 h 16095"/>
                <a:gd name="T6" fmla="*/ 5125 w 16095"/>
                <a:gd name="T7" fmla="*/ 12104 h 16095"/>
                <a:gd name="T8" fmla="*/ 4694 w 16095"/>
                <a:gd name="T9" fmla="*/ 11707 h 16095"/>
                <a:gd name="T10" fmla="*/ 1577 w 16095"/>
                <a:gd name="T11" fmla="*/ 10451 h 16095"/>
                <a:gd name="T12" fmla="*/ 15800 w 16095"/>
                <a:gd name="T13" fmla="*/ 45 h 16095"/>
                <a:gd name="T14" fmla="*/ 15716 w 16095"/>
                <a:gd name="T15" fmla="*/ 15 h 16095"/>
                <a:gd name="T16" fmla="*/ 15627 w 16095"/>
                <a:gd name="T17" fmla="*/ 1 h 16095"/>
                <a:gd name="T18" fmla="*/ 15537 w 16095"/>
                <a:gd name="T19" fmla="*/ 3 h 16095"/>
                <a:gd name="T20" fmla="*/ 15448 w 16095"/>
                <a:gd name="T21" fmla="*/ 21 h 16095"/>
                <a:gd name="T22" fmla="*/ 15362 w 16095"/>
                <a:gd name="T23" fmla="*/ 55 h 16095"/>
                <a:gd name="T24" fmla="*/ 210 w 16095"/>
                <a:gd name="T25" fmla="*/ 10154 h 16095"/>
                <a:gd name="T26" fmla="*/ 145 w 16095"/>
                <a:gd name="T27" fmla="*/ 10209 h 16095"/>
                <a:gd name="T28" fmla="*/ 91 w 16095"/>
                <a:gd name="T29" fmla="*/ 10275 h 16095"/>
                <a:gd name="T30" fmla="*/ 48 w 16095"/>
                <a:gd name="T31" fmla="*/ 10348 h 16095"/>
                <a:gd name="T32" fmla="*/ 18 w 16095"/>
                <a:gd name="T33" fmla="*/ 10428 h 16095"/>
                <a:gd name="T34" fmla="*/ 3 w 16095"/>
                <a:gd name="T35" fmla="*/ 10511 h 16095"/>
                <a:gd name="T36" fmla="*/ 1 w 16095"/>
                <a:gd name="T37" fmla="*/ 10597 h 16095"/>
                <a:gd name="T38" fmla="*/ 15 w 16095"/>
                <a:gd name="T39" fmla="*/ 10682 h 16095"/>
                <a:gd name="T40" fmla="*/ 42 w 16095"/>
                <a:gd name="T41" fmla="*/ 10764 h 16095"/>
                <a:gd name="T42" fmla="*/ 82 w 16095"/>
                <a:gd name="T43" fmla="*/ 10838 h 16095"/>
                <a:gd name="T44" fmla="*/ 134 w 16095"/>
                <a:gd name="T45" fmla="*/ 10904 h 16095"/>
                <a:gd name="T46" fmla="*/ 197 w 16095"/>
                <a:gd name="T47" fmla="*/ 10961 h 16095"/>
                <a:gd name="T48" fmla="*/ 269 w 16095"/>
                <a:gd name="T49" fmla="*/ 11007 h 16095"/>
                <a:gd name="T50" fmla="*/ 6102 w 16095"/>
                <a:gd name="T51" fmla="*/ 15842 h 16095"/>
                <a:gd name="T52" fmla="*/ 6148 w 16095"/>
                <a:gd name="T53" fmla="*/ 15910 h 16095"/>
                <a:gd name="T54" fmla="*/ 6206 w 16095"/>
                <a:gd name="T55" fmla="*/ 15968 h 16095"/>
                <a:gd name="T56" fmla="*/ 6270 w 16095"/>
                <a:gd name="T57" fmla="*/ 16018 h 16095"/>
                <a:gd name="T58" fmla="*/ 6341 w 16095"/>
                <a:gd name="T59" fmla="*/ 16055 h 16095"/>
                <a:gd name="T60" fmla="*/ 6419 w 16095"/>
                <a:gd name="T61" fmla="*/ 16081 h 16095"/>
                <a:gd name="T62" fmla="*/ 6499 w 16095"/>
                <a:gd name="T63" fmla="*/ 16093 h 16095"/>
                <a:gd name="T64" fmla="*/ 6572 w 16095"/>
                <a:gd name="T65" fmla="*/ 16094 h 16095"/>
                <a:gd name="T66" fmla="*/ 6652 w 16095"/>
                <a:gd name="T67" fmla="*/ 16082 h 16095"/>
                <a:gd name="T68" fmla="*/ 6729 w 16095"/>
                <a:gd name="T69" fmla="*/ 16058 h 16095"/>
                <a:gd name="T70" fmla="*/ 6800 w 16095"/>
                <a:gd name="T71" fmla="*/ 16022 h 16095"/>
                <a:gd name="T72" fmla="*/ 6866 w 16095"/>
                <a:gd name="T73" fmla="*/ 15974 h 16095"/>
                <a:gd name="T74" fmla="*/ 6922 w 16095"/>
                <a:gd name="T75" fmla="*/ 15917 h 16095"/>
                <a:gd name="T76" fmla="*/ 6970 w 16095"/>
                <a:gd name="T77" fmla="*/ 15851 h 16095"/>
                <a:gd name="T78" fmla="*/ 12958 w 16095"/>
                <a:gd name="T79" fmla="*/ 16081 h 16095"/>
                <a:gd name="T80" fmla="*/ 13077 w 16095"/>
                <a:gd name="T81" fmla="*/ 16095 h 16095"/>
                <a:gd name="T82" fmla="*/ 13157 w 16095"/>
                <a:gd name="T83" fmla="*/ 16089 h 16095"/>
                <a:gd name="T84" fmla="*/ 13234 w 16095"/>
                <a:gd name="T85" fmla="*/ 16070 h 16095"/>
                <a:gd name="T86" fmla="*/ 13309 w 16095"/>
                <a:gd name="T87" fmla="*/ 16038 h 16095"/>
                <a:gd name="T88" fmla="*/ 13415 w 16095"/>
                <a:gd name="T89" fmla="*/ 15964 h 16095"/>
                <a:gd name="T90" fmla="*/ 13504 w 16095"/>
                <a:gd name="T91" fmla="*/ 15858 h 16095"/>
                <a:gd name="T92" fmla="*/ 13561 w 16095"/>
                <a:gd name="T93" fmla="*/ 15730 h 16095"/>
                <a:gd name="T94" fmla="*/ 16093 w 16095"/>
                <a:gd name="T95" fmla="*/ 548 h 16095"/>
                <a:gd name="T96" fmla="*/ 16093 w 16095"/>
                <a:gd name="T97" fmla="*/ 457 h 16095"/>
                <a:gd name="T98" fmla="*/ 16076 w 16095"/>
                <a:gd name="T99" fmla="*/ 367 h 16095"/>
                <a:gd name="T100" fmla="*/ 16045 w 16095"/>
                <a:gd name="T101" fmla="*/ 284 h 16095"/>
                <a:gd name="T102" fmla="*/ 15997 w 16095"/>
                <a:gd name="T103" fmla="*/ 206 h 16095"/>
                <a:gd name="T104" fmla="*/ 15938 w 16095"/>
                <a:gd name="T105" fmla="*/ 138 h 16095"/>
                <a:gd name="T106" fmla="*/ 15865 w 16095"/>
                <a:gd name="T107" fmla="*/ 80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6095" h="16095">
                  <a:moveTo>
                    <a:pt x="12684" y="14892"/>
                  </a:moveTo>
                  <a:lnTo>
                    <a:pt x="8388" y="13174"/>
                  </a:lnTo>
                  <a:lnTo>
                    <a:pt x="8368" y="13167"/>
                  </a:lnTo>
                  <a:lnTo>
                    <a:pt x="8349" y="13161"/>
                  </a:lnTo>
                  <a:lnTo>
                    <a:pt x="8330" y="13155"/>
                  </a:lnTo>
                  <a:lnTo>
                    <a:pt x="8310" y="13149"/>
                  </a:lnTo>
                  <a:lnTo>
                    <a:pt x="8271" y="13140"/>
                  </a:lnTo>
                  <a:lnTo>
                    <a:pt x="8232" y="13132"/>
                  </a:lnTo>
                  <a:lnTo>
                    <a:pt x="8192" y="13125"/>
                  </a:lnTo>
                  <a:lnTo>
                    <a:pt x="8153" y="13120"/>
                  </a:lnTo>
                  <a:lnTo>
                    <a:pt x="8114" y="13117"/>
                  </a:lnTo>
                  <a:lnTo>
                    <a:pt x="8074" y="13114"/>
                  </a:lnTo>
                  <a:lnTo>
                    <a:pt x="14689" y="2860"/>
                  </a:lnTo>
                  <a:lnTo>
                    <a:pt x="12684" y="14892"/>
                  </a:lnTo>
                  <a:close/>
                  <a:moveTo>
                    <a:pt x="5125" y="12104"/>
                  </a:moveTo>
                  <a:lnTo>
                    <a:pt x="5123" y="12102"/>
                  </a:lnTo>
                  <a:lnTo>
                    <a:pt x="5121" y="12099"/>
                  </a:lnTo>
                  <a:lnTo>
                    <a:pt x="14648" y="1902"/>
                  </a:lnTo>
                  <a:lnTo>
                    <a:pt x="6527" y="14558"/>
                  </a:lnTo>
                  <a:lnTo>
                    <a:pt x="5125" y="12104"/>
                  </a:lnTo>
                  <a:close/>
                  <a:moveTo>
                    <a:pt x="1577" y="10451"/>
                  </a:moveTo>
                  <a:lnTo>
                    <a:pt x="13234" y="2679"/>
                  </a:lnTo>
                  <a:lnTo>
                    <a:pt x="4759" y="11751"/>
                  </a:lnTo>
                  <a:lnTo>
                    <a:pt x="4726" y="11729"/>
                  </a:lnTo>
                  <a:lnTo>
                    <a:pt x="4694" y="11707"/>
                  </a:lnTo>
                  <a:lnTo>
                    <a:pt x="4678" y="11697"/>
                  </a:lnTo>
                  <a:lnTo>
                    <a:pt x="4661" y="11687"/>
                  </a:lnTo>
                  <a:lnTo>
                    <a:pt x="4643" y="11677"/>
                  </a:lnTo>
                  <a:lnTo>
                    <a:pt x="4625" y="11669"/>
                  </a:lnTo>
                  <a:lnTo>
                    <a:pt x="1577" y="10451"/>
                  </a:lnTo>
                  <a:close/>
                  <a:moveTo>
                    <a:pt x="15865" y="80"/>
                  </a:moveTo>
                  <a:lnTo>
                    <a:pt x="15850" y="70"/>
                  </a:lnTo>
                  <a:lnTo>
                    <a:pt x="15833" y="61"/>
                  </a:lnTo>
                  <a:lnTo>
                    <a:pt x="15817" y="53"/>
                  </a:lnTo>
                  <a:lnTo>
                    <a:pt x="15800" y="45"/>
                  </a:lnTo>
                  <a:lnTo>
                    <a:pt x="15784" y="38"/>
                  </a:lnTo>
                  <a:lnTo>
                    <a:pt x="15767" y="31"/>
                  </a:lnTo>
                  <a:lnTo>
                    <a:pt x="15750" y="25"/>
                  </a:lnTo>
                  <a:lnTo>
                    <a:pt x="15733" y="20"/>
                  </a:lnTo>
                  <a:lnTo>
                    <a:pt x="15716" y="15"/>
                  </a:lnTo>
                  <a:lnTo>
                    <a:pt x="15698" y="11"/>
                  </a:lnTo>
                  <a:lnTo>
                    <a:pt x="15681" y="8"/>
                  </a:lnTo>
                  <a:lnTo>
                    <a:pt x="15662" y="5"/>
                  </a:lnTo>
                  <a:lnTo>
                    <a:pt x="15645" y="3"/>
                  </a:lnTo>
                  <a:lnTo>
                    <a:pt x="15627" y="1"/>
                  </a:lnTo>
                  <a:lnTo>
                    <a:pt x="15609" y="0"/>
                  </a:lnTo>
                  <a:lnTo>
                    <a:pt x="15592" y="0"/>
                  </a:lnTo>
                  <a:lnTo>
                    <a:pt x="15574" y="0"/>
                  </a:lnTo>
                  <a:lnTo>
                    <a:pt x="15556" y="1"/>
                  </a:lnTo>
                  <a:lnTo>
                    <a:pt x="15537" y="3"/>
                  </a:lnTo>
                  <a:lnTo>
                    <a:pt x="15520" y="5"/>
                  </a:lnTo>
                  <a:lnTo>
                    <a:pt x="15501" y="8"/>
                  </a:lnTo>
                  <a:lnTo>
                    <a:pt x="15483" y="12"/>
                  </a:lnTo>
                  <a:lnTo>
                    <a:pt x="15465" y="16"/>
                  </a:lnTo>
                  <a:lnTo>
                    <a:pt x="15448" y="21"/>
                  </a:lnTo>
                  <a:lnTo>
                    <a:pt x="15430" y="26"/>
                  </a:lnTo>
                  <a:lnTo>
                    <a:pt x="15413" y="32"/>
                  </a:lnTo>
                  <a:lnTo>
                    <a:pt x="15396" y="39"/>
                  </a:lnTo>
                  <a:lnTo>
                    <a:pt x="15379" y="47"/>
                  </a:lnTo>
                  <a:lnTo>
                    <a:pt x="15362" y="55"/>
                  </a:lnTo>
                  <a:lnTo>
                    <a:pt x="15346" y="64"/>
                  </a:lnTo>
                  <a:lnTo>
                    <a:pt x="15329" y="74"/>
                  </a:lnTo>
                  <a:lnTo>
                    <a:pt x="15313" y="84"/>
                  </a:lnTo>
                  <a:lnTo>
                    <a:pt x="224" y="10144"/>
                  </a:lnTo>
                  <a:lnTo>
                    <a:pt x="210" y="10154"/>
                  </a:lnTo>
                  <a:lnTo>
                    <a:pt x="196" y="10164"/>
                  </a:lnTo>
                  <a:lnTo>
                    <a:pt x="182" y="10175"/>
                  </a:lnTo>
                  <a:lnTo>
                    <a:pt x="169" y="10186"/>
                  </a:lnTo>
                  <a:lnTo>
                    <a:pt x="157" y="10197"/>
                  </a:lnTo>
                  <a:lnTo>
                    <a:pt x="145" y="10209"/>
                  </a:lnTo>
                  <a:lnTo>
                    <a:pt x="133" y="10222"/>
                  </a:lnTo>
                  <a:lnTo>
                    <a:pt x="122" y="10234"/>
                  </a:lnTo>
                  <a:lnTo>
                    <a:pt x="111" y="10247"/>
                  </a:lnTo>
                  <a:lnTo>
                    <a:pt x="100" y="10262"/>
                  </a:lnTo>
                  <a:lnTo>
                    <a:pt x="91" y="10275"/>
                  </a:lnTo>
                  <a:lnTo>
                    <a:pt x="80" y="10289"/>
                  </a:lnTo>
                  <a:lnTo>
                    <a:pt x="71" y="10304"/>
                  </a:lnTo>
                  <a:lnTo>
                    <a:pt x="63" y="10318"/>
                  </a:lnTo>
                  <a:lnTo>
                    <a:pt x="55" y="10333"/>
                  </a:lnTo>
                  <a:lnTo>
                    <a:pt x="48" y="10348"/>
                  </a:lnTo>
                  <a:lnTo>
                    <a:pt x="41" y="10363"/>
                  </a:lnTo>
                  <a:lnTo>
                    <a:pt x="34" y="10379"/>
                  </a:lnTo>
                  <a:lnTo>
                    <a:pt x="29" y="10395"/>
                  </a:lnTo>
                  <a:lnTo>
                    <a:pt x="23" y="10411"/>
                  </a:lnTo>
                  <a:lnTo>
                    <a:pt x="18" y="10428"/>
                  </a:lnTo>
                  <a:lnTo>
                    <a:pt x="14" y="10444"/>
                  </a:lnTo>
                  <a:lnTo>
                    <a:pt x="10" y="10460"/>
                  </a:lnTo>
                  <a:lnTo>
                    <a:pt x="7" y="10477"/>
                  </a:lnTo>
                  <a:lnTo>
                    <a:pt x="5" y="10494"/>
                  </a:lnTo>
                  <a:lnTo>
                    <a:pt x="3" y="10511"/>
                  </a:lnTo>
                  <a:lnTo>
                    <a:pt x="1" y="10528"/>
                  </a:lnTo>
                  <a:lnTo>
                    <a:pt x="0" y="10545"/>
                  </a:lnTo>
                  <a:lnTo>
                    <a:pt x="0" y="10562"/>
                  </a:lnTo>
                  <a:lnTo>
                    <a:pt x="0" y="10579"/>
                  </a:lnTo>
                  <a:lnTo>
                    <a:pt x="1" y="10597"/>
                  </a:lnTo>
                  <a:lnTo>
                    <a:pt x="3" y="10614"/>
                  </a:lnTo>
                  <a:lnTo>
                    <a:pt x="5" y="10632"/>
                  </a:lnTo>
                  <a:lnTo>
                    <a:pt x="8" y="10649"/>
                  </a:lnTo>
                  <a:lnTo>
                    <a:pt x="11" y="10666"/>
                  </a:lnTo>
                  <a:lnTo>
                    <a:pt x="15" y="10682"/>
                  </a:lnTo>
                  <a:lnTo>
                    <a:pt x="19" y="10699"/>
                  </a:lnTo>
                  <a:lnTo>
                    <a:pt x="24" y="10715"/>
                  </a:lnTo>
                  <a:lnTo>
                    <a:pt x="29" y="10731"/>
                  </a:lnTo>
                  <a:lnTo>
                    <a:pt x="35" y="10747"/>
                  </a:lnTo>
                  <a:lnTo>
                    <a:pt x="42" y="10764"/>
                  </a:lnTo>
                  <a:lnTo>
                    <a:pt x="49" y="10779"/>
                  </a:lnTo>
                  <a:lnTo>
                    <a:pt x="56" y="10794"/>
                  </a:lnTo>
                  <a:lnTo>
                    <a:pt x="64" y="10809"/>
                  </a:lnTo>
                  <a:lnTo>
                    <a:pt x="73" y="10824"/>
                  </a:lnTo>
                  <a:lnTo>
                    <a:pt x="82" y="10838"/>
                  </a:lnTo>
                  <a:lnTo>
                    <a:pt x="92" y="10852"/>
                  </a:lnTo>
                  <a:lnTo>
                    <a:pt x="102" y="10865"/>
                  </a:lnTo>
                  <a:lnTo>
                    <a:pt x="112" y="10878"/>
                  </a:lnTo>
                  <a:lnTo>
                    <a:pt x="123" y="10891"/>
                  </a:lnTo>
                  <a:lnTo>
                    <a:pt x="134" y="10904"/>
                  </a:lnTo>
                  <a:lnTo>
                    <a:pt x="146" y="10916"/>
                  </a:lnTo>
                  <a:lnTo>
                    <a:pt x="158" y="10929"/>
                  </a:lnTo>
                  <a:lnTo>
                    <a:pt x="171" y="10940"/>
                  </a:lnTo>
                  <a:lnTo>
                    <a:pt x="183" y="10951"/>
                  </a:lnTo>
                  <a:lnTo>
                    <a:pt x="197" y="10961"/>
                  </a:lnTo>
                  <a:lnTo>
                    <a:pt x="210" y="10972"/>
                  </a:lnTo>
                  <a:lnTo>
                    <a:pt x="224" y="10981"/>
                  </a:lnTo>
                  <a:lnTo>
                    <a:pt x="239" y="10990"/>
                  </a:lnTo>
                  <a:lnTo>
                    <a:pt x="253" y="10999"/>
                  </a:lnTo>
                  <a:lnTo>
                    <a:pt x="269" y="11007"/>
                  </a:lnTo>
                  <a:lnTo>
                    <a:pt x="285" y="11015"/>
                  </a:lnTo>
                  <a:lnTo>
                    <a:pt x="300" y="11022"/>
                  </a:lnTo>
                  <a:lnTo>
                    <a:pt x="316" y="11029"/>
                  </a:lnTo>
                  <a:lnTo>
                    <a:pt x="4251" y="12603"/>
                  </a:lnTo>
                  <a:lnTo>
                    <a:pt x="6102" y="15842"/>
                  </a:lnTo>
                  <a:lnTo>
                    <a:pt x="6110" y="15856"/>
                  </a:lnTo>
                  <a:lnTo>
                    <a:pt x="6119" y="15870"/>
                  </a:lnTo>
                  <a:lnTo>
                    <a:pt x="6128" y="15884"/>
                  </a:lnTo>
                  <a:lnTo>
                    <a:pt x="6138" y="15897"/>
                  </a:lnTo>
                  <a:lnTo>
                    <a:pt x="6148" y="15910"/>
                  </a:lnTo>
                  <a:lnTo>
                    <a:pt x="6159" y="15922"/>
                  </a:lnTo>
                  <a:lnTo>
                    <a:pt x="6170" y="15934"/>
                  </a:lnTo>
                  <a:lnTo>
                    <a:pt x="6181" y="15946"/>
                  </a:lnTo>
                  <a:lnTo>
                    <a:pt x="6194" y="15957"/>
                  </a:lnTo>
                  <a:lnTo>
                    <a:pt x="6206" y="15968"/>
                  </a:lnTo>
                  <a:lnTo>
                    <a:pt x="6218" y="15979"/>
                  </a:lnTo>
                  <a:lnTo>
                    <a:pt x="6230" y="15989"/>
                  </a:lnTo>
                  <a:lnTo>
                    <a:pt x="6243" y="15999"/>
                  </a:lnTo>
                  <a:lnTo>
                    <a:pt x="6257" y="16008"/>
                  </a:lnTo>
                  <a:lnTo>
                    <a:pt x="6270" y="16018"/>
                  </a:lnTo>
                  <a:lnTo>
                    <a:pt x="6284" y="16026"/>
                  </a:lnTo>
                  <a:lnTo>
                    <a:pt x="6298" y="16034"/>
                  </a:lnTo>
                  <a:lnTo>
                    <a:pt x="6312" y="16041"/>
                  </a:lnTo>
                  <a:lnTo>
                    <a:pt x="6326" y="16048"/>
                  </a:lnTo>
                  <a:lnTo>
                    <a:pt x="6341" y="16055"/>
                  </a:lnTo>
                  <a:lnTo>
                    <a:pt x="6357" y="16061"/>
                  </a:lnTo>
                  <a:lnTo>
                    <a:pt x="6372" y="16067"/>
                  </a:lnTo>
                  <a:lnTo>
                    <a:pt x="6388" y="16072"/>
                  </a:lnTo>
                  <a:lnTo>
                    <a:pt x="6403" y="16076"/>
                  </a:lnTo>
                  <a:lnTo>
                    <a:pt x="6419" y="16081"/>
                  </a:lnTo>
                  <a:lnTo>
                    <a:pt x="6435" y="16084"/>
                  </a:lnTo>
                  <a:lnTo>
                    <a:pt x="6451" y="16087"/>
                  </a:lnTo>
                  <a:lnTo>
                    <a:pt x="6467" y="16090"/>
                  </a:lnTo>
                  <a:lnTo>
                    <a:pt x="6483" y="16092"/>
                  </a:lnTo>
                  <a:lnTo>
                    <a:pt x="6499" y="16093"/>
                  </a:lnTo>
                  <a:lnTo>
                    <a:pt x="6516" y="16094"/>
                  </a:lnTo>
                  <a:lnTo>
                    <a:pt x="6533" y="16095"/>
                  </a:lnTo>
                  <a:lnTo>
                    <a:pt x="6539" y="16095"/>
                  </a:lnTo>
                  <a:lnTo>
                    <a:pt x="6555" y="16095"/>
                  </a:lnTo>
                  <a:lnTo>
                    <a:pt x="6572" y="16094"/>
                  </a:lnTo>
                  <a:lnTo>
                    <a:pt x="6588" y="16093"/>
                  </a:lnTo>
                  <a:lnTo>
                    <a:pt x="6604" y="16091"/>
                  </a:lnTo>
                  <a:lnTo>
                    <a:pt x="6620" y="16088"/>
                  </a:lnTo>
                  <a:lnTo>
                    <a:pt x="6636" y="16085"/>
                  </a:lnTo>
                  <a:lnTo>
                    <a:pt x="6652" y="16082"/>
                  </a:lnTo>
                  <a:lnTo>
                    <a:pt x="6667" y="16078"/>
                  </a:lnTo>
                  <a:lnTo>
                    <a:pt x="6683" y="16074"/>
                  </a:lnTo>
                  <a:lnTo>
                    <a:pt x="6699" y="16069"/>
                  </a:lnTo>
                  <a:lnTo>
                    <a:pt x="6714" y="16063"/>
                  </a:lnTo>
                  <a:lnTo>
                    <a:pt x="6729" y="16058"/>
                  </a:lnTo>
                  <a:lnTo>
                    <a:pt x="6743" y="16051"/>
                  </a:lnTo>
                  <a:lnTo>
                    <a:pt x="6758" y="16045"/>
                  </a:lnTo>
                  <a:lnTo>
                    <a:pt x="6772" y="16037"/>
                  </a:lnTo>
                  <a:lnTo>
                    <a:pt x="6786" y="16030"/>
                  </a:lnTo>
                  <a:lnTo>
                    <a:pt x="6800" y="16022"/>
                  </a:lnTo>
                  <a:lnTo>
                    <a:pt x="6813" y="16013"/>
                  </a:lnTo>
                  <a:lnTo>
                    <a:pt x="6827" y="16003"/>
                  </a:lnTo>
                  <a:lnTo>
                    <a:pt x="6840" y="15994"/>
                  </a:lnTo>
                  <a:lnTo>
                    <a:pt x="6852" y="15984"/>
                  </a:lnTo>
                  <a:lnTo>
                    <a:pt x="6866" y="15974"/>
                  </a:lnTo>
                  <a:lnTo>
                    <a:pt x="6878" y="15963"/>
                  </a:lnTo>
                  <a:lnTo>
                    <a:pt x="6889" y="15952"/>
                  </a:lnTo>
                  <a:lnTo>
                    <a:pt x="6901" y="15941"/>
                  </a:lnTo>
                  <a:lnTo>
                    <a:pt x="6912" y="15929"/>
                  </a:lnTo>
                  <a:lnTo>
                    <a:pt x="6922" y="15917"/>
                  </a:lnTo>
                  <a:lnTo>
                    <a:pt x="6933" y="15904"/>
                  </a:lnTo>
                  <a:lnTo>
                    <a:pt x="6943" y="15891"/>
                  </a:lnTo>
                  <a:lnTo>
                    <a:pt x="6952" y="15878"/>
                  </a:lnTo>
                  <a:lnTo>
                    <a:pt x="6961" y="15864"/>
                  </a:lnTo>
                  <a:lnTo>
                    <a:pt x="6970" y="15851"/>
                  </a:lnTo>
                  <a:lnTo>
                    <a:pt x="8014" y="14108"/>
                  </a:lnTo>
                  <a:lnTo>
                    <a:pt x="12890" y="16059"/>
                  </a:lnTo>
                  <a:lnTo>
                    <a:pt x="12913" y="16067"/>
                  </a:lnTo>
                  <a:lnTo>
                    <a:pt x="12936" y="16074"/>
                  </a:lnTo>
                  <a:lnTo>
                    <a:pt x="12958" y="16081"/>
                  </a:lnTo>
                  <a:lnTo>
                    <a:pt x="12983" y="16086"/>
                  </a:lnTo>
                  <a:lnTo>
                    <a:pt x="13006" y="16090"/>
                  </a:lnTo>
                  <a:lnTo>
                    <a:pt x="13030" y="16093"/>
                  </a:lnTo>
                  <a:lnTo>
                    <a:pt x="13053" y="16094"/>
                  </a:lnTo>
                  <a:lnTo>
                    <a:pt x="13077" y="16095"/>
                  </a:lnTo>
                  <a:lnTo>
                    <a:pt x="13093" y="16095"/>
                  </a:lnTo>
                  <a:lnTo>
                    <a:pt x="13109" y="16094"/>
                  </a:lnTo>
                  <a:lnTo>
                    <a:pt x="13124" y="16093"/>
                  </a:lnTo>
                  <a:lnTo>
                    <a:pt x="13141" y="16091"/>
                  </a:lnTo>
                  <a:lnTo>
                    <a:pt x="13157" y="16089"/>
                  </a:lnTo>
                  <a:lnTo>
                    <a:pt x="13173" y="16086"/>
                  </a:lnTo>
                  <a:lnTo>
                    <a:pt x="13188" y="16083"/>
                  </a:lnTo>
                  <a:lnTo>
                    <a:pt x="13204" y="16079"/>
                  </a:lnTo>
                  <a:lnTo>
                    <a:pt x="13219" y="16075"/>
                  </a:lnTo>
                  <a:lnTo>
                    <a:pt x="13234" y="16070"/>
                  </a:lnTo>
                  <a:lnTo>
                    <a:pt x="13250" y="16064"/>
                  </a:lnTo>
                  <a:lnTo>
                    <a:pt x="13265" y="16059"/>
                  </a:lnTo>
                  <a:lnTo>
                    <a:pt x="13279" y="16052"/>
                  </a:lnTo>
                  <a:lnTo>
                    <a:pt x="13294" y="16046"/>
                  </a:lnTo>
                  <a:lnTo>
                    <a:pt x="13309" y="16038"/>
                  </a:lnTo>
                  <a:lnTo>
                    <a:pt x="13324" y="16031"/>
                  </a:lnTo>
                  <a:lnTo>
                    <a:pt x="13348" y="16016"/>
                  </a:lnTo>
                  <a:lnTo>
                    <a:pt x="13371" y="15999"/>
                  </a:lnTo>
                  <a:lnTo>
                    <a:pt x="13394" y="15982"/>
                  </a:lnTo>
                  <a:lnTo>
                    <a:pt x="13415" y="15964"/>
                  </a:lnTo>
                  <a:lnTo>
                    <a:pt x="13435" y="15945"/>
                  </a:lnTo>
                  <a:lnTo>
                    <a:pt x="13454" y="15924"/>
                  </a:lnTo>
                  <a:lnTo>
                    <a:pt x="13473" y="15903"/>
                  </a:lnTo>
                  <a:lnTo>
                    <a:pt x="13489" y="15881"/>
                  </a:lnTo>
                  <a:lnTo>
                    <a:pt x="13504" y="15858"/>
                  </a:lnTo>
                  <a:lnTo>
                    <a:pt x="13518" y="15833"/>
                  </a:lnTo>
                  <a:lnTo>
                    <a:pt x="13531" y="15808"/>
                  </a:lnTo>
                  <a:lnTo>
                    <a:pt x="13542" y="15783"/>
                  </a:lnTo>
                  <a:lnTo>
                    <a:pt x="13552" y="15757"/>
                  </a:lnTo>
                  <a:lnTo>
                    <a:pt x="13561" y="15730"/>
                  </a:lnTo>
                  <a:lnTo>
                    <a:pt x="13568" y="15703"/>
                  </a:lnTo>
                  <a:lnTo>
                    <a:pt x="13573" y="15675"/>
                  </a:lnTo>
                  <a:lnTo>
                    <a:pt x="16088" y="585"/>
                  </a:lnTo>
                  <a:lnTo>
                    <a:pt x="16091" y="567"/>
                  </a:lnTo>
                  <a:lnTo>
                    <a:pt x="16093" y="548"/>
                  </a:lnTo>
                  <a:lnTo>
                    <a:pt x="16094" y="530"/>
                  </a:lnTo>
                  <a:lnTo>
                    <a:pt x="16095" y="512"/>
                  </a:lnTo>
                  <a:lnTo>
                    <a:pt x="16095" y="493"/>
                  </a:lnTo>
                  <a:lnTo>
                    <a:pt x="16094" y="475"/>
                  </a:lnTo>
                  <a:lnTo>
                    <a:pt x="16093" y="457"/>
                  </a:lnTo>
                  <a:lnTo>
                    <a:pt x="16091" y="439"/>
                  </a:lnTo>
                  <a:lnTo>
                    <a:pt x="16088" y="420"/>
                  </a:lnTo>
                  <a:lnTo>
                    <a:pt x="16085" y="402"/>
                  </a:lnTo>
                  <a:lnTo>
                    <a:pt x="16081" y="385"/>
                  </a:lnTo>
                  <a:lnTo>
                    <a:pt x="16076" y="367"/>
                  </a:lnTo>
                  <a:lnTo>
                    <a:pt x="16071" y="350"/>
                  </a:lnTo>
                  <a:lnTo>
                    <a:pt x="16066" y="333"/>
                  </a:lnTo>
                  <a:lnTo>
                    <a:pt x="16059" y="317"/>
                  </a:lnTo>
                  <a:lnTo>
                    <a:pt x="16052" y="300"/>
                  </a:lnTo>
                  <a:lnTo>
                    <a:pt x="16045" y="284"/>
                  </a:lnTo>
                  <a:lnTo>
                    <a:pt x="16037" y="268"/>
                  </a:lnTo>
                  <a:lnTo>
                    <a:pt x="16028" y="251"/>
                  </a:lnTo>
                  <a:lnTo>
                    <a:pt x="16019" y="236"/>
                  </a:lnTo>
                  <a:lnTo>
                    <a:pt x="16008" y="221"/>
                  </a:lnTo>
                  <a:lnTo>
                    <a:pt x="15997" y="206"/>
                  </a:lnTo>
                  <a:lnTo>
                    <a:pt x="15987" y="192"/>
                  </a:lnTo>
                  <a:lnTo>
                    <a:pt x="15975" y="178"/>
                  </a:lnTo>
                  <a:lnTo>
                    <a:pt x="15963" y="164"/>
                  </a:lnTo>
                  <a:lnTo>
                    <a:pt x="15951" y="151"/>
                  </a:lnTo>
                  <a:lnTo>
                    <a:pt x="15938" y="138"/>
                  </a:lnTo>
                  <a:lnTo>
                    <a:pt x="15924" y="126"/>
                  </a:lnTo>
                  <a:lnTo>
                    <a:pt x="15910" y="114"/>
                  </a:lnTo>
                  <a:lnTo>
                    <a:pt x="15896" y="102"/>
                  </a:lnTo>
                  <a:lnTo>
                    <a:pt x="15881" y="92"/>
                  </a:lnTo>
                  <a:lnTo>
                    <a:pt x="15865" y="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77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04" name="íśḷîḓe">
              <a:extLst>
                <a:ext uri="{FF2B5EF4-FFF2-40B4-BE49-F238E27FC236}">
                  <a16:creationId xmlns:a16="http://schemas.microsoft.com/office/drawing/2014/main" id="{547172FF-96FC-4C82-88FC-D1D559C41E5D}"/>
                </a:ext>
              </a:extLst>
            </p:cNvPr>
            <p:cNvSpPr/>
            <p:nvPr/>
          </p:nvSpPr>
          <p:spPr bwMode="auto">
            <a:xfrm>
              <a:off x="6806691" y="2613095"/>
              <a:ext cx="455767" cy="398140"/>
            </a:xfrm>
            <a:custGeom>
              <a:avLst/>
              <a:gdLst>
                <a:gd name="T0" fmla="*/ 1006 w 16095"/>
                <a:gd name="T1" fmla="*/ 3013 h 14060"/>
                <a:gd name="T2" fmla="*/ 5802 w 16095"/>
                <a:gd name="T3" fmla="*/ 1392 h 14060"/>
                <a:gd name="T4" fmla="*/ 6204 w 16095"/>
                <a:gd name="T5" fmla="*/ 1861 h 14060"/>
                <a:gd name="T6" fmla="*/ 6751 w 16095"/>
                <a:gd name="T7" fmla="*/ 2221 h 14060"/>
                <a:gd name="T8" fmla="*/ 7413 w 16095"/>
                <a:gd name="T9" fmla="*/ 2445 h 14060"/>
                <a:gd name="T10" fmla="*/ 8157 w 16095"/>
                <a:gd name="T11" fmla="*/ 2509 h 14060"/>
                <a:gd name="T12" fmla="*/ 8881 w 16095"/>
                <a:gd name="T13" fmla="*/ 2397 h 14060"/>
                <a:gd name="T14" fmla="*/ 9513 w 16095"/>
                <a:gd name="T15" fmla="*/ 2131 h 14060"/>
                <a:gd name="T16" fmla="*/ 10022 w 16095"/>
                <a:gd name="T17" fmla="*/ 1737 h 14060"/>
                <a:gd name="T18" fmla="*/ 10376 w 16095"/>
                <a:gd name="T19" fmla="*/ 1241 h 14060"/>
                <a:gd name="T20" fmla="*/ 9936 w 16095"/>
                <a:gd name="T21" fmla="*/ 1004 h 14060"/>
                <a:gd name="T22" fmla="*/ 9691 w 16095"/>
                <a:gd name="T23" fmla="*/ 1361 h 14060"/>
                <a:gd name="T24" fmla="*/ 9334 w 16095"/>
                <a:gd name="T25" fmla="*/ 1655 h 14060"/>
                <a:gd name="T26" fmla="*/ 8886 w 16095"/>
                <a:gd name="T27" fmla="*/ 1870 h 14060"/>
                <a:gd name="T28" fmla="*/ 8368 w 16095"/>
                <a:gd name="T29" fmla="*/ 1989 h 14060"/>
                <a:gd name="T30" fmla="*/ 7806 w 16095"/>
                <a:gd name="T31" fmla="*/ 1998 h 14060"/>
                <a:gd name="T32" fmla="*/ 7279 w 16095"/>
                <a:gd name="T33" fmla="*/ 1893 h 14060"/>
                <a:gd name="T34" fmla="*/ 6819 w 16095"/>
                <a:gd name="T35" fmla="*/ 1691 h 14060"/>
                <a:gd name="T36" fmla="*/ 6449 w 16095"/>
                <a:gd name="T37" fmla="*/ 1407 h 14060"/>
                <a:gd name="T38" fmla="*/ 6187 w 16095"/>
                <a:gd name="T39" fmla="*/ 1059 h 14060"/>
                <a:gd name="T40" fmla="*/ 13098 w 16095"/>
                <a:gd name="T41" fmla="*/ 147 h 14060"/>
                <a:gd name="T42" fmla="*/ 12827 w 16095"/>
                <a:gd name="T43" fmla="*/ 32 h 14060"/>
                <a:gd name="T44" fmla="*/ 3521 w 16095"/>
                <a:gd name="T45" fmla="*/ 0 h 14060"/>
                <a:gd name="T46" fmla="*/ 3228 w 16095"/>
                <a:gd name="T47" fmla="*/ 43 h 14060"/>
                <a:gd name="T48" fmla="*/ 2960 w 16095"/>
                <a:gd name="T49" fmla="*/ 170 h 14060"/>
                <a:gd name="T50" fmla="*/ 264 w 16095"/>
                <a:gd name="T51" fmla="*/ 2335 h 14060"/>
                <a:gd name="T52" fmla="*/ 112 w 16095"/>
                <a:gd name="T53" fmla="*/ 2554 h 14060"/>
                <a:gd name="T54" fmla="*/ 22 w 16095"/>
                <a:gd name="T55" fmla="*/ 2802 h 14060"/>
                <a:gd name="T56" fmla="*/ 1 w 16095"/>
                <a:gd name="T57" fmla="*/ 3065 h 14060"/>
                <a:gd name="T58" fmla="*/ 52 w 16095"/>
                <a:gd name="T59" fmla="*/ 3331 h 14060"/>
                <a:gd name="T60" fmla="*/ 1127 w 16095"/>
                <a:gd name="T61" fmla="*/ 6504 h 14060"/>
                <a:gd name="T62" fmla="*/ 1239 w 16095"/>
                <a:gd name="T63" fmla="*/ 6669 h 14060"/>
                <a:gd name="T64" fmla="*/ 1382 w 16095"/>
                <a:gd name="T65" fmla="*/ 6809 h 14060"/>
                <a:gd name="T66" fmla="*/ 1551 w 16095"/>
                <a:gd name="T67" fmla="*/ 6919 h 14060"/>
                <a:gd name="T68" fmla="*/ 1766 w 16095"/>
                <a:gd name="T69" fmla="*/ 7000 h 14060"/>
                <a:gd name="T70" fmla="*/ 2045 w 16095"/>
                <a:gd name="T71" fmla="*/ 7029 h 14060"/>
                <a:gd name="T72" fmla="*/ 2271 w 16095"/>
                <a:gd name="T73" fmla="*/ 6996 h 14060"/>
                <a:gd name="T74" fmla="*/ 2486 w 16095"/>
                <a:gd name="T75" fmla="*/ 6911 h 14060"/>
                <a:gd name="T76" fmla="*/ 2546 w 16095"/>
                <a:gd name="T77" fmla="*/ 13307 h 14060"/>
                <a:gd name="T78" fmla="*/ 2687 w 16095"/>
                <a:gd name="T79" fmla="*/ 13617 h 14060"/>
                <a:gd name="T80" fmla="*/ 2919 w 16095"/>
                <a:gd name="T81" fmla="*/ 13860 h 14060"/>
                <a:gd name="T82" fmla="*/ 3222 w 16095"/>
                <a:gd name="T83" fmla="*/ 14015 h 14060"/>
                <a:gd name="T84" fmla="*/ 12574 w 16095"/>
                <a:gd name="T85" fmla="*/ 14060 h 14060"/>
                <a:gd name="T86" fmla="*/ 12920 w 16095"/>
                <a:gd name="T87" fmla="*/ 13999 h 14060"/>
                <a:gd name="T88" fmla="*/ 13214 w 16095"/>
                <a:gd name="T89" fmla="*/ 13831 h 14060"/>
                <a:gd name="T90" fmla="*/ 13434 w 16095"/>
                <a:gd name="T91" fmla="*/ 13576 h 14060"/>
                <a:gd name="T92" fmla="*/ 13560 w 16095"/>
                <a:gd name="T93" fmla="*/ 13258 h 14060"/>
                <a:gd name="T94" fmla="*/ 13639 w 16095"/>
                <a:gd name="T95" fmla="*/ 6927 h 14060"/>
                <a:gd name="T96" fmla="*/ 13856 w 16095"/>
                <a:gd name="T97" fmla="*/ 7004 h 14060"/>
                <a:gd name="T98" fmla="*/ 14083 w 16095"/>
                <a:gd name="T99" fmla="*/ 7030 h 14060"/>
                <a:gd name="T100" fmla="*/ 14370 w 16095"/>
                <a:gd name="T101" fmla="*/ 6989 h 14060"/>
                <a:gd name="T102" fmla="*/ 14569 w 16095"/>
                <a:gd name="T103" fmla="*/ 6905 h 14060"/>
                <a:gd name="T104" fmla="*/ 14735 w 16095"/>
                <a:gd name="T105" fmla="*/ 6791 h 14060"/>
                <a:gd name="T106" fmla="*/ 14874 w 16095"/>
                <a:gd name="T107" fmla="*/ 6647 h 14060"/>
                <a:gd name="T108" fmla="*/ 14981 w 16095"/>
                <a:gd name="T109" fmla="*/ 6478 h 14060"/>
                <a:gd name="T110" fmla="*/ 16055 w 16095"/>
                <a:gd name="T111" fmla="*/ 3293 h 14060"/>
                <a:gd name="T112" fmla="*/ 16095 w 16095"/>
                <a:gd name="T113" fmla="*/ 3027 h 14060"/>
                <a:gd name="T114" fmla="*/ 16064 w 16095"/>
                <a:gd name="T115" fmla="*/ 2765 h 14060"/>
                <a:gd name="T116" fmla="*/ 15966 w 16095"/>
                <a:gd name="T117" fmla="*/ 2521 h 14060"/>
                <a:gd name="T118" fmla="*/ 15805 w 16095"/>
                <a:gd name="T119" fmla="*/ 2307 h 14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095" h="14060">
                  <a:moveTo>
                    <a:pt x="14083" y="6026"/>
                  </a:moveTo>
                  <a:lnTo>
                    <a:pt x="12574" y="5021"/>
                  </a:lnTo>
                  <a:lnTo>
                    <a:pt x="12574" y="13056"/>
                  </a:lnTo>
                  <a:lnTo>
                    <a:pt x="3521" y="13056"/>
                  </a:lnTo>
                  <a:lnTo>
                    <a:pt x="3521" y="5021"/>
                  </a:lnTo>
                  <a:lnTo>
                    <a:pt x="2012" y="6026"/>
                  </a:lnTo>
                  <a:lnTo>
                    <a:pt x="1006" y="3013"/>
                  </a:lnTo>
                  <a:lnTo>
                    <a:pt x="3521" y="1004"/>
                  </a:lnTo>
                  <a:lnTo>
                    <a:pt x="5622" y="1004"/>
                  </a:lnTo>
                  <a:lnTo>
                    <a:pt x="5650" y="1085"/>
                  </a:lnTo>
                  <a:lnTo>
                    <a:pt x="5683" y="1164"/>
                  </a:lnTo>
                  <a:lnTo>
                    <a:pt x="5719" y="1241"/>
                  </a:lnTo>
                  <a:lnTo>
                    <a:pt x="5758" y="1318"/>
                  </a:lnTo>
                  <a:lnTo>
                    <a:pt x="5802" y="1392"/>
                  </a:lnTo>
                  <a:lnTo>
                    <a:pt x="5850" y="1464"/>
                  </a:lnTo>
                  <a:lnTo>
                    <a:pt x="5900" y="1536"/>
                  </a:lnTo>
                  <a:lnTo>
                    <a:pt x="5954" y="1605"/>
                  </a:lnTo>
                  <a:lnTo>
                    <a:pt x="6011" y="1672"/>
                  </a:lnTo>
                  <a:lnTo>
                    <a:pt x="6073" y="1737"/>
                  </a:lnTo>
                  <a:lnTo>
                    <a:pt x="6136" y="1800"/>
                  </a:lnTo>
                  <a:lnTo>
                    <a:pt x="6204" y="1861"/>
                  </a:lnTo>
                  <a:lnTo>
                    <a:pt x="6274" y="1920"/>
                  </a:lnTo>
                  <a:lnTo>
                    <a:pt x="6346" y="1976"/>
                  </a:lnTo>
                  <a:lnTo>
                    <a:pt x="6422" y="2031"/>
                  </a:lnTo>
                  <a:lnTo>
                    <a:pt x="6500" y="2082"/>
                  </a:lnTo>
                  <a:lnTo>
                    <a:pt x="6582" y="2131"/>
                  </a:lnTo>
                  <a:lnTo>
                    <a:pt x="6665" y="2177"/>
                  </a:lnTo>
                  <a:lnTo>
                    <a:pt x="6751" y="2221"/>
                  </a:lnTo>
                  <a:lnTo>
                    <a:pt x="6839" y="2262"/>
                  </a:lnTo>
                  <a:lnTo>
                    <a:pt x="6930" y="2300"/>
                  </a:lnTo>
                  <a:lnTo>
                    <a:pt x="7022" y="2336"/>
                  </a:lnTo>
                  <a:lnTo>
                    <a:pt x="7117" y="2368"/>
                  </a:lnTo>
                  <a:lnTo>
                    <a:pt x="7215" y="2397"/>
                  </a:lnTo>
                  <a:lnTo>
                    <a:pt x="7313" y="2423"/>
                  </a:lnTo>
                  <a:lnTo>
                    <a:pt x="7413" y="2445"/>
                  </a:lnTo>
                  <a:lnTo>
                    <a:pt x="7515" y="2466"/>
                  </a:lnTo>
                  <a:lnTo>
                    <a:pt x="7619" y="2482"/>
                  </a:lnTo>
                  <a:lnTo>
                    <a:pt x="7724" y="2495"/>
                  </a:lnTo>
                  <a:lnTo>
                    <a:pt x="7830" y="2504"/>
                  </a:lnTo>
                  <a:lnTo>
                    <a:pt x="7939" y="2509"/>
                  </a:lnTo>
                  <a:lnTo>
                    <a:pt x="8048" y="2511"/>
                  </a:lnTo>
                  <a:lnTo>
                    <a:pt x="8157" y="2509"/>
                  </a:lnTo>
                  <a:lnTo>
                    <a:pt x="8265" y="2504"/>
                  </a:lnTo>
                  <a:lnTo>
                    <a:pt x="8371" y="2495"/>
                  </a:lnTo>
                  <a:lnTo>
                    <a:pt x="8476" y="2482"/>
                  </a:lnTo>
                  <a:lnTo>
                    <a:pt x="8580" y="2466"/>
                  </a:lnTo>
                  <a:lnTo>
                    <a:pt x="8682" y="2445"/>
                  </a:lnTo>
                  <a:lnTo>
                    <a:pt x="8783" y="2423"/>
                  </a:lnTo>
                  <a:lnTo>
                    <a:pt x="8881" y="2397"/>
                  </a:lnTo>
                  <a:lnTo>
                    <a:pt x="8978" y="2368"/>
                  </a:lnTo>
                  <a:lnTo>
                    <a:pt x="9073" y="2336"/>
                  </a:lnTo>
                  <a:lnTo>
                    <a:pt x="9165" y="2300"/>
                  </a:lnTo>
                  <a:lnTo>
                    <a:pt x="9256" y="2262"/>
                  </a:lnTo>
                  <a:lnTo>
                    <a:pt x="9344" y="2221"/>
                  </a:lnTo>
                  <a:lnTo>
                    <a:pt x="9430" y="2177"/>
                  </a:lnTo>
                  <a:lnTo>
                    <a:pt x="9513" y="2131"/>
                  </a:lnTo>
                  <a:lnTo>
                    <a:pt x="9595" y="2082"/>
                  </a:lnTo>
                  <a:lnTo>
                    <a:pt x="9673" y="2031"/>
                  </a:lnTo>
                  <a:lnTo>
                    <a:pt x="9749" y="1976"/>
                  </a:lnTo>
                  <a:lnTo>
                    <a:pt x="9821" y="1920"/>
                  </a:lnTo>
                  <a:lnTo>
                    <a:pt x="9891" y="1861"/>
                  </a:lnTo>
                  <a:lnTo>
                    <a:pt x="9959" y="1800"/>
                  </a:lnTo>
                  <a:lnTo>
                    <a:pt x="10022" y="1737"/>
                  </a:lnTo>
                  <a:lnTo>
                    <a:pt x="10084" y="1672"/>
                  </a:lnTo>
                  <a:lnTo>
                    <a:pt x="10141" y="1605"/>
                  </a:lnTo>
                  <a:lnTo>
                    <a:pt x="10195" y="1536"/>
                  </a:lnTo>
                  <a:lnTo>
                    <a:pt x="10245" y="1464"/>
                  </a:lnTo>
                  <a:lnTo>
                    <a:pt x="10293" y="1392"/>
                  </a:lnTo>
                  <a:lnTo>
                    <a:pt x="10337" y="1318"/>
                  </a:lnTo>
                  <a:lnTo>
                    <a:pt x="10376" y="1241"/>
                  </a:lnTo>
                  <a:lnTo>
                    <a:pt x="10412" y="1164"/>
                  </a:lnTo>
                  <a:lnTo>
                    <a:pt x="10445" y="1085"/>
                  </a:lnTo>
                  <a:lnTo>
                    <a:pt x="10473" y="1004"/>
                  </a:lnTo>
                  <a:lnTo>
                    <a:pt x="12574" y="1004"/>
                  </a:lnTo>
                  <a:lnTo>
                    <a:pt x="15089" y="3013"/>
                  </a:lnTo>
                  <a:lnTo>
                    <a:pt x="14083" y="6026"/>
                  </a:lnTo>
                  <a:close/>
                  <a:moveTo>
                    <a:pt x="9936" y="1004"/>
                  </a:moveTo>
                  <a:lnTo>
                    <a:pt x="9908" y="1059"/>
                  </a:lnTo>
                  <a:lnTo>
                    <a:pt x="9878" y="1112"/>
                  </a:lnTo>
                  <a:lnTo>
                    <a:pt x="9846" y="1164"/>
                  </a:lnTo>
                  <a:lnTo>
                    <a:pt x="9811" y="1215"/>
                  </a:lnTo>
                  <a:lnTo>
                    <a:pt x="9773" y="1264"/>
                  </a:lnTo>
                  <a:lnTo>
                    <a:pt x="9733" y="1314"/>
                  </a:lnTo>
                  <a:lnTo>
                    <a:pt x="9691" y="1361"/>
                  </a:lnTo>
                  <a:lnTo>
                    <a:pt x="9646" y="1407"/>
                  </a:lnTo>
                  <a:lnTo>
                    <a:pt x="9600" y="1452"/>
                  </a:lnTo>
                  <a:lnTo>
                    <a:pt x="9550" y="1495"/>
                  </a:lnTo>
                  <a:lnTo>
                    <a:pt x="9500" y="1538"/>
                  </a:lnTo>
                  <a:lnTo>
                    <a:pt x="9447" y="1579"/>
                  </a:lnTo>
                  <a:lnTo>
                    <a:pt x="9391" y="1617"/>
                  </a:lnTo>
                  <a:lnTo>
                    <a:pt x="9334" y="1655"/>
                  </a:lnTo>
                  <a:lnTo>
                    <a:pt x="9276" y="1691"/>
                  </a:lnTo>
                  <a:lnTo>
                    <a:pt x="9215" y="1725"/>
                  </a:lnTo>
                  <a:lnTo>
                    <a:pt x="9152" y="1758"/>
                  </a:lnTo>
                  <a:lnTo>
                    <a:pt x="9089" y="1789"/>
                  </a:lnTo>
                  <a:lnTo>
                    <a:pt x="9022" y="1818"/>
                  </a:lnTo>
                  <a:lnTo>
                    <a:pt x="8956" y="1845"/>
                  </a:lnTo>
                  <a:lnTo>
                    <a:pt x="8886" y="1870"/>
                  </a:lnTo>
                  <a:lnTo>
                    <a:pt x="8816" y="1893"/>
                  </a:lnTo>
                  <a:lnTo>
                    <a:pt x="8745" y="1914"/>
                  </a:lnTo>
                  <a:lnTo>
                    <a:pt x="8672" y="1933"/>
                  </a:lnTo>
                  <a:lnTo>
                    <a:pt x="8598" y="1951"/>
                  </a:lnTo>
                  <a:lnTo>
                    <a:pt x="8522" y="1965"/>
                  </a:lnTo>
                  <a:lnTo>
                    <a:pt x="8446" y="1978"/>
                  </a:lnTo>
                  <a:lnTo>
                    <a:pt x="8368" y="1989"/>
                  </a:lnTo>
                  <a:lnTo>
                    <a:pt x="8289" y="1998"/>
                  </a:lnTo>
                  <a:lnTo>
                    <a:pt x="8209" y="2004"/>
                  </a:lnTo>
                  <a:lnTo>
                    <a:pt x="8129" y="2008"/>
                  </a:lnTo>
                  <a:lnTo>
                    <a:pt x="8048" y="2009"/>
                  </a:lnTo>
                  <a:lnTo>
                    <a:pt x="7966" y="2008"/>
                  </a:lnTo>
                  <a:lnTo>
                    <a:pt x="7886" y="2004"/>
                  </a:lnTo>
                  <a:lnTo>
                    <a:pt x="7806" y="1998"/>
                  </a:lnTo>
                  <a:lnTo>
                    <a:pt x="7727" y="1989"/>
                  </a:lnTo>
                  <a:lnTo>
                    <a:pt x="7649" y="1978"/>
                  </a:lnTo>
                  <a:lnTo>
                    <a:pt x="7573" y="1965"/>
                  </a:lnTo>
                  <a:lnTo>
                    <a:pt x="7497" y="1951"/>
                  </a:lnTo>
                  <a:lnTo>
                    <a:pt x="7423" y="1933"/>
                  </a:lnTo>
                  <a:lnTo>
                    <a:pt x="7350" y="1914"/>
                  </a:lnTo>
                  <a:lnTo>
                    <a:pt x="7279" y="1893"/>
                  </a:lnTo>
                  <a:lnTo>
                    <a:pt x="7209" y="1870"/>
                  </a:lnTo>
                  <a:lnTo>
                    <a:pt x="7139" y="1845"/>
                  </a:lnTo>
                  <a:lnTo>
                    <a:pt x="7073" y="1818"/>
                  </a:lnTo>
                  <a:lnTo>
                    <a:pt x="7006" y="1789"/>
                  </a:lnTo>
                  <a:lnTo>
                    <a:pt x="6943" y="1758"/>
                  </a:lnTo>
                  <a:lnTo>
                    <a:pt x="6881" y="1725"/>
                  </a:lnTo>
                  <a:lnTo>
                    <a:pt x="6819" y="1691"/>
                  </a:lnTo>
                  <a:lnTo>
                    <a:pt x="6761" y="1655"/>
                  </a:lnTo>
                  <a:lnTo>
                    <a:pt x="6704" y="1617"/>
                  </a:lnTo>
                  <a:lnTo>
                    <a:pt x="6648" y="1579"/>
                  </a:lnTo>
                  <a:lnTo>
                    <a:pt x="6596" y="1538"/>
                  </a:lnTo>
                  <a:lnTo>
                    <a:pt x="6545" y="1495"/>
                  </a:lnTo>
                  <a:lnTo>
                    <a:pt x="6495" y="1452"/>
                  </a:lnTo>
                  <a:lnTo>
                    <a:pt x="6449" y="1407"/>
                  </a:lnTo>
                  <a:lnTo>
                    <a:pt x="6404" y="1361"/>
                  </a:lnTo>
                  <a:lnTo>
                    <a:pt x="6362" y="1314"/>
                  </a:lnTo>
                  <a:lnTo>
                    <a:pt x="6322" y="1264"/>
                  </a:lnTo>
                  <a:lnTo>
                    <a:pt x="6284" y="1215"/>
                  </a:lnTo>
                  <a:lnTo>
                    <a:pt x="6249" y="1164"/>
                  </a:lnTo>
                  <a:lnTo>
                    <a:pt x="6217" y="1112"/>
                  </a:lnTo>
                  <a:lnTo>
                    <a:pt x="6187" y="1059"/>
                  </a:lnTo>
                  <a:lnTo>
                    <a:pt x="6159" y="1004"/>
                  </a:lnTo>
                  <a:lnTo>
                    <a:pt x="9936" y="1004"/>
                  </a:lnTo>
                  <a:close/>
                  <a:moveTo>
                    <a:pt x="15718" y="2229"/>
                  </a:moveTo>
                  <a:lnTo>
                    <a:pt x="13203" y="220"/>
                  </a:lnTo>
                  <a:lnTo>
                    <a:pt x="13169" y="194"/>
                  </a:lnTo>
                  <a:lnTo>
                    <a:pt x="13135" y="170"/>
                  </a:lnTo>
                  <a:lnTo>
                    <a:pt x="13098" y="147"/>
                  </a:lnTo>
                  <a:lnTo>
                    <a:pt x="13061" y="126"/>
                  </a:lnTo>
                  <a:lnTo>
                    <a:pt x="13024" y="105"/>
                  </a:lnTo>
                  <a:lnTo>
                    <a:pt x="12986" y="87"/>
                  </a:lnTo>
                  <a:lnTo>
                    <a:pt x="12946" y="71"/>
                  </a:lnTo>
                  <a:lnTo>
                    <a:pt x="12907" y="56"/>
                  </a:lnTo>
                  <a:lnTo>
                    <a:pt x="12867" y="43"/>
                  </a:lnTo>
                  <a:lnTo>
                    <a:pt x="12827" y="32"/>
                  </a:lnTo>
                  <a:lnTo>
                    <a:pt x="12785" y="22"/>
                  </a:lnTo>
                  <a:lnTo>
                    <a:pt x="12743" y="14"/>
                  </a:lnTo>
                  <a:lnTo>
                    <a:pt x="12702" y="8"/>
                  </a:lnTo>
                  <a:lnTo>
                    <a:pt x="12660" y="4"/>
                  </a:lnTo>
                  <a:lnTo>
                    <a:pt x="12616" y="1"/>
                  </a:lnTo>
                  <a:lnTo>
                    <a:pt x="12574" y="0"/>
                  </a:lnTo>
                  <a:lnTo>
                    <a:pt x="3521" y="0"/>
                  </a:lnTo>
                  <a:lnTo>
                    <a:pt x="3479" y="1"/>
                  </a:lnTo>
                  <a:lnTo>
                    <a:pt x="3435" y="4"/>
                  </a:lnTo>
                  <a:lnTo>
                    <a:pt x="3393" y="8"/>
                  </a:lnTo>
                  <a:lnTo>
                    <a:pt x="3352" y="14"/>
                  </a:lnTo>
                  <a:lnTo>
                    <a:pt x="3310" y="22"/>
                  </a:lnTo>
                  <a:lnTo>
                    <a:pt x="3268" y="32"/>
                  </a:lnTo>
                  <a:lnTo>
                    <a:pt x="3228" y="43"/>
                  </a:lnTo>
                  <a:lnTo>
                    <a:pt x="3188" y="56"/>
                  </a:lnTo>
                  <a:lnTo>
                    <a:pt x="3149" y="71"/>
                  </a:lnTo>
                  <a:lnTo>
                    <a:pt x="3109" y="87"/>
                  </a:lnTo>
                  <a:lnTo>
                    <a:pt x="3071" y="105"/>
                  </a:lnTo>
                  <a:lnTo>
                    <a:pt x="3034" y="126"/>
                  </a:lnTo>
                  <a:lnTo>
                    <a:pt x="2997" y="147"/>
                  </a:lnTo>
                  <a:lnTo>
                    <a:pt x="2960" y="170"/>
                  </a:lnTo>
                  <a:lnTo>
                    <a:pt x="2926" y="194"/>
                  </a:lnTo>
                  <a:lnTo>
                    <a:pt x="2892" y="220"/>
                  </a:lnTo>
                  <a:lnTo>
                    <a:pt x="377" y="2229"/>
                  </a:lnTo>
                  <a:lnTo>
                    <a:pt x="347" y="2254"/>
                  </a:lnTo>
                  <a:lnTo>
                    <a:pt x="318" y="2280"/>
                  </a:lnTo>
                  <a:lnTo>
                    <a:pt x="290" y="2307"/>
                  </a:lnTo>
                  <a:lnTo>
                    <a:pt x="264" y="2335"/>
                  </a:lnTo>
                  <a:lnTo>
                    <a:pt x="237" y="2364"/>
                  </a:lnTo>
                  <a:lnTo>
                    <a:pt x="213" y="2393"/>
                  </a:lnTo>
                  <a:lnTo>
                    <a:pt x="191" y="2424"/>
                  </a:lnTo>
                  <a:lnTo>
                    <a:pt x="169" y="2455"/>
                  </a:lnTo>
                  <a:lnTo>
                    <a:pt x="148" y="2488"/>
                  </a:lnTo>
                  <a:lnTo>
                    <a:pt x="129" y="2521"/>
                  </a:lnTo>
                  <a:lnTo>
                    <a:pt x="112" y="2554"/>
                  </a:lnTo>
                  <a:lnTo>
                    <a:pt x="95" y="2588"/>
                  </a:lnTo>
                  <a:lnTo>
                    <a:pt x="79" y="2622"/>
                  </a:lnTo>
                  <a:lnTo>
                    <a:pt x="65" y="2657"/>
                  </a:lnTo>
                  <a:lnTo>
                    <a:pt x="52" y="2692"/>
                  </a:lnTo>
                  <a:lnTo>
                    <a:pt x="41" y="2729"/>
                  </a:lnTo>
                  <a:lnTo>
                    <a:pt x="31" y="2765"/>
                  </a:lnTo>
                  <a:lnTo>
                    <a:pt x="22" y="2802"/>
                  </a:lnTo>
                  <a:lnTo>
                    <a:pt x="15" y="2839"/>
                  </a:lnTo>
                  <a:lnTo>
                    <a:pt x="9" y="2876"/>
                  </a:lnTo>
                  <a:lnTo>
                    <a:pt x="5" y="2913"/>
                  </a:lnTo>
                  <a:lnTo>
                    <a:pt x="2" y="2952"/>
                  </a:lnTo>
                  <a:lnTo>
                    <a:pt x="0" y="2989"/>
                  </a:lnTo>
                  <a:lnTo>
                    <a:pt x="0" y="3027"/>
                  </a:lnTo>
                  <a:lnTo>
                    <a:pt x="1" y="3065"/>
                  </a:lnTo>
                  <a:lnTo>
                    <a:pt x="4" y="3103"/>
                  </a:lnTo>
                  <a:lnTo>
                    <a:pt x="8" y="3141"/>
                  </a:lnTo>
                  <a:lnTo>
                    <a:pt x="14" y="3180"/>
                  </a:lnTo>
                  <a:lnTo>
                    <a:pt x="21" y="3218"/>
                  </a:lnTo>
                  <a:lnTo>
                    <a:pt x="30" y="3256"/>
                  </a:lnTo>
                  <a:lnTo>
                    <a:pt x="40" y="3293"/>
                  </a:lnTo>
                  <a:lnTo>
                    <a:pt x="52" y="3331"/>
                  </a:lnTo>
                  <a:lnTo>
                    <a:pt x="1057" y="6344"/>
                  </a:lnTo>
                  <a:lnTo>
                    <a:pt x="1067" y="6371"/>
                  </a:lnTo>
                  <a:lnTo>
                    <a:pt x="1078" y="6398"/>
                  </a:lnTo>
                  <a:lnTo>
                    <a:pt x="1089" y="6425"/>
                  </a:lnTo>
                  <a:lnTo>
                    <a:pt x="1100" y="6452"/>
                  </a:lnTo>
                  <a:lnTo>
                    <a:pt x="1114" y="6478"/>
                  </a:lnTo>
                  <a:lnTo>
                    <a:pt x="1127" y="6504"/>
                  </a:lnTo>
                  <a:lnTo>
                    <a:pt x="1141" y="6529"/>
                  </a:lnTo>
                  <a:lnTo>
                    <a:pt x="1156" y="6553"/>
                  </a:lnTo>
                  <a:lnTo>
                    <a:pt x="1171" y="6577"/>
                  </a:lnTo>
                  <a:lnTo>
                    <a:pt x="1187" y="6601"/>
                  </a:lnTo>
                  <a:lnTo>
                    <a:pt x="1204" y="6624"/>
                  </a:lnTo>
                  <a:lnTo>
                    <a:pt x="1221" y="6647"/>
                  </a:lnTo>
                  <a:lnTo>
                    <a:pt x="1239" y="6669"/>
                  </a:lnTo>
                  <a:lnTo>
                    <a:pt x="1258" y="6692"/>
                  </a:lnTo>
                  <a:lnTo>
                    <a:pt x="1278" y="6713"/>
                  </a:lnTo>
                  <a:lnTo>
                    <a:pt x="1298" y="6733"/>
                  </a:lnTo>
                  <a:lnTo>
                    <a:pt x="1318" y="6753"/>
                  </a:lnTo>
                  <a:lnTo>
                    <a:pt x="1339" y="6772"/>
                  </a:lnTo>
                  <a:lnTo>
                    <a:pt x="1360" y="6791"/>
                  </a:lnTo>
                  <a:lnTo>
                    <a:pt x="1382" y="6809"/>
                  </a:lnTo>
                  <a:lnTo>
                    <a:pt x="1405" y="6827"/>
                  </a:lnTo>
                  <a:lnTo>
                    <a:pt x="1428" y="6844"/>
                  </a:lnTo>
                  <a:lnTo>
                    <a:pt x="1452" y="6860"/>
                  </a:lnTo>
                  <a:lnTo>
                    <a:pt x="1476" y="6875"/>
                  </a:lnTo>
                  <a:lnTo>
                    <a:pt x="1501" y="6890"/>
                  </a:lnTo>
                  <a:lnTo>
                    <a:pt x="1526" y="6905"/>
                  </a:lnTo>
                  <a:lnTo>
                    <a:pt x="1551" y="6919"/>
                  </a:lnTo>
                  <a:lnTo>
                    <a:pt x="1577" y="6932"/>
                  </a:lnTo>
                  <a:lnTo>
                    <a:pt x="1603" y="6944"/>
                  </a:lnTo>
                  <a:lnTo>
                    <a:pt x="1631" y="6956"/>
                  </a:lnTo>
                  <a:lnTo>
                    <a:pt x="1658" y="6966"/>
                  </a:lnTo>
                  <a:lnTo>
                    <a:pt x="1686" y="6976"/>
                  </a:lnTo>
                  <a:lnTo>
                    <a:pt x="1725" y="6989"/>
                  </a:lnTo>
                  <a:lnTo>
                    <a:pt x="1766" y="7000"/>
                  </a:lnTo>
                  <a:lnTo>
                    <a:pt x="1807" y="7009"/>
                  </a:lnTo>
                  <a:lnTo>
                    <a:pt x="1848" y="7016"/>
                  </a:lnTo>
                  <a:lnTo>
                    <a:pt x="1888" y="7022"/>
                  </a:lnTo>
                  <a:lnTo>
                    <a:pt x="1929" y="7027"/>
                  </a:lnTo>
                  <a:lnTo>
                    <a:pt x="1971" y="7029"/>
                  </a:lnTo>
                  <a:lnTo>
                    <a:pt x="2012" y="7030"/>
                  </a:lnTo>
                  <a:lnTo>
                    <a:pt x="2045" y="7029"/>
                  </a:lnTo>
                  <a:lnTo>
                    <a:pt x="2077" y="7028"/>
                  </a:lnTo>
                  <a:lnTo>
                    <a:pt x="2110" y="7025"/>
                  </a:lnTo>
                  <a:lnTo>
                    <a:pt x="2143" y="7021"/>
                  </a:lnTo>
                  <a:lnTo>
                    <a:pt x="2175" y="7017"/>
                  </a:lnTo>
                  <a:lnTo>
                    <a:pt x="2207" y="7011"/>
                  </a:lnTo>
                  <a:lnTo>
                    <a:pt x="2239" y="7004"/>
                  </a:lnTo>
                  <a:lnTo>
                    <a:pt x="2271" y="6996"/>
                  </a:lnTo>
                  <a:lnTo>
                    <a:pt x="2303" y="6987"/>
                  </a:lnTo>
                  <a:lnTo>
                    <a:pt x="2334" y="6977"/>
                  </a:lnTo>
                  <a:lnTo>
                    <a:pt x="2365" y="6966"/>
                  </a:lnTo>
                  <a:lnTo>
                    <a:pt x="2396" y="6954"/>
                  </a:lnTo>
                  <a:lnTo>
                    <a:pt x="2426" y="6941"/>
                  </a:lnTo>
                  <a:lnTo>
                    <a:pt x="2456" y="6927"/>
                  </a:lnTo>
                  <a:lnTo>
                    <a:pt x="2486" y="6911"/>
                  </a:lnTo>
                  <a:lnTo>
                    <a:pt x="2515" y="6895"/>
                  </a:lnTo>
                  <a:lnTo>
                    <a:pt x="2515" y="13056"/>
                  </a:lnTo>
                  <a:lnTo>
                    <a:pt x="2516" y="13107"/>
                  </a:lnTo>
                  <a:lnTo>
                    <a:pt x="2520" y="13158"/>
                  </a:lnTo>
                  <a:lnTo>
                    <a:pt x="2526" y="13208"/>
                  </a:lnTo>
                  <a:lnTo>
                    <a:pt x="2535" y="13258"/>
                  </a:lnTo>
                  <a:lnTo>
                    <a:pt x="2546" y="13307"/>
                  </a:lnTo>
                  <a:lnTo>
                    <a:pt x="2560" y="13354"/>
                  </a:lnTo>
                  <a:lnTo>
                    <a:pt x="2576" y="13401"/>
                  </a:lnTo>
                  <a:lnTo>
                    <a:pt x="2594" y="13446"/>
                  </a:lnTo>
                  <a:lnTo>
                    <a:pt x="2614" y="13491"/>
                  </a:lnTo>
                  <a:lnTo>
                    <a:pt x="2637" y="13535"/>
                  </a:lnTo>
                  <a:lnTo>
                    <a:pt x="2661" y="13576"/>
                  </a:lnTo>
                  <a:lnTo>
                    <a:pt x="2687" y="13617"/>
                  </a:lnTo>
                  <a:lnTo>
                    <a:pt x="2715" y="13656"/>
                  </a:lnTo>
                  <a:lnTo>
                    <a:pt x="2744" y="13694"/>
                  </a:lnTo>
                  <a:lnTo>
                    <a:pt x="2776" y="13731"/>
                  </a:lnTo>
                  <a:lnTo>
                    <a:pt x="2810" y="13766"/>
                  </a:lnTo>
                  <a:lnTo>
                    <a:pt x="2845" y="13799"/>
                  </a:lnTo>
                  <a:lnTo>
                    <a:pt x="2881" y="13831"/>
                  </a:lnTo>
                  <a:lnTo>
                    <a:pt x="2919" y="13860"/>
                  </a:lnTo>
                  <a:lnTo>
                    <a:pt x="2958" y="13888"/>
                  </a:lnTo>
                  <a:lnTo>
                    <a:pt x="3000" y="13914"/>
                  </a:lnTo>
                  <a:lnTo>
                    <a:pt x="3041" y="13938"/>
                  </a:lnTo>
                  <a:lnTo>
                    <a:pt x="3085" y="13961"/>
                  </a:lnTo>
                  <a:lnTo>
                    <a:pt x="3129" y="13981"/>
                  </a:lnTo>
                  <a:lnTo>
                    <a:pt x="3175" y="13999"/>
                  </a:lnTo>
                  <a:lnTo>
                    <a:pt x="3222" y="14015"/>
                  </a:lnTo>
                  <a:lnTo>
                    <a:pt x="3269" y="14028"/>
                  </a:lnTo>
                  <a:lnTo>
                    <a:pt x="3319" y="14040"/>
                  </a:lnTo>
                  <a:lnTo>
                    <a:pt x="3368" y="14048"/>
                  </a:lnTo>
                  <a:lnTo>
                    <a:pt x="3418" y="14055"/>
                  </a:lnTo>
                  <a:lnTo>
                    <a:pt x="3469" y="14059"/>
                  </a:lnTo>
                  <a:lnTo>
                    <a:pt x="3521" y="14060"/>
                  </a:lnTo>
                  <a:lnTo>
                    <a:pt x="12574" y="14060"/>
                  </a:lnTo>
                  <a:lnTo>
                    <a:pt x="12626" y="14059"/>
                  </a:lnTo>
                  <a:lnTo>
                    <a:pt x="12677" y="14055"/>
                  </a:lnTo>
                  <a:lnTo>
                    <a:pt x="12727" y="14048"/>
                  </a:lnTo>
                  <a:lnTo>
                    <a:pt x="12776" y="14040"/>
                  </a:lnTo>
                  <a:lnTo>
                    <a:pt x="12826" y="14028"/>
                  </a:lnTo>
                  <a:lnTo>
                    <a:pt x="12873" y="14015"/>
                  </a:lnTo>
                  <a:lnTo>
                    <a:pt x="12920" y="13999"/>
                  </a:lnTo>
                  <a:lnTo>
                    <a:pt x="12966" y="13981"/>
                  </a:lnTo>
                  <a:lnTo>
                    <a:pt x="13010" y="13961"/>
                  </a:lnTo>
                  <a:lnTo>
                    <a:pt x="13054" y="13938"/>
                  </a:lnTo>
                  <a:lnTo>
                    <a:pt x="13095" y="13914"/>
                  </a:lnTo>
                  <a:lnTo>
                    <a:pt x="13137" y="13888"/>
                  </a:lnTo>
                  <a:lnTo>
                    <a:pt x="13176" y="13860"/>
                  </a:lnTo>
                  <a:lnTo>
                    <a:pt x="13214" y="13831"/>
                  </a:lnTo>
                  <a:lnTo>
                    <a:pt x="13250" y="13799"/>
                  </a:lnTo>
                  <a:lnTo>
                    <a:pt x="13285" y="13766"/>
                  </a:lnTo>
                  <a:lnTo>
                    <a:pt x="13319" y="13731"/>
                  </a:lnTo>
                  <a:lnTo>
                    <a:pt x="13351" y="13694"/>
                  </a:lnTo>
                  <a:lnTo>
                    <a:pt x="13380" y="13656"/>
                  </a:lnTo>
                  <a:lnTo>
                    <a:pt x="13408" y="13617"/>
                  </a:lnTo>
                  <a:lnTo>
                    <a:pt x="13434" y="13576"/>
                  </a:lnTo>
                  <a:lnTo>
                    <a:pt x="13458" y="13535"/>
                  </a:lnTo>
                  <a:lnTo>
                    <a:pt x="13481" y="13491"/>
                  </a:lnTo>
                  <a:lnTo>
                    <a:pt x="13501" y="13446"/>
                  </a:lnTo>
                  <a:lnTo>
                    <a:pt x="13519" y="13401"/>
                  </a:lnTo>
                  <a:lnTo>
                    <a:pt x="13535" y="13354"/>
                  </a:lnTo>
                  <a:lnTo>
                    <a:pt x="13548" y="13307"/>
                  </a:lnTo>
                  <a:lnTo>
                    <a:pt x="13560" y="13258"/>
                  </a:lnTo>
                  <a:lnTo>
                    <a:pt x="13568" y="13208"/>
                  </a:lnTo>
                  <a:lnTo>
                    <a:pt x="13575" y="13158"/>
                  </a:lnTo>
                  <a:lnTo>
                    <a:pt x="13579" y="13107"/>
                  </a:lnTo>
                  <a:lnTo>
                    <a:pt x="13580" y="13056"/>
                  </a:lnTo>
                  <a:lnTo>
                    <a:pt x="13580" y="6895"/>
                  </a:lnTo>
                  <a:lnTo>
                    <a:pt x="13609" y="6911"/>
                  </a:lnTo>
                  <a:lnTo>
                    <a:pt x="13639" y="6927"/>
                  </a:lnTo>
                  <a:lnTo>
                    <a:pt x="13669" y="6941"/>
                  </a:lnTo>
                  <a:lnTo>
                    <a:pt x="13699" y="6954"/>
                  </a:lnTo>
                  <a:lnTo>
                    <a:pt x="13730" y="6966"/>
                  </a:lnTo>
                  <a:lnTo>
                    <a:pt x="13761" y="6977"/>
                  </a:lnTo>
                  <a:lnTo>
                    <a:pt x="13792" y="6987"/>
                  </a:lnTo>
                  <a:lnTo>
                    <a:pt x="13824" y="6996"/>
                  </a:lnTo>
                  <a:lnTo>
                    <a:pt x="13856" y="7004"/>
                  </a:lnTo>
                  <a:lnTo>
                    <a:pt x="13888" y="7011"/>
                  </a:lnTo>
                  <a:lnTo>
                    <a:pt x="13920" y="7017"/>
                  </a:lnTo>
                  <a:lnTo>
                    <a:pt x="13952" y="7021"/>
                  </a:lnTo>
                  <a:lnTo>
                    <a:pt x="13985" y="7025"/>
                  </a:lnTo>
                  <a:lnTo>
                    <a:pt x="14018" y="7028"/>
                  </a:lnTo>
                  <a:lnTo>
                    <a:pt x="14050" y="7029"/>
                  </a:lnTo>
                  <a:lnTo>
                    <a:pt x="14083" y="7030"/>
                  </a:lnTo>
                  <a:lnTo>
                    <a:pt x="14124" y="7029"/>
                  </a:lnTo>
                  <a:lnTo>
                    <a:pt x="14166" y="7027"/>
                  </a:lnTo>
                  <a:lnTo>
                    <a:pt x="14207" y="7022"/>
                  </a:lnTo>
                  <a:lnTo>
                    <a:pt x="14247" y="7016"/>
                  </a:lnTo>
                  <a:lnTo>
                    <a:pt x="14288" y="7009"/>
                  </a:lnTo>
                  <a:lnTo>
                    <a:pt x="14329" y="7000"/>
                  </a:lnTo>
                  <a:lnTo>
                    <a:pt x="14370" y="6989"/>
                  </a:lnTo>
                  <a:lnTo>
                    <a:pt x="14410" y="6976"/>
                  </a:lnTo>
                  <a:lnTo>
                    <a:pt x="14437" y="6966"/>
                  </a:lnTo>
                  <a:lnTo>
                    <a:pt x="14464" y="6956"/>
                  </a:lnTo>
                  <a:lnTo>
                    <a:pt x="14492" y="6944"/>
                  </a:lnTo>
                  <a:lnTo>
                    <a:pt x="14518" y="6932"/>
                  </a:lnTo>
                  <a:lnTo>
                    <a:pt x="14544" y="6919"/>
                  </a:lnTo>
                  <a:lnTo>
                    <a:pt x="14569" y="6905"/>
                  </a:lnTo>
                  <a:lnTo>
                    <a:pt x="14594" y="6890"/>
                  </a:lnTo>
                  <a:lnTo>
                    <a:pt x="14619" y="6875"/>
                  </a:lnTo>
                  <a:lnTo>
                    <a:pt x="14643" y="6860"/>
                  </a:lnTo>
                  <a:lnTo>
                    <a:pt x="14667" y="6844"/>
                  </a:lnTo>
                  <a:lnTo>
                    <a:pt x="14690" y="6827"/>
                  </a:lnTo>
                  <a:lnTo>
                    <a:pt x="14713" y="6809"/>
                  </a:lnTo>
                  <a:lnTo>
                    <a:pt x="14735" y="6791"/>
                  </a:lnTo>
                  <a:lnTo>
                    <a:pt x="14756" y="6772"/>
                  </a:lnTo>
                  <a:lnTo>
                    <a:pt x="14777" y="6753"/>
                  </a:lnTo>
                  <a:lnTo>
                    <a:pt x="14797" y="6733"/>
                  </a:lnTo>
                  <a:lnTo>
                    <a:pt x="14817" y="6713"/>
                  </a:lnTo>
                  <a:lnTo>
                    <a:pt x="14837" y="6692"/>
                  </a:lnTo>
                  <a:lnTo>
                    <a:pt x="14856" y="6669"/>
                  </a:lnTo>
                  <a:lnTo>
                    <a:pt x="14874" y="6647"/>
                  </a:lnTo>
                  <a:lnTo>
                    <a:pt x="14891" y="6624"/>
                  </a:lnTo>
                  <a:lnTo>
                    <a:pt x="14908" y="6601"/>
                  </a:lnTo>
                  <a:lnTo>
                    <a:pt x="14924" y="6577"/>
                  </a:lnTo>
                  <a:lnTo>
                    <a:pt x="14939" y="6553"/>
                  </a:lnTo>
                  <a:lnTo>
                    <a:pt x="14954" y="6529"/>
                  </a:lnTo>
                  <a:lnTo>
                    <a:pt x="14968" y="6504"/>
                  </a:lnTo>
                  <a:lnTo>
                    <a:pt x="14981" y="6478"/>
                  </a:lnTo>
                  <a:lnTo>
                    <a:pt x="14995" y="6452"/>
                  </a:lnTo>
                  <a:lnTo>
                    <a:pt x="15006" y="6425"/>
                  </a:lnTo>
                  <a:lnTo>
                    <a:pt x="15017" y="6398"/>
                  </a:lnTo>
                  <a:lnTo>
                    <a:pt x="15028" y="6371"/>
                  </a:lnTo>
                  <a:lnTo>
                    <a:pt x="15038" y="6344"/>
                  </a:lnTo>
                  <a:lnTo>
                    <a:pt x="16044" y="3331"/>
                  </a:lnTo>
                  <a:lnTo>
                    <a:pt x="16055" y="3293"/>
                  </a:lnTo>
                  <a:lnTo>
                    <a:pt x="16065" y="3256"/>
                  </a:lnTo>
                  <a:lnTo>
                    <a:pt x="16074" y="3218"/>
                  </a:lnTo>
                  <a:lnTo>
                    <a:pt x="16081" y="3180"/>
                  </a:lnTo>
                  <a:lnTo>
                    <a:pt x="16087" y="3141"/>
                  </a:lnTo>
                  <a:lnTo>
                    <a:pt x="16091" y="3103"/>
                  </a:lnTo>
                  <a:lnTo>
                    <a:pt x="16094" y="3065"/>
                  </a:lnTo>
                  <a:lnTo>
                    <a:pt x="16095" y="3027"/>
                  </a:lnTo>
                  <a:lnTo>
                    <a:pt x="16095" y="2989"/>
                  </a:lnTo>
                  <a:lnTo>
                    <a:pt x="16093" y="2952"/>
                  </a:lnTo>
                  <a:lnTo>
                    <a:pt x="16090" y="2913"/>
                  </a:lnTo>
                  <a:lnTo>
                    <a:pt x="16086" y="2876"/>
                  </a:lnTo>
                  <a:lnTo>
                    <a:pt x="16080" y="2839"/>
                  </a:lnTo>
                  <a:lnTo>
                    <a:pt x="16073" y="2802"/>
                  </a:lnTo>
                  <a:lnTo>
                    <a:pt x="16064" y="2765"/>
                  </a:lnTo>
                  <a:lnTo>
                    <a:pt x="16054" y="2729"/>
                  </a:lnTo>
                  <a:lnTo>
                    <a:pt x="16043" y="2692"/>
                  </a:lnTo>
                  <a:lnTo>
                    <a:pt x="16030" y="2657"/>
                  </a:lnTo>
                  <a:lnTo>
                    <a:pt x="16016" y="2622"/>
                  </a:lnTo>
                  <a:lnTo>
                    <a:pt x="16000" y="2588"/>
                  </a:lnTo>
                  <a:lnTo>
                    <a:pt x="15983" y="2554"/>
                  </a:lnTo>
                  <a:lnTo>
                    <a:pt x="15966" y="2521"/>
                  </a:lnTo>
                  <a:lnTo>
                    <a:pt x="15947" y="2488"/>
                  </a:lnTo>
                  <a:lnTo>
                    <a:pt x="15926" y="2455"/>
                  </a:lnTo>
                  <a:lnTo>
                    <a:pt x="15904" y="2424"/>
                  </a:lnTo>
                  <a:lnTo>
                    <a:pt x="15882" y="2393"/>
                  </a:lnTo>
                  <a:lnTo>
                    <a:pt x="15858" y="2364"/>
                  </a:lnTo>
                  <a:lnTo>
                    <a:pt x="15831" y="2335"/>
                  </a:lnTo>
                  <a:lnTo>
                    <a:pt x="15805" y="2307"/>
                  </a:lnTo>
                  <a:lnTo>
                    <a:pt x="15777" y="2280"/>
                  </a:lnTo>
                  <a:lnTo>
                    <a:pt x="15748" y="2254"/>
                  </a:lnTo>
                  <a:lnTo>
                    <a:pt x="15718" y="222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05" name="íśliḍê">
              <a:extLst>
                <a:ext uri="{FF2B5EF4-FFF2-40B4-BE49-F238E27FC236}">
                  <a16:creationId xmlns:a16="http://schemas.microsoft.com/office/drawing/2014/main" id="{698BE461-04A1-40C2-8D3B-A7A7FB80ABD6}"/>
                </a:ext>
              </a:extLst>
            </p:cNvPr>
            <p:cNvSpPr/>
            <p:nvPr/>
          </p:nvSpPr>
          <p:spPr bwMode="auto">
            <a:xfrm>
              <a:off x="8308470" y="1612170"/>
              <a:ext cx="403593" cy="404523"/>
            </a:xfrm>
            <a:custGeom>
              <a:avLst/>
              <a:gdLst>
                <a:gd name="T0" fmla="*/ 15014 w 16058"/>
                <a:gd name="T1" fmla="*/ 14913 h 16095"/>
                <a:gd name="T2" fmla="*/ 14893 w 16058"/>
                <a:gd name="T3" fmla="*/ 15041 h 16095"/>
                <a:gd name="T4" fmla="*/ 14719 w 16058"/>
                <a:gd name="T5" fmla="*/ 15089 h 16095"/>
                <a:gd name="T6" fmla="*/ 1179 w 16058"/>
                <a:gd name="T7" fmla="*/ 15049 h 16095"/>
                <a:gd name="T8" fmla="*/ 1052 w 16058"/>
                <a:gd name="T9" fmla="*/ 14927 h 16095"/>
                <a:gd name="T10" fmla="*/ 1004 w 16058"/>
                <a:gd name="T11" fmla="*/ 14754 h 16095"/>
                <a:gd name="T12" fmla="*/ 1044 w 16058"/>
                <a:gd name="T13" fmla="*/ 2690 h 16095"/>
                <a:gd name="T14" fmla="*/ 1165 w 16058"/>
                <a:gd name="T15" fmla="*/ 2563 h 16095"/>
                <a:gd name="T16" fmla="*/ 1338 w 16058"/>
                <a:gd name="T17" fmla="*/ 2515 h 16095"/>
                <a:gd name="T18" fmla="*/ 3562 w 16058"/>
                <a:gd name="T19" fmla="*/ 3739 h 16095"/>
                <a:gd name="T20" fmla="*/ 3733 w 16058"/>
                <a:gd name="T21" fmla="*/ 3938 h 16095"/>
                <a:gd name="T22" fmla="*/ 3988 w 16058"/>
                <a:gd name="T23" fmla="*/ 4023 h 16095"/>
                <a:gd name="T24" fmla="*/ 4253 w 16058"/>
                <a:gd name="T25" fmla="*/ 3963 h 16095"/>
                <a:gd name="T26" fmla="*/ 4444 w 16058"/>
                <a:gd name="T27" fmla="*/ 3781 h 16095"/>
                <a:gd name="T28" fmla="*/ 4516 w 16058"/>
                <a:gd name="T29" fmla="*/ 3521 h 16095"/>
                <a:gd name="T30" fmla="*/ 7566 w 16058"/>
                <a:gd name="T31" fmla="*/ 3717 h 16095"/>
                <a:gd name="T32" fmla="*/ 7729 w 16058"/>
                <a:gd name="T33" fmla="*/ 3924 h 16095"/>
                <a:gd name="T34" fmla="*/ 7978 w 16058"/>
                <a:gd name="T35" fmla="*/ 4021 h 16095"/>
                <a:gd name="T36" fmla="*/ 8247 w 16058"/>
                <a:gd name="T37" fmla="*/ 3974 h 16095"/>
                <a:gd name="T38" fmla="*/ 8446 w 16058"/>
                <a:gd name="T39" fmla="*/ 3802 h 16095"/>
                <a:gd name="T40" fmla="*/ 8530 w 16058"/>
                <a:gd name="T41" fmla="*/ 3547 h 16095"/>
                <a:gd name="T42" fmla="*/ 11572 w 16058"/>
                <a:gd name="T43" fmla="*/ 3694 h 16095"/>
                <a:gd name="T44" fmla="*/ 11724 w 16058"/>
                <a:gd name="T45" fmla="*/ 3909 h 16095"/>
                <a:gd name="T46" fmla="*/ 11967 w 16058"/>
                <a:gd name="T47" fmla="*/ 4018 h 16095"/>
                <a:gd name="T48" fmla="*/ 12238 w 16058"/>
                <a:gd name="T49" fmla="*/ 3985 h 16095"/>
                <a:gd name="T50" fmla="*/ 12446 w 16058"/>
                <a:gd name="T51" fmla="*/ 3822 h 16095"/>
                <a:gd name="T52" fmla="*/ 12542 w 16058"/>
                <a:gd name="T53" fmla="*/ 3572 h 16095"/>
                <a:gd name="T54" fmla="*/ 14835 w 16058"/>
                <a:gd name="T55" fmla="*/ 2535 h 16095"/>
                <a:gd name="T56" fmla="*/ 14978 w 16058"/>
                <a:gd name="T57" fmla="*/ 2637 h 16095"/>
                <a:gd name="T58" fmla="*/ 15050 w 16058"/>
                <a:gd name="T59" fmla="*/ 2799 h 16095"/>
                <a:gd name="T60" fmla="*/ 12535 w 16058"/>
                <a:gd name="T61" fmla="*/ 401 h 16095"/>
                <a:gd name="T62" fmla="*/ 12415 w 16058"/>
                <a:gd name="T63" fmla="*/ 165 h 16095"/>
                <a:gd name="T64" fmla="*/ 12193 w 16058"/>
                <a:gd name="T65" fmla="*/ 22 h 16095"/>
                <a:gd name="T66" fmla="*/ 11918 w 16058"/>
                <a:gd name="T67" fmla="*/ 16 h 16095"/>
                <a:gd name="T68" fmla="*/ 11688 w 16058"/>
                <a:gd name="T69" fmla="*/ 147 h 16095"/>
                <a:gd name="T70" fmla="*/ 11558 w 16058"/>
                <a:gd name="T71" fmla="*/ 377 h 16095"/>
                <a:gd name="T72" fmla="*/ 8525 w 16058"/>
                <a:gd name="T73" fmla="*/ 427 h 16095"/>
                <a:gd name="T74" fmla="*/ 8416 w 16058"/>
                <a:gd name="T75" fmla="*/ 183 h 16095"/>
                <a:gd name="T76" fmla="*/ 8202 w 16058"/>
                <a:gd name="T77" fmla="*/ 30 h 16095"/>
                <a:gd name="T78" fmla="*/ 7928 w 16058"/>
                <a:gd name="T79" fmla="*/ 10 h 16095"/>
                <a:gd name="T80" fmla="*/ 7692 w 16058"/>
                <a:gd name="T81" fmla="*/ 131 h 16095"/>
                <a:gd name="T82" fmla="*/ 7549 w 16058"/>
                <a:gd name="T83" fmla="*/ 353 h 16095"/>
                <a:gd name="T84" fmla="*/ 4513 w 16058"/>
                <a:gd name="T85" fmla="*/ 452 h 16095"/>
                <a:gd name="T86" fmla="*/ 4417 w 16058"/>
                <a:gd name="T87" fmla="*/ 202 h 16095"/>
                <a:gd name="T88" fmla="*/ 4210 w 16058"/>
                <a:gd name="T89" fmla="*/ 39 h 16095"/>
                <a:gd name="T90" fmla="*/ 3938 w 16058"/>
                <a:gd name="T91" fmla="*/ 6 h 16095"/>
                <a:gd name="T92" fmla="*/ 3695 w 16058"/>
                <a:gd name="T93" fmla="*/ 115 h 16095"/>
                <a:gd name="T94" fmla="*/ 3543 w 16058"/>
                <a:gd name="T95" fmla="*/ 330 h 16095"/>
                <a:gd name="T96" fmla="*/ 1201 w 16058"/>
                <a:gd name="T97" fmla="*/ 1516 h 16095"/>
                <a:gd name="T98" fmla="*/ 538 w 16058"/>
                <a:gd name="T99" fmla="*/ 1775 h 16095"/>
                <a:gd name="T100" fmla="*/ 105 w 16058"/>
                <a:gd name="T101" fmla="*/ 2328 h 16095"/>
                <a:gd name="T102" fmla="*/ 7 w 16058"/>
                <a:gd name="T103" fmla="*/ 14891 h 16095"/>
                <a:gd name="T104" fmla="*/ 266 w 16058"/>
                <a:gd name="T105" fmla="*/ 15556 h 16095"/>
                <a:gd name="T106" fmla="*/ 817 w 16058"/>
                <a:gd name="T107" fmla="*/ 15989 h 16095"/>
                <a:gd name="T108" fmla="*/ 14857 w 16058"/>
                <a:gd name="T109" fmla="*/ 16088 h 16095"/>
                <a:gd name="T110" fmla="*/ 15520 w 16058"/>
                <a:gd name="T111" fmla="*/ 15828 h 16095"/>
                <a:gd name="T112" fmla="*/ 15953 w 16058"/>
                <a:gd name="T113" fmla="*/ 15276 h 16095"/>
                <a:gd name="T114" fmla="*/ 16051 w 16058"/>
                <a:gd name="T115" fmla="*/ 2713 h 16095"/>
                <a:gd name="T116" fmla="*/ 15792 w 16058"/>
                <a:gd name="T117" fmla="*/ 2047 h 16095"/>
                <a:gd name="T118" fmla="*/ 15241 w 16058"/>
                <a:gd name="T119" fmla="*/ 1615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058" h="16095">
                  <a:moveTo>
                    <a:pt x="15054" y="14754"/>
                  </a:moveTo>
                  <a:lnTo>
                    <a:pt x="15053" y="14771"/>
                  </a:lnTo>
                  <a:lnTo>
                    <a:pt x="15052" y="14788"/>
                  </a:lnTo>
                  <a:lnTo>
                    <a:pt x="15050" y="14804"/>
                  </a:lnTo>
                  <a:lnTo>
                    <a:pt x="15047" y="14821"/>
                  </a:lnTo>
                  <a:lnTo>
                    <a:pt x="15043" y="14838"/>
                  </a:lnTo>
                  <a:lnTo>
                    <a:pt x="15039" y="14854"/>
                  </a:lnTo>
                  <a:lnTo>
                    <a:pt x="15034" y="14869"/>
                  </a:lnTo>
                  <a:lnTo>
                    <a:pt x="15028" y="14884"/>
                  </a:lnTo>
                  <a:lnTo>
                    <a:pt x="15021" y="14899"/>
                  </a:lnTo>
                  <a:lnTo>
                    <a:pt x="15014" y="14913"/>
                  </a:lnTo>
                  <a:lnTo>
                    <a:pt x="15006" y="14927"/>
                  </a:lnTo>
                  <a:lnTo>
                    <a:pt x="14997" y="14941"/>
                  </a:lnTo>
                  <a:lnTo>
                    <a:pt x="14988" y="14954"/>
                  </a:lnTo>
                  <a:lnTo>
                    <a:pt x="14978" y="14967"/>
                  </a:lnTo>
                  <a:lnTo>
                    <a:pt x="14967" y="14979"/>
                  </a:lnTo>
                  <a:lnTo>
                    <a:pt x="14956" y="14990"/>
                  </a:lnTo>
                  <a:lnTo>
                    <a:pt x="14945" y="15002"/>
                  </a:lnTo>
                  <a:lnTo>
                    <a:pt x="14932" y="15013"/>
                  </a:lnTo>
                  <a:lnTo>
                    <a:pt x="14920" y="15023"/>
                  </a:lnTo>
                  <a:lnTo>
                    <a:pt x="14907" y="15032"/>
                  </a:lnTo>
                  <a:lnTo>
                    <a:pt x="14893" y="15041"/>
                  </a:lnTo>
                  <a:lnTo>
                    <a:pt x="14879" y="15049"/>
                  </a:lnTo>
                  <a:lnTo>
                    <a:pt x="14865" y="15056"/>
                  </a:lnTo>
                  <a:lnTo>
                    <a:pt x="14850" y="15063"/>
                  </a:lnTo>
                  <a:lnTo>
                    <a:pt x="14835" y="15069"/>
                  </a:lnTo>
                  <a:lnTo>
                    <a:pt x="14820" y="15074"/>
                  </a:lnTo>
                  <a:lnTo>
                    <a:pt x="14803" y="15079"/>
                  </a:lnTo>
                  <a:lnTo>
                    <a:pt x="14787" y="15082"/>
                  </a:lnTo>
                  <a:lnTo>
                    <a:pt x="14770" y="15085"/>
                  </a:lnTo>
                  <a:lnTo>
                    <a:pt x="14754" y="15087"/>
                  </a:lnTo>
                  <a:lnTo>
                    <a:pt x="14737" y="15089"/>
                  </a:lnTo>
                  <a:lnTo>
                    <a:pt x="14719" y="15089"/>
                  </a:lnTo>
                  <a:lnTo>
                    <a:pt x="1338" y="15089"/>
                  </a:lnTo>
                  <a:lnTo>
                    <a:pt x="1321" y="15089"/>
                  </a:lnTo>
                  <a:lnTo>
                    <a:pt x="1304" y="15087"/>
                  </a:lnTo>
                  <a:lnTo>
                    <a:pt x="1288" y="15085"/>
                  </a:lnTo>
                  <a:lnTo>
                    <a:pt x="1271" y="15082"/>
                  </a:lnTo>
                  <a:lnTo>
                    <a:pt x="1255" y="15079"/>
                  </a:lnTo>
                  <a:lnTo>
                    <a:pt x="1238" y="15074"/>
                  </a:lnTo>
                  <a:lnTo>
                    <a:pt x="1223" y="15069"/>
                  </a:lnTo>
                  <a:lnTo>
                    <a:pt x="1208" y="15063"/>
                  </a:lnTo>
                  <a:lnTo>
                    <a:pt x="1193" y="15056"/>
                  </a:lnTo>
                  <a:lnTo>
                    <a:pt x="1179" y="15049"/>
                  </a:lnTo>
                  <a:lnTo>
                    <a:pt x="1165" y="15041"/>
                  </a:lnTo>
                  <a:lnTo>
                    <a:pt x="1151" y="15032"/>
                  </a:lnTo>
                  <a:lnTo>
                    <a:pt x="1138" y="15023"/>
                  </a:lnTo>
                  <a:lnTo>
                    <a:pt x="1125" y="15013"/>
                  </a:lnTo>
                  <a:lnTo>
                    <a:pt x="1113" y="15002"/>
                  </a:lnTo>
                  <a:lnTo>
                    <a:pt x="1102" y="14990"/>
                  </a:lnTo>
                  <a:lnTo>
                    <a:pt x="1091" y="14979"/>
                  </a:lnTo>
                  <a:lnTo>
                    <a:pt x="1080" y="14967"/>
                  </a:lnTo>
                  <a:lnTo>
                    <a:pt x="1070" y="14954"/>
                  </a:lnTo>
                  <a:lnTo>
                    <a:pt x="1061" y="14941"/>
                  </a:lnTo>
                  <a:lnTo>
                    <a:pt x="1052" y="14927"/>
                  </a:lnTo>
                  <a:lnTo>
                    <a:pt x="1044" y="14913"/>
                  </a:lnTo>
                  <a:lnTo>
                    <a:pt x="1037" y="14899"/>
                  </a:lnTo>
                  <a:lnTo>
                    <a:pt x="1030" y="14884"/>
                  </a:lnTo>
                  <a:lnTo>
                    <a:pt x="1024" y="14869"/>
                  </a:lnTo>
                  <a:lnTo>
                    <a:pt x="1019" y="14854"/>
                  </a:lnTo>
                  <a:lnTo>
                    <a:pt x="1014" y="14838"/>
                  </a:lnTo>
                  <a:lnTo>
                    <a:pt x="1011" y="14821"/>
                  </a:lnTo>
                  <a:lnTo>
                    <a:pt x="1008" y="14804"/>
                  </a:lnTo>
                  <a:lnTo>
                    <a:pt x="1006" y="14788"/>
                  </a:lnTo>
                  <a:lnTo>
                    <a:pt x="1004" y="14771"/>
                  </a:lnTo>
                  <a:lnTo>
                    <a:pt x="1004" y="14754"/>
                  </a:lnTo>
                  <a:lnTo>
                    <a:pt x="1004" y="2850"/>
                  </a:lnTo>
                  <a:lnTo>
                    <a:pt x="1004" y="2833"/>
                  </a:lnTo>
                  <a:lnTo>
                    <a:pt x="1006" y="2816"/>
                  </a:lnTo>
                  <a:lnTo>
                    <a:pt x="1008" y="2799"/>
                  </a:lnTo>
                  <a:lnTo>
                    <a:pt x="1011" y="2782"/>
                  </a:lnTo>
                  <a:lnTo>
                    <a:pt x="1014" y="2766"/>
                  </a:lnTo>
                  <a:lnTo>
                    <a:pt x="1019" y="2750"/>
                  </a:lnTo>
                  <a:lnTo>
                    <a:pt x="1024" y="2735"/>
                  </a:lnTo>
                  <a:lnTo>
                    <a:pt x="1030" y="2720"/>
                  </a:lnTo>
                  <a:lnTo>
                    <a:pt x="1037" y="2705"/>
                  </a:lnTo>
                  <a:lnTo>
                    <a:pt x="1044" y="2690"/>
                  </a:lnTo>
                  <a:lnTo>
                    <a:pt x="1052" y="2676"/>
                  </a:lnTo>
                  <a:lnTo>
                    <a:pt x="1061" y="2663"/>
                  </a:lnTo>
                  <a:lnTo>
                    <a:pt x="1070" y="2650"/>
                  </a:lnTo>
                  <a:lnTo>
                    <a:pt x="1080" y="2637"/>
                  </a:lnTo>
                  <a:lnTo>
                    <a:pt x="1091" y="2624"/>
                  </a:lnTo>
                  <a:lnTo>
                    <a:pt x="1102" y="2613"/>
                  </a:lnTo>
                  <a:lnTo>
                    <a:pt x="1113" y="2602"/>
                  </a:lnTo>
                  <a:lnTo>
                    <a:pt x="1125" y="2591"/>
                  </a:lnTo>
                  <a:lnTo>
                    <a:pt x="1138" y="2581"/>
                  </a:lnTo>
                  <a:lnTo>
                    <a:pt x="1151" y="2572"/>
                  </a:lnTo>
                  <a:lnTo>
                    <a:pt x="1165" y="2563"/>
                  </a:lnTo>
                  <a:lnTo>
                    <a:pt x="1179" y="2555"/>
                  </a:lnTo>
                  <a:lnTo>
                    <a:pt x="1193" y="2548"/>
                  </a:lnTo>
                  <a:lnTo>
                    <a:pt x="1208" y="2541"/>
                  </a:lnTo>
                  <a:lnTo>
                    <a:pt x="1223" y="2535"/>
                  </a:lnTo>
                  <a:lnTo>
                    <a:pt x="1238" y="2530"/>
                  </a:lnTo>
                  <a:lnTo>
                    <a:pt x="1255" y="2525"/>
                  </a:lnTo>
                  <a:lnTo>
                    <a:pt x="1271" y="2522"/>
                  </a:lnTo>
                  <a:lnTo>
                    <a:pt x="1288" y="2519"/>
                  </a:lnTo>
                  <a:lnTo>
                    <a:pt x="1304" y="2517"/>
                  </a:lnTo>
                  <a:lnTo>
                    <a:pt x="1321" y="2515"/>
                  </a:lnTo>
                  <a:lnTo>
                    <a:pt x="1338" y="2515"/>
                  </a:lnTo>
                  <a:lnTo>
                    <a:pt x="3513" y="2515"/>
                  </a:lnTo>
                  <a:lnTo>
                    <a:pt x="3513" y="3521"/>
                  </a:lnTo>
                  <a:lnTo>
                    <a:pt x="3514" y="3547"/>
                  </a:lnTo>
                  <a:lnTo>
                    <a:pt x="3515" y="3572"/>
                  </a:lnTo>
                  <a:lnTo>
                    <a:pt x="3519" y="3597"/>
                  </a:lnTo>
                  <a:lnTo>
                    <a:pt x="3523" y="3622"/>
                  </a:lnTo>
                  <a:lnTo>
                    <a:pt x="3529" y="3647"/>
                  </a:lnTo>
                  <a:lnTo>
                    <a:pt x="3535" y="3671"/>
                  </a:lnTo>
                  <a:lnTo>
                    <a:pt x="3543" y="3694"/>
                  </a:lnTo>
                  <a:lnTo>
                    <a:pt x="3552" y="3717"/>
                  </a:lnTo>
                  <a:lnTo>
                    <a:pt x="3562" y="3739"/>
                  </a:lnTo>
                  <a:lnTo>
                    <a:pt x="3573" y="3760"/>
                  </a:lnTo>
                  <a:lnTo>
                    <a:pt x="3585" y="3781"/>
                  </a:lnTo>
                  <a:lnTo>
                    <a:pt x="3598" y="3802"/>
                  </a:lnTo>
                  <a:lnTo>
                    <a:pt x="3612" y="3822"/>
                  </a:lnTo>
                  <a:lnTo>
                    <a:pt x="3627" y="3841"/>
                  </a:lnTo>
                  <a:lnTo>
                    <a:pt x="3643" y="3859"/>
                  </a:lnTo>
                  <a:lnTo>
                    <a:pt x="3659" y="3877"/>
                  </a:lnTo>
                  <a:lnTo>
                    <a:pt x="3677" y="3893"/>
                  </a:lnTo>
                  <a:lnTo>
                    <a:pt x="3695" y="3909"/>
                  </a:lnTo>
                  <a:lnTo>
                    <a:pt x="3714" y="3924"/>
                  </a:lnTo>
                  <a:lnTo>
                    <a:pt x="3733" y="3938"/>
                  </a:lnTo>
                  <a:lnTo>
                    <a:pt x="3755" y="3951"/>
                  </a:lnTo>
                  <a:lnTo>
                    <a:pt x="3776" y="3963"/>
                  </a:lnTo>
                  <a:lnTo>
                    <a:pt x="3797" y="3974"/>
                  </a:lnTo>
                  <a:lnTo>
                    <a:pt x="3819" y="3985"/>
                  </a:lnTo>
                  <a:lnTo>
                    <a:pt x="3842" y="3994"/>
                  </a:lnTo>
                  <a:lnTo>
                    <a:pt x="3865" y="4002"/>
                  </a:lnTo>
                  <a:lnTo>
                    <a:pt x="3889" y="4008"/>
                  </a:lnTo>
                  <a:lnTo>
                    <a:pt x="3913" y="4014"/>
                  </a:lnTo>
                  <a:lnTo>
                    <a:pt x="3938" y="4018"/>
                  </a:lnTo>
                  <a:lnTo>
                    <a:pt x="3963" y="4021"/>
                  </a:lnTo>
                  <a:lnTo>
                    <a:pt x="3988" y="4023"/>
                  </a:lnTo>
                  <a:lnTo>
                    <a:pt x="4015" y="4024"/>
                  </a:lnTo>
                  <a:lnTo>
                    <a:pt x="4041" y="4023"/>
                  </a:lnTo>
                  <a:lnTo>
                    <a:pt x="4066" y="4021"/>
                  </a:lnTo>
                  <a:lnTo>
                    <a:pt x="4091" y="4018"/>
                  </a:lnTo>
                  <a:lnTo>
                    <a:pt x="4116" y="4014"/>
                  </a:lnTo>
                  <a:lnTo>
                    <a:pt x="4140" y="4008"/>
                  </a:lnTo>
                  <a:lnTo>
                    <a:pt x="4164" y="4002"/>
                  </a:lnTo>
                  <a:lnTo>
                    <a:pt x="4187" y="3994"/>
                  </a:lnTo>
                  <a:lnTo>
                    <a:pt x="4210" y="3985"/>
                  </a:lnTo>
                  <a:lnTo>
                    <a:pt x="4232" y="3974"/>
                  </a:lnTo>
                  <a:lnTo>
                    <a:pt x="4253" y="3963"/>
                  </a:lnTo>
                  <a:lnTo>
                    <a:pt x="4274" y="3951"/>
                  </a:lnTo>
                  <a:lnTo>
                    <a:pt x="4295" y="3938"/>
                  </a:lnTo>
                  <a:lnTo>
                    <a:pt x="4315" y="3924"/>
                  </a:lnTo>
                  <a:lnTo>
                    <a:pt x="4334" y="3909"/>
                  </a:lnTo>
                  <a:lnTo>
                    <a:pt x="4352" y="3893"/>
                  </a:lnTo>
                  <a:lnTo>
                    <a:pt x="4369" y="3877"/>
                  </a:lnTo>
                  <a:lnTo>
                    <a:pt x="4386" y="3859"/>
                  </a:lnTo>
                  <a:lnTo>
                    <a:pt x="4402" y="3841"/>
                  </a:lnTo>
                  <a:lnTo>
                    <a:pt x="4417" y="3822"/>
                  </a:lnTo>
                  <a:lnTo>
                    <a:pt x="4431" y="3802"/>
                  </a:lnTo>
                  <a:lnTo>
                    <a:pt x="4444" y="3781"/>
                  </a:lnTo>
                  <a:lnTo>
                    <a:pt x="4456" y="3760"/>
                  </a:lnTo>
                  <a:lnTo>
                    <a:pt x="4467" y="3739"/>
                  </a:lnTo>
                  <a:lnTo>
                    <a:pt x="4477" y="3717"/>
                  </a:lnTo>
                  <a:lnTo>
                    <a:pt x="4486" y="3694"/>
                  </a:lnTo>
                  <a:lnTo>
                    <a:pt x="4493" y="3671"/>
                  </a:lnTo>
                  <a:lnTo>
                    <a:pt x="4500" y="3647"/>
                  </a:lnTo>
                  <a:lnTo>
                    <a:pt x="4506" y="3622"/>
                  </a:lnTo>
                  <a:lnTo>
                    <a:pt x="4510" y="3597"/>
                  </a:lnTo>
                  <a:lnTo>
                    <a:pt x="4513" y="3572"/>
                  </a:lnTo>
                  <a:lnTo>
                    <a:pt x="4515" y="3547"/>
                  </a:lnTo>
                  <a:lnTo>
                    <a:pt x="4516" y="3521"/>
                  </a:lnTo>
                  <a:lnTo>
                    <a:pt x="4516" y="2515"/>
                  </a:lnTo>
                  <a:lnTo>
                    <a:pt x="7527" y="2515"/>
                  </a:lnTo>
                  <a:lnTo>
                    <a:pt x="7527" y="3521"/>
                  </a:lnTo>
                  <a:lnTo>
                    <a:pt x="7528" y="3547"/>
                  </a:lnTo>
                  <a:lnTo>
                    <a:pt x="7529" y="3572"/>
                  </a:lnTo>
                  <a:lnTo>
                    <a:pt x="7533" y="3597"/>
                  </a:lnTo>
                  <a:lnTo>
                    <a:pt x="7537" y="3622"/>
                  </a:lnTo>
                  <a:lnTo>
                    <a:pt x="7543" y="3647"/>
                  </a:lnTo>
                  <a:lnTo>
                    <a:pt x="7549" y="3671"/>
                  </a:lnTo>
                  <a:lnTo>
                    <a:pt x="7557" y="3694"/>
                  </a:lnTo>
                  <a:lnTo>
                    <a:pt x="7566" y="3717"/>
                  </a:lnTo>
                  <a:lnTo>
                    <a:pt x="7576" y="3739"/>
                  </a:lnTo>
                  <a:lnTo>
                    <a:pt x="7587" y="3760"/>
                  </a:lnTo>
                  <a:lnTo>
                    <a:pt x="7599" y="3781"/>
                  </a:lnTo>
                  <a:lnTo>
                    <a:pt x="7612" y="3802"/>
                  </a:lnTo>
                  <a:lnTo>
                    <a:pt x="7627" y="3822"/>
                  </a:lnTo>
                  <a:lnTo>
                    <a:pt x="7642" y="3841"/>
                  </a:lnTo>
                  <a:lnTo>
                    <a:pt x="7658" y="3859"/>
                  </a:lnTo>
                  <a:lnTo>
                    <a:pt x="7674" y="3877"/>
                  </a:lnTo>
                  <a:lnTo>
                    <a:pt x="7692" y="3893"/>
                  </a:lnTo>
                  <a:lnTo>
                    <a:pt x="7710" y="3909"/>
                  </a:lnTo>
                  <a:lnTo>
                    <a:pt x="7729" y="3924"/>
                  </a:lnTo>
                  <a:lnTo>
                    <a:pt x="7748" y="3938"/>
                  </a:lnTo>
                  <a:lnTo>
                    <a:pt x="7769" y="3951"/>
                  </a:lnTo>
                  <a:lnTo>
                    <a:pt x="7790" y="3963"/>
                  </a:lnTo>
                  <a:lnTo>
                    <a:pt x="7811" y="3974"/>
                  </a:lnTo>
                  <a:lnTo>
                    <a:pt x="7833" y="3985"/>
                  </a:lnTo>
                  <a:lnTo>
                    <a:pt x="7856" y="3994"/>
                  </a:lnTo>
                  <a:lnTo>
                    <a:pt x="7879" y="4002"/>
                  </a:lnTo>
                  <a:lnTo>
                    <a:pt x="7904" y="4008"/>
                  </a:lnTo>
                  <a:lnTo>
                    <a:pt x="7928" y="4014"/>
                  </a:lnTo>
                  <a:lnTo>
                    <a:pt x="7953" y="4018"/>
                  </a:lnTo>
                  <a:lnTo>
                    <a:pt x="7978" y="4021"/>
                  </a:lnTo>
                  <a:lnTo>
                    <a:pt x="8003" y="4023"/>
                  </a:lnTo>
                  <a:lnTo>
                    <a:pt x="8029" y="4024"/>
                  </a:lnTo>
                  <a:lnTo>
                    <a:pt x="8055" y="4023"/>
                  </a:lnTo>
                  <a:lnTo>
                    <a:pt x="8080" y="4021"/>
                  </a:lnTo>
                  <a:lnTo>
                    <a:pt x="8105" y="4018"/>
                  </a:lnTo>
                  <a:lnTo>
                    <a:pt x="8130" y="4014"/>
                  </a:lnTo>
                  <a:lnTo>
                    <a:pt x="8154" y="4008"/>
                  </a:lnTo>
                  <a:lnTo>
                    <a:pt x="8179" y="4002"/>
                  </a:lnTo>
                  <a:lnTo>
                    <a:pt x="8202" y="3994"/>
                  </a:lnTo>
                  <a:lnTo>
                    <a:pt x="8224" y="3985"/>
                  </a:lnTo>
                  <a:lnTo>
                    <a:pt x="8247" y="3974"/>
                  </a:lnTo>
                  <a:lnTo>
                    <a:pt x="8268" y="3963"/>
                  </a:lnTo>
                  <a:lnTo>
                    <a:pt x="8289" y="3951"/>
                  </a:lnTo>
                  <a:lnTo>
                    <a:pt x="8309" y="3938"/>
                  </a:lnTo>
                  <a:lnTo>
                    <a:pt x="8329" y="3924"/>
                  </a:lnTo>
                  <a:lnTo>
                    <a:pt x="8348" y="3909"/>
                  </a:lnTo>
                  <a:lnTo>
                    <a:pt x="8366" y="3893"/>
                  </a:lnTo>
                  <a:lnTo>
                    <a:pt x="8383" y="3877"/>
                  </a:lnTo>
                  <a:lnTo>
                    <a:pt x="8400" y="3859"/>
                  </a:lnTo>
                  <a:lnTo>
                    <a:pt x="8416" y="3841"/>
                  </a:lnTo>
                  <a:lnTo>
                    <a:pt x="8431" y="3822"/>
                  </a:lnTo>
                  <a:lnTo>
                    <a:pt x="8446" y="3802"/>
                  </a:lnTo>
                  <a:lnTo>
                    <a:pt x="8459" y="3781"/>
                  </a:lnTo>
                  <a:lnTo>
                    <a:pt x="8471" y="3760"/>
                  </a:lnTo>
                  <a:lnTo>
                    <a:pt x="8482" y="3739"/>
                  </a:lnTo>
                  <a:lnTo>
                    <a:pt x="8492" y="3717"/>
                  </a:lnTo>
                  <a:lnTo>
                    <a:pt x="8501" y="3694"/>
                  </a:lnTo>
                  <a:lnTo>
                    <a:pt x="8508" y="3671"/>
                  </a:lnTo>
                  <a:lnTo>
                    <a:pt x="8515" y="3647"/>
                  </a:lnTo>
                  <a:lnTo>
                    <a:pt x="8521" y="3622"/>
                  </a:lnTo>
                  <a:lnTo>
                    <a:pt x="8525" y="3597"/>
                  </a:lnTo>
                  <a:lnTo>
                    <a:pt x="8528" y="3572"/>
                  </a:lnTo>
                  <a:lnTo>
                    <a:pt x="8530" y="3547"/>
                  </a:lnTo>
                  <a:lnTo>
                    <a:pt x="8531" y="3521"/>
                  </a:lnTo>
                  <a:lnTo>
                    <a:pt x="8531" y="2515"/>
                  </a:lnTo>
                  <a:lnTo>
                    <a:pt x="11542" y="2515"/>
                  </a:lnTo>
                  <a:lnTo>
                    <a:pt x="11542" y="3521"/>
                  </a:lnTo>
                  <a:lnTo>
                    <a:pt x="11543" y="3547"/>
                  </a:lnTo>
                  <a:lnTo>
                    <a:pt x="11545" y="3572"/>
                  </a:lnTo>
                  <a:lnTo>
                    <a:pt x="11548" y="3597"/>
                  </a:lnTo>
                  <a:lnTo>
                    <a:pt x="11552" y="3622"/>
                  </a:lnTo>
                  <a:lnTo>
                    <a:pt x="11558" y="3647"/>
                  </a:lnTo>
                  <a:lnTo>
                    <a:pt x="11564" y="3671"/>
                  </a:lnTo>
                  <a:lnTo>
                    <a:pt x="11572" y="3694"/>
                  </a:lnTo>
                  <a:lnTo>
                    <a:pt x="11581" y="3717"/>
                  </a:lnTo>
                  <a:lnTo>
                    <a:pt x="11591" y="3739"/>
                  </a:lnTo>
                  <a:lnTo>
                    <a:pt x="11602" y="3760"/>
                  </a:lnTo>
                  <a:lnTo>
                    <a:pt x="11614" y="3781"/>
                  </a:lnTo>
                  <a:lnTo>
                    <a:pt x="11627" y="3802"/>
                  </a:lnTo>
                  <a:lnTo>
                    <a:pt x="11641" y="3822"/>
                  </a:lnTo>
                  <a:lnTo>
                    <a:pt x="11656" y="3841"/>
                  </a:lnTo>
                  <a:lnTo>
                    <a:pt x="11672" y="3859"/>
                  </a:lnTo>
                  <a:lnTo>
                    <a:pt x="11688" y="3877"/>
                  </a:lnTo>
                  <a:lnTo>
                    <a:pt x="11706" y="3893"/>
                  </a:lnTo>
                  <a:lnTo>
                    <a:pt x="11724" y="3909"/>
                  </a:lnTo>
                  <a:lnTo>
                    <a:pt x="11743" y="3924"/>
                  </a:lnTo>
                  <a:lnTo>
                    <a:pt x="11762" y="3938"/>
                  </a:lnTo>
                  <a:lnTo>
                    <a:pt x="11784" y="3951"/>
                  </a:lnTo>
                  <a:lnTo>
                    <a:pt x="11805" y="3963"/>
                  </a:lnTo>
                  <a:lnTo>
                    <a:pt x="11826" y="3974"/>
                  </a:lnTo>
                  <a:lnTo>
                    <a:pt x="11848" y="3985"/>
                  </a:lnTo>
                  <a:lnTo>
                    <a:pt x="11871" y="3994"/>
                  </a:lnTo>
                  <a:lnTo>
                    <a:pt x="11894" y="4002"/>
                  </a:lnTo>
                  <a:lnTo>
                    <a:pt x="11918" y="4008"/>
                  </a:lnTo>
                  <a:lnTo>
                    <a:pt x="11942" y="4014"/>
                  </a:lnTo>
                  <a:lnTo>
                    <a:pt x="11967" y="4018"/>
                  </a:lnTo>
                  <a:lnTo>
                    <a:pt x="11992" y="4021"/>
                  </a:lnTo>
                  <a:lnTo>
                    <a:pt x="12017" y="4023"/>
                  </a:lnTo>
                  <a:lnTo>
                    <a:pt x="12044" y="4024"/>
                  </a:lnTo>
                  <a:lnTo>
                    <a:pt x="12070" y="4023"/>
                  </a:lnTo>
                  <a:lnTo>
                    <a:pt x="12095" y="4021"/>
                  </a:lnTo>
                  <a:lnTo>
                    <a:pt x="12120" y="4018"/>
                  </a:lnTo>
                  <a:lnTo>
                    <a:pt x="12145" y="4014"/>
                  </a:lnTo>
                  <a:lnTo>
                    <a:pt x="12169" y="4008"/>
                  </a:lnTo>
                  <a:lnTo>
                    <a:pt x="12193" y="4002"/>
                  </a:lnTo>
                  <a:lnTo>
                    <a:pt x="12216" y="3994"/>
                  </a:lnTo>
                  <a:lnTo>
                    <a:pt x="12238" y="3985"/>
                  </a:lnTo>
                  <a:lnTo>
                    <a:pt x="12261" y="3974"/>
                  </a:lnTo>
                  <a:lnTo>
                    <a:pt x="12282" y="3963"/>
                  </a:lnTo>
                  <a:lnTo>
                    <a:pt x="12303" y="3951"/>
                  </a:lnTo>
                  <a:lnTo>
                    <a:pt x="12324" y="3938"/>
                  </a:lnTo>
                  <a:lnTo>
                    <a:pt x="12344" y="3924"/>
                  </a:lnTo>
                  <a:lnTo>
                    <a:pt x="12363" y="3909"/>
                  </a:lnTo>
                  <a:lnTo>
                    <a:pt x="12381" y="3893"/>
                  </a:lnTo>
                  <a:lnTo>
                    <a:pt x="12398" y="3877"/>
                  </a:lnTo>
                  <a:lnTo>
                    <a:pt x="12415" y="3859"/>
                  </a:lnTo>
                  <a:lnTo>
                    <a:pt x="12431" y="3841"/>
                  </a:lnTo>
                  <a:lnTo>
                    <a:pt x="12446" y="3822"/>
                  </a:lnTo>
                  <a:lnTo>
                    <a:pt x="12460" y="3802"/>
                  </a:lnTo>
                  <a:lnTo>
                    <a:pt x="12473" y="3781"/>
                  </a:lnTo>
                  <a:lnTo>
                    <a:pt x="12485" y="3760"/>
                  </a:lnTo>
                  <a:lnTo>
                    <a:pt x="12496" y="3739"/>
                  </a:lnTo>
                  <a:lnTo>
                    <a:pt x="12506" y="3717"/>
                  </a:lnTo>
                  <a:lnTo>
                    <a:pt x="12515" y="3694"/>
                  </a:lnTo>
                  <a:lnTo>
                    <a:pt x="12522" y="3671"/>
                  </a:lnTo>
                  <a:lnTo>
                    <a:pt x="12529" y="3647"/>
                  </a:lnTo>
                  <a:lnTo>
                    <a:pt x="12535" y="3622"/>
                  </a:lnTo>
                  <a:lnTo>
                    <a:pt x="12539" y="3597"/>
                  </a:lnTo>
                  <a:lnTo>
                    <a:pt x="12542" y="3572"/>
                  </a:lnTo>
                  <a:lnTo>
                    <a:pt x="12544" y="3547"/>
                  </a:lnTo>
                  <a:lnTo>
                    <a:pt x="12545" y="3521"/>
                  </a:lnTo>
                  <a:lnTo>
                    <a:pt x="12545" y="2515"/>
                  </a:lnTo>
                  <a:lnTo>
                    <a:pt x="14719" y="2515"/>
                  </a:lnTo>
                  <a:lnTo>
                    <a:pt x="14737" y="2515"/>
                  </a:lnTo>
                  <a:lnTo>
                    <a:pt x="14754" y="2517"/>
                  </a:lnTo>
                  <a:lnTo>
                    <a:pt x="14770" y="2519"/>
                  </a:lnTo>
                  <a:lnTo>
                    <a:pt x="14787" y="2522"/>
                  </a:lnTo>
                  <a:lnTo>
                    <a:pt x="14803" y="2525"/>
                  </a:lnTo>
                  <a:lnTo>
                    <a:pt x="14820" y="2530"/>
                  </a:lnTo>
                  <a:lnTo>
                    <a:pt x="14835" y="2535"/>
                  </a:lnTo>
                  <a:lnTo>
                    <a:pt x="14850" y="2541"/>
                  </a:lnTo>
                  <a:lnTo>
                    <a:pt x="14865" y="2548"/>
                  </a:lnTo>
                  <a:lnTo>
                    <a:pt x="14879" y="2555"/>
                  </a:lnTo>
                  <a:lnTo>
                    <a:pt x="14893" y="2563"/>
                  </a:lnTo>
                  <a:lnTo>
                    <a:pt x="14907" y="2572"/>
                  </a:lnTo>
                  <a:lnTo>
                    <a:pt x="14920" y="2581"/>
                  </a:lnTo>
                  <a:lnTo>
                    <a:pt x="14932" y="2591"/>
                  </a:lnTo>
                  <a:lnTo>
                    <a:pt x="14945" y="2602"/>
                  </a:lnTo>
                  <a:lnTo>
                    <a:pt x="14956" y="2613"/>
                  </a:lnTo>
                  <a:lnTo>
                    <a:pt x="14967" y="2624"/>
                  </a:lnTo>
                  <a:lnTo>
                    <a:pt x="14978" y="2637"/>
                  </a:lnTo>
                  <a:lnTo>
                    <a:pt x="14988" y="2650"/>
                  </a:lnTo>
                  <a:lnTo>
                    <a:pt x="14997" y="2663"/>
                  </a:lnTo>
                  <a:lnTo>
                    <a:pt x="15006" y="2676"/>
                  </a:lnTo>
                  <a:lnTo>
                    <a:pt x="15014" y="2690"/>
                  </a:lnTo>
                  <a:lnTo>
                    <a:pt x="15021" y="2705"/>
                  </a:lnTo>
                  <a:lnTo>
                    <a:pt x="15028" y="2720"/>
                  </a:lnTo>
                  <a:lnTo>
                    <a:pt x="15034" y="2735"/>
                  </a:lnTo>
                  <a:lnTo>
                    <a:pt x="15039" y="2750"/>
                  </a:lnTo>
                  <a:lnTo>
                    <a:pt x="15043" y="2766"/>
                  </a:lnTo>
                  <a:lnTo>
                    <a:pt x="15047" y="2782"/>
                  </a:lnTo>
                  <a:lnTo>
                    <a:pt x="15050" y="2799"/>
                  </a:lnTo>
                  <a:lnTo>
                    <a:pt x="15052" y="2816"/>
                  </a:lnTo>
                  <a:lnTo>
                    <a:pt x="15053" y="2833"/>
                  </a:lnTo>
                  <a:lnTo>
                    <a:pt x="15054" y="2850"/>
                  </a:lnTo>
                  <a:lnTo>
                    <a:pt x="15054" y="14754"/>
                  </a:lnTo>
                  <a:close/>
                  <a:moveTo>
                    <a:pt x="14719" y="1509"/>
                  </a:moveTo>
                  <a:lnTo>
                    <a:pt x="12545" y="1509"/>
                  </a:lnTo>
                  <a:lnTo>
                    <a:pt x="12545" y="503"/>
                  </a:lnTo>
                  <a:lnTo>
                    <a:pt x="12544" y="477"/>
                  </a:lnTo>
                  <a:lnTo>
                    <a:pt x="12542" y="452"/>
                  </a:lnTo>
                  <a:lnTo>
                    <a:pt x="12539" y="427"/>
                  </a:lnTo>
                  <a:lnTo>
                    <a:pt x="12535" y="401"/>
                  </a:lnTo>
                  <a:lnTo>
                    <a:pt x="12529" y="377"/>
                  </a:lnTo>
                  <a:lnTo>
                    <a:pt x="12522" y="353"/>
                  </a:lnTo>
                  <a:lnTo>
                    <a:pt x="12515" y="330"/>
                  </a:lnTo>
                  <a:lnTo>
                    <a:pt x="12506" y="307"/>
                  </a:lnTo>
                  <a:lnTo>
                    <a:pt x="12496" y="285"/>
                  </a:lnTo>
                  <a:lnTo>
                    <a:pt x="12485" y="264"/>
                  </a:lnTo>
                  <a:lnTo>
                    <a:pt x="12473" y="242"/>
                  </a:lnTo>
                  <a:lnTo>
                    <a:pt x="12460" y="221"/>
                  </a:lnTo>
                  <a:lnTo>
                    <a:pt x="12446" y="202"/>
                  </a:lnTo>
                  <a:lnTo>
                    <a:pt x="12431" y="183"/>
                  </a:lnTo>
                  <a:lnTo>
                    <a:pt x="12415" y="165"/>
                  </a:lnTo>
                  <a:lnTo>
                    <a:pt x="12398" y="147"/>
                  </a:lnTo>
                  <a:lnTo>
                    <a:pt x="12381" y="131"/>
                  </a:lnTo>
                  <a:lnTo>
                    <a:pt x="12363" y="115"/>
                  </a:lnTo>
                  <a:lnTo>
                    <a:pt x="12344" y="100"/>
                  </a:lnTo>
                  <a:lnTo>
                    <a:pt x="12324" y="86"/>
                  </a:lnTo>
                  <a:lnTo>
                    <a:pt x="12303" y="72"/>
                  </a:lnTo>
                  <a:lnTo>
                    <a:pt x="12282" y="60"/>
                  </a:lnTo>
                  <a:lnTo>
                    <a:pt x="12261" y="49"/>
                  </a:lnTo>
                  <a:lnTo>
                    <a:pt x="12238" y="39"/>
                  </a:lnTo>
                  <a:lnTo>
                    <a:pt x="12216" y="30"/>
                  </a:lnTo>
                  <a:lnTo>
                    <a:pt x="12193" y="22"/>
                  </a:lnTo>
                  <a:lnTo>
                    <a:pt x="12169" y="16"/>
                  </a:lnTo>
                  <a:lnTo>
                    <a:pt x="12145" y="10"/>
                  </a:lnTo>
                  <a:lnTo>
                    <a:pt x="12120" y="6"/>
                  </a:lnTo>
                  <a:lnTo>
                    <a:pt x="12095" y="3"/>
                  </a:lnTo>
                  <a:lnTo>
                    <a:pt x="12070" y="1"/>
                  </a:lnTo>
                  <a:lnTo>
                    <a:pt x="12044" y="0"/>
                  </a:lnTo>
                  <a:lnTo>
                    <a:pt x="12017" y="1"/>
                  </a:lnTo>
                  <a:lnTo>
                    <a:pt x="11992" y="3"/>
                  </a:lnTo>
                  <a:lnTo>
                    <a:pt x="11967" y="6"/>
                  </a:lnTo>
                  <a:lnTo>
                    <a:pt x="11942" y="10"/>
                  </a:lnTo>
                  <a:lnTo>
                    <a:pt x="11918" y="16"/>
                  </a:lnTo>
                  <a:lnTo>
                    <a:pt x="11894" y="22"/>
                  </a:lnTo>
                  <a:lnTo>
                    <a:pt x="11871" y="30"/>
                  </a:lnTo>
                  <a:lnTo>
                    <a:pt x="11848" y="39"/>
                  </a:lnTo>
                  <a:lnTo>
                    <a:pt x="11826" y="49"/>
                  </a:lnTo>
                  <a:lnTo>
                    <a:pt x="11805" y="60"/>
                  </a:lnTo>
                  <a:lnTo>
                    <a:pt x="11784" y="72"/>
                  </a:lnTo>
                  <a:lnTo>
                    <a:pt x="11762" y="86"/>
                  </a:lnTo>
                  <a:lnTo>
                    <a:pt x="11743" y="100"/>
                  </a:lnTo>
                  <a:lnTo>
                    <a:pt x="11724" y="115"/>
                  </a:lnTo>
                  <a:lnTo>
                    <a:pt x="11706" y="131"/>
                  </a:lnTo>
                  <a:lnTo>
                    <a:pt x="11688" y="147"/>
                  </a:lnTo>
                  <a:lnTo>
                    <a:pt x="11672" y="165"/>
                  </a:lnTo>
                  <a:lnTo>
                    <a:pt x="11656" y="183"/>
                  </a:lnTo>
                  <a:lnTo>
                    <a:pt x="11641" y="202"/>
                  </a:lnTo>
                  <a:lnTo>
                    <a:pt x="11627" y="221"/>
                  </a:lnTo>
                  <a:lnTo>
                    <a:pt x="11614" y="242"/>
                  </a:lnTo>
                  <a:lnTo>
                    <a:pt x="11602" y="264"/>
                  </a:lnTo>
                  <a:lnTo>
                    <a:pt x="11591" y="285"/>
                  </a:lnTo>
                  <a:lnTo>
                    <a:pt x="11581" y="307"/>
                  </a:lnTo>
                  <a:lnTo>
                    <a:pt x="11572" y="330"/>
                  </a:lnTo>
                  <a:lnTo>
                    <a:pt x="11564" y="353"/>
                  </a:lnTo>
                  <a:lnTo>
                    <a:pt x="11558" y="377"/>
                  </a:lnTo>
                  <a:lnTo>
                    <a:pt x="11552" y="401"/>
                  </a:lnTo>
                  <a:lnTo>
                    <a:pt x="11548" y="427"/>
                  </a:lnTo>
                  <a:lnTo>
                    <a:pt x="11545" y="452"/>
                  </a:lnTo>
                  <a:lnTo>
                    <a:pt x="11543" y="477"/>
                  </a:lnTo>
                  <a:lnTo>
                    <a:pt x="11542" y="503"/>
                  </a:lnTo>
                  <a:lnTo>
                    <a:pt x="11542" y="1509"/>
                  </a:lnTo>
                  <a:lnTo>
                    <a:pt x="8531" y="1509"/>
                  </a:lnTo>
                  <a:lnTo>
                    <a:pt x="8531" y="503"/>
                  </a:lnTo>
                  <a:lnTo>
                    <a:pt x="8530" y="477"/>
                  </a:lnTo>
                  <a:lnTo>
                    <a:pt x="8528" y="452"/>
                  </a:lnTo>
                  <a:lnTo>
                    <a:pt x="8525" y="427"/>
                  </a:lnTo>
                  <a:lnTo>
                    <a:pt x="8521" y="401"/>
                  </a:lnTo>
                  <a:lnTo>
                    <a:pt x="8515" y="377"/>
                  </a:lnTo>
                  <a:lnTo>
                    <a:pt x="8508" y="353"/>
                  </a:lnTo>
                  <a:lnTo>
                    <a:pt x="8501" y="330"/>
                  </a:lnTo>
                  <a:lnTo>
                    <a:pt x="8492" y="307"/>
                  </a:lnTo>
                  <a:lnTo>
                    <a:pt x="8482" y="285"/>
                  </a:lnTo>
                  <a:lnTo>
                    <a:pt x="8471" y="264"/>
                  </a:lnTo>
                  <a:lnTo>
                    <a:pt x="8459" y="242"/>
                  </a:lnTo>
                  <a:lnTo>
                    <a:pt x="8446" y="221"/>
                  </a:lnTo>
                  <a:lnTo>
                    <a:pt x="8431" y="202"/>
                  </a:lnTo>
                  <a:lnTo>
                    <a:pt x="8416" y="183"/>
                  </a:lnTo>
                  <a:lnTo>
                    <a:pt x="8400" y="165"/>
                  </a:lnTo>
                  <a:lnTo>
                    <a:pt x="8383" y="147"/>
                  </a:lnTo>
                  <a:lnTo>
                    <a:pt x="8366" y="131"/>
                  </a:lnTo>
                  <a:lnTo>
                    <a:pt x="8348" y="115"/>
                  </a:lnTo>
                  <a:lnTo>
                    <a:pt x="8329" y="100"/>
                  </a:lnTo>
                  <a:lnTo>
                    <a:pt x="8309" y="86"/>
                  </a:lnTo>
                  <a:lnTo>
                    <a:pt x="8289" y="72"/>
                  </a:lnTo>
                  <a:lnTo>
                    <a:pt x="8268" y="60"/>
                  </a:lnTo>
                  <a:lnTo>
                    <a:pt x="8247" y="49"/>
                  </a:lnTo>
                  <a:lnTo>
                    <a:pt x="8224" y="39"/>
                  </a:lnTo>
                  <a:lnTo>
                    <a:pt x="8202" y="30"/>
                  </a:lnTo>
                  <a:lnTo>
                    <a:pt x="8179" y="22"/>
                  </a:lnTo>
                  <a:lnTo>
                    <a:pt x="8154" y="16"/>
                  </a:lnTo>
                  <a:lnTo>
                    <a:pt x="8130" y="10"/>
                  </a:lnTo>
                  <a:lnTo>
                    <a:pt x="8105" y="6"/>
                  </a:lnTo>
                  <a:lnTo>
                    <a:pt x="8080" y="3"/>
                  </a:lnTo>
                  <a:lnTo>
                    <a:pt x="8055" y="1"/>
                  </a:lnTo>
                  <a:lnTo>
                    <a:pt x="8029" y="0"/>
                  </a:lnTo>
                  <a:lnTo>
                    <a:pt x="8003" y="1"/>
                  </a:lnTo>
                  <a:lnTo>
                    <a:pt x="7978" y="3"/>
                  </a:lnTo>
                  <a:lnTo>
                    <a:pt x="7953" y="6"/>
                  </a:lnTo>
                  <a:lnTo>
                    <a:pt x="7928" y="10"/>
                  </a:lnTo>
                  <a:lnTo>
                    <a:pt x="7904" y="16"/>
                  </a:lnTo>
                  <a:lnTo>
                    <a:pt x="7879" y="22"/>
                  </a:lnTo>
                  <a:lnTo>
                    <a:pt x="7856" y="30"/>
                  </a:lnTo>
                  <a:lnTo>
                    <a:pt x="7833" y="39"/>
                  </a:lnTo>
                  <a:lnTo>
                    <a:pt x="7811" y="49"/>
                  </a:lnTo>
                  <a:lnTo>
                    <a:pt x="7790" y="60"/>
                  </a:lnTo>
                  <a:lnTo>
                    <a:pt x="7769" y="72"/>
                  </a:lnTo>
                  <a:lnTo>
                    <a:pt x="7748" y="86"/>
                  </a:lnTo>
                  <a:lnTo>
                    <a:pt x="7729" y="100"/>
                  </a:lnTo>
                  <a:lnTo>
                    <a:pt x="7710" y="115"/>
                  </a:lnTo>
                  <a:lnTo>
                    <a:pt x="7692" y="131"/>
                  </a:lnTo>
                  <a:lnTo>
                    <a:pt x="7674" y="147"/>
                  </a:lnTo>
                  <a:lnTo>
                    <a:pt x="7658" y="165"/>
                  </a:lnTo>
                  <a:lnTo>
                    <a:pt x="7642" y="183"/>
                  </a:lnTo>
                  <a:lnTo>
                    <a:pt x="7627" y="202"/>
                  </a:lnTo>
                  <a:lnTo>
                    <a:pt x="7612" y="221"/>
                  </a:lnTo>
                  <a:lnTo>
                    <a:pt x="7599" y="242"/>
                  </a:lnTo>
                  <a:lnTo>
                    <a:pt x="7587" y="264"/>
                  </a:lnTo>
                  <a:lnTo>
                    <a:pt x="7576" y="285"/>
                  </a:lnTo>
                  <a:lnTo>
                    <a:pt x="7566" y="307"/>
                  </a:lnTo>
                  <a:lnTo>
                    <a:pt x="7557" y="330"/>
                  </a:lnTo>
                  <a:lnTo>
                    <a:pt x="7549" y="353"/>
                  </a:lnTo>
                  <a:lnTo>
                    <a:pt x="7543" y="377"/>
                  </a:lnTo>
                  <a:lnTo>
                    <a:pt x="7537" y="401"/>
                  </a:lnTo>
                  <a:lnTo>
                    <a:pt x="7533" y="427"/>
                  </a:lnTo>
                  <a:lnTo>
                    <a:pt x="7529" y="452"/>
                  </a:lnTo>
                  <a:lnTo>
                    <a:pt x="7528" y="477"/>
                  </a:lnTo>
                  <a:lnTo>
                    <a:pt x="7527" y="503"/>
                  </a:lnTo>
                  <a:lnTo>
                    <a:pt x="7527" y="1509"/>
                  </a:lnTo>
                  <a:lnTo>
                    <a:pt x="4516" y="1509"/>
                  </a:lnTo>
                  <a:lnTo>
                    <a:pt x="4516" y="503"/>
                  </a:lnTo>
                  <a:lnTo>
                    <a:pt x="4515" y="477"/>
                  </a:lnTo>
                  <a:lnTo>
                    <a:pt x="4513" y="452"/>
                  </a:lnTo>
                  <a:lnTo>
                    <a:pt x="4510" y="427"/>
                  </a:lnTo>
                  <a:lnTo>
                    <a:pt x="4506" y="401"/>
                  </a:lnTo>
                  <a:lnTo>
                    <a:pt x="4500" y="377"/>
                  </a:lnTo>
                  <a:lnTo>
                    <a:pt x="4493" y="353"/>
                  </a:lnTo>
                  <a:lnTo>
                    <a:pt x="4486" y="330"/>
                  </a:lnTo>
                  <a:lnTo>
                    <a:pt x="4477" y="307"/>
                  </a:lnTo>
                  <a:lnTo>
                    <a:pt x="4467" y="285"/>
                  </a:lnTo>
                  <a:lnTo>
                    <a:pt x="4456" y="264"/>
                  </a:lnTo>
                  <a:lnTo>
                    <a:pt x="4444" y="242"/>
                  </a:lnTo>
                  <a:lnTo>
                    <a:pt x="4431" y="221"/>
                  </a:lnTo>
                  <a:lnTo>
                    <a:pt x="4417" y="202"/>
                  </a:lnTo>
                  <a:lnTo>
                    <a:pt x="4402" y="183"/>
                  </a:lnTo>
                  <a:lnTo>
                    <a:pt x="4386" y="165"/>
                  </a:lnTo>
                  <a:lnTo>
                    <a:pt x="4369" y="147"/>
                  </a:lnTo>
                  <a:lnTo>
                    <a:pt x="4352" y="131"/>
                  </a:lnTo>
                  <a:lnTo>
                    <a:pt x="4334" y="115"/>
                  </a:lnTo>
                  <a:lnTo>
                    <a:pt x="4315" y="100"/>
                  </a:lnTo>
                  <a:lnTo>
                    <a:pt x="4295" y="86"/>
                  </a:lnTo>
                  <a:lnTo>
                    <a:pt x="4274" y="72"/>
                  </a:lnTo>
                  <a:lnTo>
                    <a:pt x="4253" y="60"/>
                  </a:lnTo>
                  <a:lnTo>
                    <a:pt x="4232" y="49"/>
                  </a:lnTo>
                  <a:lnTo>
                    <a:pt x="4210" y="39"/>
                  </a:lnTo>
                  <a:lnTo>
                    <a:pt x="4187" y="30"/>
                  </a:lnTo>
                  <a:lnTo>
                    <a:pt x="4164" y="22"/>
                  </a:lnTo>
                  <a:lnTo>
                    <a:pt x="4140" y="16"/>
                  </a:lnTo>
                  <a:lnTo>
                    <a:pt x="4116" y="10"/>
                  </a:lnTo>
                  <a:lnTo>
                    <a:pt x="4091" y="6"/>
                  </a:lnTo>
                  <a:lnTo>
                    <a:pt x="4066" y="3"/>
                  </a:lnTo>
                  <a:lnTo>
                    <a:pt x="4041" y="1"/>
                  </a:lnTo>
                  <a:lnTo>
                    <a:pt x="4015" y="0"/>
                  </a:lnTo>
                  <a:lnTo>
                    <a:pt x="3988" y="1"/>
                  </a:lnTo>
                  <a:lnTo>
                    <a:pt x="3963" y="3"/>
                  </a:lnTo>
                  <a:lnTo>
                    <a:pt x="3938" y="6"/>
                  </a:lnTo>
                  <a:lnTo>
                    <a:pt x="3913" y="10"/>
                  </a:lnTo>
                  <a:lnTo>
                    <a:pt x="3889" y="16"/>
                  </a:lnTo>
                  <a:lnTo>
                    <a:pt x="3865" y="22"/>
                  </a:lnTo>
                  <a:lnTo>
                    <a:pt x="3842" y="30"/>
                  </a:lnTo>
                  <a:lnTo>
                    <a:pt x="3819" y="39"/>
                  </a:lnTo>
                  <a:lnTo>
                    <a:pt x="3797" y="49"/>
                  </a:lnTo>
                  <a:lnTo>
                    <a:pt x="3776" y="60"/>
                  </a:lnTo>
                  <a:lnTo>
                    <a:pt x="3755" y="72"/>
                  </a:lnTo>
                  <a:lnTo>
                    <a:pt x="3733" y="86"/>
                  </a:lnTo>
                  <a:lnTo>
                    <a:pt x="3714" y="100"/>
                  </a:lnTo>
                  <a:lnTo>
                    <a:pt x="3695" y="115"/>
                  </a:lnTo>
                  <a:lnTo>
                    <a:pt x="3677" y="131"/>
                  </a:lnTo>
                  <a:lnTo>
                    <a:pt x="3659" y="147"/>
                  </a:lnTo>
                  <a:lnTo>
                    <a:pt x="3643" y="165"/>
                  </a:lnTo>
                  <a:lnTo>
                    <a:pt x="3627" y="183"/>
                  </a:lnTo>
                  <a:lnTo>
                    <a:pt x="3612" y="202"/>
                  </a:lnTo>
                  <a:lnTo>
                    <a:pt x="3598" y="221"/>
                  </a:lnTo>
                  <a:lnTo>
                    <a:pt x="3585" y="242"/>
                  </a:lnTo>
                  <a:lnTo>
                    <a:pt x="3573" y="264"/>
                  </a:lnTo>
                  <a:lnTo>
                    <a:pt x="3562" y="285"/>
                  </a:lnTo>
                  <a:lnTo>
                    <a:pt x="3552" y="307"/>
                  </a:lnTo>
                  <a:lnTo>
                    <a:pt x="3543" y="330"/>
                  </a:lnTo>
                  <a:lnTo>
                    <a:pt x="3535" y="353"/>
                  </a:lnTo>
                  <a:lnTo>
                    <a:pt x="3529" y="377"/>
                  </a:lnTo>
                  <a:lnTo>
                    <a:pt x="3523" y="401"/>
                  </a:lnTo>
                  <a:lnTo>
                    <a:pt x="3519" y="427"/>
                  </a:lnTo>
                  <a:lnTo>
                    <a:pt x="3515" y="452"/>
                  </a:lnTo>
                  <a:lnTo>
                    <a:pt x="3514" y="477"/>
                  </a:lnTo>
                  <a:lnTo>
                    <a:pt x="3513" y="503"/>
                  </a:lnTo>
                  <a:lnTo>
                    <a:pt x="3513" y="1509"/>
                  </a:lnTo>
                  <a:lnTo>
                    <a:pt x="1338" y="1509"/>
                  </a:lnTo>
                  <a:lnTo>
                    <a:pt x="1270" y="1511"/>
                  </a:lnTo>
                  <a:lnTo>
                    <a:pt x="1201" y="1516"/>
                  </a:lnTo>
                  <a:lnTo>
                    <a:pt x="1134" y="1524"/>
                  </a:lnTo>
                  <a:lnTo>
                    <a:pt x="1069" y="1536"/>
                  </a:lnTo>
                  <a:lnTo>
                    <a:pt x="1004" y="1551"/>
                  </a:lnTo>
                  <a:lnTo>
                    <a:pt x="940" y="1569"/>
                  </a:lnTo>
                  <a:lnTo>
                    <a:pt x="878" y="1590"/>
                  </a:lnTo>
                  <a:lnTo>
                    <a:pt x="817" y="1615"/>
                  </a:lnTo>
                  <a:lnTo>
                    <a:pt x="758" y="1641"/>
                  </a:lnTo>
                  <a:lnTo>
                    <a:pt x="701" y="1671"/>
                  </a:lnTo>
                  <a:lnTo>
                    <a:pt x="644" y="1703"/>
                  </a:lnTo>
                  <a:lnTo>
                    <a:pt x="590" y="1738"/>
                  </a:lnTo>
                  <a:lnTo>
                    <a:pt x="538" y="1775"/>
                  </a:lnTo>
                  <a:lnTo>
                    <a:pt x="487" y="1815"/>
                  </a:lnTo>
                  <a:lnTo>
                    <a:pt x="439" y="1857"/>
                  </a:lnTo>
                  <a:lnTo>
                    <a:pt x="391" y="1901"/>
                  </a:lnTo>
                  <a:lnTo>
                    <a:pt x="347" y="1949"/>
                  </a:lnTo>
                  <a:lnTo>
                    <a:pt x="305" y="1997"/>
                  </a:lnTo>
                  <a:lnTo>
                    <a:pt x="266" y="2047"/>
                  </a:lnTo>
                  <a:lnTo>
                    <a:pt x="229" y="2100"/>
                  </a:lnTo>
                  <a:lnTo>
                    <a:pt x="194" y="2155"/>
                  </a:lnTo>
                  <a:lnTo>
                    <a:pt x="162" y="2210"/>
                  </a:lnTo>
                  <a:lnTo>
                    <a:pt x="131" y="2268"/>
                  </a:lnTo>
                  <a:lnTo>
                    <a:pt x="105" y="2328"/>
                  </a:lnTo>
                  <a:lnTo>
                    <a:pt x="81" y="2389"/>
                  </a:lnTo>
                  <a:lnTo>
                    <a:pt x="60" y="2450"/>
                  </a:lnTo>
                  <a:lnTo>
                    <a:pt x="42" y="2515"/>
                  </a:lnTo>
                  <a:lnTo>
                    <a:pt x="27" y="2579"/>
                  </a:lnTo>
                  <a:lnTo>
                    <a:pt x="15" y="2646"/>
                  </a:lnTo>
                  <a:lnTo>
                    <a:pt x="7" y="2713"/>
                  </a:lnTo>
                  <a:lnTo>
                    <a:pt x="2" y="2780"/>
                  </a:lnTo>
                  <a:lnTo>
                    <a:pt x="0" y="2850"/>
                  </a:lnTo>
                  <a:lnTo>
                    <a:pt x="0" y="14754"/>
                  </a:lnTo>
                  <a:lnTo>
                    <a:pt x="2" y="14822"/>
                  </a:lnTo>
                  <a:lnTo>
                    <a:pt x="7" y="14891"/>
                  </a:lnTo>
                  <a:lnTo>
                    <a:pt x="15" y="14958"/>
                  </a:lnTo>
                  <a:lnTo>
                    <a:pt x="27" y="15024"/>
                  </a:lnTo>
                  <a:lnTo>
                    <a:pt x="42" y="15089"/>
                  </a:lnTo>
                  <a:lnTo>
                    <a:pt x="60" y="15152"/>
                  </a:lnTo>
                  <a:lnTo>
                    <a:pt x="81" y="15215"/>
                  </a:lnTo>
                  <a:lnTo>
                    <a:pt x="105" y="15276"/>
                  </a:lnTo>
                  <a:lnTo>
                    <a:pt x="131" y="15336"/>
                  </a:lnTo>
                  <a:lnTo>
                    <a:pt x="162" y="15393"/>
                  </a:lnTo>
                  <a:lnTo>
                    <a:pt x="194" y="15449"/>
                  </a:lnTo>
                  <a:lnTo>
                    <a:pt x="229" y="15504"/>
                  </a:lnTo>
                  <a:lnTo>
                    <a:pt x="266" y="15556"/>
                  </a:lnTo>
                  <a:lnTo>
                    <a:pt x="305" y="15607"/>
                  </a:lnTo>
                  <a:lnTo>
                    <a:pt x="347" y="15655"/>
                  </a:lnTo>
                  <a:lnTo>
                    <a:pt x="391" y="15702"/>
                  </a:lnTo>
                  <a:lnTo>
                    <a:pt x="439" y="15747"/>
                  </a:lnTo>
                  <a:lnTo>
                    <a:pt x="487" y="15789"/>
                  </a:lnTo>
                  <a:lnTo>
                    <a:pt x="538" y="15828"/>
                  </a:lnTo>
                  <a:lnTo>
                    <a:pt x="590" y="15866"/>
                  </a:lnTo>
                  <a:lnTo>
                    <a:pt x="644" y="15901"/>
                  </a:lnTo>
                  <a:lnTo>
                    <a:pt x="701" y="15933"/>
                  </a:lnTo>
                  <a:lnTo>
                    <a:pt x="758" y="15963"/>
                  </a:lnTo>
                  <a:lnTo>
                    <a:pt x="817" y="15989"/>
                  </a:lnTo>
                  <a:lnTo>
                    <a:pt x="878" y="16014"/>
                  </a:lnTo>
                  <a:lnTo>
                    <a:pt x="940" y="16035"/>
                  </a:lnTo>
                  <a:lnTo>
                    <a:pt x="1004" y="16053"/>
                  </a:lnTo>
                  <a:lnTo>
                    <a:pt x="1069" y="16068"/>
                  </a:lnTo>
                  <a:lnTo>
                    <a:pt x="1134" y="16080"/>
                  </a:lnTo>
                  <a:lnTo>
                    <a:pt x="1201" y="16088"/>
                  </a:lnTo>
                  <a:lnTo>
                    <a:pt x="1270" y="16093"/>
                  </a:lnTo>
                  <a:lnTo>
                    <a:pt x="1338" y="16095"/>
                  </a:lnTo>
                  <a:lnTo>
                    <a:pt x="14719" y="16095"/>
                  </a:lnTo>
                  <a:lnTo>
                    <a:pt x="14788" y="16093"/>
                  </a:lnTo>
                  <a:lnTo>
                    <a:pt x="14857" y="16088"/>
                  </a:lnTo>
                  <a:lnTo>
                    <a:pt x="14924" y="16080"/>
                  </a:lnTo>
                  <a:lnTo>
                    <a:pt x="14989" y="16068"/>
                  </a:lnTo>
                  <a:lnTo>
                    <a:pt x="15054" y="16053"/>
                  </a:lnTo>
                  <a:lnTo>
                    <a:pt x="15118" y="16035"/>
                  </a:lnTo>
                  <a:lnTo>
                    <a:pt x="15180" y="16014"/>
                  </a:lnTo>
                  <a:lnTo>
                    <a:pt x="15241" y="15989"/>
                  </a:lnTo>
                  <a:lnTo>
                    <a:pt x="15300" y="15963"/>
                  </a:lnTo>
                  <a:lnTo>
                    <a:pt x="15357" y="15933"/>
                  </a:lnTo>
                  <a:lnTo>
                    <a:pt x="15414" y="15901"/>
                  </a:lnTo>
                  <a:lnTo>
                    <a:pt x="15468" y="15866"/>
                  </a:lnTo>
                  <a:lnTo>
                    <a:pt x="15520" y="15828"/>
                  </a:lnTo>
                  <a:lnTo>
                    <a:pt x="15571" y="15789"/>
                  </a:lnTo>
                  <a:lnTo>
                    <a:pt x="15619" y="15747"/>
                  </a:lnTo>
                  <a:lnTo>
                    <a:pt x="15666" y="15702"/>
                  </a:lnTo>
                  <a:lnTo>
                    <a:pt x="15711" y="15655"/>
                  </a:lnTo>
                  <a:lnTo>
                    <a:pt x="15752" y="15607"/>
                  </a:lnTo>
                  <a:lnTo>
                    <a:pt x="15792" y="15556"/>
                  </a:lnTo>
                  <a:lnTo>
                    <a:pt x="15829" y="15504"/>
                  </a:lnTo>
                  <a:lnTo>
                    <a:pt x="15864" y="15449"/>
                  </a:lnTo>
                  <a:lnTo>
                    <a:pt x="15896" y="15393"/>
                  </a:lnTo>
                  <a:lnTo>
                    <a:pt x="15926" y="15336"/>
                  </a:lnTo>
                  <a:lnTo>
                    <a:pt x="15953" y="15276"/>
                  </a:lnTo>
                  <a:lnTo>
                    <a:pt x="15977" y="15215"/>
                  </a:lnTo>
                  <a:lnTo>
                    <a:pt x="15998" y="15152"/>
                  </a:lnTo>
                  <a:lnTo>
                    <a:pt x="16016" y="15089"/>
                  </a:lnTo>
                  <a:lnTo>
                    <a:pt x="16031" y="15024"/>
                  </a:lnTo>
                  <a:lnTo>
                    <a:pt x="16043" y="14958"/>
                  </a:lnTo>
                  <a:lnTo>
                    <a:pt x="16051" y="14891"/>
                  </a:lnTo>
                  <a:lnTo>
                    <a:pt x="16056" y="14822"/>
                  </a:lnTo>
                  <a:lnTo>
                    <a:pt x="16058" y="14754"/>
                  </a:lnTo>
                  <a:lnTo>
                    <a:pt x="16058" y="2850"/>
                  </a:lnTo>
                  <a:lnTo>
                    <a:pt x="16056" y="2780"/>
                  </a:lnTo>
                  <a:lnTo>
                    <a:pt x="16051" y="2713"/>
                  </a:lnTo>
                  <a:lnTo>
                    <a:pt x="16043" y="2646"/>
                  </a:lnTo>
                  <a:lnTo>
                    <a:pt x="16031" y="2579"/>
                  </a:lnTo>
                  <a:lnTo>
                    <a:pt x="16016" y="2515"/>
                  </a:lnTo>
                  <a:lnTo>
                    <a:pt x="15998" y="2450"/>
                  </a:lnTo>
                  <a:lnTo>
                    <a:pt x="15977" y="2389"/>
                  </a:lnTo>
                  <a:lnTo>
                    <a:pt x="15953" y="2328"/>
                  </a:lnTo>
                  <a:lnTo>
                    <a:pt x="15926" y="2268"/>
                  </a:lnTo>
                  <a:lnTo>
                    <a:pt x="15896" y="2210"/>
                  </a:lnTo>
                  <a:lnTo>
                    <a:pt x="15864" y="2155"/>
                  </a:lnTo>
                  <a:lnTo>
                    <a:pt x="15829" y="2100"/>
                  </a:lnTo>
                  <a:lnTo>
                    <a:pt x="15792" y="2047"/>
                  </a:lnTo>
                  <a:lnTo>
                    <a:pt x="15752" y="1997"/>
                  </a:lnTo>
                  <a:lnTo>
                    <a:pt x="15711" y="1949"/>
                  </a:lnTo>
                  <a:lnTo>
                    <a:pt x="15666" y="1901"/>
                  </a:lnTo>
                  <a:lnTo>
                    <a:pt x="15619" y="1857"/>
                  </a:lnTo>
                  <a:lnTo>
                    <a:pt x="15571" y="1815"/>
                  </a:lnTo>
                  <a:lnTo>
                    <a:pt x="15520" y="1775"/>
                  </a:lnTo>
                  <a:lnTo>
                    <a:pt x="15468" y="1738"/>
                  </a:lnTo>
                  <a:lnTo>
                    <a:pt x="15414" y="1703"/>
                  </a:lnTo>
                  <a:lnTo>
                    <a:pt x="15357" y="1671"/>
                  </a:lnTo>
                  <a:lnTo>
                    <a:pt x="15300" y="1641"/>
                  </a:lnTo>
                  <a:lnTo>
                    <a:pt x="15241" y="1615"/>
                  </a:lnTo>
                  <a:lnTo>
                    <a:pt x="15180" y="1590"/>
                  </a:lnTo>
                  <a:lnTo>
                    <a:pt x="15118" y="1569"/>
                  </a:lnTo>
                  <a:lnTo>
                    <a:pt x="15054" y="1551"/>
                  </a:lnTo>
                  <a:lnTo>
                    <a:pt x="14989" y="1536"/>
                  </a:lnTo>
                  <a:lnTo>
                    <a:pt x="14924" y="1524"/>
                  </a:lnTo>
                  <a:lnTo>
                    <a:pt x="14857" y="1516"/>
                  </a:lnTo>
                  <a:lnTo>
                    <a:pt x="14788" y="1511"/>
                  </a:lnTo>
                  <a:lnTo>
                    <a:pt x="14719" y="15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06" name="íşlíḓè">
              <a:extLst>
                <a:ext uri="{FF2B5EF4-FFF2-40B4-BE49-F238E27FC236}">
                  <a16:creationId xmlns:a16="http://schemas.microsoft.com/office/drawing/2014/main" id="{6957A080-4C62-44E5-AF0B-9A9F63522196}"/>
                </a:ext>
              </a:extLst>
            </p:cNvPr>
            <p:cNvSpPr/>
            <p:nvPr/>
          </p:nvSpPr>
          <p:spPr bwMode="auto">
            <a:xfrm>
              <a:off x="8396814" y="1763750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07" name="îṡ1îdè">
              <a:extLst>
                <a:ext uri="{FF2B5EF4-FFF2-40B4-BE49-F238E27FC236}">
                  <a16:creationId xmlns:a16="http://schemas.microsoft.com/office/drawing/2014/main" id="{66939D9B-8648-4942-BCF0-3E97B9693752}"/>
                </a:ext>
              </a:extLst>
            </p:cNvPr>
            <p:cNvSpPr/>
            <p:nvPr/>
          </p:nvSpPr>
          <p:spPr bwMode="auto">
            <a:xfrm>
              <a:off x="8396814" y="1826986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08" name="îṥľiḑê">
              <a:extLst>
                <a:ext uri="{FF2B5EF4-FFF2-40B4-BE49-F238E27FC236}">
                  <a16:creationId xmlns:a16="http://schemas.microsoft.com/office/drawing/2014/main" id="{20F1E7AD-C905-4A58-B03A-C563116B76A1}"/>
                </a:ext>
              </a:extLst>
            </p:cNvPr>
            <p:cNvSpPr/>
            <p:nvPr/>
          </p:nvSpPr>
          <p:spPr bwMode="auto">
            <a:xfrm>
              <a:off x="8396814" y="1890221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09" name="íṡḻïḍê">
              <a:extLst>
                <a:ext uri="{FF2B5EF4-FFF2-40B4-BE49-F238E27FC236}">
                  <a16:creationId xmlns:a16="http://schemas.microsoft.com/office/drawing/2014/main" id="{7BE9546B-9B4C-4950-8695-5E9676FBEA14}"/>
                </a:ext>
              </a:extLst>
            </p:cNvPr>
            <p:cNvSpPr/>
            <p:nvPr/>
          </p:nvSpPr>
          <p:spPr bwMode="auto">
            <a:xfrm>
              <a:off x="8485158" y="1890221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10" name="íślïḑé">
              <a:extLst>
                <a:ext uri="{FF2B5EF4-FFF2-40B4-BE49-F238E27FC236}">
                  <a16:creationId xmlns:a16="http://schemas.microsoft.com/office/drawing/2014/main" id="{F9ACC4B9-DB47-49B2-97CD-7991F5813F8A}"/>
                </a:ext>
              </a:extLst>
            </p:cNvPr>
            <p:cNvSpPr/>
            <p:nvPr/>
          </p:nvSpPr>
          <p:spPr bwMode="auto">
            <a:xfrm>
              <a:off x="8485158" y="1826986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11" name="îṥľïdé">
              <a:extLst>
                <a:ext uri="{FF2B5EF4-FFF2-40B4-BE49-F238E27FC236}">
                  <a16:creationId xmlns:a16="http://schemas.microsoft.com/office/drawing/2014/main" id="{A1FDDD45-F870-4EEF-BB57-6E0EA1FE60B6}"/>
                </a:ext>
              </a:extLst>
            </p:cNvPr>
            <p:cNvSpPr/>
            <p:nvPr/>
          </p:nvSpPr>
          <p:spPr bwMode="auto">
            <a:xfrm>
              <a:off x="8485158" y="1763750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12" name="î$ḻîḍè">
              <a:extLst>
                <a:ext uri="{FF2B5EF4-FFF2-40B4-BE49-F238E27FC236}">
                  <a16:creationId xmlns:a16="http://schemas.microsoft.com/office/drawing/2014/main" id="{E7F93D95-C9A9-4CFB-9B78-22D0B37023B8}"/>
                </a:ext>
              </a:extLst>
            </p:cNvPr>
            <p:cNvSpPr/>
            <p:nvPr/>
          </p:nvSpPr>
          <p:spPr bwMode="auto">
            <a:xfrm>
              <a:off x="8573503" y="1890221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13" name="iŝlíďè">
              <a:extLst>
                <a:ext uri="{FF2B5EF4-FFF2-40B4-BE49-F238E27FC236}">
                  <a16:creationId xmlns:a16="http://schemas.microsoft.com/office/drawing/2014/main" id="{292979D9-9158-4F51-85B9-275B4937420D}"/>
                </a:ext>
              </a:extLst>
            </p:cNvPr>
            <p:cNvSpPr/>
            <p:nvPr/>
          </p:nvSpPr>
          <p:spPr bwMode="auto">
            <a:xfrm>
              <a:off x="8573503" y="1826986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14" name="îśḷîḓê">
              <a:extLst>
                <a:ext uri="{FF2B5EF4-FFF2-40B4-BE49-F238E27FC236}">
                  <a16:creationId xmlns:a16="http://schemas.microsoft.com/office/drawing/2014/main" id="{57288FDC-FA47-444F-838A-AE7BA14E9704}"/>
                </a:ext>
              </a:extLst>
            </p:cNvPr>
            <p:cNvSpPr/>
            <p:nvPr/>
          </p:nvSpPr>
          <p:spPr bwMode="auto">
            <a:xfrm>
              <a:off x="8573503" y="1763750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15" name="ïṩļídè">
              <a:extLst>
                <a:ext uri="{FF2B5EF4-FFF2-40B4-BE49-F238E27FC236}">
                  <a16:creationId xmlns:a16="http://schemas.microsoft.com/office/drawing/2014/main" id="{0DD52044-CAB8-4110-ABB0-ED0AE45004AE}"/>
                </a:ext>
              </a:extLst>
            </p:cNvPr>
            <p:cNvSpPr/>
            <p:nvPr/>
          </p:nvSpPr>
          <p:spPr bwMode="auto">
            <a:xfrm>
              <a:off x="5963640" y="3000545"/>
              <a:ext cx="402604" cy="401679"/>
            </a:xfrm>
            <a:custGeom>
              <a:avLst/>
              <a:gdLst>
                <a:gd name="T0" fmla="*/ 15050 w 16095"/>
                <a:gd name="T1" fmla="*/ 7221 h 16058"/>
                <a:gd name="T2" fmla="*/ 14924 w 16095"/>
                <a:gd name="T3" fmla="*/ 7397 h 16058"/>
                <a:gd name="T4" fmla="*/ 14736 w 16095"/>
                <a:gd name="T5" fmla="*/ 7505 h 16058"/>
                <a:gd name="T6" fmla="*/ 13077 w 16095"/>
                <a:gd name="T7" fmla="*/ 4015 h 16058"/>
                <a:gd name="T8" fmla="*/ 13328 w 16095"/>
                <a:gd name="T9" fmla="*/ 4081 h 16058"/>
                <a:gd name="T10" fmla="*/ 15001 w 16095"/>
                <a:gd name="T11" fmla="*/ 6239 h 16058"/>
                <a:gd name="T12" fmla="*/ 15074 w 16095"/>
                <a:gd name="T13" fmla="*/ 6403 h 16058"/>
                <a:gd name="T14" fmla="*/ 10562 w 16095"/>
                <a:gd name="T15" fmla="*/ 15054 h 16058"/>
                <a:gd name="T16" fmla="*/ 10523 w 16095"/>
                <a:gd name="T17" fmla="*/ 9841 h 16058"/>
                <a:gd name="T18" fmla="*/ 10397 w 16095"/>
                <a:gd name="T19" fmla="*/ 9665 h 16058"/>
                <a:gd name="T20" fmla="*/ 10209 w 16095"/>
                <a:gd name="T21" fmla="*/ 9557 h 16058"/>
                <a:gd name="T22" fmla="*/ 6236 w 16095"/>
                <a:gd name="T23" fmla="*/ 9537 h 16058"/>
                <a:gd name="T24" fmla="*/ 6027 w 16095"/>
                <a:gd name="T25" fmla="*/ 9607 h 16058"/>
                <a:gd name="T26" fmla="*/ 5870 w 16095"/>
                <a:gd name="T27" fmla="*/ 9755 h 16058"/>
                <a:gd name="T28" fmla="*/ 5790 w 16095"/>
                <a:gd name="T29" fmla="*/ 9960 h 16058"/>
                <a:gd name="T30" fmla="*/ 10059 w 16095"/>
                <a:gd name="T31" fmla="*/ 15054 h 16058"/>
                <a:gd name="T32" fmla="*/ 1010 w 16095"/>
                <a:gd name="T33" fmla="*/ 6462 h 16058"/>
                <a:gd name="T34" fmla="*/ 1063 w 16095"/>
                <a:gd name="T35" fmla="*/ 6291 h 16058"/>
                <a:gd name="T36" fmla="*/ 2696 w 16095"/>
                <a:gd name="T37" fmla="*/ 4131 h 16058"/>
                <a:gd name="T38" fmla="*/ 2930 w 16095"/>
                <a:gd name="T39" fmla="*/ 4023 h 16058"/>
                <a:gd name="T40" fmla="*/ 1432 w 16095"/>
                <a:gd name="T41" fmla="*/ 7521 h 16058"/>
                <a:gd name="T42" fmla="*/ 1227 w 16095"/>
                <a:gd name="T43" fmla="*/ 7442 h 16058"/>
                <a:gd name="T44" fmla="*/ 1078 w 16095"/>
                <a:gd name="T45" fmla="*/ 7285 h 16058"/>
                <a:gd name="T46" fmla="*/ 1009 w 16095"/>
                <a:gd name="T47" fmla="*/ 7077 h 16058"/>
                <a:gd name="T48" fmla="*/ 9439 w 16095"/>
                <a:gd name="T49" fmla="*/ 4015 h 16058"/>
                <a:gd name="T50" fmla="*/ 5127 w 16095"/>
                <a:gd name="T51" fmla="*/ 7527 h 16058"/>
                <a:gd name="T52" fmla="*/ 13077 w 16095"/>
                <a:gd name="T53" fmla="*/ 1004 h 16058"/>
                <a:gd name="T54" fmla="*/ 14110 w 16095"/>
                <a:gd name="T55" fmla="*/ 3426 h 16058"/>
                <a:gd name="T56" fmla="*/ 14022 w 16095"/>
                <a:gd name="T57" fmla="*/ 658 h 16058"/>
                <a:gd name="T58" fmla="*/ 13788 w 16095"/>
                <a:gd name="T59" fmla="*/ 294 h 16058"/>
                <a:gd name="T60" fmla="*/ 13423 w 16095"/>
                <a:gd name="T61" fmla="*/ 61 h 16058"/>
                <a:gd name="T62" fmla="*/ 2967 w 16095"/>
                <a:gd name="T63" fmla="*/ 1 h 16058"/>
                <a:gd name="T64" fmla="*/ 2538 w 16095"/>
                <a:gd name="T65" fmla="*/ 121 h 16058"/>
                <a:gd name="T66" fmla="*/ 2212 w 16095"/>
                <a:gd name="T67" fmla="*/ 403 h 16058"/>
                <a:gd name="T68" fmla="*/ 2032 w 16095"/>
                <a:gd name="T69" fmla="*/ 802 h 16058"/>
                <a:gd name="T70" fmla="*/ 1906 w 16095"/>
                <a:gd name="T71" fmla="*/ 3503 h 16058"/>
                <a:gd name="T72" fmla="*/ 233 w 16095"/>
                <a:gd name="T73" fmla="*/ 5720 h 16058"/>
                <a:gd name="T74" fmla="*/ 110 w 16095"/>
                <a:gd name="T75" fmla="*/ 5962 h 16058"/>
                <a:gd name="T76" fmla="*/ 31 w 16095"/>
                <a:gd name="T77" fmla="*/ 6222 h 16058"/>
                <a:gd name="T78" fmla="*/ 0 w 16095"/>
                <a:gd name="T79" fmla="*/ 6493 h 16058"/>
                <a:gd name="T80" fmla="*/ 92 w 16095"/>
                <a:gd name="T81" fmla="*/ 7542 h 16058"/>
                <a:gd name="T82" fmla="*/ 443 w 16095"/>
                <a:gd name="T83" fmla="*/ 8089 h 16058"/>
                <a:gd name="T84" fmla="*/ 991 w 16095"/>
                <a:gd name="T85" fmla="*/ 8439 h 16058"/>
                <a:gd name="T86" fmla="*/ 1510 w 16095"/>
                <a:gd name="T87" fmla="*/ 15106 h 16058"/>
                <a:gd name="T88" fmla="*/ 1631 w 16095"/>
                <a:gd name="T89" fmla="*/ 15533 h 16058"/>
                <a:gd name="T90" fmla="*/ 1913 w 16095"/>
                <a:gd name="T91" fmla="*/ 15858 h 16058"/>
                <a:gd name="T92" fmla="*/ 2312 w 16095"/>
                <a:gd name="T93" fmla="*/ 16038 h 16058"/>
                <a:gd name="T94" fmla="*/ 13782 w 16095"/>
                <a:gd name="T95" fmla="*/ 16038 h 16058"/>
                <a:gd name="T96" fmla="*/ 14182 w 16095"/>
                <a:gd name="T97" fmla="*/ 15858 h 16058"/>
                <a:gd name="T98" fmla="*/ 14464 w 16095"/>
                <a:gd name="T99" fmla="*/ 15533 h 16058"/>
                <a:gd name="T100" fmla="*/ 14585 w 16095"/>
                <a:gd name="T101" fmla="*/ 15106 h 16058"/>
                <a:gd name="T102" fmla="*/ 15104 w 16095"/>
                <a:gd name="T103" fmla="*/ 8439 h 16058"/>
                <a:gd name="T104" fmla="*/ 15652 w 16095"/>
                <a:gd name="T105" fmla="*/ 8089 h 16058"/>
                <a:gd name="T106" fmla="*/ 16003 w 16095"/>
                <a:gd name="T107" fmla="*/ 7542 h 16058"/>
                <a:gd name="T108" fmla="*/ 16095 w 16095"/>
                <a:gd name="T109" fmla="*/ 6493 h 16058"/>
                <a:gd name="T110" fmla="*/ 16064 w 16095"/>
                <a:gd name="T111" fmla="*/ 6222 h 16058"/>
                <a:gd name="T112" fmla="*/ 15985 w 16095"/>
                <a:gd name="T113" fmla="*/ 5963 h 16058"/>
                <a:gd name="T114" fmla="*/ 15862 w 16095"/>
                <a:gd name="T115" fmla="*/ 5720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095" h="16058">
                  <a:moveTo>
                    <a:pt x="15089" y="7025"/>
                  </a:moveTo>
                  <a:lnTo>
                    <a:pt x="15088" y="7051"/>
                  </a:lnTo>
                  <a:lnTo>
                    <a:pt x="15086" y="7077"/>
                  </a:lnTo>
                  <a:lnTo>
                    <a:pt x="15083" y="7102"/>
                  </a:lnTo>
                  <a:lnTo>
                    <a:pt x="15079" y="7127"/>
                  </a:lnTo>
                  <a:lnTo>
                    <a:pt x="15073" y="7151"/>
                  </a:lnTo>
                  <a:lnTo>
                    <a:pt x="15066" y="7175"/>
                  </a:lnTo>
                  <a:lnTo>
                    <a:pt x="15059" y="7198"/>
                  </a:lnTo>
                  <a:lnTo>
                    <a:pt x="15050" y="7221"/>
                  </a:lnTo>
                  <a:lnTo>
                    <a:pt x="15040" y="7243"/>
                  </a:lnTo>
                  <a:lnTo>
                    <a:pt x="15029" y="7264"/>
                  </a:lnTo>
                  <a:lnTo>
                    <a:pt x="15017" y="7285"/>
                  </a:lnTo>
                  <a:lnTo>
                    <a:pt x="15004" y="7306"/>
                  </a:lnTo>
                  <a:lnTo>
                    <a:pt x="14989" y="7325"/>
                  </a:lnTo>
                  <a:lnTo>
                    <a:pt x="14974" y="7345"/>
                  </a:lnTo>
                  <a:lnTo>
                    <a:pt x="14958" y="7363"/>
                  </a:lnTo>
                  <a:lnTo>
                    <a:pt x="14942" y="7381"/>
                  </a:lnTo>
                  <a:lnTo>
                    <a:pt x="14924" y="7397"/>
                  </a:lnTo>
                  <a:lnTo>
                    <a:pt x="14906" y="7413"/>
                  </a:lnTo>
                  <a:lnTo>
                    <a:pt x="14887" y="7428"/>
                  </a:lnTo>
                  <a:lnTo>
                    <a:pt x="14867" y="7442"/>
                  </a:lnTo>
                  <a:lnTo>
                    <a:pt x="14847" y="7455"/>
                  </a:lnTo>
                  <a:lnTo>
                    <a:pt x="14826" y="7467"/>
                  </a:lnTo>
                  <a:lnTo>
                    <a:pt x="14804" y="7478"/>
                  </a:lnTo>
                  <a:lnTo>
                    <a:pt x="14782" y="7488"/>
                  </a:lnTo>
                  <a:lnTo>
                    <a:pt x="14759" y="7497"/>
                  </a:lnTo>
                  <a:lnTo>
                    <a:pt x="14736" y="7505"/>
                  </a:lnTo>
                  <a:lnTo>
                    <a:pt x="14712" y="7511"/>
                  </a:lnTo>
                  <a:lnTo>
                    <a:pt x="14688" y="7517"/>
                  </a:lnTo>
                  <a:lnTo>
                    <a:pt x="14663" y="7521"/>
                  </a:lnTo>
                  <a:lnTo>
                    <a:pt x="14637" y="7524"/>
                  </a:lnTo>
                  <a:lnTo>
                    <a:pt x="14612" y="7526"/>
                  </a:lnTo>
                  <a:lnTo>
                    <a:pt x="14586" y="7527"/>
                  </a:lnTo>
                  <a:lnTo>
                    <a:pt x="13654" y="7527"/>
                  </a:lnTo>
                  <a:lnTo>
                    <a:pt x="11642" y="4015"/>
                  </a:lnTo>
                  <a:lnTo>
                    <a:pt x="13077" y="4015"/>
                  </a:lnTo>
                  <a:lnTo>
                    <a:pt x="13106" y="4016"/>
                  </a:lnTo>
                  <a:lnTo>
                    <a:pt x="13137" y="4018"/>
                  </a:lnTo>
                  <a:lnTo>
                    <a:pt x="13165" y="4023"/>
                  </a:lnTo>
                  <a:lnTo>
                    <a:pt x="13194" y="4029"/>
                  </a:lnTo>
                  <a:lnTo>
                    <a:pt x="13222" y="4036"/>
                  </a:lnTo>
                  <a:lnTo>
                    <a:pt x="13249" y="4045"/>
                  </a:lnTo>
                  <a:lnTo>
                    <a:pt x="13276" y="4056"/>
                  </a:lnTo>
                  <a:lnTo>
                    <a:pt x="13303" y="4068"/>
                  </a:lnTo>
                  <a:lnTo>
                    <a:pt x="13328" y="4081"/>
                  </a:lnTo>
                  <a:lnTo>
                    <a:pt x="13352" y="4096"/>
                  </a:lnTo>
                  <a:lnTo>
                    <a:pt x="13376" y="4113"/>
                  </a:lnTo>
                  <a:lnTo>
                    <a:pt x="13399" y="4131"/>
                  </a:lnTo>
                  <a:lnTo>
                    <a:pt x="13420" y="4150"/>
                  </a:lnTo>
                  <a:lnTo>
                    <a:pt x="13441" y="4170"/>
                  </a:lnTo>
                  <a:lnTo>
                    <a:pt x="13461" y="4192"/>
                  </a:lnTo>
                  <a:lnTo>
                    <a:pt x="13480" y="4215"/>
                  </a:lnTo>
                  <a:lnTo>
                    <a:pt x="14988" y="6222"/>
                  </a:lnTo>
                  <a:lnTo>
                    <a:pt x="15001" y="6239"/>
                  </a:lnTo>
                  <a:lnTo>
                    <a:pt x="15012" y="6256"/>
                  </a:lnTo>
                  <a:lnTo>
                    <a:pt x="15022" y="6274"/>
                  </a:lnTo>
                  <a:lnTo>
                    <a:pt x="15032" y="6291"/>
                  </a:lnTo>
                  <a:lnTo>
                    <a:pt x="15041" y="6309"/>
                  </a:lnTo>
                  <a:lnTo>
                    <a:pt x="15049" y="6327"/>
                  </a:lnTo>
                  <a:lnTo>
                    <a:pt x="15057" y="6346"/>
                  </a:lnTo>
                  <a:lnTo>
                    <a:pt x="15063" y="6365"/>
                  </a:lnTo>
                  <a:lnTo>
                    <a:pt x="15069" y="6384"/>
                  </a:lnTo>
                  <a:lnTo>
                    <a:pt x="15074" y="6403"/>
                  </a:lnTo>
                  <a:lnTo>
                    <a:pt x="15079" y="6423"/>
                  </a:lnTo>
                  <a:lnTo>
                    <a:pt x="15082" y="6443"/>
                  </a:lnTo>
                  <a:lnTo>
                    <a:pt x="15085" y="6462"/>
                  </a:lnTo>
                  <a:lnTo>
                    <a:pt x="15087" y="6483"/>
                  </a:lnTo>
                  <a:lnTo>
                    <a:pt x="15089" y="6503"/>
                  </a:lnTo>
                  <a:lnTo>
                    <a:pt x="15089" y="6524"/>
                  </a:lnTo>
                  <a:lnTo>
                    <a:pt x="15089" y="7025"/>
                  </a:lnTo>
                  <a:close/>
                  <a:moveTo>
                    <a:pt x="13580" y="15054"/>
                  </a:moveTo>
                  <a:lnTo>
                    <a:pt x="10562" y="15054"/>
                  </a:lnTo>
                  <a:lnTo>
                    <a:pt x="10562" y="10036"/>
                  </a:lnTo>
                  <a:lnTo>
                    <a:pt x="10561" y="10010"/>
                  </a:lnTo>
                  <a:lnTo>
                    <a:pt x="10559" y="9985"/>
                  </a:lnTo>
                  <a:lnTo>
                    <a:pt x="10556" y="9960"/>
                  </a:lnTo>
                  <a:lnTo>
                    <a:pt x="10552" y="9935"/>
                  </a:lnTo>
                  <a:lnTo>
                    <a:pt x="10546" y="9911"/>
                  </a:lnTo>
                  <a:lnTo>
                    <a:pt x="10539" y="9887"/>
                  </a:lnTo>
                  <a:lnTo>
                    <a:pt x="10532" y="9864"/>
                  </a:lnTo>
                  <a:lnTo>
                    <a:pt x="10523" y="9841"/>
                  </a:lnTo>
                  <a:lnTo>
                    <a:pt x="10513" y="9818"/>
                  </a:lnTo>
                  <a:lnTo>
                    <a:pt x="10502" y="9797"/>
                  </a:lnTo>
                  <a:lnTo>
                    <a:pt x="10490" y="9776"/>
                  </a:lnTo>
                  <a:lnTo>
                    <a:pt x="10477" y="9755"/>
                  </a:lnTo>
                  <a:lnTo>
                    <a:pt x="10463" y="9736"/>
                  </a:lnTo>
                  <a:lnTo>
                    <a:pt x="10448" y="9717"/>
                  </a:lnTo>
                  <a:lnTo>
                    <a:pt x="10432" y="9699"/>
                  </a:lnTo>
                  <a:lnTo>
                    <a:pt x="10415" y="9681"/>
                  </a:lnTo>
                  <a:lnTo>
                    <a:pt x="10397" y="9665"/>
                  </a:lnTo>
                  <a:lnTo>
                    <a:pt x="10379" y="9649"/>
                  </a:lnTo>
                  <a:lnTo>
                    <a:pt x="10360" y="9634"/>
                  </a:lnTo>
                  <a:lnTo>
                    <a:pt x="10340" y="9620"/>
                  </a:lnTo>
                  <a:lnTo>
                    <a:pt x="10320" y="9607"/>
                  </a:lnTo>
                  <a:lnTo>
                    <a:pt x="10299" y="9595"/>
                  </a:lnTo>
                  <a:lnTo>
                    <a:pt x="10278" y="9584"/>
                  </a:lnTo>
                  <a:lnTo>
                    <a:pt x="10256" y="9574"/>
                  </a:lnTo>
                  <a:lnTo>
                    <a:pt x="10232" y="9565"/>
                  </a:lnTo>
                  <a:lnTo>
                    <a:pt x="10209" y="9557"/>
                  </a:lnTo>
                  <a:lnTo>
                    <a:pt x="10185" y="9550"/>
                  </a:lnTo>
                  <a:lnTo>
                    <a:pt x="10161" y="9544"/>
                  </a:lnTo>
                  <a:lnTo>
                    <a:pt x="10136" y="9540"/>
                  </a:lnTo>
                  <a:lnTo>
                    <a:pt x="10111" y="9537"/>
                  </a:lnTo>
                  <a:lnTo>
                    <a:pt x="10086" y="9535"/>
                  </a:lnTo>
                  <a:lnTo>
                    <a:pt x="10059" y="9534"/>
                  </a:lnTo>
                  <a:lnTo>
                    <a:pt x="6287" y="9534"/>
                  </a:lnTo>
                  <a:lnTo>
                    <a:pt x="6261" y="9535"/>
                  </a:lnTo>
                  <a:lnTo>
                    <a:pt x="6236" y="9537"/>
                  </a:lnTo>
                  <a:lnTo>
                    <a:pt x="6211" y="9540"/>
                  </a:lnTo>
                  <a:lnTo>
                    <a:pt x="6186" y="9544"/>
                  </a:lnTo>
                  <a:lnTo>
                    <a:pt x="6161" y="9550"/>
                  </a:lnTo>
                  <a:lnTo>
                    <a:pt x="6137" y="9557"/>
                  </a:lnTo>
                  <a:lnTo>
                    <a:pt x="6114" y="9565"/>
                  </a:lnTo>
                  <a:lnTo>
                    <a:pt x="6091" y="9574"/>
                  </a:lnTo>
                  <a:lnTo>
                    <a:pt x="6069" y="9584"/>
                  </a:lnTo>
                  <a:lnTo>
                    <a:pt x="6048" y="9595"/>
                  </a:lnTo>
                  <a:lnTo>
                    <a:pt x="6027" y="9607"/>
                  </a:lnTo>
                  <a:lnTo>
                    <a:pt x="6005" y="9620"/>
                  </a:lnTo>
                  <a:lnTo>
                    <a:pt x="5986" y="9634"/>
                  </a:lnTo>
                  <a:lnTo>
                    <a:pt x="5967" y="9649"/>
                  </a:lnTo>
                  <a:lnTo>
                    <a:pt x="5949" y="9665"/>
                  </a:lnTo>
                  <a:lnTo>
                    <a:pt x="5931" y="9681"/>
                  </a:lnTo>
                  <a:lnTo>
                    <a:pt x="5915" y="9699"/>
                  </a:lnTo>
                  <a:lnTo>
                    <a:pt x="5899" y="9717"/>
                  </a:lnTo>
                  <a:lnTo>
                    <a:pt x="5884" y="9736"/>
                  </a:lnTo>
                  <a:lnTo>
                    <a:pt x="5870" y="9755"/>
                  </a:lnTo>
                  <a:lnTo>
                    <a:pt x="5857" y="9776"/>
                  </a:lnTo>
                  <a:lnTo>
                    <a:pt x="5844" y="9797"/>
                  </a:lnTo>
                  <a:lnTo>
                    <a:pt x="5833" y="9818"/>
                  </a:lnTo>
                  <a:lnTo>
                    <a:pt x="5823" y="9841"/>
                  </a:lnTo>
                  <a:lnTo>
                    <a:pt x="5814" y="9864"/>
                  </a:lnTo>
                  <a:lnTo>
                    <a:pt x="5806" y="9887"/>
                  </a:lnTo>
                  <a:lnTo>
                    <a:pt x="5800" y="9911"/>
                  </a:lnTo>
                  <a:lnTo>
                    <a:pt x="5794" y="9935"/>
                  </a:lnTo>
                  <a:lnTo>
                    <a:pt x="5790" y="9960"/>
                  </a:lnTo>
                  <a:lnTo>
                    <a:pt x="5787" y="9985"/>
                  </a:lnTo>
                  <a:lnTo>
                    <a:pt x="5785" y="10010"/>
                  </a:lnTo>
                  <a:lnTo>
                    <a:pt x="5784" y="10036"/>
                  </a:lnTo>
                  <a:lnTo>
                    <a:pt x="5784" y="15054"/>
                  </a:lnTo>
                  <a:lnTo>
                    <a:pt x="2515" y="15054"/>
                  </a:lnTo>
                  <a:lnTo>
                    <a:pt x="2515" y="8531"/>
                  </a:lnTo>
                  <a:lnTo>
                    <a:pt x="13580" y="8531"/>
                  </a:lnTo>
                  <a:lnTo>
                    <a:pt x="13580" y="15054"/>
                  </a:lnTo>
                  <a:close/>
                  <a:moveTo>
                    <a:pt x="10059" y="15054"/>
                  </a:moveTo>
                  <a:lnTo>
                    <a:pt x="6287" y="15054"/>
                  </a:lnTo>
                  <a:lnTo>
                    <a:pt x="6287" y="10036"/>
                  </a:lnTo>
                  <a:lnTo>
                    <a:pt x="10059" y="10036"/>
                  </a:lnTo>
                  <a:lnTo>
                    <a:pt x="10059" y="15054"/>
                  </a:lnTo>
                  <a:close/>
                  <a:moveTo>
                    <a:pt x="1006" y="7025"/>
                  </a:moveTo>
                  <a:lnTo>
                    <a:pt x="1006" y="6524"/>
                  </a:lnTo>
                  <a:lnTo>
                    <a:pt x="1006" y="6503"/>
                  </a:lnTo>
                  <a:lnTo>
                    <a:pt x="1008" y="6483"/>
                  </a:lnTo>
                  <a:lnTo>
                    <a:pt x="1010" y="6462"/>
                  </a:lnTo>
                  <a:lnTo>
                    <a:pt x="1012" y="6443"/>
                  </a:lnTo>
                  <a:lnTo>
                    <a:pt x="1016" y="6423"/>
                  </a:lnTo>
                  <a:lnTo>
                    <a:pt x="1020" y="6403"/>
                  </a:lnTo>
                  <a:lnTo>
                    <a:pt x="1026" y="6384"/>
                  </a:lnTo>
                  <a:lnTo>
                    <a:pt x="1032" y="6365"/>
                  </a:lnTo>
                  <a:lnTo>
                    <a:pt x="1038" y="6346"/>
                  </a:lnTo>
                  <a:lnTo>
                    <a:pt x="1046" y="6327"/>
                  </a:lnTo>
                  <a:lnTo>
                    <a:pt x="1054" y="6309"/>
                  </a:lnTo>
                  <a:lnTo>
                    <a:pt x="1063" y="6291"/>
                  </a:lnTo>
                  <a:lnTo>
                    <a:pt x="1073" y="6274"/>
                  </a:lnTo>
                  <a:lnTo>
                    <a:pt x="1083" y="6256"/>
                  </a:lnTo>
                  <a:lnTo>
                    <a:pt x="1094" y="6239"/>
                  </a:lnTo>
                  <a:lnTo>
                    <a:pt x="1107" y="6222"/>
                  </a:lnTo>
                  <a:lnTo>
                    <a:pt x="2615" y="4215"/>
                  </a:lnTo>
                  <a:lnTo>
                    <a:pt x="2634" y="4192"/>
                  </a:lnTo>
                  <a:lnTo>
                    <a:pt x="2654" y="4170"/>
                  </a:lnTo>
                  <a:lnTo>
                    <a:pt x="2674" y="4150"/>
                  </a:lnTo>
                  <a:lnTo>
                    <a:pt x="2696" y="4131"/>
                  </a:lnTo>
                  <a:lnTo>
                    <a:pt x="2719" y="4113"/>
                  </a:lnTo>
                  <a:lnTo>
                    <a:pt x="2743" y="4096"/>
                  </a:lnTo>
                  <a:lnTo>
                    <a:pt x="2767" y="4081"/>
                  </a:lnTo>
                  <a:lnTo>
                    <a:pt x="2792" y="4068"/>
                  </a:lnTo>
                  <a:lnTo>
                    <a:pt x="2819" y="4056"/>
                  </a:lnTo>
                  <a:lnTo>
                    <a:pt x="2846" y="4045"/>
                  </a:lnTo>
                  <a:lnTo>
                    <a:pt x="2873" y="4036"/>
                  </a:lnTo>
                  <a:lnTo>
                    <a:pt x="2901" y="4029"/>
                  </a:lnTo>
                  <a:lnTo>
                    <a:pt x="2930" y="4023"/>
                  </a:lnTo>
                  <a:lnTo>
                    <a:pt x="2958" y="4018"/>
                  </a:lnTo>
                  <a:lnTo>
                    <a:pt x="2989" y="4016"/>
                  </a:lnTo>
                  <a:lnTo>
                    <a:pt x="3018" y="4015"/>
                  </a:lnTo>
                  <a:lnTo>
                    <a:pt x="4452" y="4015"/>
                  </a:lnTo>
                  <a:lnTo>
                    <a:pt x="2440" y="7527"/>
                  </a:lnTo>
                  <a:lnTo>
                    <a:pt x="1509" y="7527"/>
                  </a:lnTo>
                  <a:lnTo>
                    <a:pt x="1483" y="7526"/>
                  </a:lnTo>
                  <a:lnTo>
                    <a:pt x="1458" y="7524"/>
                  </a:lnTo>
                  <a:lnTo>
                    <a:pt x="1432" y="7521"/>
                  </a:lnTo>
                  <a:lnTo>
                    <a:pt x="1407" y="7517"/>
                  </a:lnTo>
                  <a:lnTo>
                    <a:pt x="1383" y="7511"/>
                  </a:lnTo>
                  <a:lnTo>
                    <a:pt x="1359" y="7505"/>
                  </a:lnTo>
                  <a:lnTo>
                    <a:pt x="1336" y="7497"/>
                  </a:lnTo>
                  <a:lnTo>
                    <a:pt x="1313" y="7488"/>
                  </a:lnTo>
                  <a:lnTo>
                    <a:pt x="1291" y="7478"/>
                  </a:lnTo>
                  <a:lnTo>
                    <a:pt x="1269" y="7467"/>
                  </a:lnTo>
                  <a:lnTo>
                    <a:pt x="1248" y="7455"/>
                  </a:lnTo>
                  <a:lnTo>
                    <a:pt x="1227" y="7442"/>
                  </a:lnTo>
                  <a:lnTo>
                    <a:pt x="1208" y="7428"/>
                  </a:lnTo>
                  <a:lnTo>
                    <a:pt x="1189" y="7413"/>
                  </a:lnTo>
                  <a:lnTo>
                    <a:pt x="1171" y="7397"/>
                  </a:lnTo>
                  <a:lnTo>
                    <a:pt x="1153" y="7381"/>
                  </a:lnTo>
                  <a:lnTo>
                    <a:pt x="1137" y="7363"/>
                  </a:lnTo>
                  <a:lnTo>
                    <a:pt x="1121" y="7345"/>
                  </a:lnTo>
                  <a:lnTo>
                    <a:pt x="1106" y="7325"/>
                  </a:lnTo>
                  <a:lnTo>
                    <a:pt x="1091" y="7306"/>
                  </a:lnTo>
                  <a:lnTo>
                    <a:pt x="1078" y="7285"/>
                  </a:lnTo>
                  <a:lnTo>
                    <a:pt x="1066" y="7264"/>
                  </a:lnTo>
                  <a:lnTo>
                    <a:pt x="1055" y="7243"/>
                  </a:lnTo>
                  <a:lnTo>
                    <a:pt x="1045" y="7221"/>
                  </a:lnTo>
                  <a:lnTo>
                    <a:pt x="1036" y="7198"/>
                  </a:lnTo>
                  <a:lnTo>
                    <a:pt x="1028" y="7175"/>
                  </a:lnTo>
                  <a:lnTo>
                    <a:pt x="1022" y="7151"/>
                  </a:lnTo>
                  <a:lnTo>
                    <a:pt x="1016" y="7127"/>
                  </a:lnTo>
                  <a:lnTo>
                    <a:pt x="1012" y="7102"/>
                  </a:lnTo>
                  <a:lnTo>
                    <a:pt x="1009" y="7077"/>
                  </a:lnTo>
                  <a:lnTo>
                    <a:pt x="1007" y="7051"/>
                  </a:lnTo>
                  <a:lnTo>
                    <a:pt x="1006" y="7025"/>
                  </a:lnTo>
                  <a:close/>
                  <a:moveTo>
                    <a:pt x="9962" y="4015"/>
                  </a:moveTo>
                  <a:lnTo>
                    <a:pt x="11062" y="4015"/>
                  </a:lnTo>
                  <a:lnTo>
                    <a:pt x="13074" y="7527"/>
                  </a:lnTo>
                  <a:lnTo>
                    <a:pt x="10968" y="7527"/>
                  </a:lnTo>
                  <a:lnTo>
                    <a:pt x="9962" y="4015"/>
                  </a:lnTo>
                  <a:close/>
                  <a:moveTo>
                    <a:pt x="8299" y="4015"/>
                  </a:moveTo>
                  <a:lnTo>
                    <a:pt x="9439" y="4015"/>
                  </a:lnTo>
                  <a:lnTo>
                    <a:pt x="10444" y="7527"/>
                  </a:lnTo>
                  <a:lnTo>
                    <a:pt x="8299" y="7527"/>
                  </a:lnTo>
                  <a:lnTo>
                    <a:pt x="8299" y="4015"/>
                  </a:lnTo>
                  <a:close/>
                  <a:moveTo>
                    <a:pt x="6656" y="4015"/>
                  </a:moveTo>
                  <a:lnTo>
                    <a:pt x="7796" y="4015"/>
                  </a:lnTo>
                  <a:lnTo>
                    <a:pt x="7796" y="7527"/>
                  </a:lnTo>
                  <a:lnTo>
                    <a:pt x="5650" y="7527"/>
                  </a:lnTo>
                  <a:lnTo>
                    <a:pt x="6656" y="4015"/>
                  </a:lnTo>
                  <a:close/>
                  <a:moveTo>
                    <a:pt x="5127" y="7527"/>
                  </a:moveTo>
                  <a:lnTo>
                    <a:pt x="3020" y="7527"/>
                  </a:lnTo>
                  <a:lnTo>
                    <a:pt x="5032" y="4015"/>
                  </a:lnTo>
                  <a:lnTo>
                    <a:pt x="6132" y="4015"/>
                  </a:lnTo>
                  <a:lnTo>
                    <a:pt x="5127" y="7527"/>
                  </a:lnTo>
                  <a:close/>
                  <a:moveTo>
                    <a:pt x="13077" y="1004"/>
                  </a:moveTo>
                  <a:lnTo>
                    <a:pt x="13077" y="3011"/>
                  </a:lnTo>
                  <a:lnTo>
                    <a:pt x="3018" y="3011"/>
                  </a:lnTo>
                  <a:lnTo>
                    <a:pt x="3018" y="1004"/>
                  </a:lnTo>
                  <a:lnTo>
                    <a:pt x="13077" y="1004"/>
                  </a:lnTo>
                  <a:close/>
                  <a:moveTo>
                    <a:pt x="15793" y="5620"/>
                  </a:moveTo>
                  <a:lnTo>
                    <a:pt x="14284" y="3614"/>
                  </a:lnTo>
                  <a:lnTo>
                    <a:pt x="14262" y="3585"/>
                  </a:lnTo>
                  <a:lnTo>
                    <a:pt x="14239" y="3557"/>
                  </a:lnTo>
                  <a:lnTo>
                    <a:pt x="14214" y="3530"/>
                  </a:lnTo>
                  <a:lnTo>
                    <a:pt x="14189" y="3503"/>
                  </a:lnTo>
                  <a:lnTo>
                    <a:pt x="14164" y="3477"/>
                  </a:lnTo>
                  <a:lnTo>
                    <a:pt x="14137" y="3451"/>
                  </a:lnTo>
                  <a:lnTo>
                    <a:pt x="14110" y="3426"/>
                  </a:lnTo>
                  <a:lnTo>
                    <a:pt x="14083" y="3401"/>
                  </a:lnTo>
                  <a:lnTo>
                    <a:pt x="14083" y="1004"/>
                  </a:lnTo>
                  <a:lnTo>
                    <a:pt x="14082" y="952"/>
                  </a:lnTo>
                  <a:lnTo>
                    <a:pt x="14078" y="901"/>
                  </a:lnTo>
                  <a:lnTo>
                    <a:pt x="14072" y="851"/>
                  </a:lnTo>
                  <a:lnTo>
                    <a:pt x="14063" y="802"/>
                  </a:lnTo>
                  <a:lnTo>
                    <a:pt x="14052" y="753"/>
                  </a:lnTo>
                  <a:lnTo>
                    <a:pt x="14038" y="706"/>
                  </a:lnTo>
                  <a:lnTo>
                    <a:pt x="14022" y="658"/>
                  </a:lnTo>
                  <a:lnTo>
                    <a:pt x="14004" y="613"/>
                  </a:lnTo>
                  <a:lnTo>
                    <a:pt x="13984" y="569"/>
                  </a:lnTo>
                  <a:lnTo>
                    <a:pt x="13961" y="526"/>
                  </a:lnTo>
                  <a:lnTo>
                    <a:pt x="13937" y="484"/>
                  </a:lnTo>
                  <a:lnTo>
                    <a:pt x="13911" y="443"/>
                  </a:lnTo>
                  <a:lnTo>
                    <a:pt x="13883" y="403"/>
                  </a:lnTo>
                  <a:lnTo>
                    <a:pt x="13854" y="365"/>
                  </a:lnTo>
                  <a:lnTo>
                    <a:pt x="13822" y="329"/>
                  </a:lnTo>
                  <a:lnTo>
                    <a:pt x="13788" y="294"/>
                  </a:lnTo>
                  <a:lnTo>
                    <a:pt x="13753" y="261"/>
                  </a:lnTo>
                  <a:lnTo>
                    <a:pt x="13717" y="229"/>
                  </a:lnTo>
                  <a:lnTo>
                    <a:pt x="13679" y="200"/>
                  </a:lnTo>
                  <a:lnTo>
                    <a:pt x="13640" y="172"/>
                  </a:lnTo>
                  <a:lnTo>
                    <a:pt x="13598" y="146"/>
                  </a:lnTo>
                  <a:lnTo>
                    <a:pt x="13557" y="121"/>
                  </a:lnTo>
                  <a:lnTo>
                    <a:pt x="13513" y="99"/>
                  </a:lnTo>
                  <a:lnTo>
                    <a:pt x="13468" y="79"/>
                  </a:lnTo>
                  <a:lnTo>
                    <a:pt x="13423" y="61"/>
                  </a:lnTo>
                  <a:lnTo>
                    <a:pt x="13376" y="45"/>
                  </a:lnTo>
                  <a:lnTo>
                    <a:pt x="13329" y="32"/>
                  </a:lnTo>
                  <a:lnTo>
                    <a:pt x="13279" y="20"/>
                  </a:lnTo>
                  <a:lnTo>
                    <a:pt x="13230" y="12"/>
                  </a:lnTo>
                  <a:lnTo>
                    <a:pt x="13180" y="5"/>
                  </a:lnTo>
                  <a:lnTo>
                    <a:pt x="13128" y="1"/>
                  </a:lnTo>
                  <a:lnTo>
                    <a:pt x="13077" y="0"/>
                  </a:lnTo>
                  <a:lnTo>
                    <a:pt x="3018" y="0"/>
                  </a:lnTo>
                  <a:lnTo>
                    <a:pt x="2967" y="1"/>
                  </a:lnTo>
                  <a:lnTo>
                    <a:pt x="2915" y="5"/>
                  </a:lnTo>
                  <a:lnTo>
                    <a:pt x="2865" y="12"/>
                  </a:lnTo>
                  <a:lnTo>
                    <a:pt x="2815" y="20"/>
                  </a:lnTo>
                  <a:lnTo>
                    <a:pt x="2766" y="32"/>
                  </a:lnTo>
                  <a:lnTo>
                    <a:pt x="2718" y="45"/>
                  </a:lnTo>
                  <a:lnTo>
                    <a:pt x="2672" y="61"/>
                  </a:lnTo>
                  <a:lnTo>
                    <a:pt x="2627" y="79"/>
                  </a:lnTo>
                  <a:lnTo>
                    <a:pt x="2581" y="99"/>
                  </a:lnTo>
                  <a:lnTo>
                    <a:pt x="2538" y="121"/>
                  </a:lnTo>
                  <a:lnTo>
                    <a:pt x="2496" y="146"/>
                  </a:lnTo>
                  <a:lnTo>
                    <a:pt x="2455" y="172"/>
                  </a:lnTo>
                  <a:lnTo>
                    <a:pt x="2416" y="200"/>
                  </a:lnTo>
                  <a:lnTo>
                    <a:pt x="2378" y="229"/>
                  </a:lnTo>
                  <a:lnTo>
                    <a:pt x="2341" y="261"/>
                  </a:lnTo>
                  <a:lnTo>
                    <a:pt x="2307" y="294"/>
                  </a:lnTo>
                  <a:lnTo>
                    <a:pt x="2273" y="329"/>
                  </a:lnTo>
                  <a:lnTo>
                    <a:pt x="2241" y="365"/>
                  </a:lnTo>
                  <a:lnTo>
                    <a:pt x="2212" y="403"/>
                  </a:lnTo>
                  <a:lnTo>
                    <a:pt x="2184" y="443"/>
                  </a:lnTo>
                  <a:lnTo>
                    <a:pt x="2158" y="484"/>
                  </a:lnTo>
                  <a:lnTo>
                    <a:pt x="2134" y="526"/>
                  </a:lnTo>
                  <a:lnTo>
                    <a:pt x="2111" y="569"/>
                  </a:lnTo>
                  <a:lnTo>
                    <a:pt x="2091" y="613"/>
                  </a:lnTo>
                  <a:lnTo>
                    <a:pt x="2073" y="658"/>
                  </a:lnTo>
                  <a:lnTo>
                    <a:pt x="2057" y="706"/>
                  </a:lnTo>
                  <a:lnTo>
                    <a:pt x="2043" y="753"/>
                  </a:lnTo>
                  <a:lnTo>
                    <a:pt x="2032" y="802"/>
                  </a:lnTo>
                  <a:lnTo>
                    <a:pt x="2023" y="851"/>
                  </a:lnTo>
                  <a:lnTo>
                    <a:pt x="2017" y="901"/>
                  </a:lnTo>
                  <a:lnTo>
                    <a:pt x="2013" y="952"/>
                  </a:lnTo>
                  <a:lnTo>
                    <a:pt x="2012" y="1004"/>
                  </a:lnTo>
                  <a:lnTo>
                    <a:pt x="2012" y="3402"/>
                  </a:lnTo>
                  <a:lnTo>
                    <a:pt x="1985" y="3426"/>
                  </a:lnTo>
                  <a:lnTo>
                    <a:pt x="1959" y="3451"/>
                  </a:lnTo>
                  <a:lnTo>
                    <a:pt x="1931" y="3477"/>
                  </a:lnTo>
                  <a:lnTo>
                    <a:pt x="1906" y="3503"/>
                  </a:lnTo>
                  <a:lnTo>
                    <a:pt x="1881" y="3529"/>
                  </a:lnTo>
                  <a:lnTo>
                    <a:pt x="1857" y="3556"/>
                  </a:lnTo>
                  <a:lnTo>
                    <a:pt x="1833" y="3584"/>
                  </a:lnTo>
                  <a:lnTo>
                    <a:pt x="1811" y="3613"/>
                  </a:lnTo>
                  <a:lnTo>
                    <a:pt x="303" y="5619"/>
                  </a:lnTo>
                  <a:lnTo>
                    <a:pt x="285" y="5644"/>
                  </a:lnTo>
                  <a:lnTo>
                    <a:pt x="268" y="5669"/>
                  </a:lnTo>
                  <a:lnTo>
                    <a:pt x="250" y="5695"/>
                  </a:lnTo>
                  <a:lnTo>
                    <a:pt x="233" y="5720"/>
                  </a:lnTo>
                  <a:lnTo>
                    <a:pt x="217" y="5746"/>
                  </a:lnTo>
                  <a:lnTo>
                    <a:pt x="202" y="5772"/>
                  </a:lnTo>
                  <a:lnTo>
                    <a:pt x="187" y="5798"/>
                  </a:lnTo>
                  <a:lnTo>
                    <a:pt x="173" y="5825"/>
                  </a:lnTo>
                  <a:lnTo>
                    <a:pt x="159" y="5851"/>
                  </a:lnTo>
                  <a:lnTo>
                    <a:pt x="146" y="5879"/>
                  </a:lnTo>
                  <a:lnTo>
                    <a:pt x="133" y="5906"/>
                  </a:lnTo>
                  <a:lnTo>
                    <a:pt x="121" y="5934"/>
                  </a:lnTo>
                  <a:lnTo>
                    <a:pt x="110" y="5962"/>
                  </a:lnTo>
                  <a:lnTo>
                    <a:pt x="99" y="5991"/>
                  </a:lnTo>
                  <a:lnTo>
                    <a:pt x="88" y="6019"/>
                  </a:lnTo>
                  <a:lnTo>
                    <a:pt x="78" y="6047"/>
                  </a:lnTo>
                  <a:lnTo>
                    <a:pt x="68" y="6076"/>
                  </a:lnTo>
                  <a:lnTo>
                    <a:pt x="60" y="6105"/>
                  </a:lnTo>
                  <a:lnTo>
                    <a:pt x="51" y="6134"/>
                  </a:lnTo>
                  <a:lnTo>
                    <a:pt x="44" y="6163"/>
                  </a:lnTo>
                  <a:lnTo>
                    <a:pt x="37" y="6193"/>
                  </a:lnTo>
                  <a:lnTo>
                    <a:pt x="31" y="6222"/>
                  </a:lnTo>
                  <a:lnTo>
                    <a:pt x="25" y="6253"/>
                  </a:lnTo>
                  <a:lnTo>
                    <a:pt x="20" y="6282"/>
                  </a:lnTo>
                  <a:lnTo>
                    <a:pt x="15" y="6312"/>
                  </a:lnTo>
                  <a:lnTo>
                    <a:pt x="11" y="6342"/>
                  </a:lnTo>
                  <a:lnTo>
                    <a:pt x="8" y="6372"/>
                  </a:lnTo>
                  <a:lnTo>
                    <a:pt x="5" y="6402"/>
                  </a:lnTo>
                  <a:lnTo>
                    <a:pt x="3" y="6432"/>
                  </a:lnTo>
                  <a:lnTo>
                    <a:pt x="1" y="6463"/>
                  </a:lnTo>
                  <a:lnTo>
                    <a:pt x="0" y="6493"/>
                  </a:lnTo>
                  <a:lnTo>
                    <a:pt x="0" y="6524"/>
                  </a:lnTo>
                  <a:lnTo>
                    <a:pt x="0" y="7025"/>
                  </a:lnTo>
                  <a:lnTo>
                    <a:pt x="2" y="7103"/>
                  </a:lnTo>
                  <a:lnTo>
                    <a:pt x="8" y="7179"/>
                  </a:lnTo>
                  <a:lnTo>
                    <a:pt x="17" y="7254"/>
                  </a:lnTo>
                  <a:lnTo>
                    <a:pt x="31" y="7328"/>
                  </a:lnTo>
                  <a:lnTo>
                    <a:pt x="47" y="7401"/>
                  </a:lnTo>
                  <a:lnTo>
                    <a:pt x="68" y="7473"/>
                  </a:lnTo>
                  <a:lnTo>
                    <a:pt x="92" y="7542"/>
                  </a:lnTo>
                  <a:lnTo>
                    <a:pt x="119" y="7610"/>
                  </a:lnTo>
                  <a:lnTo>
                    <a:pt x="149" y="7678"/>
                  </a:lnTo>
                  <a:lnTo>
                    <a:pt x="182" y="7742"/>
                  </a:lnTo>
                  <a:lnTo>
                    <a:pt x="218" y="7805"/>
                  </a:lnTo>
                  <a:lnTo>
                    <a:pt x="259" y="7866"/>
                  </a:lnTo>
                  <a:lnTo>
                    <a:pt x="300" y="7926"/>
                  </a:lnTo>
                  <a:lnTo>
                    <a:pt x="345" y="7983"/>
                  </a:lnTo>
                  <a:lnTo>
                    <a:pt x="392" y="8037"/>
                  </a:lnTo>
                  <a:lnTo>
                    <a:pt x="443" y="8089"/>
                  </a:lnTo>
                  <a:lnTo>
                    <a:pt x="495" y="8139"/>
                  </a:lnTo>
                  <a:lnTo>
                    <a:pt x="549" y="8187"/>
                  </a:lnTo>
                  <a:lnTo>
                    <a:pt x="607" y="8232"/>
                  </a:lnTo>
                  <a:lnTo>
                    <a:pt x="666" y="8273"/>
                  </a:lnTo>
                  <a:lnTo>
                    <a:pt x="727" y="8313"/>
                  </a:lnTo>
                  <a:lnTo>
                    <a:pt x="791" y="8349"/>
                  </a:lnTo>
                  <a:lnTo>
                    <a:pt x="855" y="8382"/>
                  </a:lnTo>
                  <a:lnTo>
                    <a:pt x="922" y="8412"/>
                  </a:lnTo>
                  <a:lnTo>
                    <a:pt x="991" y="8439"/>
                  </a:lnTo>
                  <a:lnTo>
                    <a:pt x="1060" y="8464"/>
                  </a:lnTo>
                  <a:lnTo>
                    <a:pt x="1133" y="8484"/>
                  </a:lnTo>
                  <a:lnTo>
                    <a:pt x="1205" y="8501"/>
                  </a:lnTo>
                  <a:lnTo>
                    <a:pt x="1280" y="8514"/>
                  </a:lnTo>
                  <a:lnTo>
                    <a:pt x="1355" y="8523"/>
                  </a:lnTo>
                  <a:lnTo>
                    <a:pt x="1431" y="8529"/>
                  </a:lnTo>
                  <a:lnTo>
                    <a:pt x="1509" y="8531"/>
                  </a:lnTo>
                  <a:lnTo>
                    <a:pt x="1509" y="15054"/>
                  </a:lnTo>
                  <a:lnTo>
                    <a:pt x="1510" y="15106"/>
                  </a:lnTo>
                  <a:lnTo>
                    <a:pt x="1514" y="15157"/>
                  </a:lnTo>
                  <a:lnTo>
                    <a:pt x="1520" y="15207"/>
                  </a:lnTo>
                  <a:lnTo>
                    <a:pt x="1529" y="15257"/>
                  </a:lnTo>
                  <a:lnTo>
                    <a:pt x="1540" y="15305"/>
                  </a:lnTo>
                  <a:lnTo>
                    <a:pt x="1554" y="15352"/>
                  </a:lnTo>
                  <a:lnTo>
                    <a:pt x="1570" y="15400"/>
                  </a:lnTo>
                  <a:lnTo>
                    <a:pt x="1588" y="15445"/>
                  </a:lnTo>
                  <a:lnTo>
                    <a:pt x="1608" y="15489"/>
                  </a:lnTo>
                  <a:lnTo>
                    <a:pt x="1631" y="15533"/>
                  </a:lnTo>
                  <a:lnTo>
                    <a:pt x="1655" y="15574"/>
                  </a:lnTo>
                  <a:lnTo>
                    <a:pt x="1681" y="15615"/>
                  </a:lnTo>
                  <a:lnTo>
                    <a:pt x="1709" y="15655"/>
                  </a:lnTo>
                  <a:lnTo>
                    <a:pt x="1738" y="15693"/>
                  </a:lnTo>
                  <a:lnTo>
                    <a:pt x="1770" y="15729"/>
                  </a:lnTo>
                  <a:lnTo>
                    <a:pt x="1804" y="15764"/>
                  </a:lnTo>
                  <a:lnTo>
                    <a:pt x="1839" y="15797"/>
                  </a:lnTo>
                  <a:lnTo>
                    <a:pt x="1875" y="15829"/>
                  </a:lnTo>
                  <a:lnTo>
                    <a:pt x="1913" y="15858"/>
                  </a:lnTo>
                  <a:lnTo>
                    <a:pt x="1953" y="15886"/>
                  </a:lnTo>
                  <a:lnTo>
                    <a:pt x="1993" y="15912"/>
                  </a:lnTo>
                  <a:lnTo>
                    <a:pt x="2035" y="15937"/>
                  </a:lnTo>
                  <a:lnTo>
                    <a:pt x="2078" y="15959"/>
                  </a:lnTo>
                  <a:lnTo>
                    <a:pt x="2124" y="15979"/>
                  </a:lnTo>
                  <a:lnTo>
                    <a:pt x="2169" y="15997"/>
                  </a:lnTo>
                  <a:lnTo>
                    <a:pt x="2216" y="16013"/>
                  </a:lnTo>
                  <a:lnTo>
                    <a:pt x="2263" y="16026"/>
                  </a:lnTo>
                  <a:lnTo>
                    <a:pt x="2312" y="16038"/>
                  </a:lnTo>
                  <a:lnTo>
                    <a:pt x="2362" y="16046"/>
                  </a:lnTo>
                  <a:lnTo>
                    <a:pt x="2412" y="16053"/>
                  </a:lnTo>
                  <a:lnTo>
                    <a:pt x="2464" y="16057"/>
                  </a:lnTo>
                  <a:lnTo>
                    <a:pt x="2515" y="16058"/>
                  </a:lnTo>
                  <a:lnTo>
                    <a:pt x="13580" y="16058"/>
                  </a:lnTo>
                  <a:lnTo>
                    <a:pt x="13632" y="16057"/>
                  </a:lnTo>
                  <a:lnTo>
                    <a:pt x="13683" y="16053"/>
                  </a:lnTo>
                  <a:lnTo>
                    <a:pt x="13733" y="16046"/>
                  </a:lnTo>
                  <a:lnTo>
                    <a:pt x="13782" y="16038"/>
                  </a:lnTo>
                  <a:lnTo>
                    <a:pt x="13832" y="16026"/>
                  </a:lnTo>
                  <a:lnTo>
                    <a:pt x="13879" y="16013"/>
                  </a:lnTo>
                  <a:lnTo>
                    <a:pt x="13926" y="15997"/>
                  </a:lnTo>
                  <a:lnTo>
                    <a:pt x="13971" y="15979"/>
                  </a:lnTo>
                  <a:lnTo>
                    <a:pt x="14016" y="15959"/>
                  </a:lnTo>
                  <a:lnTo>
                    <a:pt x="14060" y="15937"/>
                  </a:lnTo>
                  <a:lnTo>
                    <a:pt x="14101" y="15912"/>
                  </a:lnTo>
                  <a:lnTo>
                    <a:pt x="14142" y="15886"/>
                  </a:lnTo>
                  <a:lnTo>
                    <a:pt x="14182" y="15858"/>
                  </a:lnTo>
                  <a:lnTo>
                    <a:pt x="14220" y="15829"/>
                  </a:lnTo>
                  <a:lnTo>
                    <a:pt x="14256" y="15797"/>
                  </a:lnTo>
                  <a:lnTo>
                    <a:pt x="14291" y="15764"/>
                  </a:lnTo>
                  <a:lnTo>
                    <a:pt x="14325" y="15729"/>
                  </a:lnTo>
                  <a:lnTo>
                    <a:pt x="14356" y="15693"/>
                  </a:lnTo>
                  <a:lnTo>
                    <a:pt x="14386" y="15655"/>
                  </a:lnTo>
                  <a:lnTo>
                    <a:pt x="14414" y="15615"/>
                  </a:lnTo>
                  <a:lnTo>
                    <a:pt x="14440" y="15574"/>
                  </a:lnTo>
                  <a:lnTo>
                    <a:pt x="14464" y="15533"/>
                  </a:lnTo>
                  <a:lnTo>
                    <a:pt x="14487" y="15489"/>
                  </a:lnTo>
                  <a:lnTo>
                    <a:pt x="14507" y="15445"/>
                  </a:lnTo>
                  <a:lnTo>
                    <a:pt x="14525" y="15400"/>
                  </a:lnTo>
                  <a:lnTo>
                    <a:pt x="14541" y="15352"/>
                  </a:lnTo>
                  <a:lnTo>
                    <a:pt x="14554" y="15305"/>
                  </a:lnTo>
                  <a:lnTo>
                    <a:pt x="14566" y="15257"/>
                  </a:lnTo>
                  <a:lnTo>
                    <a:pt x="14574" y="15207"/>
                  </a:lnTo>
                  <a:lnTo>
                    <a:pt x="14581" y="15157"/>
                  </a:lnTo>
                  <a:lnTo>
                    <a:pt x="14585" y="15106"/>
                  </a:lnTo>
                  <a:lnTo>
                    <a:pt x="14586" y="15054"/>
                  </a:lnTo>
                  <a:lnTo>
                    <a:pt x="14586" y="8531"/>
                  </a:lnTo>
                  <a:lnTo>
                    <a:pt x="14664" y="8529"/>
                  </a:lnTo>
                  <a:lnTo>
                    <a:pt x="14740" y="8523"/>
                  </a:lnTo>
                  <a:lnTo>
                    <a:pt x="14815" y="8514"/>
                  </a:lnTo>
                  <a:lnTo>
                    <a:pt x="14890" y="8501"/>
                  </a:lnTo>
                  <a:lnTo>
                    <a:pt x="14962" y="8484"/>
                  </a:lnTo>
                  <a:lnTo>
                    <a:pt x="15034" y="8464"/>
                  </a:lnTo>
                  <a:lnTo>
                    <a:pt x="15104" y="8439"/>
                  </a:lnTo>
                  <a:lnTo>
                    <a:pt x="15173" y="8412"/>
                  </a:lnTo>
                  <a:lnTo>
                    <a:pt x="15240" y="8382"/>
                  </a:lnTo>
                  <a:lnTo>
                    <a:pt x="15304" y="8349"/>
                  </a:lnTo>
                  <a:lnTo>
                    <a:pt x="15368" y="8313"/>
                  </a:lnTo>
                  <a:lnTo>
                    <a:pt x="15429" y="8273"/>
                  </a:lnTo>
                  <a:lnTo>
                    <a:pt x="15488" y="8232"/>
                  </a:lnTo>
                  <a:lnTo>
                    <a:pt x="15545" y="8187"/>
                  </a:lnTo>
                  <a:lnTo>
                    <a:pt x="15600" y="8139"/>
                  </a:lnTo>
                  <a:lnTo>
                    <a:pt x="15652" y="8089"/>
                  </a:lnTo>
                  <a:lnTo>
                    <a:pt x="15703" y="8037"/>
                  </a:lnTo>
                  <a:lnTo>
                    <a:pt x="15750" y="7983"/>
                  </a:lnTo>
                  <a:lnTo>
                    <a:pt x="15795" y="7926"/>
                  </a:lnTo>
                  <a:lnTo>
                    <a:pt x="15836" y="7866"/>
                  </a:lnTo>
                  <a:lnTo>
                    <a:pt x="15876" y="7805"/>
                  </a:lnTo>
                  <a:lnTo>
                    <a:pt x="15913" y="7742"/>
                  </a:lnTo>
                  <a:lnTo>
                    <a:pt x="15946" y="7678"/>
                  </a:lnTo>
                  <a:lnTo>
                    <a:pt x="15976" y="7610"/>
                  </a:lnTo>
                  <a:lnTo>
                    <a:pt x="16003" y="7542"/>
                  </a:lnTo>
                  <a:lnTo>
                    <a:pt x="16027" y="7473"/>
                  </a:lnTo>
                  <a:lnTo>
                    <a:pt x="16048" y="7401"/>
                  </a:lnTo>
                  <a:lnTo>
                    <a:pt x="16064" y="7328"/>
                  </a:lnTo>
                  <a:lnTo>
                    <a:pt x="16078" y="7254"/>
                  </a:lnTo>
                  <a:lnTo>
                    <a:pt x="16087" y="7179"/>
                  </a:lnTo>
                  <a:lnTo>
                    <a:pt x="16093" y="7103"/>
                  </a:lnTo>
                  <a:lnTo>
                    <a:pt x="16095" y="7025"/>
                  </a:lnTo>
                  <a:lnTo>
                    <a:pt x="16095" y="6524"/>
                  </a:lnTo>
                  <a:lnTo>
                    <a:pt x="16095" y="6493"/>
                  </a:lnTo>
                  <a:lnTo>
                    <a:pt x="16094" y="6463"/>
                  </a:lnTo>
                  <a:lnTo>
                    <a:pt x="16092" y="6432"/>
                  </a:lnTo>
                  <a:lnTo>
                    <a:pt x="16090" y="6402"/>
                  </a:lnTo>
                  <a:lnTo>
                    <a:pt x="16087" y="6372"/>
                  </a:lnTo>
                  <a:lnTo>
                    <a:pt x="16084" y="6342"/>
                  </a:lnTo>
                  <a:lnTo>
                    <a:pt x="16080" y="6312"/>
                  </a:lnTo>
                  <a:lnTo>
                    <a:pt x="16075" y="6282"/>
                  </a:lnTo>
                  <a:lnTo>
                    <a:pt x="16070" y="6253"/>
                  </a:lnTo>
                  <a:lnTo>
                    <a:pt x="16064" y="6222"/>
                  </a:lnTo>
                  <a:lnTo>
                    <a:pt x="16058" y="6193"/>
                  </a:lnTo>
                  <a:lnTo>
                    <a:pt x="16051" y="6163"/>
                  </a:lnTo>
                  <a:lnTo>
                    <a:pt x="16044" y="6134"/>
                  </a:lnTo>
                  <a:lnTo>
                    <a:pt x="16035" y="6105"/>
                  </a:lnTo>
                  <a:lnTo>
                    <a:pt x="16027" y="6076"/>
                  </a:lnTo>
                  <a:lnTo>
                    <a:pt x="16018" y="6047"/>
                  </a:lnTo>
                  <a:lnTo>
                    <a:pt x="16007" y="6019"/>
                  </a:lnTo>
                  <a:lnTo>
                    <a:pt x="15996" y="5991"/>
                  </a:lnTo>
                  <a:lnTo>
                    <a:pt x="15985" y="5963"/>
                  </a:lnTo>
                  <a:lnTo>
                    <a:pt x="15974" y="5934"/>
                  </a:lnTo>
                  <a:lnTo>
                    <a:pt x="15962" y="5906"/>
                  </a:lnTo>
                  <a:lnTo>
                    <a:pt x="15949" y="5879"/>
                  </a:lnTo>
                  <a:lnTo>
                    <a:pt x="15936" y="5852"/>
                  </a:lnTo>
                  <a:lnTo>
                    <a:pt x="15922" y="5825"/>
                  </a:lnTo>
                  <a:lnTo>
                    <a:pt x="15908" y="5798"/>
                  </a:lnTo>
                  <a:lnTo>
                    <a:pt x="15893" y="5772"/>
                  </a:lnTo>
                  <a:lnTo>
                    <a:pt x="15878" y="5746"/>
                  </a:lnTo>
                  <a:lnTo>
                    <a:pt x="15862" y="5720"/>
                  </a:lnTo>
                  <a:lnTo>
                    <a:pt x="15846" y="5695"/>
                  </a:lnTo>
                  <a:lnTo>
                    <a:pt x="15828" y="5669"/>
                  </a:lnTo>
                  <a:lnTo>
                    <a:pt x="15811" y="5644"/>
                  </a:lnTo>
                  <a:lnTo>
                    <a:pt x="15793" y="56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16" name="iṥḷíďè">
              <a:extLst>
                <a:ext uri="{FF2B5EF4-FFF2-40B4-BE49-F238E27FC236}">
                  <a16:creationId xmlns:a16="http://schemas.microsoft.com/office/drawing/2014/main" id="{55CB1C51-7CF4-4816-BDA0-983D7F0C20D3}"/>
                </a:ext>
              </a:extLst>
            </p:cNvPr>
            <p:cNvSpPr/>
            <p:nvPr/>
          </p:nvSpPr>
          <p:spPr bwMode="auto">
            <a:xfrm>
              <a:off x="5974904" y="3444551"/>
              <a:ext cx="261690" cy="237026"/>
            </a:xfrm>
            <a:custGeom>
              <a:avLst/>
              <a:gdLst>
                <a:gd name="T0" fmla="*/ 13271 w 16095"/>
                <a:gd name="T1" fmla="*/ 332 h 14578"/>
                <a:gd name="T2" fmla="*/ 11351 w 16095"/>
                <a:gd name="T3" fmla="*/ 5 h 14578"/>
                <a:gd name="T4" fmla="*/ 9463 w 16095"/>
                <a:gd name="T5" fmla="*/ 518 h 14578"/>
                <a:gd name="T6" fmla="*/ 789 w 16095"/>
                <a:gd name="T7" fmla="*/ 8840 h 14578"/>
                <a:gd name="T8" fmla="*/ 101 w 16095"/>
                <a:gd name="T9" fmla="*/ 10223 h 14578"/>
                <a:gd name="T10" fmla="*/ 64 w 16095"/>
                <a:gd name="T11" fmla="*/ 11733 h 14578"/>
                <a:gd name="T12" fmla="*/ 680 w 16095"/>
                <a:gd name="T13" fmla="*/ 13142 h 14578"/>
                <a:gd name="T14" fmla="*/ 1881 w 16095"/>
                <a:gd name="T15" fmla="*/ 14176 h 14578"/>
                <a:gd name="T16" fmla="*/ 3350 w 16095"/>
                <a:gd name="T17" fmla="*/ 14574 h 14578"/>
                <a:gd name="T18" fmla="*/ 4844 w 16095"/>
                <a:gd name="T19" fmla="*/ 14321 h 14578"/>
                <a:gd name="T20" fmla="*/ 13346 w 16095"/>
                <a:gd name="T21" fmla="*/ 6301 h 14578"/>
                <a:gd name="T22" fmla="*/ 13942 w 16095"/>
                <a:gd name="T23" fmla="*/ 5355 h 14578"/>
                <a:gd name="T24" fmla="*/ 14071 w 16095"/>
                <a:gd name="T25" fmla="*/ 4284 h 14578"/>
                <a:gd name="T26" fmla="*/ 13735 w 16095"/>
                <a:gd name="T27" fmla="*/ 3247 h 14578"/>
                <a:gd name="T28" fmla="*/ 12951 w 16095"/>
                <a:gd name="T29" fmla="*/ 2425 h 14578"/>
                <a:gd name="T30" fmla="*/ 11928 w 16095"/>
                <a:gd name="T31" fmla="*/ 2037 h 14578"/>
                <a:gd name="T32" fmla="*/ 10852 w 16095"/>
                <a:gd name="T33" fmla="*/ 2115 h 14578"/>
                <a:gd name="T34" fmla="*/ 9884 w 16095"/>
                <a:gd name="T35" fmla="*/ 2658 h 14578"/>
                <a:gd name="T36" fmla="*/ 4173 w 16095"/>
                <a:gd name="T37" fmla="*/ 8404 h 14578"/>
                <a:gd name="T38" fmla="*/ 4125 w 16095"/>
                <a:gd name="T39" fmla="*/ 8617 h 14578"/>
                <a:gd name="T40" fmla="*/ 4173 w 16095"/>
                <a:gd name="T41" fmla="*/ 8828 h 14578"/>
                <a:gd name="T42" fmla="*/ 4311 w 16095"/>
                <a:gd name="T43" fmla="*/ 9007 h 14578"/>
                <a:gd name="T44" fmla="*/ 4509 w 16095"/>
                <a:gd name="T45" fmla="*/ 9105 h 14578"/>
                <a:gd name="T46" fmla="*/ 4725 w 16095"/>
                <a:gd name="T47" fmla="*/ 9110 h 14578"/>
                <a:gd name="T48" fmla="*/ 4926 w 16095"/>
                <a:gd name="T49" fmla="*/ 9022 h 14578"/>
                <a:gd name="T50" fmla="*/ 10802 w 16095"/>
                <a:gd name="T51" fmla="*/ 3226 h 14578"/>
                <a:gd name="T52" fmla="*/ 11423 w 16095"/>
                <a:gd name="T53" fmla="*/ 3024 h 14578"/>
                <a:gd name="T54" fmla="*/ 12067 w 16095"/>
                <a:gd name="T55" fmla="*/ 3101 h 14578"/>
                <a:gd name="T56" fmla="*/ 12635 w 16095"/>
                <a:gd name="T57" fmla="*/ 3458 h 14578"/>
                <a:gd name="T58" fmla="*/ 12992 w 16095"/>
                <a:gd name="T59" fmla="*/ 4025 h 14578"/>
                <a:gd name="T60" fmla="*/ 13069 w 16095"/>
                <a:gd name="T61" fmla="*/ 4669 h 14578"/>
                <a:gd name="T62" fmla="*/ 12868 w 16095"/>
                <a:gd name="T63" fmla="*/ 5291 h 14578"/>
                <a:gd name="T64" fmla="*/ 5006 w 16095"/>
                <a:gd name="T65" fmla="*/ 13088 h 14578"/>
                <a:gd name="T66" fmla="*/ 3999 w 16095"/>
                <a:gd name="T67" fmla="*/ 13528 h 14578"/>
                <a:gd name="T68" fmla="*/ 2920 w 16095"/>
                <a:gd name="T69" fmla="*/ 13502 h 14578"/>
                <a:gd name="T70" fmla="*/ 1931 w 16095"/>
                <a:gd name="T71" fmla="*/ 13011 h 14578"/>
                <a:gd name="T72" fmla="*/ 1237 w 16095"/>
                <a:gd name="T73" fmla="*/ 12119 h 14578"/>
                <a:gd name="T74" fmla="*/ 1004 w 16095"/>
                <a:gd name="T75" fmla="*/ 11060 h 14578"/>
                <a:gd name="T76" fmla="*/ 1237 w 16095"/>
                <a:gd name="T77" fmla="*/ 10003 h 14578"/>
                <a:gd name="T78" fmla="*/ 9139 w 16095"/>
                <a:gd name="T79" fmla="*/ 1982 h 14578"/>
                <a:gd name="T80" fmla="*/ 10495 w 16095"/>
                <a:gd name="T81" fmla="*/ 1221 h 14578"/>
                <a:gd name="T82" fmla="*/ 12003 w 16095"/>
                <a:gd name="T83" fmla="*/ 1113 h 14578"/>
                <a:gd name="T84" fmla="*/ 13433 w 16095"/>
                <a:gd name="T85" fmla="*/ 1657 h 14578"/>
                <a:gd name="T86" fmla="*/ 14530 w 16095"/>
                <a:gd name="T87" fmla="*/ 2808 h 14578"/>
                <a:gd name="T88" fmla="*/ 15002 w 16095"/>
                <a:gd name="T89" fmla="*/ 4258 h 14578"/>
                <a:gd name="T90" fmla="*/ 14820 w 16095"/>
                <a:gd name="T91" fmla="*/ 5759 h 14578"/>
                <a:gd name="T92" fmla="*/ 13987 w 16095"/>
                <a:gd name="T93" fmla="*/ 7083 h 14578"/>
                <a:gd name="T94" fmla="*/ 8431 w 16095"/>
                <a:gd name="T95" fmla="*/ 12692 h 14578"/>
                <a:gd name="T96" fmla="*/ 8395 w 16095"/>
                <a:gd name="T97" fmla="*/ 12905 h 14578"/>
                <a:gd name="T98" fmla="*/ 8451 w 16095"/>
                <a:gd name="T99" fmla="*/ 13115 h 14578"/>
                <a:gd name="T100" fmla="*/ 8600 w 16095"/>
                <a:gd name="T101" fmla="*/ 13286 h 14578"/>
                <a:gd name="T102" fmla="*/ 8801 w 16095"/>
                <a:gd name="T103" fmla="*/ 13375 h 14578"/>
                <a:gd name="T104" fmla="*/ 9017 w 16095"/>
                <a:gd name="T105" fmla="*/ 13370 h 14578"/>
                <a:gd name="T106" fmla="*/ 9214 w 16095"/>
                <a:gd name="T107" fmla="*/ 13271 h 14578"/>
                <a:gd name="T108" fmla="*/ 15577 w 16095"/>
                <a:gd name="T109" fmla="*/ 6628 h 14578"/>
                <a:gd name="T110" fmla="*/ 16090 w 16095"/>
                <a:gd name="T111" fmla="*/ 4742 h 14578"/>
                <a:gd name="T112" fmla="*/ 15763 w 16095"/>
                <a:gd name="T113" fmla="*/ 2822 h 14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4578">
                  <a:moveTo>
                    <a:pt x="14768" y="1326"/>
                  </a:moveTo>
                  <a:lnTo>
                    <a:pt x="14600" y="1165"/>
                  </a:lnTo>
                  <a:lnTo>
                    <a:pt x="14425" y="1015"/>
                  </a:lnTo>
                  <a:lnTo>
                    <a:pt x="14244" y="875"/>
                  </a:lnTo>
                  <a:lnTo>
                    <a:pt x="14059" y="746"/>
                  </a:lnTo>
                  <a:lnTo>
                    <a:pt x="13868" y="626"/>
                  </a:lnTo>
                  <a:lnTo>
                    <a:pt x="13673" y="518"/>
                  </a:lnTo>
                  <a:lnTo>
                    <a:pt x="13474" y="419"/>
                  </a:lnTo>
                  <a:lnTo>
                    <a:pt x="13271" y="332"/>
                  </a:lnTo>
                  <a:lnTo>
                    <a:pt x="13065" y="253"/>
                  </a:lnTo>
                  <a:lnTo>
                    <a:pt x="12857" y="187"/>
                  </a:lnTo>
                  <a:lnTo>
                    <a:pt x="12646" y="130"/>
                  </a:lnTo>
                  <a:lnTo>
                    <a:pt x="12432" y="83"/>
                  </a:lnTo>
                  <a:lnTo>
                    <a:pt x="12218" y="46"/>
                  </a:lnTo>
                  <a:lnTo>
                    <a:pt x="12002" y="21"/>
                  </a:lnTo>
                  <a:lnTo>
                    <a:pt x="11786" y="5"/>
                  </a:lnTo>
                  <a:lnTo>
                    <a:pt x="11568" y="0"/>
                  </a:lnTo>
                  <a:lnTo>
                    <a:pt x="11351" y="5"/>
                  </a:lnTo>
                  <a:lnTo>
                    <a:pt x="11134" y="21"/>
                  </a:lnTo>
                  <a:lnTo>
                    <a:pt x="10918" y="46"/>
                  </a:lnTo>
                  <a:lnTo>
                    <a:pt x="10703" y="83"/>
                  </a:lnTo>
                  <a:lnTo>
                    <a:pt x="10490" y="130"/>
                  </a:lnTo>
                  <a:lnTo>
                    <a:pt x="10280" y="187"/>
                  </a:lnTo>
                  <a:lnTo>
                    <a:pt x="10070" y="253"/>
                  </a:lnTo>
                  <a:lnTo>
                    <a:pt x="9864" y="332"/>
                  </a:lnTo>
                  <a:lnTo>
                    <a:pt x="9662" y="419"/>
                  </a:lnTo>
                  <a:lnTo>
                    <a:pt x="9463" y="518"/>
                  </a:lnTo>
                  <a:lnTo>
                    <a:pt x="9268" y="626"/>
                  </a:lnTo>
                  <a:lnTo>
                    <a:pt x="9078" y="746"/>
                  </a:lnTo>
                  <a:lnTo>
                    <a:pt x="8891" y="875"/>
                  </a:lnTo>
                  <a:lnTo>
                    <a:pt x="8711" y="1015"/>
                  </a:lnTo>
                  <a:lnTo>
                    <a:pt x="8536" y="1165"/>
                  </a:lnTo>
                  <a:lnTo>
                    <a:pt x="8367" y="1326"/>
                  </a:lnTo>
                  <a:lnTo>
                    <a:pt x="1029" y="8572"/>
                  </a:lnTo>
                  <a:lnTo>
                    <a:pt x="904" y="8704"/>
                  </a:lnTo>
                  <a:lnTo>
                    <a:pt x="789" y="8840"/>
                  </a:lnTo>
                  <a:lnTo>
                    <a:pt x="680" y="8979"/>
                  </a:lnTo>
                  <a:lnTo>
                    <a:pt x="579" y="9124"/>
                  </a:lnTo>
                  <a:lnTo>
                    <a:pt x="487" y="9272"/>
                  </a:lnTo>
                  <a:lnTo>
                    <a:pt x="402" y="9424"/>
                  </a:lnTo>
                  <a:lnTo>
                    <a:pt x="326" y="9579"/>
                  </a:lnTo>
                  <a:lnTo>
                    <a:pt x="258" y="9736"/>
                  </a:lnTo>
                  <a:lnTo>
                    <a:pt x="197" y="9896"/>
                  </a:lnTo>
                  <a:lnTo>
                    <a:pt x="145" y="10058"/>
                  </a:lnTo>
                  <a:lnTo>
                    <a:pt x="101" y="10223"/>
                  </a:lnTo>
                  <a:lnTo>
                    <a:pt x="64" y="10388"/>
                  </a:lnTo>
                  <a:lnTo>
                    <a:pt x="36" y="10556"/>
                  </a:lnTo>
                  <a:lnTo>
                    <a:pt x="16" y="10724"/>
                  </a:lnTo>
                  <a:lnTo>
                    <a:pt x="4" y="10892"/>
                  </a:lnTo>
                  <a:lnTo>
                    <a:pt x="0" y="11060"/>
                  </a:lnTo>
                  <a:lnTo>
                    <a:pt x="4" y="11229"/>
                  </a:lnTo>
                  <a:lnTo>
                    <a:pt x="16" y="11398"/>
                  </a:lnTo>
                  <a:lnTo>
                    <a:pt x="36" y="11566"/>
                  </a:lnTo>
                  <a:lnTo>
                    <a:pt x="64" y="11733"/>
                  </a:lnTo>
                  <a:lnTo>
                    <a:pt x="101" y="11899"/>
                  </a:lnTo>
                  <a:lnTo>
                    <a:pt x="145" y="12064"/>
                  </a:lnTo>
                  <a:lnTo>
                    <a:pt x="197" y="12226"/>
                  </a:lnTo>
                  <a:lnTo>
                    <a:pt x="258" y="12385"/>
                  </a:lnTo>
                  <a:lnTo>
                    <a:pt x="326" y="12543"/>
                  </a:lnTo>
                  <a:lnTo>
                    <a:pt x="402" y="12698"/>
                  </a:lnTo>
                  <a:lnTo>
                    <a:pt x="487" y="12850"/>
                  </a:lnTo>
                  <a:lnTo>
                    <a:pt x="579" y="12998"/>
                  </a:lnTo>
                  <a:lnTo>
                    <a:pt x="680" y="13142"/>
                  </a:lnTo>
                  <a:lnTo>
                    <a:pt x="789" y="13282"/>
                  </a:lnTo>
                  <a:lnTo>
                    <a:pt x="904" y="13418"/>
                  </a:lnTo>
                  <a:lnTo>
                    <a:pt x="1029" y="13550"/>
                  </a:lnTo>
                  <a:lnTo>
                    <a:pt x="1161" y="13673"/>
                  </a:lnTo>
                  <a:lnTo>
                    <a:pt x="1297" y="13790"/>
                  </a:lnTo>
                  <a:lnTo>
                    <a:pt x="1436" y="13898"/>
                  </a:lnTo>
                  <a:lnTo>
                    <a:pt x="1581" y="13999"/>
                  </a:lnTo>
                  <a:lnTo>
                    <a:pt x="1729" y="14091"/>
                  </a:lnTo>
                  <a:lnTo>
                    <a:pt x="1881" y="14176"/>
                  </a:lnTo>
                  <a:lnTo>
                    <a:pt x="2036" y="14252"/>
                  </a:lnTo>
                  <a:lnTo>
                    <a:pt x="2193" y="14321"/>
                  </a:lnTo>
                  <a:lnTo>
                    <a:pt x="2354" y="14381"/>
                  </a:lnTo>
                  <a:lnTo>
                    <a:pt x="2516" y="14433"/>
                  </a:lnTo>
                  <a:lnTo>
                    <a:pt x="2680" y="14477"/>
                  </a:lnTo>
                  <a:lnTo>
                    <a:pt x="2846" y="14514"/>
                  </a:lnTo>
                  <a:lnTo>
                    <a:pt x="3013" y="14542"/>
                  </a:lnTo>
                  <a:lnTo>
                    <a:pt x="3181" y="14562"/>
                  </a:lnTo>
                  <a:lnTo>
                    <a:pt x="3350" y="14574"/>
                  </a:lnTo>
                  <a:lnTo>
                    <a:pt x="3519" y="14578"/>
                  </a:lnTo>
                  <a:lnTo>
                    <a:pt x="3688" y="14574"/>
                  </a:lnTo>
                  <a:lnTo>
                    <a:pt x="3857" y="14562"/>
                  </a:lnTo>
                  <a:lnTo>
                    <a:pt x="4025" y="14542"/>
                  </a:lnTo>
                  <a:lnTo>
                    <a:pt x="4192" y="14514"/>
                  </a:lnTo>
                  <a:lnTo>
                    <a:pt x="4358" y="14477"/>
                  </a:lnTo>
                  <a:lnTo>
                    <a:pt x="4522" y="14433"/>
                  </a:lnTo>
                  <a:lnTo>
                    <a:pt x="4684" y="14381"/>
                  </a:lnTo>
                  <a:lnTo>
                    <a:pt x="4844" y="14321"/>
                  </a:lnTo>
                  <a:lnTo>
                    <a:pt x="5002" y="14252"/>
                  </a:lnTo>
                  <a:lnTo>
                    <a:pt x="5156" y="14176"/>
                  </a:lnTo>
                  <a:lnTo>
                    <a:pt x="5308" y="14091"/>
                  </a:lnTo>
                  <a:lnTo>
                    <a:pt x="5456" y="13999"/>
                  </a:lnTo>
                  <a:lnTo>
                    <a:pt x="5601" y="13898"/>
                  </a:lnTo>
                  <a:lnTo>
                    <a:pt x="5741" y="13790"/>
                  </a:lnTo>
                  <a:lnTo>
                    <a:pt x="5877" y="13673"/>
                  </a:lnTo>
                  <a:lnTo>
                    <a:pt x="6007" y="13550"/>
                  </a:lnTo>
                  <a:lnTo>
                    <a:pt x="13346" y="6301"/>
                  </a:lnTo>
                  <a:lnTo>
                    <a:pt x="13435" y="6208"/>
                  </a:lnTo>
                  <a:lnTo>
                    <a:pt x="13519" y="6110"/>
                  </a:lnTo>
                  <a:lnTo>
                    <a:pt x="13596" y="6011"/>
                  </a:lnTo>
                  <a:lnTo>
                    <a:pt x="13669" y="5907"/>
                  </a:lnTo>
                  <a:lnTo>
                    <a:pt x="13735" y="5802"/>
                  </a:lnTo>
                  <a:lnTo>
                    <a:pt x="13795" y="5693"/>
                  </a:lnTo>
                  <a:lnTo>
                    <a:pt x="13850" y="5582"/>
                  </a:lnTo>
                  <a:lnTo>
                    <a:pt x="13899" y="5470"/>
                  </a:lnTo>
                  <a:lnTo>
                    <a:pt x="13942" y="5355"/>
                  </a:lnTo>
                  <a:lnTo>
                    <a:pt x="13980" y="5240"/>
                  </a:lnTo>
                  <a:lnTo>
                    <a:pt x="14011" y="5123"/>
                  </a:lnTo>
                  <a:lnTo>
                    <a:pt x="14037" y="5004"/>
                  </a:lnTo>
                  <a:lnTo>
                    <a:pt x="14057" y="4885"/>
                  </a:lnTo>
                  <a:lnTo>
                    <a:pt x="14071" y="4765"/>
                  </a:lnTo>
                  <a:lnTo>
                    <a:pt x="14080" y="4645"/>
                  </a:lnTo>
                  <a:lnTo>
                    <a:pt x="14083" y="4524"/>
                  </a:lnTo>
                  <a:lnTo>
                    <a:pt x="14080" y="4404"/>
                  </a:lnTo>
                  <a:lnTo>
                    <a:pt x="14071" y="4284"/>
                  </a:lnTo>
                  <a:lnTo>
                    <a:pt x="14057" y="4164"/>
                  </a:lnTo>
                  <a:lnTo>
                    <a:pt x="14037" y="4044"/>
                  </a:lnTo>
                  <a:lnTo>
                    <a:pt x="14011" y="3926"/>
                  </a:lnTo>
                  <a:lnTo>
                    <a:pt x="13980" y="3809"/>
                  </a:lnTo>
                  <a:lnTo>
                    <a:pt x="13942" y="3693"/>
                  </a:lnTo>
                  <a:lnTo>
                    <a:pt x="13899" y="3579"/>
                  </a:lnTo>
                  <a:lnTo>
                    <a:pt x="13850" y="3466"/>
                  </a:lnTo>
                  <a:lnTo>
                    <a:pt x="13795" y="3356"/>
                  </a:lnTo>
                  <a:lnTo>
                    <a:pt x="13735" y="3247"/>
                  </a:lnTo>
                  <a:lnTo>
                    <a:pt x="13669" y="3142"/>
                  </a:lnTo>
                  <a:lnTo>
                    <a:pt x="13596" y="3038"/>
                  </a:lnTo>
                  <a:lnTo>
                    <a:pt x="13519" y="2939"/>
                  </a:lnTo>
                  <a:lnTo>
                    <a:pt x="13435" y="2841"/>
                  </a:lnTo>
                  <a:lnTo>
                    <a:pt x="13346" y="2748"/>
                  </a:lnTo>
                  <a:lnTo>
                    <a:pt x="13252" y="2658"/>
                  </a:lnTo>
                  <a:lnTo>
                    <a:pt x="13156" y="2575"/>
                  </a:lnTo>
                  <a:lnTo>
                    <a:pt x="13055" y="2497"/>
                  </a:lnTo>
                  <a:lnTo>
                    <a:pt x="12951" y="2425"/>
                  </a:lnTo>
                  <a:lnTo>
                    <a:pt x="12846" y="2359"/>
                  </a:lnTo>
                  <a:lnTo>
                    <a:pt x="12737" y="2299"/>
                  </a:lnTo>
                  <a:lnTo>
                    <a:pt x="12627" y="2244"/>
                  </a:lnTo>
                  <a:lnTo>
                    <a:pt x="12514" y="2196"/>
                  </a:lnTo>
                  <a:lnTo>
                    <a:pt x="12400" y="2152"/>
                  </a:lnTo>
                  <a:lnTo>
                    <a:pt x="12284" y="2115"/>
                  </a:lnTo>
                  <a:lnTo>
                    <a:pt x="12167" y="2083"/>
                  </a:lnTo>
                  <a:lnTo>
                    <a:pt x="12048" y="2057"/>
                  </a:lnTo>
                  <a:lnTo>
                    <a:pt x="11928" y="2037"/>
                  </a:lnTo>
                  <a:lnTo>
                    <a:pt x="11809" y="2023"/>
                  </a:lnTo>
                  <a:lnTo>
                    <a:pt x="11689" y="2015"/>
                  </a:lnTo>
                  <a:lnTo>
                    <a:pt x="11568" y="2012"/>
                  </a:lnTo>
                  <a:lnTo>
                    <a:pt x="11448" y="2015"/>
                  </a:lnTo>
                  <a:lnTo>
                    <a:pt x="11327" y="2023"/>
                  </a:lnTo>
                  <a:lnTo>
                    <a:pt x="11207" y="2037"/>
                  </a:lnTo>
                  <a:lnTo>
                    <a:pt x="11087" y="2057"/>
                  </a:lnTo>
                  <a:lnTo>
                    <a:pt x="10969" y="2083"/>
                  </a:lnTo>
                  <a:lnTo>
                    <a:pt x="10852" y="2115"/>
                  </a:lnTo>
                  <a:lnTo>
                    <a:pt x="10736" y="2152"/>
                  </a:lnTo>
                  <a:lnTo>
                    <a:pt x="10622" y="2196"/>
                  </a:lnTo>
                  <a:lnTo>
                    <a:pt x="10509" y="2244"/>
                  </a:lnTo>
                  <a:lnTo>
                    <a:pt x="10398" y="2299"/>
                  </a:lnTo>
                  <a:lnTo>
                    <a:pt x="10291" y="2359"/>
                  </a:lnTo>
                  <a:lnTo>
                    <a:pt x="10184" y="2425"/>
                  </a:lnTo>
                  <a:lnTo>
                    <a:pt x="10082" y="2497"/>
                  </a:lnTo>
                  <a:lnTo>
                    <a:pt x="9981" y="2575"/>
                  </a:lnTo>
                  <a:lnTo>
                    <a:pt x="9884" y="2658"/>
                  </a:lnTo>
                  <a:lnTo>
                    <a:pt x="9790" y="2748"/>
                  </a:lnTo>
                  <a:lnTo>
                    <a:pt x="4273" y="8261"/>
                  </a:lnTo>
                  <a:lnTo>
                    <a:pt x="4255" y="8279"/>
                  </a:lnTo>
                  <a:lnTo>
                    <a:pt x="4239" y="8299"/>
                  </a:lnTo>
                  <a:lnTo>
                    <a:pt x="4223" y="8319"/>
                  </a:lnTo>
                  <a:lnTo>
                    <a:pt x="4209" y="8339"/>
                  </a:lnTo>
                  <a:lnTo>
                    <a:pt x="4196" y="8361"/>
                  </a:lnTo>
                  <a:lnTo>
                    <a:pt x="4184" y="8382"/>
                  </a:lnTo>
                  <a:lnTo>
                    <a:pt x="4173" y="8404"/>
                  </a:lnTo>
                  <a:lnTo>
                    <a:pt x="4163" y="8427"/>
                  </a:lnTo>
                  <a:lnTo>
                    <a:pt x="4154" y="8450"/>
                  </a:lnTo>
                  <a:lnTo>
                    <a:pt x="4146" y="8473"/>
                  </a:lnTo>
                  <a:lnTo>
                    <a:pt x="4140" y="8497"/>
                  </a:lnTo>
                  <a:lnTo>
                    <a:pt x="4134" y="8520"/>
                  </a:lnTo>
                  <a:lnTo>
                    <a:pt x="4130" y="8544"/>
                  </a:lnTo>
                  <a:lnTo>
                    <a:pt x="4128" y="8568"/>
                  </a:lnTo>
                  <a:lnTo>
                    <a:pt x="4126" y="8592"/>
                  </a:lnTo>
                  <a:lnTo>
                    <a:pt x="4125" y="8617"/>
                  </a:lnTo>
                  <a:lnTo>
                    <a:pt x="4126" y="8640"/>
                  </a:lnTo>
                  <a:lnTo>
                    <a:pt x="4128" y="8664"/>
                  </a:lnTo>
                  <a:lnTo>
                    <a:pt x="4130" y="8688"/>
                  </a:lnTo>
                  <a:lnTo>
                    <a:pt x="4134" y="8712"/>
                  </a:lnTo>
                  <a:lnTo>
                    <a:pt x="4140" y="8736"/>
                  </a:lnTo>
                  <a:lnTo>
                    <a:pt x="4146" y="8759"/>
                  </a:lnTo>
                  <a:lnTo>
                    <a:pt x="4154" y="8782"/>
                  </a:lnTo>
                  <a:lnTo>
                    <a:pt x="4163" y="8806"/>
                  </a:lnTo>
                  <a:lnTo>
                    <a:pt x="4173" y="8828"/>
                  </a:lnTo>
                  <a:lnTo>
                    <a:pt x="4184" y="8850"/>
                  </a:lnTo>
                  <a:lnTo>
                    <a:pt x="4196" y="8872"/>
                  </a:lnTo>
                  <a:lnTo>
                    <a:pt x="4209" y="8893"/>
                  </a:lnTo>
                  <a:lnTo>
                    <a:pt x="4223" y="8913"/>
                  </a:lnTo>
                  <a:lnTo>
                    <a:pt x="4239" y="8933"/>
                  </a:lnTo>
                  <a:lnTo>
                    <a:pt x="4255" y="8953"/>
                  </a:lnTo>
                  <a:lnTo>
                    <a:pt x="4273" y="8971"/>
                  </a:lnTo>
                  <a:lnTo>
                    <a:pt x="4292" y="8989"/>
                  </a:lnTo>
                  <a:lnTo>
                    <a:pt x="4311" y="9007"/>
                  </a:lnTo>
                  <a:lnTo>
                    <a:pt x="4332" y="9022"/>
                  </a:lnTo>
                  <a:lnTo>
                    <a:pt x="4352" y="9036"/>
                  </a:lnTo>
                  <a:lnTo>
                    <a:pt x="4373" y="9050"/>
                  </a:lnTo>
                  <a:lnTo>
                    <a:pt x="4395" y="9062"/>
                  </a:lnTo>
                  <a:lnTo>
                    <a:pt x="4417" y="9073"/>
                  </a:lnTo>
                  <a:lnTo>
                    <a:pt x="4439" y="9082"/>
                  </a:lnTo>
                  <a:lnTo>
                    <a:pt x="4462" y="9091"/>
                  </a:lnTo>
                  <a:lnTo>
                    <a:pt x="4485" y="9098"/>
                  </a:lnTo>
                  <a:lnTo>
                    <a:pt x="4509" y="9105"/>
                  </a:lnTo>
                  <a:lnTo>
                    <a:pt x="4533" y="9110"/>
                  </a:lnTo>
                  <a:lnTo>
                    <a:pt x="4557" y="9114"/>
                  </a:lnTo>
                  <a:lnTo>
                    <a:pt x="4580" y="9117"/>
                  </a:lnTo>
                  <a:lnTo>
                    <a:pt x="4604" y="9118"/>
                  </a:lnTo>
                  <a:lnTo>
                    <a:pt x="4628" y="9119"/>
                  </a:lnTo>
                  <a:lnTo>
                    <a:pt x="4652" y="9118"/>
                  </a:lnTo>
                  <a:lnTo>
                    <a:pt x="4677" y="9117"/>
                  </a:lnTo>
                  <a:lnTo>
                    <a:pt x="4701" y="9114"/>
                  </a:lnTo>
                  <a:lnTo>
                    <a:pt x="4725" y="9110"/>
                  </a:lnTo>
                  <a:lnTo>
                    <a:pt x="4748" y="9105"/>
                  </a:lnTo>
                  <a:lnTo>
                    <a:pt x="4772" y="9098"/>
                  </a:lnTo>
                  <a:lnTo>
                    <a:pt x="4795" y="9091"/>
                  </a:lnTo>
                  <a:lnTo>
                    <a:pt x="4817" y="9082"/>
                  </a:lnTo>
                  <a:lnTo>
                    <a:pt x="4841" y="9073"/>
                  </a:lnTo>
                  <a:lnTo>
                    <a:pt x="4863" y="9062"/>
                  </a:lnTo>
                  <a:lnTo>
                    <a:pt x="4884" y="9050"/>
                  </a:lnTo>
                  <a:lnTo>
                    <a:pt x="4905" y="9036"/>
                  </a:lnTo>
                  <a:lnTo>
                    <a:pt x="4926" y="9022"/>
                  </a:lnTo>
                  <a:lnTo>
                    <a:pt x="4946" y="9007"/>
                  </a:lnTo>
                  <a:lnTo>
                    <a:pt x="4965" y="8989"/>
                  </a:lnTo>
                  <a:lnTo>
                    <a:pt x="4984" y="8971"/>
                  </a:lnTo>
                  <a:lnTo>
                    <a:pt x="10501" y="3458"/>
                  </a:lnTo>
                  <a:lnTo>
                    <a:pt x="10557" y="3405"/>
                  </a:lnTo>
                  <a:lnTo>
                    <a:pt x="10616" y="3355"/>
                  </a:lnTo>
                  <a:lnTo>
                    <a:pt x="10676" y="3308"/>
                  </a:lnTo>
                  <a:lnTo>
                    <a:pt x="10738" y="3265"/>
                  </a:lnTo>
                  <a:lnTo>
                    <a:pt x="10802" y="3226"/>
                  </a:lnTo>
                  <a:lnTo>
                    <a:pt x="10866" y="3190"/>
                  </a:lnTo>
                  <a:lnTo>
                    <a:pt x="10933" y="3157"/>
                  </a:lnTo>
                  <a:lnTo>
                    <a:pt x="11000" y="3128"/>
                  </a:lnTo>
                  <a:lnTo>
                    <a:pt x="11069" y="3101"/>
                  </a:lnTo>
                  <a:lnTo>
                    <a:pt x="11139" y="3079"/>
                  </a:lnTo>
                  <a:lnTo>
                    <a:pt x="11209" y="3060"/>
                  </a:lnTo>
                  <a:lnTo>
                    <a:pt x="11280" y="3045"/>
                  </a:lnTo>
                  <a:lnTo>
                    <a:pt x="11352" y="3033"/>
                  </a:lnTo>
                  <a:lnTo>
                    <a:pt x="11423" y="3024"/>
                  </a:lnTo>
                  <a:lnTo>
                    <a:pt x="11496" y="3019"/>
                  </a:lnTo>
                  <a:lnTo>
                    <a:pt x="11568" y="3017"/>
                  </a:lnTo>
                  <a:lnTo>
                    <a:pt x="11641" y="3019"/>
                  </a:lnTo>
                  <a:lnTo>
                    <a:pt x="11713" y="3024"/>
                  </a:lnTo>
                  <a:lnTo>
                    <a:pt x="11785" y="3033"/>
                  </a:lnTo>
                  <a:lnTo>
                    <a:pt x="11857" y="3045"/>
                  </a:lnTo>
                  <a:lnTo>
                    <a:pt x="11927" y="3060"/>
                  </a:lnTo>
                  <a:lnTo>
                    <a:pt x="11998" y="3079"/>
                  </a:lnTo>
                  <a:lnTo>
                    <a:pt x="12067" y="3101"/>
                  </a:lnTo>
                  <a:lnTo>
                    <a:pt x="12137" y="3128"/>
                  </a:lnTo>
                  <a:lnTo>
                    <a:pt x="12204" y="3157"/>
                  </a:lnTo>
                  <a:lnTo>
                    <a:pt x="12270" y="3190"/>
                  </a:lnTo>
                  <a:lnTo>
                    <a:pt x="12335" y="3226"/>
                  </a:lnTo>
                  <a:lnTo>
                    <a:pt x="12398" y="3265"/>
                  </a:lnTo>
                  <a:lnTo>
                    <a:pt x="12461" y="3308"/>
                  </a:lnTo>
                  <a:lnTo>
                    <a:pt x="12521" y="3355"/>
                  </a:lnTo>
                  <a:lnTo>
                    <a:pt x="12579" y="3405"/>
                  </a:lnTo>
                  <a:lnTo>
                    <a:pt x="12635" y="3458"/>
                  </a:lnTo>
                  <a:lnTo>
                    <a:pt x="12689" y="3515"/>
                  </a:lnTo>
                  <a:lnTo>
                    <a:pt x="12738" y="3572"/>
                  </a:lnTo>
                  <a:lnTo>
                    <a:pt x="12785" y="3632"/>
                  </a:lnTo>
                  <a:lnTo>
                    <a:pt x="12828" y="3695"/>
                  </a:lnTo>
                  <a:lnTo>
                    <a:pt x="12868" y="3758"/>
                  </a:lnTo>
                  <a:lnTo>
                    <a:pt x="12904" y="3823"/>
                  </a:lnTo>
                  <a:lnTo>
                    <a:pt x="12936" y="3890"/>
                  </a:lnTo>
                  <a:lnTo>
                    <a:pt x="12967" y="3957"/>
                  </a:lnTo>
                  <a:lnTo>
                    <a:pt x="12992" y="4025"/>
                  </a:lnTo>
                  <a:lnTo>
                    <a:pt x="13015" y="4095"/>
                  </a:lnTo>
                  <a:lnTo>
                    <a:pt x="13033" y="4165"/>
                  </a:lnTo>
                  <a:lnTo>
                    <a:pt x="13049" y="4236"/>
                  </a:lnTo>
                  <a:lnTo>
                    <a:pt x="13061" y="4308"/>
                  </a:lnTo>
                  <a:lnTo>
                    <a:pt x="13069" y="4380"/>
                  </a:lnTo>
                  <a:lnTo>
                    <a:pt x="13075" y="4452"/>
                  </a:lnTo>
                  <a:lnTo>
                    <a:pt x="13076" y="4524"/>
                  </a:lnTo>
                  <a:lnTo>
                    <a:pt x="13075" y="4596"/>
                  </a:lnTo>
                  <a:lnTo>
                    <a:pt x="13069" y="4669"/>
                  </a:lnTo>
                  <a:lnTo>
                    <a:pt x="13061" y="4741"/>
                  </a:lnTo>
                  <a:lnTo>
                    <a:pt x="13049" y="4812"/>
                  </a:lnTo>
                  <a:lnTo>
                    <a:pt x="13033" y="4884"/>
                  </a:lnTo>
                  <a:lnTo>
                    <a:pt x="13015" y="4954"/>
                  </a:lnTo>
                  <a:lnTo>
                    <a:pt x="12992" y="5024"/>
                  </a:lnTo>
                  <a:lnTo>
                    <a:pt x="12967" y="5092"/>
                  </a:lnTo>
                  <a:lnTo>
                    <a:pt x="12936" y="5159"/>
                  </a:lnTo>
                  <a:lnTo>
                    <a:pt x="12904" y="5226"/>
                  </a:lnTo>
                  <a:lnTo>
                    <a:pt x="12868" y="5291"/>
                  </a:lnTo>
                  <a:lnTo>
                    <a:pt x="12828" y="5354"/>
                  </a:lnTo>
                  <a:lnTo>
                    <a:pt x="12785" y="5417"/>
                  </a:lnTo>
                  <a:lnTo>
                    <a:pt x="12738" y="5476"/>
                  </a:lnTo>
                  <a:lnTo>
                    <a:pt x="12689" y="5534"/>
                  </a:lnTo>
                  <a:lnTo>
                    <a:pt x="12635" y="5591"/>
                  </a:lnTo>
                  <a:lnTo>
                    <a:pt x="5297" y="12838"/>
                  </a:lnTo>
                  <a:lnTo>
                    <a:pt x="5203" y="12927"/>
                  </a:lnTo>
                  <a:lnTo>
                    <a:pt x="5106" y="13011"/>
                  </a:lnTo>
                  <a:lnTo>
                    <a:pt x="5006" y="13088"/>
                  </a:lnTo>
                  <a:lnTo>
                    <a:pt x="4902" y="13160"/>
                  </a:lnTo>
                  <a:lnTo>
                    <a:pt x="4796" y="13226"/>
                  </a:lnTo>
                  <a:lnTo>
                    <a:pt x="4688" y="13286"/>
                  </a:lnTo>
                  <a:lnTo>
                    <a:pt x="4577" y="13341"/>
                  </a:lnTo>
                  <a:lnTo>
                    <a:pt x="4465" y="13390"/>
                  </a:lnTo>
                  <a:lnTo>
                    <a:pt x="4351" y="13433"/>
                  </a:lnTo>
                  <a:lnTo>
                    <a:pt x="4235" y="13470"/>
                  </a:lnTo>
                  <a:lnTo>
                    <a:pt x="4117" y="13502"/>
                  </a:lnTo>
                  <a:lnTo>
                    <a:pt x="3999" y="13528"/>
                  </a:lnTo>
                  <a:lnTo>
                    <a:pt x="3880" y="13549"/>
                  </a:lnTo>
                  <a:lnTo>
                    <a:pt x="3760" y="13563"/>
                  </a:lnTo>
                  <a:lnTo>
                    <a:pt x="3639" y="13571"/>
                  </a:lnTo>
                  <a:lnTo>
                    <a:pt x="3519" y="13574"/>
                  </a:lnTo>
                  <a:lnTo>
                    <a:pt x="3398" y="13571"/>
                  </a:lnTo>
                  <a:lnTo>
                    <a:pt x="3277" y="13563"/>
                  </a:lnTo>
                  <a:lnTo>
                    <a:pt x="3158" y="13549"/>
                  </a:lnTo>
                  <a:lnTo>
                    <a:pt x="3039" y="13528"/>
                  </a:lnTo>
                  <a:lnTo>
                    <a:pt x="2920" y="13502"/>
                  </a:lnTo>
                  <a:lnTo>
                    <a:pt x="2803" y="13470"/>
                  </a:lnTo>
                  <a:lnTo>
                    <a:pt x="2687" y="13433"/>
                  </a:lnTo>
                  <a:lnTo>
                    <a:pt x="2572" y="13390"/>
                  </a:lnTo>
                  <a:lnTo>
                    <a:pt x="2460" y="13341"/>
                  </a:lnTo>
                  <a:lnTo>
                    <a:pt x="2350" y="13286"/>
                  </a:lnTo>
                  <a:lnTo>
                    <a:pt x="2241" y="13226"/>
                  </a:lnTo>
                  <a:lnTo>
                    <a:pt x="2136" y="13160"/>
                  </a:lnTo>
                  <a:lnTo>
                    <a:pt x="2032" y="13088"/>
                  </a:lnTo>
                  <a:lnTo>
                    <a:pt x="1931" y="13011"/>
                  </a:lnTo>
                  <a:lnTo>
                    <a:pt x="1835" y="12927"/>
                  </a:lnTo>
                  <a:lnTo>
                    <a:pt x="1740" y="12838"/>
                  </a:lnTo>
                  <a:lnTo>
                    <a:pt x="1652" y="12744"/>
                  </a:lnTo>
                  <a:lnTo>
                    <a:pt x="1568" y="12647"/>
                  </a:lnTo>
                  <a:lnTo>
                    <a:pt x="1491" y="12546"/>
                  </a:lnTo>
                  <a:lnTo>
                    <a:pt x="1418" y="12444"/>
                  </a:lnTo>
                  <a:lnTo>
                    <a:pt x="1352" y="12338"/>
                  </a:lnTo>
                  <a:lnTo>
                    <a:pt x="1292" y="12230"/>
                  </a:lnTo>
                  <a:lnTo>
                    <a:pt x="1237" y="12119"/>
                  </a:lnTo>
                  <a:lnTo>
                    <a:pt x="1188" y="12006"/>
                  </a:lnTo>
                  <a:lnTo>
                    <a:pt x="1145" y="11892"/>
                  </a:lnTo>
                  <a:lnTo>
                    <a:pt x="1108" y="11776"/>
                  </a:lnTo>
                  <a:lnTo>
                    <a:pt x="1076" y="11660"/>
                  </a:lnTo>
                  <a:lnTo>
                    <a:pt x="1050" y="11541"/>
                  </a:lnTo>
                  <a:lnTo>
                    <a:pt x="1030" y="11421"/>
                  </a:lnTo>
                  <a:lnTo>
                    <a:pt x="1016" y="11302"/>
                  </a:lnTo>
                  <a:lnTo>
                    <a:pt x="1007" y="11181"/>
                  </a:lnTo>
                  <a:lnTo>
                    <a:pt x="1004" y="11060"/>
                  </a:lnTo>
                  <a:lnTo>
                    <a:pt x="1007" y="10940"/>
                  </a:lnTo>
                  <a:lnTo>
                    <a:pt x="1016" y="10820"/>
                  </a:lnTo>
                  <a:lnTo>
                    <a:pt x="1030" y="10701"/>
                  </a:lnTo>
                  <a:lnTo>
                    <a:pt x="1050" y="10581"/>
                  </a:lnTo>
                  <a:lnTo>
                    <a:pt x="1076" y="10462"/>
                  </a:lnTo>
                  <a:lnTo>
                    <a:pt x="1108" y="10346"/>
                  </a:lnTo>
                  <a:lnTo>
                    <a:pt x="1145" y="10229"/>
                  </a:lnTo>
                  <a:lnTo>
                    <a:pt x="1188" y="10115"/>
                  </a:lnTo>
                  <a:lnTo>
                    <a:pt x="1237" y="10003"/>
                  </a:lnTo>
                  <a:lnTo>
                    <a:pt x="1292" y="9892"/>
                  </a:lnTo>
                  <a:lnTo>
                    <a:pt x="1352" y="9784"/>
                  </a:lnTo>
                  <a:lnTo>
                    <a:pt x="1418" y="9678"/>
                  </a:lnTo>
                  <a:lnTo>
                    <a:pt x="1491" y="9575"/>
                  </a:lnTo>
                  <a:lnTo>
                    <a:pt x="1568" y="9475"/>
                  </a:lnTo>
                  <a:lnTo>
                    <a:pt x="1652" y="9378"/>
                  </a:lnTo>
                  <a:lnTo>
                    <a:pt x="1740" y="9284"/>
                  </a:lnTo>
                  <a:lnTo>
                    <a:pt x="9007" y="2108"/>
                  </a:lnTo>
                  <a:lnTo>
                    <a:pt x="9139" y="1982"/>
                  </a:lnTo>
                  <a:lnTo>
                    <a:pt x="9275" y="1866"/>
                  </a:lnTo>
                  <a:lnTo>
                    <a:pt x="9415" y="1757"/>
                  </a:lnTo>
                  <a:lnTo>
                    <a:pt x="9559" y="1657"/>
                  </a:lnTo>
                  <a:lnTo>
                    <a:pt x="9707" y="1564"/>
                  </a:lnTo>
                  <a:lnTo>
                    <a:pt x="9859" y="1480"/>
                  </a:lnTo>
                  <a:lnTo>
                    <a:pt x="10014" y="1402"/>
                  </a:lnTo>
                  <a:lnTo>
                    <a:pt x="10172" y="1334"/>
                  </a:lnTo>
                  <a:lnTo>
                    <a:pt x="10332" y="1274"/>
                  </a:lnTo>
                  <a:lnTo>
                    <a:pt x="10495" y="1221"/>
                  </a:lnTo>
                  <a:lnTo>
                    <a:pt x="10659" y="1177"/>
                  </a:lnTo>
                  <a:lnTo>
                    <a:pt x="10825" y="1141"/>
                  </a:lnTo>
                  <a:lnTo>
                    <a:pt x="10992" y="1113"/>
                  </a:lnTo>
                  <a:lnTo>
                    <a:pt x="11160" y="1093"/>
                  </a:lnTo>
                  <a:lnTo>
                    <a:pt x="11328" y="1081"/>
                  </a:lnTo>
                  <a:lnTo>
                    <a:pt x="11497" y="1077"/>
                  </a:lnTo>
                  <a:lnTo>
                    <a:pt x="11666" y="1081"/>
                  </a:lnTo>
                  <a:lnTo>
                    <a:pt x="11835" y="1093"/>
                  </a:lnTo>
                  <a:lnTo>
                    <a:pt x="12003" y="1113"/>
                  </a:lnTo>
                  <a:lnTo>
                    <a:pt x="12170" y="1141"/>
                  </a:lnTo>
                  <a:lnTo>
                    <a:pt x="12335" y="1177"/>
                  </a:lnTo>
                  <a:lnTo>
                    <a:pt x="12500" y="1221"/>
                  </a:lnTo>
                  <a:lnTo>
                    <a:pt x="12662" y="1274"/>
                  </a:lnTo>
                  <a:lnTo>
                    <a:pt x="12822" y="1334"/>
                  </a:lnTo>
                  <a:lnTo>
                    <a:pt x="12980" y="1402"/>
                  </a:lnTo>
                  <a:lnTo>
                    <a:pt x="13135" y="1480"/>
                  </a:lnTo>
                  <a:lnTo>
                    <a:pt x="13285" y="1564"/>
                  </a:lnTo>
                  <a:lnTo>
                    <a:pt x="13433" y="1657"/>
                  </a:lnTo>
                  <a:lnTo>
                    <a:pt x="13578" y="1757"/>
                  </a:lnTo>
                  <a:lnTo>
                    <a:pt x="13718" y="1866"/>
                  </a:lnTo>
                  <a:lnTo>
                    <a:pt x="13855" y="1982"/>
                  </a:lnTo>
                  <a:lnTo>
                    <a:pt x="13986" y="2108"/>
                  </a:lnTo>
                  <a:lnTo>
                    <a:pt x="14110" y="2239"/>
                  </a:lnTo>
                  <a:lnTo>
                    <a:pt x="14228" y="2376"/>
                  </a:lnTo>
                  <a:lnTo>
                    <a:pt x="14337" y="2515"/>
                  </a:lnTo>
                  <a:lnTo>
                    <a:pt x="14437" y="2660"/>
                  </a:lnTo>
                  <a:lnTo>
                    <a:pt x="14530" y="2808"/>
                  </a:lnTo>
                  <a:lnTo>
                    <a:pt x="14614" y="2960"/>
                  </a:lnTo>
                  <a:lnTo>
                    <a:pt x="14692" y="3114"/>
                  </a:lnTo>
                  <a:lnTo>
                    <a:pt x="14760" y="3272"/>
                  </a:lnTo>
                  <a:lnTo>
                    <a:pt x="14820" y="3432"/>
                  </a:lnTo>
                  <a:lnTo>
                    <a:pt x="14873" y="3594"/>
                  </a:lnTo>
                  <a:lnTo>
                    <a:pt x="14917" y="3758"/>
                  </a:lnTo>
                  <a:lnTo>
                    <a:pt x="14953" y="3924"/>
                  </a:lnTo>
                  <a:lnTo>
                    <a:pt x="14981" y="4091"/>
                  </a:lnTo>
                  <a:lnTo>
                    <a:pt x="15002" y="4258"/>
                  </a:lnTo>
                  <a:lnTo>
                    <a:pt x="15014" y="4427"/>
                  </a:lnTo>
                  <a:lnTo>
                    <a:pt x="15018" y="4596"/>
                  </a:lnTo>
                  <a:lnTo>
                    <a:pt x="15014" y="4765"/>
                  </a:lnTo>
                  <a:lnTo>
                    <a:pt x="15002" y="4933"/>
                  </a:lnTo>
                  <a:lnTo>
                    <a:pt x="14981" y="5101"/>
                  </a:lnTo>
                  <a:lnTo>
                    <a:pt x="14953" y="5268"/>
                  </a:lnTo>
                  <a:lnTo>
                    <a:pt x="14917" y="5434"/>
                  </a:lnTo>
                  <a:lnTo>
                    <a:pt x="14873" y="5598"/>
                  </a:lnTo>
                  <a:lnTo>
                    <a:pt x="14820" y="5759"/>
                  </a:lnTo>
                  <a:lnTo>
                    <a:pt x="14760" y="5919"/>
                  </a:lnTo>
                  <a:lnTo>
                    <a:pt x="14692" y="6077"/>
                  </a:lnTo>
                  <a:lnTo>
                    <a:pt x="14615" y="6232"/>
                  </a:lnTo>
                  <a:lnTo>
                    <a:pt x="14531" y="6384"/>
                  </a:lnTo>
                  <a:lnTo>
                    <a:pt x="14438" y="6531"/>
                  </a:lnTo>
                  <a:lnTo>
                    <a:pt x="14338" y="6676"/>
                  </a:lnTo>
                  <a:lnTo>
                    <a:pt x="14228" y="6816"/>
                  </a:lnTo>
                  <a:lnTo>
                    <a:pt x="14111" y="6953"/>
                  </a:lnTo>
                  <a:lnTo>
                    <a:pt x="13987" y="7083"/>
                  </a:lnTo>
                  <a:lnTo>
                    <a:pt x="8541" y="12525"/>
                  </a:lnTo>
                  <a:lnTo>
                    <a:pt x="8523" y="12544"/>
                  </a:lnTo>
                  <a:lnTo>
                    <a:pt x="8507" y="12563"/>
                  </a:lnTo>
                  <a:lnTo>
                    <a:pt x="8491" y="12583"/>
                  </a:lnTo>
                  <a:lnTo>
                    <a:pt x="8477" y="12605"/>
                  </a:lnTo>
                  <a:lnTo>
                    <a:pt x="8464" y="12626"/>
                  </a:lnTo>
                  <a:lnTo>
                    <a:pt x="8451" y="12648"/>
                  </a:lnTo>
                  <a:lnTo>
                    <a:pt x="8441" y="12670"/>
                  </a:lnTo>
                  <a:lnTo>
                    <a:pt x="8431" y="12692"/>
                  </a:lnTo>
                  <a:lnTo>
                    <a:pt x="8422" y="12715"/>
                  </a:lnTo>
                  <a:lnTo>
                    <a:pt x="8415" y="12738"/>
                  </a:lnTo>
                  <a:lnTo>
                    <a:pt x="8408" y="12761"/>
                  </a:lnTo>
                  <a:lnTo>
                    <a:pt x="8403" y="12786"/>
                  </a:lnTo>
                  <a:lnTo>
                    <a:pt x="8399" y="12810"/>
                  </a:lnTo>
                  <a:lnTo>
                    <a:pt x="8396" y="12833"/>
                  </a:lnTo>
                  <a:lnTo>
                    <a:pt x="8395" y="12857"/>
                  </a:lnTo>
                  <a:lnTo>
                    <a:pt x="8394" y="12881"/>
                  </a:lnTo>
                  <a:lnTo>
                    <a:pt x="8395" y="12905"/>
                  </a:lnTo>
                  <a:lnTo>
                    <a:pt x="8396" y="12929"/>
                  </a:lnTo>
                  <a:lnTo>
                    <a:pt x="8399" y="12953"/>
                  </a:lnTo>
                  <a:lnTo>
                    <a:pt x="8403" y="12978"/>
                  </a:lnTo>
                  <a:lnTo>
                    <a:pt x="8408" y="13001"/>
                  </a:lnTo>
                  <a:lnTo>
                    <a:pt x="8415" y="13025"/>
                  </a:lnTo>
                  <a:lnTo>
                    <a:pt x="8422" y="13048"/>
                  </a:lnTo>
                  <a:lnTo>
                    <a:pt x="8431" y="13070"/>
                  </a:lnTo>
                  <a:lnTo>
                    <a:pt x="8441" y="13093"/>
                  </a:lnTo>
                  <a:lnTo>
                    <a:pt x="8451" y="13115"/>
                  </a:lnTo>
                  <a:lnTo>
                    <a:pt x="8464" y="13136"/>
                  </a:lnTo>
                  <a:lnTo>
                    <a:pt x="8477" y="13157"/>
                  </a:lnTo>
                  <a:lnTo>
                    <a:pt x="8491" y="13179"/>
                  </a:lnTo>
                  <a:lnTo>
                    <a:pt x="8507" y="13199"/>
                  </a:lnTo>
                  <a:lnTo>
                    <a:pt x="8523" y="13218"/>
                  </a:lnTo>
                  <a:lnTo>
                    <a:pt x="8541" y="13237"/>
                  </a:lnTo>
                  <a:lnTo>
                    <a:pt x="8561" y="13254"/>
                  </a:lnTo>
                  <a:lnTo>
                    <a:pt x="8580" y="13271"/>
                  </a:lnTo>
                  <a:lnTo>
                    <a:pt x="8600" y="13286"/>
                  </a:lnTo>
                  <a:lnTo>
                    <a:pt x="8621" y="13301"/>
                  </a:lnTo>
                  <a:lnTo>
                    <a:pt x="8642" y="13314"/>
                  </a:lnTo>
                  <a:lnTo>
                    <a:pt x="8663" y="13326"/>
                  </a:lnTo>
                  <a:lnTo>
                    <a:pt x="8685" y="13337"/>
                  </a:lnTo>
                  <a:lnTo>
                    <a:pt x="8708" y="13348"/>
                  </a:lnTo>
                  <a:lnTo>
                    <a:pt x="8731" y="13356"/>
                  </a:lnTo>
                  <a:lnTo>
                    <a:pt x="8754" y="13364"/>
                  </a:lnTo>
                  <a:lnTo>
                    <a:pt x="8778" y="13370"/>
                  </a:lnTo>
                  <a:lnTo>
                    <a:pt x="8801" y="13375"/>
                  </a:lnTo>
                  <a:lnTo>
                    <a:pt x="8825" y="13379"/>
                  </a:lnTo>
                  <a:lnTo>
                    <a:pt x="8849" y="13382"/>
                  </a:lnTo>
                  <a:lnTo>
                    <a:pt x="8873" y="13384"/>
                  </a:lnTo>
                  <a:lnTo>
                    <a:pt x="8898" y="13385"/>
                  </a:lnTo>
                  <a:lnTo>
                    <a:pt x="8922" y="13384"/>
                  </a:lnTo>
                  <a:lnTo>
                    <a:pt x="8946" y="13382"/>
                  </a:lnTo>
                  <a:lnTo>
                    <a:pt x="8969" y="13379"/>
                  </a:lnTo>
                  <a:lnTo>
                    <a:pt x="8993" y="13375"/>
                  </a:lnTo>
                  <a:lnTo>
                    <a:pt x="9017" y="13370"/>
                  </a:lnTo>
                  <a:lnTo>
                    <a:pt x="9040" y="13364"/>
                  </a:lnTo>
                  <a:lnTo>
                    <a:pt x="9063" y="13356"/>
                  </a:lnTo>
                  <a:lnTo>
                    <a:pt x="9087" y="13348"/>
                  </a:lnTo>
                  <a:lnTo>
                    <a:pt x="9109" y="13337"/>
                  </a:lnTo>
                  <a:lnTo>
                    <a:pt x="9131" y="13326"/>
                  </a:lnTo>
                  <a:lnTo>
                    <a:pt x="9153" y="13314"/>
                  </a:lnTo>
                  <a:lnTo>
                    <a:pt x="9174" y="13301"/>
                  </a:lnTo>
                  <a:lnTo>
                    <a:pt x="9194" y="13286"/>
                  </a:lnTo>
                  <a:lnTo>
                    <a:pt x="9214" y="13271"/>
                  </a:lnTo>
                  <a:lnTo>
                    <a:pt x="9234" y="13254"/>
                  </a:lnTo>
                  <a:lnTo>
                    <a:pt x="9253" y="13237"/>
                  </a:lnTo>
                  <a:lnTo>
                    <a:pt x="14768" y="7724"/>
                  </a:lnTo>
                  <a:lnTo>
                    <a:pt x="14929" y="7555"/>
                  </a:lnTo>
                  <a:lnTo>
                    <a:pt x="15080" y="7380"/>
                  </a:lnTo>
                  <a:lnTo>
                    <a:pt x="15220" y="7200"/>
                  </a:lnTo>
                  <a:lnTo>
                    <a:pt x="15349" y="7014"/>
                  </a:lnTo>
                  <a:lnTo>
                    <a:pt x="15468" y="6823"/>
                  </a:lnTo>
                  <a:lnTo>
                    <a:pt x="15577" y="6628"/>
                  </a:lnTo>
                  <a:lnTo>
                    <a:pt x="15676" y="6430"/>
                  </a:lnTo>
                  <a:lnTo>
                    <a:pt x="15763" y="6227"/>
                  </a:lnTo>
                  <a:lnTo>
                    <a:pt x="15842" y="6021"/>
                  </a:lnTo>
                  <a:lnTo>
                    <a:pt x="15909" y="5813"/>
                  </a:lnTo>
                  <a:lnTo>
                    <a:pt x="15965" y="5602"/>
                  </a:lnTo>
                  <a:lnTo>
                    <a:pt x="16013" y="5388"/>
                  </a:lnTo>
                  <a:lnTo>
                    <a:pt x="16049" y="5174"/>
                  </a:lnTo>
                  <a:lnTo>
                    <a:pt x="16074" y="4958"/>
                  </a:lnTo>
                  <a:lnTo>
                    <a:pt x="16090" y="4742"/>
                  </a:lnTo>
                  <a:lnTo>
                    <a:pt x="16095" y="4525"/>
                  </a:lnTo>
                  <a:lnTo>
                    <a:pt x="16090" y="4308"/>
                  </a:lnTo>
                  <a:lnTo>
                    <a:pt x="16074" y="4091"/>
                  </a:lnTo>
                  <a:lnTo>
                    <a:pt x="16049" y="3875"/>
                  </a:lnTo>
                  <a:lnTo>
                    <a:pt x="16013" y="3660"/>
                  </a:lnTo>
                  <a:lnTo>
                    <a:pt x="15965" y="3447"/>
                  </a:lnTo>
                  <a:lnTo>
                    <a:pt x="15909" y="3236"/>
                  </a:lnTo>
                  <a:lnTo>
                    <a:pt x="15842" y="3028"/>
                  </a:lnTo>
                  <a:lnTo>
                    <a:pt x="15763" y="2822"/>
                  </a:lnTo>
                  <a:lnTo>
                    <a:pt x="15676" y="2620"/>
                  </a:lnTo>
                  <a:lnTo>
                    <a:pt x="15577" y="2421"/>
                  </a:lnTo>
                  <a:lnTo>
                    <a:pt x="15468" y="2226"/>
                  </a:lnTo>
                  <a:lnTo>
                    <a:pt x="15349" y="2036"/>
                  </a:lnTo>
                  <a:lnTo>
                    <a:pt x="15220" y="1850"/>
                  </a:lnTo>
                  <a:lnTo>
                    <a:pt x="15080" y="1669"/>
                  </a:lnTo>
                  <a:lnTo>
                    <a:pt x="14929" y="1495"/>
                  </a:lnTo>
                  <a:lnTo>
                    <a:pt x="14768" y="13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17" name="ïŝľïḑè">
              <a:extLst>
                <a:ext uri="{FF2B5EF4-FFF2-40B4-BE49-F238E27FC236}">
                  <a16:creationId xmlns:a16="http://schemas.microsoft.com/office/drawing/2014/main" id="{E94699C8-4BE4-4967-8037-7193DB72347F}"/>
                </a:ext>
              </a:extLst>
            </p:cNvPr>
            <p:cNvSpPr/>
            <p:nvPr/>
          </p:nvSpPr>
          <p:spPr bwMode="auto">
            <a:xfrm>
              <a:off x="6324939" y="3313911"/>
              <a:ext cx="366358" cy="366358"/>
            </a:xfrm>
            <a:custGeom>
              <a:avLst/>
              <a:gdLst>
                <a:gd name="T0" fmla="*/ 4167 w 16092"/>
                <a:gd name="T1" fmla="*/ 13921 h 16091"/>
                <a:gd name="T2" fmla="*/ 2857 w 16092"/>
                <a:gd name="T3" fmla="*/ 12802 h 16091"/>
                <a:gd name="T4" fmla="*/ 1872 w 16092"/>
                <a:gd name="T5" fmla="*/ 11423 h 16091"/>
                <a:gd name="T6" fmla="*/ 1245 w 16092"/>
                <a:gd name="T7" fmla="*/ 9857 h 16091"/>
                <a:gd name="T8" fmla="*/ 1007 w 16092"/>
                <a:gd name="T9" fmla="*/ 8176 h 16091"/>
                <a:gd name="T10" fmla="*/ 1188 w 16092"/>
                <a:gd name="T11" fmla="*/ 6453 h 16091"/>
                <a:gd name="T12" fmla="*/ 1812 w 16092"/>
                <a:gd name="T13" fmla="*/ 4775 h 16091"/>
                <a:gd name="T14" fmla="*/ 2807 w 16092"/>
                <a:gd name="T15" fmla="*/ 3343 h 16091"/>
                <a:gd name="T16" fmla="*/ 4090 w 16092"/>
                <a:gd name="T17" fmla="*/ 2225 h 16091"/>
                <a:gd name="T18" fmla="*/ 5590 w 16092"/>
                <a:gd name="T19" fmla="*/ 1452 h 16091"/>
                <a:gd name="T20" fmla="*/ 7234 w 16092"/>
                <a:gd name="T21" fmla="*/ 1054 h 16091"/>
                <a:gd name="T22" fmla="*/ 8949 w 16092"/>
                <a:gd name="T23" fmla="*/ 1063 h 16091"/>
                <a:gd name="T24" fmla="*/ 10662 w 16092"/>
                <a:gd name="T25" fmla="*/ 1511 h 16091"/>
                <a:gd name="T26" fmla="*/ 12211 w 16092"/>
                <a:gd name="T27" fmla="*/ 2370 h 16091"/>
                <a:gd name="T28" fmla="*/ 13458 w 16092"/>
                <a:gd name="T29" fmla="*/ 3547 h 16091"/>
                <a:gd name="T30" fmla="*/ 14374 w 16092"/>
                <a:gd name="T31" fmla="*/ 4968 h 16091"/>
                <a:gd name="T32" fmla="*/ 14925 w 16092"/>
                <a:gd name="T33" fmla="*/ 6564 h 16091"/>
                <a:gd name="T34" fmla="*/ 15082 w 16092"/>
                <a:gd name="T35" fmla="*/ 8259 h 16091"/>
                <a:gd name="T36" fmla="*/ 14814 w 16092"/>
                <a:gd name="T37" fmla="*/ 9982 h 16091"/>
                <a:gd name="T38" fmla="*/ 14107 w 16092"/>
                <a:gd name="T39" fmla="*/ 11626 h 16091"/>
                <a:gd name="T40" fmla="*/ 13049 w 16092"/>
                <a:gd name="T41" fmla="*/ 12998 h 16091"/>
                <a:gd name="T42" fmla="*/ 11716 w 16092"/>
                <a:gd name="T43" fmla="*/ 14049 h 16091"/>
                <a:gd name="T44" fmla="*/ 10181 w 16092"/>
                <a:gd name="T45" fmla="*/ 14750 h 16091"/>
                <a:gd name="T46" fmla="*/ 8518 w 16092"/>
                <a:gd name="T47" fmla="*/ 15069 h 16091"/>
                <a:gd name="T48" fmla="*/ 6797 w 16092"/>
                <a:gd name="T49" fmla="*/ 14974 h 16091"/>
                <a:gd name="T50" fmla="*/ 11036 w 16092"/>
                <a:gd name="T51" fmla="*/ 576 h 16091"/>
                <a:gd name="T52" fmla="*/ 9076 w 16092"/>
                <a:gd name="T53" fmla="*/ 64 h 16091"/>
                <a:gd name="T54" fmla="*/ 7115 w 16092"/>
                <a:gd name="T55" fmla="*/ 52 h 16091"/>
                <a:gd name="T56" fmla="*/ 5238 w 16092"/>
                <a:gd name="T57" fmla="*/ 506 h 16091"/>
                <a:gd name="T58" fmla="*/ 3525 w 16092"/>
                <a:gd name="T59" fmla="*/ 1390 h 16091"/>
                <a:gd name="T60" fmla="*/ 2058 w 16092"/>
                <a:gd name="T61" fmla="*/ 2669 h 16091"/>
                <a:gd name="T62" fmla="*/ 921 w 16092"/>
                <a:gd name="T63" fmla="*/ 4306 h 16091"/>
                <a:gd name="T64" fmla="*/ 207 w 16092"/>
                <a:gd name="T65" fmla="*/ 6227 h 16091"/>
                <a:gd name="T66" fmla="*/ 0 w 16092"/>
                <a:gd name="T67" fmla="*/ 8197 h 16091"/>
                <a:gd name="T68" fmla="*/ 272 w 16092"/>
                <a:gd name="T69" fmla="*/ 10118 h 16091"/>
                <a:gd name="T70" fmla="*/ 987 w 16092"/>
                <a:gd name="T71" fmla="*/ 11906 h 16091"/>
                <a:gd name="T72" fmla="*/ 2111 w 16092"/>
                <a:gd name="T73" fmla="*/ 13482 h 16091"/>
                <a:gd name="T74" fmla="*/ 3610 w 16092"/>
                <a:gd name="T75" fmla="*/ 14760 h 16091"/>
                <a:gd name="T76" fmla="*/ 5443 w 16092"/>
                <a:gd name="T77" fmla="*/ 15658 h 16091"/>
                <a:gd name="T78" fmla="*/ 7410 w 16092"/>
                <a:gd name="T79" fmla="*/ 16068 h 16091"/>
                <a:gd name="T80" fmla="*/ 9360 w 16092"/>
                <a:gd name="T81" fmla="*/ 15984 h 16091"/>
                <a:gd name="T82" fmla="*/ 11211 w 16092"/>
                <a:gd name="T83" fmla="*/ 15441 h 16091"/>
                <a:gd name="T84" fmla="*/ 12882 w 16092"/>
                <a:gd name="T85" fmla="*/ 14476 h 16091"/>
                <a:gd name="T86" fmla="*/ 14289 w 16092"/>
                <a:gd name="T87" fmla="*/ 13122 h 16091"/>
                <a:gd name="T88" fmla="*/ 15351 w 16092"/>
                <a:gd name="T89" fmla="*/ 11416 h 16091"/>
                <a:gd name="T90" fmla="*/ 15965 w 16092"/>
                <a:gd name="T91" fmla="*/ 9470 h 16091"/>
                <a:gd name="T92" fmla="*/ 16075 w 16092"/>
                <a:gd name="T93" fmla="*/ 7503 h 16091"/>
                <a:gd name="T94" fmla="*/ 15711 w 16092"/>
                <a:gd name="T95" fmla="*/ 5602 h 16091"/>
                <a:gd name="T96" fmla="*/ 14911 w 16092"/>
                <a:gd name="T97" fmla="*/ 3850 h 16091"/>
                <a:gd name="T98" fmla="*/ 13708 w 16092"/>
                <a:gd name="T99" fmla="*/ 2328 h 16091"/>
                <a:gd name="T100" fmla="*/ 12139 w 16092"/>
                <a:gd name="T101" fmla="*/ 1119 h 16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092" h="16091">
                  <a:moveTo>
                    <a:pt x="5429" y="14581"/>
                  </a:moveTo>
                  <a:lnTo>
                    <a:pt x="5096" y="14438"/>
                  </a:lnTo>
                  <a:lnTo>
                    <a:pt x="4775" y="14279"/>
                  </a:lnTo>
                  <a:lnTo>
                    <a:pt x="4465" y="14107"/>
                  </a:lnTo>
                  <a:lnTo>
                    <a:pt x="4167" y="13921"/>
                  </a:lnTo>
                  <a:lnTo>
                    <a:pt x="3880" y="13721"/>
                  </a:lnTo>
                  <a:lnTo>
                    <a:pt x="3605" y="13509"/>
                  </a:lnTo>
                  <a:lnTo>
                    <a:pt x="3343" y="13284"/>
                  </a:lnTo>
                  <a:lnTo>
                    <a:pt x="3093" y="13049"/>
                  </a:lnTo>
                  <a:lnTo>
                    <a:pt x="2857" y="12802"/>
                  </a:lnTo>
                  <a:lnTo>
                    <a:pt x="2633" y="12544"/>
                  </a:lnTo>
                  <a:lnTo>
                    <a:pt x="2422" y="12277"/>
                  </a:lnTo>
                  <a:lnTo>
                    <a:pt x="2225" y="12001"/>
                  </a:lnTo>
                  <a:lnTo>
                    <a:pt x="2042" y="11716"/>
                  </a:lnTo>
                  <a:lnTo>
                    <a:pt x="1872" y="11423"/>
                  </a:lnTo>
                  <a:lnTo>
                    <a:pt x="1717" y="11123"/>
                  </a:lnTo>
                  <a:lnTo>
                    <a:pt x="1577" y="10815"/>
                  </a:lnTo>
                  <a:lnTo>
                    <a:pt x="1452" y="10501"/>
                  </a:lnTo>
                  <a:lnTo>
                    <a:pt x="1341" y="10182"/>
                  </a:lnTo>
                  <a:lnTo>
                    <a:pt x="1245" y="9857"/>
                  </a:lnTo>
                  <a:lnTo>
                    <a:pt x="1166" y="9527"/>
                  </a:lnTo>
                  <a:lnTo>
                    <a:pt x="1102" y="9194"/>
                  </a:lnTo>
                  <a:lnTo>
                    <a:pt x="1054" y="8857"/>
                  </a:lnTo>
                  <a:lnTo>
                    <a:pt x="1022" y="8518"/>
                  </a:lnTo>
                  <a:lnTo>
                    <a:pt x="1007" y="8176"/>
                  </a:lnTo>
                  <a:lnTo>
                    <a:pt x="1009" y="7832"/>
                  </a:lnTo>
                  <a:lnTo>
                    <a:pt x="1027" y="7488"/>
                  </a:lnTo>
                  <a:lnTo>
                    <a:pt x="1063" y="7143"/>
                  </a:lnTo>
                  <a:lnTo>
                    <a:pt x="1117" y="6797"/>
                  </a:lnTo>
                  <a:lnTo>
                    <a:pt x="1188" y="6453"/>
                  </a:lnTo>
                  <a:lnTo>
                    <a:pt x="1277" y="6109"/>
                  </a:lnTo>
                  <a:lnTo>
                    <a:pt x="1384" y="5768"/>
                  </a:lnTo>
                  <a:lnTo>
                    <a:pt x="1510" y="5429"/>
                  </a:lnTo>
                  <a:lnTo>
                    <a:pt x="1654" y="5096"/>
                  </a:lnTo>
                  <a:lnTo>
                    <a:pt x="1812" y="4775"/>
                  </a:lnTo>
                  <a:lnTo>
                    <a:pt x="1984" y="4465"/>
                  </a:lnTo>
                  <a:lnTo>
                    <a:pt x="2170" y="4167"/>
                  </a:lnTo>
                  <a:lnTo>
                    <a:pt x="2370" y="3880"/>
                  </a:lnTo>
                  <a:lnTo>
                    <a:pt x="2582" y="3605"/>
                  </a:lnTo>
                  <a:lnTo>
                    <a:pt x="2807" y="3343"/>
                  </a:lnTo>
                  <a:lnTo>
                    <a:pt x="3042" y="3093"/>
                  </a:lnTo>
                  <a:lnTo>
                    <a:pt x="3289" y="2857"/>
                  </a:lnTo>
                  <a:lnTo>
                    <a:pt x="3547" y="2633"/>
                  </a:lnTo>
                  <a:lnTo>
                    <a:pt x="3814" y="2422"/>
                  </a:lnTo>
                  <a:lnTo>
                    <a:pt x="4090" y="2225"/>
                  </a:lnTo>
                  <a:lnTo>
                    <a:pt x="4375" y="2042"/>
                  </a:lnTo>
                  <a:lnTo>
                    <a:pt x="4669" y="1873"/>
                  </a:lnTo>
                  <a:lnTo>
                    <a:pt x="4968" y="1718"/>
                  </a:lnTo>
                  <a:lnTo>
                    <a:pt x="5276" y="1577"/>
                  </a:lnTo>
                  <a:lnTo>
                    <a:pt x="5590" y="1452"/>
                  </a:lnTo>
                  <a:lnTo>
                    <a:pt x="5910" y="1341"/>
                  </a:lnTo>
                  <a:lnTo>
                    <a:pt x="6234" y="1245"/>
                  </a:lnTo>
                  <a:lnTo>
                    <a:pt x="6564" y="1166"/>
                  </a:lnTo>
                  <a:lnTo>
                    <a:pt x="6897" y="1103"/>
                  </a:lnTo>
                  <a:lnTo>
                    <a:pt x="7234" y="1054"/>
                  </a:lnTo>
                  <a:lnTo>
                    <a:pt x="7573" y="1022"/>
                  </a:lnTo>
                  <a:lnTo>
                    <a:pt x="7915" y="1007"/>
                  </a:lnTo>
                  <a:lnTo>
                    <a:pt x="8259" y="1009"/>
                  </a:lnTo>
                  <a:lnTo>
                    <a:pt x="8603" y="1028"/>
                  </a:lnTo>
                  <a:lnTo>
                    <a:pt x="8949" y="1063"/>
                  </a:lnTo>
                  <a:lnTo>
                    <a:pt x="9294" y="1117"/>
                  </a:lnTo>
                  <a:lnTo>
                    <a:pt x="9638" y="1188"/>
                  </a:lnTo>
                  <a:lnTo>
                    <a:pt x="9982" y="1278"/>
                  </a:lnTo>
                  <a:lnTo>
                    <a:pt x="10323" y="1385"/>
                  </a:lnTo>
                  <a:lnTo>
                    <a:pt x="10662" y="1511"/>
                  </a:lnTo>
                  <a:lnTo>
                    <a:pt x="10995" y="1654"/>
                  </a:lnTo>
                  <a:lnTo>
                    <a:pt x="11316" y="1812"/>
                  </a:lnTo>
                  <a:lnTo>
                    <a:pt x="11626" y="1984"/>
                  </a:lnTo>
                  <a:lnTo>
                    <a:pt x="11924" y="2171"/>
                  </a:lnTo>
                  <a:lnTo>
                    <a:pt x="12211" y="2370"/>
                  </a:lnTo>
                  <a:lnTo>
                    <a:pt x="12486" y="2582"/>
                  </a:lnTo>
                  <a:lnTo>
                    <a:pt x="12748" y="2807"/>
                  </a:lnTo>
                  <a:lnTo>
                    <a:pt x="12998" y="3043"/>
                  </a:lnTo>
                  <a:lnTo>
                    <a:pt x="13234" y="3289"/>
                  </a:lnTo>
                  <a:lnTo>
                    <a:pt x="13458" y="3547"/>
                  </a:lnTo>
                  <a:lnTo>
                    <a:pt x="13669" y="3814"/>
                  </a:lnTo>
                  <a:lnTo>
                    <a:pt x="13866" y="4090"/>
                  </a:lnTo>
                  <a:lnTo>
                    <a:pt x="14049" y="4375"/>
                  </a:lnTo>
                  <a:lnTo>
                    <a:pt x="14219" y="4669"/>
                  </a:lnTo>
                  <a:lnTo>
                    <a:pt x="14374" y="4968"/>
                  </a:lnTo>
                  <a:lnTo>
                    <a:pt x="14514" y="5276"/>
                  </a:lnTo>
                  <a:lnTo>
                    <a:pt x="14639" y="5590"/>
                  </a:lnTo>
                  <a:lnTo>
                    <a:pt x="14750" y="5910"/>
                  </a:lnTo>
                  <a:lnTo>
                    <a:pt x="14846" y="6234"/>
                  </a:lnTo>
                  <a:lnTo>
                    <a:pt x="14925" y="6564"/>
                  </a:lnTo>
                  <a:lnTo>
                    <a:pt x="14989" y="6897"/>
                  </a:lnTo>
                  <a:lnTo>
                    <a:pt x="15037" y="7234"/>
                  </a:lnTo>
                  <a:lnTo>
                    <a:pt x="15069" y="7573"/>
                  </a:lnTo>
                  <a:lnTo>
                    <a:pt x="15084" y="7915"/>
                  </a:lnTo>
                  <a:lnTo>
                    <a:pt x="15082" y="8259"/>
                  </a:lnTo>
                  <a:lnTo>
                    <a:pt x="15064" y="8603"/>
                  </a:lnTo>
                  <a:lnTo>
                    <a:pt x="15028" y="8949"/>
                  </a:lnTo>
                  <a:lnTo>
                    <a:pt x="14974" y="9294"/>
                  </a:lnTo>
                  <a:lnTo>
                    <a:pt x="14903" y="9638"/>
                  </a:lnTo>
                  <a:lnTo>
                    <a:pt x="14814" y="9982"/>
                  </a:lnTo>
                  <a:lnTo>
                    <a:pt x="14707" y="10323"/>
                  </a:lnTo>
                  <a:lnTo>
                    <a:pt x="14581" y="10662"/>
                  </a:lnTo>
                  <a:lnTo>
                    <a:pt x="14437" y="10995"/>
                  </a:lnTo>
                  <a:lnTo>
                    <a:pt x="14279" y="11316"/>
                  </a:lnTo>
                  <a:lnTo>
                    <a:pt x="14107" y="11626"/>
                  </a:lnTo>
                  <a:lnTo>
                    <a:pt x="13921" y="11924"/>
                  </a:lnTo>
                  <a:lnTo>
                    <a:pt x="13721" y="12211"/>
                  </a:lnTo>
                  <a:lnTo>
                    <a:pt x="13509" y="12486"/>
                  </a:lnTo>
                  <a:lnTo>
                    <a:pt x="13284" y="12748"/>
                  </a:lnTo>
                  <a:lnTo>
                    <a:pt x="13049" y="12998"/>
                  </a:lnTo>
                  <a:lnTo>
                    <a:pt x="12802" y="13235"/>
                  </a:lnTo>
                  <a:lnTo>
                    <a:pt x="12544" y="13458"/>
                  </a:lnTo>
                  <a:lnTo>
                    <a:pt x="12277" y="13669"/>
                  </a:lnTo>
                  <a:lnTo>
                    <a:pt x="12001" y="13866"/>
                  </a:lnTo>
                  <a:lnTo>
                    <a:pt x="11716" y="14049"/>
                  </a:lnTo>
                  <a:lnTo>
                    <a:pt x="11422" y="14219"/>
                  </a:lnTo>
                  <a:lnTo>
                    <a:pt x="11123" y="14374"/>
                  </a:lnTo>
                  <a:lnTo>
                    <a:pt x="10815" y="14514"/>
                  </a:lnTo>
                  <a:lnTo>
                    <a:pt x="10501" y="14639"/>
                  </a:lnTo>
                  <a:lnTo>
                    <a:pt x="10181" y="14750"/>
                  </a:lnTo>
                  <a:lnTo>
                    <a:pt x="9857" y="14846"/>
                  </a:lnTo>
                  <a:lnTo>
                    <a:pt x="9527" y="14925"/>
                  </a:lnTo>
                  <a:lnTo>
                    <a:pt x="9194" y="14989"/>
                  </a:lnTo>
                  <a:lnTo>
                    <a:pt x="8857" y="15037"/>
                  </a:lnTo>
                  <a:lnTo>
                    <a:pt x="8518" y="15069"/>
                  </a:lnTo>
                  <a:lnTo>
                    <a:pt x="8176" y="15084"/>
                  </a:lnTo>
                  <a:lnTo>
                    <a:pt x="7832" y="15082"/>
                  </a:lnTo>
                  <a:lnTo>
                    <a:pt x="7487" y="15064"/>
                  </a:lnTo>
                  <a:lnTo>
                    <a:pt x="7142" y="15028"/>
                  </a:lnTo>
                  <a:lnTo>
                    <a:pt x="6797" y="14974"/>
                  </a:lnTo>
                  <a:lnTo>
                    <a:pt x="6453" y="14903"/>
                  </a:lnTo>
                  <a:lnTo>
                    <a:pt x="6109" y="14814"/>
                  </a:lnTo>
                  <a:lnTo>
                    <a:pt x="5768" y="14707"/>
                  </a:lnTo>
                  <a:lnTo>
                    <a:pt x="5429" y="14581"/>
                  </a:lnTo>
                  <a:close/>
                  <a:moveTo>
                    <a:pt x="11036" y="576"/>
                  </a:moveTo>
                  <a:lnTo>
                    <a:pt x="10648" y="433"/>
                  </a:lnTo>
                  <a:lnTo>
                    <a:pt x="10258" y="310"/>
                  </a:lnTo>
                  <a:lnTo>
                    <a:pt x="9864" y="207"/>
                  </a:lnTo>
                  <a:lnTo>
                    <a:pt x="9470" y="126"/>
                  </a:lnTo>
                  <a:lnTo>
                    <a:pt x="9076" y="64"/>
                  </a:lnTo>
                  <a:lnTo>
                    <a:pt x="8681" y="23"/>
                  </a:lnTo>
                  <a:lnTo>
                    <a:pt x="8287" y="2"/>
                  </a:lnTo>
                  <a:lnTo>
                    <a:pt x="7895" y="0"/>
                  </a:lnTo>
                  <a:lnTo>
                    <a:pt x="7503" y="17"/>
                  </a:lnTo>
                  <a:lnTo>
                    <a:pt x="7115" y="52"/>
                  </a:lnTo>
                  <a:lnTo>
                    <a:pt x="6731" y="108"/>
                  </a:lnTo>
                  <a:lnTo>
                    <a:pt x="6349" y="180"/>
                  </a:lnTo>
                  <a:lnTo>
                    <a:pt x="5973" y="272"/>
                  </a:lnTo>
                  <a:lnTo>
                    <a:pt x="5603" y="380"/>
                  </a:lnTo>
                  <a:lnTo>
                    <a:pt x="5238" y="506"/>
                  </a:lnTo>
                  <a:lnTo>
                    <a:pt x="4880" y="650"/>
                  </a:lnTo>
                  <a:lnTo>
                    <a:pt x="4529" y="810"/>
                  </a:lnTo>
                  <a:lnTo>
                    <a:pt x="4185" y="987"/>
                  </a:lnTo>
                  <a:lnTo>
                    <a:pt x="3851" y="1180"/>
                  </a:lnTo>
                  <a:lnTo>
                    <a:pt x="3525" y="1390"/>
                  </a:lnTo>
                  <a:lnTo>
                    <a:pt x="3209" y="1616"/>
                  </a:lnTo>
                  <a:lnTo>
                    <a:pt x="2904" y="1856"/>
                  </a:lnTo>
                  <a:lnTo>
                    <a:pt x="2610" y="2111"/>
                  </a:lnTo>
                  <a:lnTo>
                    <a:pt x="2328" y="2383"/>
                  </a:lnTo>
                  <a:lnTo>
                    <a:pt x="2058" y="2669"/>
                  </a:lnTo>
                  <a:lnTo>
                    <a:pt x="1803" y="2969"/>
                  </a:lnTo>
                  <a:lnTo>
                    <a:pt x="1559" y="3282"/>
                  </a:lnTo>
                  <a:lnTo>
                    <a:pt x="1332" y="3610"/>
                  </a:lnTo>
                  <a:lnTo>
                    <a:pt x="1119" y="3951"/>
                  </a:lnTo>
                  <a:lnTo>
                    <a:pt x="921" y="4306"/>
                  </a:lnTo>
                  <a:lnTo>
                    <a:pt x="740" y="4675"/>
                  </a:lnTo>
                  <a:lnTo>
                    <a:pt x="577" y="5055"/>
                  </a:lnTo>
                  <a:lnTo>
                    <a:pt x="433" y="5443"/>
                  </a:lnTo>
                  <a:lnTo>
                    <a:pt x="310" y="5833"/>
                  </a:lnTo>
                  <a:lnTo>
                    <a:pt x="207" y="6227"/>
                  </a:lnTo>
                  <a:lnTo>
                    <a:pt x="126" y="6621"/>
                  </a:lnTo>
                  <a:lnTo>
                    <a:pt x="64" y="7015"/>
                  </a:lnTo>
                  <a:lnTo>
                    <a:pt x="23" y="7411"/>
                  </a:lnTo>
                  <a:lnTo>
                    <a:pt x="2" y="7804"/>
                  </a:lnTo>
                  <a:lnTo>
                    <a:pt x="0" y="8197"/>
                  </a:lnTo>
                  <a:lnTo>
                    <a:pt x="17" y="8588"/>
                  </a:lnTo>
                  <a:lnTo>
                    <a:pt x="52" y="8976"/>
                  </a:lnTo>
                  <a:lnTo>
                    <a:pt x="108" y="9360"/>
                  </a:lnTo>
                  <a:lnTo>
                    <a:pt x="180" y="9742"/>
                  </a:lnTo>
                  <a:lnTo>
                    <a:pt x="272" y="10118"/>
                  </a:lnTo>
                  <a:lnTo>
                    <a:pt x="380" y="10489"/>
                  </a:lnTo>
                  <a:lnTo>
                    <a:pt x="506" y="10854"/>
                  </a:lnTo>
                  <a:lnTo>
                    <a:pt x="650" y="11212"/>
                  </a:lnTo>
                  <a:lnTo>
                    <a:pt x="810" y="11563"/>
                  </a:lnTo>
                  <a:lnTo>
                    <a:pt x="987" y="11906"/>
                  </a:lnTo>
                  <a:lnTo>
                    <a:pt x="1180" y="12241"/>
                  </a:lnTo>
                  <a:lnTo>
                    <a:pt x="1389" y="12566"/>
                  </a:lnTo>
                  <a:lnTo>
                    <a:pt x="1615" y="12882"/>
                  </a:lnTo>
                  <a:lnTo>
                    <a:pt x="1856" y="13188"/>
                  </a:lnTo>
                  <a:lnTo>
                    <a:pt x="2111" y="13482"/>
                  </a:lnTo>
                  <a:lnTo>
                    <a:pt x="2383" y="13763"/>
                  </a:lnTo>
                  <a:lnTo>
                    <a:pt x="2669" y="14033"/>
                  </a:lnTo>
                  <a:lnTo>
                    <a:pt x="2969" y="14289"/>
                  </a:lnTo>
                  <a:lnTo>
                    <a:pt x="3282" y="14532"/>
                  </a:lnTo>
                  <a:lnTo>
                    <a:pt x="3610" y="14760"/>
                  </a:lnTo>
                  <a:lnTo>
                    <a:pt x="3951" y="14972"/>
                  </a:lnTo>
                  <a:lnTo>
                    <a:pt x="4306" y="15170"/>
                  </a:lnTo>
                  <a:lnTo>
                    <a:pt x="4675" y="15351"/>
                  </a:lnTo>
                  <a:lnTo>
                    <a:pt x="5055" y="15514"/>
                  </a:lnTo>
                  <a:lnTo>
                    <a:pt x="5443" y="15658"/>
                  </a:lnTo>
                  <a:lnTo>
                    <a:pt x="5833" y="15781"/>
                  </a:lnTo>
                  <a:lnTo>
                    <a:pt x="6227" y="15884"/>
                  </a:lnTo>
                  <a:lnTo>
                    <a:pt x="6621" y="15965"/>
                  </a:lnTo>
                  <a:lnTo>
                    <a:pt x="7015" y="16027"/>
                  </a:lnTo>
                  <a:lnTo>
                    <a:pt x="7410" y="16068"/>
                  </a:lnTo>
                  <a:lnTo>
                    <a:pt x="7804" y="16089"/>
                  </a:lnTo>
                  <a:lnTo>
                    <a:pt x="8196" y="16091"/>
                  </a:lnTo>
                  <a:lnTo>
                    <a:pt x="8588" y="16074"/>
                  </a:lnTo>
                  <a:lnTo>
                    <a:pt x="8976" y="16039"/>
                  </a:lnTo>
                  <a:lnTo>
                    <a:pt x="9360" y="15984"/>
                  </a:lnTo>
                  <a:lnTo>
                    <a:pt x="9742" y="15911"/>
                  </a:lnTo>
                  <a:lnTo>
                    <a:pt x="10118" y="15820"/>
                  </a:lnTo>
                  <a:lnTo>
                    <a:pt x="10488" y="15711"/>
                  </a:lnTo>
                  <a:lnTo>
                    <a:pt x="10853" y="15585"/>
                  </a:lnTo>
                  <a:lnTo>
                    <a:pt x="11211" y="15441"/>
                  </a:lnTo>
                  <a:lnTo>
                    <a:pt x="11563" y="15281"/>
                  </a:lnTo>
                  <a:lnTo>
                    <a:pt x="11906" y="15104"/>
                  </a:lnTo>
                  <a:lnTo>
                    <a:pt x="12241" y="14911"/>
                  </a:lnTo>
                  <a:lnTo>
                    <a:pt x="12566" y="14702"/>
                  </a:lnTo>
                  <a:lnTo>
                    <a:pt x="12882" y="14476"/>
                  </a:lnTo>
                  <a:lnTo>
                    <a:pt x="13187" y="14235"/>
                  </a:lnTo>
                  <a:lnTo>
                    <a:pt x="13481" y="13980"/>
                  </a:lnTo>
                  <a:lnTo>
                    <a:pt x="13763" y="13708"/>
                  </a:lnTo>
                  <a:lnTo>
                    <a:pt x="14033" y="13423"/>
                  </a:lnTo>
                  <a:lnTo>
                    <a:pt x="14289" y="13122"/>
                  </a:lnTo>
                  <a:lnTo>
                    <a:pt x="14532" y="12809"/>
                  </a:lnTo>
                  <a:lnTo>
                    <a:pt x="14760" y="12481"/>
                  </a:lnTo>
                  <a:lnTo>
                    <a:pt x="14972" y="12140"/>
                  </a:lnTo>
                  <a:lnTo>
                    <a:pt x="15170" y="11785"/>
                  </a:lnTo>
                  <a:lnTo>
                    <a:pt x="15351" y="11416"/>
                  </a:lnTo>
                  <a:lnTo>
                    <a:pt x="15515" y="11036"/>
                  </a:lnTo>
                  <a:lnTo>
                    <a:pt x="15658" y="10648"/>
                  </a:lnTo>
                  <a:lnTo>
                    <a:pt x="15781" y="10258"/>
                  </a:lnTo>
                  <a:lnTo>
                    <a:pt x="15884" y="9864"/>
                  </a:lnTo>
                  <a:lnTo>
                    <a:pt x="15965" y="9470"/>
                  </a:lnTo>
                  <a:lnTo>
                    <a:pt x="16027" y="9076"/>
                  </a:lnTo>
                  <a:lnTo>
                    <a:pt x="16068" y="8680"/>
                  </a:lnTo>
                  <a:lnTo>
                    <a:pt x="16089" y="8287"/>
                  </a:lnTo>
                  <a:lnTo>
                    <a:pt x="16092" y="7894"/>
                  </a:lnTo>
                  <a:lnTo>
                    <a:pt x="16075" y="7503"/>
                  </a:lnTo>
                  <a:lnTo>
                    <a:pt x="16039" y="7115"/>
                  </a:lnTo>
                  <a:lnTo>
                    <a:pt x="15984" y="6731"/>
                  </a:lnTo>
                  <a:lnTo>
                    <a:pt x="15911" y="6349"/>
                  </a:lnTo>
                  <a:lnTo>
                    <a:pt x="15820" y="5973"/>
                  </a:lnTo>
                  <a:lnTo>
                    <a:pt x="15711" y="5602"/>
                  </a:lnTo>
                  <a:lnTo>
                    <a:pt x="15585" y="5238"/>
                  </a:lnTo>
                  <a:lnTo>
                    <a:pt x="15441" y="4879"/>
                  </a:lnTo>
                  <a:lnTo>
                    <a:pt x="15281" y="4528"/>
                  </a:lnTo>
                  <a:lnTo>
                    <a:pt x="15104" y="4185"/>
                  </a:lnTo>
                  <a:lnTo>
                    <a:pt x="14911" y="3850"/>
                  </a:lnTo>
                  <a:lnTo>
                    <a:pt x="14701" y="3525"/>
                  </a:lnTo>
                  <a:lnTo>
                    <a:pt x="14476" y="3209"/>
                  </a:lnTo>
                  <a:lnTo>
                    <a:pt x="14235" y="2904"/>
                  </a:lnTo>
                  <a:lnTo>
                    <a:pt x="13980" y="2610"/>
                  </a:lnTo>
                  <a:lnTo>
                    <a:pt x="13708" y="2328"/>
                  </a:lnTo>
                  <a:lnTo>
                    <a:pt x="13422" y="2058"/>
                  </a:lnTo>
                  <a:lnTo>
                    <a:pt x="13122" y="1802"/>
                  </a:lnTo>
                  <a:lnTo>
                    <a:pt x="12809" y="1559"/>
                  </a:lnTo>
                  <a:lnTo>
                    <a:pt x="12481" y="1331"/>
                  </a:lnTo>
                  <a:lnTo>
                    <a:pt x="12139" y="1119"/>
                  </a:lnTo>
                  <a:lnTo>
                    <a:pt x="11785" y="921"/>
                  </a:lnTo>
                  <a:lnTo>
                    <a:pt x="11416" y="740"/>
                  </a:lnTo>
                  <a:lnTo>
                    <a:pt x="11036" y="5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18" name="ïŝḻîḓé">
              <a:extLst>
                <a:ext uri="{FF2B5EF4-FFF2-40B4-BE49-F238E27FC236}">
                  <a16:creationId xmlns:a16="http://schemas.microsoft.com/office/drawing/2014/main" id="{49C45E0A-E45F-4E9C-923A-F5AEAF0645CA}"/>
                </a:ext>
              </a:extLst>
            </p:cNvPr>
            <p:cNvSpPr/>
            <p:nvPr/>
          </p:nvSpPr>
          <p:spPr bwMode="auto">
            <a:xfrm>
              <a:off x="6484958" y="3473930"/>
              <a:ext cx="46321" cy="46321"/>
            </a:xfrm>
            <a:custGeom>
              <a:avLst/>
              <a:gdLst>
                <a:gd name="T0" fmla="*/ 728 w 2011"/>
                <a:gd name="T1" fmla="*/ 1425 h 2011"/>
                <a:gd name="T2" fmla="*/ 634 w 2011"/>
                <a:gd name="T3" fmla="*/ 1346 h 2011"/>
                <a:gd name="T4" fmla="*/ 565 w 2011"/>
                <a:gd name="T5" fmla="*/ 1247 h 2011"/>
                <a:gd name="T6" fmla="*/ 520 w 2011"/>
                <a:gd name="T7" fmla="*/ 1135 h 2011"/>
                <a:gd name="T8" fmla="*/ 503 w 2011"/>
                <a:gd name="T9" fmla="*/ 1015 h 2011"/>
                <a:gd name="T10" fmla="*/ 516 w 2011"/>
                <a:gd name="T11" fmla="*/ 892 h 2011"/>
                <a:gd name="T12" fmla="*/ 560 w 2011"/>
                <a:gd name="T13" fmla="*/ 771 h 2011"/>
                <a:gd name="T14" fmla="*/ 631 w 2011"/>
                <a:gd name="T15" fmla="*/ 670 h 2011"/>
                <a:gd name="T16" fmla="*/ 723 w 2011"/>
                <a:gd name="T17" fmla="*/ 590 h 2011"/>
                <a:gd name="T18" fmla="*/ 830 w 2011"/>
                <a:gd name="T19" fmla="*/ 535 h 2011"/>
                <a:gd name="T20" fmla="*/ 947 w 2011"/>
                <a:gd name="T21" fmla="*/ 507 h 2011"/>
                <a:gd name="T22" fmla="*/ 1070 w 2011"/>
                <a:gd name="T23" fmla="*/ 507 h 2011"/>
                <a:gd name="T24" fmla="*/ 1193 w 2011"/>
                <a:gd name="T25" fmla="*/ 539 h 2011"/>
                <a:gd name="T26" fmla="*/ 1303 w 2011"/>
                <a:gd name="T27" fmla="*/ 600 h 2011"/>
                <a:gd name="T28" fmla="*/ 1392 w 2011"/>
                <a:gd name="T29" fmla="*/ 685 h 2011"/>
                <a:gd name="T30" fmla="*/ 1457 w 2011"/>
                <a:gd name="T31" fmla="*/ 786 h 2011"/>
                <a:gd name="T32" fmla="*/ 1496 w 2011"/>
                <a:gd name="T33" fmla="*/ 900 h 2011"/>
                <a:gd name="T34" fmla="*/ 1507 w 2011"/>
                <a:gd name="T35" fmla="*/ 1021 h 2011"/>
                <a:gd name="T36" fmla="*/ 1488 w 2011"/>
                <a:gd name="T37" fmla="*/ 1143 h 2011"/>
                <a:gd name="T38" fmla="*/ 1438 w 2011"/>
                <a:gd name="T39" fmla="*/ 1261 h 2011"/>
                <a:gd name="T40" fmla="*/ 1363 w 2011"/>
                <a:gd name="T41" fmla="*/ 1360 h 2011"/>
                <a:gd name="T42" fmla="*/ 1267 w 2011"/>
                <a:gd name="T43" fmla="*/ 1434 h 2011"/>
                <a:gd name="T44" fmla="*/ 1158 w 2011"/>
                <a:gd name="T45" fmla="*/ 1484 h 2011"/>
                <a:gd name="T46" fmla="*/ 1039 w 2011"/>
                <a:gd name="T47" fmla="*/ 1507 h 2011"/>
                <a:gd name="T48" fmla="*/ 916 w 2011"/>
                <a:gd name="T49" fmla="*/ 1500 h 2011"/>
                <a:gd name="T50" fmla="*/ 1380 w 2011"/>
                <a:gd name="T51" fmla="*/ 72 h 2011"/>
                <a:gd name="T52" fmla="*/ 1134 w 2011"/>
                <a:gd name="T53" fmla="*/ 8 h 2011"/>
                <a:gd name="T54" fmla="*/ 890 w 2011"/>
                <a:gd name="T55" fmla="*/ 7 h 2011"/>
                <a:gd name="T56" fmla="*/ 654 w 2011"/>
                <a:gd name="T57" fmla="*/ 63 h 2011"/>
                <a:gd name="T58" fmla="*/ 440 w 2011"/>
                <a:gd name="T59" fmla="*/ 174 h 2011"/>
                <a:gd name="T60" fmla="*/ 257 w 2011"/>
                <a:gd name="T61" fmla="*/ 334 h 2011"/>
                <a:gd name="T62" fmla="*/ 115 w 2011"/>
                <a:gd name="T63" fmla="*/ 538 h 2011"/>
                <a:gd name="T64" fmla="*/ 26 w 2011"/>
                <a:gd name="T65" fmla="*/ 778 h 2011"/>
                <a:gd name="T66" fmla="*/ 0 w 2011"/>
                <a:gd name="T67" fmla="*/ 1025 h 2011"/>
                <a:gd name="T68" fmla="*/ 34 w 2011"/>
                <a:gd name="T69" fmla="*/ 1265 h 2011"/>
                <a:gd name="T70" fmla="*/ 123 w 2011"/>
                <a:gd name="T71" fmla="*/ 1488 h 2011"/>
                <a:gd name="T72" fmla="*/ 264 w 2011"/>
                <a:gd name="T73" fmla="*/ 1686 h 2011"/>
                <a:gd name="T74" fmla="*/ 451 w 2011"/>
                <a:gd name="T75" fmla="*/ 1844 h 2011"/>
                <a:gd name="T76" fmla="*/ 680 w 2011"/>
                <a:gd name="T77" fmla="*/ 1957 h 2011"/>
                <a:gd name="T78" fmla="*/ 926 w 2011"/>
                <a:gd name="T79" fmla="*/ 2008 h 2011"/>
                <a:gd name="T80" fmla="*/ 1169 w 2011"/>
                <a:gd name="T81" fmla="*/ 1997 h 2011"/>
                <a:gd name="T82" fmla="*/ 1401 w 2011"/>
                <a:gd name="T83" fmla="*/ 1930 h 2011"/>
                <a:gd name="T84" fmla="*/ 1610 w 2011"/>
                <a:gd name="T85" fmla="*/ 1809 h 2011"/>
                <a:gd name="T86" fmla="*/ 1786 w 2011"/>
                <a:gd name="T87" fmla="*/ 1640 h 2011"/>
                <a:gd name="T88" fmla="*/ 1919 w 2011"/>
                <a:gd name="T89" fmla="*/ 1427 h 2011"/>
                <a:gd name="T90" fmla="*/ 1995 w 2011"/>
                <a:gd name="T91" fmla="*/ 1184 h 2011"/>
                <a:gd name="T92" fmla="*/ 2009 w 2011"/>
                <a:gd name="T93" fmla="*/ 938 h 2011"/>
                <a:gd name="T94" fmla="*/ 1964 w 2011"/>
                <a:gd name="T95" fmla="*/ 701 h 2011"/>
                <a:gd name="T96" fmla="*/ 1864 w 2011"/>
                <a:gd name="T97" fmla="*/ 481 h 2011"/>
                <a:gd name="T98" fmla="*/ 1714 w 2011"/>
                <a:gd name="T99" fmla="*/ 291 h 2011"/>
                <a:gd name="T100" fmla="*/ 1518 w 2011"/>
                <a:gd name="T101" fmla="*/ 139 h 20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011" h="2011">
                  <a:moveTo>
                    <a:pt x="818" y="1472"/>
                  </a:moveTo>
                  <a:lnTo>
                    <a:pt x="794" y="1462"/>
                  </a:lnTo>
                  <a:lnTo>
                    <a:pt x="772" y="1451"/>
                  </a:lnTo>
                  <a:lnTo>
                    <a:pt x="750" y="1438"/>
                  </a:lnTo>
                  <a:lnTo>
                    <a:pt x="728" y="1425"/>
                  </a:lnTo>
                  <a:lnTo>
                    <a:pt x="708" y="1411"/>
                  </a:lnTo>
                  <a:lnTo>
                    <a:pt x="689" y="1396"/>
                  </a:lnTo>
                  <a:lnTo>
                    <a:pt x="670" y="1380"/>
                  </a:lnTo>
                  <a:lnTo>
                    <a:pt x="651" y="1363"/>
                  </a:lnTo>
                  <a:lnTo>
                    <a:pt x="634" y="1346"/>
                  </a:lnTo>
                  <a:lnTo>
                    <a:pt x="619" y="1326"/>
                  </a:lnTo>
                  <a:lnTo>
                    <a:pt x="604" y="1307"/>
                  </a:lnTo>
                  <a:lnTo>
                    <a:pt x="590" y="1288"/>
                  </a:lnTo>
                  <a:lnTo>
                    <a:pt x="577" y="1268"/>
                  </a:lnTo>
                  <a:lnTo>
                    <a:pt x="565" y="1247"/>
                  </a:lnTo>
                  <a:lnTo>
                    <a:pt x="554" y="1225"/>
                  </a:lnTo>
                  <a:lnTo>
                    <a:pt x="544" y="1204"/>
                  </a:lnTo>
                  <a:lnTo>
                    <a:pt x="535" y="1181"/>
                  </a:lnTo>
                  <a:lnTo>
                    <a:pt x="527" y="1158"/>
                  </a:lnTo>
                  <a:lnTo>
                    <a:pt x="520" y="1135"/>
                  </a:lnTo>
                  <a:lnTo>
                    <a:pt x="514" y="1111"/>
                  </a:lnTo>
                  <a:lnTo>
                    <a:pt x="510" y="1087"/>
                  </a:lnTo>
                  <a:lnTo>
                    <a:pt x="507" y="1064"/>
                  </a:lnTo>
                  <a:lnTo>
                    <a:pt x="504" y="1039"/>
                  </a:lnTo>
                  <a:lnTo>
                    <a:pt x="503" y="1015"/>
                  </a:lnTo>
                  <a:lnTo>
                    <a:pt x="503" y="990"/>
                  </a:lnTo>
                  <a:lnTo>
                    <a:pt x="505" y="965"/>
                  </a:lnTo>
                  <a:lnTo>
                    <a:pt x="507" y="941"/>
                  </a:lnTo>
                  <a:lnTo>
                    <a:pt x="511" y="916"/>
                  </a:lnTo>
                  <a:lnTo>
                    <a:pt x="516" y="892"/>
                  </a:lnTo>
                  <a:lnTo>
                    <a:pt x="522" y="867"/>
                  </a:lnTo>
                  <a:lnTo>
                    <a:pt x="530" y="843"/>
                  </a:lnTo>
                  <a:lnTo>
                    <a:pt x="539" y="818"/>
                  </a:lnTo>
                  <a:lnTo>
                    <a:pt x="549" y="794"/>
                  </a:lnTo>
                  <a:lnTo>
                    <a:pt x="560" y="771"/>
                  </a:lnTo>
                  <a:lnTo>
                    <a:pt x="572" y="749"/>
                  </a:lnTo>
                  <a:lnTo>
                    <a:pt x="586" y="728"/>
                  </a:lnTo>
                  <a:lnTo>
                    <a:pt x="600" y="708"/>
                  </a:lnTo>
                  <a:lnTo>
                    <a:pt x="615" y="689"/>
                  </a:lnTo>
                  <a:lnTo>
                    <a:pt x="631" y="670"/>
                  </a:lnTo>
                  <a:lnTo>
                    <a:pt x="648" y="651"/>
                  </a:lnTo>
                  <a:lnTo>
                    <a:pt x="665" y="634"/>
                  </a:lnTo>
                  <a:lnTo>
                    <a:pt x="685" y="619"/>
                  </a:lnTo>
                  <a:lnTo>
                    <a:pt x="703" y="604"/>
                  </a:lnTo>
                  <a:lnTo>
                    <a:pt x="723" y="590"/>
                  </a:lnTo>
                  <a:lnTo>
                    <a:pt x="743" y="577"/>
                  </a:lnTo>
                  <a:lnTo>
                    <a:pt x="764" y="565"/>
                  </a:lnTo>
                  <a:lnTo>
                    <a:pt x="786" y="554"/>
                  </a:lnTo>
                  <a:lnTo>
                    <a:pt x="807" y="544"/>
                  </a:lnTo>
                  <a:lnTo>
                    <a:pt x="830" y="535"/>
                  </a:lnTo>
                  <a:lnTo>
                    <a:pt x="853" y="527"/>
                  </a:lnTo>
                  <a:lnTo>
                    <a:pt x="876" y="520"/>
                  </a:lnTo>
                  <a:lnTo>
                    <a:pt x="900" y="515"/>
                  </a:lnTo>
                  <a:lnTo>
                    <a:pt x="923" y="510"/>
                  </a:lnTo>
                  <a:lnTo>
                    <a:pt x="947" y="507"/>
                  </a:lnTo>
                  <a:lnTo>
                    <a:pt x="972" y="504"/>
                  </a:lnTo>
                  <a:lnTo>
                    <a:pt x="996" y="503"/>
                  </a:lnTo>
                  <a:lnTo>
                    <a:pt x="1021" y="503"/>
                  </a:lnTo>
                  <a:lnTo>
                    <a:pt x="1046" y="505"/>
                  </a:lnTo>
                  <a:lnTo>
                    <a:pt x="1070" y="507"/>
                  </a:lnTo>
                  <a:lnTo>
                    <a:pt x="1095" y="511"/>
                  </a:lnTo>
                  <a:lnTo>
                    <a:pt x="1119" y="516"/>
                  </a:lnTo>
                  <a:lnTo>
                    <a:pt x="1144" y="522"/>
                  </a:lnTo>
                  <a:lnTo>
                    <a:pt x="1168" y="530"/>
                  </a:lnTo>
                  <a:lnTo>
                    <a:pt x="1193" y="539"/>
                  </a:lnTo>
                  <a:lnTo>
                    <a:pt x="1217" y="549"/>
                  </a:lnTo>
                  <a:lnTo>
                    <a:pt x="1239" y="560"/>
                  </a:lnTo>
                  <a:lnTo>
                    <a:pt x="1261" y="573"/>
                  </a:lnTo>
                  <a:lnTo>
                    <a:pt x="1282" y="586"/>
                  </a:lnTo>
                  <a:lnTo>
                    <a:pt x="1303" y="600"/>
                  </a:lnTo>
                  <a:lnTo>
                    <a:pt x="1322" y="615"/>
                  </a:lnTo>
                  <a:lnTo>
                    <a:pt x="1341" y="631"/>
                  </a:lnTo>
                  <a:lnTo>
                    <a:pt x="1360" y="648"/>
                  </a:lnTo>
                  <a:lnTo>
                    <a:pt x="1376" y="665"/>
                  </a:lnTo>
                  <a:lnTo>
                    <a:pt x="1392" y="685"/>
                  </a:lnTo>
                  <a:lnTo>
                    <a:pt x="1407" y="704"/>
                  </a:lnTo>
                  <a:lnTo>
                    <a:pt x="1421" y="723"/>
                  </a:lnTo>
                  <a:lnTo>
                    <a:pt x="1434" y="743"/>
                  </a:lnTo>
                  <a:lnTo>
                    <a:pt x="1446" y="764"/>
                  </a:lnTo>
                  <a:lnTo>
                    <a:pt x="1457" y="786"/>
                  </a:lnTo>
                  <a:lnTo>
                    <a:pt x="1467" y="807"/>
                  </a:lnTo>
                  <a:lnTo>
                    <a:pt x="1476" y="830"/>
                  </a:lnTo>
                  <a:lnTo>
                    <a:pt x="1484" y="853"/>
                  </a:lnTo>
                  <a:lnTo>
                    <a:pt x="1491" y="876"/>
                  </a:lnTo>
                  <a:lnTo>
                    <a:pt x="1496" y="900"/>
                  </a:lnTo>
                  <a:lnTo>
                    <a:pt x="1501" y="923"/>
                  </a:lnTo>
                  <a:lnTo>
                    <a:pt x="1504" y="947"/>
                  </a:lnTo>
                  <a:lnTo>
                    <a:pt x="1506" y="971"/>
                  </a:lnTo>
                  <a:lnTo>
                    <a:pt x="1508" y="996"/>
                  </a:lnTo>
                  <a:lnTo>
                    <a:pt x="1507" y="1021"/>
                  </a:lnTo>
                  <a:lnTo>
                    <a:pt x="1506" y="1046"/>
                  </a:lnTo>
                  <a:lnTo>
                    <a:pt x="1504" y="1070"/>
                  </a:lnTo>
                  <a:lnTo>
                    <a:pt x="1500" y="1095"/>
                  </a:lnTo>
                  <a:lnTo>
                    <a:pt x="1495" y="1119"/>
                  </a:lnTo>
                  <a:lnTo>
                    <a:pt x="1488" y="1143"/>
                  </a:lnTo>
                  <a:lnTo>
                    <a:pt x="1481" y="1168"/>
                  </a:lnTo>
                  <a:lnTo>
                    <a:pt x="1472" y="1193"/>
                  </a:lnTo>
                  <a:lnTo>
                    <a:pt x="1462" y="1216"/>
                  </a:lnTo>
                  <a:lnTo>
                    <a:pt x="1451" y="1239"/>
                  </a:lnTo>
                  <a:lnTo>
                    <a:pt x="1438" y="1261"/>
                  </a:lnTo>
                  <a:lnTo>
                    <a:pt x="1425" y="1282"/>
                  </a:lnTo>
                  <a:lnTo>
                    <a:pt x="1411" y="1303"/>
                  </a:lnTo>
                  <a:lnTo>
                    <a:pt x="1396" y="1322"/>
                  </a:lnTo>
                  <a:lnTo>
                    <a:pt x="1380" y="1341"/>
                  </a:lnTo>
                  <a:lnTo>
                    <a:pt x="1363" y="1360"/>
                  </a:lnTo>
                  <a:lnTo>
                    <a:pt x="1346" y="1376"/>
                  </a:lnTo>
                  <a:lnTo>
                    <a:pt x="1326" y="1392"/>
                  </a:lnTo>
                  <a:lnTo>
                    <a:pt x="1307" y="1407"/>
                  </a:lnTo>
                  <a:lnTo>
                    <a:pt x="1288" y="1421"/>
                  </a:lnTo>
                  <a:lnTo>
                    <a:pt x="1267" y="1434"/>
                  </a:lnTo>
                  <a:lnTo>
                    <a:pt x="1247" y="1446"/>
                  </a:lnTo>
                  <a:lnTo>
                    <a:pt x="1225" y="1457"/>
                  </a:lnTo>
                  <a:lnTo>
                    <a:pt x="1204" y="1467"/>
                  </a:lnTo>
                  <a:lnTo>
                    <a:pt x="1181" y="1476"/>
                  </a:lnTo>
                  <a:lnTo>
                    <a:pt x="1158" y="1484"/>
                  </a:lnTo>
                  <a:lnTo>
                    <a:pt x="1134" y="1491"/>
                  </a:lnTo>
                  <a:lnTo>
                    <a:pt x="1111" y="1496"/>
                  </a:lnTo>
                  <a:lnTo>
                    <a:pt x="1087" y="1501"/>
                  </a:lnTo>
                  <a:lnTo>
                    <a:pt x="1063" y="1504"/>
                  </a:lnTo>
                  <a:lnTo>
                    <a:pt x="1039" y="1507"/>
                  </a:lnTo>
                  <a:lnTo>
                    <a:pt x="1015" y="1508"/>
                  </a:lnTo>
                  <a:lnTo>
                    <a:pt x="990" y="1508"/>
                  </a:lnTo>
                  <a:lnTo>
                    <a:pt x="965" y="1506"/>
                  </a:lnTo>
                  <a:lnTo>
                    <a:pt x="941" y="1504"/>
                  </a:lnTo>
                  <a:lnTo>
                    <a:pt x="916" y="1500"/>
                  </a:lnTo>
                  <a:lnTo>
                    <a:pt x="892" y="1495"/>
                  </a:lnTo>
                  <a:lnTo>
                    <a:pt x="867" y="1489"/>
                  </a:lnTo>
                  <a:lnTo>
                    <a:pt x="843" y="1481"/>
                  </a:lnTo>
                  <a:lnTo>
                    <a:pt x="818" y="1472"/>
                  </a:lnTo>
                  <a:close/>
                  <a:moveTo>
                    <a:pt x="1380" y="72"/>
                  </a:moveTo>
                  <a:lnTo>
                    <a:pt x="1331" y="54"/>
                  </a:lnTo>
                  <a:lnTo>
                    <a:pt x="1282" y="39"/>
                  </a:lnTo>
                  <a:lnTo>
                    <a:pt x="1233" y="26"/>
                  </a:lnTo>
                  <a:lnTo>
                    <a:pt x="1184" y="16"/>
                  </a:lnTo>
                  <a:lnTo>
                    <a:pt x="1134" y="8"/>
                  </a:lnTo>
                  <a:lnTo>
                    <a:pt x="1085" y="3"/>
                  </a:lnTo>
                  <a:lnTo>
                    <a:pt x="1036" y="1"/>
                  </a:lnTo>
                  <a:lnTo>
                    <a:pt x="987" y="0"/>
                  </a:lnTo>
                  <a:lnTo>
                    <a:pt x="938" y="2"/>
                  </a:lnTo>
                  <a:lnTo>
                    <a:pt x="890" y="7"/>
                  </a:lnTo>
                  <a:lnTo>
                    <a:pt x="842" y="14"/>
                  </a:lnTo>
                  <a:lnTo>
                    <a:pt x="794" y="23"/>
                  </a:lnTo>
                  <a:lnTo>
                    <a:pt x="747" y="34"/>
                  </a:lnTo>
                  <a:lnTo>
                    <a:pt x="701" y="48"/>
                  </a:lnTo>
                  <a:lnTo>
                    <a:pt x="654" y="63"/>
                  </a:lnTo>
                  <a:lnTo>
                    <a:pt x="610" y="81"/>
                  </a:lnTo>
                  <a:lnTo>
                    <a:pt x="566" y="101"/>
                  </a:lnTo>
                  <a:lnTo>
                    <a:pt x="524" y="123"/>
                  </a:lnTo>
                  <a:lnTo>
                    <a:pt x="481" y="147"/>
                  </a:lnTo>
                  <a:lnTo>
                    <a:pt x="440" y="174"/>
                  </a:lnTo>
                  <a:lnTo>
                    <a:pt x="401" y="202"/>
                  </a:lnTo>
                  <a:lnTo>
                    <a:pt x="363" y="232"/>
                  </a:lnTo>
                  <a:lnTo>
                    <a:pt x="326" y="264"/>
                  </a:lnTo>
                  <a:lnTo>
                    <a:pt x="291" y="297"/>
                  </a:lnTo>
                  <a:lnTo>
                    <a:pt x="257" y="334"/>
                  </a:lnTo>
                  <a:lnTo>
                    <a:pt x="225" y="371"/>
                  </a:lnTo>
                  <a:lnTo>
                    <a:pt x="195" y="410"/>
                  </a:lnTo>
                  <a:lnTo>
                    <a:pt x="167" y="451"/>
                  </a:lnTo>
                  <a:lnTo>
                    <a:pt x="139" y="493"/>
                  </a:lnTo>
                  <a:lnTo>
                    <a:pt x="115" y="538"/>
                  </a:lnTo>
                  <a:lnTo>
                    <a:pt x="93" y="584"/>
                  </a:lnTo>
                  <a:lnTo>
                    <a:pt x="72" y="631"/>
                  </a:lnTo>
                  <a:lnTo>
                    <a:pt x="54" y="681"/>
                  </a:lnTo>
                  <a:lnTo>
                    <a:pt x="39" y="729"/>
                  </a:lnTo>
                  <a:lnTo>
                    <a:pt x="26" y="778"/>
                  </a:lnTo>
                  <a:lnTo>
                    <a:pt x="16" y="827"/>
                  </a:lnTo>
                  <a:lnTo>
                    <a:pt x="8" y="877"/>
                  </a:lnTo>
                  <a:lnTo>
                    <a:pt x="3" y="926"/>
                  </a:lnTo>
                  <a:lnTo>
                    <a:pt x="1" y="975"/>
                  </a:lnTo>
                  <a:lnTo>
                    <a:pt x="0" y="1025"/>
                  </a:lnTo>
                  <a:lnTo>
                    <a:pt x="3" y="1074"/>
                  </a:lnTo>
                  <a:lnTo>
                    <a:pt x="7" y="1122"/>
                  </a:lnTo>
                  <a:lnTo>
                    <a:pt x="14" y="1170"/>
                  </a:lnTo>
                  <a:lnTo>
                    <a:pt x="23" y="1218"/>
                  </a:lnTo>
                  <a:lnTo>
                    <a:pt x="34" y="1265"/>
                  </a:lnTo>
                  <a:lnTo>
                    <a:pt x="48" y="1311"/>
                  </a:lnTo>
                  <a:lnTo>
                    <a:pt x="63" y="1357"/>
                  </a:lnTo>
                  <a:lnTo>
                    <a:pt x="81" y="1402"/>
                  </a:lnTo>
                  <a:lnTo>
                    <a:pt x="101" y="1445"/>
                  </a:lnTo>
                  <a:lnTo>
                    <a:pt x="123" y="1488"/>
                  </a:lnTo>
                  <a:lnTo>
                    <a:pt x="147" y="1531"/>
                  </a:lnTo>
                  <a:lnTo>
                    <a:pt x="174" y="1571"/>
                  </a:lnTo>
                  <a:lnTo>
                    <a:pt x="202" y="1610"/>
                  </a:lnTo>
                  <a:lnTo>
                    <a:pt x="232" y="1648"/>
                  </a:lnTo>
                  <a:lnTo>
                    <a:pt x="264" y="1686"/>
                  </a:lnTo>
                  <a:lnTo>
                    <a:pt x="297" y="1721"/>
                  </a:lnTo>
                  <a:lnTo>
                    <a:pt x="334" y="1754"/>
                  </a:lnTo>
                  <a:lnTo>
                    <a:pt x="371" y="1786"/>
                  </a:lnTo>
                  <a:lnTo>
                    <a:pt x="410" y="1816"/>
                  </a:lnTo>
                  <a:lnTo>
                    <a:pt x="451" y="1844"/>
                  </a:lnTo>
                  <a:lnTo>
                    <a:pt x="493" y="1872"/>
                  </a:lnTo>
                  <a:lnTo>
                    <a:pt x="538" y="1896"/>
                  </a:lnTo>
                  <a:lnTo>
                    <a:pt x="584" y="1919"/>
                  </a:lnTo>
                  <a:lnTo>
                    <a:pt x="631" y="1939"/>
                  </a:lnTo>
                  <a:lnTo>
                    <a:pt x="680" y="1957"/>
                  </a:lnTo>
                  <a:lnTo>
                    <a:pt x="729" y="1972"/>
                  </a:lnTo>
                  <a:lnTo>
                    <a:pt x="778" y="1985"/>
                  </a:lnTo>
                  <a:lnTo>
                    <a:pt x="827" y="1995"/>
                  </a:lnTo>
                  <a:lnTo>
                    <a:pt x="877" y="2003"/>
                  </a:lnTo>
                  <a:lnTo>
                    <a:pt x="926" y="2008"/>
                  </a:lnTo>
                  <a:lnTo>
                    <a:pt x="975" y="2011"/>
                  </a:lnTo>
                  <a:lnTo>
                    <a:pt x="1025" y="2011"/>
                  </a:lnTo>
                  <a:lnTo>
                    <a:pt x="1073" y="2009"/>
                  </a:lnTo>
                  <a:lnTo>
                    <a:pt x="1122" y="2004"/>
                  </a:lnTo>
                  <a:lnTo>
                    <a:pt x="1169" y="1997"/>
                  </a:lnTo>
                  <a:lnTo>
                    <a:pt x="1218" y="1988"/>
                  </a:lnTo>
                  <a:lnTo>
                    <a:pt x="1264" y="1977"/>
                  </a:lnTo>
                  <a:lnTo>
                    <a:pt x="1311" y="1964"/>
                  </a:lnTo>
                  <a:lnTo>
                    <a:pt x="1357" y="1948"/>
                  </a:lnTo>
                  <a:lnTo>
                    <a:pt x="1401" y="1930"/>
                  </a:lnTo>
                  <a:lnTo>
                    <a:pt x="1445" y="1910"/>
                  </a:lnTo>
                  <a:lnTo>
                    <a:pt x="1488" y="1888"/>
                  </a:lnTo>
                  <a:lnTo>
                    <a:pt x="1530" y="1864"/>
                  </a:lnTo>
                  <a:lnTo>
                    <a:pt x="1571" y="1837"/>
                  </a:lnTo>
                  <a:lnTo>
                    <a:pt x="1610" y="1809"/>
                  </a:lnTo>
                  <a:lnTo>
                    <a:pt x="1648" y="1779"/>
                  </a:lnTo>
                  <a:lnTo>
                    <a:pt x="1685" y="1747"/>
                  </a:lnTo>
                  <a:lnTo>
                    <a:pt x="1721" y="1714"/>
                  </a:lnTo>
                  <a:lnTo>
                    <a:pt x="1754" y="1677"/>
                  </a:lnTo>
                  <a:lnTo>
                    <a:pt x="1786" y="1640"/>
                  </a:lnTo>
                  <a:lnTo>
                    <a:pt x="1816" y="1601"/>
                  </a:lnTo>
                  <a:lnTo>
                    <a:pt x="1844" y="1560"/>
                  </a:lnTo>
                  <a:lnTo>
                    <a:pt x="1872" y="1518"/>
                  </a:lnTo>
                  <a:lnTo>
                    <a:pt x="1896" y="1473"/>
                  </a:lnTo>
                  <a:lnTo>
                    <a:pt x="1919" y="1427"/>
                  </a:lnTo>
                  <a:lnTo>
                    <a:pt x="1939" y="1380"/>
                  </a:lnTo>
                  <a:lnTo>
                    <a:pt x="1957" y="1330"/>
                  </a:lnTo>
                  <a:lnTo>
                    <a:pt x="1972" y="1282"/>
                  </a:lnTo>
                  <a:lnTo>
                    <a:pt x="1985" y="1233"/>
                  </a:lnTo>
                  <a:lnTo>
                    <a:pt x="1995" y="1184"/>
                  </a:lnTo>
                  <a:lnTo>
                    <a:pt x="2003" y="1134"/>
                  </a:lnTo>
                  <a:lnTo>
                    <a:pt x="2008" y="1085"/>
                  </a:lnTo>
                  <a:lnTo>
                    <a:pt x="2011" y="1036"/>
                  </a:lnTo>
                  <a:lnTo>
                    <a:pt x="2011" y="986"/>
                  </a:lnTo>
                  <a:lnTo>
                    <a:pt x="2009" y="938"/>
                  </a:lnTo>
                  <a:lnTo>
                    <a:pt x="2004" y="890"/>
                  </a:lnTo>
                  <a:lnTo>
                    <a:pt x="1998" y="842"/>
                  </a:lnTo>
                  <a:lnTo>
                    <a:pt x="1988" y="794"/>
                  </a:lnTo>
                  <a:lnTo>
                    <a:pt x="1977" y="747"/>
                  </a:lnTo>
                  <a:lnTo>
                    <a:pt x="1964" y="701"/>
                  </a:lnTo>
                  <a:lnTo>
                    <a:pt x="1948" y="654"/>
                  </a:lnTo>
                  <a:lnTo>
                    <a:pt x="1930" y="610"/>
                  </a:lnTo>
                  <a:lnTo>
                    <a:pt x="1910" y="566"/>
                  </a:lnTo>
                  <a:lnTo>
                    <a:pt x="1888" y="523"/>
                  </a:lnTo>
                  <a:lnTo>
                    <a:pt x="1864" y="481"/>
                  </a:lnTo>
                  <a:lnTo>
                    <a:pt x="1837" y="441"/>
                  </a:lnTo>
                  <a:lnTo>
                    <a:pt x="1809" y="401"/>
                  </a:lnTo>
                  <a:lnTo>
                    <a:pt x="1780" y="363"/>
                  </a:lnTo>
                  <a:lnTo>
                    <a:pt x="1748" y="326"/>
                  </a:lnTo>
                  <a:lnTo>
                    <a:pt x="1714" y="291"/>
                  </a:lnTo>
                  <a:lnTo>
                    <a:pt x="1678" y="257"/>
                  </a:lnTo>
                  <a:lnTo>
                    <a:pt x="1640" y="225"/>
                  </a:lnTo>
                  <a:lnTo>
                    <a:pt x="1601" y="195"/>
                  </a:lnTo>
                  <a:lnTo>
                    <a:pt x="1561" y="167"/>
                  </a:lnTo>
                  <a:lnTo>
                    <a:pt x="1518" y="139"/>
                  </a:lnTo>
                  <a:lnTo>
                    <a:pt x="1473" y="115"/>
                  </a:lnTo>
                  <a:lnTo>
                    <a:pt x="1427" y="92"/>
                  </a:lnTo>
                  <a:lnTo>
                    <a:pt x="1380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19" name="îşľïḋè">
              <a:extLst>
                <a:ext uri="{FF2B5EF4-FFF2-40B4-BE49-F238E27FC236}">
                  <a16:creationId xmlns:a16="http://schemas.microsoft.com/office/drawing/2014/main" id="{E2C93590-05E4-4054-ACAC-33801945BC8A}"/>
                </a:ext>
              </a:extLst>
            </p:cNvPr>
            <p:cNvSpPr/>
            <p:nvPr/>
          </p:nvSpPr>
          <p:spPr bwMode="auto">
            <a:xfrm>
              <a:off x="6439479" y="3428451"/>
              <a:ext cx="137279" cy="137279"/>
            </a:xfrm>
            <a:custGeom>
              <a:avLst/>
              <a:gdLst>
                <a:gd name="T0" fmla="*/ 1909 w 6034"/>
                <a:gd name="T1" fmla="*/ 4695 h 6033"/>
                <a:gd name="T2" fmla="*/ 1534 w 6034"/>
                <a:gd name="T3" fmla="*/ 4376 h 6033"/>
                <a:gd name="T4" fmla="*/ 1253 w 6034"/>
                <a:gd name="T5" fmla="*/ 3981 h 6033"/>
                <a:gd name="T6" fmla="*/ 1074 w 6034"/>
                <a:gd name="T7" fmla="*/ 3534 h 6033"/>
                <a:gd name="T8" fmla="*/ 1006 w 6034"/>
                <a:gd name="T9" fmla="*/ 3054 h 6033"/>
                <a:gd name="T10" fmla="*/ 1057 w 6034"/>
                <a:gd name="T11" fmla="*/ 2561 h 6033"/>
                <a:gd name="T12" fmla="*/ 1235 w 6034"/>
                <a:gd name="T13" fmla="*/ 2082 h 6033"/>
                <a:gd name="T14" fmla="*/ 1520 w 6034"/>
                <a:gd name="T15" fmla="*/ 1673 h 6033"/>
                <a:gd name="T16" fmla="*/ 1886 w 6034"/>
                <a:gd name="T17" fmla="*/ 1354 h 6033"/>
                <a:gd name="T18" fmla="*/ 2314 w 6034"/>
                <a:gd name="T19" fmla="*/ 1132 h 6033"/>
                <a:gd name="T20" fmla="*/ 2784 w 6034"/>
                <a:gd name="T21" fmla="*/ 1019 h 6033"/>
                <a:gd name="T22" fmla="*/ 3274 w 6034"/>
                <a:gd name="T23" fmla="*/ 1022 h 6033"/>
                <a:gd name="T24" fmla="*/ 3764 w 6034"/>
                <a:gd name="T25" fmla="*/ 1148 h 6033"/>
                <a:gd name="T26" fmla="*/ 4207 w 6034"/>
                <a:gd name="T27" fmla="*/ 1395 h 6033"/>
                <a:gd name="T28" fmla="*/ 4563 w 6034"/>
                <a:gd name="T29" fmla="*/ 1731 h 6033"/>
                <a:gd name="T30" fmla="*/ 4824 w 6034"/>
                <a:gd name="T31" fmla="*/ 2137 h 6033"/>
                <a:gd name="T32" fmla="*/ 4982 w 6034"/>
                <a:gd name="T33" fmla="*/ 2593 h 6033"/>
                <a:gd name="T34" fmla="*/ 5027 w 6034"/>
                <a:gd name="T35" fmla="*/ 3078 h 6033"/>
                <a:gd name="T36" fmla="*/ 4951 w 6034"/>
                <a:gd name="T37" fmla="*/ 3570 h 6033"/>
                <a:gd name="T38" fmla="*/ 4749 w 6034"/>
                <a:gd name="T39" fmla="*/ 4040 h 6033"/>
                <a:gd name="T40" fmla="*/ 4446 w 6034"/>
                <a:gd name="T41" fmla="*/ 4431 h 6033"/>
                <a:gd name="T42" fmla="*/ 4066 w 6034"/>
                <a:gd name="T43" fmla="*/ 4732 h 6033"/>
                <a:gd name="T44" fmla="*/ 3627 w 6034"/>
                <a:gd name="T45" fmla="*/ 4932 h 6033"/>
                <a:gd name="T46" fmla="*/ 3151 w 6034"/>
                <a:gd name="T47" fmla="*/ 5023 h 6033"/>
                <a:gd name="T48" fmla="*/ 2660 w 6034"/>
                <a:gd name="T49" fmla="*/ 4996 h 6033"/>
                <a:gd name="T50" fmla="*/ 4138 w 6034"/>
                <a:gd name="T51" fmla="*/ 216 h 6033"/>
                <a:gd name="T52" fmla="*/ 3403 w 6034"/>
                <a:gd name="T53" fmla="*/ 24 h 6033"/>
                <a:gd name="T54" fmla="*/ 2667 w 6034"/>
                <a:gd name="T55" fmla="*/ 19 h 6033"/>
                <a:gd name="T56" fmla="*/ 1963 w 6034"/>
                <a:gd name="T57" fmla="*/ 190 h 6033"/>
                <a:gd name="T58" fmla="*/ 1321 w 6034"/>
                <a:gd name="T59" fmla="*/ 521 h 6033"/>
                <a:gd name="T60" fmla="*/ 771 w 6034"/>
                <a:gd name="T61" fmla="*/ 1001 h 6033"/>
                <a:gd name="T62" fmla="*/ 346 w 6034"/>
                <a:gd name="T63" fmla="*/ 1614 h 6033"/>
                <a:gd name="T64" fmla="*/ 78 w 6034"/>
                <a:gd name="T65" fmla="*/ 2334 h 6033"/>
                <a:gd name="T66" fmla="*/ 0 w 6034"/>
                <a:gd name="T67" fmla="*/ 3073 h 6033"/>
                <a:gd name="T68" fmla="*/ 101 w 6034"/>
                <a:gd name="T69" fmla="*/ 3793 h 6033"/>
                <a:gd name="T70" fmla="*/ 370 w 6034"/>
                <a:gd name="T71" fmla="*/ 4464 h 6033"/>
                <a:gd name="T72" fmla="*/ 791 w 6034"/>
                <a:gd name="T73" fmla="*/ 5055 h 6033"/>
                <a:gd name="T74" fmla="*/ 1354 w 6034"/>
                <a:gd name="T75" fmla="*/ 5534 h 6033"/>
                <a:gd name="T76" fmla="*/ 2041 w 6034"/>
                <a:gd name="T77" fmla="*/ 5870 h 6033"/>
                <a:gd name="T78" fmla="*/ 2778 w 6034"/>
                <a:gd name="T79" fmla="*/ 6024 h 6033"/>
                <a:gd name="T80" fmla="*/ 3509 w 6034"/>
                <a:gd name="T81" fmla="*/ 5993 h 6033"/>
                <a:gd name="T82" fmla="*/ 4205 w 6034"/>
                <a:gd name="T83" fmla="*/ 5790 h 6033"/>
                <a:gd name="T84" fmla="*/ 4830 w 6034"/>
                <a:gd name="T85" fmla="*/ 5428 h 6033"/>
                <a:gd name="T86" fmla="*/ 5358 w 6034"/>
                <a:gd name="T87" fmla="*/ 4921 h 6033"/>
                <a:gd name="T88" fmla="*/ 5757 w 6034"/>
                <a:gd name="T89" fmla="*/ 4281 h 6033"/>
                <a:gd name="T90" fmla="*/ 5987 w 6034"/>
                <a:gd name="T91" fmla="*/ 3551 h 6033"/>
                <a:gd name="T92" fmla="*/ 6027 w 6034"/>
                <a:gd name="T93" fmla="*/ 2813 h 6033"/>
                <a:gd name="T94" fmla="*/ 5891 w 6034"/>
                <a:gd name="T95" fmla="*/ 2100 h 6033"/>
                <a:gd name="T96" fmla="*/ 5591 w 6034"/>
                <a:gd name="T97" fmla="*/ 1443 h 6033"/>
                <a:gd name="T98" fmla="*/ 5140 w 6034"/>
                <a:gd name="T99" fmla="*/ 873 h 6033"/>
                <a:gd name="T100" fmla="*/ 4552 w 6034"/>
                <a:gd name="T101" fmla="*/ 419 h 6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34" h="6033">
                  <a:moveTo>
                    <a:pt x="2269" y="4884"/>
                  </a:moveTo>
                  <a:lnTo>
                    <a:pt x="2175" y="4842"/>
                  </a:lnTo>
                  <a:lnTo>
                    <a:pt x="2082" y="4797"/>
                  </a:lnTo>
                  <a:lnTo>
                    <a:pt x="1993" y="4749"/>
                  </a:lnTo>
                  <a:lnTo>
                    <a:pt x="1909" y="4695"/>
                  </a:lnTo>
                  <a:lnTo>
                    <a:pt x="1826" y="4638"/>
                  </a:lnTo>
                  <a:lnTo>
                    <a:pt x="1748" y="4578"/>
                  </a:lnTo>
                  <a:lnTo>
                    <a:pt x="1674" y="4513"/>
                  </a:lnTo>
                  <a:lnTo>
                    <a:pt x="1602" y="4446"/>
                  </a:lnTo>
                  <a:lnTo>
                    <a:pt x="1534" y="4376"/>
                  </a:lnTo>
                  <a:lnTo>
                    <a:pt x="1470" y="4302"/>
                  </a:lnTo>
                  <a:lnTo>
                    <a:pt x="1410" y="4226"/>
                  </a:lnTo>
                  <a:lnTo>
                    <a:pt x="1354" y="4146"/>
                  </a:lnTo>
                  <a:lnTo>
                    <a:pt x="1301" y="4065"/>
                  </a:lnTo>
                  <a:lnTo>
                    <a:pt x="1253" y="3981"/>
                  </a:lnTo>
                  <a:lnTo>
                    <a:pt x="1209" y="3896"/>
                  </a:lnTo>
                  <a:lnTo>
                    <a:pt x="1169" y="3807"/>
                  </a:lnTo>
                  <a:lnTo>
                    <a:pt x="1132" y="3718"/>
                  </a:lnTo>
                  <a:lnTo>
                    <a:pt x="1101" y="3627"/>
                  </a:lnTo>
                  <a:lnTo>
                    <a:pt x="1074" y="3534"/>
                  </a:lnTo>
                  <a:lnTo>
                    <a:pt x="1051" y="3440"/>
                  </a:lnTo>
                  <a:lnTo>
                    <a:pt x="1033" y="3344"/>
                  </a:lnTo>
                  <a:lnTo>
                    <a:pt x="1019" y="3248"/>
                  </a:lnTo>
                  <a:lnTo>
                    <a:pt x="1010" y="3151"/>
                  </a:lnTo>
                  <a:lnTo>
                    <a:pt x="1006" y="3054"/>
                  </a:lnTo>
                  <a:lnTo>
                    <a:pt x="1007" y="2955"/>
                  </a:lnTo>
                  <a:lnTo>
                    <a:pt x="1012" y="2857"/>
                  </a:lnTo>
                  <a:lnTo>
                    <a:pt x="1022" y="2758"/>
                  </a:lnTo>
                  <a:lnTo>
                    <a:pt x="1037" y="2659"/>
                  </a:lnTo>
                  <a:lnTo>
                    <a:pt x="1057" y="2561"/>
                  </a:lnTo>
                  <a:lnTo>
                    <a:pt x="1083" y="2463"/>
                  </a:lnTo>
                  <a:lnTo>
                    <a:pt x="1113" y="2366"/>
                  </a:lnTo>
                  <a:lnTo>
                    <a:pt x="1149" y="2269"/>
                  </a:lnTo>
                  <a:lnTo>
                    <a:pt x="1190" y="2174"/>
                  </a:lnTo>
                  <a:lnTo>
                    <a:pt x="1235" y="2082"/>
                  </a:lnTo>
                  <a:lnTo>
                    <a:pt x="1284" y="1993"/>
                  </a:lnTo>
                  <a:lnTo>
                    <a:pt x="1338" y="1908"/>
                  </a:lnTo>
                  <a:lnTo>
                    <a:pt x="1395" y="1826"/>
                  </a:lnTo>
                  <a:lnTo>
                    <a:pt x="1455" y="1748"/>
                  </a:lnTo>
                  <a:lnTo>
                    <a:pt x="1520" y="1673"/>
                  </a:lnTo>
                  <a:lnTo>
                    <a:pt x="1587" y="1601"/>
                  </a:lnTo>
                  <a:lnTo>
                    <a:pt x="1657" y="1534"/>
                  </a:lnTo>
                  <a:lnTo>
                    <a:pt x="1731" y="1470"/>
                  </a:lnTo>
                  <a:lnTo>
                    <a:pt x="1807" y="1410"/>
                  </a:lnTo>
                  <a:lnTo>
                    <a:pt x="1886" y="1354"/>
                  </a:lnTo>
                  <a:lnTo>
                    <a:pt x="1967" y="1301"/>
                  </a:lnTo>
                  <a:lnTo>
                    <a:pt x="2052" y="1253"/>
                  </a:lnTo>
                  <a:lnTo>
                    <a:pt x="2137" y="1209"/>
                  </a:lnTo>
                  <a:lnTo>
                    <a:pt x="2225" y="1169"/>
                  </a:lnTo>
                  <a:lnTo>
                    <a:pt x="2314" y="1132"/>
                  </a:lnTo>
                  <a:lnTo>
                    <a:pt x="2406" y="1101"/>
                  </a:lnTo>
                  <a:lnTo>
                    <a:pt x="2498" y="1074"/>
                  </a:lnTo>
                  <a:lnTo>
                    <a:pt x="2593" y="1051"/>
                  </a:lnTo>
                  <a:lnTo>
                    <a:pt x="2689" y="1033"/>
                  </a:lnTo>
                  <a:lnTo>
                    <a:pt x="2784" y="1019"/>
                  </a:lnTo>
                  <a:lnTo>
                    <a:pt x="2882" y="1010"/>
                  </a:lnTo>
                  <a:lnTo>
                    <a:pt x="2979" y="1006"/>
                  </a:lnTo>
                  <a:lnTo>
                    <a:pt x="3077" y="1006"/>
                  </a:lnTo>
                  <a:lnTo>
                    <a:pt x="3175" y="1011"/>
                  </a:lnTo>
                  <a:lnTo>
                    <a:pt x="3274" y="1022"/>
                  </a:lnTo>
                  <a:lnTo>
                    <a:pt x="3373" y="1037"/>
                  </a:lnTo>
                  <a:lnTo>
                    <a:pt x="3471" y="1057"/>
                  </a:lnTo>
                  <a:lnTo>
                    <a:pt x="3570" y="1082"/>
                  </a:lnTo>
                  <a:lnTo>
                    <a:pt x="3667" y="1113"/>
                  </a:lnTo>
                  <a:lnTo>
                    <a:pt x="3764" y="1148"/>
                  </a:lnTo>
                  <a:lnTo>
                    <a:pt x="3859" y="1190"/>
                  </a:lnTo>
                  <a:lnTo>
                    <a:pt x="3951" y="1235"/>
                  </a:lnTo>
                  <a:lnTo>
                    <a:pt x="4040" y="1284"/>
                  </a:lnTo>
                  <a:lnTo>
                    <a:pt x="4125" y="1338"/>
                  </a:lnTo>
                  <a:lnTo>
                    <a:pt x="4207" y="1395"/>
                  </a:lnTo>
                  <a:lnTo>
                    <a:pt x="4285" y="1455"/>
                  </a:lnTo>
                  <a:lnTo>
                    <a:pt x="4360" y="1520"/>
                  </a:lnTo>
                  <a:lnTo>
                    <a:pt x="4432" y="1587"/>
                  </a:lnTo>
                  <a:lnTo>
                    <a:pt x="4499" y="1657"/>
                  </a:lnTo>
                  <a:lnTo>
                    <a:pt x="4563" y="1731"/>
                  </a:lnTo>
                  <a:lnTo>
                    <a:pt x="4623" y="1807"/>
                  </a:lnTo>
                  <a:lnTo>
                    <a:pt x="4679" y="1887"/>
                  </a:lnTo>
                  <a:lnTo>
                    <a:pt x="4732" y="1968"/>
                  </a:lnTo>
                  <a:lnTo>
                    <a:pt x="4780" y="2052"/>
                  </a:lnTo>
                  <a:lnTo>
                    <a:pt x="4824" y="2137"/>
                  </a:lnTo>
                  <a:lnTo>
                    <a:pt x="4864" y="2226"/>
                  </a:lnTo>
                  <a:lnTo>
                    <a:pt x="4901" y="2315"/>
                  </a:lnTo>
                  <a:lnTo>
                    <a:pt x="4932" y="2407"/>
                  </a:lnTo>
                  <a:lnTo>
                    <a:pt x="4960" y="2499"/>
                  </a:lnTo>
                  <a:lnTo>
                    <a:pt x="4982" y="2593"/>
                  </a:lnTo>
                  <a:lnTo>
                    <a:pt x="5000" y="2689"/>
                  </a:lnTo>
                  <a:lnTo>
                    <a:pt x="5014" y="2785"/>
                  </a:lnTo>
                  <a:lnTo>
                    <a:pt x="5023" y="2882"/>
                  </a:lnTo>
                  <a:lnTo>
                    <a:pt x="5027" y="2979"/>
                  </a:lnTo>
                  <a:lnTo>
                    <a:pt x="5027" y="3078"/>
                  </a:lnTo>
                  <a:lnTo>
                    <a:pt x="5021" y="3176"/>
                  </a:lnTo>
                  <a:lnTo>
                    <a:pt x="5011" y="3275"/>
                  </a:lnTo>
                  <a:lnTo>
                    <a:pt x="4996" y="3374"/>
                  </a:lnTo>
                  <a:lnTo>
                    <a:pt x="4976" y="3472"/>
                  </a:lnTo>
                  <a:lnTo>
                    <a:pt x="4951" y="3570"/>
                  </a:lnTo>
                  <a:lnTo>
                    <a:pt x="4920" y="3667"/>
                  </a:lnTo>
                  <a:lnTo>
                    <a:pt x="4884" y="3764"/>
                  </a:lnTo>
                  <a:lnTo>
                    <a:pt x="4843" y="3859"/>
                  </a:lnTo>
                  <a:lnTo>
                    <a:pt x="4798" y="3951"/>
                  </a:lnTo>
                  <a:lnTo>
                    <a:pt x="4749" y="4040"/>
                  </a:lnTo>
                  <a:lnTo>
                    <a:pt x="4695" y="4125"/>
                  </a:lnTo>
                  <a:lnTo>
                    <a:pt x="4638" y="4207"/>
                  </a:lnTo>
                  <a:lnTo>
                    <a:pt x="4578" y="4285"/>
                  </a:lnTo>
                  <a:lnTo>
                    <a:pt x="4513" y="4359"/>
                  </a:lnTo>
                  <a:lnTo>
                    <a:pt x="4446" y="4431"/>
                  </a:lnTo>
                  <a:lnTo>
                    <a:pt x="4376" y="4499"/>
                  </a:lnTo>
                  <a:lnTo>
                    <a:pt x="4302" y="4563"/>
                  </a:lnTo>
                  <a:lnTo>
                    <a:pt x="4226" y="4623"/>
                  </a:lnTo>
                  <a:lnTo>
                    <a:pt x="4147" y="4679"/>
                  </a:lnTo>
                  <a:lnTo>
                    <a:pt x="4066" y="4732"/>
                  </a:lnTo>
                  <a:lnTo>
                    <a:pt x="3981" y="4780"/>
                  </a:lnTo>
                  <a:lnTo>
                    <a:pt x="3896" y="4824"/>
                  </a:lnTo>
                  <a:lnTo>
                    <a:pt x="3808" y="4864"/>
                  </a:lnTo>
                  <a:lnTo>
                    <a:pt x="3719" y="4901"/>
                  </a:lnTo>
                  <a:lnTo>
                    <a:pt x="3627" y="4932"/>
                  </a:lnTo>
                  <a:lnTo>
                    <a:pt x="3535" y="4959"/>
                  </a:lnTo>
                  <a:lnTo>
                    <a:pt x="3440" y="4982"/>
                  </a:lnTo>
                  <a:lnTo>
                    <a:pt x="3344" y="5000"/>
                  </a:lnTo>
                  <a:lnTo>
                    <a:pt x="3249" y="5014"/>
                  </a:lnTo>
                  <a:lnTo>
                    <a:pt x="3151" y="5023"/>
                  </a:lnTo>
                  <a:lnTo>
                    <a:pt x="3054" y="5027"/>
                  </a:lnTo>
                  <a:lnTo>
                    <a:pt x="2956" y="5027"/>
                  </a:lnTo>
                  <a:lnTo>
                    <a:pt x="2858" y="5021"/>
                  </a:lnTo>
                  <a:lnTo>
                    <a:pt x="2759" y="5011"/>
                  </a:lnTo>
                  <a:lnTo>
                    <a:pt x="2660" y="4996"/>
                  </a:lnTo>
                  <a:lnTo>
                    <a:pt x="2562" y="4976"/>
                  </a:lnTo>
                  <a:lnTo>
                    <a:pt x="2463" y="4950"/>
                  </a:lnTo>
                  <a:lnTo>
                    <a:pt x="2366" y="4920"/>
                  </a:lnTo>
                  <a:lnTo>
                    <a:pt x="2269" y="4884"/>
                  </a:lnTo>
                  <a:close/>
                  <a:moveTo>
                    <a:pt x="4138" y="216"/>
                  </a:moveTo>
                  <a:lnTo>
                    <a:pt x="3992" y="162"/>
                  </a:lnTo>
                  <a:lnTo>
                    <a:pt x="3846" y="115"/>
                  </a:lnTo>
                  <a:lnTo>
                    <a:pt x="3699" y="77"/>
                  </a:lnTo>
                  <a:lnTo>
                    <a:pt x="3551" y="47"/>
                  </a:lnTo>
                  <a:lnTo>
                    <a:pt x="3403" y="24"/>
                  </a:lnTo>
                  <a:lnTo>
                    <a:pt x="3255" y="9"/>
                  </a:lnTo>
                  <a:lnTo>
                    <a:pt x="3107" y="1"/>
                  </a:lnTo>
                  <a:lnTo>
                    <a:pt x="2960" y="0"/>
                  </a:lnTo>
                  <a:lnTo>
                    <a:pt x="2813" y="6"/>
                  </a:lnTo>
                  <a:lnTo>
                    <a:pt x="2667" y="19"/>
                  </a:lnTo>
                  <a:lnTo>
                    <a:pt x="2524" y="40"/>
                  </a:lnTo>
                  <a:lnTo>
                    <a:pt x="2381" y="67"/>
                  </a:lnTo>
                  <a:lnTo>
                    <a:pt x="2240" y="101"/>
                  </a:lnTo>
                  <a:lnTo>
                    <a:pt x="2100" y="142"/>
                  </a:lnTo>
                  <a:lnTo>
                    <a:pt x="1963" y="190"/>
                  </a:lnTo>
                  <a:lnTo>
                    <a:pt x="1829" y="243"/>
                  </a:lnTo>
                  <a:lnTo>
                    <a:pt x="1698" y="303"/>
                  </a:lnTo>
                  <a:lnTo>
                    <a:pt x="1569" y="370"/>
                  </a:lnTo>
                  <a:lnTo>
                    <a:pt x="1443" y="442"/>
                  </a:lnTo>
                  <a:lnTo>
                    <a:pt x="1321" y="521"/>
                  </a:lnTo>
                  <a:lnTo>
                    <a:pt x="1203" y="605"/>
                  </a:lnTo>
                  <a:lnTo>
                    <a:pt x="1088" y="696"/>
                  </a:lnTo>
                  <a:lnTo>
                    <a:pt x="978" y="791"/>
                  </a:lnTo>
                  <a:lnTo>
                    <a:pt x="873" y="893"/>
                  </a:lnTo>
                  <a:lnTo>
                    <a:pt x="771" y="1001"/>
                  </a:lnTo>
                  <a:lnTo>
                    <a:pt x="676" y="1112"/>
                  </a:lnTo>
                  <a:lnTo>
                    <a:pt x="584" y="1231"/>
                  </a:lnTo>
                  <a:lnTo>
                    <a:pt x="499" y="1354"/>
                  </a:lnTo>
                  <a:lnTo>
                    <a:pt x="419" y="1481"/>
                  </a:lnTo>
                  <a:lnTo>
                    <a:pt x="346" y="1614"/>
                  </a:lnTo>
                  <a:lnTo>
                    <a:pt x="277" y="1752"/>
                  </a:lnTo>
                  <a:lnTo>
                    <a:pt x="216" y="1895"/>
                  </a:lnTo>
                  <a:lnTo>
                    <a:pt x="162" y="2041"/>
                  </a:lnTo>
                  <a:lnTo>
                    <a:pt x="116" y="2188"/>
                  </a:lnTo>
                  <a:lnTo>
                    <a:pt x="78" y="2334"/>
                  </a:lnTo>
                  <a:lnTo>
                    <a:pt x="47" y="2482"/>
                  </a:lnTo>
                  <a:lnTo>
                    <a:pt x="24" y="2630"/>
                  </a:lnTo>
                  <a:lnTo>
                    <a:pt x="9" y="2778"/>
                  </a:lnTo>
                  <a:lnTo>
                    <a:pt x="1" y="2926"/>
                  </a:lnTo>
                  <a:lnTo>
                    <a:pt x="0" y="3073"/>
                  </a:lnTo>
                  <a:lnTo>
                    <a:pt x="6" y="3220"/>
                  </a:lnTo>
                  <a:lnTo>
                    <a:pt x="20" y="3366"/>
                  </a:lnTo>
                  <a:lnTo>
                    <a:pt x="40" y="3509"/>
                  </a:lnTo>
                  <a:lnTo>
                    <a:pt x="67" y="3652"/>
                  </a:lnTo>
                  <a:lnTo>
                    <a:pt x="101" y="3793"/>
                  </a:lnTo>
                  <a:lnTo>
                    <a:pt x="143" y="3933"/>
                  </a:lnTo>
                  <a:lnTo>
                    <a:pt x="190" y="4070"/>
                  </a:lnTo>
                  <a:lnTo>
                    <a:pt x="243" y="4204"/>
                  </a:lnTo>
                  <a:lnTo>
                    <a:pt x="303" y="4335"/>
                  </a:lnTo>
                  <a:lnTo>
                    <a:pt x="370" y="4464"/>
                  </a:lnTo>
                  <a:lnTo>
                    <a:pt x="442" y="4590"/>
                  </a:lnTo>
                  <a:lnTo>
                    <a:pt x="521" y="4712"/>
                  </a:lnTo>
                  <a:lnTo>
                    <a:pt x="605" y="4830"/>
                  </a:lnTo>
                  <a:lnTo>
                    <a:pt x="696" y="4945"/>
                  </a:lnTo>
                  <a:lnTo>
                    <a:pt x="791" y="5055"/>
                  </a:lnTo>
                  <a:lnTo>
                    <a:pt x="893" y="5160"/>
                  </a:lnTo>
                  <a:lnTo>
                    <a:pt x="1001" y="5262"/>
                  </a:lnTo>
                  <a:lnTo>
                    <a:pt x="1113" y="5357"/>
                  </a:lnTo>
                  <a:lnTo>
                    <a:pt x="1231" y="5449"/>
                  </a:lnTo>
                  <a:lnTo>
                    <a:pt x="1354" y="5534"/>
                  </a:lnTo>
                  <a:lnTo>
                    <a:pt x="1481" y="5614"/>
                  </a:lnTo>
                  <a:lnTo>
                    <a:pt x="1614" y="5687"/>
                  </a:lnTo>
                  <a:lnTo>
                    <a:pt x="1752" y="5756"/>
                  </a:lnTo>
                  <a:lnTo>
                    <a:pt x="1895" y="5817"/>
                  </a:lnTo>
                  <a:lnTo>
                    <a:pt x="2041" y="5870"/>
                  </a:lnTo>
                  <a:lnTo>
                    <a:pt x="2188" y="5917"/>
                  </a:lnTo>
                  <a:lnTo>
                    <a:pt x="2334" y="5955"/>
                  </a:lnTo>
                  <a:lnTo>
                    <a:pt x="2482" y="5986"/>
                  </a:lnTo>
                  <a:lnTo>
                    <a:pt x="2630" y="6009"/>
                  </a:lnTo>
                  <a:lnTo>
                    <a:pt x="2778" y="6024"/>
                  </a:lnTo>
                  <a:lnTo>
                    <a:pt x="2926" y="6032"/>
                  </a:lnTo>
                  <a:lnTo>
                    <a:pt x="3074" y="6033"/>
                  </a:lnTo>
                  <a:lnTo>
                    <a:pt x="3220" y="6027"/>
                  </a:lnTo>
                  <a:lnTo>
                    <a:pt x="3366" y="6013"/>
                  </a:lnTo>
                  <a:lnTo>
                    <a:pt x="3509" y="5993"/>
                  </a:lnTo>
                  <a:lnTo>
                    <a:pt x="3652" y="5966"/>
                  </a:lnTo>
                  <a:lnTo>
                    <a:pt x="3794" y="5932"/>
                  </a:lnTo>
                  <a:lnTo>
                    <a:pt x="3933" y="5891"/>
                  </a:lnTo>
                  <a:lnTo>
                    <a:pt x="4070" y="5843"/>
                  </a:lnTo>
                  <a:lnTo>
                    <a:pt x="4205" y="5790"/>
                  </a:lnTo>
                  <a:lnTo>
                    <a:pt x="4336" y="5730"/>
                  </a:lnTo>
                  <a:lnTo>
                    <a:pt x="4465" y="5663"/>
                  </a:lnTo>
                  <a:lnTo>
                    <a:pt x="4590" y="5591"/>
                  </a:lnTo>
                  <a:lnTo>
                    <a:pt x="4713" y="5512"/>
                  </a:lnTo>
                  <a:lnTo>
                    <a:pt x="4830" y="5428"/>
                  </a:lnTo>
                  <a:lnTo>
                    <a:pt x="4945" y="5338"/>
                  </a:lnTo>
                  <a:lnTo>
                    <a:pt x="5056" y="5242"/>
                  </a:lnTo>
                  <a:lnTo>
                    <a:pt x="5161" y="5140"/>
                  </a:lnTo>
                  <a:lnTo>
                    <a:pt x="5262" y="5033"/>
                  </a:lnTo>
                  <a:lnTo>
                    <a:pt x="5358" y="4921"/>
                  </a:lnTo>
                  <a:lnTo>
                    <a:pt x="5449" y="4803"/>
                  </a:lnTo>
                  <a:lnTo>
                    <a:pt x="5534" y="4680"/>
                  </a:lnTo>
                  <a:lnTo>
                    <a:pt x="5615" y="4552"/>
                  </a:lnTo>
                  <a:lnTo>
                    <a:pt x="5688" y="4419"/>
                  </a:lnTo>
                  <a:lnTo>
                    <a:pt x="5757" y="4281"/>
                  </a:lnTo>
                  <a:lnTo>
                    <a:pt x="5818" y="4138"/>
                  </a:lnTo>
                  <a:lnTo>
                    <a:pt x="5871" y="3992"/>
                  </a:lnTo>
                  <a:lnTo>
                    <a:pt x="5918" y="3846"/>
                  </a:lnTo>
                  <a:lnTo>
                    <a:pt x="5956" y="3699"/>
                  </a:lnTo>
                  <a:lnTo>
                    <a:pt x="5987" y="3551"/>
                  </a:lnTo>
                  <a:lnTo>
                    <a:pt x="6009" y="3403"/>
                  </a:lnTo>
                  <a:lnTo>
                    <a:pt x="6025" y="3255"/>
                  </a:lnTo>
                  <a:lnTo>
                    <a:pt x="6033" y="3107"/>
                  </a:lnTo>
                  <a:lnTo>
                    <a:pt x="6034" y="2960"/>
                  </a:lnTo>
                  <a:lnTo>
                    <a:pt x="6027" y="2813"/>
                  </a:lnTo>
                  <a:lnTo>
                    <a:pt x="6014" y="2667"/>
                  </a:lnTo>
                  <a:lnTo>
                    <a:pt x="5993" y="2524"/>
                  </a:lnTo>
                  <a:lnTo>
                    <a:pt x="5966" y="2381"/>
                  </a:lnTo>
                  <a:lnTo>
                    <a:pt x="5932" y="2240"/>
                  </a:lnTo>
                  <a:lnTo>
                    <a:pt x="5891" y="2100"/>
                  </a:lnTo>
                  <a:lnTo>
                    <a:pt x="5844" y="1963"/>
                  </a:lnTo>
                  <a:lnTo>
                    <a:pt x="5790" y="1829"/>
                  </a:lnTo>
                  <a:lnTo>
                    <a:pt x="5730" y="1698"/>
                  </a:lnTo>
                  <a:lnTo>
                    <a:pt x="5663" y="1569"/>
                  </a:lnTo>
                  <a:lnTo>
                    <a:pt x="5591" y="1443"/>
                  </a:lnTo>
                  <a:lnTo>
                    <a:pt x="5512" y="1321"/>
                  </a:lnTo>
                  <a:lnTo>
                    <a:pt x="5428" y="1203"/>
                  </a:lnTo>
                  <a:lnTo>
                    <a:pt x="5338" y="1088"/>
                  </a:lnTo>
                  <a:lnTo>
                    <a:pt x="5242" y="978"/>
                  </a:lnTo>
                  <a:lnTo>
                    <a:pt x="5140" y="873"/>
                  </a:lnTo>
                  <a:lnTo>
                    <a:pt x="5033" y="771"/>
                  </a:lnTo>
                  <a:lnTo>
                    <a:pt x="4921" y="676"/>
                  </a:lnTo>
                  <a:lnTo>
                    <a:pt x="4803" y="584"/>
                  </a:lnTo>
                  <a:lnTo>
                    <a:pt x="4679" y="499"/>
                  </a:lnTo>
                  <a:lnTo>
                    <a:pt x="4552" y="419"/>
                  </a:lnTo>
                  <a:lnTo>
                    <a:pt x="4419" y="345"/>
                  </a:lnTo>
                  <a:lnTo>
                    <a:pt x="4281" y="277"/>
                  </a:lnTo>
                  <a:lnTo>
                    <a:pt x="4138" y="2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20" name="isḷídé">
              <a:extLst>
                <a:ext uri="{FF2B5EF4-FFF2-40B4-BE49-F238E27FC236}">
                  <a16:creationId xmlns:a16="http://schemas.microsoft.com/office/drawing/2014/main" id="{7114935D-77BC-4A23-8B53-735C86438702}"/>
                </a:ext>
              </a:extLst>
            </p:cNvPr>
            <p:cNvSpPr/>
            <p:nvPr/>
          </p:nvSpPr>
          <p:spPr bwMode="auto">
            <a:xfrm>
              <a:off x="6536332" y="3523619"/>
              <a:ext cx="57270" cy="58112"/>
            </a:xfrm>
            <a:custGeom>
              <a:avLst/>
              <a:gdLst>
                <a:gd name="T0" fmla="*/ 2514 w 2520"/>
                <a:gd name="T1" fmla="*/ 308 h 2567"/>
                <a:gd name="T2" fmla="*/ 2520 w 2520"/>
                <a:gd name="T3" fmla="*/ 259 h 2567"/>
                <a:gd name="T4" fmla="*/ 2517 w 2520"/>
                <a:gd name="T5" fmla="*/ 211 h 2567"/>
                <a:gd name="T6" fmla="*/ 2505 w 2520"/>
                <a:gd name="T7" fmla="*/ 163 h 2567"/>
                <a:gd name="T8" fmla="*/ 2483 w 2520"/>
                <a:gd name="T9" fmla="*/ 120 h 2567"/>
                <a:gd name="T10" fmla="*/ 2454 w 2520"/>
                <a:gd name="T11" fmla="*/ 82 h 2567"/>
                <a:gd name="T12" fmla="*/ 2417 w 2520"/>
                <a:gd name="T13" fmla="*/ 49 h 2567"/>
                <a:gd name="T14" fmla="*/ 2374 w 2520"/>
                <a:gd name="T15" fmla="*/ 23 h 2567"/>
                <a:gd name="T16" fmla="*/ 2326 w 2520"/>
                <a:gd name="T17" fmla="*/ 6 h 2567"/>
                <a:gd name="T18" fmla="*/ 2276 w 2520"/>
                <a:gd name="T19" fmla="*/ 0 h 2567"/>
                <a:gd name="T20" fmla="*/ 2227 w 2520"/>
                <a:gd name="T21" fmla="*/ 3 h 2567"/>
                <a:gd name="T22" fmla="*/ 2181 w 2520"/>
                <a:gd name="T23" fmla="*/ 15 h 2567"/>
                <a:gd name="T24" fmla="*/ 2137 w 2520"/>
                <a:gd name="T25" fmla="*/ 37 h 2567"/>
                <a:gd name="T26" fmla="*/ 2098 w 2520"/>
                <a:gd name="T27" fmla="*/ 66 h 2567"/>
                <a:gd name="T28" fmla="*/ 2066 w 2520"/>
                <a:gd name="T29" fmla="*/ 103 h 2567"/>
                <a:gd name="T30" fmla="*/ 2041 w 2520"/>
                <a:gd name="T31" fmla="*/ 146 h 2567"/>
                <a:gd name="T32" fmla="*/ 1963 w 2520"/>
                <a:gd name="T33" fmla="*/ 324 h 2567"/>
                <a:gd name="T34" fmla="*/ 1797 w 2520"/>
                <a:gd name="T35" fmla="*/ 640 h 2567"/>
                <a:gd name="T36" fmla="*/ 1605 w 2520"/>
                <a:gd name="T37" fmla="*/ 934 h 2567"/>
                <a:gd name="T38" fmla="*/ 1387 w 2520"/>
                <a:gd name="T39" fmla="*/ 1202 h 2567"/>
                <a:gd name="T40" fmla="*/ 1146 w 2520"/>
                <a:gd name="T41" fmla="*/ 1446 h 2567"/>
                <a:gd name="T42" fmla="*/ 883 w 2520"/>
                <a:gd name="T43" fmla="*/ 1663 h 2567"/>
                <a:gd name="T44" fmla="*/ 602 w 2520"/>
                <a:gd name="T45" fmla="*/ 1853 h 2567"/>
                <a:gd name="T46" fmla="*/ 306 w 2520"/>
                <a:gd name="T47" fmla="*/ 2015 h 2567"/>
                <a:gd name="T48" fmla="*/ 130 w 2520"/>
                <a:gd name="T49" fmla="*/ 2097 h 2567"/>
                <a:gd name="T50" fmla="*/ 88 w 2520"/>
                <a:gd name="T51" fmla="*/ 2125 h 2567"/>
                <a:gd name="T52" fmla="*/ 54 w 2520"/>
                <a:gd name="T53" fmla="*/ 2160 h 2567"/>
                <a:gd name="T54" fmla="*/ 28 w 2520"/>
                <a:gd name="T55" fmla="*/ 2201 h 2567"/>
                <a:gd name="T56" fmla="*/ 10 w 2520"/>
                <a:gd name="T57" fmla="*/ 2246 h 2567"/>
                <a:gd name="T58" fmla="*/ 1 w 2520"/>
                <a:gd name="T59" fmla="*/ 2293 h 2567"/>
                <a:gd name="T60" fmla="*/ 2 w 2520"/>
                <a:gd name="T61" fmla="*/ 2342 h 2567"/>
                <a:gd name="T62" fmla="*/ 12 w 2520"/>
                <a:gd name="T63" fmla="*/ 2390 h 2567"/>
                <a:gd name="T64" fmla="*/ 32 w 2520"/>
                <a:gd name="T65" fmla="*/ 2438 h 2567"/>
                <a:gd name="T66" fmla="*/ 60 w 2520"/>
                <a:gd name="T67" fmla="*/ 2479 h 2567"/>
                <a:gd name="T68" fmla="*/ 95 w 2520"/>
                <a:gd name="T69" fmla="*/ 2513 h 2567"/>
                <a:gd name="T70" fmla="*/ 137 w 2520"/>
                <a:gd name="T71" fmla="*/ 2539 h 2567"/>
                <a:gd name="T72" fmla="*/ 181 w 2520"/>
                <a:gd name="T73" fmla="*/ 2557 h 2567"/>
                <a:gd name="T74" fmla="*/ 228 w 2520"/>
                <a:gd name="T75" fmla="*/ 2566 h 2567"/>
                <a:gd name="T76" fmla="*/ 277 w 2520"/>
                <a:gd name="T77" fmla="*/ 2566 h 2567"/>
                <a:gd name="T78" fmla="*/ 327 w 2520"/>
                <a:gd name="T79" fmla="*/ 2556 h 2567"/>
                <a:gd name="T80" fmla="*/ 362 w 2520"/>
                <a:gd name="T81" fmla="*/ 2540 h 2567"/>
                <a:gd name="T82" fmla="*/ 707 w 2520"/>
                <a:gd name="T83" fmla="*/ 2371 h 2567"/>
                <a:gd name="T84" fmla="*/ 1036 w 2520"/>
                <a:gd name="T85" fmla="*/ 2169 h 2567"/>
                <a:gd name="T86" fmla="*/ 1344 w 2520"/>
                <a:gd name="T87" fmla="*/ 1937 h 2567"/>
                <a:gd name="T88" fmla="*/ 1630 w 2520"/>
                <a:gd name="T89" fmla="*/ 1674 h 2567"/>
                <a:gd name="T90" fmla="*/ 1892 w 2520"/>
                <a:gd name="T91" fmla="*/ 1382 h 2567"/>
                <a:gd name="T92" fmla="*/ 2126 w 2520"/>
                <a:gd name="T93" fmla="*/ 1063 h 2567"/>
                <a:gd name="T94" fmla="*/ 2331 w 2520"/>
                <a:gd name="T95" fmla="*/ 717 h 2567"/>
                <a:gd name="T96" fmla="*/ 2502 w 2520"/>
                <a:gd name="T97" fmla="*/ 344 h 2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20" h="2567">
                  <a:moveTo>
                    <a:pt x="2502" y="344"/>
                  </a:moveTo>
                  <a:lnTo>
                    <a:pt x="2507" y="332"/>
                  </a:lnTo>
                  <a:lnTo>
                    <a:pt x="2511" y="320"/>
                  </a:lnTo>
                  <a:lnTo>
                    <a:pt x="2514" y="308"/>
                  </a:lnTo>
                  <a:lnTo>
                    <a:pt x="2516" y="296"/>
                  </a:lnTo>
                  <a:lnTo>
                    <a:pt x="2518" y="284"/>
                  </a:lnTo>
                  <a:lnTo>
                    <a:pt x="2520" y="271"/>
                  </a:lnTo>
                  <a:lnTo>
                    <a:pt x="2520" y="259"/>
                  </a:lnTo>
                  <a:lnTo>
                    <a:pt x="2520" y="247"/>
                  </a:lnTo>
                  <a:lnTo>
                    <a:pt x="2520" y="235"/>
                  </a:lnTo>
                  <a:lnTo>
                    <a:pt x="2519" y="223"/>
                  </a:lnTo>
                  <a:lnTo>
                    <a:pt x="2517" y="211"/>
                  </a:lnTo>
                  <a:lnTo>
                    <a:pt x="2515" y="198"/>
                  </a:lnTo>
                  <a:lnTo>
                    <a:pt x="2512" y="186"/>
                  </a:lnTo>
                  <a:lnTo>
                    <a:pt x="2509" y="175"/>
                  </a:lnTo>
                  <a:lnTo>
                    <a:pt x="2505" y="163"/>
                  </a:lnTo>
                  <a:lnTo>
                    <a:pt x="2500" y="152"/>
                  </a:lnTo>
                  <a:lnTo>
                    <a:pt x="2494" y="141"/>
                  </a:lnTo>
                  <a:lnTo>
                    <a:pt x="2489" y="131"/>
                  </a:lnTo>
                  <a:lnTo>
                    <a:pt x="2483" y="120"/>
                  </a:lnTo>
                  <a:lnTo>
                    <a:pt x="2476" y="110"/>
                  </a:lnTo>
                  <a:lnTo>
                    <a:pt x="2469" y="100"/>
                  </a:lnTo>
                  <a:lnTo>
                    <a:pt x="2462" y="91"/>
                  </a:lnTo>
                  <a:lnTo>
                    <a:pt x="2454" y="82"/>
                  </a:lnTo>
                  <a:lnTo>
                    <a:pt x="2445" y="73"/>
                  </a:lnTo>
                  <a:lnTo>
                    <a:pt x="2437" y="65"/>
                  </a:lnTo>
                  <a:lnTo>
                    <a:pt x="2427" y="57"/>
                  </a:lnTo>
                  <a:lnTo>
                    <a:pt x="2417" y="49"/>
                  </a:lnTo>
                  <a:lnTo>
                    <a:pt x="2407" y="42"/>
                  </a:lnTo>
                  <a:lnTo>
                    <a:pt x="2397" y="36"/>
                  </a:lnTo>
                  <a:lnTo>
                    <a:pt x="2386" y="29"/>
                  </a:lnTo>
                  <a:lnTo>
                    <a:pt x="2374" y="23"/>
                  </a:lnTo>
                  <a:lnTo>
                    <a:pt x="2362" y="18"/>
                  </a:lnTo>
                  <a:lnTo>
                    <a:pt x="2350" y="13"/>
                  </a:lnTo>
                  <a:lnTo>
                    <a:pt x="2338" y="9"/>
                  </a:lnTo>
                  <a:lnTo>
                    <a:pt x="2326" y="6"/>
                  </a:lnTo>
                  <a:lnTo>
                    <a:pt x="2313" y="4"/>
                  </a:lnTo>
                  <a:lnTo>
                    <a:pt x="2300" y="2"/>
                  </a:lnTo>
                  <a:lnTo>
                    <a:pt x="2288" y="0"/>
                  </a:lnTo>
                  <a:lnTo>
                    <a:pt x="2276" y="0"/>
                  </a:lnTo>
                  <a:lnTo>
                    <a:pt x="2264" y="0"/>
                  </a:lnTo>
                  <a:lnTo>
                    <a:pt x="2251" y="0"/>
                  </a:lnTo>
                  <a:lnTo>
                    <a:pt x="2239" y="1"/>
                  </a:lnTo>
                  <a:lnTo>
                    <a:pt x="2227" y="3"/>
                  </a:lnTo>
                  <a:lnTo>
                    <a:pt x="2216" y="5"/>
                  </a:lnTo>
                  <a:lnTo>
                    <a:pt x="2204" y="8"/>
                  </a:lnTo>
                  <a:lnTo>
                    <a:pt x="2192" y="11"/>
                  </a:lnTo>
                  <a:lnTo>
                    <a:pt x="2181" y="15"/>
                  </a:lnTo>
                  <a:lnTo>
                    <a:pt x="2170" y="20"/>
                  </a:lnTo>
                  <a:lnTo>
                    <a:pt x="2159" y="25"/>
                  </a:lnTo>
                  <a:lnTo>
                    <a:pt x="2147" y="30"/>
                  </a:lnTo>
                  <a:lnTo>
                    <a:pt x="2137" y="37"/>
                  </a:lnTo>
                  <a:lnTo>
                    <a:pt x="2127" y="44"/>
                  </a:lnTo>
                  <a:lnTo>
                    <a:pt x="2117" y="51"/>
                  </a:lnTo>
                  <a:lnTo>
                    <a:pt x="2108" y="58"/>
                  </a:lnTo>
                  <a:lnTo>
                    <a:pt x="2098" y="66"/>
                  </a:lnTo>
                  <a:lnTo>
                    <a:pt x="2090" y="75"/>
                  </a:lnTo>
                  <a:lnTo>
                    <a:pt x="2081" y="83"/>
                  </a:lnTo>
                  <a:lnTo>
                    <a:pt x="2073" y="93"/>
                  </a:lnTo>
                  <a:lnTo>
                    <a:pt x="2066" y="103"/>
                  </a:lnTo>
                  <a:lnTo>
                    <a:pt x="2059" y="113"/>
                  </a:lnTo>
                  <a:lnTo>
                    <a:pt x="2052" y="124"/>
                  </a:lnTo>
                  <a:lnTo>
                    <a:pt x="2046" y="135"/>
                  </a:lnTo>
                  <a:lnTo>
                    <a:pt x="2041" y="146"/>
                  </a:lnTo>
                  <a:lnTo>
                    <a:pt x="2036" y="158"/>
                  </a:lnTo>
                  <a:lnTo>
                    <a:pt x="2035" y="157"/>
                  </a:lnTo>
                  <a:lnTo>
                    <a:pt x="2000" y="242"/>
                  </a:lnTo>
                  <a:lnTo>
                    <a:pt x="1963" y="324"/>
                  </a:lnTo>
                  <a:lnTo>
                    <a:pt x="1924" y="406"/>
                  </a:lnTo>
                  <a:lnTo>
                    <a:pt x="1884" y="485"/>
                  </a:lnTo>
                  <a:lnTo>
                    <a:pt x="1842" y="564"/>
                  </a:lnTo>
                  <a:lnTo>
                    <a:pt x="1797" y="640"/>
                  </a:lnTo>
                  <a:lnTo>
                    <a:pt x="1752" y="716"/>
                  </a:lnTo>
                  <a:lnTo>
                    <a:pt x="1705" y="790"/>
                  </a:lnTo>
                  <a:lnTo>
                    <a:pt x="1656" y="862"/>
                  </a:lnTo>
                  <a:lnTo>
                    <a:pt x="1605" y="934"/>
                  </a:lnTo>
                  <a:lnTo>
                    <a:pt x="1553" y="1003"/>
                  </a:lnTo>
                  <a:lnTo>
                    <a:pt x="1499" y="1071"/>
                  </a:lnTo>
                  <a:lnTo>
                    <a:pt x="1443" y="1137"/>
                  </a:lnTo>
                  <a:lnTo>
                    <a:pt x="1387" y="1202"/>
                  </a:lnTo>
                  <a:lnTo>
                    <a:pt x="1329" y="1266"/>
                  </a:lnTo>
                  <a:lnTo>
                    <a:pt x="1268" y="1327"/>
                  </a:lnTo>
                  <a:lnTo>
                    <a:pt x="1208" y="1387"/>
                  </a:lnTo>
                  <a:lnTo>
                    <a:pt x="1146" y="1446"/>
                  </a:lnTo>
                  <a:lnTo>
                    <a:pt x="1081" y="1502"/>
                  </a:lnTo>
                  <a:lnTo>
                    <a:pt x="1017" y="1557"/>
                  </a:lnTo>
                  <a:lnTo>
                    <a:pt x="950" y="1612"/>
                  </a:lnTo>
                  <a:lnTo>
                    <a:pt x="883" y="1663"/>
                  </a:lnTo>
                  <a:lnTo>
                    <a:pt x="815" y="1713"/>
                  </a:lnTo>
                  <a:lnTo>
                    <a:pt x="745" y="1762"/>
                  </a:lnTo>
                  <a:lnTo>
                    <a:pt x="674" y="1808"/>
                  </a:lnTo>
                  <a:lnTo>
                    <a:pt x="602" y="1853"/>
                  </a:lnTo>
                  <a:lnTo>
                    <a:pt x="530" y="1896"/>
                  </a:lnTo>
                  <a:lnTo>
                    <a:pt x="456" y="1938"/>
                  </a:lnTo>
                  <a:lnTo>
                    <a:pt x="381" y="1978"/>
                  </a:lnTo>
                  <a:lnTo>
                    <a:pt x="306" y="2015"/>
                  </a:lnTo>
                  <a:lnTo>
                    <a:pt x="229" y="2051"/>
                  </a:lnTo>
                  <a:lnTo>
                    <a:pt x="153" y="2086"/>
                  </a:lnTo>
                  <a:lnTo>
                    <a:pt x="141" y="2091"/>
                  </a:lnTo>
                  <a:lnTo>
                    <a:pt x="130" y="2097"/>
                  </a:lnTo>
                  <a:lnTo>
                    <a:pt x="118" y="2103"/>
                  </a:lnTo>
                  <a:lnTo>
                    <a:pt x="107" y="2110"/>
                  </a:lnTo>
                  <a:lnTo>
                    <a:pt x="97" y="2118"/>
                  </a:lnTo>
                  <a:lnTo>
                    <a:pt x="88" y="2125"/>
                  </a:lnTo>
                  <a:lnTo>
                    <a:pt x="79" y="2133"/>
                  </a:lnTo>
                  <a:lnTo>
                    <a:pt x="70" y="2142"/>
                  </a:lnTo>
                  <a:lnTo>
                    <a:pt x="62" y="2151"/>
                  </a:lnTo>
                  <a:lnTo>
                    <a:pt x="54" y="2160"/>
                  </a:lnTo>
                  <a:lnTo>
                    <a:pt x="47" y="2170"/>
                  </a:lnTo>
                  <a:lnTo>
                    <a:pt x="40" y="2180"/>
                  </a:lnTo>
                  <a:lnTo>
                    <a:pt x="34" y="2190"/>
                  </a:lnTo>
                  <a:lnTo>
                    <a:pt x="28" y="2201"/>
                  </a:lnTo>
                  <a:lnTo>
                    <a:pt x="23" y="2211"/>
                  </a:lnTo>
                  <a:lnTo>
                    <a:pt x="18" y="2222"/>
                  </a:lnTo>
                  <a:lnTo>
                    <a:pt x="14" y="2234"/>
                  </a:lnTo>
                  <a:lnTo>
                    <a:pt x="10" y="2246"/>
                  </a:lnTo>
                  <a:lnTo>
                    <a:pt x="7" y="2258"/>
                  </a:lnTo>
                  <a:lnTo>
                    <a:pt x="5" y="2269"/>
                  </a:lnTo>
                  <a:lnTo>
                    <a:pt x="3" y="2281"/>
                  </a:lnTo>
                  <a:lnTo>
                    <a:pt x="1" y="2293"/>
                  </a:lnTo>
                  <a:lnTo>
                    <a:pt x="1" y="2305"/>
                  </a:lnTo>
                  <a:lnTo>
                    <a:pt x="0" y="2317"/>
                  </a:lnTo>
                  <a:lnTo>
                    <a:pt x="1" y="2330"/>
                  </a:lnTo>
                  <a:lnTo>
                    <a:pt x="2" y="2342"/>
                  </a:lnTo>
                  <a:lnTo>
                    <a:pt x="3" y="2354"/>
                  </a:lnTo>
                  <a:lnTo>
                    <a:pt x="5" y="2366"/>
                  </a:lnTo>
                  <a:lnTo>
                    <a:pt x="8" y="2378"/>
                  </a:lnTo>
                  <a:lnTo>
                    <a:pt x="12" y="2390"/>
                  </a:lnTo>
                  <a:lnTo>
                    <a:pt x="16" y="2402"/>
                  </a:lnTo>
                  <a:lnTo>
                    <a:pt x="21" y="2415"/>
                  </a:lnTo>
                  <a:lnTo>
                    <a:pt x="26" y="2427"/>
                  </a:lnTo>
                  <a:lnTo>
                    <a:pt x="32" y="2438"/>
                  </a:lnTo>
                  <a:lnTo>
                    <a:pt x="38" y="2449"/>
                  </a:lnTo>
                  <a:lnTo>
                    <a:pt x="45" y="2460"/>
                  </a:lnTo>
                  <a:lnTo>
                    <a:pt x="52" y="2470"/>
                  </a:lnTo>
                  <a:lnTo>
                    <a:pt x="60" y="2479"/>
                  </a:lnTo>
                  <a:lnTo>
                    <a:pt x="68" y="2489"/>
                  </a:lnTo>
                  <a:lnTo>
                    <a:pt x="77" y="2497"/>
                  </a:lnTo>
                  <a:lnTo>
                    <a:pt x="86" y="2506"/>
                  </a:lnTo>
                  <a:lnTo>
                    <a:pt x="95" y="2513"/>
                  </a:lnTo>
                  <a:lnTo>
                    <a:pt x="105" y="2521"/>
                  </a:lnTo>
                  <a:lnTo>
                    <a:pt x="115" y="2527"/>
                  </a:lnTo>
                  <a:lnTo>
                    <a:pt x="126" y="2534"/>
                  </a:lnTo>
                  <a:lnTo>
                    <a:pt x="137" y="2539"/>
                  </a:lnTo>
                  <a:lnTo>
                    <a:pt x="148" y="2545"/>
                  </a:lnTo>
                  <a:lnTo>
                    <a:pt x="159" y="2549"/>
                  </a:lnTo>
                  <a:lnTo>
                    <a:pt x="170" y="2553"/>
                  </a:lnTo>
                  <a:lnTo>
                    <a:pt x="181" y="2557"/>
                  </a:lnTo>
                  <a:lnTo>
                    <a:pt x="193" y="2560"/>
                  </a:lnTo>
                  <a:lnTo>
                    <a:pt x="204" y="2563"/>
                  </a:lnTo>
                  <a:lnTo>
                    <a:pt x="216" y="2565"/>
                  </a:lnTo>
                  <a:lnTo>
                    <a:pt x="228" y="2566"/>
                  </a:lnTo>
                  <a:lnTo>
                    <a:pt x="240" y="2567"/>
                  </a:lnTo>
                  <a:lnTo>
                    <a:pt x="253" y="2567"/>
                  </a:lnTo>
                  <a:lnTo>
                    <a:pt x="265" y="2567"/>
                  </a:lnTo>
                  <a:lnTo>
                    <a:pt x="277" y="2566"/>
                  </a:lnTo>
                  <a:lnTo>
                    <a:pt x="289" y="2564"/>
                  </a:lnTo>
                  <a:lnTo>
                    <a:pt x="302" y="2562"/>
                  </a:lnTo>
                  <a:lnTo>
                    <a:pt x="314" y="2559"/>
                  </a:lnTo>
                  <a:lnTo>
                    <a:pt x="327" y="2556"/>
                  </a:lnTo>
                  <a:lnTo>
                    <a:pt x="339" y="2552"/>
                  </a:lnTo>
                  <a:lnTo>
                    <a:pt x="351" y="2547"/>
                  </a:lnTo>
                  <a:lnTo>
                    <a:pt x="356" y="2543"/>
                  </a:lnTo>
                  <a:lnTo>
                    <a:pt x="362" y="2540"/>
                  </a:lnTo>
                  <a:lnTo>
                    <a:pt x="449" y="2501"/>
                  </a:lnTo>
                  <a:lnTo>
                    <a:pt x="536" y="2460"/>
                  </a:lnTo>
                  <a:lnTo>
                    <a:pt x="622" y="2417"/>
                  </a:lnTo>
                  <a:lnTo>
                    <a:pt x="707" y="2371"/>
                  </a:lnTo>
                  <a:lnTo>
                    <a:pt x="790" y="2324"/>
                  </a:lnTo>
                  <a:lnTo>
                    <a:pt x="874" y="2275"/>
                  </a:lnTo>
                  <a:lnTo>
                    <a:pt x="955" y="2222"/>
                  </a:lnTo>
                  <a:lnTo>
                    <a:pt x="1036" y="2169"/>
                  </a:lnTo>
                  <a:lnTo>
                    <a:pt x="1114" y="2114"/>
                  </a:lnTo>
                  <a:lnTo>
                    <a:pt x="1193" y="2057"/>
                  </a:lnTo>
                  <a:lnTo>
                    <a:pt x="1269" y="1998"/>
                  </a:lnTo>
                  <a:lnTo>
                    <a:pt x="1344" y="1937"/>
                  </a:lnTo>
                  <a:lnTo>
                    <a:pt x="1418" y="1874"/>
                  </a:lnTo>
                  <a:lnTo>
                    <a:pt x="1491" y="1809"/>
                  </a:lnTo>
                  <a:lnTo>
                    <a:pt x="1561" y="1743"/>
                  </a:lnTo>
                  <a:lnTo>
                    <a:pt x="1630" y="1674"/>
                  </a:lnTo>
                  <a:lnTo>
                    <a:pt x="1699" y="1604"/>
                  </a:lnTo>
                  <a:lnTo>
                    <a:pt x="1765" y="1532"/>
                  </a:lnTo>
                  <a:lnTo>
                    <a:pt x="1830" y="1458"/>
                  </a:lnTo>
                  <a:lnTo>
                    <a:pt x="1892" y="1382"/>
                  </a:lnTo>
                  <a:lnTo>
                    <a:pt x="1953" y="1305"/>
                  </a:lnTo>
                  <a:lnTo>
                    <a:pt x="2013" y="1227"/>
                  </a:lnTo>
                  <a:lnTo>
                    <a:pt x="2071" y="1145"/>
                  </a:lnTo>
                  <a:lnTo>
                    <a:pt x="2126" y="1063"/>
                  </a:lnTo>
                  <a:lnTo>
                    <a:pt x="2181" y="979"/>
                  </a:lnTo>
                  <a:lnTo>
                    <a:pt x="2232" y="894"/>
                  </a:lnTo>
                  <a:lnTo>
                    <a:pt x="2282" y="806"/>
                  </a:lnTo>
                  <a:lnTo>
                    <a:pt x="2331" y="717"/>
                  </a:lnTo>
                  <a:lnTo>
                    <a:pt x="2376" y="626"/>
                  </a:lnTo>
                  <a:lnTo>
                    <a:pt x="2420" y="533"/>
                  </a:lnTo>
                  <a:lnTo>
                    <a:pt x="2462" y="440"/>
                  </a:lnTo>
                  <a:lnTo>
                    <a:pt x="2502" y="344"/>
                  </a:lnTo>
                  <a:lnTo>
                    <a:pt x="2502" y="3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21" name="i$1îḍê">
              <a:extLst>
                <a:ext uri="{FF2B5EF4-FFF2-40B4-BE49-F238E27FC236}">
                  <a16:creationId xmlns:a16="http://schemas.microsoft.com/office/drawing/2014/main" id="{0E8C2A73-82FB-4690-A486-611246B6C009}"/>
                </a:ext>
              </a:extLst>
            </p:cNvPr>
            <p:cNvSpPr/>
            <p:nvPr/>
          </p:nvSpPr>
          <p:spPr bwMode="auto">
            <a:xfrm>
              <a:off x="6554018" y="3540463"/>
              <a:ext cx="81693" cy="83378"/>
            </a:xfrm>
            <a:custGeom>
              <a:avLst/>
              <a:gdLst>
                <a:gd name="T0" fmla="*/ 3402 w 3596"/>
                <a:gd name="T1" fmla="*/ 6 h 3668"/>
                <a:gd name="T2" fmla="*/ 3352 w 3596"/>
                <a:gd name="T3" fmla="*/ 0 h 3668"/>
                <a:gd name="T4" fmla="*/ 3303 w 3596"/>
                <a:gd name="T5" fmla="*/ 3 h 3668"/>
                <a:gd name="T6" fmla="*/ 3257 w 3596"/>
                <a:gd name="T7" fmla="*/ 15 h 3668"/>
                <a:gd name="T8" fmla="*/ 3213 w 3596"/>
                <a:gd name="T9" fmla="*/ 36 h 3668"/>
                <a:gd name="T10" fmla="*/ 3174 w 3596"/>
                <a:gd name="T11" fmla="*/ 65 h 3668"/>
                <a:gd name="T12" fmla="*/ 3142 w 3596"/>
                <a:gd name="T13" fmla="*/ 102 h 3668"/>
                <a:gd name="T14" fmla="*/ 3116 w 3596"/>
                <a:gd name="T15" fmla="*/ 146 h 3668"/>
                <a:gd name="T16" fmla="*/ 2938 w 3596"/>
                <a:gd name="T17" fmla="*/ 547 h 3668"/>
                <a:gd name="T18" fmla="*/ 2666 w 3596"/>
                <a:gd name="T19" fmla="*/ 1035 h 3668"/>
                <a:gd name="T20" fmla="*/ 2353 w 3596"/>
                <a:gd name="T21" fmla="*/ 1485 h 3668"/>
                <a:gd name="T22" fmla="*/ 2000 w 3596"/>
                <a:gd name="T23" fmla="*/ 1898 h 3668"/>
                <a:gd name="T24" fmla="*/ 1613 w 3596"/>
                <a:gd name="T25" fmla="*/ 2270 h 3668"/>
                <a:gd name="T26" fmla="*/ 1193 w 3596"/>
                <a:gd name="T27" fmla="*/ 2601 h 3668"/>
                <a:gd name="T28" fmla="*/ 746 w 3596"/>
                <a:gd name="T29" fmla="*/ 2889 h 3668"/>
                <a:gd name="T30" fmla="*/ 274 w 3596"/>
                <a:gd name="T31" fmla="*/ 3133 h 3668"/>
                <a:gd name="T32" fmla="*/ 119 w 3596"/>
                <a:gd name="T33" fmla="*/ 3204 h 3668"/>
                <a:gd name="T34" fmla="*/ 80 w 3596"/>
                <a:gd name="T35" fmla="*/ 3234 h 3668"/>
                <a:gd name="T36" fmla="*/ 48 w 3596"/>
                <a:gd name="T37" fmla="*/ 3271 h 3668"/>
                <a:gd name="T38" fmla="*/ 24 w 3596"/>
                <a:gd name="T39" fmla="*/ 3312 h 3668"/>
                <a:gd name="T40" fmla="*/ 7 w 3596"/>
                <a:gd name="T41" fmla="*/ 3359 h 3668"/>
                <a:gd name="T42" fmla="*/ 1 w 3596"/>
                <a:gd name="T43" fmla="*/ 3406 h 3668"/>
                <a:gd name="T44" fmla="*/ 3 w 3596"/>
                <a:gd name="T45" fmla="*/ 3455 h 3668"/>
                <a:gd name="T46" fmla="*/ 17 w 3596"/>
                <a:gd name="T47" fmla="*/ 3504 h 3668"/>
                <a:gd name="T48" fmla="*/ 39 w 3596"/>
                <a:gd name="T49" fmla="*/ 3551 h 3668"/>
                <a:gd name="T50" fmla="*/ 69 w 3596"/>
                <a:gd name="T51" fmla="*/ 3590 h 3668"/>
                <a:gd name="T52" fmla="*/ 106 w 3596"/>
                <a:gd name="T53" fmla="*/ 3622 h 3668"/>
                <a:gd name="T54" fmla="*/ 147 w 3596"/>
                <a:gd name="T55" fmla="*/ 3646 h 3668"/>
                <a:gd name="T56" fmla="*/ 194 w 3596"/>
                <a:gd name="T57" fmla="*/ 3661 h 3668"/>
                <a:gd name="T58" fmla="*/ 241 w 3596"/>
                <a:gd name="T59" fmla="*/ 3668 h 3668"/>
                <a:gd name="T60" fmla="*/ 290 w 3596"/>
                <a:gd name="T61" fmla="*/ 3666 h 3668"/>
                <a:gd name="T62" fmla="*/ 339 w 3596"/>
                <a:gd name="T63" fmla="*/ 3653 h 3668"/>
                <a:gd name="T64" fmla="*/ 499 w 3596"/>
                <a:gd name="T65" fmla="*/ 3578 h 3668"/>
                <a:gd name="T66" fmla="*/ 1011 w 3596"/>
                <a:gd name="T67" fmla="*/ 3312 h 3668"/>
                <a:gd name="T68" fmla="*/ 1497 w 3596"/>
                <a:gd name="T69" fmla="*/ 2998 h 3668"/>
                <a:gd name="T70" fmla="*/ 1952 w 3596"/>
                <a:gd name="T71" fmla="*/ 2638 h 3668"/>
                <a:gd name="T72" fmla="*/ 2373 w 3596"/>
                <a:gd name="T73" fmla="*/ 2233 h 3668"/>
                <a:gd name="T74" fmla="*/ 2756 w 3596"/>
                <a:gd name="T75" fmla="*/ 1785 h 3668"/>
                <a:gd name="T76" fmla="*/ 3096 w 3596"/>
                <a:gd name="T77" fmla="*/ 1295 h 3668"/>
                <a:gd name="T78" fmla="*/ 3390 w 3596"/>
                <a:gd name="T79" fmla="*/ 766 h 3668"/>
                <a:gd name="T80" fmla="*/ 3583 w 3596"/>
                <a:gd name="T81" fmla="*/ 333 h 3668"/>
                <a:gd name="T82" fmla="*/ 3594 w 3596"/>
                <a:gd name="T83" fmla="*/ 283 h 3668"/>
                <a:gd name="T84" fmla="*/ 3596 w 3596"/>
                <a:gd name="T85" fmla="*/ 234 h 3668"/>
                <a:gd name="T86" fmla="*/ 3587 w 3596"/>
                <a:gd name="T87" fmla="*/ 186 h 3668"/>
                <a:gd name="T88" fmla="*/ 3571 w 3596"/>
                <a:gd name="T89" fmla="*/ 142 h 3668"/>
                <a:gd name="T90" fmla="*/ 3545 w 3596"/>
                <a:gd name="T91" fmla="*/ 100 h 3668"/>
                <a:gd name="T92" fmla="*/ 3512 w 3596"/>
                <a:gd name="T93" fmla="*/ 64 h 3668"/>
                <a:gd name="T94" fmla="*/ 3472 w 3596"/>
                <a:gd name="T95" fmla="*/ 35 h 3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596" h="3668">
                  <a:moveTo>
                    <a:pt x="3438" y="18"/>
                  </a:moveTo>
                  <a:lnTo>
                    <a:pt x="3426" y="13"/>
                  </a:lnTo>
                  <a:lnTo>
                    <a:pt x="3414" y="9"/>
                  </a:lnTo>
                  <a:lnTo>
                    <a:pt x="3402" y="6"/>
                  </a:lnTo>
                  <a:lnTo>
                    <a:pt x="3388" y="4"/>
                  </a:lnTo>
                  <a:lnTo>
                    <a:pt x="3376" y="2"/>
                  </a:lnTo>
                  <a:lnTo>
                    <a:pt x="3364" y="0"/>
                  </a:lnTo>
                  <a:lnTo>
                    <a:pt x="3352" y="0"/>
                  </a:lnTo>
                  <a:lnTo>
                    <a:pt x="3339" y="0"/>
                  </a:lnTo>
                  <a:lnTo>
                    <a:pt x="3327" y="0"/>
                  </a:lnTo>
                  <a:lnTo>
                    <a:pt x="3315" y="1"/>
                  </a:lnTo>
                  <a:lnTo>
                    <a:pt x="3303" y="3"/>
                  </a:lnTo>
                  <a:lnTo>
                    <a:pt x="3291" y="5"/>
                  </a:lnTo>
                  <a:lnTo>
                    <a:pt x="3280" y="8"/>
                  </a:lnTo>
                  <a:lnTo>
                    <a:pt x="3268" y="11"/>
                  </a:lnTo>
                  <a:lnTo>
                    <a:pt x="3257" y="15"/>
                  </a:lnTo>
                  <a:lnTo>
                    <a:pt x="3246" y="20"/>
                  </a:lnTo>
                  <a:lnTo>
                    <a:pt x="3235" y="25"/>
                  </a:lnTo>
                  <a:lnTo>
                    <a:pt x="3223" y="30"/>
                  </a:lnTo>
                  <a:lnTo>
                    <a:pt x="3213" y="36"/>
                  </a:lnTo>
                  <a:lnTo>
                    <a:pt x="3203" y="43"/>
                  </a:lnTo>
                  <a:lnTo>
                    <a:pt x="3193" y="50"/>
                  </a:lnTo>
                  <a:lnTo>
                    <a:pt x="3183" y="57"/>
                  </a:lnTo>
                  <a:lnTo>
                    <a:pt x="3174" y="65"/>
                  </a:lnTo>
                  <a:lnTo>
                    <a:pt x="3165" y="74"/>
                  </a:lnTo>
                  <a:lnTo>
                    <a:pt x="3157" y="83"/>
                  </a:lnTo>
                  <a:lnTo>
                    <a:pt x="3149" y="92"/>
                  </a:lnTo>
                  <a:lnTo>
                    <a:pt x="3142" y="102"/>
                  </a:lnTo>
                  <a:lnTo>
                    <a:pt x="3135" y="112"/>
                  </a:lnTo>
                  <a:lnTo>
                    <a:pt x="3128" y="122"/>
                  </a:lnTo>
                  <a:lnTo>
                    <a:pt x="3122" y="133"/>
                  </a:lnTo>
                  <a:lnTo>
                    <a:pt x="3116" y="146"/>
                  </a:lnTo>
                  <a:lnTo>
                    <a:pt x="3111" y="158"/>
                  </a:lnTo>
                  <a:lnTo>
                    <a:pt x="3056" y="289"/>
                  </a:lnTo>
                  <a:lnTo>
                    <a:pt x="2998" y="419"/>
                  </a:lnTo>
                  <a:lnTo>
                    <a:pt x="2938" y="547"/>
                  </a:lnTo>
                  <a:lnTo>
                    <a:pt x="2874" y="672"/>
                  </a:lnTo>
                  <a:lnTo>
                    <a:pt x="2808" y="795"/>
                  </a:lnTo>
                  <a:lnTo>
                    <a:pt x="2739" y="916"/>
                  </a:lnTo>
                  <a:lnTo>
                    <a:pt x="2666" y="1035"/>
                  </a:lnTo>
                  <a:lnTo>
                    <a:pt x="2592" y="1150"/>
                  </a:lnTo>
                  <a:lnTo>
                    <a:pt x="2515" y="1264"/>
                  </a:lnTo>
                  <a:lnTo>
                    <a:pt x="2435" y="1376"/>
                  </a:lnTo>
                  <a:lnTo>
                    <a:pt x="2353" y="1485"/>
                  </a:lnTo>
                  <a:lnTo>
                    <a:pt x="2269" y="1592"/>
                  </a:lnTo>
                  <a:lnTo>
                    <a:pt x="2181" y="1697"/>
                  </a:lnTo>
                  <a:lnTo>
                    <a:pt x="2092" y="1798"/>
                  </a:lnTo>
                  <a:lnTo>
                    <a:pt x="2000" y="1898"/>
                  </a:lnTo>
                  <a:lnTo>
                    <a:pt x="1907" y="1994"/>
                  </a:lnTo>
                  <a:lnTo>
                    <a:pt x="1811" y="2089"/>
                  </a:lnTo>
                  <a:lnTo>
                    <a:pt x="1713" y="2181"/>
                  </a:lnTo>
                  <a:lnTo>
                    <a:pt x="1613" y="2270"/>
                  </a:lnTo>
                  <a:lnTo>
                    <a:pt x="1511" y="2357"/>
                  </a:lnTo>
                  <a:lnTo>
                    <a:pt x="1407" y="2441"/>
                  </a:lnTo>
                  <a:lnTo>
                    <a:pt x="1301" y="2523"/>
                  </a:lnTo>
                  <a:lnTo>
                    <a:pt x="1193" y="2601"/>
                  </a:lnTo>
                  <a:lnTo>
                    <a:pt x="1084" y="2678"/>
                  </a:lnTo>
                  <a:lnTo>
                    <a:pt x="973" y="2751"/>
                  </a:lnTo>
                  <a:lnTo>
                    <a:pt x="861" y="2821"/>
                  </a:lnTo>
                  <a:lnTo>
                    <a:pt x="746" y="2889"/>
                  </a:lnTo>
                  <a:lnTo>
                    <a:pt x="630" y="2954"/>
                  </a:lnTo>
                  <a:lnTo>
                    <a:pt x="512" y="3017"/>
                  </a:lnTo>
                  <a:lnTo>
                    <a:pt x="394" y="3076"/>
                  </a:lnTo>
                  <a:lnTo>
                    <a:pt x="274" y="3133"/>
                  </a:lnTo>
                  <a:lnTo>
                    <a:pt x="152" y="3187"/>
                  </a:lnTo>
                  <a:lnTo>
                    <a:pt x="141" y="3192"/>
                  </a:lnTo>
                  <a:lnTo>
                    <a:pt x="129" y="3198"/>
                  </a:lnTo>
                  <a:lnTo>
                    <a:pt x="119" y="3204"/>
                  </a:lnTo>
                  <a:lnTo>
                    <a:pt x="108" y="3211"/>
                  </a:lnTo>
                  <a:lnTo>
                    <a:pt x="98" y="3219"/>
                  </a:lnTo>
                  <a:lnTo>
                    <a:pt x="89" y="3226"/>
                  </a:lnTo>
                  <a:lnTo>
                    <a:pt x="80" y="3234"/>
                  </a:lnTo>
                  <a:lnTo>
                    <a:pt x="71" y="3243"/>
                  </a:lnTo>
                  <a:lnTo>
                    <a:pt x="63" y="3252"/>
                  </a:lnTo>
                  <a:lnTo>
                    <a:pt x="55" y="3261"/>
                  </a:lnTo>
                  <a:lnTo>
                    <a:pt x="48" y="3271"/>
                  </a:lnTo>
                  <a:lnTo>
                    <a:pt x="41" y="3281"/>
                  </a:lnTo>
                  <a:lnTo>
                    <a:pt x="35" y="3291"/>
                  </a:lnTo>
                  <a:lnTo>
                    <a:pt x="29" y="3302"/>
                  </a:lnTo>
                  <a:lnTo>
                    <a:pt x="24" y="3312"/>
                  </a:lnTo>
                  <a:lnTo>
                    <a:pt x="19" y="3324"/>
                  </a:lnTo>
                  <a:lnTo>
                    <a:pt x="15" y="3335"/>
                  </a:lnTo>
                  <a:lnTo>
                    <a:pt x="11" y="3346"/>
                  </a:lnTo>
                  <a:lnTo>
                    <a:pt x="7" y="3359"/>
                  </a:lnTo>
                  <a:lnTo>
                    <a:pt x="5" y="3370"/>
                  </a:lnTo>
                  <a:lnTo>
                    <a:pt x="3" y="3382"/>
                  </a:lnTo>
                  <a:lnTo>
                    <a:pt x="1" y="3394"/>
                  </a:lnTo>
                  <a:lnTo>
                    <a:pt x="1" y="3406"/>
                  </a:lnTo>
                  <a:lnTo>
                    <a:pt x="0" y="3419"/>
                  </a:lnTo>
                  <a:lnTo>
                    <a:pt x="1" y="3431"/>
                  </a:lnTo>
                  <a:lnTo>
                    <a:pt x="2" y="3443"/>
                  </a:lnTo>
                  <a:lnTo>
                    <a:pt x="3" y="3455"/>
                  </a:lnTo>
                  <a:lnTo>
                    <a:pt x="6" y="3467"/>
                  </a:lnTo>
                  <a:lnTo>
                    <a:pt x="8" y="3480"/>
                  </a:lnTo>
                  <a:lnTo>
                    <a:pt x="13" y="3492"/>
                  </a:lnTo>
                  <a:lnTo>
                    <a:pt x="17" y="3504"/>
                  </a:lnTo>
                  <a:lnTo>
                    <a:pt x="22" y="3516"/>
                  </a:lnTo>
                  <a:lnTo>
                    <a:pt x="27" y="3529"/>
                  </a:lnTo>
                  <a:lnTo>
                    <a:pt x="33" y="3540"/>
                  </a:lnTo>
                  <a:lnTo>
                    <a:pt x="39" y="3551"/>
                  </a:lnTo>
                  <a:lnTo>
                    <a:pt x="46" y="3561"/>
                  </a:lnTo>
                  <a:lnTo>
                    <a:pt x="54" y="3571"/>
                  </a:lnTo>
                  <a:lnTo>
                    <a:pt x="61" y="3581"/>
                  </a:lnTo>
                  <a:lnTo>
                    <a:pt x="69" y="3590"/>
                  </a:lnTo>
                  <a:lnTo>
                    <a:pt x="78" y="3599"/>
                  </a:lnTo>
                  <a:lnTo>
                    <a:pt x="87" y="3607"/>
                  </a:lnTo>
                  <a:lnTo>
                    <a:pt x="96" y="3615"/>
                  </a:lnTo>
                  <a:lnTo>
                    <a:pt x="106" y="3622"/>
                  </a:lnTo>
                  <a:lnTo>
                    <a:pt x="116" y="3629"/>
                  </a:lnTo>
                  <a:lnTo>
                    <a:pt x="126" y="3635"/>
                  </a:lnTo>
                  <a:lnTo>
                    <a:pt x="137" y="3641"/>
                  </a:lnTo>
                  <a:lnTo>
                    <a:pt x="147" y="3646"/>
                  </a:lnTo>
                  <a:lnTo>
                    <a:pt x="158" y="3651"/>
                  </a:lnTo>
                  <a:lnTo>
                    <a:pt x="170" y="3655"/>
                  </a:lnTo>
                  <a:lnTo>
                    <a:pt x="182" y="3658"/>
                  </a:lnTo>
                  <a:lnTo>
                    <a:pt x="194" y="3661"/>
                  </a:lnTo>
                  <a:lnTo>
                    <a:pt x="205" y="3664"/>
                  </a:lnTo>
                  <a:lnTo>
                    <a:pt x="217" y="3666"/>
                  </a:lnTo>
                  <a:lnTo>
                    <a:pt x="229" y="3667"/>
                  </a:lnTo>
                  <a:lnTo>
                    <a:pt x="241" y="3668"/>
                  </a:lnTo>
                  <a:lnTo>
                    <a:pt x="254" y="3668"/>
                  </a:lnTo>
                  <a:lnTo>
                    <a:pt x="266" y="3668"/>
                  </a:lnTo>
                  <a:lnTo>
                    <a:pt x="278" y="3667"/>
                  </a:lnTo>
                  <a:lnTo>
                    <a:pt x="290" y="3666"/>
                  </a:lnTo>
                  <a:lnTo>
                    <a:pt x="302" y="3663"/>
                  </a:lnTo>
                  <a:lnTo>
                    <a:pt x="315" y="3661"/>
                  </a:lnTo>
                  <a:lnTo>
                    <a:pt x="327" y="3657"/>
                  </a:lnTo>
                  <a:lnTo>
                    <a:pt x="339" y="3653"/>
                  </a:lnTo>
                  <a:lnTo>
                    <a:pt x="352" y="3648"/>
                  </a:lnTo>
                  <a:lnTo>
                    <a:pt x="360" y="3642"/>
                  </a:lnTo>
                  <a:lnTo>
                    <a:pt x="368" y="3637"/>
                  </a:lnTo>
                  <a:lnTo>
                    <a:pt x="499" y="3578"/>
                  </a:lnTo>
                  <a:lnTo>
                    <a:pt x="629" y="3516"/>
                  </a:lnTo>
                  <a:lnTo>
                    <a:pt x="758" y="3451"/>
                  </a:lnTo>
                  <a:lnTo>
                    <a:pt x="886" y="3384"/>
                  </a:lnTo>
                  <a:lnTo>
                    <a:pt x="1011" y="3312"/>
                  </a:lnTo>
                  <a:lnTo>
                    <a:pt x="1135" y="3238"/>
                  </a:lnTo>
                  <a:lnTo>
                    <a:pt x="1258" y="3161"/>
                  </a:lnTo>
                  <a:lnTo>
                    <a:pt x="1379" y="3081"/>
                  </a:lnTo>
                  <a:lnTo>
                    <a:pt x="1497" y="2998"/>
                  </a:lnTo>
                  <a:lnTo>
                    <a:pt x="1614" y="2913"/>
                  </a:lnTo>
                  <a:lnTo>
                    <a:pt x="1729" y="2824"/>
                  </a:lnTo>
                  <a:lnTo>
                    <a:pt x="1841" y="2733"/>
                  </a:lnTo>
                  <a:lnTo>
                    <a:pt x="1952" y="2638"/>
                  </a:lnTo>
                  <a:lnTo>
                    <a:pt x="2061" y="2541"/>
                  </a:lnTo>
                  <a:lnTo>
                    <a:pt x="2167" y="2441"/>
                  </a:lnTo>
                  <a:lnTo>
                    <a:pt x="2271" y="2339"/>
                  </a:lnTo>
                  <a:lnTo>
                    <a:pt x="2373" y="2233"/>
                  </a:lnTo>
                  <a:lnTo>
                    <a:pt x="2472" y="2125"/>
                  </a:lnTo>
                  <a:lnTo>
                    <a:pt x="2570" y="2015"/>
                  </a:lnTo>
                  <a:lnTo>
                    <a:pt x="2664" y="1901"/>
                  </a:lnTo>
                  <a:lnTo>
                    <a:pt x="2756" y="1785"/>
                  </a:lnTo>
                  <a:lnTo>
                    <a:pt x="2845" y="1667"/>
                  </a:lnTo>
                  <a:lnTo>
                    <a:pt x="2932" y="1546"/>
                  </a:lnTo>
                  <a:lnTo>
                    <a:pt x="3015" y="1422"/>
                  </a:lnTo>
                  <a:lnTo>
                    <a:pt x="3096" y="1295"/>
                  </a:lnTo>
                  <a:lnTo>
                    <a:pt x="3174" y="1167"/>
                  </a:lnTo>
                  <a:lnTo>
                    <a:pt x="3249" y="1036"/>
                  </a:lnTo>
                  <a:lnTo>
                    <a:pt x="3321" y="902"/>
                  </a:lnTo>
                  <a:lnTo>
                    <a:pt x="3390" y="766"/>
                  </a:lnTo>
                  <a:lnTo>
                    <a:pt x="3456" y="628"/>
                  </a:lnTo>
                  <a:lnTo>
                    <a:pt x="3518" y="488"/>
                  </a:lnTo>
                  <a:lnTo>
                    <a:pt x="3578" y="345"/>
                  </a:lnTo>
                  <a:lnTo>
                    <a:pt x="3583" y="333"/>
                  </a:lnTo>
                  <a:lnTo>
                    <a:pt x="3587" y="320"/>
                  </a:lnTo>
                  <a:lnTo>
                    <a:pt x="3590" y="308"/>
                  </a:lnTo>
                  <a:lnTo>
                    <a:pt x="3592" y="295"/>
                  </a:lnTo>
                  <a:lnTo>
                    <a:pt x="3594" y="283"/>
                  </a:lnTo>
                  <a:lnTo>
                    <a:pt x="3595" y="271"/>
                  </a:lnTo>
                  <a:lnTo>
                    <a:pt x="3596" y="258"/>
                  </a:lnTo>
                  <a:lnTo>
                    <a:pt x="3596" y="246"/>
                  </a:lnTo>
                  <a:lnTo>
                    <a:pt x="3596" y="234"/>
                  </a:lnTo>
                  <a:lnTo>
                    <a:pt x="3594" y="222"/>
                  </a:lnTo>
                  <a:lnTo>
                    <a:pt x="3593" y="210"/>
                  </a:lnTo>
                  <a:lnTo>
                    <a:pt x="3590" y="198"/>
                  </a:lnTo>
                  <a:lnTo>
                    <a:pt x="3587" y="186"/>
                  </a:lnTo>
                  <a:lnTo>
                    <a:pt x="3584" y="175"/>
                  </a:lnTo>
                  <a:lnTo>
                    <a:pt x="3580" y="164"/>
                  </a:lnTo>
                  <a:lnTo>
                    <a:pt x="3576" y="153"/>
                  </a:lnTo>
                  <a:lnTo>
                    <a:pt x="3571" y="142"/>
                  </a:lnTo>
                  <a:lnTo>
                    <a:pt x="3564" y="130"/>
                  </a:lnTo>
                  <a:lnTo>
                    <a:pt x="3558" y="119"/>
                  </a:lnTo>
                  <a:lnTo>
                    <a:pt x="3552" y="109"/>
                  </a:lnTo>
                  <a:lnTo>
                    <a:pt x="3545" y="100"/>
                  </a:lnTo>
                  <a:lnTo>
                    <a:pt x="3537" y="90"/>
                  </a:lnTo>
                  <a:lnTo>
                    <a:pt x="3529" y="81"/>
                  </a:lnTo>
                  <a:lnTo>
                    <a:pt x="3521" y="72"/>
                  </a:lnTo>
                  <a:lnTo>
                    <a:pt x="3512" y="64"/>
                  </a:lnTo>
                  <a:lnTo>
                    <a:pt x="3503" y="56"/>
                  </a:lnTo>
                  <a:lnTo>
                    <a:pt x="3493" y="48"/>
                  </a:lnTo>
                  <a:lnTo>
                    <a:pt x="3483" y="41"/>
                  </a:lnTo>
                  <a:lnTo>
                    <a:pt x="3472" y="35"/>
                  </a:lnTo>
                  <a:lnTo>
                    <a:pt x="3461" y="29"/>
                  </a:lnTo>
                  <a:lnTo>
                    <a:pt x="3450" y="23"/>
                  </a:lnTo>
                  <a:lnTo>
                    <a:pt x="3438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22" name="íşḷïḍe">
              <a:extLst>
                <a:ext uri="{FF2B5EF4-FFF2-40B4-BE49-F238E27FC236}">
                  <a16:creationId xmlns:a16="http://schemas.microsoft.com/office/drawing/2014/main" id="{311C37C0-5D82-4AF4-97E1-8E8FC9B410F6}"/>
                </a:ext>
              </a:extLst>
            </p:cNvPr>
            <p:cNvSpPr/>
            <p:nvPr/>
          </p:nvSpPr>
          <p:spPr bwMode="auto">
            <a:xfrm>
              <a:off x="6545596" y="3532041"/>
              <a:ext cx="69061" cy="70745"/>
            </a:xfrm>
            <a:custGeom>
              <a:avLst/>
              <a:gdLst>
                <a:gd name="T0" fmla="*/ 2862 w 3057"/>
                <a:gd name="T1" fmla="*/ 8 h 3119"/>
                <a:gd name="T2" fmla="*/ 2813 w 3057"/>
                <a:gd name="T3" fmla="*/ 0 h 3119"/>
                <a:gd name="T4" fmla="*/ 2764 w 3057"/>
                <a:gd name="T5" fmla="*/ 4 h 3119"/>
                <a:gd name="T6" fmla="*/ 2718 w 3057"/>
                <a:gd name="T7" fmla="*/ 17 h 3119"/>
                <a:gd name="T8" fmla="*/ 2674 w 3057"/>
                <a:gd name="T9" fmla="*/ 38 h 3119"/>
                <a:gd name="T10" fmla="*/ 2636 w 3057"/>
                <a:gd name="T11" fmla="*/ 67 h 3119"/>
                <a:gd name="T12" fmla="*/ 2602 w 3057"/>
                <a:gd name="T13" fmla="*/ 103 h 3119"/>
                <a:gd name="T14" fmla="*/ 2577 w 3057"/>
                <a:gd name="T15" fmla="*/ 146 h 3119"/>
                <a:gd name="T16" fmla="*/ 2430 w 3057"/>
                <a:gd name="T17" fmla="*/ 477 h 3119"/>
                <a:gd name="T18" fmla="*/ 2209 w 3057"/>
                <a:gd name="T19" fmla="*/ 877 h 3119"/>
                <a:gd name="T20" fmla="*/ 1953 w 3057"/>
                <a:gd name="T21" fmla="*/ 1245 h 3119"/>
                <a:gd name="T22" fmla="*/ 1664 w 3057"/>
                <a:gd name="T23" fmla="*/ 1583 h 3119"/>
                <a:gd name="T24" fmla="*/ 1347 w 3057"/>
                <a:gd name="T25" fmla="*/ 1888 h 3119"/>
                <a:gd name="T26" fmla="*/ 1004 w 3057"/>
                <a:gd name="T27" fmla="*/ 2158 h 3119"/>
                <a:gd name="T28" fmla="*/ 638 w 3057"/>
                <a:gd name="T29" fmla="*/ 2394 h 3119"/>
                <a:gd name="T30" fmla="*/ 252 w 3057"/>
                <a:gd name="T31" fmla="*/ 2593 h 3119"/>
                <a:gd name="T32" fmla="*/ 129 w 3057"/>
                <a:gd name="T33" fmla="*/ 2648 h 3119"/>
                <a:gd name="T34" fmla="*/ 88 w 3057"/>
                <a:gd name="T35" fmla="*/ 2676 h 3119"/>
                <a:gd name="T36" fmla="*/ 54 w 3057"/>
                <a:gd name="T37" fmla="*/ 2711 h 3119"/>
                <a:gd name="T38" fmla="*/ 28 w 3057"/>
                <a:gd name="T39" fmla="*/ 2753 h 3119"/>
                <a:gd name="T40" fmla="*/ 10 w 3057"/>
                <a:gd name="T41" fmla="*/ 2797 h 3119"/>
                <a:gd name="T42" fmla="*/ 1 w 3057"/>
                <a:gd name="T43" fmla="*/ 2844 h 3119"/>
                <a:gd name="T44" fmla="*/ 1 w 3057"/>
                <a:gd name="T45" fmla="*/ 2894 h 3119"/>
                <a:gd name="T46" fmla="*/ 11 w 3057"/>
                <a:gd name="T47" fmla="*/ 2943 h 3119"/>
                <a:gd name="T48" fmla="*/ 31 w 3057"/>
                <a:gd name="T49" fmla="*/ 2990 h 3119"/>
                <a:gd name="T50" fmla="*/ 60 w 3057"/>
                <a:gd name="T51" fmla="*/ 3031 h 3119"/>
                <a:gd name="T52" fmla="*/ 96 w 3057"/>
                <a:gd name="T53" fmla="*/ 3066 h 3119"/>
                <a:gd name="T54" fmla="*/ 136 w 3057"/>
                <a:gd name="T55" fmla="*/ 3092 h 3119"/>
                <a:gd name="T56" fmla="*/ 181 w 3057"/>
                <a:gd name="T57" fmla="*/ 3109 h 3119"/>
                <a:gd name="T58" fmla="*/ 228 w 3057"/>
                <a:gd name="T59" fmla="*/ 3118 h 3119"/>
                <a:gd name="T60" fmla="*/ 278 w 3057"/>
                <a:gd name="T61" fmla="*/ 3118 h 3119"/>
                <a:gd name="T62" fmla="*/ 326 w 3057"/>
                <a:gd name="T63" fmla="*/ 3108 h 3119"/>
                <a:gd name="T64" fmla="*/ 363 w 3057"/>
                <a:gd name="T65" fmla="*/ 3089 h 3119"/>
                <a:gd name="T66" fmla="*/ 796 w 3057"/>
                <a:gd name="T67" fmla="*/ 2877 h 3119"/>
                <a:gd name="T68" fmla="*/ 1206 w 3057"/>
                <a:gd name="T69" fmla="*/ 2626 h 3119"/>
                <a:gd name="T70" fmla="*/ 1593 w 3057"/>
                <a:gd name="T71" fmla="*/ 2336 h 3119"/>
                <a:gd name="T72" fmla="*/ 1951 w 3057"/>
                <a:gd name="T73" fmla="*/ 2007 h 3119"/>
                <a:gd name="T74" fmla="*/ 2278 w 3057"/>
                <a:gd name="T75" fmla="*/ 1643 h 3119"/>
                <a:gd name="T76" fmla="*/ 2570 w 3057"/>
                <a:gd name="T77" fmla="*/ 1244 h 3119"/>
                <a:gd name="T78" fmla="*/ 2825 w 3057"/>
                <a:gd name="T79" fmla="*/ 810 h 3119"/>
                <a:gd name="T80" fmla="*/ 3039 w 3057"/>
                <a:gd name="T81" fmla="*/ 346 h 3119"/>
                <a:gd name="T82" fmla="*/ 3053 w 3057"/>
                <a:gd name="T83" fmla="*/ 297 h 3119"/>
                <a:gd name="T84" fmla="*/ 3057 w 3057"/>
                <a:gd name="T85" fmla="*/ 248 h 3119"/>
                <a:gd name="T86" fmla="*/ 3051 w 3057"/>
                <a:gd name="T87" fmla="*/ 200 h 3119"/>
                <a:gd name="T88" fmla="*/ 3036 w 3057"/>
                <a:gd name="T89" fmla="*/ 153 h 3119"/>
                <a:gd name="T90" fmla="*/ 3013 w 3057"/>
                <a:gd name="T91" fmla="*/ 111 h 3119"/>
                <a:gd name="T92" fmla="*/ 2983 w 3057"/>
                <a:gd name="T93" fmla="*/ 74 h 3119"/>
                <a:gd name="T94" fmla="*/ 2943 w 3057"/>
                <a:gd name="T95" fmla="*/ 43 h 3119"/>
                <a:gd name="T96" fmla="*/ 2899 w 3057"/>
                <a:gd name="T97" fmla="*/ 19 h 3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057" h="3119">
                  <a:moveTo>
                    <a:pt x="2899" y="19"/>
                  </a:moveTo>
                  <a:lnTo>
                    <a:pt x="2887" y="15"/>
                  </a:lnTo>
                  <a:lnTo>
                    <a:pt x="2874" y="11"/>
                  </a:lnTo>
                  <a:lnTo>
                    <a:pt x="2862" y="8"/>
                  </a:lnTo>
                  <a:lnTo>
                    <a:pt x="2850" y="5"/>
                  </a:lnTo>
                  <a:lnTo>
                    <a:pt x="2838" y="3"/>
                  </a:lnTo>
                  <a:lnTo>
                    <a:pt x="2825" y="2"/>
                  </a:lnTo>
                  <a:lnTo>
                    <a:pt x="2813" y="0"/>
                  </a:lnTo>
                  <a:lnTo>
                    <a:pt x="2801" y="0"/>
                  </a:lnTo>
                  <a:lnTo>
                    <a:pt x="2789" y="2"/>
                  </a:lnTo>
                  <a:lnTo>
                    <a:pt x="2777" y="3"/>
                  </a:lnTo>
                  <a:lnTo>
                    <a:pt x="2764" y="4"/>
                  </a:lnTo>
                  <a:lnTo>
                    <a:pt x="2752" y="7"/>
                  </a:lnTo>
                  <a:lnTo>
                    <a:pt x="2740" y="9"/>
                  </a:lnTo>
                  <a:lnTo>
                    <a:pt x="2729" y="13"/>
                  </a:lnTo>
                  <a:lnTo>
                    <a:pt x="2718" y="17"/>
                  </a:lnTo>
                  <a:lnTo>
                    <a:pt x="2706" y="21"/>
                  </a:lnTo>
                  <a:lnTo>
                    <a:pt x="2695" y="26"/>
                  </a:lnTo>
                  <a:lnTo>
                    <a:pt x="2685" y="32"/>
                  </a:lnTo>
                  <a:lnTo>
                    <a:pt x="2674" y="38"/>
                  </a:lnTo>
                  <a:lnTo>
                    <a:pt x="2664" y="44"/>
                  </a:lnTo>
                  <a:lnTo>
                    <a:pt x="2655" y="51"/>
                  </a:lnTo>
                  <a:lnTo>
                    <a:pt x="2645" y="59"/>
                  </a:lnTo>
                  <a:lnTo>
                    <a:pt x="2636" y="67"/>
                  </a:lnTo>
                  <a:lnTo>
                    <a:pt x="2627" y="75"/>
                  </a:lnTo>
                  <a:lnTo>
                    <a:pt x="2619" y="84"/>
                  </a:lnTo>
                  <a:lnTo>
                    <a:pt x="2611" y="93"/>
                  </a:lnTo>
                  <a:lnTo>
                    <a:pt x="2602" y="103"/>
                  </a:lnTo>
                  <a:lnTo>
                    <a:pt x="2595" y="113"/>
                  </a:lnTo>
                  <a:lnTo>
                    <a:pt x="2589" y="124"/>
                  </a:lnTo>
                  <a:lnTo>
                    <a:pt x="2582" y="135"/>
                  </a:lnTo>
                  <a:lnTo>
                    <a:pt x="2577" y="146"/>
                  </a:lnTo>
                  <a:lnTo>
                    <a:pt x="2572" y="158"/>
                  </a:lnTo>
                  <a:lnTo>
                    <a:pt x="2527" y="266"/>
                  </a:lnTo>
                  <a:lnTo>
                    <a:pt x="2480" y="373"/>
                  </a:lnTo>
                  <a:lnTo>
                    <a:pt x="2430" y="477"/>
                  </a:lnTo>
                  <a:lnTo>
                    <a:pt x="2378" y="580"/>
                  </a:lnTo>
                  <a:lnTo>
                    <a:pt x="2324" y="681"/>
                  </a:lnTo>
                  <a:lnTo>
                    <a:pt x="2267" y="779"/>
                  </a:lnTo>
                  <a:lnTo>
                    <a:pt x="2209" y="877"/>
                  </a:lnTo>
                  <a:lnTo>
                    <a:pt x="2148" y="971"/>
                  </a:lnTo>
                  <a:lnTo>
                    <a:pt x="2084" y="1065"/>
                  </a:lnTo>
                  <a:lnTo>
                    <a:pt x="2020" y="1156"/>
                  </a:lnTo>
                  <a:lnTo>
                    <a:pt x="1953" y="1245"/>
                  </a:lnTo>
                  <a:lnTo>
                    <a:pt x="1883" y="1332"/>
                  </a:lnTo>
                  <a:lnTo>
                    <a:pt x="1812" y="1418"/>
                  </a:lnTo>
                  <a:lnTo>
                    <a:pt x="1739" y="1501"/>
                  </a:lnTo>
                  <a:lnTo>
                    <a:pt x="1664" y="1583"/>
                  </a:lnTo>
                  <a:lnTo>
                    <a:pt x="1587" y="1662"/>
                  </a:lnTo>
                  <a:lnTo>
                    <a:pt x="1509" y="1739"/>
                  </a:lnTo>
                  <a:lnTo>
                    <a:pt x="1429" y="1814"/>
                  </a:lnTo>
                  <a:lnTo>
                    <a:pt x="1347" y="1888"/>
                  </a:lnTo>
                  <a:lnTo>
                    <a:pt x="1264" y="1958"/>
                  </a:lnTo>
                  <a:lnTo>
                    <a:pt x="1178" y="2027"/>
                  </a:lnTo>
                  <a:lnTo>
                    <a:pt x="1092" y="2094"/>
                  </a:lnTo>
                  <a:lnTo>
                    <a:pt x="1004" y="2158"/>
                  </a:lnTo>
                  <a:lnTo>
                    <a:pt x="915" y="2221"/>
                  </a:lnTo>
                  <a:lnTo>
                    <a:pt x="823" y="2280"/>
                  </a:lnTo>
                  <a:lnTo>
                    <a:pt x="731" y="2338"/>
                  </a:lnTo>
                  <a:lnTo>
                    <a:pt x="638" y="2394"/>
                  </a:lnTo>
                  <a:lnTo>
                    <a:pt x="542" y="2447"/>
                  </a:lnTo>
                  <a:lnTo>
                    <a:pt x="447" y="2498"/>
                  </a:lnTo>
                  <a:lnTo>
                    <a:pt x="349" y="2547"/>
                  </a:lnTo>
                  <a:lnTo>
                    <a:pt x="252" y="2593"/>
                  </a:lnTo>
                  <a:lnTo>
                    <a:pt x="152" y="2636"/>
                  </a:lnTo>
                  <a:lnTo>
                    <a:pt x="152" y="2636"/>
                  </a:lnTo>
                  <a:lnTo>
                    <a:pt x="141" y="2642"/>
                  </a:lnTo>
                  <a:lnTo>
                    <a:pt x="129" y="2648"/>
                  </a:lnTo>
                  <a:lnTo>
                    <a:pt x="119" y="2654"/>
                  </a:lnTo>
                  <a:lnTo>
                    <a:pt x="108" y="2661"/>
                  </a:lnTo>
                  <a:lnTo>
                    <a:pt x="98" y="2668"/>
                  </a:lnTo>
                  <a:lnTo>
                    <a:pt x="88" y="2676"/>
                  </a:lnTo>
                  <a:lnTo>
                    <a:pt x="79" y="2684"/>
                  </a:lnTo>
                  <a:lnTo>
                    <a:pt x="71" y="2693"/>
                  </a:lnTo>
                  <a:lnTo>
                    <a:pt x="61" y="2702"/>
                  </a:lnTo>
                  <a:lnTo>
                    <a:pt x="54" y="2711"/>
                  </a:lnTo>
                  <a:lnTo>
                    <a:pt x="46" y="2722"/>
                  </a:lnTo>
                  <a:lnTo>
                    <a:pt x="40" y="2732"/>
                  </a:lnTo>
                  <a:lnTo>
                    <a:pt x="33" y="2742"/>
                  </a:lnTo>
                  <a:lnTo>
                    <a:pt x="28" y="2753"/>
                  </a:lnTo>
                  <a:lnTo>
                    <a:pt x="22" y="2763"/>
                  </a:lnTo>
                  <a:lnTo>
                    <a:pt x="18" y="2775"/>
                  </a:lnTo>
                  <a:lnTo>
                    <a:pt x="13" y="2786"/>
                  </a:lnTo>
                  <a:lnTo>
                    <a:pt x="10" y="2797"/>
                  </a:lnTo>
                  <a:lnTo>
                    <a:pt x="7" y="2809"/>
                  </a:lnTo>
                  <a:lnTo>
                    <a:pt x="4" y="2821"/>
                  </a:lnTo>
                  <a:lnTo>
                    <a:pt x="2" y="2832"/>
                  </a:lnTo>
                  <a:lnTo>
                    <a:pt x="1" y="2844"/>
                  </a:lnTo>
                  <a:lnTo>
                    <a:pt x="0" y="2857"/>
                  </a:lnTo>
                  <a:lnTo>
                    <a:pt x="0" y="2869"/>
                  </a:lnTo>
                  <a:lnTo>
                    <a:pt x="0" y="2882"/>
                  </a:lnTo>
                  <a:lnTo>
                    <a:pt x="1" y="2894"/>
                  </a:lnTo>
                  <a:lnTo>
                    <a:pt x="3" y="2906"/>
                  </a:lnTo>
                  <a:lnTo>
                    <a:pt x="5" y="2919"/>
                  </a:lnTo>
                  <a:lnTo>
                    <a:pt x="8" y="2931"/>
                  </a:lnTo>
                  <a:lnTo>
                    <a:pt x="11" y="2943"/>
                  </a:lnTo>
                  <a:lnTo>
                    <a:pt x="15" y="2955"/>
                  </a:lnTo>
                  <a:lnTo>
                    <a:pt x="20" y="2967"/>
                  </a:lnTo>
                  <a:lnTo>
                    <a:pt x="25" y="2979"/>
                  </a:lnTo>
                  <a:lnTo>
                    <a:pt x="31" y="2990"/>
                  </a:lnTo>
                  <a:lnTo>
                    <a:pt x="38" y="3001"/>
                  </a:lnTo>
                  <a:lnTo>
                    <a:pt x="45" y="3011"/>
                  </a:lnTo>
                  <a:lnTo>
                    <a:pt x="52" y="3021"/>
                  </a:lnTo>
                  <a:lnTo>
                    <a:pt x="60" y="3031"/>
                  </a:lnTo>
                  <a:lnTo>
                    <a:pt x="69" y="3040"/>
                  </a:lnTo>
                  <a:lnTo>
                    <a:pt x="77" y="3049"/>
                  </a:lnTo>
                  <a:lnTo>
                    <a:pt x="86" y="3058"/>
                  </a:lnTo>
                  <a:lnTo>
                    <a:pt x="96" y="3066"/>
                  </a:lnTo>
                  <a:lnTo>
                    <a:pt x="105" y="3073"/>
                  </a:lnTo>
                  <a:lnTo>
                    <a:pt x="115" y="3080"/>
                  </a:lnTo>
                  <a:lnTo>
                    <a:pt x="126" y="3086"/>
                  </a:lnTo>
                  <a:lnTo>
                    <a:pt x="136" y="3092"/>
                  </a:lnTo>
                  <a:lnTo>
                    <a:pt x="147" y="3097"/>
                  </a:lnTo>
                  <a:lnTo>
                    <a:pt x="158" y="3101"/>
                  </a:lnTo>
                  <a:lnTo>
                    <a:pt x="169" y="3106"/>
                  </a:lnTo>
                  <a:lnTo>
                    <a:pt x="181" y="3109"/>
                  </a:lnTo>
                  <a:lnTo>
                    <a:pt x="192" y="3112"/>
                  </a:lnTo>
                  <a:lnTo>
                    <a:pt x="204" y="3115"/>
                  </a:lnTo>
                  <a:lnTo>
                    <a:pt x="216" y="3117"/>
                  </a:lnTo>
                  <a:lnTo>
                    <a:pt x="228" y="3118"/>
                  </a:lnTo>
                  <a:lnTo>
                    <a:pt x="241" y="3119"/>
                  </a:lnTo>
                  <a:lnTo>
                    <a:pt x="253" y="3119"/>
                  </a:lnTo>
                  <a:lnTo>
                    <a:pt x="265" y="3119"/>
                  </a:lnTo>
                  <a:lnTo>
                    <a:pt x="278" y="3118"/>
                  </a:lnTo>
                  <a:lnTo>
                    <a:pt x="290" y="3117"/>
                  </a:lnTo>
                  <a:lnTo>
                    <a:pt x="302" y="3114"/>
                  </a:lnTo>
                  <a:lnTo>
                    <a:pt x="314" y="3112"/>
                  </a:lnTo>
                  <a:lnTo>
                    <a:pt x="326" y="3108"/>
                  </a:lnTo>
                  <a:lnTo>
                    <a:pt x="338" y="3104"/>
                  </a:lnTo>
                  <a:lnTo>
                    <a:pt x="350" y="3099"/>
                  </a:lnTo>
                  <a:lnTo>
                    <a:pt x="357" y="3094"/>
                  </a:lnTo>
                  <a:lnTo>
                    <a:pt x="363" y="3089"/>
                  </a:lnTo>
                  <a:lnTo>
                    <a:pt x="474" y="3040"/>
                  </a:lnTo>
                  <a:lnTo>
                    <a:pt x="582" y="2988"/>
                  </a:lnTo>
                  <a:lnTo>
                    <a:pt x="689" y="2935"/>
                  </a:lnTo>
                  <a:lnTo>
                    <a:pt x="796" y="2877"/>
                  </a:lnTo>
                  <a:lnTo>
                    <a:pt x="900" y="2819"/>
                  </a:lnTo>
                  <a:lnTo>
                    <a:pt x="1004" y="2757"/>
                  </a:lnTo>
                  <a:lnTo>
                    <a:pt x="1106" y="2693"/>
                  </a:lnTo>
                  <a:lnTo>
                    <a:pt x="1206" y="2626"/>
                  </a:lnTo>
                  <a:lnTo>
                    <a:pt x="1305" y="2558"/>
                  </a:lnTo>
                  <a:lnTo>
                    <a:pt x="1402" y="2486"/>
                  </a:lnTo>
                  <a:lnTo>
                    <a:pt x="1498" y="2412"/>
                  </a:lnTo>
                  <a:lnTo>
                    <a:pt x="1593" y="2336"/>
                  </a:lnTo>
                  <a:lnTo>
                    <a:pt x="1684" y="2257"/>
                  </a:lnTo>
                  <a:lnTo>
                    <a:pt x="1775" y="2176"/>
                  </a:lnTo>
                  <a:lnTo>
                    <a:pt x="1863" y="2093"/>
                  </a:lnTo>
                  <a:lnTo>
                    <a:pt x="1951" y="2007"/>
                  </a:lnTo>
                  <a:lnTo>
                    <a:pt x="2035" y="1920"/>
                  </a:lnTo>
                  <a:lnTo>
                    <a:pt x="2118" y="1829"/>
                  </a:lnTo>
                  <a:lnTo>
                    <a:pt x="2199" y="1738"/>
                  </a:lnTo>
                  <a:lnTo>
                    <a:pt x="2278" y="1643"/>
                  </a:lnTo>
                  <a:lnTo>
                    <a:pt x="2354" y="1547"/>
                  </a:lnTo>
                  <a:lnTo>
                    <a:pt x="2428" y="1448"/>
                  </a:lnTo>
                  <a:lnTo>
                    <a:pt x="2500" y="1346"/>
                  </a:lnTo>
                  <a:lnTo>
                    <a:pt x="2570" y="1244"/>
                  </a:lnTo>
                  <a:lnTo>
                    <a:pt x="2638" y="1138"/>
                  </a:lnTo>
                  <a:lnTo>
                    <a:pt x="2702" y="1032"/>
                  </a:lnTo>
                  <a:lnTo>
                    <a:pt x="2764" y="922"/>
                  </a:lnTo>
                  <a:lnTo>
                    <a:pt x="2825" y="810"/>
                  </a:lnTo>
                  <a:lnTo>
                    <a:pt x="2882" y="698"/>
                  </a:lnTo>
                  <a:lnTo>
                    <a:pt x="2937" y="582"/>
                  </a:lnTo>
                  <a:lnTo>
                    <a:pt x="2989" y="465"/>
                  </a:lnTo>
                  <a:lnTo>
                    <a:pt x="3039" y="346"/>
                  </a:lnTo>
                  <a:lnTo>
                    <a:pt x="3043" y="333"/>
                  </a:lnTo>
                  <a:lnTo>
                    <a:pt x="3047" y="321"/>
                  </a:lnTo>
                  <a:lnTo>
                    <a:pt x="3050" y="309"/>
                  </a:lnTo>
                  <a:lnTo>
                    <a:pt x="3053" y="297"/>
                  </a:lnTo>
                  <a:lnTo>
                    <a:pt x="3055" y="284"/>
                  </a:lnTo>
                  <a:lnTo>
                    <a:pt x="3056" y="272"/>
                  </a:lnTo>
                  <a:lnTo>
                    <a:pt x="3057" y="260"/>
                  </a:lnTo>
                  <a:lnTo>
                    <a:pt x="3057" y="248"/>
                  </a:lnTo>
                  <a:lnTo>
                    <a:pt x="3056" y="236"/>
                  </a:lnTo>
                  <a:lnTo>
                    <a:pt x="3055" y="223"/>
                  </a:lnTo>
                  <a:lnTo>
                    <a:pt x="3053" y="212"/>
                  </a:lnTo>
                  <a:lnTo>
                    <a:pt x="3051" y="200"/>
                  </a:lnTo>
                  <a:lnTo>
                    <a:pt x="3048" y="188"/>
                  </a:lnTo>
                  <a:lnTo>
                    <a:pt x="3045" y="176"/>
                  </a:lnTo>
                  <a:lnTo>
                    <a:pt x="3041" y="164"/>
                  </a:lnTo>
                  <a:lnTo>
                    <a:pt x="3036" y="153"/>
                  </a:lnTo>
                  <a:lnTo>
                    <a:pt x="3031" y="142"/>
                  </a:lnTo>
                  <a:lnTo>
                    <a:pt x="3026" y="131"/>
                  </a:lnTo>
                  <a:lnTo>
                    <a:pt x="3020" y="121"/>
                  </a:lnTo>
                  <a:lnTo>
                    <a:pt x="3013" y="111"/>
                  </a:lnTo>
                  <a:lnTo>
                    <a:pt x="3006" y="101"/>
                  </a:lnTo>
                  <a:lnTo>
                    <a:pt x="2999" y="92"/>
                  </a:lnTo>
                  <a:lnTo>
                    <a:pt x="2991" y="83"/>
                  </a:lnTo>
                  <a:lnTo>
                    <a:pt x="2983" y="74"/>
                  </a:lnTo>
                  <a:lnTo>
                    <a:pt x="2974" y="65"/>
                  </a:lnTo>
                  <a:lnTo>
                    <a:pt x="2964" y="57"/>
                  </a:lnTo>
                  <a:lnTo>
                    <a:pt x="2955" y="50"/>
                  </a:lnTo>
                  <a:lnTo>
                    <a:pt x="2943" y="43"/>
                  </a:lnTo>
                  <a:lnTo>
                    <a:pt x="2933" y="36"/>
                  </a:lnTo>
                  <a:lnTo>
                    <a:pt x="2922" y="30"/>
                  </a:lnTo>
                  <a:lnTo>
                    <a:pt x="2910" y="24"/>
                  </a:lnTo>
                  <a:lnTo>
                    <a:pt x="2899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23" name="ïşḷiḓe">
              <a:extLst>
                <a:ext uri="{FF2B5EF4-FFF2-40B4-BE49-F238E27FC236}">
                  <a16:creationId xmlns:a16="http://schemas.microsoft.com/office/drawing/2014/main" id="{D010CEA9-AE08-4654-A936-E6D540E3B1CE}"/>
                </a:ext>
              </a:extLst>
            </p:cNvPr>
            <p:cNvSpPr/>
            <p:nvPr/>
          </p:nvSpPr>
          <p:spPr bwMode="auto">
            <a:xfrm>
              <a:off x="6422635" y="3412448"/>
              <a:ext cx="57270" cy="58112"/>
            </a:xfrm>
            <a:custGeom>
              <a:avLst/>
              <a:gdLst>
                <a:gd name="T0" fmla="*/ 2482 w 2520"/>
                <a:gd name="T1" fmla="*/ 117 h 2567"/>
                <a:gd name="T2" fmla="*/ 2452 w 2520"/>
                <a:gd name="T3" fmla="*/ 78 h 2567"/>
                <a:gd name="T4" fmla="*/ 2415 w 2520"/>
                <a:gd name="T5" fmla="*/ 46 h 2567"/>
                <a:gd name="T6" fmla="*/ 2373 w 2520"/>
                <a:gd name="T7" fmla="*/ 22 h 2567"/>
                <a:gd name="T8" fmla="*/ 2327 w 2520"/>
                <a:gd name="T9" fmla="*/ 6 h 2567"/>
                <a:gd name="T10" fmla="*/ 2280 w 2520"/>
                <a:gd name="T11" fmla="*/ 0 h 2567"/>
                <a:gd name="T12" fmla="*/ 2231 w 2520"/>
                <a:gd name="T13" fmla="*/ 3 h 2567"/>
                <a:gd name="T14" fmla="*/ 2181 w 2520"/>
                <a:gd name="T15" fmla="*/ 15 h 2567"/>
                <a:gd name="T16" fmla="*/ 2072 w 2520"/>
                <a:gd name="T17" fmla="*/ 66 h 2567"/>
                <a:gd name="T18" fmla="*/ 1730 w 2520"/>
                <a:gd name="T19" fmla="*/ 243 h 2567"/>
                <a:gd name="T20" fmla="*/ 1406 w 2520"/>
                <a:gd name="T21" fmla="*/ 453 h 2567"/>
                <a:gd name="T22" fmla="*/ 1102 w 2520"/>
                <a:gd name="T23" fmla="*/ 693 h 2567"/>
                <a:gd name="T24" fmla="*/ 822 w 2520"/>
                <a:gd name="T25" fmla="*/ 963 h 2567"/>
                <a:gd name="T26" fmla="*/ 567 w 2520"/>
                <a:gd name="T27" fmla="*/ 1262 h 2567"/>
                <a:gd name="T28" fmla="*/ 340 w 2520"/>
                <a:gd name="T29" fmla="*/ 1588 h 2567"/>
                <a:gd name="T30" fmla="*/ 144 w 2520"/>
                <a:gd name="T31" fmla="*/ 1941 h 2567"/>
                <a:gd name="T32" fmla="*/ 18 w 2520"/>
                <a:gd name="T33" fmla="*/ 2222 h 2567"/>
                <a:gd name="T34" fmla="*/ 4 w 2520"/>
                <a:gd name="T35" fmla="*/ 2271 h 2567"/>
                <a:gd name="T36" fmla="*/ 0 w 2520"/>
                <a:gd name="T37" fmla="*/ 2320 h 2567"/>
                <a:gd name="T38" fmla="*/ 5 w 2520"/>
                <a:gd name="T39" fmla="*/ 2369 h 2567"/>
                <a:gd name="T40" fmla="*/ 20 w 2520"/>
                <a:gd name="T41" fmla="*/ 2415 h 2567"/>
                <a:gd name="T42" fmla="*/ 44 w 2520"/>
                <a:gd name="T43" fmla="*/ 2457 h 2567"/>
                <a:gd name="T44" fmla="*/ 75 w 2520"/>
                <a:gd name="T45" fmla="*/ 2494 h 2567"/>
                <a:gd name="T46" fmla="*/ 113 w 2520"/>
                <a:gd name="T47" fmla="*/ 2525 h 2567"/>
                <a:gd name="T48" fmla="*/ 158 w 2520"/>
                <a:gd name="T49" fmla="*/ 2549 h 2567"/>
                <a:gd name="T50" fmla="*/ 208 w 2520"/>
                <a:gd name="T51" fmla="*/ 2563 h 2567"/>
                <a:gd name="T52" fmla="*/ 257 w 2520"/>
                <a:gd name="T53" fmla="*/ 2567 h 2567"/>
                <a:gd name="T54" fmla="*/ 305 w 2520"/>
                <a:gd name="T55" fmla="*/ 2561 h 2567"/>
                <a:gd name="T56" fmla="*/ 351 w 2520"/>
                <a:gd name="T57" fmla="*/ 2547 h 2567"/>
                <a:gd name="T58" fmla="*/ 394 w 2520"/>
                <a:gd name="T59" fmla="*/ 2523 h 2567"/>
                <a:gd name="T60" fmla="*/ 431 w 2520"/>
                <a:gd name="T61" fmla="*/ 2492 h 2567"/>
                <a:gd name="T62" fmla="*/ 462 w 2520"/>
                <a:gd name="T63" fmla="*/ 2454 h 2567"/>
                <a:gd name="T64" fmla="*/ 485 w 2520"/>
                <a:gd name="T65" fmla="*/ 2409 h 2567"/>
                <a:gd name="T66" fmla="*/ 596 w 2520"/>
                <a:gd name="T67" fmla="*/ 2161 h 2567"/>
                <a:gd name="T68" fmla="*/ 768 w 2520"/>
                <a:gd name="T69" fmla="*/ 1850 h 2567"/>
                <a:gd name="T70" fmla="*/ 968 w 2520"/>
                <a:gd name="T71" fmla="*/ 1564 h 2567"/>
                <a:gd name="T72" fmla="*/ 1192 w 2520"/>
                <a:gd name="T73" fmla="*/ 1301 h 2567"/>
                <a:gd name="T74" fmla="*/ 1439 w 2520"/>
                <a:gd name="T75" fmla="*/ 1065 h 2567"/>
                <a:gd name="T76" fmla="*/ 1705 w 2520"/>
                <a:gd name="T77" fmla="*/ 854 h 2567"/>
                <a:gd name="T78" fmla="*/ 1990 w 2520"/>
                <a:gd name="T79" fmla="*/ 671 h 2567"/>
                <a:gd name="T80" fmla="*/ 2291 w 2520"/>
                <a:gd name="T81" fmla="*/ 516 h 2567"/>
                <a:gd name="T82" fmla="*/ 2402 w 2520"/>
                <a:gd name="T83" fmla="*/ 464 h 2567"/>
                <a:gd name="T84" fmla="*/ 2441 w 2520"/>
                <a:gd name="T85" fmla="*/ 434 h 2567"/>
                <a:gd name="T86" fmla="*/ 2473 w 2520"/>
                <a:gd name="T87" fmla="*/ 397 h 2567"/>
                <a:gd name="T88" fmla="*/ 2497 w 2520"/>
                <a:gd name="T89" fmla="*/ 356 h 2567"/>
                <a:gd name="T90" fmla="*/ 2513 w 2520"/>
                <a:gd name="T91" fmla="*/ 309 h 2567"/>
                <a:gd name="T92" fmla="*/ 2520 w 2520"/>
                <a:gd name="T93" fmla="*/ 262 h 2567"/>
                <a:gd name="T94" fmla="*/ 2517 w 2520"/>
                <a:gd name="T95" fmla="*/ 213 h 2567"/>
                <a:gd name="T96" fmla="*/ 2505 w 2520"/>
                <a:gd name="T97" fmla="*/ 164 h 2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20" h="2567">
                  <a:moveTo>
                    <a:pt x="2500" y="151"/>
                  </a:moveTo>
                  <a:lnTo>
                    <a:pt x="2494" y="139"/>
                  </a:lnTo>
                  <a:lnTo>
                    <a:pt x="2489" y="128"/>
                  </a:lnTo>
                  <a:lnTo>
                    <a:pt x="2482" y="117"/>
                  </a:lnTo>
                  <a:lnTo>
                    <a:pt x="2475" y="107"/>
                  </a:lnTo>
                  <a:lnTo>
                    <a:pt x="2468" y="97"/>
                  </a:lnTo>
                  <a:lnTo>
                    <a:pt x="2460" y="87"/>
                  </a:lnTo>
                  <a:lnTo>
                    <a:pt x="2452" y="78"/>
                  </a:lnTo>
                  <a:lnTo>
                    <a:pt x="2443" y="69"/>
                  </a:lnTo>
                  <a:lnTo>
                    <a:pt x="2434" y="61"/>
                  </a:lnTo>
                  <a:lnTo>
                    <a:pt x="2425" y="53"/>
                  </a:lnTo>
                  <a:lnTo>
                    <a:pt x="2415" y="46"/>
                  </a:lnTo>
                  <a:lnTo>
                    <a:pt x="2405" y="39"/>
                  </a:lnTo>
                  <a:lnTo>
                    <a:pt x="2394" y="33"/>
                  </a:lnTo>
                  <a:lnTo>
                    <a:pt x="2384" y="27"/>
                  </a:lnTo>
                  <a:lnTo>
                    <a:pt x="2373" y="22"/>
                  </a:lnTo>
                  <a:lnTo>
                    <a:pt x="2362" y="17"/>
                  </a:lnTo>
                  <a:lnTo>
                    <a:pt x="2351" y="13"/>
                  </a:lnTo>
                  <a:lnTo>
                    <a:pt x="2339" y="10"/>
                  </a:lnTo>
                  <a:lnTo>
                    <a:pt x="2327" y="6"/>
                  </a:lnTo>
                  <a:lnTo>
                    <a:pt x="2316" y="4"/>
                  </a:lnTo>
                  <a:lnTo>
                    <a:pt x="2304" y="2"/>
                  </a:lnTo>
                  <a:lnTo>
                    <a:pt x="2292" y="1"/>
                  </a:lnTo>
                  <a:lnTo>
                    <a:pt x="2280" y="0"/>
                  </a:lnTo>
                  <a:lnTo>
                    <a:pt x="2268" y="0"/>
                  </a:lnTo>
                  <a:lnTo>
                    <a:pt x="2255" y="0"/>
                  </a:lnTo>
                  <a:lnTo>
                    <a:pt x="2243" y="1"/>
                  </a:lnTo>
                  <a:lnTo>
                    <a:pt x="2231" y="3"/>
                  </a:lnTo>
                  <a:lnTo>
                    <a:pt x="2218" y="5"/>
                  </a:lnTo>
                  <a:lnTo>
                    <a:pt x="2206" y="8"/>
                  </a:lnTo>
                  <a:lnTo>
                    <a:pt x="2193" y="11"/>
                  </a:lnTo>
                  <a:lnTo>
                    <a:pt x="2181" y="15"/>
                  </a:lnTo>
                  <a:lnTo>
                    <a:pt x="2169" y="20"/>
                  </a:lnTo>
                  <a:lnTo>
                    <a:pt x="2164" y="24"/>
                  </a:lnTo>
                  <a:lnTo>
                    <a:pt x="2159" y="27"/>
                  </a:lnTo>
                  <a:lnTo>
                    <a:pt x="2072" y="66"/>
                  </a:lnTo>
                  <a:lnTo>
                    <a:pt x="1984" y="107"/>
                  </a:lnTo>
                  <a:lnTo>
                    <a:pt x="1899" y="150"/>
                  </a:lnTo>
                  <a:lnTo>
                    <a:pt x="1813" y="196"/>
                  </a:lnTo>
                  <a:lnTo>
                    <a:pt x="1730" y="243"/>
                  </a:lnTo>
                  <a:lnTo>
                    <a:pt x="1647" y="292"/>
                  </a:lnTo>
                  <a:lnTo>
                    <a:pt x="1566" y="345"/>
                  </a:lnTo>
                  <a:lnTo>
                    <a:pt x="1485" y="398"/>
                  </a:lnTo>
                  <a:lnTo>
                    <a:pt x="1406" y="453"/>
                  </a:lnTo>
                  <a:lnTo>
                    <a:pt x="1328" y="510"/>
                  </a:lnTo>
                  <a:lnTo>
                    <a:pt x="1252" y="569"/>
                  </a:lnTo>
                  <a:lnTo>
                    <a:pt x="1176" y="630"/>
                  </a:lnTo>
                  <a:lnTo>
                    <a:pt x="1102" y="693"/>
                  </a:lnTo>
                  <a:lnTo>
                    <a:pt x="1029" y="758"/>
                  </a:lnTo>
                  <a:lnTo>
                    <a:pt x="959" y="824"/>
                  </a:lnTo>
                  <a:lnTo>
                    <a:pt x="890" y="893"/>
                  </a:lnTo>
                  <a:lnTo>
                    <a:pt x="822" y="963"/>
                  </a:lnTo>
                  <a:lnTo>
                    <a:pt x="756" y="1036"/>
                  </a:lnTo>
                  <a:lnTo>
                    <a:pt x="690" y="1109"/>
                  </a:lnTo>
                  <a:lnTo>
                    <a:pt x="628" y="1185"/>
                  </a:lnTo>
                  <a:lnTo>
                    <a:pt x="567" y="1262"/>
                  </a:lnTo>
                  <a:lnTo>
                    <a:pt x="507" y="1340"/>
                  </a:lnTo>
                  <a:lnTo>
                    <a:pt x="450" y="1422"/>
                  </a:lnTo>
                  <a:lnTo>
                    <a:pt x="394" y="1504"/>
                  </a:lnTo>
                  <a:lnTo>
                    <a:pt x="340" y="1588"/>
                  </a:lnTo>
                  <a:lnTo>
                    <a:pt x="288" y="1673"/>
                  </a:lnTo>
                  <a:lnTo>
                    <a:pt x="238" y="1761"/>
                  </a:lnTo>
                  <a:lnTo>
                    <a:pt x="189" y="1850"/>
                  </a:lnTo>
                  <a:lnTo>
                    <a:pt x="144" y="1941"/>
                  </a:lnTo>
                  <a:lnTo>
                    <a:pt x="100" y="2034"/>
                  </a:lnTo>
                  <a:lnTo>
                    <a:pt x="58" y="2127"/>
                  </a:lnTo>
                  <a:lnTo>
                    <a:pt x="18" y="2222"/>
                  </a:lnTo>
                  <a:lnTo>
                    <a:pt x="18" y="2222"/>
                  </a:lnTo>
                  <a:lnTo>
                    <a:pt x="13" y="2235"/>
                  </a:lnTo>
                  <a:lnTo>
                    <a:pt x="9" y="2247"/>
                  </a:lnTo>
                  <a:lnTo>
                    <a:pt x="6" y="2259"/>
                  </a:lnTo>
                  <a:lnTo>
                    <a:pt x="4" y="2271"/>
                  </a:lnTo>
                  <a:lnTo>
                    <a:pt x="2" y="2283"/>
                  </a:lnTo>
                  <a:lnTo>
                    <a:pt x="1" y="2296"/>
                  </a:lnTo>
                  <a:lnTo>
                    <a:pt x="0" y="2308"/>
                  </a:lnTo>
                  <a:lnTo>
                    <a:pt x="0" y="2320"/>
                  </a:lnTo>
                  <a:lnTo>
                    <a:pt x="0" y="2332"/>
                  </a:lnTo>
                  <a:lnTo>
                    <a:pt x="1" y="2344"/>
                  </a:lnTo>
                  <a:lnTo>
                    <a:pt x="3" y="2356"/>
                  </a:lnTo>
                  <a:lnTo>
                    <a:pt x="5" y="2369"/>
                  </a:lnTo>
                  <a:lnTo>
                    <a:pt x="8" y="2381"/>
                  </a:lnTo>
                  <a:lnTo>
                    <a:pt x="12" y="2392"/>
                  </a:lnTo>
                  <a:lnTo>
                    <a:pt x="16" y="2404"/>
                  </a:lnTo>
                  <a:lnTo>
                    <a:pt x="20" y="2415"/>
                  </a:lnTo>
                  <a:lnTo>
                    <a:pt x="26" y="2426"/>
                  </a:lnTo>
                  <a:lnTo>
                    <a:pt x="31" y="2436"/>
                  </a:lnTo>
                  <a:lnTo>
                    <a:pt x="37" y="2447"/>
                  </a:lnTo>
                  <a:lnTo>
                    <a:pt x="44" y="2457"/>
                  </a:lnTo>
                  <a:lnTo>
                    <a:pt x="51" y="2467"/>
                  </a:lnTo>
                  <a:lnTo>
                    <a:pt x="58" y="2476"/>
                  </a:lnTo>
                  <a:lnTo>
                    <a:pt x="66" y="2485"/>
                  </a:lnTo>
                  <a:lnTo>
                    <a:pt x="75" y="2494"/>
                  </a:lnTo>
                  <a:lnTo>
                    <a:pt x="84" y="2502"/>
                  </a:lnTo>
                  <a:lnTo>
                    <a:pt x="93" y="2510"/>
                  </a:lnTo>
                  <a:lnTo>
                    <a:pt x="103" y="2518"/>
                  </a:lnTo>
                  <a:lnTo>
                    <a:pt x="113" y="2525"/>
                  </a:lnTo>
                  <a:lnTo>
                    <a:pt x="124" y="2533"/>
                  </a:lnTo>
                  <a:lnTo>
                    <a:pt x="135" y="2539"/>
                  </a:lnTo>
                  <a:lnTo>
                    <a:pt x="146" y="2544"/>
                  </a:lnTo>
                  <a:lnTo>
                    <a:pt x="158" y="2549"/>
                  </a:lnTo>
                  <a:lnTo>
                    <a:pt x="170" y="2554"/>
                  </a:lnTo>
                  <a:lnTo>
                    <a:pt x="182" y="2558"/>
                  </a:lnTo>
                  <a:lnTo>
                    <a:pt x="194" y="2561"/>
                  </a:lnTo>
                  <a:lnTo>
                    <a:pt x="208" y="2563"/>
                  </a:lnTo>
                  <a:lnTo>
                    <a:pt x="220" y="2565"/>
                  </a:lnTo>
                  <a:lnTo>
                    <a:pt x="232" y="2566"/>
                  </a:lnTo>
                  <a:lnTo>
                    <a:pt x="245" y="2567"/>
                  </a:lnTo>
                  <a:lnTo>
                    <a:pt x="257" y="2567"/>
                  </a:lnTo>
                  <a:lnTo>
                    <a:pt x="269" y="2567"/>
                  </a:lnTo>
                  <a:lnTo>
                    <a:pt x="281" y="2565"/>
                  </a:lnTo>
                  <a:lnTo>
                    <a:pt x="293" y="2564"/>
                  </a:lnTo>
                  <a:lnTo>
                    <a:pt x="305" y="2561"/>
                  </a:lnTo>
                  <a:lnTo>
                    <a:pt x="316" y="2559"/>
                  </a:lnTo>
                  <a:lnTo>
                    <a:pt x="328" y="2555"/>
                  </a:lnTo>
                  <a:lnTo>
                    <a:pt x="339" y="2551"/>
                  </a:lnTo>
                  <a:lnTo>
                    <a:pt x="351" y="2547"/>
                  </a:lnTo>
                  <a:lnTo>
                    <a:pt x="361" y="2542"/>
                  </a:lnTo>
                  <a:lnTo>
                    <a:pt x="373" y="2536"/>
                  </a:lnTo>
                  <a:lnTo>
                    <a:pt x="383" y="2529"/>
                  </a:lnTo>
                  <a:lnTo>
                    <a:pt x="394" y="2523"/>
                  </a:lnTo>
                  <a:lnTo>
                    <a:pt x="403" y="2516"/>
                  </a:lnTo>
                  <a:lnTo>
                    <a:pt x="413" y="2508"/>
                  </a:lnTo>
                  <a:lnTo>
                    <a:pt x="422" y="2500"/>
                  </a:lnTo>
                  <a:lnTo>
                    <a:pt x="431" y="2492"/>
                  </a:lnTo>
                  <a:lnTo>
                    <a:pt x="439" y="2483"/>
                  </a:lnTo>
                  <a:lnTo>
                    <a:pt x="447" y="2474"/>
                  </a:lnTo>
                  <a:lnTo>
                    <a:pt x="455" y="2464"/>
                  </a:lnTo>
                  <a:lnTo>
                    <a:pt x="462" y="2454"/>
                  </a:lnTo>
                  <a:lnTo>
                    <a:pt x="468" y="2443"/>
                  </a:lnTo>
                  <a:lnTo>
                    <a:pt x="474" y="2432"/>
                  </a:lnTo>
                  <a:lnTo>
                    <a:pt x="480" y="2421"/>
                  </a:lnTo>
                  <a:lnTo>
                    <a:pt x="485" y="2409"/>
                  </a:lnTo>
                  <a:lnTo>
                    <a:pt x="485" y="2409"/>
                  </a:lnTo>
                  <a:lnTo>
                    <a:pt x="520" y="2324"/>
                  </a:lnTo>
                  <a:lnTo>
                    <a:pt x="558" y="2242"/>
                  </a:lnTo>
                  <a:lnTo>
                    <a:pt x="596" y="2161"/>
                  </a:lnTo>
                  <a:lnTo>
                    <a:pt x="636" y="2082"/>
                  </a:lnTo>
                  <a:lnTo>
                    <a:pt x="678" y="2003"/>
                  </a:lnTo>
                  <a:lnTo>
                    <a:pt x="723" y="1926"/>
                  </a:lnTo>
                  <a:lnTo>
                    <a:pt x="768" y="1850"/>
                  </a:lnTo>
                  <a:lnTo>
                    <a:pt x="815" y="1777"/>
                  </a:lnTo>
                  <a:lnTo>
                    <a:pt x="864" y="1705"/>
                  </a:lnTo>
                  <a:lnTo>
                    <a:pt x="916" y="1633"/>
                  </a:lnTo>
                  <a:lnTo>
                    <a:pt x="968" y="1564"/>
                  </a:lnTo>
                  <a:lnTo>
                    <a:pt x="1021" y="1496"/>
                  </a:lnTo>
                  <a:lnTo>
                    <a:pt x="1077" y="1430"/>
                  </a:lnTo>
                  <a:lnTo>
                    <a:pt x="1134" y="1365"/>
                  </a:lnTo>
                  <a:lnTo>
                    <a:pt x="1192" y="1301"/>
                  </a:lnTo>
                  <a:lnTo>
                    <a:pt x="1252" y="1240"/>
                  </a:lnTo>
                  <a:lnTo>
                    <a:pt x="1313" y="1180"/>
                  </a:lnTo>
                  <a:lnTo>
                    <a:pt x="1375" y="1121"/>
                  </a:lnTo>
                  <a:lnTo>
                    <a:pt x="1439" y="1065"/>
                  </a:lnTo>
                  <a:lnTo>
                    <a:pt x="1503" y="1010"/>
                  </a:lnTo>
                  <a:lnTo>
                    <a:pt x="1570" y="956"/>
                  </a:lnTo>
                  <a:lnTo>
                    <a:pt x="1637" y="904"/>
                  </a:lnTo>
                  <a:lnTo>
                    <a:pt x="1705" y="854"/>
                  </a:lnTo>
                  <a:lnTo>
                    <a:pt x="1775" y="805"/>
                  </a:lnTo>
                  <a:lnTo>
                    <a:pt x="1846" y="759"/>
                  </a:lnTo>
                  <a:lnTo>
                    <a:pt x="1918" y="714"/>
                  </a:lnTo>
                  <a:lnTo>
                    <a:pt x="1990" y="671"/>
                  </a:lnTo>
                  <a:lnTo>
                    <a:pt x="2064" y="629"/>
                  </a:lnTo>
                  <a:lnTo>
                    <a:pt x="2139" y="590"/>
                  </a:lnTo>
                  <a:lnTo>
                    <a:pt x="2214" y="552"/>
                  </a:lnTo>
                  <a:lnTo>
                    <a:pt x="2291" y="516"/>
                  </a:lnTo>
                  <a:lnTo>
                    <a:pt x="2367" y="481"/>
                  </a:lnTo>
                  <a:lnTo>
                    <a:pt x="2379" y="476"/>
                  </a:lnTo>
                  <a:lnTo>
                    <a:pt x="2390" y="470"/>
                  </a:lnTo>
                  <a:lnTo>
                    <a:pt x="2402" y="464"/>
                  </a:lnTo>
                  <a:lnTo>
                    <a:pt x="2413" y="457"/>
                  </a:lnTo>
                  <a:lnTo>
                    <a:pt x="2423" y="450"/>
                  </a:lnTo>
                  <a:lnTo>
                    <a:pt x="2432" y="442"/>
                  </a:lnTo>
                  <a:lnTo>
                    <a:pt x="2441" y="434"/>
                  </a:lnTo>
                  <a:lnTo>
                    <a:pt x="2450" y="425"/>
                  </a:lnTo>
                  <a:lnTo>
                    <a:pt x="2458" y="416"/>
                  </a:lnTo>
                  <a:lnTo>
                    <a:pt x="2466" y="407"/>
                  </a:lnTo>
                  <a:lnTo>
                    <a:pt x="2473" y="397"/>
                  </a:lnTo>
                  <a:lnTo>
                    <a:pt x="2480" y="387"/>
                  </a:lnTo>
                  <a:lnTo>
                    <a:pt x="2486" y="377"/>
                  </a:lnTo>
                  <a:lnTo>
                    <a:pt x="2492" y="366"/>
                  </a:lnTo>
                  <a:lnTo>
                    <a:pt x="2497" y="356"/>
                  </a:lnTo>
                  <a:lnTo>
                    <a:pt x="2502" y="345"/>
                  </a:lnTo>
                  <a:lnTo>
                    <a:pt x="2506" y="333"/>
                  </a:lnTo>
                  <a:lnTo>
                    <a:pt x="2510" y="321"/>
                  </a:lnTo>
                  <a:lnTo>
                    <a:pt x="2513" y="309"/>
                  </a:lnTo>
                  <a:lnTo>
                    <a:pt x="2515" y="298"/>
                  </a:lnTo>
                  <a:lnTo>
                    <a:pt x="2517" y="286"/>
                  </a:lnTo>
                  <a:lnTo>
                    <a:pt x="2519" y="274"/>
                  </a:lnTo>
                  <a:lnTo>
                    <a:pt x="2520" y="262"/>
                  </a:lnTo>
                  <a:lnTo>
                    <a:pt x="2520" y="249"/>
                  </a:lnTo>
                  <a:lnTo>
                    <a:pt x="2520" y="237"/>
                  </a:lnTo>
                  <a:lnTo>
                    <a:pt x="2519" y="225"/>
                  </a:lnTo>
                  <a:lnTo>
                    <a:pt x="2517" y="213"/>
                  </a:lnTo>
                  <a:lnTo>
                    <a:pt x="2515" y="200"/>
                  </a:lnTo>
                  <a:lnTo>
                    <a:pt x="2512" y="188"/>
                  </a:lnTo>
                  <a:lnTo>
                    <a:pt x="2509" y="176"/>
                  </a:lnTo>
                  <a:lnTo>
                    <a:pt x="2505" y="164"/>
                  </a:lnTo>
                  <a:lnTo>
                    <a:pt x="2500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24" name="i$ḷïḓe">
              <a:extLst>
                <a:ext uri="{FF2B5EF4-FFF2-40B4-BE49-F238E27FC236}">
                  <a16:creationId xmlns:a16="http://schemas.microsoft.com/office/drawing/2014/main" id="{1369206E-A34D-4D3F-B7C2-C4DB2746AB55}"/>
                </a:ext>
              </a:extLst>
            </p:cNvPr>
            <p:cNvSpPr/>
            <p:nvPr/>
          </p:nvSpPr>
          <p:spPr bwMode="auto">
            <a:xfrm>
              <a:off x="6380524" y="3370338"/>
              <a:ext cx="81693" cy="83378"/>
            </a:xfrm>
            <a:custGeom>
              <a:avLst/>
              <a:gdLst>
                <a:gd name="T0" fmla="*/ 3557 w 3596"/>
                <a:gd name="T1" fmla="*/ 117 h 3668"/>
                <a:gd name="T2" fmla="*/ 3527 w 3596"/>
                <a:gd name="T3" fmla="*/ 78 h 3668"/>
                <a:gd name="T4" fmla="*/ 3490 w 3596"/>
                <a:gd name="T5" fmla="*/ 46 h 3668"/>
                <a:gd name="T6" fmla="*/ 3449 w 3596"/>
                <a:gd name="T7" fmla="*/ 22 h 3668"/>
                <a:gd name="T8" fmla="*/ 3402 w 3596"/>
                <a:gd name="T9" fmla="*/ 7 h 3668"/>
                <a:gd name="T10" fmla="*/ 3355 w 3596"/>
                <a:gd name="T11" fmla="*/ 0 h 3668"/>
                <a:gd name="T12" fmla="*/ 3306 w 3596"/>
                <a:gd name="T13" fmla="*/ 2 h 3668"/>
                <a:gd name="T14" fmla="*/ 3257 w 3596"/>
                <a:gd name="T15" fmla="*/ 15 h 3668"/>
                <a:gd name="T16" fmla="*/ 3098 w 3596"/>
                <a:gd name="T17" fmla="*/ 89 h 3668"/>
                <a:gd name="T18" fmla="*/ 2585 w 3596"/>
                <a:gd name="T19" fmla="*/ 356 h 3668"/>
                <a:gd name="T20" fmla="*/ 2100 w 3596"/>
                <a:gd name="T21" fmla="*/ 670 h 3668"/>
                <a:gd name="T22" fmla="*/ 1644 w 3596"/>
                <a:gd name="T23" fmla="*/ 1030 h 3668"/>
                <a:gd name="T24" fmla="*/ 1224 w 3596"/>
                <a:gd name="T25" fmla="*/ 1434 h 3668"/>
                <a:gd name="T26" fmla="*/ 841 w 3596"/>
                <a:gd name="T27" fmla="*/ 1883 h 3668"/>
                <a:gd name="T28" fmla="*/ 500 w 3596"/>
                <a:gd name="T29" fmla="*/ 2372 h 3668"/>
                <a:gd name="T30" fmla="*/ 207 w 3596"/>
                <a:gd name="T31" fmla="*/ 2901 h 3668"/>
                <a:gd name="T32" fmla="*/ 14 w 3596"/>
                <a:gd name="T33" fmla="*/ 3335 h 3668"/>
                <a:gd name="T34" fmla="*/ 2 w 3596"/>
                <a:gd name="T35" fmla="*/ 3385 h 3668"/>
                <a:gd name="T36" fmla="*/ 1 w 3596"/>
                <a:gd name="T37" fmla="*/ 3434 h 3668"/>
                <a:gd name="T38" fmla="*/ 9 w 3596"/>
                <a:gd name="T39" fmla="*/ 3481 h 3668"/>
                <a:gd name="T40" fmla="*/ 25 w 3596"/>
                <a:gd name="T41" fmla="*/ 3526 h 3668"/>
                <a:gd name="T42" fmla="*/ 52 w 3596"/>
                <a:gd name="T43" fmla="*/ 3568 h 3668"/>
                <a:gd name="T44" fmla="*/ 84 w 3596"/>
                <a:gd name="T45" fmla="*/ 3604 h 3668"/>
                <a:gd name="T46" fmla="*/ 124 w 3596"/>
                <a:gd name="T47" fmla="*/ 3633 h 3668"/>
                <a:gd name="T48" fmla="*/ 171 w 3596"/>
                <a:gd name="T49" fmla="*/ 3655 h 3668"/>
                <a:gd name="T50" fmla="*/ 220 w 3596"/>
                <a:gd name="T51" fmla="*/ 3666 h 3668"/>
                <a:gd name="T52" fmla="*/ 269 w 3596"/>
                <a:gd name="T53" fmla="*/ 3668 h 3668"/>
                <a:gd name="T54" fmla="*/ 316 w 3596"/>
                <a:gd name="T55" fmla="*/ 3660 h 3668"/>
                <a:gd name="T56" fmla="*/ 361 w 3596"/>
                <a:gd name="T57" fmla="*/ 3643 h 3668"/>
                <a:gd name="T58" fmla="*/ 403 w 3596"/>
                <a:gd name="T59" fmla="*/ 3618 h 3668"/>
                <a:gd name="T60" fmla="*/ 439 w 3596"/>
                <a:gd name="T61" fmla="*/ 3586 h 3668"/>
                <a:gd name="T62" fmla="*/ 468 w 3596"/>
                <a:gd name="T63" fmla="*/ 3546 h 3668"/>
                <a:gd name="T64" fmla="*/ 540 w 3596"/>
                <a:gd name="T65" fmla="*/ 3379 h 3668"/>
                <a:gd name="T66" fmla="*/ 788 w 3596"/>
                <a:gd name="T67" fmla="*/ 2873 h 3668"/>
                <a:gd name="T68" fmla="*/ 1081 w 3596"/>
                <a:gd name="T69" fmla="*/ 2404 h 3668"/>
                <a:gd name="T70" fmla="*/ 1415 w 3596"/>
                <a:gd name="T71" fmla="*/ 1971 h 3668"/>
                <a:gd name="T72" fmla="*/ 1785 w 3596"/>
                <a:gd name="T73" fmla="*/ 1579 h 3668"/>
                <a:gd name="T74" fmla="*/ 2189 w 3596"/>
                <a:gd name="T75" fmla="*/ 1227 h 3668"/>
                <a:gd name="T76" fmla="*/ 2623 w 3596"/>
                <a:gd name="T77" fmla="*/ 917 h 3668"/>
                <a:gd name="T78" fmla="*/ 3084 w 3596"/>
                <a:gd name="T79" fmla="*/ 651 h 3668"/>
                <a:gd name="T80" fmla="*/ 3455 w 3596"/>
                <a:gd name="T81" fmla="*/ 476 h 3668"/>
                <a:gd name="T82" fmla="*/ 3498 w 3596"/>
                <a:gd name="T83" fmla="*/ 449 h 3668"/>
                <a:gd name="T84" fmla="*/ 3533 w 3596"/>
                <a:gd name="T85" fmla="*/ 416 h 3668"/>
                <a:gd name="T86" fmla="*/ 3561 w 3596"/>
                <a:gd name="T87" fmla="*/ 377 h 3668"/>
                <a:gd name="T88" fmla="*/ 3581 w 3596"/>
                <a:gd name="T89" fmla="*/ 333 h 3668"/>
                <a:gd name="T90" fmla="*/ 3593 w 3596"/>
                <a:gd name="T91" fmla="*/ 286 h 3668"/>
                <a:gd name="T92" fmla="*/ 3596 w 3596"/>
                <a:gd name="T93" fmla="*/ 237 h 3668"/>
                <a:gd name="T94" fmla="*/ 3588 w 3596"/>
                <a:gd name="T95" fmla="*/ 188 h 3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596" h="3668">
                  <a:moveTo>
                    <a:pt x="3575" y="152"/>
                  </a:moveTo>
                  <a:lnTo>
                    <a:pt x="3569" y="140"/>
                  </a:lnTo>
                  <a:lnTo>
                    <a:pt x="3563" y="128"/>
                  </a:lnTo>
                  <a:lnTo>
                    <a:pt x="3557" y="117"/>
                  </a:lnTo>
                  <a:lnTo>
                    <a:pt x="3550" y="107"/>
                  </a:lnTo>
                  <a:lnTo>
                    <a:pt x="3543" y="97"/>
                  </a:lnTo>
                  <a:lnTo>
                    <a:pt x="3535" y="87"/>
                  </a:lnTo>
                  <a:lnTo>
                    <a:pt x="3527" y="78"/>
                  </a:lnTo>
                  <a:lnTo>
                    <a:pt x="3518" y="70"/>
                  </a:lnTo>
                  <a:lnTo>
                    <a:pt x="3509" y="61"/>
                  </a:lnTo>
                  <a:lnTo>
                    <a:pt x="3500" y="54"/>
                  </a:lnTo>
                  <a:lnTo>
                    <a:pt x="3490" y="46"/>
                  </a:lnTo>
                  <a:lnTo>
                    <a:pt x="3480" y="40"/>
                  </a:lnTo>
                  <a:lnTo>
                    <a:pt x="3470" y="33"/>
                  </a:lnTo>
                  <a:lnTo>
                    <a:pt x="3459" y="28"/>
                  </a:lnTo>
                  <a:lnTo>
                    <a:pt x="3449" y="22"/>
                  </a:lnTo>
                  <a:lnTo>
                    <a:pt x="3438" y="18"/>
                  </a:lnTo>
                  <a:lnTo>
                    <a:pt x="3426" y="13"/>
                  </a:lnTo>
                  <a:lnTo>
                    <a:pt x="3414" y="10"/>
                  </a:lnTo>
                  <a:lnTo>
                    <a:pt x="3402" y="7"/>
                  </a:lnTo>
                  <a:lnTo>
                    <a:pt x="3391" y="4"/>
                  </a:lnTo>
                  <a:lnTo>
                    <a:pt x="3379" y="2"/>
                  </a:lnTo>
                  <a:lnTo>
                    <a:pt x="3367" y="1"/>
                  </a:lnTo>
                  <a:lnTo>
                    <a:pt x="3355" y="0"/>
                  </a:lnTo>
                  <a:lnTo>
                    <a:pt x="3342" y="0"/>
                  </a:lnTo>
                  <a:lnTo>
                    <a:pt x="3330" y="0"/>
                  </a:lnTo>
                  <a:lnTo>
                    <a:pt x="3318" y="1"/>
                  </a:lnTo>
                  <a:lnTo>
                    <a:pt x="3306" y="2"/>
                  </a:lnTo>
                  <a:lnTo>
                    <a:pt x="3294" y="5"/>
                  </a:lnTo>
                  <a:lnTo>
                    <a:pt x="3281" y="7"/>
                  </a:lnTo>
                  <a:lnTo>
                    <a:pt x="3269" y="11"/>
                  </a:lnTo>
                  <a:lnTo>
                    <a:pt x="3257" y="15"/>
                  </a:lnTo>
                  <a:lnTo>
                    <a:pt x="3244" y="20"/>
                  </a:lnTo>
                  <a:lnTo>
                    <a:pt x="3236" y="25"/>
                  </a:lnTo>
                  <a:lnTo>
                    <a:pt x="3229" y="31"/>
                  </a:lnTo>
                  <a:lnTo>
                    <a:pt x="3098" y="89"/>
                  </a:lnTo>
                  <a:lnTo>
                    <a:pt x="2967" y="152"/>
                  </a:lnTo>
                  <a:lnTo>
                    <a:pt x="2838" y="216"/>
                  </a:lnTo>
                  <a:lnTo>
                    <a:pt x="2710" y="284"/>
                  </a:lnTo>
                  <a:lnTo>
                    <a:pt x="2585" y="356"/>
                  </a:lnTo>
                  <a:lnTo>
                    <a:pt x="2461" y="429"/>
                  </a:lnTo>
                  <a:lnTo>
                    <a:pt x="2338" y="507"/>
                  </a:lnTo>
                  <a:lnTo>
                    <a:pt x="2218" y="586"/>
                  </a:lnTo>
                  <a:lnTo>
                    <a:pt x="2100" y="670"/>
                  </a:lnTo>
                  <a:lnTo>
                    <a:pt x="1982" y="755"/>
                  </a:lnTo>
                  <a:lnTo>
                    <a:pt x="1867" y="844"/>
                  </a:lnTo>
                  <a:lnTo>
                    <a:pt x="1755" y="935"/>
                  </a:lnTo>
                  <a:lnTo>
                    <a:pt x="1644" y="1030"/>
                  </a:lnTo>
                  <a:lnTo>
                    <a:pt x="1535" y="1126"/>
                  </a:lnTo>
                  <a:lnTo>
                    <a:pt x="1429" y="1227"/>
                  </a:lnTo>
                  <a:lnTo>
                    <a:pt x="1325" y="1329"/>
                  </a:lnTo>
                  <a:lnTo>
                    <a:pt x="1224" y="1434"/>
                  </a:lnTo>
                  <a:lnTo>
                    <a:pt x="1124" y="1543"/>
                  </a:lnTo>
                  <a:lnTo>
                    <a:pt x="1027" y="1653"/>
                  </a:lnTo>
                  <a:lnTo>
                    <a:pt x="933" y="1766"/>
                  </a:lnTo>
                  <a:lnTo>
                    <a:pt x="841" y="1883"/>
                  </a:lnTo>
                  <a:lnTo>
                    <a:pt x="752" y="2001"/>
                  </a:lnTo>
                  <a:lnTo>
                    <a:pt x="665" y="2122"/>
                  </a:lnTo>
                  <a:lnTo>
                    <a:pt x="582" y="2246"/>
                  </a:lnTo>
                  <a:lnTo>
                    <a:pt x="500" y="2372"/>
                  </a:lnTo>
                  <a:lnTo>
                    <a:pt x="423" y="2500"/>
                  </a:lnTo>
                  <a:lnTo>
                    <a:pt x="347" y="2631"/>
                  </a:lnTo>
                  <a:lnTo>
                    <a:pt x="276" y="2765"/>
                  </a:lnTo>
                  <a:lnTo>
                    <a:pt x="207" y="2901"/>
                  </a:lnTo>
                  <a:lnTo>
                    <a:pt x="141" y="3040"/>
                  </a:lnTo>
                  <a:lnTo>
                    <a:pt x="78" y="3180"/>
                  </a:lnTo>
                  <a:lnTo>
                    <a:pt x="18" y="3323"/>
                  </a:lnTo>
                  <a:lnTo>
                    <a:pt x="14" y="3335"/>
                  </a:lnTo>
                  <a:lnTo>
                    <a:pt x="10" y="3347"/>
                  </a:lnTo>
                  <a:lnTo>
                    <a:pt x="7" y="3359"/>
                  </a:lnTo>
                  <a:lnTo>
                    <a:pt x="4" y="3373"/>
                  </a:lnTo>
                  <a:lnTo>
                    <a:pt x="2" y="3385"/>
                  </a:lnTo>
                  <a:lnTo>
                    <a:pt x="1" y="3397"/>
                  </a:lnTo>
                  <a:lnTo>
                    <a:pt x="0" y="3409"/>
                  </a:lnTo>
                  <a:lnTo>
                    <a:pt x="0" y="3422"/>
                  </a:lnTo>
                  <a:lnTo>
                    <a:pt x="1" y="3434"/>
                  </a:lnTo>
                  <a:lnTo>
                    <a:pt x="2" y="3446"/>
                  </a:lnTo>
                  <a:lnTo>
                    <a:pt x="4" y="3458"/>
                  </a:lnTo>
                  <a:lnTo>
                    <a:pt x="6" y="3470"/>
                  </a:lnTo>
                  <a:lnTo>
                    <a:pt x="9" y="3481"/>
                  </a:lnTo>
                  <a:lnTo>
                    <a:pt x="12" y="3493"/>
                  </a:lnTo>
                  <a:lnTo>
                    <a:pt x="16" y="3504"/>
                  </a:lnTo>
                  <a:lnTo>
                    <a:pt x="20" y="3515"/>
                  </a:lnTo>
                  <a:lnTo>
                    <a:pt x="25" y="3526"/>
                  </a:lnTo>
                  <a:lnTo>
                    <a:pt x="32" y="3538"/>
                  </a:lnTo>
                  <a:lnTo>
                    <a:pt x="38" y="3548"/>
                  </a:lnTo>
                  <a:lnTo>
                    <a:pt x="45" y="3559"/>
                  </a:lnTo>
                  <a:lnTo>
                    <a:pt x="52" y="3568"/>
                  </a:lnTo>
                  <a:lnTo>
                    <a:pt x="59" y="3578"/>
                  </a:lnTo>
                  <a:lnTo>
                    <a:pt x="67" y="3587"/>
                  </a:lnTo>
                  <a:lnTo>
                    <a:pt x="75" y="3596"/>
                  </a:lnTo>
                  <a:lnTo>
                    <a:pt x="84" y="3604"/>
                  </a:lnTo>
                  <a:lnTo>
                    <a:pt x="94" y="3612"/>
                  </a:lnTo>
                  <a:lnTo>
                    <a:pt x="103" y="3620"/>
                  </a:lnTo>
                  <a:lnTo>
                    <a:pt x="114" y="3627"/>
                  </a:lnTo>
                  <a:lnTo>
                    <a:pt x="124" y="3633"/>
                  </a:lnTo>
                  <a:lnTo>
                    <a:pt x="135" y="3639"/>
                  </a:lnTo>
                  <a:lnTo>
                    <a:pt x="147" y="3645"/>
                  </a:lnTo>
                  <a:lnTo>
                    <a:pt x="159" y="3650"/>
                  </a:lnTo>
                  <a:lnTo>
                    <a:pt x="171" y="3655"/>
                  </a:lnTo>
                  <a:lnTo>
                    <a:pt x="183" y="3659"/>
                  </a:lnTo>
                  <a:lnTo>
                    <a:pt x="195" y="3662"/>
                  </a:lnTo>
                  <a:lnTo>
                    <a:pt x="208" y="3664"/>
                  </a:lnTo>
                  <a:lnTo>
                    <a:pt x="220" y="3666"/>
                  </a:lnTo>
                  <a:lnTo>
                    <a:pt x="232" y="3668"/>
                  </a:lnTo>
                  <a:lnTo>
                    <a:pt x="245" y="3668"/>
                  </a:lnTo>
                  <a:lnTo>
                    <a:pt x="257" y="3668"/>
                  </a:lnTo>
                  <a:lnTo>
                    <a:pt x="269" y="3668"/>
                  </a:lnTo>
                  <a:lnTo>
                    <a:pt x="281" y="3667"/>
                  </a:lnTo>
                  <a:lnTo>
                    <a:pt x="293" y="3665"/>
                  </a:lnTo>
                  <a:lnTo>
                    <a:pt x="305" y="3663"/>
                  </a:lnTo>
                  <a:lnTo>
                    <a:pt x="316" y="3660"/>
                  </a:lnTo>
                  <a:lnTo>
                    <a:pt x="328" y="3657"/>
                  </a:lnTo>
                  <a:lnTo>
                    <a:pt x="339" y="3653"/>
                  </a:lnTo>
                  <a:lnTo>
                    <a:pt x="350" y="3648"/>
                  </a:lnTo>
                  <a:lnTo>
                    <a:pt x="361" y="3643"/>
                  </a:lnTo>
                  <a:lnTo>
                    <a:pt x="373" y="3638"/>
                  </a:lnTo>
                  <a:lnTo>
                    <a:pt x="383" y="3632"/>
                  </a:lnTo>
                  <a:lnTo>
                    <a:pt x="393" y="3625"/>
                  </a:lnTo>
                  <a:lnTo>
                    <a:pt x="403" y="3618"/>
                  </a:lnTo>
                  <a:lnTo>
                    <a:pt x="413" y="3611"/>
                  </a:lnTo>
                  <a:lnTo>
                    <a:pt x="422" y="3603"/>
                  </a:lnTo>
                  <a:lnTo>
                    <a:pt x="431" y="3594"/>
                  </a:lnTo>
                  <a:lnTo>
                    <a:pt x="439" y="3586"/>
                  </a:lnTo>
                  <a:lnTo>
                    <a:pt x="447" y="3576"/>
                  </a:lnTo>
                  <a:lnTo>
                    <a:pt x="454" y="3566"/>
                  </a:lnTo>
                  <a:lnTo>
                    <a:pt x="461" y="3556"/>
                  </a:lnTo>
                  <a:lnTo>
                    <a:pt x="468" y="3546"/>
                  </a:lnTo>
                  <a:lnTo>
                    <a:pt x="474" y="3535"/>
                  </a:lnTo>
                  <a:lnTo>
                    <a:pt x="480" y="3522"/>
                  </a:lnTo>
                  <a:lnTo>
                    <a:pt x="485" y="3510"/>
                  </a:lnTo>
                  <a:lnTo>
                    <a:pt x="540" y="3379"/>
                  </a:lnTo>
                  <a:lnTo>
                    <a:pt x="598" y="3249"/>
                  </a:lnTo>
                  <a:lnTo>
                    <a:pt x="658" y="3121"/>
                  </a:lnTo>
                  <a:lnTo>
                    <a:pt x="722" y="2996"/>
                  </a:lnTo>
                  <a:lnTo>
                    <a:pt x="788" y="2873"/>
                  </a:lnTo>
                  <a:lnTo>
                    <a:pt x="857" y="2752"/>
                  </a:lnTo>
                  <a:lnTo>
                    <a:pt x="929" y="2633"/>
                  </a:lnTo>
                  <a:lnTo>
                    <a:pt x="1004" y="2518"/>
                  </a:lnTo>
                  <a:lnTo>
                    <a:pt x="1081" y="2404"/>
                  </a:lnTo>
                  <a:lnTo>
                    <a:pt x="1160" y="2292"/>
                  </a:lnTo>
                  <a:lnTo>
                    <a:pt x="1243" y="2183"/>
                  </a:lnTo>
                  <a:lnTo>
                    <a:pt x="1327" y="2076"/>
                  </a:lnTo>
                  <a:lnTo>
                    <a:pt x="1415" y="1971"/>
                  </a:lnTo>
                  <a:lnTo>
                    <a:pt x="1503" y="1870"/>
                  </a:lnTo>
                  <a:lnTo>
                    <a:pt x="1595" y="1770"/>
                  </a:lnTo>
                  <a:lnTo>
                    <a:pt x="1689" y="1674"/>
                  </a:lnTo>
                  <a:lnTo>
                    <a:pt x="1785" y="1579"/>
                  </a:lnTo>
                  <a:lnTo>
                    <a:pt x="1882" y="1487"/>
                  </a:lnTo>
                  <a:lnTo>
                    <a:pt x="1983" y="1398"/>
                  </a:lnTo>
                  <a:lnTo>
                    <a:pt x="2085" y="1311"/>
                  </a:lnTo>
                  <a:lnTo>
                    <a:pt x="2189" y="1227"/>
                  </a:lnTo>
                  <a:lnTo>
                    <a:pt x="2295" y="1145"/>
                  </a:lnTo>
                  <a:lnTo>
                    <a:pt x="2403" y="1067"/>
                  </a:lnTo>
                  <a:lnTo>
                    <a:pt x="2512" y="990"/>
                  </a:lnTo>
                  <a:lnTo>
                    <a:pt x="2623" y="917"/>
                  </a:lnTo>
                  <a:lnTo>
                    <a:pt x="2735" y="847"/>
                  </a:lnTo>
                  <a:lnTo>
                    <a:pt x="2850" y="778"/>
                  </a:lnTo>
                  <a:lnTo>
                    <a:pt x="2966" y="714"/>
                  </a:lnTo>
                  <a:lnTo>
                    <a:pt x="3084" y="651"/>
                  </a:lnTo>
                  <a:lnTo>
                    <a:pt x="3202" y="592"/>
                  </a:lnTo>
                  <a:lnTo>
                    <a:pt x="3322" y="535"/>
                  </a:lnTo>
                  <a:lnTo>
                    <a:pt x="3444" y="481"/>
                  </a:lnTo>
                  <a:lnTo>
                    <a:pt x="3455" y="476"/>
                  </a:lnTo>
                  <a:lnTo>
                    <a:pt x="3467" y="470"/>
                  </a:lnTo>
                  <a:lnTo>
                    <a:pt x="3477" y="463"/>
                  </a:lnTo>
                  <a:lnTo>
                    <a:pt x="3488" y="457"/>
                  </a:lnTo>
                  <a:lnTo>
                    <a:pt x="3498" y="449"/>
                  </a:lnTo>
                  <a:lnTo>
                    <a:pt x="3507" y="441"/>
                  </a:lnTo>
                  <a:lnTo>
                    <a:pt x="3517" y="433"/>
                  </a:lnTo>
                  <a:lnTo>
                    <a:pt x="3525" y="425"/>
                  </a:lnTo>
                  <a:lnTo>
                    <a:pt x="3533" y="416"/>
                  </a:lnTo>
                  <a:lnTo>
                    <a:pt x="3541" y="406"/>
                  </a:lnTo>
                  <a:lnTo>
                    <a:pt x="3548" y="397"/>
                  </a:lnTo>
                  <a:lnTo>
                    <a:pt x="3555" y="387"/>
                  </a:lnTo>
                  <a:lnTo>
                    <a:pt x="3561" y="377"/>
                  </a:lnTo>
                  <a:lnTo>
                    <a:pt x="3567" y="366"/>
                  </a:lnTo>
                  <a:lnTo>
                    <a:pt x="3572" y="355"/>
                  </a:lnTo>
                  <a:lnTo>
                    <a:pt x="3577" y="344"/>
                  </a:lnTo>
                  <a:lnTo>
                    <a:pt x="3581" y="333"/>
                  </a:lnTo>
                  <a:lnTo>
                    <a:pt x="3585" y="322"/>
                  </a:lnTo>
                  <a:lnTo>
                    <a:pt x="3589" y="309"/>
                  </a:lnTo>
                  <a:lnTo>
                    <a:pt x="3591" y="297"/>
                  </a:lnTo>
                  <a:lnTo>
                    <a:pt x="3593" y="286"/>
                  </a:lnTo>
                  <a:lnTo>
                    <a:pt x="3595" y="274"/>
                  </a:lnTo>
                  <a:lnTo>
                    <a:pt x="3596" y="261"/>
                  </a:lnTo>
                  <a:lnTo>
                    <a:pt x="3596" y="249"/>
                  </a:lnTo>
                  <a:lnTo>
                    <a:pt x="3596" y="237"/>
                  </a:lnTo>
                  <a:lnTo>
                    <a:pt x="3595" y="225"/>
                  </a:lnTo>
                  <a:lnTo>
                    <a:pt x="3593" y="213"/>
                  </a:lnTo>
                  <a:lnTo>
                    <a:pt x="3591" y="200"/>
                  </a:lnTo>
                  <a:lnTo>
                    <a:pt x="3588" y="188"/>
                  </a:lnTo>
                  <a:lnTo>
                    <a:pt x="3584" y="176"/>
                  </a:lnTo>
                  <a:lnTo>
                    <a:pt x="3579" y="164"/>
                  </a:lnTo>
                  <a:lnTo>
                    <a:pt x="3575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25" name="i$ľîḋê">
              <a:extLst>
                <a:ext uri="{FF2B5EF4-FFF2-40B4-BE49-F238E27FC236}">
                  <a16:creationId xmlns:a16="http://schemas.microsoft.com/office/drawing/2014/main" id="{84A596C5-0EAD-4C21-A006-E7D5ED6D62A1}"/>
                </a:ext>
              </a:extLst>
            </p:cNvPr>
            <p:cNvSpPr/>
            <p:nvPr/>
          </p:nvSpPr>
          <p:spPr bwMode="auto">
            <a:xfrm>
              <a:off x="6401579" y="3391394"/>
              <a:ext cx="69061" cy="70745"/>
            </a:xfrm>
            <a:custGeom>
              <a:avLst/>
              <a:gdLst>
                <a:gd name="T0" fmla="*/ 2939 w 3057"/>
                <a:gd name="T1" fmla="*/ 464 h 3119"/>
                <a:gd name="T2" fmla="*/ 2978 w 3057"/>
                <a:gd name="T3" fmla="*/ 434 h 3119"/>
                <a:gd name="T4" fmla="*/ 3011 w 3057"/>
                <a:gd name="T5" fmla="*/ 397 h 3119"/>
                <a:gd name="T6" fmla="*/ 3035 w 3057"/>
                <a:gd name="T7" fmla="*/ 355 h 3119"/>
                <a:gd name="T8" fmla="*/ 3050 w 3057"/>
                <a:gd name="T9" fmla="*/ 310 h 3119"/>
                <a:gd name="T10" fmla="*/ 3057 w 3057"/>
                <a:gd name="T11" fmla="*/ 263 h 3119"/>
                <a:gd name="T12" fmla="*/ 3055 w 3057"/>
                <a:gd name="T13" fmla="*/ 213 h 3119"/>
                <a:gd name="T14" fmla="*/ 3042 w 3057"/>
                <a:gd name="T15" fmla="*/ 164 h 3119"/>
                <a:gd name="T16" fmla="*/ 3020 w 3057"/>
                <a:gd name="T17" fmla="*/ 118 h 3119"/>
                <a:gd name="T18" fmla="*/ 2988 w 3057"/>
                <a:gd name="T19" fmla="*/ 79 h 3119"/>
                <a:gd name="T20" fmla="*/ 2952 w 3057"/>
                <a:gd name="T21" fmla="*/ 46 h 3119"/>
                <a:gd name="T22" fmla="*/ 2910 w 3057"/>
                <a:gd name="T23" fmla="*/ 22 h 3119"/>
                <a:gd name="T24" fmla="*/ 2865 w 3057"/>
                <a:gd name="T25" fmla="*/ 7 h 3119"/>
                <a:gd name="T26" fmla="*/ 2816 w 3057"/>
                <a:gd name="T27" fmla="*/ 0 h 3119"/>
                <a:gd name="T28" fmla="*/ 2767 w 3057"/>
                <a:gd name="T29" fmla="*/ 3 h 3119"/>
                <a:gd name="T30" fmla="*/ 2719 w 3057"/>
                <a:gd name="T31" fmla="*/ 15 h 3119"/>
                <a:gd name="T32" fmla="*/ 2584 w 3057"/>
                <a:gd name="T33" fmla="*/ 79 h 3119"/>
                <a:gd name="T34" fmla="*/ 2157 w 3057"/>
                <a:gd name="T35" fmla="*/ 300 h 3119"/>
                <a:gd name="T36" fmla="*/ 1752 w 3057"/>
                <a:gd name="T37" fmla="*/ 561 h 3119"/>
                <a:gd name="T38" fmla="*/ 1373 w 3057"/>
                <a:gd name="T39" fmla="*/ 862 h 3119"/>
                <a:gd name="T40" fmla="*/ 1022 w 3057"/>
                <a:gd name="T41" fmla="*/ 1199 h 3119"/>
                <a:gd name="T42" fmla="*/ 703 w 3057"/>
                <a:gd name="T43" fmla="*/ 1573 h 3119"/>
                <a:gd name="T44" fmla="*/ 419 w 3057"/>
                <a:gd name="T45" fmla="*/ 1981 h 3119"/>
                <a:gd name="T46" fmla="*/ 175 w 3057"/>
                <a:gd name="T47" fmla="*/ 2422 h 3119"/>
                <a:gd name="T48" fmla="*/ 14 w 3057"/>
                <a:gd name="T49" fmla="*/ 2786 h 3119"/>
                <a:gd name="T50" fmla="*/ 2 w 3057"/>
                <a:gd name="T51" fmla="*/ 2835 h 3119"/>
                <a:gd name="T52" fmla="*/ 1 w 3057"/>
                <a:gd name="T53" fmla="*/ 2884 h 3119"/>
                <a:gd name="T54" fmla="*/ 9 w 3057"/>
                <a:gd name="T55" fmla="*/ 2931 h 3119"/>
                <a:gd name="T56" fmla="*/ 26 w 3057"/>
                <a:gd name="T57" fmla="*/ 2977 h 3119"/>
                <a:gd name="T58" fmla="*/ 51 w 3057"/>
                <a:gd name="T59" fmla="*/ 3018 h 3119"/>
                <a:gd name="T60" fmla="*/ 83 w 3057"/>
                <a:gd name="T61" fmla="*/ 3054 h 3119"/>
                <a:gd name="T62" fmla="*/ 124 w 3057"/>
                <a:gd name="T63" fmla="*/ 3083 h 3119"/>
                <a:gd name="T64" fmla="*/ 171 w 3057"/>
                <a:gd name="T65" fmla="*/ 3105 h 3119"/>
                <a:gd name="T66" fmla="*/ 219 w 3057"/>
                <a:gd name="T67" fmla="*/ 3116 h 3119"/>
                <a:gd name="T68" fmla="*/ 268 w 3057"/>
                <a:gd name="T69" fmla="*/ 3119 h 3119"/>
                <a:gd name="T70" fmla="*/ 317 w 3057"/>
                <a:gd name="T71" fmla="*/ 3110 h 3119"/>
                <a:gd name="T72" fmla="*/ 361 w 3057"/>
                <a:gd name="T73" fmla="*/ 3093 h 3119"/>
                <a:gd name="T74" fmla="*/ 402 w 3057"/>
                <a:gd name="T75" fmla="*/ 3068 h 3119"/>
                <a:gd name="T76" fmla="*/ 438 w 3057"/>
                <a:gd name="T77" fmla="*/ 3035 h 3119"/>
                <a:gd name="T78" fmla="*/ 469 w 3057"/>
                <a:gd name="T79" fmla="*/ 2996 h 3119"/>
                <a:gd name="T80" fmla="*/ 530 w 3057"/>
                <a:gd name="T81" fmla="*/ 2853 h 3119"/>
                <a:gd name="T82" fmla="*/ 733 w 3057"/>
                <a:gd name="T83" fmla="*/ 2439 h 3119"/>
                <a:gd name="T84" fmla="*/ 973 w 3057"/>
                <a:gd name="T85" fmla="*/ 2055 h 3119"/>
                <a:gd name="T86" fmla="*/ 1245 w 3057"/>
                <a:gd name="T87" fmla="*/ 1701 h 3119"/>
                <a:gd name="T88" fmla="*/ 1548 w 3057"/>
                <a:gd name="T89" fmla="*/ 1380 h 3119"/>
                <a:gd name="T90" fmla="*/ 1879 w 3057"/>
                <a:gd name="T91" fmla="*/ 1092 h 3119"/>
                <a:gd name="T92" fmla="*/ 2234 w 3057"/>
                <a:gd name="T93" fmla="*/ 839 h 3119"/>
                <a:gd name="T94" fmla="*/ 2610 w 3057"/>
                <a:gd name="T95" fmla="*/ 622 h 3119"/>
                <a:gd name="T96" fmla="*/ 2905 w 3057"/>
                <a:gd name="T97" fmla="*/ 482 h 3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057" h="3119">
                  <a:moveTo>
                    <a:pt x="2905" y="482"/>
                  </a:moveTo>
                  <a:lnTo>
                    <a:pt x="2917" y="477"/>
                  </a:lnTo>
                  <a:lnTo>
                    <a:pt x="2928" y="471"/>
                  </a:lnTo>
                  <a:lnTo>
                    <a:pt x="2939" y="464"/>
                  </a:lnTo>
                  <a:lnTo>
                    <a:pt x="2949" y="458"/>
                  </a:lnTo>
                  <a:lnTo>
                    <a:pt x="2959" y="450"/>
                  </a:lnTo>
                  <a:lnTo>
                    <a:pt x="2969" y="442"/>
                  </a:lnTo>
                  <a:lnTo>
                    <a:pt x="2978" y="434"/>
                  </a:lnTo>
                  <a:lnTo>
                    <a:pt x="2986" y="426"/>
                  </a:lnTo>
                  <a:lnTo>
                    <a:pt x="2996" y="417"/>
                  </a:lnTo>
                  <a:lnTo>
                    <a:pt x="3003" y="408"/>
                  </a:lnTo>
                  <a:lnTo>
                    <a:pt x="3011" y="397"/>
                  </a:lnTo>
                  <a:lnTo>
                    <a:pt x="3017" y="387"/>
                  </a:lnTo>
                  <a:lnTo>
                    <a:pt x="3024" y="377"/>
                  </a:lnTo>
                  <a:lnTo>
                    <a:pt x="3029" y="366"/>
                  </a:lnTo>
                  <a:lnTo>
                    <a:pt x="3035" y="355"/>
                  </a:lnTo>
                  <a:lnTo>
                    <a:pt x="3039" y="344"/>
                  </a:lnTo>
                  <a:lnTo>
                    <a:pt x="3044" y="333"/>
                  </a:lnTo>
                  <a:lnTo>
                    <a:pt x="3047" y="322"/>
                  </a:lnTo>
                  <a:lnTo>
                    <a:pt x="3050" y="310"/>
                  </a:lnTo>
                  <a:lnTo>
                    <a:pt x="3053" y="298"/>
                  </a:lnTo>
                  <a:lnTo>
                    <a:pt x="3055" y="287"/>
                  </a:lnTo>
                  <a:lnTo>
                    <a:pt x="3056" y="275"/>
                  </a:lnTo>
                  <a:lnTo>
                    <a:pt x="3057" y="263"/>
                  </a:lnTo>
                  <a:lnTo>
                    <a:pt x="3057" y="250"/>
                  </a:lnTo>
                  <a:lnTo>
                    <a:pt x="3057" y="237"/>
                  </a:lnTo>
                  <a:lnTo>
                    <a:pt x="3056" y="225"/>
                  </a:lnTo>
                  <a:lnTo>
                    <a:pt x="3055" y="213"/>
                  </a:lnTo>
                  <a:lnTo>
                    <a:pt x="3052" y="200"/>
                  </a:lnTo>
                  <a:lnTo>
                    <a:pt x="3050" y="188"/>
                  </a:lnTo>
                  <a:lnTo>
                    <a:pt x="3046" y="176"/>
                  </a:lnTo>
                  <a:lnTo>
                    <a:pt x="3042" y="164"/>
                  </a:lnTo>
                  <a:lnTo>
                    <a:pt x="3037" y="152"/>
                  </a:lnTo>
                  <a:lnTo>
                    <a:pt x="3032" y="140"/>
                  </a:lnTo>
                  <a:lnTo>
                    <a:pt x="3026" y="129"/>
                  </a:lnTo>
                  <a:lnTo>
                    <a:pt x="3020" y="118"/>
                  </a:lnTo>
                  <a:lnTo>
                    <a:pt x="3013" y="108"/>
                  </a:lnTo>
                  <a:lnTo>
                    <a:pt x="3005" y="98"/>
                  </a:lnTo>
                  <a:lnTo>
                    <a:pt x="2998" y="88"/>
                  </a:lnTo>
                  <a:lnTo>
                    <a:pt x="2988" y="79"/>
                  </a:lnTo>
                  <a:lnTo>
                    <a:pt x="2980" y="71"/>
                  </a:lnTo>
                  <a:lnTo>
                    <a:pt x="2971" y="61"/>
                  </a:lnTo>
                  <a:lnTo>
                    <a:pt x="2962" y="54"/>
                  </a:lnTo>
                  <a:lnTo>
                    <a:pt x="2952" y="46"/>
                  </a:lnTo>
                  <a:lnTo>
                    <a:pt x="2942" y="40"/>
                  </a:lnTo>
                  <a:lnTo>
                    <a:pt x="2932" y="33"/>
                  </a:lnTo>
                  <a:lnTo>
                    <a:pt x="2921" y="28"/>
                  </a:lnTo>
                  <a:lnTo>
                    <a:pt x="2910" y="22"/>
                  </a:lnTo>
                  <a:lnTo>
                    <a:pt x="2899" y="18"/>
                  </a:lnTo>
                  <a:lnTo>
                    <a:pt x="2888" y="13"/>
                  </a:lnTo>
                  <a:lnTo>
                    <a:pt x="2877" y="10"/>
                  </a:lnTo>
                  <a:lnTo>
                    <a:pt x="2865" y="7"/>
                  </a:lnTo>
                  <a:lnTo>
                    <a:pt x="2853" y="4"/>
                  </a:lnTo>
                  <a:lnTo>
                    <a:pt x="2841" y="2"/>
                  </a:lnTo>
                  <a:lnTo>
                    <a:pt x="2829" y="1"/>
                  </a:lnTo>
                  <a:lnTo>
                    <a:pt x="2816" y="0"/>
                  </a:lnTo>
                  <a:lnTo>
                    <a:pt x="2804" y="0"/>
                  </a:lnTo>
                  <a:lnTo>
                    <a:pt x="2792" y="0"/>
                  </a:lnTo>
                  <a:lnTo>
                    <a:pt x="2780" y="1"/>
                  </a:lnTo>
                  <a:lnTo>
                    <a:pt x="2767" y="3"/>
                  </a:lnTo>
                  <a:lnTo>
                    <a:pt x="2755" y="5"/>
                  </a:lnTo>
                  <a:lnTo>
                    <a:pt x="2743" y="8"/>
                  </a:lnTo>
                  <a:lnTo>
                    <a:pt x="2731" y="11"/>
                  </a:lnTo>
                  <a:lnTo>
                    <a:pt x="2719" y="15"/>
                  </a:lnTo>
                  <a:lnTo>
                    <a:pt x="2707" y="20"/>
                  </a:lnTo>
                  <a:lnTo>
                    <a:pt x="2700" y="25"/>
                  </a:lnTo>
                  <a:lnTo>
                    <a:pt x="2694" y="29"/>
                  </a:lnTo>
                  <a:lnTo>
                    <a:pt x="2584" y="79"/>
                  </a:lnTo>
                  <a:lnTo>
                    <a:pt x="2475" y="130"/>
                  </a:lnTo>
                  <a:lnTo>
                    <a:pt x="2368" y="184"/>
                  </a:lnTo>
                  <a:lnTo>
                    <a:pt x="2262" y="241"/>
                  </a:lnTo>
                  <a:lnTo>
                    <a:pt x="2157" y="300"/>
                  </a:lnTo>
                  <a:lnTo>
                    <a:pt x="2054" y="361"/>
                  </a:lnTo>
                  <a:lnTo>
                    <a:pt x="1951" y="426"/>
                  </a:lnTo>
                  <a:lnTo>
                    <a:pt x="1851" y="492"/>
                  </a:lnTo>
                  <a:lnTo>
                    <a:pt x="1752" y="561"/>
                  </a:lnTo>
                  <a:lnTo>
                    <a:pt x="1655" y="633"/>
                  </a:lnTo>
                  <a:lnTo>
                    <a:pt x="1559" y="707"/>
                  </a:lnTo>
                  <a:lnTo>
                    <a:pt x="1465" y="783"/>
                  </a:lnTo>
                  <a:lnTo>
                    <a:pt x="1373" y="862"/>
                  </a:lnTo>
                  <a:lnTo>
                    <a:pt x="1282" y="943"/>
                  </a:lnTo>
                  <a:lnTo>
                    <a:pt x="1194" y="1026"/>
                  </a:lnTo>
                  <a:lnTo>
                    <a:pt x="1107" y="1112"/>
                  </a:lnTo>
                  <a:lnTo>
                    <a:pt x="1022" y="1199"/>
                  </a:lnTo>
                  <a:lnTo>
                    <a:pt x="939" y="1290"/>
                  </a:lnTo>
                  <a:lnTo>
                    <a:pt x="859" y="1382"/>
                  </a:lnTo>
                  <a:lnTo>
                    <a:pt x="779" y="1477"/>
                  </a:lnTo>
                  <a:lnTo>
                    <a:pt x="703" y="1573"/>
                  </a:lnTo>
                  <a:lnTo>
                    <a:pt x="629" y="1672"/>
                  </a:lnTo>
                  <a:lnTo>
                    <a:pt x="557" y="1773"/>
                  </a:lnTo>
                  <a:lnTo>
                    <a:pt x="487" y="1876"/>
                  </a:lnTo>
                  <a:lnTo>
                    <a:pt x="419" y="1981"/>
                  </a:lnTo>
                  <a:lnTo>
                    <a:pt x="355" y="2088"/>
                  </a:lnTo>
                  <a:lnTo>
                    <a:pt x="293" y="2197"/>
                  </a:lnTo>
                  <a:lnTo>
                    <a:pt x="232" y="2309"/>
                  </a:lnTo>
                  <a:lnTo>
                    <a:pt x="175" y="2422"/>
                  </a:lnTo>
                  <a:lnTo>
                    <a:pt x="120" y="2537"/>
                  </a:lnTo>
                  <a:lnTo>
                    <a:pt x="67" y="2655"/>
                  </a:lnTo>
                  <a:lnTo>
                    <a:pt x="18" y="2773"/>
                  </a:lnTo>
                  <a:lnTo>
                    <a:pt x="14" y="2786"/>
                  </a:lnTo>
                  <a:lnTo>
                    <a:pt x="10" y="2798"/>
                  </a:lnTo>
                  <a:lnTo>
                    <a:pt x="7" y="2811"/>
                  </a:lnTo>
                  <a:lnTo>
                    <a:pt x="4" y="2823"/>
                  </a:lnTo>
                  <a:lnTo>
                    <a:pt x="2" y="2835"/>
                  </a:lnTo>
                  <a:lnTo>
                    <a:pt x="1" y="2847"/>
                  </a:lnTo>
                  <a:lnTo>
                    <a:pt x="0" y="2860"/>
                  </a:lnTo>
                  <a:lnTo>
                    <a:pt x="0" y="2872"/>
                  </a:lnTo>
                  <a:lnTo>
                    <a:pt x="1" y="2884"/>
                  </a:lnTo>
                  <a:lnTo>
                    <a:pt x="2" y="2896"/>
                  </a:lnTo>
                  <a:lnTo>
                    <a:pt x="4" y="2908"/>
                  </a:lnTo>
                  <a:lnTo>
                    <a:pt x="6" y="2920"/>
                  </a:lnTo>
                  <a:lnTo>
                    <a:pt x="9" y="2931"/>
                  </a:lnTo>
                  <a:lnTo>
                    <a:pt x="12" y="2943"/>
                  </a:lnTo>
                  <a:lnTo>
                    <a:pt x="16" y="2955"/>
                  </a:lnTo>
                  <a:lnTo>
                    <a:pt x="21" y="2966"/>
                  </a:lnTo>
                  <a:lnTo>
                    <a:pt x="26" y="2977"/>
                  </a:lnTo>
                  <a:lnTo>
                    <a:pt x="31" y="2988"/>
                  </a:lnTo>
                  <a:lnTo>
                    <a:pt x="37" y="2998"/>
                  </a:lnTo>
                  <a:lnTo>
                    <a:pt x="44" y="3008"/>
                  </a:lnTo>
                  <a:lnTo>
                    <a:pt x="51" y="3018"/>
                  </a:lnTo>
                  <a:lnTo>
                    <a:pt x="58" y="3028"/>
                  </a:lnTo>
                  <a:lnTo>
                    <a:pt x="66" y="3037"/>
                  </a:lnTo>
                  <a:lnTo>
                    <a:pt x="75" y="3045"/>
                  </a:lnTo>
                  <a:lnTo>
                    <a:pt x="83" y="3054"/>
                  </a:lnTo>
                  <a:lnTo>
                    <a:pt x="93" y="3062"/>
                  </a:lnTo>
                  <a:lnTo>
                    <a:pt x="103" y="3069"/>
                  </a:lnTo>
                  <a:lnTo>
                    <a:pt x="114" y="3077"/>
                  </a:lnTo>
                  <a:lnTo>
                    <a:pt x="124" y="3083"/>
                  </a:lnTo>
                  <a:lnTo>
                    <a:pt x="135" y="3089"/>
                  </a:lnTo>
                  <a:lnTo>
                    <a:pt x="147" y="3095"/>
                  </a:lnTo>
                  <a:lnTo>
                    <a:pt x="159" y="3100"/>
                  </a:lnTo>
                  <a:lnTo>
                    <a:pt x="171" y="3105"/>
                  </a:lnTo>
                  <a:lnTo>
                    <a:pt x="183" y="3108"/>
                  </a:lnTo>
                  <a:lnTo>
                    <a:pt x="195" y="3112"/>
                  </a:lnTo>
                  <a:lnTo>
                    <a:pt x="207" y="3114"/>
                  </a:lnTo>
                  <a:lnTo>
                    <a:pt x="219" y="3116"/>
                  </a:lnTo>
                  <a:lnTo>
                    <a:pt x="232" y="3117"/>
                  </a:lnTo>
                  <a:lnTo>
                    <a:pt x="244" y="3119"/>
                  </a:lnTo>
                  <a:lnTo>
                    <a:pt x="256" y="3119"/>
                  </a:lnTo>
                  <a:lnTo>
                    <a:pt x="268" y="3119"/>
                  </a:lnTo>
                  <a:lnTo>
                    <a:pt x="280" y="3116"/>
                  </a:lnTo>
                  <a:lnTo>
                    <a:pt x="293" y="3115"/>
                  </a:lnTo>
                  <a:lnTo>
                    <a:pt x="305" y="3112"/>
                  </a:lnTo>
                  <a:lnTo>
                    <a:pt x="317" y="3110"/>
                  </a:lnTo>
                  <a:lnTo>
                    <a:pt x="328" y="3106"/>
                  </a:lnTo>
                  <a:lnTo>
                    <a:pt x="339" y="3102"/>
                  </a:lnTo>
                  <a:lnTo>
                    <a:pt x="351" y="3098"/>
                  </a:lnTo>
                  <a:lnTo>
                    <a:pt x="361" y="3093"/>
                  </a:lnTo>
                  <a:lnTo>
                    <a:pt x="372" y="3088"/>
                  </a:lnTo>
                  <a:lnTo>
                    <a:pt x="382" y="3082"/>
                  </a:lnTo>
                  <a:lnTo>
                    <a:pt x="393" y="3075"/>
                  </a:lnTo>
                  <a:lnTo>
                    <a:pt x="402" y="3068"/>
                  </a:lnTo>
                  <a:lnTo>
                    <a:pt x="412" y="3061"/>
                  </a:lnTo>
                  <a:lnTo>
                    <a:pt x="421" y="3053"/>
                  </a:lnTo>
                  <a:lnTo>
                    <a:pt x="430" y="3044"/>
                  </a:lnTo>
                  <a:lnTo>
                    <a:pt x="438" y="3035"/>
                  </a:lnTo>
                  <a:lnTo>
                    <a:pt x="446" y="3026"/>
                  </a:lnTo>
                  <a:lnTo>
                    <a:pt x="455" y="3016"/>
                  </a:lnTo>
                  <a:lnTo>
                    <a:pt x="462" y="3006"/>
                  </a:lnTo>
                  <a:lnTo>
                    <a:pt x="469" y="2996"/>
                  </a:lnTo>
                  <a:lnTo>
                    <a:pt x="475" y="2984"/>
                  </a:lnTo>
                  <a:lnTo>
                    <a:pt x="480" y="2973"/>
                  </a:lnTo>
                  <a:lnTo>
                    <a:pt x="486" y="2961"/>
                  </a:lnTo>
                  <a:lnTo>
                    <a:pt x="530" y="2853"/>
                  </a:lnTo>
                  <a:lnTo>
                    <a:pt x="577" y="2746"/>
                  </a:lnTo>
                  <a:lnTo>
                    <a:pt x="627" y="2643"/>
                  </a:lnTo>
                  <a:lnTo>
                    <a:pt x="679" y="2540"/>
                  </a:lnTo>
                  <a:lnTo>
                    <a:pt x="733" y="2439"/>
                  </a:lnTo>
                  <a:lnTo>
                    <a:pt x="790" y="2340"/>
                  </a:lnTo>
                  <a:lnTo>
                    <a:pt x="849" y="2243"/>
                  </a:lnTo>
                  <a:lnTo>
                    <a:pt x="909" y="2148"/>
                  </a:lnTo>
                  <a:lnTo>
                    <a:pt x="973" y="2055"/>
                  </a:lnTo>
                  <a:lnTo>
                    <a:pt x="1038" y="1964"/>
                  </a:lnTo>
                  <a:lnTo>
                    <a:pt x="1104" y="1874"/>
                  </a:lnTo>
                  <a:lnTo>
                    <a:pt x="1174" y="1787"/>
                  </a:lnTo>
                  <a:lnTo>
                    <a:pt x="1245" y="1701"/>
                  </a:lnTo>
                  <a:lnTo>
                    <a:pt x="1319" y="1618"/>
                  </a:lnTo>
                  <a:lnTo>
                    <a:pt x="1393" y="1536"/>
                  </a:lnTo>
                  <a:lnTo>
                    <a:pt x="1470" y="1458"/>
                  </a:lnTo>
                  <a:lnTo>
                    <a:pt x="1548" y="1380"/>
                  </a:lnTo>
                  <a:lnTo>
                    <a:pt x="1628" y="1305"/>
                  </a:lnTo>
                  <a:lnTo>
                    <a:pt x="1710" y="1231"/>
                  </a:lnTo>
                  <a:lnTo>
                    <a:pt x="1793" y="1161"/>
                  </a:lnTo>
                  <a:lnTo>
                    <a:pt x="1879" y="1092"/>
                  </a:lnTo>
                  <a:lnTo>
                    <a:pt x="1965" y="1025"/>
                  </a:lnTo>
                  <a:lnTo>
                    <a:pt x="2053" y="961"/>
                  </a:lnTo>
                  <a:lnTo>
                    <a:pt x="2142" y="898"/>
                  </a:lnTo>
                  <a:lnTo>
                    <a:pt x="2234" y="839"/>
                  </a:lnTo>
                  <a:lnTo>
                    <a:pt x="2326" y="781"/>
                  </a:lnTo>
                  <a:lnTo>
                    <a:pt x="2419" y="725"/>
                  </a:lnTo>
                  <a:lnTo>
                    <a:pt x="2515" y="672"/>
                  </a:lnTo>
                  <a:lnTo>
                    <a:pt x="2610" y="622"/>
                  </a:lnTo>
                  <a:lnTo>
                    <a:pt x="2708" y="572"/>
                  </a:lnTo>
                  <a:lnTo>
                    <a:pt x="2805" y="526"/>
                  </a:lnTo>
                  <a:lnTo>
                    <a:pt x="2905" y="483"/>
                  </a:lnTo>
                  <a:lnTo>
                    <a:pt x="2905" y="4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26" name="îṥļïḑè">
              <a:extLst>
                <a:ext uri="{FF2B5EF4-FFF2-40B4-BE49-F238E27FC236}">
                  <a16:creationId xmlns:a16="http://schemas.microsoft.com/office/drawing/2014/main" id="{BE5790DE-96D3-4DCB-9EB4-210D9EE18F42}"/>
                </a:ext>
              </a:extLst>
            </p:cNvPr>
            <p:cNvSpPr/>
            <p:nvPr/>
          </p:nvSpPr>
          <p:spPr bwMode="auto">
            <a:xfrm>
              <a:off x="7709827" y="2267053"/>
              <a:ext cx="62274" cy="82779"/>
            </a:xfrm>
            <a:custGeom>
              <a:avLst/>
              <a:gdLst>
                <a:gd name="T0" fmla="*/ 503 w 3018"/>
                <a:gd name="T1" fmla="*/ 504 h 4030"/>
                <a:gd name="T2" fmla="*/ 2515 w 3018"/>
                <a:gd name="T3" fmla="*/ 3526 h 4030"/>
                <a:gd name="T4" fmla="*/ 1386 w 3018"/>
                <a:gd name="T5" fmla="*/ 175 h 4030"/>
                <a:gd name="T6" fmla="*/ 1320 w 3018"/>
                <a:gd name="T7" fmla="*/ 110 h 4030"/>
                <a:gd name="T8" fmla="*/ 1244 w 3018"/>
                <a:gd name="T9" fmla="*/ 60 h 4030"/>
                <a:gd name="T10" fmla="*/ 1159 w 3018"/>
                <a:gd name="T11" fmla="*/ 24 h 4030"/>
                <a:gd name="T12" fmla="*/ 1069 w 3018"/>
                <a:gd name="T13" fmla="*/ 3 h 4030"/>
                <a:gd name="T14" fmla="*/ 503 w 3018"/>
                <a:gd name="T15" fmla="*/ 0 h 4030"/>
                <a:gd name="T16" fmla="*/ 427 w 3018"/>
                <a:gd name="T17" fmla="*/ 6 h 4030"/>
                <a:gd name="T18" fmla="*/ 353 w 3018"/>
                <a:gd name="T19" fmla="*/ 23 h 4030"/>
                <a:gd name="T20" fmla="*/ 285 w 3018"/>
                <a:gd name="T21" fmla="*/ 50 h 4030"/>
                <a:gd name="T22" fmla="*/ 222 w 3018"/>
                <a:gd name="T23" fmla="*/ 86 h 4030"/>
                <a:gd name="T24" fmla="*/ 165 w 3018"/>
                <a:gd name="T25" fmla="*/ 130 h 4030"/>
                <a:gd name="T26" fmla="*/ 115 w 3018"/>
                <a:gd name="T27" fmla="*/ 183 h 4030"/>
                <a:gd name="T28" fmla="*/ 74 w 3018"/>
                <a:gd name="T29" fmla="*/ 242 h 4030"/>
                <a:gd name="T30" fmla="*/ 40 w 3018"/>
                <a:gd name="T31" fmla="*/ 308 h 4030"/>
                <a:gd name="T32" fmla="*/ 16 w 3018"/>
                <a:gd name="T33" fmla="*/ 377 h 4030"/>
                <a:gd name="T34" fmla="*/ 3 w 3018"/>
                <a:gd name="T35" fmla="*/ 452 h 4030"/>
                <a:gd name="T36" fmla="*/ 0 w 3018"/>
                <a:gd name="T37" fmla="*/ 3526 h 4030"/>
                <a:gd name="T38" fmla="*/ 6 w 3018"/>
                <a:gd name="T39" fmla="*/ 3604 h 4030"/>
                <a:gd name="T40" fmla="*/ 23 w 3018"/>
                <a:gd name="T41" fmla="*/ 3676 h 4030"/>
                <a:gd name="T42" fmla="*/ 50 w 3018"/>
                <a:gd name="T43" fmla="*/ 3745 h 4030"/>
                <a:gd name="T44" fmla="*/ 86 w 3018"/>
                <a:gd name="T45" fmla="*/ 3808 h 4030"/>
                <a:gd name="T46" fmla="*/ 131 w 3018"/>
                <a:gd name="T47" fmla="*/ 3866 h 4030"/>
                <a:gd name="T48" fmla="*/ 183 w 3018"/>
                <a:gd name="T49" fmla="*/ 3915 h 4030"/>
                <a:gd name="T50" fmla="*/ 243 w 3018"/>
                <a:gd name="T51" fmla="*/ 3957 h 4030"/>
                <a:gd name="T52" fmla="*/ 307 w 3018"/>
                <a:gd name="T53" fmla="*/ 3991 h 4030"/>
                <a:gd name="T54" fmla="*/ 378 w 3018"/>
                <a:gd name="T55" fmla="*/ 4015 h 4030"/>
                <a:gd name="T56" fmla="*/ 452 w 3018"/>
                <a:gd name="T57" fmla="*/ 4028 h 4030"/>
                <a:gd name="T58" fmla="*/ 2515 w 3018"/>
                <a:gd name="T59" fmla="*/ 4030 h 4030"/>
                <a:gd name="T60" fmla="*/ 2592 w 3018"/>
                <a:gd name="T61" fmla="*/ 4025 h 4030"/>
                <a:gd name="T62" fmla="*/ 2665 w 3018"/>
                <a:gd name="T63" fmla="*/ 4008 h 4030"/>
                <a:gd name="T64" fmla="*/ 2733 w 3018"/>
                <a:gd name="T65" fmla="*/ 3981 h 4030"/>
                <a:gd name="T66" fmla="*/ 2797 w 3018"/>
                <a:gd name="T67" fmla="*/ 3944 h 4030"/>
                <a:gd name="T68" fmla="*/ 2853 w 3018"/>
                <a:gd name="T69" fmla="*/ 3899 h 4030"/>
                <a:gd name="T70" fmla="*/ 2903 w 3018"/>
                <a:gd name="T71" fmla="*/ 3848 h 4030"/>
                <a:gd name="T72" fmla="*/ 2946 w 3018"/>
                <a:gd name="T73" fmla="*/ 3788 h 4030"/>
                <a:gd name="T74" fmla="*/ 2979 w 3018"/>
                <a:gd name="T75" fmla="*/ 3723 h 4030"/>
                <a:gd name="T76" fmla="*/ 3002 w 3018"/>
                <a:gd name="T77" fmla="*/ 3652 h 4030"/>
                <a:gd name="T78" fmla="*/ 3015 w 3018"/>
                <a:gd name="T79" fmla="*/ 3578 h 4030"/>
                <a:gd name="T80" fmla="*/ 3018 w 3018"/>
                <a:gd name="T81" fmla="*/ 2770 h 4030"/>
                <a:gd name="T82" fmla="*/ 3015 w 3018"/>
                <a:gd name="T83" fmla="*/ 2715 h 4030"/>
                <a:gd name="T84" fmla="*/ 3006 w 3018"/>
                <a:gd name="T85" fmla="*/ 2661 h 4030"/>
                <a:gd name="T86" fmla="*/ 2991 w 3018"/>
                <a:gd name="T87" fmla="*/ 2607 h 4030"/>
                <a:gd name="T88" fmla="*/ 2970 w 3018"/>
                <a:gd name="T89" fmla="*/ 2556 h 4030"/>
                <a:gd name="T90" fmla="*/ 2944 w 3018"/>
                <a:gd name="T91" fmla="*/ 2506 h 40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18" h="4030">
                  <a:moveTo>
                    <a:pt x="2515" y="3526"/>
                  </a:moveTo>
                  <a:lnTo>
                    <a:pt x="503" y="3526"/>
                  </a:lnTo>
                  <a:lnTo>
                    <a:pt x="503" y="504"/>
                  </a:lnTo>
                  <a:lnTo>
                    <a:pt x="1006" y="504"/>
                  </a:lnTo>
                  <a:lnTo>
                    <a:pt x="2515" y="2770"/>
                  </a:lnTo>
                  <a:lnTo>
                    <a:pt x="2515" y="3526"/>
                  </a:lnTo>
                  <a:close/>
                  <a:moveTo>
                    <a:pt x="1425" y="224"/>
                  </a:moveTo>
                  <a:lnTo>
                    <a:pt x="1407" y="199"/>
                  </a:lnTo>
                  <a:lnTo>
                    <a:pt x="1386" y="175"/>
                  </a:lnTo>
                  <a:lnTo>
                    <a:pt x="1365" y="152"/>
                  </a:lnTo>
                  <a:lnTo>
                    <a:pt x="1343" y="130"/>
                  </a:lnTo>
                  <a:lnTo>
                    <a:pt x="1320" y="110"/>
                  </a:lnTo>
                  <a:lnTo>
                    <a:pt x="1296" y="92"/>
                  </a:lnTo>
                  <a:lnTo>
                    <a:pt x="1270" y="75"/>
                  </a:lnTo>
                  <a:lnTo>
                    <a:pt x="1244" y="60"/>
                  </a:lnTo>
                  <a:lnTo>
                    <a:pt x="1216" y="46"/>
                  </a:lnTo>
                  <a:lnTo>
                    <a:pt x="1188" y="34"/>
                  </a:lnTo>
                  <a:lnTo>
                    <a:pt x="1159" y="24"/>
                  </a:lnTo>
                  <a:lnTo>
                    <a:pt x="1130" y="16"/>
                  </a:lnTo>
                  <a:lnTo>
                    <a:pt x="1100" y="9"/>
                  </a:lnTo>
                  <a:lnTo>
                    <a:pt x="1069" y="3"/>
                  </a:lnTo>
                  <a:lnTo>
                    <a:pt x="1037" y="1"/>
                  </a:lnTo>
                  <a:lnTo>
                    <a:pt x="1006" y="0"/>
                  </a:lnTo>
                  <a:lnTo>
                    <a:pt x="503" y="0"/>
                  </a:lnTo>
                  <a:lnTo>
                    <a:pt x="477" y="0"/>
                  </a:lnTo>
                  <a:lnTo>
                    <a:pt x="452" y="2"/>
                  </a:lnTo>
                  <a:lnTo>
                    <a:pt x="427" y="6"/>
                  </a:lnTo>
                  <a:lnTo>
                    <a:pt x="402" y="11"/>
                  </a:lnTo>
                  <a:lnTo>
                    <a:pt x="378" y="16"/>
                  </a:lnTo>
                  <a:lnTo>
                    <a:pt x="353" y="23"/>
                  </a:lnTo>
                  <a:lnTo>
                    <a:pt x="330" y="31"/>
                  </a:lnTo>
                  <a:lnTo>
                    <a:pt x="307" y="40"/>
                  </a:lnTo>
                  <a:lnTo>
                    <a:pt x="285" y="50"/>
                  </a:lnTo>
                  <a:lnTo>
                    <a:pt x="264" y="61"/>
                  </a:lnTo>
                  <a:lnTo>
                    <a:pt x="243" y="73"/>
                  </a:lnTo>
                  <a:lnTo>
                    <a:pt x="222" y="86"/>
                  </a:lnTo>
                  <a:lnTo>
                    <a:pt x="203" y="100"/>
                  </a:lnTo>
                  <a:lnTo>
                    <a:pt x="183" y="115"/>
                  </a:lnTo>
                  <a:lnTo>
                    <a:pt x="165" y="130"/>
                  </a:lnTo>
                  <a:lnTo>
                    <a:pt x="148" y="148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100" y="202"/>
                  </a:lnTo>
                  <a:lnTo>
                    <a:pt x="86" y="222"/>
                  </a:lnTo>
                  <a:lnTo>
                    <a:pt x="74" y="242"/>
                  </a:lnTo>
                  <a:lnTo>
                    <a:pt x="61" y="263"/>
                  </a:lnTo>
                  <a:lnTo>
                    <a:pt x="50" y="286"/>
                  </a:lnTo>
                  <a:lnTo>
                    <a:pt x="40" y="308"/>
                  </a:lnTo>
                  <a:lnTo>
                    <a:pt x="31" y="331"/>
                  </a:lnTo>
                  <a:lnTo>
                    <a:pt x="23" y="354"/>
                  </a:lnTo>
                  <a:lnTo>
                    <a:pt x="16" y="377"/>
                  </a:lnTo>
                  <a:lnTo>
                    <a:pt x="10" y="403"/>
                  </a:lnTo>
                  <a:lnTo>
                    <a:pt x="6" y="427"/>
                  </a:lnTo>
                  <a:lnTo>
                    <a:pt x="3" y="452"/>
                  </a:lnTo>
                  <a:lnTo>
                    <a:pt x="1" y="478"/>
                  </a:lnTo>
                  <a:lnTo>
                    <a:pt x="0" y="504"/>
                  </a:lnTo>
                  <a:lnTo>
                    <a:pt x="0" y="3526"/>
                  </a:lnTo>
                  <a:lnTo>
                    <a:pt x="1" y="3552"/>
                  </a:lnTo>
                  <a:lnTo>
                    <a:pt x="3" y="3578"/>
                  </a:lnTo>
                  <a:lnTo>
                    <a:pt x="6" y="3604"/>
                  </a:lnTo>
                  <a:lnTo>
                    <a:pt x="10" y="3628"/>
                  </a:lnTo>
                  <a:lnTo>
                    <a:pt x="16" y="3652"/>
                  </a:lnTo>
                  <a:lnTo>
                    <a:pt x="23" y="3676"/>
                  </a:lnTo>
                  <a:lnTo>
                    <a:pt x="31" y="3699"/>
                  </a:lnTo>
                  <a:lnTo>
                    <a:pt x="40" y="3723"/>
                  </a:lnTo>
                  <a:lnTo>
                    <a:pt x="50" y="3745"/>
                  </a:lnTo>
                  <a:lnTo>
                    <a:pt x="61" y="3767"/>
                  </a:lnTo>
                  <a:lnTo>
                    <a:pt x="74" y="3788"/>
                  </a:lnTo>
                  <a:lnTo>
                    <a:pt x="86" y="3808"/>
                  </a:lnTo>
                  <a:lnTo>
                    <a:pt x="100" y="3828"/>
                  </a:lnTo>
                  <a:lnTo>
                    <a:pt x="115" y="3848"/>
                  </a:lnTo>
                  <a:lnTo>
                    <a:pt x="131" y="3866"/>
                  </a:lnTo>
                  <a:lnTo>
                    <a:pt x="148" y="3883"/>
                  </a:lnTo>
                  <a:lnTo>
                    <a:pt x="165" y="3899"/>
                  </a:lnTo>
                  <a:lnTo>
                    <a:pt x="183" y="3915"/>
                  </a:lnTo>
                  <a:lnTo>
                    <a:pt x="203" y="3930"/>
                  </a:lnTo>
                  <a:lnTo>
                    <a:pt x="222" y="3944"/>
                  </a:lnTo>
                  <a:lnTo>
                    <a:pt x="243" y="3957"/>
                  </a:lnTo>
                  <a:lnTo>
                    <a:pt x="264" y="3969"/>
                  </a:lnTo>
                  <a:lnTo>
                    <a:pt x="285" y="3981"/>
                  </a:lnTo>
                  <a:lnTo>
                    <a:pt x="307" y="3991"/>
                  </a:lnTo>
                  <a:lnTo>
                    <a:pt x="330" y="4000"/>
                  </a:lnTo>
                  <a:lnTo>
                    <a:pt x="353" y="4008"/>
                  </a:lnTo>
                  <a:lnTo>
                    <a:pt x="378" y="4015"/>
                  </a:lnTo>
                  <a:lnTo>
                    <a:pt x="402" y="4020"/>
                  </a:lnTo>
                  <a:lnTo>
                    <a:pt x="427" y="4025"/>
                  </a:lnTo>
                  <a:lnTo>
                    <a:pt x="452" y="4028"/>
                  </a:lnTo>
                  <a:lnTo>
                    <a:pt x="477" y="4030"/>
                  </a:lnTo>
                  <a:lnTo>
                    <a:pt x="503" y="4030"/>
                  </a:lnTo>
                  <a:lnTo>
                    <a:pt x="2515" y="4030"/>
                  </a:lnTo>
                  <a:lnTo>
                    <a:pt x="2541" y="4030"/>
                  </a:lnTo>
                  <a:lnTo>
                    <a:pt x="2566" y="4028"/>
                  </a:lnTo>
                  <a:lnTo>
                    <a:pt x="2592" y="4025"/>
                  </a:lnTo>
                  <a:lnTo>
                    <a:pt x="2617" y="4020"/>
                  </a:lnTo>
                  <a:lnTo>
                    <a:pt x="2641" y="4015"/>
                  </a:lnTo>
                  <a:lnTo>
                    <a:pt x="2665" y="4008"/>
                  </a:lnTo>
                  <a:lnTo>
                    <a:pt x="2688" y="4000"/>
                  </a:lnTo>
                  <a:lnTo>
                    <a:pt x="2711" y="3991"/>
                  </a:lnTo>
                  <a:lnTo>
                    <a:pt x="2733" y="3981"/>
                  </a:lnTo>
                  <a:lnTo>
                    <a:pt x="2756" y="3969"/>
                  </a:lnTo>
                  <a:lnTo>
                    <a:pt x="2777" y="3957"/>
                  </a:lnTo>
                  <a:lnTo>
                    <a:pt x="2797" y="3944"/>
                  </a:lnTo>
                  <a:lnTo>
                    <a:pt x="2816" y="3930"/>
                  </a:lnTo>
                  <a:lnTo>
                    <a:pt x="2835" y="3915"/>
                  </a:lnTo>
                  <a:lnTo>
                    <a:pt x="2853" y="3899"/>
                  </a:lnTo>
                  <a:lnTo>
                    <a:pt x="2871" y="3883"/>
                  </a:lnTo>
                  <a:lnTo>
                    <a:pt x="2887" y="3866"/>
                  </a:lnTo>
                  <a:lnTo>
                    <a:pt x="2903" y="3848"/>
                  </a:lnTo>
                  <a:lnTo>
                    <a:pt x="2919" y="3828"/>
                  </a:lnTo>
                  <a:lnTo>
                    <a:pt x="2933" y="3808"/>
                  </a:lnTo>
                  <a:lnTo>
                    <a:pt x="2946" y="3788"/>
                  </a:lnTo>
                  <a:lnTo>
                    <a:pt x="2958" y="3767"/>
                  </a:lnTo>
                  <a:lnTo>
                    <a:pt x="2969" y="3745"/>
                  </a:lnTo>
                  <a:lnTo>
                    <a:pt x="2979" y="3723"/>
                  </a:lnTo>
                  <a:lnTo>
                    <a:pt x="2988" y="3699"/>
                  </a:lnTo>
                  <a:lnTo>
                    <a:pt x="2996" y="3676"/>
                  </a:lnTo>
                  <a:lnTo>
                    <a:pt x="3002" y="3652"/>
                  </a:lnTo>
                  <a:lnTo>
                    <a:pt x="3008" y="3628"/>
                  </a:lnTo>
                  <a:lnTo>
                    <a:pt x="3012" y="3604"/>
                  </a:lnTo>
                  <a:lnTo>
                    <a:pt x="3015" y="3578"/>
                  </a:lnTo>
                  <a:lnTo>
                    <a:pt x="3017" y="3552"/>
                  </a:lnTo>
                  <a:lnTo>
                    <a:pt x="3018" y="3526"/>
                  </a:lnTo>
                  <a:lnTo>
                    <a:pt x="3018" y="2770"/>
                  </a:lnTo>
                  <a:lnTo>
                    <a:pt x="3018" y="2752"/>
                  </a:lnTo>
                  <a:lnTo>
                    <a:pt x="3017" y="2734"/>
                  </a:lnTo>
                  <a:lnTo>
                    <a:pt x="3015" y="2715"/>
                  </a:lnTo>
                  <a:lnTo>
                    <a:pt x="3013" y="2697"/>
                  </a:lnTo>
                  <a:lnTo>
                    <a:pt x="3010" y="2679"/>
                  </a:lnTo>
                  <a:lnTo>
                    <a:pt x="3006" y="2661"/>
                  </a:lnTo>
                  <a:lnTo>
                    <a:pt x="3002" y="2642"/>
                  </a:lnTo>
                  <a:lnTo>
                    <a:pt x="2997" y="2625"/>
                  </a:lnTo>
                  <a:lnTo>
                    <a:pt x="2991" y="2607"/>
                  </a:lnTo>
                  <a:lnTo>
                    <a:pt x="2985" y="2590"/>
                  </a:lnTo>
                  <a:lnTo>
                    <a:pt x="2978" y="2573"/>
                  </a:lnTo>
                  <a:lnTo>
                    <a:pt x="2970" y="2556"/>
                  </a:lnTo>
                  <a:lnTo>
                    <a:pt x="2962" y="2540"/>
                  </a:lnTo>
                  <a:lnTo>
                    <a:pt x="2953" y="2523"/>
                  </a:lnTo>
                  <a:lnTo>
                    <a:pt x="2944" y="2506"/>
                  </a:lnTo>
                  <a:lnTo>
                    <a:pt x="2934" y="2491"/>
                  </a:lnTo>
                  <a:lnTo>
                    <a:pt x="1425" y="2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27" name="íśliḋê">
              <a:extLst>
                <a:ext uri="{FF2B5EF4-FFF2-40B4-BE49-F238E27FC236}">
                  <a16:creationId xmlns:a16="http://schemas.microsoft.com/office/drawing/2014/main" id="{F0BE3DF9-EF57-4C5E-ADCC-94E3805CCB13}"/>
                </a:ext>
              </a:extLst>
            </p:cNvPr>
            <p:cNvSpPr/>
            <p:nvPr/>
          </p:nvSpPr>
          <p:spPr bwMode="auto">
            <a:xfrm>
              <a:off x="7482755" y="2184274"/>
              <a:ext cx="330356" cy="268841"/>
            </a:xfrm>
            <a:custGeom>
              <a:avLst/>
              <a:gdLst>
                <a:gd name="T0" fmla="*/ 14958 w 16095"/>
                <a:gd name="T1" fmla="*/ 10414 h 13098"/>
                <a:gd name="T2" fmla="*/ 14612 w 16095"/>
                <a:gd name="T3" fmla="*/ 10578 h 13098"/>
                <a:gd name="T4" fmla="*/ 13430 w 16095"/>
                <a:gd name="T5" fmla="*/ 9605 h 13098"/>
                <a:gd name="T6" fmla="*/ 12244 w 16095"/>
                <a:gd name="T7" fmla="*/ 9076 h 13098"/>
                <a:gd name="T8" fmla="*/ 10967 w 16095"/>
                <a:gd name="T9" fmla="*/ 9402 h 13098"/>
                <a:gd name="T10" fmla="*/ 10179 w 16095"/>
                <a:gd name="T11" fmla="*/ 10419 h 13098"/>
                <a:gd name="T12" fmla="*/ 6951 w 16095"/>
                <a:gd name="T13" fmla="*/ 9661 h 13098"/>
                <a:gd name="T14" fmla="*/ 5791 w 16095"/>
                <a:gd name="T15" fmla="*/ 9085 h 13098"/>
                <a:gd name="T16" fmla="*/ 4497 w 16095"/>
                <a:gd name="T17" fmla="*/ 9359 h 13098"/>
                <a:gd name="T18" fmla="*/ 3670 w 16095"/>
                <a:gd name="T19" fmla="*/ 10341 h 13098"/>
                <a:gd name="T20" fmla="*/ 2737 w 16095"/>
                <a:gd name="T21" fmla="*/ 10493 h 13098"/>
                <a:gd name="T22" fmla="*/ 2526 w 16095"/>
                <a:gd name="T23" fmla="*/ 10177 h 13098"/>
                <a:gd name="T24" fmla="*/ 9773 w 16095"/>
                <a:gd name="T25" fmla="*/ 8381 h 13098"/>
                <a:gd name="T26" fmla="*/ 10495 w 16095"/>
                <a:gd name="T27" fmla="*/ 7502 h 13098"/>
                <a:gd name="T28" fmla="*/ 12812 w 16095"/>
                <a:gd name="T29" fmla="*/ 3586 h 13098"/>
                <a:gd name="T30" fmla="*/ 15062 w 16095"/>
                <a:gd name="T31" fmla="*/ 6889 h 13098"/>
                <a:gd name="T32" fmla="*/ 11820 w 16095"/>
                <a:gd name="T33" fmla="*/ 12058 h 13098"/>
                <a:gd name="T34" fmla="*/ 11211 w 16095"/>
                <a:gd name="T35" fmla="*/ 11606 h 13098"/>
                <a:gd name="T36" fmla="*/ 11098 w 16095"/>
                <a:gd name="T37" fmla="*/ 10831 h 13098"/>
                <a:gd name="T38" fmla="*/ 11550 w 16095"/>
                <a:gd name="T39" fmla="*/ 10221 h 13098"/>
                <a:gd name="T40" fmla="*/ 12323 w 16095"/>
                <a:gd name="T41" fmla="*/ 10107 h 13098"/>
                <a:gd name="T42" fmla="*/ 12931 w 16095"/>
                <a:gd name="T43" fmla="*/ 10561 h 13098"/>
                <a:gd name="T44" fmla="*/ 13046 w 16095"/>
                <a:gd name="T45" fmla="*/ 11335 h 13098"/>
                <a:gd name="T46" fmla="*/ 12593 w 16095"/>
                <a:gd name="T47" fmla="*/ 11944 h 13098"/>
                <a:gd name="T48" fmla="*/ 5330 w 16095"/>
                <a:gd name="T49" fmla="*/ 12070 h 13098"/>
                <a:gd name="T50" fmla="*/ 4699 w 16095"/>
                <a:gd name="T51" fmla="*/ 11646 h 13098"/>
                <a:gd name="T52" fmla="*/ 4548 w 16095"/>
                <a:gd name="T53" fmla="*/ 10880 h 13098"/>
                <a:gd name="T54" fmla="*/ 4970 w 16095"/>
                <a:gd name="T55" fmla="*/ 10247 h 13098"/>
                <a:gd name="T56" fmla="*/ 5736 w 16095"/>
                <a:gd name="T57" fmla="*/ 10096 h 13098"/>
                <a:gd name="T58" fmla="*/ 6368 w 16095"/>
                <a:gd name="T59" fmla="*/ 10520 h 13098"/>
                <a:gd name="T60" fmla="*/ 6518 w 16095"/>
                <a:gd name="T61" fmla="*/ 11286 h 13098"/>
                <a:gd name="T62" fmla="*/ 6095 w 16095"/>
                <a:gd name="T63" fmla="*/ 11918 h 13098"/>
                <a:gd name="T64" fmla="*/ 1432 w 16095"/>
                <a:gd name="T65" fmla="*/ 7551 h 13098"/>
                <a:gd name="T66" fmla="*/ 1106 w 16095"/>
                <a:gd name="T67" fmla="*/ 7355 h 13098"/>
                <a:gd name="T68" fmla="*/ 1009 w 16095"/>
                <a:gd name="T69" fmla="*/ 1460 h 13098"/>
                <a:gd name="T70" fmla="*/ 1189 w 16095"/>
                <a:gd name="T71" fmla="*/ 1122 h 13098"/>
                <a:gd name="T72" fmla="*/ 9080 w 16095"/>
                <a:gd name="T73" fmla="*/ 1008 h 13098"/>
                <a:gd name="T74" fmla="*/ 9426 w 16095"/>
                <a:gd name="T75" fmla="*/ 1172 h 13098"/>
                <a:gd name="T76" fmla="*/ 9556 w 16095"/>
                <a:gd name="T77" fmla="*/ 2519 h 13098"/>
                <a:gd name="T78" fmla="*/ 9442 w 16095"/>
                <a:gd name="T79" fmla="*/ 7374 h 13098"/>
                <a:gd name="T80" fmla="*/ 9105 w 16095"/>
                <a:gd name="T81" fmla="*/ 7554 h 13098"/>
                <a:gd name="T82" fmla="*/ 13480 w 16095"/>
                <a:gd name="T83" fmla="*/ 2820 h 13098"/>
                <a:gd name="T84" fmla="*/ 12808 w 16095"/>
                <a:gd name="T85" fmla="*/ 2537 h 13098"/>
                <a:gd name="T86" fmla="*/ 10413 w 16095"/>
                <a:gd name="T87" fmla="*/ 856 h 13098"/>
                <a:gd name="T88" fmla="*/ 9571 w 16095"/>
                <a:gd name="T89" fmla="*/ 92 h 13098"/>
                <a:gd name="T90" fmla="*/ 922 w 16095"/>
                <a:gd name="T91" fmla="*/ 119 h 13098"/>
                <a:gd name="T92" fmla="*/ 119 w 16095"/>
                <a:gd name="T93" fmla="*/ 924 h 13098"/>
                <a:gd name="T94" fmla="*/ 92 w 16095"/>
                <a:gd name="T95" fmla="*/ 7572 h 13098"/>
                <a:gd name="T96" fmla="*/ 855 w 16095"/>
                <a:gd name="T97" fmla="*/ 8415 h 13098"/>
                <a:gd name="T98" fmla="*/ 1557 w 16095"/>
                <a:gd name="T99" fmla="*/ 10453 h 13098"/>
                <a:gd name="T100" fmla="*/ 2236 w 16095"/>
                <a:gd name="T101" fmla="*/ 11368 h 13098"/>
                <a:gd name="T102" fmla="*/ 3702 w 16095"/>
                <a:gd name="T103" fmla="*/ 11901 h 13098"/>
                <a:gd name="T104" fmla="*/ 4567 w 16095"/>
                <a:gd name="T105" fmla="*/ 12848 h 13098"/>
                <a:gd name="T106" fmla="*/ 5876 w 16095"/>
                <a:gd name="T107" fmla="*/ 13069 h 13098"/>
                <a:gd name="T108" fmla="*/ 7006 w 16095"/>
                <a:gd name="T109" fmla="*/ 12446 h 13098"/>
                <a:gd name="T110" fmla="*/ 10208 w 16095"/>
                <a:gd name="T111" fmla="*/ 11824 h 13098"/>
                <a:gd name="T112" fmla="*/ 11035 w 16095"/>
                <a:gd name="T113" fmla="*/ 12807 h 13098"/>
                <a:gd name="T114" fmla="*/ 12330 w 16095"/>
                <a:gd name="T115" fmla="*/ 13081 h 13098"/>
                <a:gd name="T116" fmla="*/ 13489 w 16095"/>
                <a:gd name="T117" fmla="*/ 12505 h 13098"/>
                <a:gd name="T118" fmla="*/ 14740 w 16095"/>
                <a:gd name="T119" fmla="*/ 11579 h 13098"/>
                <a:gd name="T120" fmla="*/ 15750 w 16095"/>
                <a:gd name="T121" fmla="*/ 11036 h 13098"/>
                <a:gd name="T122" fmla="*/ 16095 w 16095"/>
                <a:gd name="T123" fmla="*/ 7025 h 13098"/>
                <a:gd name="T124" fmla="*/ 16023 w 16095"/>
                <a:gd name="T125" fmla="*/ 6588 h 130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95" h="13098">
                  <a:moveTo>
                    <a:pt x="15089" y="10075"/>
                  </a:moveTo>
                  <a:lnTo>
                    <a:pt x="15088" y="10101"/>
                  </a:lnTo>
                  <a:lnTo>
                    <a:pt x="15087" y="10127"/>
                  </a:lnTo>
                  <a:lnTo>
                    <a:pt x="15083" y="10152"/>
                  </a:lnTo>
                  <a:lnTo>
                    <a:pt x="15079" y="10177"/>
                  </a:lnTo>
                  <a:lnTo>
                    <a:pt x="15073" y="10201"/>
                  </a:lnTo>
                  <a:lnTo>
                    <a:pt x="15067" y="10225"/>
                  </a:lnTo>
                  <a:lnTo>
                    <a:pt x="15059" y="10248"/>
                  </a:lnTo>
                  <a:lnTo>
                    <a:pt x="15050" y="10272"/>
                  </a:lnTo>
                  <a:lnTo>
                    <a:pt x="15040" y="10294"/>
                  </a:lnTo>
                  <a:lnTo>
                    <a:pt x="15029" y="10316"/>
                  </a:lnTo>
                  <a:lnTo>
                    <a:pt x="15017" y="10337"/>
                  </a:lnTo>
                  <a:lnTo>
                    <a:pt x="15004" y="10357"/>
                  </a:lnTo>
                  <a:lnTo>
                    <a:pt x="14989" y="10376"/>
                  </a:lnTo>
                  <a:lnTo>
                    <a:pt x="14974" y="10396"/>
                  </a:lnTo>
                  <a:lnTo>
                    <a:pt x="14958" y="10414"/>
                  </a:lnTo>
                  <a:lnTo>
                    <a:pt x="14942" y="10432"/>
                  </a:lnTo>
                  <a:lnTo>
                    <a:pt x="14924" y="10448"/>
                  </a:lnTo>
                  <a:lnTo>
                    <a:pt x="14906" y="10464"/>
                  </a:lnTo>
                  <a:lnTo>
                    <a:pt x="14887" y="10479"/>
                  </a:lnTo>
                  <a:lnTo>
                    <a:pt x="14868" y="10493"/>
                  </a:lnTo>
                  <a:lnTo>
                    <a:pt x="14848" y="10506"/>
                  </a:lnTo>
                  <a:lnTo>
                    <a:pt x="14827" y="10519"/>
                  </a:lnTo>
                  <a:lnTo>
                    <a:pt x="14804" y="10530"/>
                  </a:lnTo>
                  <a:lnTo>
                    <a:pt x="14782" y="10540"/>
                  </a:lnTo>
                  <a:lnTo>
                    <a:pt x="14759" y="10549"/>
                  </a:lnTo>
                  <a:lnTo>
                    <a:pt x="14736" y="10557"/>
                  </a:lnTo>
                  <a:lnTo>
                    <a:pt x="14712" y="10563"/>
                  </a:lnTo>
                  <a:lnTo>
                    <a:pt x="14688" y="10569"/>
                  </a:lnTo>
                  <a:lnTo>
                    <a:pt x="14663" y="10573"/>
                  </a:lnTo>
                  <a:lnTo>
                    <a:pt x="14637" y="10577"/>
                  </a:lnTo>
                  <a:lnTo>
                    <a:pt x="14612" y="10578"/>
                  </a:lnTo>
                  <a:lnTo>
                    <a:pt x="14586" y="10579"/>
                  </a:lnTo>
                  <a:lnTo>
                    <a:pt x="14012" y="10579"/>
                  </a:lnTo>
                  <a:lnTo>
                    <a:pt x="13989" y="10498"/>
                  </a:lnTo>
                  <a:lnTo>
                    <a:pt x="13962" y="10419"/>
                  </a:lnTo>
                  <a:lnTo>
                    <a:pt x="13934" y="10341"/>
                  </a:lnTo>
                  <a:lnTo>
                    <a:pt x="13902" y="10266"/>
                  </a:lnTo>
                  <a:lnTo>
                    <a:pt x="13867" y="10191"/>
                  </a:lnTo>
                  <a:lnTo>
                    <a:pt x="13829" y="10117"/>
                  </a:lnTo>
                  <a:lnTo>
                    <a:pt x="13788" y="10047"/>
                  </a:lnTo>
                  <a:lnTo>
                    <a:pt x="13745" y="9977"/>
                  </a:lnTo>
                  <a:lnTo>
                    <a:pt x="13699" y="9910"/>
                  </a:lnTo>
                  <a:lnTo>
                    <a:pt x="13650" y="9844"/>
                  </a:lnTo>
                  <a:lnTo>
                    <a:pt x="13598" y="9781"/>
                  </a:lnTo>
                  <a:lnTo>
                    <a:pt x="13545" y="9719"/>
                  </a:lnTo>
                  <a:lnTo>
                    <a:pt x="13489" y="9661"/>
                  </a:lnTo>
                  <a:lnTo>
                    <a:pt x="13430" y="9605"/>
                  </a:lnTo>
                  <a:lnTo>
                    <a:pt x="13370" y="9550"/>
                  </a:lnTo>
                  <a:lnTo>
                    <a:pt x="13308" y="9499"/>
                  </a:lnTo>
                  <a:lnTo>
                    <a:pt x="13242" y="9449"/>
                  </a:lnTo>
                  <a:lnTo>
                    <a:pt x="13176" y="9402"/>
                  </a:lnTo>
                  <a:lnTo>
                    <a:pt x="13107" y="9359"/>
                  </a:lnTo>
                  <a:lnTo>
                    <a:pt x="13036" y="9317"/>
                  </a:lnTo>
                  <a:lnTo>
                    <a:pt x="12964" y="9279"/>
                  </a:lnTo>
                  <a:lnTo>
                    <a:pt x="12890" y="9244"/>
                  </a:lnTo>
                  <a:lnTo>
                    <a:pt x="12815" y="9212"/>
                  </a:lnTo>
                  <a:lnTo>
                    <a:pt x="12737" y="9182"/>
                  </a:lnTo>
                  <a:lnTo>
                    <a:pt x="12658" y="9156"/>
                  </a:lnTo>
                  <a:lnTo>
                    <a:pt x="12578" y="9133"/>
                  </a:lnTo>
                  <a:lnTo>
                    <a:pt x="12497" y="9113"/>
                  </a:lnTo>
                  <a:lnTo>
                    <a:pt x="12413" y="9097"/>
                  </a:lnTo>
                  <a:lnTo>
                    <a:pt x="12330" y="9085"/>
                  </a:lnTo>
                  <a:lnTo>
                    <a:pt x="12244" y="9076"/>
                  </a:lnTo>
                  <a:lnTo>
                    <a:pt x="12159" y="9070"/>
                  </a:lnTo>
                  <a:lnTo>
                    <a:pt x="12071" y="9068"/>
                  </a:lnTo>
                  <a:lnTo>
                    <a:pt x="11984" y="9070"/>
                  </a:lnTo>
                  <a:lnTo>
                    <a:pt x="11898" y="9076"/>
                  </a:lnTo>
                  <a:lnTo>
                    <a:pt x="11813" y="9085"/>
                  </a:lnTo>
                  <a:lnTo>
                    <a:pt x="11729" y="9097"/>
                  </a:lnTo>
                  <a:lnTo>
                    <a:pt x="11646" y="9113"/>
                  </a:lnTo>
                  <a:lnTo>
                    <a:pt x="11564" y="9133"/>
                  </a:lnTo>
                  <a:lnTo>
                    <a:pt x="11484" y="9156"/>
                  </a:lnTo>
                  <a:lnTo>
                    <a:pt x="11405" y="9182"/>
                  </a:lnTo>
                  <a:lnTo>
                    <a:pt x="11328" y="9212"/>
                  </a:lnTo>
                  <a:lnTo>
                    <a:pt x="11252" y="9244"/>
                  </a:lnTo>
                  <a:lnTo>
                    <a:pt x="11178" y="9279"/>
                  </a:lnTo>
                  <a:lnTo>
                    <a:pt x="11106" y="9317"/>
                  </a:lnTo>
                  <a:lnTo>
                    <a:pt x="11035" y="9359"/>
                  </a:lnTo>
                  <a:lnTo>
                    <a:pt x="10967" y="9402"/>
                  </a:lnTo>
                  <a:lnTo>
                    <a:pt x="10899" y="9449"/>
                  </a:lnTo>
                  <a:lnTo>
                    <a:pt x="10835" y="9499"/>
                  </a:lnTo>
                  <a:lnTo>
                    <a:pt x="10772" y="9550"/>
                  </a:lnTo>
                  <a:lnTo>
                    <a:pt x="10711" y="9605"/>
                  </a:lnTo>
                  <a:lnTo>
                    <a:pt x="10653" y="9661"/>
                  </a:lnTo>
                  <a:lnTo>
                    <a:pt x="10597" y="9719"/>
                  </a:lnTo>
                  <a:lnTo>
                    <a:pt x="10543" y="9781"/>
                  </a:lnTo>
                  <a:lnTo>
                    <a:pt x="10492" y="9844"/>
                  </a:lnTo>
                  <a:lnTo>
                    <a:pt x="10444" y="9910"/>
                  </a:lnTo>
                  <a:lnTo>
                    <a:pt x="10397" y="9977"/>
                  </a:lnTo>
                  <a:lnTo>
                    <a:pt x="10354" y="10047"/>
                  </a:lnTo>
                  <a:lnTo>
                    <a:pt x="10313" y="10117"/>
                  </a:lnTo>
                  <a:lnTo>
                    <a:pt x="10275" y="10191"/>
                  </a:lnTo>
                  <a:lnTo>
                    <a:pt x="10240" y="10266"/>
                  </a:lnTo>
                  <a:lnTo>
                    <a:pt x="10208" y="10341"/>
                  </a:lnTo>
                  <a:lnTo>
                    <a:pt x="10179" y="10419"/>
                  </a:lnTo>
                  <a:lnTo>
                    <a:pt x="10153" y="10498"/>
                  </a:lnTo>
                  <a:lnTo>
                    <a:pt x="10131" y="10579"/>
                  </a:lnTo>
                  <a:lnTo>
                    <a:pt x="7473" y="10579"/>
                  </a:lnTo>
                  <a:lnTo>
                    <a:pt x="7450" y="10498"/>
                  </a:lnTo>
                  <a:lnTo>
                    <a:pt x="7425" y="10419"/>
                  </a:lnTo>
                  <a:lnTo>
                    <a:pt x="7396" y="10341"/>
                  </a:lnTo>
                  <a:lnTo>
                    <a:pt x="7363" y="10266"/>
                  </a:lnTo>
                  <a:lnTo>
                    <a:pt x="7328" y="10191"/>
                  </a:lnTo>
                  <a:lnTo>
                    <a:pt x="7290" y="10117"/>
                  </a:lnTo>
                  <a:lnTo>
                    <a:pt x="7250" y="10047"/>
                  </a:lnTo>
                  <a:lnTo>
                    <a:pt x="7207" y="9977"/>
                  </a:lnTo>
                  <a:lnTo>
                    <a:pt x="7160" y="9910"/>
                  </a:lnTo>
                  <a:lnTo>
                    <a:pt x="7112" y="9844"/>
                  </a:lnTo>
                  <a:lnTo>
                    <a:pt x="7061" y="9781"/>
                  </a:lnTo>
                  <a:lnTo>
                    <a:pt x="7006" y="9719"/>
                  </a:lnTo>
                  <a:lnTo>
                    <a:pt x="6951" y="9661"/>
                  </a:lnTo>
                  <a:lnTo>
                    <a:pt x="6892" y="9605"/>
                  </a:lnTo>
                  <a:lnTo>
                    <a:pt x="6831" y="9550"/>
                  </a:lnTo>
                  <a:lnTo>
                    <a:pt x="6769" y="9499"/>
                  </a:lnTo>
                  <a:lnTo>
                    <a:pt x="6705" y="9449"/>
                  </a:lnTo>
                  <a:lnTo>
                    <a:pt x="6637" y="9402"/>
                  </a:lnTo>
                  <a:lnTo>
                    <a:pt x="6569" y="9359"/>
                  </a:lnTo>
                  <a:lnTo>
                    <a:pt x="6498" y="9317"/>
                  </a:lnTo>
                  <a:lnTo>
                    <a:pt x="6426" y="9279"/>
                  </a:lnTo>
                  <a:lnTo>
                    <a:pt x="6351" y="9244"/>
                  </a:lnTo>
                  <a:lnTo>
                    <a:pt x="6276" y="9212"/>
                  </a:lnTo>
                  <a:lnTo>
                    <a:pt x="6199" y="9182"/>
                  </a:lnTo>
                  <a:lnTo>
                    <a:pt x="6120" y="9156"/>
                  </a:lnTo>
                  <a:lnTo>
                    <a:pt x="6040" y="9133"/>
                  </a:lnTo>
                  <a:lnTo>
                    <a:pt x="5958" y="9113"/>
                  </a:lnTo>
                  <a:lnTo>
                    <a:pt x="5876" y="9097"/>
                  </a:lnTo>
                  <a:lnTo>
                    <a:pt x="5791" y="9085"/>
                  </a:lnTo>
                  <a:lnTo>
                    <a:pt x="5707" y="9076"/>
                  </a:lnTo>
                  <a:lnTo>
                    <a:pt x="5620" y="9070"/>
                  </a:lnTo>
                  <a:lnTo>
                    <a:pt x="5533" y="9068"/>
                  </a:lnTo>
                  <a:lnTo>
                    <a:pt x="5446" y="9070"/>
                  </a:lnTo>
                  <a:lnTo>
                    <a:pt x="5360" y="9076"/>
                  </a:lnTo>
                  <a:lnTo>
                    <a:pt x="5274" y="9085"/>
                  </a:lnTo>
                  <a:lnTo>
                    <a:pt x="5191" y="9097"/>
                  </a:lnTo>
                  <a:lnTo>
                    <a:pt x="5107" y="9113"/>
                  </a:lnTo>
                  <a:lnTo>
                    <a:pt x="5026" y="9133"/>
                  </a:lnTo>
                  <a:lnTo>
                    <a:pt x="4946" y="9156"/>
                  </a:lnTo>
                  <a:lnTo>
                    <a:pt x="4867" y="9182"/>
                  </a:lnTo>
                  <a:lnTo>
                    <a:pt x="4789" y="9212"/>
                  </a:lnTo>
                  <a:lnTo>
                    <a:pt x="4714" y="9244"/>
                  </a:lnTo>
                  <a:lnTo>
                    <a:pt x="4639" y="9279"/>
                  </a:lnTo>
                  <a:lnTo>
                    <a:pt x="4567" y="9317"/>
                  </a:lnTo>
                  <a:lnTo>
                    <a:pt x="4497" y="9359"/>
                  </a:lnTo>
                  <a:lnTo>
                    <a:pt x="4428" y="9402"/>
                  </a:lnTo>
                  <a:lnTo>
                    <a:pt x="4361" y="9449"/>
                  </a:lnTo>
                  <a:lnTo>
                    <a:pt x="4296" y="9499"/>
                  </a:lnTo>
                  <a:lnTo>
                    <a:pt x="4233" y="9550"/>
                  </a:lnTo>
                  <a:lnTo>
                    <a:pt x="4173" y="9605"/>
                  </a:lnTo>
                  <a:lnTo>
                    <a:pt x="4114" y="9661"/>
                  </a:lnTo>
                  <a:lnTo>
                    <a:pt x="4059" y="9719"/>
                  </a:lnTo>
                  <a:lnTo>
                    <a:pt x="4005" y="9781"/>
                  </a:lnTo>
                  <a:lnTo>
                    <a:pt x="3953" y="9844"/>
                  </a:lnTo>
                  <a:lnTo>
                    <a:pt x="3905" y="9910"/>
                  </a:lnTo>
                  <a:lnTo>
                    <a:pt x="3859" y="9977"/>
                  </a:lnTo>
                  <a:lnTo>
                    <a:pt x="3816" y="10047"/>
                  </a:lnTo>
                  <a:lnTo>
                    <a:pt x="3774" y="10117"/>
                  </a:lnTo>
                  <a:lnTo>
                    <a:pt x="3737" y="10191"/>
                  </a:lnTo>
                  <a:lnTo>
                    <a:pt x="3702" y="10266"/>
                  </a:lnTo>
                  <a:lnTo>
                    <a:pt x="3670" y="10341"/>
                  </a:lnTo>
                  <a:lnTo>
                    <a:pt x="3640" y="10419"/>
                  </a:lnTo>
                  <a:lnTo>
                    <a:pt x="3614" y="10498"/>
                  </a:lnTo>
                  <a:lnTo>
                    <a:pt x="3592" y="10579"/>
                  </a:lnTo>
                  <a:lnTo>
                    <a:pt x="3018" y="10579"/>
                  </a:lnTo>
                  <a:lnTo>
                    <a:pt x="2993" y="10578"/>
                  </a:lnTo>
                  <a:lnTo>
                    <a:pt x="2967" y="10577"/>
                  </a:lnTo>
                  <a:lnTo>
                    <a:pt x="2941" y="10573"/>
                  </a:lnTo>
                  <a:lnTo>
                    <a:pt x="2917" y="10569"/>
                  </a:lnTo>
                  <a:lnTo>
                    <a:pt x="2892" y="10563"/>
                  </a:lnTo>
                  <a:lnTo>
                    <a:pt x="2869" y="10557"/>
                  </a:lnTo>
                  <a:lnTo>
                    <a:pt x="2845" y="10549"/>
                  </a:lnTo>
                  <a:lnTo>
                    <a:pt x="2823" y="10540"/>
                  </a:lnTo>
                  <a:lnTo>
                    <a:pt x="2800" y="10530"/>
                  </a:lnTo>
                  <a:lnTo>
                    <a:pt x="2778" y="10519"/>
                  </a:lnTo>
                  <a:lnTo>
                    <a:pt x="2757" y="10506"/>
                  </a:lnTo>
                  <a:lnTo>
                    <a:pt x="2737" y="10493"/>
                  </a:lnTo>
                  <a:lnTo>
                    <a:pt x="2717" y="10479"/>
                  </a:lnTo>
                  <a:lnTo>
                    <a:pt x="2698" y="10464"/>
                  </a:lnTo>
                  <a:lnTo>
                    <a:pt x="2680" y="10448"/>
                  </a:lnTo>
                  <a:lnTo>
                    <a:pt x="2663" y="10432"/>
                  </a:lnTo>
                  <a:lnTo>
                    <a:pt x="2646" y="10414"/>
                  </a:lnTo>
                  <a:lnTo>
                    <a:pt x="2630" y="10396"/>
                  </a:lnTo>
                  <a:lnTo>
                    <a:pt x="2615" y="10376"/>
                  </a:lnTo>
                  <a:lnTo>
                    <a:pt x="2601" y="10357"/>
                  </a:lnTo>
                  <a:lnTo>
                    <a:pt x="2588" y="10337"/>
                  </a:lnTo>
                  <a:lnTo>
                    <a:pt x="2576" y="10316"/>
                  </a:lnTo>
                  <a:lnTo>
                    <a:pt x="2565" y="10294"/>
                  </a:lnTo>
                  <a:lnTo>
                    <a:pt x="2555" y="10272"/>
                  </a:lnTo>
                  <a:lnTo>
                    <a:pt x="2546" y="10248"/>
                  </a:lnTo>
                  <a:lnTo>
                    <a:pt x="2538" y="10225"/>
                  </a:lnTo>
                  <a:lnTo>
                    <a:pt x="2531" y="10201"/>
                  </a:lnTo>
                  <a:lnTo>
                    <a:pt x="2526" y="10177"/>
                  </a:lnTo>
                  <a:lnTo>
                    <a:pt x="2521" y="10152"/>
                  </a:lnTo>
                  <a:lnTo>
                    <a:pt x="2518" y="10127"/>
                  </a:lnTo>
                  <a:lnTo>
                    <a:pt x="2516" y="10101"/>
                  </a:lnTo>
                  <a:lnTo>
                    <a:pt x="2515" y="10075"/>
                  </a:lnTo>
                  <a:lnTo>
                    <a:pt x="2515" y="8564"/>
                  </a:lnTo>
                  <a:lnTo>
                    <a:pt x="9053" y="8564"/>
                  </a:lnTo>
                  <a:lnTo>
                    <a:pt x="9131" y="8562"/>
                  </a:lnTo>
                  <a:lnTo>
                    <a:pt x="9207" y="8557"/>
                  </a:lnTo>
                  <a:lnTo>
                    <a:pt x="9283" y="8547"/>
                  </a:lnTo>
                  <a:lnTo>
                    <a:pt x="9357" y="8533"/>
                  </a:lnTo>
                  <a:lnTo>
                    <a:pt x="9431" y="8516"/>
                  </a:lnTo>
                  <a:lnTo>
                    <a:pt x="9502" y="8496"/>
                  </a:lnTo>
                  <a:lnTo>
                    <a:pt x="9571" y="8472"/>
                  </a:lnTo>
                  <a:lnTo>
                    <a:pt x="9641" y="8445"/>
                  </a:lnTo>
                  <a:lnTo>
                    <a:pt x="9707" y="8415"/>
                  </a:lnTo>
                  <a:lnTo>
                    <a:pt x="9773" y="8381"/>
                  </a:lnTo>
                  <a:lnTo>
                    <a:pt x="9835" y="8345"/>
                  </a:lnTo>
                  <a:lnTo>
                    <a:pt x="9896" y="8306"/>
                  </a:lnTo>
                  <a:lnTo>
                    <a:pt x="9956" y="8263"/>
                  </a:lnTo>
                  <a:lnTo>
                    <a:pt x="10013" y="8218"/>
                  </a:lnTo>
                  <a:lnTo>
                    <a:pt x="10067" y="8171"/>
                  </a:lnTo>
                  <a:lnTo>
                    <a:pt x="10120" y="8120"/>
                  </a:lnTo>
                  <a:lnTo>
                    <a:pt x="10170" y="8068"/>
                  </a:lnTo>
                  <a:lnTo>
                    <a:pt x="10217" y="8014"/>
                  </a:lnTo>
                  <a:lnTo>
                    <a:pt x="10263" y="7956"/>
                  </a:lnTo>
                  <a:lnTo>
                    <a:pt x="10305" y="7897"/>
                  </a:lnTo>
                  <a:lnTo>
                    <a:pt x="10344" y="7836"/>
                  </a:lnTo>
                  <a:lnTo>
                    <a:pt x="10380" y="7773"/>
                  </a:lnTo>
                  <a:lnTo>
                    <a:pt x="10413" y="7707"/>
                  </a:lnTo>
                  <a:lnTo>
                    <a:pt x="10444" y="7641"/>
                  </a:lnTo>
                  <a:lnTo>
                    <a:pt x="10471" y="7572"/>
                  </a:lnTo>
                  <a:lnTo>
                    <a:pt x="10495" y="7502"/>
                  </a:lnTo>
                  <a:lnTo>
                    <a:pt x="10515" y="7430"/>
                  </a:lnTo>
                  <a:lnTo>
                    <a:pt x="10532" y="7357"/>
                  </a:lnTo>
                  <a:lnTo>
                    <a:pt x="10545" y="7283"/>
                  </a:lnTo>
                  <a:lnTo>
                    <a:pt x="10554" y="7207"/>
                  </a:lnTo>
                  <a:lnTo>
                    <a:pt x="10560" y="7131"/>
                  </a:lnTo>
                  <a:lnTo>
                    <a:pt x="10562" y="7052"/>
                  </a:lnTo>
                  <a:lnTo>
                    <a:pt x="10562" y="3527"/>
                  </a:lnTo>
                  <a:lnTo>
                    <a:pt x="12574" y="3527"/>
                  </a:lnTo>
                  <a:lnTo>
                    <a:pt x="12605" y="3528"/>
                  </a:lnTo>
                  <a:lnTo>
                    <a:pt x="12637" y="3530"/>
                  </a:lnTo>
                  <a:lnTo>
                    <a:pt x="12668" y="3535"/>
                  </a:lnTo>
                  <a:lnTo>
                    <a:pt x="12698" y="3542"/>
                  </a:lnTo>
                  <a:lnTo>
                    <a:pt x="12727" y="3550"/>
                  </a:lnTo>
                  <a:lnTo>
                    <a:pt x="12756" y="3560"/>
                  </a:lnTo>
                  <a:lnTo>
                    <a:pt x="12784" y="3572"/>
                  </a:lnTo>
                  <a:lnTo>
                    <a:pt x="12812" y="3586"/>
                  </a:lnTo>
                  <a:lnTo>
                    <a:pt x="12838" y="3601"/>
                  </a:lnTo>
                  <a:lnTo>
                    <a:pt x="12864" y="3618"/>
                  </a:lnTo>
                  <a:lnTo>
                    <a:pt x="12888" y="3636"/>
                  </a:lnTo>
                  <a:lnTo>
                    <a:pt x="12911" y="3657"/>
                  </a:lnTo>
                  <a:lnTo>
                    <a:pt x="12933" y="3678"/>
                  </a:lnTo>
                  <a:lnTo>
                    <a:pt x="12954" y="3701"/>
                  </a:lnTo>
                  <a:lnTo>
                    <a:pt x="12975" y="3725"/>
                  </a:lnTo>
                  <a:lnTo>
                    <a:pt x="12993" y="3750"/>
                  </a:lnTo>
                  <a:lnTo>
                    <a:pt x="15005" y="6773"/>
                  </a:lnTo>
                  <a:lnTo>
                    <a:pt x="15015" y="6788"/>
                  </a:lnTo>
                  <a:lnTo>
                    <a:pt x="15024" y="6804"/>
                  </a:lnTo>
                  <a:lnTo>
                    <a:pt x="15033" y="6822"/>
                  </a:lnTo>
                  <a:lnTo>
                    <a:pt x="15041" y="6838"/>
                  </a:lnTo>
                  <a:lnTo>
                    <a:pt x="15049" y="6855"/>
                  </a:lnTo>
                  <a:lnTo>
                    <a:pt x="15056" y="6872"/>
                  </a:lnTo>
                  <a:lnTo>
                    <a:pt x="15062" y="6889"/>
                  </a:lnTo>
                  <a:lnTo>
                    <a:pt x="15067" y="6907"/>
                  </a:lnTo>
                  <a:lnTo>
                    <a:pt x="15072" y="6924"/>
                  </a:lnTo>
                  <a:lnTo>
                    <a:pt x="15077" y="6942"/>
                  </a:lnTo>
                  <a:lnTo>
                    <a:pt x="15081" y="6961"/>
                  </a:lnTo>
                  <a:lnTo>
                    <a:pt x="15084" y="6979"/>
                  </a:lnTo>
                  <a:lnTo>
                    <a:pt x="15086" y="6997"/>
                  </a:lnTo>
                  <a:lnTo>
                    <a:pt x="15088" y="7016"/>
                  </a:lnTo>
                  <a:lnTo>
                    <a:pt x="15089" y="7034"/>
                  </a:lnTo>
                  <a:lnTo>
                    <a:pt x="15089" y="7052"/>
                  </a:lnTo>
                  <a:lnTo>
                    <a:pt x="15089" y="10075"/>
                  </a:lnTo>
                  <a:close/>
                  <a:moveTo>
                    <a:pt x="12071" y="12090"/>
                  </a:moveTo>
                  <a:lnTo>
                    <a:pt x="12020" y="12089"/>
                  </a:lnTo>
                  <a:lnTo>
                    <a:pt x="11969" y="12085"/>
                  </a:lnTo>
                  <a:lnTo>
                    <a:pt x="11918" y="12078"/>
                  </a:lnTo>
                  <a:lnTo>
                    <a:pt x="11869" y="12070"/>
                  </a:lnTo>
                  <a:lnTo>
                    <a:pt x="11820" y="12058"/>
                  </a:lnTo>
                  <a:lnTo>
                    <a:pt x="11772" y="12045"/>
                  </a:lnTo>
                  <a:lnTo>
                    <a:pt x="11725" y="12029"/>
                  </a:lnTo>
                  <a:lnTo>
                    <a:pt x="11680" y="12011"/>
                  </a:lnTo>
                  <a:lnTo>
                    <a:pt x="11636" y="11991"/>
                  </a:lnTo>
                  <a:lnTo>
                    <a:pt x="11591" y="11968"/>
                  </a:lnTo>
                  <a:lnTo>
                    <a:pt x="11550" y="11944"/>
                  </a:lnTo>
                  <a:lnTo>
                    <a:pt x="11509" y="11918"/>
                  </a:lnTo>
                  <a:lnTo>
                    <a:pt x="11470" y="11890"/>
                  </a:lnTo>
                  <a:lnTo>
                    <a:pt x="11431" y="11861"/>
                  </a:lnTo>
                  <a:lnTo>
                    <a:pt x="11395" y="11828"/>
                  </a:lnTo>
                  <a:lnTo>
                    <a:pt x="11360" y="11795"/>
                  </a:lnTo>
                  <a:lnTo>
                    <a:pt x="11327" y="11760"/>
                  </a:lnTo>
                  <a:lnTo>
                    <a:pt x="11295" y="11724"/>
                  </a:lnTo>
                  <a:lnTo>
                    <a:pt x="11265" y="11685"/>
                  </a:lnTo>
                  <a:lnTo>
                    <a:pt x="11237" y="11646"/>
                  </a:lnTo>
                  <a:lnTo>
                    <a:pt x="11211" y="11606"/>
                  </a:lnTo>
                  <a:lnTo>
                    <a:pt x="11187" y="11563"/>
                  </a:lnTo>
                  <a:lnTo>
                    <a:pt x="11165" y="11520"/>
                  </a:lnTo>
                  <a:lnTo>
                    <a:pt x="11145" y="11475"/>
                  </a:lnTo>
                  <a:lnTo>
                    <a:pt x="11127" y="11429"/>
                  </a:lnTo>
                  <a:lnTo>
                    <a:pt x="11111" y="11382"/>
                  </a:lnTo>
                  <a:lnTo>
                    <a:pt x="11098" y="11335"/>
                  </a:lnTo>
                  <a:lnTo>
                    <a:pt x="11086" y="11286"/>
                  </a:lnTo>
                  <a:lnTo>
                    <a:pt x="11077" y="11236"/>
                  </a:lnTo>
                  <a:lnTo>
                    <a:pt x="11070" y="11186"/>
                  </a:lnTo>
                  <a:lnTo>
                    <a:pt x="11067" y="11135"/>
                  </a:lnTo>
                  <a:lnTo>
                    <a:pt x="11065" y="11083"/>
                  </a:lnTo>
                  <a:lnTo>
                    <a:pt x="11067" y="11031"/>
                  </a:lnTo>
                  <a:lnTo>
                    <a:pt x="11070" y="10980"/>
                  </a:lnTo>
                  <a:lnTo>
                    <a:pt x="11077" y="10930"/>
                  </a:lnTo>
                  <a:lnTo>
                    <a:pt x="11086" y="10880"/>
                  </a:lnTo>
                  <a:lnTo>
                    <a:pt x="11098" y="10831"/>
                  </a:lnTo>
                  <a:lnTo>
                    <a:pt x="11111" y="10784"/>
                  </a:lnTo>
                  <a:lnTo>
                    <a:pt x="11127" y="10736"/>
                  </a:lnTo>
                  <a:lnTo>
                    <a:pt x="11145" y="10691"/>
                  </a:lnTo>
                  <a:lnTo>
                    <a:pt x="11165" y="10646"/>
                  </a:lnTo>
                  <a:lnTo>
                    <a:pt x="11187" y="10603"/>
                  </a:lnTo>
                  <a:lnTo>
                    <a:pt x="11211" y="10561"/>
                  </a:lnTo>
                  <a:lnTo>
                    <a:pt x="11237" y="10520"/>
                  </a:lnTo>
                  <a:lnTo>
                    <a:pt x="11265" y="10480"/>
                  </a:lnTo>
                  <a:lnTo>
                    <a:pt x="11295" y="10442"/>
                  </a:lnTo>
                  <a:lnTo>
                    <a:pt x="11327" y="10406"/>
                  </a:lnTo>
                  <a:lnTo>
                    <a:pt x="11360" y="10370"/>
                  </a:lnTo>
                  <a:lnTo>
                    <a:pt x="11395" y="10337"/>
                  </a:lnTo>
                  <a:lnTo>
                    <a:pt x="11431" y="10306"/>
                  </a:lnTo>
                  <a:lnTo>
                    <a:pt x="11470" y="10276"/>
                  </a:lnTo>
                  <a:lnTo>
                    <a:pt x="11509" y="10247"/>
                  </a:lnTo>
                  <a:lnTo>
                    <a:pt x="11550" y="10221"/>
                  </a:lnTo>
                  <a:lnTo>
                    <a:pt x="11591" y="10197"/>
                  </a:lnTo>
                  <a:lnTo>
                    <a:pt x="11636" y="10175"/>
                  </a:lnTo>
                  <a:lnTo>
                    <a:pt x="11680" y="10155"/>
                  </a:lnTo>
                  <a:lnTo>
                    <a:pt x="11725" y="10137"/>
                  </a:lnTo>
                  <a:lnTo>
                    <a:pt x="11772" y="10120"/>
                  </a:lnTo>
                  <a:lnTo>
                    <a:pt x="11820" y="10107"/>
                  </a:lnTo>
                  <a:lnTo>
                    <a:pt x="11869" y="10096"/>
                  </a:lnTo>
                  <a:lnTo>
                    <a:pt x="11918" y="10087"/>
                  </a:lnTo>
                  <a:lnTo>
                    <a:pt x="11969" y="10080"/>
                  </a:lnTo>
                  <a:lnTo>
                    <a:pt x="12020" y="10076"/>
                  </a:lnTo>
                  <a:lnTo>
                    <a:pt x="12071" y="10075"/>
                  </a:lnTo>
                  <a:lnTo>
                    <a:pt x="12124" y="10076"/>
                  </a:lnTo>
                  <a:lnTo>
                    <a:pt x="12174" y="10080"/>
                  </a:lnTo>
                  <a:lnTo>
                    <a:pt x="12224" y="10087"/>
                  </a:lnTo>
                  <a:lnTo>
                    <a:pt x="12274" y="10096"/>
                  </a:lnTo>
                  <a:lnTo>
                    <a:pt x="12323" y="10107"/>
                  </a:lnTo>
                  <a:lnTo>
                    <a:pt x="12370" y="10120"/>
                  </a:lnTo>
                  <a:lnTo>
                    <a:pt x="12417" y="10137"/>
                  </a:lnTo>
                  <a:lnTo>
                    <a:pt x="12463" y="10155"/>
                  </a:lnTo>
                  <a:lnTo>
                    <a:pt x="12508" y="10175"/>
                  </a:lnTo>
                  <a:lnTo>
                    <a:pt x="12551" y="10197"/>
                  </a:lnTo>
                  <a:lnTo>
                    <a:pt x="12593" y="10221"/>
                  </a:lnTo>
                  <a:lnTo>
                    <a:pt x="12634" y="10247"/>
                  </a:lnTo>
                  <a:lnTo>
                    <a:pt x="12673" y="10276"/>
                  </a:lnTo>
                  <a:lnTo>
                    <a:pt x="12711" y="10306"/>
                  </a:lnTo>
                  <a:lnTo>
                    <a:pt x="12747" y="10337"/>
                  </a:lnTo>
                  <a:lnTo>
                    <a:pt x="12782" y="10370"/>
                  </a:lnTo>
                  <a:lnTo>
                    <a:pt x="12816" y="10406"/>
                  </a:lnTo>
                  <a:lnTo>
                    <a:pt x="12848" y="10442"/>
                  </a:lnTo>
                  <a:lnTo>
                    <a:pt x="12877" y="10480"/>
                  </a:lnTo>
                  <a:lnTo>
                    <a:pt x="12905" y="10520"/>
                  </a:lnTo>
                  <a:lnTo>
                    <a:pt x="12931" y="10561"/>
                  </a:lnTo>
                  <a:lnTo>
                    <a:pt x="12955" y="10603"/>
                  </a:lnTo>
                  <a:lnTo>
                    <a:pt x="12978" y="10646"/>
                  </a:lnTo>
                  <a:lnTo>
                    <a:pt x="12999" y="10691"/>
                  </a:lnTo>
                  <a:lnTo>
                    <a:pt x="13016" y="10736"/>
                  </a:lnTo>
                  <a:lnTo>
                    <a:pt x="13032" y="10784"/>
                  </a:lnTo>
                  <a:lnTo>
                    <a:pt x="13046" y="10831"/>
                  </a:lnTo>
                  <a:lnTo>
                    <a:pt x="13057" y="10880"/>
                  </a:lnTo>
                  <a:lnTo>
                    <a:pt x="13066" y="10930"/>
                  </a:lnTo>
                  <a:lnTo>
                    <a:pt x="13072" y="10980"/>
                  </a:lnTo>
                  <a:lnTo>
                    <a:pt x="13076" y="11031"/>
                  </a:lnTo>
                  <a:lnTo>
                    <a:pt x="13077" y="11083"/>
                  </a:lnTo>
                  <a:lnTo>
                    <a:pt x="13076" y="11135"/>
                  </a:lnTo>
                  <a:lnTo>
                    <a:pt x="13072" y="11186"/>
                  </a:lnTo>
                  <a:lnTo>
                    <a:pt x="13066" y="11236"/>
                  </a:lnTo>
                  <a:lnTo>
                    <a:pt x="13057" y="11286"/>
                  </a:lnTo>
                  <a:lnTo>
                    <a:pt x="13046" y="11335"/>
                  </a:lnTo>
                  <a:lnTo>
                    <a:pt x="13032" y="11382"/>
                  </a:lnTo>
                  <a:lnTo>
                    <a:pt x="13016" y="11429"/>
                  </a:lnTo>
                  <a:lnTo>
                    <a:pt x="12999" y="11475"/>
                  </a:lnTo>
                  <a:lnTo>
                    <a:pt x="12978" y="11520"/>
                  </a:lnTo>
                  <a:lnTo>
                    <a:pt x="12955" y="11563"/>
                  </a:lnTo>
                  <a:lnTo>
                    <a:pt x="12931" y="11606"/>
                  </a:lnTo>
                  <a:lnTo>
                    <a:pt x="12905" y="11646"/>
                  </a:lnTo>
                  <a:lnTo>
                    <a:pt x="12877" y="11685"/>
                  </a:lnTo>
                  <a:lnTo>
                    <a:pt x="12848" y="11724"/>
                  </a:lnTo>
                  <a:lnTo>
                    <a:pt x="12816" y="11760"/>
                  </a:lnTo>
                  <a:lnTo>
                    <a:pt x="12782" y="11795"/>
                  </a:lnTo>
                  <a:lnTo>
                    <a:pt x="12747" y="11828"/>
                  </a:lnTo>
                  <a:lnTo>
                    <a:pt x="12711" y="11861"/>
                  </a:lnTo>
                  <a:lnTo>
                    <a:pt x="12673" y="11890"/>
                  </a:lnTo>
                  <a:lnTo>
                    <a:pt x="12634" y="11918"/>
                  </a:lnTo>
                  <a:lnTo>
                    <a:pt x="12593" y="11944"/>
                  </a:lnTo>
                  <a:lnTo>
                    <a:pt x="12551" y="11968"/>
                  </a:lnTo>
                  <a:lnTo>
                    <a:pt x="12508" y="11991"/>
                  </a:lnTo>
                  <a:lnTo>
                    <a:pt x="12463" y="12011"/>
                  </a:lnTo>
                  <a:lnTo>
                    <a:pt x="12417" y="12029"/>
                  </a:lnTo>
                  <a:lnTo>
                    <a:pt x="12370" y="12045"/>
                  </a:lnTo>
                  <a:lnTo>
                    <a:pt x="12323" y="12058"/>
                  </a:lnTo>
                  <a:lnTo>
                    <a:pt x="12274" y="12070"/>
                  </a:lnTo>
                  <a:lnTo>
                    <a:pt x="12224" y="12078"/>
                  </a:lnTo>
                  <a:lnTo>
                    <a:pt x="12174" y="12085"/>
                  </a:lnTo>
                  <a:lnTo>
                    <a:pt x="12124" y="12089"/>
                  </a:lnTo>
                  <a:lnTo>
                    <a:pt x="12071" y="12090"/>
                  </a:lnTo>
                  <a:close/>
                  <a:moveTo>
                    <a:pt x="5533" y="12090"/>
                  </a:moveTo>
                  <a:lnTo>
                    <a:pt x="5481" y="12089"/>
                  </a:lnTo>
                  <a:lnTo>
                    <a:pt x="5430" y="12085"/>
                  </a:lnTo>
                  <a:lnTo>
                    <a:pt x="5380" y="12078"/>
                  </a:lnTo>
                  <a:lnTo>
                    <a:pt x="5330" y="12070"/>
                  </a:lnTo>
                  <a:lnTo>
                    <a:pt x="5281" y="12058"/>
                  </a:lnTo>
                  <a:lnTo>
                    <a:pt x="5234" y="12045"/>
                  </a:lnTo>
                  <a:lnTo>
                    <a:pt x="5187" y="12029"/>
                  </a:lnTo>
                  <a:lnTo>
                    <a:pt x="5141" y="12011"/>
                  </a:lnTo>
                  <a:lnTo>
                    <a:pt x="5097" y="11991"/>
                  </a:lnTo>
                  <a:lnTo>
                    <a:pt x="5054" y="11968"/>
                  </a:lnTo>
                  <a:lnTo>
                    <a:pt x="5012" y="11944"/>
                  </a:lnTo>
                  <a:lnTo>
                    <a:pt x="4970" y="11918"/>
                  </a:lnTo>
                  <a:lnTo>
                    <a:pt x="4931" y="11890"/>
                  </a:lnTo>
                  <a:lnTo>
                    <a:pt x="4893" y="11861"/>
                  </a:lnTo>
                  <a:lnTo>
                    <a:pt x="4857" y="11828"/>
                  </a:lnTo>
                  <a:lnTo>
                    <a:pt x="4821" y="11795"/>
                  </a:lnTo>
                  <a:lnTo>
                    <a:pt x="4788" y="11760"/>
                  </a:lnTo>
                  <a:lnTo>
                    <a:pt x="4757" y="11724"/>
                  </a:lnTo>
                  <a:lnTo>
                    <a:pt x="4727" y="11685"/>
                  </a:lnTo>
                  <a:lnTo>
                    <a:pt x="4699" y="11646"/>
                  </a:lnTo>
                  <a:lnTo>
                    <a:pt x="4673" y="11606"/>
                  </a:lnTo>
                  <a:lnTo>
                    <a:pt x="4648" y="11563"/>
                  </a:lnTo>
                  <a:lnTo>
                    <a:pt x="4626" y="11520"/>
                  </a:lnTo>
                  <a:lnTo>
                    <a:pt x="4606" y="11475"/>
                  </a:lnTo>
                  <a:lnTo>
                    <a:pt x="4588" y="11429"/>
                  </a:lnTo>
                  <a:lnTo>
                    <a:pt x="4572" y="11382"/>
                  </a:lnTo>
                  <a:lnTo>
                    <a:pt x="4559" y="11335"/>
                  </a:lnTo>
                  <a:lnTo>
                    <a:pt x="4548" y="11286"/>
                  </a:lnTo>
                  <a:lnTo>
                    <a:pt x="4539" y="11236"/>
                  </a:lnTo>
                  <a:lnTo>
                    <a:pt x="4533" y="11186"/>
                  </a:lnTo>
                  <a:lnTo>
                    <a:pt x="4529" y="11135"/>
                  </a:lnTo>
                  <a:lnTo>
                    <a:pt x="4527" y="11083"/>
                  </a:lnTo>
                  <a:lnTo>
                    <a:pt x="4529" y="11031"/>
                  </a:lnTo>
                  <a:lnTo>
                    <a:pt x="4533" y="10980"/>
                  </a:lnTo>
                  <a:lnTo>
                    <a:pt x="4539" y="10930"/>
                  </a:lnTo>
                  <a:lnTo>
                    <a:pt x="4548" y="10880"/>
                  </a:lnTo>
                  <a:lnTo>
                    <a:pt x="4559" y="10831"/>
                  </a:lnTo>
                  <a:lnTo>
                    <a:pt x="4572" y="10784"/>
                  </a:lnTo>
                  <a:lnTo>
                    <a:pt x="4588" y="10736"/>
                  </a:lnTo>
                  <a:lnTo>
                    <a:pt x="4606" y="10691"/>
                  </a:lnTo>
                  <a:lnTo>
                    <a:pt x="4626" y="10646"/>
                  </a:lnTo>
                  <a:lnTo>
                    <a:pt x="4648" y="10603"/>
                  </a:lnTo>
                  <a:lnTo>
                    <a:pt x="4673" y="10561"/>
                  </a:lnTo>
                  <a:lnTo>
                    <a:pt x="4699" y="10520"/>
                  </a:lnTo>
                  <a:lnTo>
                    <a:pt x="4727" y="10480"/>
                  </a:lnTo>
                  <a:lnTo>
                    <a:pt x="4757" y="10442"/>
                  </a:lnTo>
                  <a:lnTo>
                    <a:pt x="4788" y="10406"/>
                  </a:lnTo>
                  <a:lnTo>
                    <a:pt x="4821" y="10370"/>
                  </a:lnTo>
                  <a:lnTo>
                    <a:pt x="4857" y="10337"/>
                  </a:lnTo>
                  <a:lnTo>
                    <a:pt x="4893" y="10306"/>
                  </a:lnTo>
                  <a:lnTo>
                    <a:pt x="4931" y="10276"/>
                  </a:lnTo>
                  <a:lnTo>
                    <a:pt x="4970" y="10247"/>
                  </a:lnTo>
                  <a:lnTo>
                    <a:pt x="5012" y="10221"/>
                  </a:lnTo>
                  <a:lnTo>
                    <a:pt x="5054" y="10197"/>
                  </a:lnTo>
                  <a:lnTo>
                    <a:pt x="5097" y="10175"/>
                  </a:lnTo>
                  <a:lnTo>
                    <a:pt x="5141" y="10155"/>
                  </a:lnTo>
                  <a:lnTo>
                    <a:pt x="5187" y="10137"/>
                  </a:lnTo>
                  <a:lnTo>
                    <a:pt x="5234" y="10120"/>
                  </a:lnTo>
                  <a:lnTo>
                    <a:pt x="5281" y="10107"/>
                  </a:lnTo>
                  <a:lnTo>
                    <a:pt x="5330" y="10096"/>
                  </a:lnTo>
                  <a:lnTo>
                    <a:pt x="5380" y="10087"/>
                  </a:lnTo>
                  <a:lnTo>
                    <a:pt x="5430" y="10080"/>
                  </a:lnTo>
                  <a:lnTo>
                    <a:pt x="5481" y="10076"/>
                  </a:lnTo>
                  <a:lnTo>
                    <a:pt x="5533" y="10075"/>
                  </a:lnTo>
                  <a:lnTo>
                    <a:pt x="5585" y="10076"/>
                  </a:lnTo>
                  <a:lnTo>
                    <a:pt x="5636" y="10080"/>
                  </a:lnTo>
                  <a:lnTo>
                    <a:pt x="5687" y="10087"/>
                  </a:lnTo>
                  <a:lnTo>
                    <a:pt x="5736" y="10096"/>
                  </a:lnTo>
                  <a:lnTo>
                    <a:pt x="5784" y="10107"/>
                  </a:lnTo>
                  <a:lnTo>
                    <a:pt x="5832" y="10120"/>
                  </a:lnTo>
                  <a:lnTo>
                    <a:pt x="5879" y="10137"/>
                  </a:lnTo>
                  <a:lnTo>
                    <a:pt x="5924" y="10155"/>
                  </a:lnTo>
                  <a:lnTo>
                    <a:pt x="5969" y="10175"/>
                  </a:lnTo>
                  <a:lnTo>
                    <a:pt x="6012" y="10197"/>
                  </a:lnTo>
                  <a:lnTo>
                    <a:pt x="6055" y="10221"/>
                  </a:lnTo>
                  <a:lnTo>
                    <a:pt x="6095" y="10247"/>
                  </a:lnTo>
                  <a:lnTo>
                    <a:pt x="6135" y="10276"/>
                  </a:lnTo>
                  <a:lnTo>
                    <a:pt x="6172" y="10306"/>
                  </a:lnTo>
                  <a:lnTo>
                    <a:pt x="6210" y="10337"/>
                  </a:lnTo>
                  <a:lnTo>
                    <a:pt x="6244" y="10370"/>
                  </a:lnTo>
                  <a:lnTo>
                    <a:pt x="6277" y="10406"/>
                  </a:lnTo>
                  <a:lnTo>
                    <a:pt x="6309" y="10442"/>
                  </a:lnTo>
                  <a:lnTo>
                    <a:pt x="6339" y="10480"/>
                  </a:lnTo>
                  <a:lnTo>
                    <a:pt x="6368" y="10520"/>
                  </a:lnTo>
                  <a:lnTo>
                    <a:pt x="6394" y="10561"/>
                  </a:lnTo>
                  <a:lnTo>
                    <a:pt x="6418" y="10603"/>
                  </a:lnTo>
                  <a:lnTo>
                    <a:pt x="6440" y="10646"/>
                  </a:lnTo>
                  <a:lnTo>
                    <a:pt x="6460" y="10691"/>
                  </a:lnTo>
                  <a:lnTo>
                    <a:pt x="6478" y="10736"/>
                  </a:lnTo>
                  <a:lnTo>
                    <a:pt x="6493" y="10784"/>
                  </a:lnTo>
                  <a:lnTo>
                    <a:pt x="6507" y="10831"/>
                  </a:lnTo>
                  <a:lnTo>
                    <a:pt x="6518" y="10880"/>
                  </a:lnTo>
                  <a:lnTo>
                    <a:pt x="6528" y="10930"/>
                  </a:lnTo>
                  <a:lnTo>
                    <a:pt x="6534" y="10980"/>
                  </a:lnTo>
                  <a:lnTo>
                    <a:pt x="6538" y="11031"/>
                  </a:lnTo>
                  <a:lnTo>
                    <a:pt x="6539" y="11083"/>
                  </a:lnTo>
                  <a:lnTo>
                    <a:pt x="6538" y="11135"/>
                  </a:lnTo>
                  <a:lnTo>
                    <a:pt x="6534" y="11186"/>
                  </a:lnTo>
                  <a:lnTo>
                    <a:pt x="6528" y="11236"/>
                  </a:lnTo>
                  <a:lnTo>
                    <a:pt x="6518" y="11286"/>
                  </a:lnTo>
                  <a:lnTo>
                    <a:pt x="6507" y="11335"/>
                  </a:lnTo>
                  <a:lnTo>
                    <a:pt x="6493" y="11382"/>
                  </a:lnTo>
                  <a:lnTo>
                    <a:pt x="6478" y="11429"/>
                  </a:lnTo>
                  <a:lnTo>
                    <a:pt x="6460" y="11475"/>
                  </a:lnTo>
                  <a:lnTo>
                    <a:pt x="6440" y="11520"/>
                  </a:lnTo>
                  <a:lnTo>
                    <a:pt x="6418" y="11563"/>
                  </a:lnTo>
                  <a:lnTo>
                    <a:pt x="6394" y="11606"/>
                  </a:lnTo>
                  <a:lnTo>
                    <a:pt x="6368" y="11646"/>
                  </a:lnTo>
                  <a:lnTo>
                    <a:pt x="6339" y="11685"/>
                  </a:lnTo>
                  <a:lnTo>
                    <a:pt x="6309" y="11724"/>
                  </a:lnTo>
                  <a:lnTo>
                    <a:pt x="6277" y="11760"/>
                  </a:lnTo>
                  <a:lnTo>
                    <a:pt x="6244" y="11795"/>
                  </a:lnTo>
                  <a:lnTo>
                    <a:pt x="6210" y="11828"/>
                  </a:lnTo>
                  <a:lnTo>
                    <a:pt x="6172" y="11861"/>
                  </a:lnTo>
                  <a:lnTo>
                    <a:pt x="6135" y="11890"/>
                  </a:lnTo>
                  <a:lnTo>
                    <a:pt x="6095" y="11918"/>
                  </a:lnTo>
                  <a:lnTo>
                    <a:pt x="6055" y="11944"/>
                  </a:lnTo>
                  <a:lnTo>
                    <a:pt x="6012" y="11968"/>
                  </a:lnTo>
                  <a:lnTo>
                    <a:pt x="5969" y="11991"/>
                  </a:lnTo>
                  <a:lnTo>
                    <a:pt x="5924" y="12011"/>
                  </a:lnTo>
                  <a:lnTo>
                    <a:pt x="5879" y="12029"/>
                  </a:lnTo>
                  <a:lnTo>
                    <a:pt x="5832" y="12045"/>
                  </a:lnTo>
                  <a:lnTo>
                    <a:pt x="5784" y="12058"/>
                  </a:lnTo>
                  <a:lnTo>
                    <a:pt x="5736" y="12070"/>
                  </a:lnTo>
                  <a:lnTo>
                    <a:pt x="5687" y="12078"/>
                  </a:lnTo>
                  <a:lnTo>
                    <a:pt x="5636" y="12085"/>
                  </a:lnTo>
                  <a:lnTo>
                    <a:pt x="5585" y="12089"/>
                  </a:lnTo>
                  <a:lnTo>
                    <a:pt x="5533" y="12090"/>
                  </a:lnTo>
                  <a:close/>
                  <a:moveTo>
                    <a:pt x="1509" y="7556"/>
                  </a:moveTo>
                  <a:lnTo>
                    <a:pt x="1483" y="7556"/>
                  </a:lnTo>
                  <a:lnTo>
                    <a:pt x="1458" y="7554"/>
                  </a:lnTo>
                  <a:lnTo>
                    <a:pt x="1432" y="7551"/>
                  </a:lnTo>
                  <a:lnTo>
                    <a:pt x="1407" y="7546"/>
                  </a:lnTo>
                  <a:lnTo>
                    <a:pt x="1383" y="7541"/>
                  </a:lnTo>
                  <a:lnTo>
                    <a:pt x="1359" y="7534"/>
                  </a:lnTo>
                  <a:lnTo>
                    <a:pt x="1336" y="7526"/>
                  </a:lnTo>
                  <a:lnTo>
                    <a:pt x="1313" y="7517"/>
                  </a:lnTo>
                  <a:lnTo>
                    <a:pt x="1291" y="7507"/>
                  </a:lnTo>
                  <a:lnTo>
                    <a:pt x="1269" y="7496"/>
                  </a:lnTo>
                  <a:lnTo>
                    <a:pt x="1248" y="7484"/>
                  </a:lnTo>
                  <a:lnTo>
                    <a:pt x="1228" y="7470"/>
                  </a:lnTo>
                  <a:lnTo>
                    <a:pt x="1208" y="7456"/>
                  </a:lnTo>
                  <a:lnTo>
                    <a:pt x="1189" y="7441"/>
                  </a:lnTo>
                  <a:lnTo>
                    <a:pt x="1171" y="7426"/>
                  </a:lnTo>
                  <a:lnTo>
                    <a:pt x="1154" y="7409"/>
                  </a:lnTo>
                  <a:lnTo>
                    <a:pt x="1137" y="7392"/>
                  </a:lnTo>
                  <a:lnTo>
                    <a:pt x="1121" y="7374"/>
                  </a:lnTo>
                  <a:lnTo>
                    <a:pt x="1106" y="7355"/>
                  </a:lnTo>
                  <a:lnTo>
                    <a:pt x="1091" y="7334"/>
                  </a:lnTo>
                  <a:lnTo>
                    <a:pt x="1078" y="7314"/>
                  </a:lnTo>
                  <a:lnTo>
                    <a:pt x="1066" y="7293"/>
                  </a:lnTo>
                  <a:lnTo>
                    <a:pt x="1055" y="7271"/>
                  </a:lnTo>
                  <a:lnTo>
                    <a:pt x="1045" y="7249"/>
                  </a:lnTo>
                  <a:lnTo>
                    <a:pt x="1036" y="7226"/>
                  </a:lnTo>
                  <a:lnTo>
                    <a:pt x="1029" y="7202"/>
                  </a:lnTo>
                  <a:lnTo>
                    <a:pt x="1022" y="7179"/>
                  </a:lnTo>
                  <a:lnTo>
                    <a:pt x="1016" y="7154"/>
                  </a:lnTo>
                  <a:lnTo>
                    <a:pt x="1012" y="7130"/>
                  </a:lnTo>
                  <a:lnTo>
                    <a:pt x="1009" y="7105"/>
                  </a:lnTo>
                  <a:lnTo>
                    <a:pt x="1007" y="7079"/>
                  </a:lnTo>
                  <a:lnTo>
                    <a:pt x="1006" y="7052"/>
                  </a:lnTo>
                  <a:lnTo>
                    <a:pt x="1006" y="1511"/>
                  </a:lnTo>
                  <a:lnTo>
                    <a:pt x="1007" y="1485"/>
                  </a:lnTo>
                  <a:lnTo>
                    <a:pt x="1009" y="1460"/>
                  </a:lnTo>
                  <a:lnTo>
                    <a:pt x="1012" y="1435"/>
                  </a:lnTo>
                  <a:lnTo>
                    <a:pt x="1016" y="1410"/>
                  </a:lnTo>
                  <a:lnTo>
                    <a:pt x="1022" y="1385"/>
                  </a:lnTo>
                  <a:lnTo>
                    <a:pt x="1029" y="1361"/>
                  </a:lnTo>
                  <a:lnTo>
                    <a:pt x="1036" y="1338"/>
                  </a:lnTo>
                  <a:lnTo>
                    <a:pt x="1045" y="1315"/>
                  </a:lnTo>
                  <a:lnTo>
                    <a:pt x="1055" y="1293"/>
                  </a:lnTo>
                  <a:lnTo>
                    <a:pt x="1066" y="1271"/>
                  </a:lnTo>
                  <a:lnTo>
                    <a:pt x="1078" y="1249"/>
                  </a:lnTo>
                  <a:lnTo>
                    <a:pt x="1091" y="1229"/>
                  </a:lnTo>
                  <a:lnTo>
                    <a:pt x="1106" y="1209"/>
                  </a:lnTo>
                  <a:lnTo>
                    <a:pt x="1121" y="1191"/>
                  </a:lnTo>
                  <a:lnTo>
                    <a:pt x="1137" y="1172"/>
                  </a:lnTo>
                  <a:lnTo>
                    <a:pt x="1154" y="1155"/>
                  </a:lnTo>
                  <a:lnTo>
                    <a:pt x="1171" y="1138"/>
                  </a:lnTo>
                  <a:lnTo>
                    <a:pt x="1189" y="1122"/>
                  </a:lnTo>
                  <a:lnTo>
                    <a:pt x="1208" y="1107"/>
                  </a:lnTo>
                  <a:lnTo>
                    <a:pt x="1228" y="1093"/>
                  </a:lnTo>
                  <a:lnTo>
                    <a:pt x="1248" y="1080"/>
                  </a:lnTo>
                  <a:lnTo>
                    <a:pt x="1269" y="1068"/>
                  </a:lnTo>
                  <a:lnTo>
                    <a:pt x="1291" y="1057"/>
                  </a:lnTo>
                  <a:lnTo>
                    <a:pt x="1313" y="1047"/>
                  </a:lnTo>
                  <a:lnTo>
                    <a:pt x="1336" y="1038"/>
                  </a:lnTo>
                  <a:lnTo>
                    <a:pt x="1359" y="1030"/>
                  </a:lnTo>
                  <a:lnTo>
                    <a:pt x="1383" y="1023"/>
                  </a:lnTo>
                  <a:lnTo>
                    <a:pt x="1407" y="1018"/>
                  </a:lnTo>
                  <a:lnTo>
                    <a:pt x="1432" y="1013"/>
                  </a:lnTo>
                  <a:lnTo>
                    <a:pt x="1458" y="1010"/>
                  </a:lnTo>
                  <a:lnTo>
                    <a:pt x="1483" y="1008"/>
                  </a:lnTo>
                  <a:lnTo>
                    <a:pt x="1509" y="1008"/>
                  </a:lnTo>
                  <a:lnTo>
                    <a:pt x="9053" y="1008"/>
                  </a:lnTo>
                  <a:lnTo>
                    <a:pt x="9080" y="1008"/>
                  </a:lnTo>
                  <a:lnTo>
                    <a:pt x="9105" y="1010"/>
                  </a:lnTo>
                  <a:lnTo>
                    <a:pt x="9131" y="1013"/>
                  </a:lnTo>
                  <a:lnTo>
                    <a:pt x="9155" y="1018"/>
                  </a:lnTo>
                  <a:lnTo>
                    <a:pt x="9179" y="1023"/>
                  </a:lnTo>
                  <a:lnTo>
                    <a:pt x="9203" y="1030"/>
                  </a:lnTo>
                  <a:lnTo>
                    <a:pt x="9226" y="1038"/>
                  </a:lnTo>
                  <a:lnTo>
                    <a:pt x="9250" y="1047"/>
                  </a:lnTo>
                  <a:lnTo>
                    <a:pt x="9272" y="1057"/>
                  </a:lnTo>
                  <a:lnTo>
                    <a:pt x="9294" y="1068"/>
                  </a:lnTo>
                  <a:lnTo>
                    <a:pt x="9315" y="1080"/>
                  </a:lnTo>
                  <a:lnTo>
                    <a:pt x="9335" y="1093"/>
                  </a:lnTo>
                  <a:lnTo>
                    <a:pt x="9355" y="1107"/>
                  </a:lnTo>
                  <a:lnTo>
                    <a:pt x="9373" y="1122"/>
                  </a:lnTo>
                  <a:lnTo>
                    <a:pt x="9392" y="1138"/>
                  </a:lnTo>
                  <a:lnTo>
                    <a:pt x="9410" y="1155"/>
                  </a:lnTo>
                  <a:lnTo>
                    <a:pt x="9426" y="1172"/>
                  </a:lnTo>
                  <a:lnTo>
                    <a:pt x="9442" y="1191"/>
                  </a:lnTo>
                  <a:lnTo>
                    <a:pt x="9457" y="1209"/>
                  </a:lnTo>
                  <a:lnTo>
                    <a:pt x="9471" y="1229"/>
                  </a:lnTo>
                  <a:lnTo>
                    <a:pt x="9484" y="1249"/>
                  </a:lnTo>
                  <a:lnTo>
                    <a:pt x="9496" y="1271"/>
                  </a:lnTo>
                  <a:lnTo>
                    <a:pt x="9507" y="1293"/>
                  </a:lnTo>
                  <a:lnTo>
                    <a:pt x="9517" y="1315"/>
                  </a:lnTo>
                  <a:lnTo>
                    <a:pt x="9526" y="1338"/>
                  </a:lnTo>
                  <a:lnTo>
                    <a:pt x="9534" y="1361"/>
                  </a:lnTo>
                  <a:lnTo>
                    <a:pt x="9541" y="1385"/>
                  </a:lnTo>
                  <a:lnTo>
                    <a:pt x="9546" y="1410"/>
                  </a:lnTo>
                  <a:lnTo>
                    <a:pt x="9550" y="1435"/>
                  </a:lnTo>
                  <a:lnTo>
                    <a:pt x="9554" y="1460"/>
                  </a:lnTo>
                  <a:lnTo>
                    <a:pt x="9556" y="1485"/>
                  </a:lnTo>
                  <a:lnTo>
                    <a:pt x="9556" y="1511"/>
                  </a:lnTo>
                  <a:lnTo>
                    <a:pt x="9556" y="2519"/>
                  </a:lnTo>
                  <a:lnTo>
                    <a:pt x="9556" y="3527"/>
                  </a:lnTo>
                  <a:lnTo>
                    <a:pt x="9556" y="7052"/>
                  </a:lnTo>
                  <a:lnTo>
                    <a:pt x="9556" y="7079"/>
                  </a:lnTo>
                  <a:lnTo>
                    <a:pt x="9554" y="7105"/>
                  </a:lnTo>
                  <a:lnTo>
                    <a:pt x="9550" y="7130"/>
                  </a:lnTo>
                  <a:lnTo>
                    <a:pt x="9546" y="7154"/>
                  </a:lnTo>
                  <a:lnTo>
                    <a:pt x="9541" y="7179"/>
                  </a:lnTo>
                  <a:lnTo>
                    <a:pt x="9534" y="7202"/>
                  </a:lnTo>
                  <a:lnTo>
                    <a:pt x="9526" y="7226"/>
                  </a:lnTo>
                  <a:lnTo>
                    <a:pt x="9517" y="7249"/>
                  </a:lnTo>
                  <a:lnTo>
                    <a:pt x="9507" y="7271"/>
                  </a:lnTo>
                  <a:lnTo>
                    <a:pt x="9496" y="7293"/>
                  </a:lnTo>
                  <a:lnTo>
                    <a:pt x="9484" y="7314"/>
                  </a:lnTo>
                  <a:lnTo>
                    <a:pt x="9471" y="7334"/>
                  </a:lnTo>
                  <a:lnTo>
                    <a:pt x="9457" y="7355"/>
                  </a:lnTo>
                  <a:lnTo>
                    <a:pt x="9442" y="7374"/>
                  </a:lnTo>
                  <a:lnTo>
                    <a:pt x="9426" y="7392"/>
                  </a:lnTo>
                  <a:lnTo>
                    <a:pt x="9410" y="7409"/>
                  </a:lnTo>
                  <a:lnTo>
                    <a:pt x="9392" y="7426"/>
                  </a:lnTo>
                  <a:lnTo>
                    <a:pt x="9373" y="7441"/>
                  </a:lnTo>
                  <a:lnTo>
                    <a:pt x="9355" y="7456"/>
                  </a:lnTo>
                  <a:lnTo>
                    <a:pt x="9335" y="7470"/>
                  </a:lnTo>
                  <a:lnTo>
                    <a:pt x="9315" y="7484"/>
                  </a:lnTo>
                  <a:lnTo>
                    <a:pt x="9294" y="7496"/>
                  </a:lnTo>
                  <a:lnTo>
                    <a:pt x="9272" y="7507"/>
                  </a:lnTo>
                  <a:lnTo>
                    <a:pt x="9250" y="7517"/>
                  </a:lnTo>
                  <a:lnTo>
                    <a:pt x="9226" y="7526"/>
                  </a:lnTo>
                  <a:lnTo>
                    <a:pt x="9203" y="7534"/>
                  </a:lnTo>
                  <a:lnTo>
                    <a:pt x="9179" y="7541"/>
                  </a:lnTo>
                  <a:lnTo>
                    <a:pt x="9155" y="7546"/>
                  </a:lnTo>
                  <a:lnTo>
                    <a:pt x="9131" y="7551"/>
                  </a:lnTo>
                  <a:lnTo>
                    <a:pt x="9105" y="7554"/>
                  </a:lnTo>
                  <a:lnTo>
                    <a:pt x="9080" y="7556"/>
                  </a:lnTo>
                  <a:lnTo>
                    <a:pt x="9053" y="7556"/>
                  </a:lnTo>
                  <a:lnTo>
                    <a:pt x="1509" y="7556"/>
                  </a:lnTo>
                  <a:close/>
                  <a:moveTo>
                    <a:pt x="15842" y="6214"/>
                  </a:moveTo>
                  <a:lnTo>
                    <a:pt x="13830" y="3192"/>
                  </a:lnTo>
                  <a:lnTo>
                    <a:pt x="13802" y="3153"/>
                  </a:lnTo>
                  <a:lnTo>
                    <a:pt x="13774" y="3115"/>
                  </a:lnTo>
                  <a:lnTo>
                    <a:pt x="13746" y="3077"/>
                  </a:lnTo>
                  <a:lnTo>
                    <a:pt x="13716" y="3042"/>
                  </a:lnTo>
                  <a:lnTo>
                    <a:pt x="13685" y="3007"/>
                  </a:lnTo>
                  <a:lnTo>
                    <a:pt x="13653" y="2973"/>
                  </a:lnTo>
                  <a:lnTo>
                    <a:pt x="13619" y="2940"/>
                  </a:lnTo>
                  <a:lnTo>
                    <a:pt x="13586" y="2909"/>
                  </a:lnTo>
                  <a:lnTo>
                    <a:pt x="13551" y="2878"/>
                  </a:lnTo>
                  <a:lnTo>
                    <a:pt x="13516" y="2849"/>
                  </a:lnTo>
                  <a:lnTo>
                    <a:pt x="13480" y="2820"/>
                  </a:lnTo>
                  <a:lnTo>
                    <a:pt x="13442" y="2793"/>
                  </a:lnTo>
                  <a:lnTo>
                    <a:pt x="13404" y="2768"/>
                  </a:lnTo>
                  <a:lnTo>
                    <a:pt x="13366" y="2743"/>
                  </a:lnTo>
                  <a:lnTo>
                    <a:pt x="13326" y="2720"/>
                  </a:lnTo>
                  <a:lnTo>
                    <a:pt x="13286" y="2697"/>
                  </a:lnTo>
                  <a:lnTo>
                    <a:pt x="13245" y="2676"/>
                  </a:lnTo>
                  <a:lnTo>
                    <a:pt x="13204" y="2656"/>
                  </a:lnTo>
                  <a:lnTo>
                    <a:pt x="13162" y="2638"/>
                  </a:lnTo>
                  <a:lnTo>
                    <a:pt x="13119" y="2621"/>
                  </a:lnTo>
                  <a:lnTo>
                    <a:pt x="13076" y="2605"/>
                  </a:lnTo>
                  <a:lnTo>
                    <a:pt x="13033" y="2590"/>
                  </a:lnTo>
                  <a:lnTo>
                    <a:pt x="12989" y="2576"/>
                  </a:lnTo>
                  <a:lnTo>
                    <a:pt x="12944" y="2564"/>
                  </a:lnTo>
                  <a:lnTo>
                    <a:pt x="12899" y="2554"/>
                  </a:lnTo>
                  <a:lnTo>
                    <a:pt x="12854" y="2544"/>
                  </a:lnTo>
                  <a:lnTo>
                    <a:pt x="12808" y="2537"/>
                  </a:lnTo>
                  <a:lnTo>
                    <a:pt x="12761" y="2530"/>
                  </a:lnTo>
                  <a:lnTo>
                    <a:pt x="12715" y="2525"/>
                  </a:lnTo>
                  <a:lnTo>
                    <a:pt x="12669" y="2522"/>
                  </a:lnTo>
                  <a:lnTo>
                    <a:pt x="12621" y="2519"/>
                  </a:lnTo>
                  <a:lnTo>
                    <a:pt x="12574" y="2519"/>
                  </a:lnTo>
                  <a:lnTo>
                    <a:pt x="10562" y="2519"/>
                  </a:lnTo>
                  <a:lnTo>
                    <a:pt x="10562" y="1511"/>
                  </a:lnTo>
                  <a:lnTo>
                    <a:pt x="10560" y="1434"/>
                  </a:lnTo>
                  <a:lnTo>
                    <a:pt x="10554" y="1357"/>
                  </a:lnTo>
                  <a:lnTo>
                    <a:pt x="10545" y="1282"/>
                  </a:lnTo>
                  <a:lnTo>
                    <a:pt x="10532" y="1207"/>
                  </a:lnTo>
                  <a:lnTo>
                    <a:pt x="10515" y="1134"/>
                  </a:lnTo>
                  <a:lnTo>
                    <a:pt x="10495" y="1062"/>
                  </a:lnTo>
                  <a:lnTo>
                    <a:pt x="10471" y="993"/>
                  </a:lnTo>
                  <a:lnTo>
                    <a:pt x="10444" y="924"/>
                  </a:lnTo>
                  <a:lnTo>
                    <a:pt x="10413" y="856"/>
                  </a:lnTo>
                  <a:lnTo>
                    <a:pt x="10380" y="791"/>
                  </a:lnTo>
                  <a:lnTo>
                    <a:pt x="10344" y="729"/>
                  </a:lnTo>
                  <a:lnTo>
                    <a:pt x="10305" y="667"/>
                  </a:lnTo>
                  <a:lnTo>
                    <a:pt x="10263" y="608"/>
                  </a:lnTo>
                  <a:lnTo>
                    <a:pt x="10217" y="550"/>
                  </a:lnTo>
                  <a:lnTo>
                    <a:pt x="10170" y="496"/>
                  </a:lnTo>
                  <a:lnTo>
                    <a:pt x="10120" y="443"/>
                  </a:lnTo>
                  <a:lnTo>
                    <a:pt x="10067" y="393"/>
                  </a:lnTo>
                  <a:lnTo>
                    <a:pt x="10013" y="346"/>
                  </a:lnTo>
                  <a:lnTo>
                    <a:pt x="9956" y="300"/>
                  </a:lnTo>
                  <a:lnTo>
                    <a:pt x="9896" y="258"/>
                  </a:lnTo>
                  <a:lnTo>
                    <a:pt x="9835" y="219"/>
                  </a:lnTo>
                  <a:lnTo>
                    <a:pt x="9773" y="182"/>
                  </a:lnTo>
                  <a:lnTo>
                    <a:pt x="9707" y="149"/>
                  </a:lnTo>
                  <a:lnTo>
                    <a:pt x="9641" y="119"/>
                  </a:lnTo>
                  <a:lnTo>
                    <a:pt x="9571" y="92"/>
                  </a:lnTo>
                  <a:lnTo>
                    <a:pt x="9502" y="69"/>
                  </a:lnTo>
                  <a:lnTo>
                    <a:pt x="9431" y="47"/>
                  </a:lnTo>
                  <a:lnTo>
                    <a:pt x="9357" y="31"/>
                  </a:lnTo>
                  <a:lnTo>
                    <a:pt x="9283" y="17"/>
                  </a:lnTo>
                  <a:lnTo>
                    <a:pt x="9207" y="8"/>
                  </a:lnTo>
                  <a:lnTo>
                    <a:pt x="9131" y="2"/>
                  </a:lnTo>
                  <a:lnTo>
                    <a:pt x="9053" y="0"/>
                  </a:lnTo>
                  <a:lnTo>
                    <a:pt x="1509" y="0"/>
                  </a:lnTo>
                  <a:lnTo>
                    <a:pt x="1431" y="2"/>
                  </a:lnTo>
                  <a:lnTo>
                    <a:pt x="1355" y="8"/>
                  </a:lnTo>
                  <a:lnTo>
                    <a:pt x="1280" y="17"/>
                  </a:lnTo>
                  <a:lnTo>
                    <a:pt x="1205" y="31"/>
                  </a:lnTo>
                  <a:lnTo>
                    <a:pt x="1133" y="47"/>
                  </a:lnTo>
                  <a:lnTo>
                    <a:pt x="1060" y="69"/>
                  </a:lnTo>
                  <a:lnTo>
                    <a:pt x="991" y="92"/>
                  </a:lnTo>
                  <a:lnTo>
                    <a:pt x="922" y="119"/>
                  </a:lnTo>
                  <a:lnTo>
                    <a:pt x="855" y="149"/>
                  </a:lnTo>
                  <a:lnTo>
                    <a:pt x="791" y="182"/>
                  </a:lnTo>
                  <a:lnTo>
                    <a:pt x="727" y="219"/>
                  </a:lnTo>
                  <a:lnTo>
                    <a:pt x="666" y="258"/>
                  </a:lnTo>
                  <a:lnTo>
                    <a:pt x="607" y="300"/>
                  </a:lnTo>
                  <a:lnTo>
                    <a:pt x="549" y="346"/>
                  </a:lnTo>
                  <a:lnTo>
                    <a:pt x="495" y="393"/>
                  </a:lnTo>
                  <a:lnTo>
                    <a:pt x="443" y="443"/>
                  </a:lnTo>
                  <a:lnTo>
                    <a:pt x="392" y="496"/>
                  </a:lnTo>
                  <a:lnTo>
                    <a:pt x="345" y="550"/>
                  </a:lnTo>
                  <a:lnTo>
                    <a:pt x="300" y="608"/>
                  </a:lnTo>
                  <a:lnTo>
                    <a:pt x="259" y="667"/>
                  </a:lnTo>
                  <a:lnTo>
                    <a:pt x="218" y="729"/>
                  </a:lnTo>
                  <a:lnTo>
                    <a:pt x="182" y="791"/>
                  </a:lnTo>
                  <a:lnTo>
                    <a:pt x="149" y="856"/>
                  </a:lnTo>
                  <a:lnTo>
                    <a:pt x="119" y="924"/>
                  </a:lnTo>
                  <a:lnTo>
                    <a:pt x="92" y="993"/>
                  </a:lnTo>
                  <a:lnTo>
                    <a:pt x="68" y="1062"/>
                  </a:lnTo>
                  <a:lnTo>
                    <a:pt x="47" y="1134"/>
                  </a:lnTo>
                  <a:lnTo>
                    <a:pt x="31" y="1207"/>
                  </a:lnTo>
                  <a:lnTo>
                    <a:pt x="17" y="1282"/>
                  </a:lnTo>
                  <a:lnTo>
                    <a:pt x="8" y="1357"/>
                  </a:lnTo>
                  <a:lnTo>
                    <a:pt x="2" y="1434"/>
                  </a:lnTo>
                  <a:lnTo>
                    <a:pt x="0" y="1511"/>
                  </a:lnTo>
                  <a:lnTo>
                    <a:pt x="0" y="7052"/>
                  </a:lnTo>
                  <a:lnTo>
                    <a:pt x="2" y="7131"/>
                  </a:lnTo>
                  <a:lnTo>
                    <a:pt x="8" y="7207"/>
                  </a:lnTo>
                  <a:lnTo>
                    <a:pt x="17" y="7283"/>
                  </a:lnTo>
                  <a:lnTo>
                    <a:pt x="31" y="7357"/>
                  </a:lnTo>
                  <a:lnTo>
                    <a:pt x="47" y="7430"/>
                  </a:lnTo>
                  <a:lnTo>
                    <a:pt x="68" y="7502"/>
                  </a:lnTo>
                  <a:lnTo>
                    <a:pt x="92" y="7572"/>
                  </a:lnTo>
                  <a:lnTo>
                    <a:pt x="119" y="7641"/>
                  </a:lnTo>
                  <a:lnTo>
                    <a:pt x="149" y="7707"/>
                  </a:lnTo>
                  <a:lnTo>
                    <a:pt x="182" y="7773"/>
                  </a:lnTo>
                  <a:lnTo>
                    <a:pt x="218" y="7836"/>
                  </a:lnTo>
                  <a:lnTo>
                    <a:pt x="259" y="7897"/>
                  </a:lnTo>
                  <a:lnTo>
                    <a:pt x="300" y="7956"/>
                  </a:lnTo>
                  <a:lnTo>
                    <a:pt x="345" y="8014"/>
                  </a:lnTo>
                  <a:lnTo>
                    <a:pt x="392" y="8068"/>
                  </a:lnTo>
                  <a:lnTo>
                    <a:pt x="443" y="8120"/>
                  </a:lnTo>
                  <a:lnTo>
                    <a:pt x="495" y="8171"/>
                  </a:lnTo>
                  <a:lnTo>
                    <a:pt x="549" y="8218"/>
                  </a:lnTo>
                  <a:lnTo>
                    <a:pt x="607" y="8263"/>
                  </a:lnTo>
                  <a:lnTo>
                    <a:pt x="666" y="8306"/>
                  </a:lnTo>
                  <a:lnTo>
                    <a:pt x="727" y="8345"/>
                  </a:lnTo>
                  <a:lnTo>
                    <a:pt x="791" y="8381"/>
                  </a:lnTo>
                  <a:lnTo>
                    <a:pt x="855" y="8415"/>
                  </a:lnTo>
                  <a:lnTo>
                    <a:pt x="922" y="8445"/>
                  </a:lnTo>
                  <a:lnTo>
                    <a:pt x="991" y="8472"/>
                  </a:lnTo>
                  <a:lnTo>
                    <a:pt x="1060" y="8496"/>
                  </a:lnTo>
                  <a:lnTo>
                    <a:pt x="1133" y="8516"/>
                  </a:lnTo>
                  <a:lnTo>
                    <a:pt x="1205" y="8533"/>
                  </a:lnTo>
                  <a:lnTo>
                    <a:pt x="1280" y="8547"/>
                  </a:lnTo>
                  <a:lnTo>
                    <a:pt x="1355" y="8557"/>
                  </a:lnTo>
                  <a:lnTo>
                    <a:pt x="1431" y="8562"/>
                  </a:lnTo>
                  <a:lnTo>
                    <a:pt x="1509" y="8564"/>
                  </a:lnTo>
                  <a:lnTo>
                    <a:pt x="1509" y="8564"/>
                  </a:lnTo>
                  <a:lnTo>
                    <a:pt x="1509" y="10075"/>
                  </a:lnTo>
                  <a:lnTo>
                    <a:pt x="1511" y="10153"/>
                  </a:lnTo>
                  <a:lnTo>
                    <a:pt x="1517" y="10229"/>
                  </a:lnTo>
                  <a:lnTo>
                    <a:pt x="1527" y="10305"/>
                  </a:lnTo>
                  <a:lnTo>
                    <a:pt x="1540" y="10379"/>
                  </a:lnTo>
                  <a:lnTo>
                    <a:pt x="1557" y="10453"/>
                  </a:lnTo>
                  <a:lnTo>
                    <a:pt x="1577" y="10525"/>
                  </a:lnTo>
                  <a:lnTo>
                    <a:pt x="1601" y="10594"/>
                  </a:lnTo>
                  <a:lnTo>
                    <a:pt x="1629" y="10663"/>
                  </a:lnTo>
                  <a:lnTo>
                    <a:pt x="1659" y="10730"/>
                  </a:lnTo>
                  <a:lnTo>
                    <a:pt x="1692" y="10795"/>
                  </a:lnTo>
                  <a:lnTo>
                    <a:pt x="1728" y="10858"/>
                  </a:lnTo>
                  <a:lnTo>
                    <a:pt x="1767" y="10920"/>
                  </a:lnTo>
                  <a:lnTo>
                    <a:pt x="1810" y="10979"/>
                  </a:lnTo>
                  <a:lnTo>
                    <a:pt x="1854" y="11036"/>
                  </a:lnTo>
                  <a:lnTo>
                    <a:pt x="1901" y="11091"/>
                  </a:lnTo>
                  <a:lnTo>
                    <a:pt x="1952" y="11143"/>
                  </a:lnTo>
                  <a:lnTo>
                    <a:pt x="2004" y="11194"/>
                  </a:lnTo>
                  <a:lnTo>
                    <a:pt x="2059" y="11241"/>
                  </a:lnTo>
                  <a:lnTo>
                    <a:pt x="2115" y="11286"/>
                  </a:lnTo>
                  <a:lnTo>
                    <a:pt x="2175" y="11329"/>
                  </a:lnTo>
                  <a:lnTo>
                    <a:pt x="2236" y="11368"/>
                  </a:lnTo>
                  <a:lnTo>
                    <a:pt x="2300" y="11404"/>
                  </a:lnTo>
                  <a:lnTo>
                    <a:pt x="2365" y="11437"/>
                  </a:lnTo>
                  <a:lnTo>
                    <a:pt x="2431" y="11468"/>
                  </a:lnTo>
                  <a:lnTo>
                    <a:pt x="2500" y="11495"/>
                  </a:lnTo>
                  <a:lnTo>
                    <a:pt x="2570" y="11519"/>
                  </a:lnTo>
                  <a:lnTo>
                    <a:pt x="2642" y="11539"/>
                  </a:lnTo>
                  <a:lnTo>
                    <a:pt x="2714" y="11556"/>
                  </a:lnTo>
                  <a:lnTo>
                    <a:pt x="2788" y="11569"/>
                  </a:lnTo>
                  <a:lnTo>
                    <a:pt x="2864" y="11579"/>
                  </a:lnTo>
                  <a:lnTo>
                    <a:pt x="2940" y="11585"/>
                  </a:lnTo>
                  <a:lnTo>
                    <a:pt x="3018" y="11587"/>
                  </a:lnTo>
                  <a:lnTo>
                    <a:pt x="3592" y="11587"/>
                  </a:lnTo>
                  <a:lnTo>
                    <a:pt x="3614" y="11667"/>
                  </a:lnTo>
                  <a:lnTo>
                    <a:pt x="3640" y="11747"/>
                  </a:lnTo>
                  <a:lnTo>
                    <a:pt x="3670" y="11824"/>
                  </a:lnTo>
                  <a:lnTo>
                    <a:pt x="3702" y="11901"/>
                  </a:lnTo>
                  <a:lnTo>
                    <a:pt x="3737" y="11976"/>
                  </a:lnTo>
                  <a:lnTo>
                    <a:pt x="3774" y="12048"/>
                  </a:lnTo>
                  <a:lnTo>
                    <a:pt x="3816" y="12120"/>
                  </a:lnTo>
                  <a:lnTo>
                    <a:pt x="3859" y="12188"/>
                  </a:lnTo>
                  <a:lnTo>
                    <a:pt x="3905" y="12256"/>
                  </a:lnTo>
                  <a:lnTo>
                    <a:pt x="3953" y="12321"/>
                  </a:lnTo>
                  <a:lnTo>
                    <a:pt x="4005" y="12385"/>
                  </a:lnTo>
                  <a:lnTo>
                    <a:pt x="4059" y="12446"/>
                  </a:lnTo>
                  <a:lnTo>
                    <a:pt x="4114" y="12505"/>
                  </a:lnTo>
                  <a:lnTo>
                    <a:pt x="4173" y="12561"/>
                  </a:lnTo>
                  <a:lnTo>
                    <a:pt x="4233" y="12615"/>
                  </a:lnTo>
                  <a:lnTo>
                    <a:pt x="4296" y="12668"/>
                  </a:lnTo>
                  <a:lnTo>
                    <a:pt x="4361" y="12717"/>
                  </a:lnTo>
                  <a:lnTo>
                    <a:pt x="4428" y="12763"/>
                  </a:lnTo>
                  <a:lnTo>
                    <a:pt x="4497" y="12807"/>
                  </a:lnTo>
                  <a:lnTo>
                    <a:pt x="4567" y="12848"/>
                  </a:lnTo>
                  <a:lnTo>
                    <a:pt x="4639" y="12886"/>
                  </a:lnTo>
                  <a:lnTo>
                    <a:pt x="4714" y="12922"/>
                  </a:lnTo>
                  <a:lnTo>
                    <a:pt x="4789" y="12955"/>
                  </a:lnTo>
                  <a:lnTo>
                    <a:pt x="4867" y="12984"/>
                  </a:lnTo>
                  <a:lnTo>
                    <a:pt x="4946" y="13010"/>
                  </a:lnTo>
                  <a:lnTo>
                    <a:pt x="5026" y="13033"/>
                  </a:lnTo>
                  <a:lnTo>
                    <a:pt x="5107" y="13053"/>
                  </a:lnTo>
                  <a:lnTo>
                    <a:pt x="5191" y="13069"/>
                  </a:lnTo>
                  <a:lnTo>
                    <a:pt x="5274" y="13081"/>
                  </a:lnTo>
                  <a:lnTo>
                    <a:pt x="5360" y="13091"/>
                  </a:lnTo>
                  <a:lnTo>
                    <a:pt x="5446" y="13096"/>
                  </a:lnTo>
                  <a:lnTo>
                    <a:pt x="5533" y="13098"/>
                  </a:lnTo>
                  <a:lnTo>
                    <a:pt x="5620" y="13096"/>
                  </a:lnTo>
                  <a:lnTo>
                    <a:pt x="5707" y="13091"/>
                  </a:lnTo>
                  <a:lnTo>
                    <a:pt x="5791" y="13081"/>
                  </a:lnTo>
                  <a:lnTo>
                    <a:pt x="5876" y="13069"/>
                  </a:lnTo>
                  <a:lnTo>
                    <a:pt x="5958" y="13053"/>
                  </a:lnTo>
                  <a:lnTo>
                    <a:pt x="6040" y="13033"/>
                  </a:lnTo>
                  <a:lnTo>
                    <a:pt x="6120" y="13010"/>
                  </a:lnTo>
                  <a:lnTo>
                    <a:pt x="6199" y="12984"/>
                  </a:lnTo>
                  <a:lnTo>
                    <a:pt x="6276" y="12955"/>
                  </a:lnTo>
                  <a:lnTo>
                    <a:pt x="6351" y="12922"/>
                  </a:lnTo>
                  <a:lnTo>
                    <a:pt x="6426" y="12886"/>
                  </a:lnTo>
                  <a:lnTo>
                    <a:pt x="6498" y="12848"/>
                  </a:lnTo>
                  <a:lnTo>
                    <a:pt x="6569" y="12807"/>
                  </a:lnTo>
                  <a:lnTo>
                    <a:pt x="6637" y="12763"/>
                  </a:lnTo>
                  <a:lnTo>
                    <a:pt x="6705" y="12717"/>
                  </a:lnTo>
                  <a:lnTo>
                    <a:pt x="6769" y="12668"/>
                  </a:lnTo>
                  <a:lnTo>
                    <a:pt x="6831" y="12615"/>
                  </a:lnTo>
                  <a:lnTo>
                    <a:pt x="6892" y="12561"/>
                  </a:lnTo>
                  <a:lnTo>
                    <a:pt x="6951" y="12505"/>
                  </a:lnTo>
                  <a:lnTo>
                    <a:pt x="7006" y="12446"/>
                  </a:lnTo>
                  <a:lnTo>
                    <a:pt x="7061" y="12385"/>
                  </a:lnTo>
                  <a:lnTo>
                    <a:pt x="7112" y="12321"/>
                  </a:lnTo>
                  <a:lnTo>
                    <a:pt x="7160" y="12256"/>
                  </a:lnTo>
                  <a:lnTo>
                    <a:pt x="7207" y="12188"/>
                  </a:lnTo>
                  <a:lnTo>
                    <a:pt x="7250" y="12120"/>
                  </a:lnTo>
                  <a:lnTo>
                    <a:pt x="7290" y="12048"/>
                  </a:lnTo>
                  <a:lnTo>
                    <a:pt x="7328" y="11976"/>
                  </a:lnTo>
                  <a:lnTo>
                    <a:pt x="7363" y="11901"/>
                  </a:lnTo>
                  <a:lnTo>
                    <a:pt x="7396" y="11824"/>
                  </a:lnTo>
                  <a:lnTo>
                    <a:pt x="7425" y="11747"/>
                  </a:lnTo>
                  <a:lnTo>
                    <a:pt x="7450" y="11667"/>
                  </a:lnTo>
                  <a:lnTo>
                    <a:pt x="7473" y="11587"/>
                  </a:lnTo>
                  <a:lnTo>
                    <a:pt x="10131" y="11587"/>
                  </a:lnTo>
                  <a:lnTo>
                    <a:pt x="10153" y="11667"/>
                  </a:lnTo>
                  <a:lnTo>
                    <a:pt x="10179" y="11747"/>
                  </a:lnTo>
                  <a:lnTo>
                    <a:pt x="10208" y="11824"/>
                  </a:lnTo>
                  <a:lnTo>
                    <a:pt x="10240" y="11901"/>
                  </a:lnTo>
                  <a:lnTo>
                    <a:pt x="10275" y="11976"/>
                  </a:lnTo>
                  <a:lnTo>
                    <a:pt x="10313" y="12048"/>
                  </a:lnTo>
                  <a:lnTo>
                    <a:pt x="10354" y="12120"/>
                  </a:lnTo>
                  <a:lnTo>
                    <a:pt x="10397" y="12188"/>
                  </a:lnTo>
                  <a:lnTo>
                    <a:pt x="10444" y="12256"/>
                  </a:lnTo>
                  <a:lnTo>
                    <a:pt x="10492" y="12321"/>
                  </a:lnTo>
                  <a:lnTo>
                    <a:pt x="10543" y="12385"/>
                  </a:lnTo>
                  <a:lnTo>
                    <a:pt x="10597" y="12446"/>
                  </a:lnTo>
                  <a:lnTo>
                    <a:pt x="10653" y="12505"/>
                  </a:lnTo>
                  <a:lnTo>
                    <a:pt x="10711" y="12561"/>
                  </a:lnTo>
                  <a:lnTo>
                    <a:pt x="10772" y="12615"/>
                  </a:lnTo>
                  <a:lnTo>
                    <a:pt x="10835" y="12668"/>
                  </a:lnTo>
                  <a:lnTo>
                    <a:pt x="10899" y="12717"/>
                  </a:lnTo>
                  <a:lnTo>
                    <a:pt x="10967" y="12763"/>
                  </a:lnTo>
                  <a:lnTo>
                    <a:pt x="11035" y="12807"/>
                  </a:lnTo>
                  <a:lnTo>
                    <a:pt x="11106" y="12848"/>
                  </a:lnTo>
                  <a:lnTo>
                    <a:pt x="11178" y="12886"/>
                  </a:lnTo>
                  <a:lnTo>
                    <a:pt x="11252" y="12922"/>
                  </a:lnTo>
                  <a:lnTo>
                    <a:pt x="11328" y="12955"/>
                  </a:lnTo>
                  <a:lnTo>
                    <a:pt x="11405" y="12984"/>
                  </a:lnTo>
                  <a:lnTo>
                    <a:pt x="11484" y="13010"/>
                  </a:lnTo>
                  <a:lnTo>
                    <a:pt x="11564" y="13033"/>
                  </a:lnTo>
                  <a:lnTo>
                    <a:pt x="11646" y="13053"/>
                  </a:lnTo>
                  <a:lnTo>
                    <a:pt x="11729" y="13069"/>
                  </a:lnTo>
                  <a:lnTo>
                    <a:pt x="11813" y="13081"/>
                  </a:lnTo>
                  <a:lnTo>
                    <a:pt x="11898" y="13091"/>
                  </a:lnTo>
                  <a:lnTo>
                    <a:pt x="11984" y="13096"/>
                  </a:lnTo>
                  <a:lnTo>
                    <a:pt x="12071" y="13098"/>
                  </a:lnTo>
                  <a:lnTo>
                    <a:pt x="12159" y="13096"/>
                  </a:lnTo>
                  <a:lnTo>
                    <a:pt x="12244" y="13091"/>
                  </a:lnTo>
                  <a:lnTo>
                    <a:pt x="12330" y="13081"/>
                  </a:lnTo>
                  <a:lnTo>
                    <a:pt x="12413" y="13069"/>
                  </a:lnTo>
                  <a:lnTo>
                    <a:pt x="12497" y="13053"/>
                  </a:lnTo>
                  <a:lnTo>
                    <a:pt x="12578" y="13033"/>
                  </a:lnTo>
                  <a:lnTo>
                    <a:pt x="12658" y="13010"/>
                  </a:lnTo>
                  <a:lnTo>
                    <a:pt x="12737" y="12984"/>
                  </a:lnTo>
                  <a:lnTo>
                    <a:pt x="12815" y="12955"/>
                  </a:lnTo>
                  <a:lnTo>
                    <a:pt x="12890" y="12922"/>
                  </a:lnTo>
                  <a:lnTo>
                    <a:pt x="12964" y="12886"/>
                  </a:lnTo>
                  <a:lnTo>
                    <a:pt x="13036" y="12848"/>
                  </a:lnTo>
                  <a:lnTo>
                    <a:pt x="13107" y="12807"/>
                  </a:lnTo>
                  <a:lnTo>
                    <a:pt x="13176" y="12763"/>
                  </a:lnTo>
                  <a:lnTo>
                    <a:pt x="13242" y="12717"/>
                  </a:lnTo>
                  <a:lnTo>
                    <a:pt x="13308" y="12668"/>
                  </a:lnTo>
                  <a:lnTo>
                    <a:pt x="13370" y="12615"/>
                  </a:lnTo>
                  <a:lnTo>
                    <a:pt x="13430" y="12561"/>
                  </a:lnTo>
                  <a:lnTo>
                    <a:pt x="13489" y="12505"/>
                  </a:lnTo>
                  <a:lnTo>
                    <a:pt x="13545" y="12446"/>
                  </a:lnTo>
                  <a:lnTo>
                    <a:pt x="13598" y="12385"/>
                  </a:lnTo>
                  <a:lnTo>
                    <a:pt x="13650" y="12321"/>
                  </a:lnTo>
                  <a:lnTo>
                    <a:pt x="13699" y="12256"/>
                  </a:lnTo>
                  <a:lnTo>
                    <a:pt x="13745" y="12188"/>
                  </a:lnTo>
                  <a:lnTo>
                    <a:pt x="13788" y="12120"/>
                  </a:lnTo>
                  <a:lnTo>
                    <a:pt x="13829" y="12048"/>
                  </a:lnTo>
                  <a:lnTo>
                    <a:pt x="13867" y="11976"/>
                  </a:lnTo>
                  <a:lnTo>
                    <a:pt x="13902" y="11901"/>
                  </a:lnTo>
                  <a:lnTo>
                    <a:pt x="13934" y="11824"/>
                  </a:lnTo>
                  <a:lnTo>
                    <a:pt x="13962" y="11747"/>
                  </a:lnTo>
                  <a:lnTo>
                    <a:pt x="13989" y="11667"/>
                  </a:lnTo>
                  <a:lnTo>
                    <a:pt x="14012" y="11587"/>
                  </a:lnTo>
                  <a:lnTo>
                    <a:pt x="14586" y="11587"/>
                  </a:lnTo>
                  <a:lnTo>
                    <a:pt x="14664" y="11585"/>
                  </a:lnTo>
                  <a:lnTo>
                    <a:pt x="14740" y="11579"/>
                  </a:lnTo>
                  <a:lnTo>
                    <a:pt x="14815" y="11569"/>
                  </a:lnTo>
                  <a:lnTo>
                    <a:pt x="14890" y="11556"/>
                  </a:lnTo>
                  <a:lnTo>
                    <a:pt x="14962" y="11539"/>
                  </a:lnTo>
                  <a:lnTo>
                    <a:pt x="15035" y="11519"/>
                  </a:lnTo>
                  <a:lnTo>
                    <a:pt x="15104" y="11495"/>
                  </a:lnTo>
                  <a:lnTo>
                    <a:pt x="15173" y="11468"/>
                  </a:lnTo>
                  <a:lnTo>
                    <a:pt x="15240" y="11437"/>
                  </a:lnTo>
                  <a:lnTo>
                    <a:pt x="15304" y="11404"/>
                  </a:lnTo>
                  <a:lnTo>
                    <a:pt x="15368" y="11368"/>
                  </a:lnTo>
                  <a:lnTo>
                    <a:pt x="15429" y="11329"/>
                  </a:lnTo>
                  <a:lnTo>
                    <a:pt x="15488" y="11286"/>
                  </a:lnTo>
                  <a:lnTo>
                    <a:pt x="15546" y="11241"/>
                  </a:lnTo>
                  <a:lnTo>
                    <a:pt x="15600" y="11194"/>
                  </a:lnTo>
                  <a:lnTo>
                    <a:pt x="15652" y="11143"/>
                  </a:lnTo>
                  <a:lnTo>
                    <a:pt x="15703" y="11091"/>
                  </a:lnTo>
                  <a:lnTo>
                    <a:pt x="15750" y="11036"/>
                  </a:lnTo>
                  <a:lnTo>
                    <a:pt x="15795" y="10979"/>
                  </a:lnTo>
                  <a:lnTo>
                    <a:pt x="15836" y="10920"/>
                  </a:lnTo>
                  <a:lnTo>
                    <a:pt x="15877" y="10858"/>
                  </a:lnTo>
                  <a:lnTo>
                    <a:pt x="15913" y="10795"/>
                  </a:lnTo>
                  <a:lnTo>
                    <a:pt x="15946" y="10730"/>
                  </a:lnTo>
                  <a:lnTo>
                    <a:pt x="15976" y="10663"/>
                  </a:lnTo>
                  <a:lnTo>
                    <a:pt x="16003" y="10594"/>
                  </a:lnTo>
                  <a:lnTo>
                    <a:pt x="16027" y="10525"/>
                  </a:lnTo>
                  <a:lnTo>
                    <a:pt x="16048" y="10453"/>
                  </a:lnTo>
                  <a:lnTo>
                    <a:pt x="16064" y="10379"/>
                  </a:lnTo>
                  <a:lnTo>
                    <a:pt x="16078" y="10305"/>
                  </a:lnTo>
                  <a:lnTo>
                    <a:pt x="16087" y="10229"/>
                  </a:lnTo>
                  <a:lnTo>
                    <a:pt x="16093" y="10153"/>
                  </a:lnTo>
                  <a:lnTo>
                    <a:pt x="16095" y="10075"/>
                  </a:lnTo>
                  <a:lnTo>
                    <a:pt x="16095" y="7052"/>
                  </a:lnTo>
                  <a:lnTo>
                    <a:pt x="16095" y="7025"/>
                  </a:lnTo>
                  <a:lnTo>
                    <a:pt x="16094" y="6997"/>
                  </a:lnTo>
                  <a:lnTo>
                    <a:pt x="16093" y="6969"/>
                  </a:lnTo>
                  <a:lnTo>
                    <a:pt x="16091" y="6941"/>
                  </a:lnTo>
                  <a:lnTo>
                    <a:pt x="16089" y="6913"/>
                  </a:lnTo>
                  <a:lnTo>
                    <a:pt x="16086" y="6885"/>
                  </a:lnTo>
                  <a:lnTo>
                    <a:pt x="16083" y="6858"/>
                  </a:lnTo>
                  <a:lnTo>
                    <a:pt x="16079" y="6831"/>
                  </a:lnTo>
                  <a:lnTo>
                    <a:pt x="16075" y="6803"/>
                  </a:lnTo>
                  <a:lnTo>
                    <a:pt x="16070" y="6776"/>
                  </a:lnTo>
                  <a:lnTo>
                    <a:pt x="16065" y="6749"/>
                  </a:lnTo>
                  <a:lnTo>
                    <a:pt x="16059" y="6722"/>
                  </a:lnTo>
                  <a:lnTo>
                    <a:pt x="16053" y="6695"/>
                  </a:lnTo>
                  <a:lnTo>
                    <a:pt x="16046" y="6667"/>
                  </a:lnTo>
                  <a:lnTo>
                    <a:pt x="16039" y="6641"/>
                  </a:lnTo>
                  <a:lnTo>
                    <a:pt x="16031" y="6615"/>
                  </a:lnTo>
                  <a:lnTo>
                    <a:pt x="16023" y="6588"/>
                  </a:lnTo>
                  <a:lnTo>
                    <a:pt x="16014" y="6562"/>
                  </a:lnTo>
                  <a:lnTo>
                    <a:pt x="16004" y="6536"/>
                  </a:lnTo>
                  <a:lnTo>
                    <a:pt x="15994" y="6510"/>
                  </a:lnTo>
                  <a:lnTo>
                    <a:pt x="15984" y="6484"/>
                  </a:lnTo>
                  <a:lnTo>
                    <a:pt x="15974" y="6459"/>
                  </a:lnTo>
                  <a:lnTo>
                    <a:pt x="15963" y="6434"/>
                  </a:lnTo>
                  <a:lnTo>
                    <a:pt x="15951" y="6408"/>
                  </a:lnTo>
                  <a:lnTo>
                    <a:pt x="15939" y="6383"/>
                  </a:lnTo>
                  <a:lnTo>
                    <a:pt x="15927" y="6358"/>
                  </a:lnTo>
                  <a:lnTo>
                    <a:pt x="15914" y="6334"/>
                  </a:lnTo>
                  <a:lnTo>
                    <a:pt x="15900" y="6310"/>
                  </a:lnTo>
                  <a:lnTo>
                    <a:pt x="15886" y="6286"/>
                  </a:lnTo>
                  <a:lnTo>
                    <a:pt x="15872" y="6261"/>
                  </a:lnTo>
                  <a:lnTo>
                    <a:pt x="15857" y="6238"/>
                  </a:lnTo>
                  <a:lnTo>
                    <a:pt x="15842" y="6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77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28" name="ïṧļidè">
              <a:extLst>
                <a:ext uri="{FF2B5EF4-FFF2-40B4-BE49-F238E27FC236}">
                  <a16:creationId xmlns:a16="http://schemas.microsoft.com/office/drawing/2014/main" id="{99B149D9-C42C-408D-ACCA-9F438AFFB77C}"/>
                </a:ext>
              </a:extLst>
            </p:cNvPr>
            <p:cNvSpPr/>
            <p:nvPr/>
          </p:nvSpPr>
          <p:spPr bwMode="auto">
            <a:xfrm>
              <a:off x="6958665" y="1503361"/>
              <a:ext cx="404561" cy="303888"/>
            </a:xfrm>
            <a:custGeom>
              <a:avLst/>
              <a:gdLst>
                <a:gd name="T0" fmla="*/ 3355 w 16058"/>
                <a:gd name="T1" fmla="*/ 1202 h 12062"/>
                <a:gd name="T2" fmla="*/ 12900 w 16058"/>
                <a:gd name="T3" fmla="*/ 3520 h 12062"/>
                <a:gd name="T4" fmla="*/ 6375 w 16058"/>
                <a:gd name="T5" fmla="*/ 9292 h 12062"/>
                <a:gd name="T6" fmla="*/ 7499 w 16058"/>
                <a:gd name="T7" fmla="*/ 10191 h 12062"/>
                <a:gd name="T8" fmla="*/ 3867 w 16058"/>
                <a:gd name="T9" fmla="*/ 3520 h 12062"/>
                <a:gd name="T10" fmla="*/ 4867 w 16058"/>
                <a:gd name="T11" fmla="*/ 1808 h 12062"/>
                <a:gd name="T12" fmla="*/ 10392 w 16058"/>
                <a:gd name="T13" fmla="*/ 1006 h 12062"/>
                <a:gd name="T14" fmla="*/ 11161 w 16058"/>
                <a:gd name="T15" fmla="*/ 2489 h 12062"/>
                <a:gd name="T16" fmla="*/ 8559 w 16058"/>
                <a:gd name="T17" fmla="*/ 10191 h 12062"/>
                <a:gd name="T18" fmla="*/ 9279 w 16058"/>
                <a:gd name="T19" fmla="*/ 4022 h 12062"/>
                <a:gd name="T20" fmla="*/ 6524 w 16058"/>
                <a:gd name="T21" fmla="*/ 3192 h 12062"/>
                <a:gd name="T22" fmla="*/ 8421 w 16058"/>
                <a:gd name="T23" fmla="*/ 2263 h 12062"/>
                <a:gd name="T24" fmla="*/ 15764 w 16058"/>
                <a:gd name="T25" fmla="*/ 2849 h 12062"/>
                <a:gd name="T26" fmla="*/ 13141 w 16058"/>
                <a:gd name="T27" fmla="*/ 228 h 12062"/>
                <a:gd name="T28" fmla="*/ 13041 w 16058"/>
                <a:gd name="T29" fmla="*/ 156 h 12062"/>
                <a:gd name="T30" fmla="*/ 12934 w 16058"/>
                <a:gd name="T31" fmla="*/ 97 h 12062"/>
                <a:gd name="T32" fmla="*/ 12820 w 16058"/>
                <a:gd name="T33" fmla="*/ 51 h 12062"/>
                <a:gd name="T34" fmla="*/ 12702 w 16058"/>
                <a:gd name="T35" fmla="*/ 19 h 12062"/>
                <a:gd name="T36" fmla="*/ 12579 w 16058"/>
                <a:gd name="T37" fmla="*/ 3 h 12062"/>
                <a:gd name="T38" fmla="*/ 3529 w 16058"/>
                <a:gd name="T39" fmla="*/ 0 h 12062"/>
                <a:gd name="T40" fmla="*/ 3405 w 16058"/>
                <a:gd name="T41" fmla="*/ 11 h 12062"/>
                <a:gd name="T42" fmla="*/ 3285 w 16058"/>
                <a:gd name="T43" fmla="*/ 36 h 12062"/>
                <a:gd name="T44" fmla="*/ 3169 w 16058"/>
                <a:gd name="T45" fmla="*/ 76 h 12062"/>
                <a:gd name="T46" fmla="*/ 3059 w 16058"/>
                <a:gd name="T47" fmla="*/ 131 h 12062"/>
                <a:gd name="T48" fmla="*/ 2957 w 16058"/>
                <a:gd name="T49" fmla="*/ 197 h 12062"/>
                <a:gd name="T50" fmla="*/ 2861 w 16058"/>
                <a:gd name="T51" fmla="*/ 278 h 12062"/>
                <a:gd name="T52" fmla="*/ 242 w 16058"/>
                <a:gd name="T53" fmla="*/ 2906 h 12062"/>
                <a:gd name="T54" fmla="*/ 166 w 16058"/>
                <a:gd name="T55" fmla="*/ 3008 h 12062"/>
                <a:gd name="T56" fmla="*/ 103 w 16058"/>
                <a:gd name="T57" fmla="*/ 3116 h 12062"/>
                <a:gd name="T58" fmla="*/ 56 w 16058"/>
                <a:gd name="T59" fmla="*/ 3231 h 12062"/>
                <a:gd name="T60" fmla="*/ 23 w 16058"/>
                <a:gd name="T61" fmla="*/ 3349 h 12062"/>
                <a:gd name="T62" fmla="*/ 5 w 16058"/>
                <a:gd name="T63" fmla="*/ 3469 h 12062"/>
                <a:gd name="T64" fmla="*/ 1 w 16058"/>
                <a:gd name="T65" fmla="*/ 3611 h 12062"/>
                <a:gd name="T66" fmla="*/ 37 w 16058"/>
                <a:gd name="T67" fmla="*/ 3830 h 12062"/>
                <a:gd name="T68" fmla="*/ 90 w 16058"/>
                <a:gd name="T69" fmla="*/ 3978 h 12062"/>
                <a:gd name="T70" fmla="*/ 144 w 16058"/>
                <a:gd name="T71" fmla="*/ 4079 h 12062"/>
                <a:gd name="T72" fmla="*/ 209 w 16058"/>
                <a:gd name="T73" fmla="*/ 4174 h 12062"/>
                <a:gd name="T74" fmla="*/ 7297 w 16058"/>
                <a:gd name="T75" fmla="*/ 11744 h 12062"/>
                <a:gd name="T76" fmla="*/ 7395 w 16058"/>
                <a:gd name="T77" fmla="*/ 11836 h 12062"/>
                <a:gd name="T78" fmla="*/ 7502 w 16058"/>
                <a:gd name="T79" fmla="*/ 11912 h 12062"/>
                <a:gd name="T80" fmla="*/ 7618 w 16058"/>
                <a:gd name="T81" fmla="*/ 11974 h 12062"/>
                <a:gd name="T82" fmla="*/ 7741 w 16058"/>
                <a:gd name="T83" fmla="*/ 12020 h 12062"/>
                <a:gd name="T84" fmla="*/ 7869 w 16058"/>
                <a:gd name="T85" fmla="*/ 12049 h 12062"/>
                <a:gd name="T86" fmla="*/ 8002 w 16058"/>
                <a:gd name="T87" fmla="*/ 12062 h 12062"/>
                <a:gd name="T88" fmla="*/ 8135 w 16058"/>
                <a:gd name="T89" fmla="*/ 12056 h 12062"/>
                <a:gd name="T90" fmla="*/ 8266 w 16058"/>
                <a:gd name="T91" fmla="*/ 12034 h 12062"/>
                <a:gd name="T92" fmla="*/ 8392 w 16058"/>
                <a:gd name="T93" fmla="*/ 11994 h 12062"/>
                <a:gd name="T94" fmla="*/ 8511 w 16058"/>
                <a:gd name="T95" fmla="*/ 11938 h 12062"/>
                <a:gd name="T96" fmla="*/ 8622 w 16058"/>
                <a:gd name="T97" fmla="*/ 11868 h 12062"/>
                <a:gd name="T98" fmla="*/ 8724 w 16058"/>
                <a:gd name="T99" fmla="*/ 11782 h 12062"/>
                <a:gd name="T100" fmla="*/ 15821 w 16058"/>
                <a:gd name="T101" fmla="*/ 4210 h 12062"/>
                <a:gd name="T102" fmla="*/ 15892 w 16058"/>
                <a:gd name="T103" fmla="*/ 4115 h 12062"/>
                <a:gd name="T104" fmla="*/ 15951 w 16058"/>
                <a:gd name="T105" fmla="*/ 4014 h 12062"/>
                <a:gd name="T106" fmla="*/ 15997 w 16058"/>
                <a:gd name="T107" fmla="*/ 3908 h 12062"/>
                <a:gd name="T108" fmla="*/ 16030 w 16058"/>
                <a:gd name="T109" fmla="*/ 3799 h 12062"/>
                <a:gd name="T110" fmla="*/ 16050 w 16058"/>
                <a:gd name="T111" fmla="*/ 3686 h 12062"/>
                <a:gd name="T112" fmla="*/ 16058 w 16058"/>
                <a:gd name="T113" fmla="*/ 3574 h 12062"/>
                <a:gd name="T114" fmla="*/ 16053 w 16058"/>
                <a:gd name="T115" fmla="*/ 3456 h 12062"/>
                <a:gd name="T116" fmla="*/ 16034 w 16058"/>
                <a:gd name="T117" fmla="*/ 3338 h 12062"/>
                <a:gd name="T118" fmla="*/ 16000 w 16058"/>
                <a:gd name="T119" fmla="*/ 3222 h 12062"/>
                <a:gd name="T120" fmla="*/ 15953 w 16058"/>
                <a:gd name="T121" fmla="*/ 3111 h 12062"/>
                <a:gd name="T122" fmla="*/ 15891 w 16058"/>
                <a:gd name="T123" fmla="*/ 3005 h 12062"/>
                <a:gd name="T124" fmla="*/ 15816 w 16058"/>
                <a:gd name="T125" fmla="*/ 2905 h 12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58" h="12062">
                  <a:moveTo>
                    <a:pt x="3355" y="1202"/>
                  </a:moveTo>
                  <a:lnTo>
                    <a:pt x="4509" y="2165"/>
                  </a:lnTo>
                  <a:lnTo>
                    <a:pt x="3157" y="3520"/>
                  </a:lnTo>
                  <a:lnTo>
                    <a:pt x="1007" y="3520"/>
                  </a:lnTo>
                  <a:lnTo>
                    <a:pt x="3355" y="1202"/>
                  </a:lnTo>
                  <a:close/>
                  <a:moveTo>
                    <a:pt x="12900" y="3520"/>
                  </a:moveTo>
                  <a:lnTo>
                    <a:pt x="11549" y="2165"/>
                  </a:lnTo>
                  <a:lnTo>
                    <a:pt x="12702" y="1203"/>
                  </a:lnTo>
                  <a:lnTo>
                    <a:pt x="15013" y="3520"/>
                  </a:lnTo>
                  <a:lnTo>
                    <a:pt x="12900" y="3520"/>
                  </a:lnTo>
                  <a:close/>
                  <a:moveTo>
                    <a:pt x="12837" y="4022"/>
                  </a:moveTo>
                  <a:lnTo>
                    <a:pt x="14621" y="4022"/>
                  </a:lnTo>
                  <a:lnTo>
                    <a:pt x="9682" y="9292"/>
                  </a:lnTo>
                  <a:lnTo>
                    <a:pt x="12837" y="4022"/>
                  </a:lnTo>
                  <a:close/>
                  <a:moveTo>
                    <a:pt x="6375" y="9292"/>
                  </a:moveTo>
                  <a:lnTo>
                    <a:pt x="1438" y="4022"/>
                  </a:lnTo>
                  <a:lnTo>
                    <a:pt x="3221" y="4022"/>
                  </a:lnTo>
                  <a:lnTo>
                    <a:pt x="6375" y="9292"/>
                  </a:lnTo>
                  <a:close/>
                  <a:moveTo>
                    <a:pt x="6268" y="4022"/>
                  </a:moveTo>
                  <a:lnTo>
                    <a:pt x="7499" y="10191"/>
                  </a:lnTo>
                  <a:lnTo>
                    <a:pt x="3806" y="4022"/>
                  </a:lnTo>
                  <a:lnTo>
                    <a:pt x="6268" y="4022"/>
                  </a:lnTo>
                  <a:close/>
                  <a:moveTo>
                    <a:pt x="4897" y="2489"/>
                  </a:moveTo>
                  <a:lnTo>
                    <a:pt x="6132" y="3520"/>
                  </a:lnTo>
                  <a:lnTo>
                    <a:pt x="3867" y="3520"/>
                  </a:lnTo>
                  <a:lnTo>
                    <a:pt x="4897" y="2489"/>
                  </a:lnTo>
                  <a:close/>
                  <a:moveTo>
                    <a:pt x="4867" y="1808"/>
                  </a:moveTo>
                  <a:lnTo>
                    <a:pt x="3905" y="1006"/>
                  </a:lnTo>
                  <a:lnTo>
                    <a:pt x="5666" y="1006"/>
                  </a:lnTo>
                  <a:lnTo>
                    <a:pt x="4867" y="1808"/>
                  </a:lnTo>
                  <a:close/>
                  <a:moveTo>
                    <a:pt x="8029" y="1936"/>
                  </a:moveTo>
                  <a:lnTo>
                    <a:pt x="6915" y="1006"/>
                  </a:lnTo>
                  <a:lnTo>
                    <a:pt x="9143" y="1006"/>
                  </a:lnTo>
                  <a:lnTo>
                    <a:pt x="8029" y="1936"/>
                  </a:lnTo>
                  <a:close/>
                  <a:moveTo>
                    <a:pt x="10392" y="1006"/>
                  </a:moveTo>
                  <a:lnTo>
                    <a:pt x="12154" y="1006"/>
                  </a:lnTo>
                  <a:lnTo>
                    <a:pt x="11192" y="1808"/>
                  </a:lnTo>
                  <a:lnTo>
                    <a:pt x="10392" y="1006"/>
                  </a:lnTo>
                  <a:close/>
                  <a:moveTo>
                    <a:pt x="9926" y="3520"/>
                  </a:moveTo>
                  <a:lnTo>
                    <a:pt x="11161" y="2489"/>
                  </a:lnTo>
                  <a:lnTo>
                    <a:pt x="12190" y="3520"/>
                  </a:lnTo>
                  <a:lnTo>
                    <a:pt x="9926" y="3520"/>
                  </a:lnTo>
                  <a:close/>
                  <a:moveTo>
                    <a:pt x="9790" y="4022"/>
                  </a:moveTo>
                  <a:lnTo>
                    <a:pt x="12252" y="4022"/>
                  </a:lnTo>
                  <a:lnTo>
                    <a:pt x="8559" y="10191"/>
                  </a:lnTo>
                  <a:lnTo>
                    <a:pt x="9790" y="4022"/>
                  </a:lnTo>
                  <a:close/>
                  <a:moveTo>
                    <a:pt x="9279" y="4022"/>
                  </a:moveTo>
                  <a:lnTo>
                    <a:pt x="8029" y="10283"/>
                  </a:lnTo>
                  <a:lnTo>
                    <a:pt x="6779" y="4022"/>
                  </a:lnTo>
                  <a:lnTo>
                    <a:pt x="9279" y="4022"/>
                  </a:lnTo>
                  <a:close/>
                  <a:moveTo>
                    <a:pt x="6524" y="3192"/>
                  </a:moveTo>
                  <a:lnTo>
                    <a:pt x="5253" y="2132"/>
                  </a:lnTo>
                  <a:lnTo>
                    <a:pt x="6266" y="1117"/>
                  </a:lnTo>
                  <a:lnTo>
                    <a:pt x="7637" y="2263"/>
                  </a:lnTo>
                  <a:lnTo>
                    <a:pt x="6524" y="3192"/>
                  </a:lnTo>
                  <a:close/>
                  <a:moveTo>
                    <a:pt x="8421" y="2263"/>
                  </a:moveTo>
                  <a:lnTo>
                    <a:pt x="9792" y="1117"/>
                  </a:lnTo>
                  <a:lnTo>
                    <a:pt x="10806" y="2132"/>
                  </a:lnTo>
                  <a:lnTo>
                    <a:pt x="9534" y="3192"/>
                  </a:lnTo>
                  <a:lnTo>
                    <a:pt x="8421" y="2263"/>
                  </a:lnTo>
                  <a:close/>
                  <a:moveTo>
                    <a:pt x="9143" y="3520"/>
                  </a:moveTo>
                  <a:lnTo>
                    <a:pt x="6915" y="3520"/>
                  </a:lnTo>
                  <a:lnTo>
                    <a:pt x="8029" y="2589"/>
                  </a:lnTo>
                  <a:lnTo>
                    <a:pt x="9143" y="3520"/>
                  </a:lnTo>
                  <a:close/>
                  <a:moveTo>
                    <a:pt x="15764" y="2849"/>
                  </a:moveTo>
                  <a:lnTo>
                    <a:pt x="13215" y="295"/>
                  </a:lnTo>
                  <a:lnTo>
                    <a:pt x="13197" y="278"/>
                  </a:lnTo>
                  <a:lnTo>
                    <a:pt x="13179" y="260"/>
                  </a:lnTo>
                  <a:lnTo>
                    <a:pt x="13160" y="243"/>
                  </a:lnTo>
                  <a:lnTo>
                    <a:pt x="13141" y="228"/>
                  </a:lnTo>
                  <a:lnTo>
                    <a:pt x="13121" y="212"/>
                  </a:lnTo>
                  <a:lnTo>
                    <a:pt x="13102" y="197"/>
                  </a:lnTo>
                  <a:lnTo>
                    <a:pt x="13082" y="183"/>
                  </a:lnTo>
                  <a:lnTo>
                    <a:pt x="13062" y="169"/>
                  </a:lnTo>
                  <a:lnTo>
                    <a:pt x="13041" y="156"/>
                  </a:lnTo>
                  <a:lnTo>
                    <a:pt x="13020" y="143"/>
                  </a:lnTo>
                  <a:lnTo>
                    <a:pt x="12999" y="131"/>
                  </a:lnTo>
                  <a:lnTo>
                    <a:pt x="12978" y="119"/>
                  </a:lnTo>
                  <a:lnTo>
                    <a:pt x="12956" y="108"/>
                  </a:lnTo>
                  <a:lnTo>
                    <a:pt x="12934" y="97"/>
                  </a:lnTo>
                  <a:lnTo>
                    <a:pt x="12912" y="86"/>
                  </a:lnTo>
                  <a:lnTo>
                    <a:pt x="12890" y="76"/>
                  </a:lnTo>
                  <a:lnTo>
                    <a:pt x="12866" y="67"/>
                  </a:lnTo>
                  <a:lnTo>
                    <a:pt x="12843" y="59"/>
                  </a:lnTo>
                  <a:lnTo>
                    <a:pt x="12820" y="51"/>
                  </a:lnTo>
                  <a:lnTo>
                    <a:pt x="12797" y="43"/>
                  </a:lnTo>
                  <a:lnTo>
                    <a:pt x="12773" y="36"/>
                  </a:lnTo>
                  <a:lnTo>
                    <a:pt x="12750" y="30"/>
                  </a:lnTo>
                  <a:lnTo>
                    <a:pt x="12726" y="25"/>
                  </a:lnTo>
                  <a:lnTo>
                    <a:pt x="12702" y="19"/>
                  </a:lnTo>
                  <a:lnTo>
                    <a:pt x="12678" y="15"/>
                  </a:lnTo>
                  <a:lnTo>
                    <a:pt x="12654" y="11"/>
                  </a:lnTo>
                  <a:lnTo>
                    <a:pt x="12629" y="8"/>
                  </a:lnTo>
                  <a:lnTo>
                    <a:pt x="12605" y="5"/>
                  </a:lnTo>
                  <a:lnTo>
                    <a:pt x="12579" y="3"/>
                  </a:lnTo>
                  <a:lnTo>
                    <a:pt x="12555" y="1"/>
                  </a:lnTo>
                  <a:lnTo>
                    <a:pt x="12530" y="0"/>
                  </a:lnTo>
                  <a:lnTo>
                    <a:pt x="12505" y="0"/>
                  </a:lnTo>
                  <a:lnTo>
                    <a:pt x="3554" y="0"/>
                  </a:lnTo>
                  <a:lnTo>
                    <a:pt x="3529" y="0"/>
                  </a:lnTo>
                  <a:lnTo>
                    <a:pt x="3504" y="1"/>
                  </a:lnTo>
                  <a:lnTo>
                    <a:pt x="3480" y="3"/>
                  </a:lnTo>
                  <a:lnTo>
                    <a:pt x="3454" y="5"/>
                  </a:lnTo>
                  <a:lnTo>
                    <a:pt x="3430" y="8"/>
                  </a:lnTo>
                  <a:lnTo>
                    <a:pt x="3405" y="11"/>
                  </a:lnTo>
                  <a:lnTo>
                    <a:pt x="3381" y="15"/>
                  </a:lnTo>
                  <a:lnTo>
                    <a:pt x="3357" y="19"/>
                  </a:lnTo>
                  <a:lnTo>
                    <a:pt x="3333" y="25"/>
                  </a:lnTo>
                  <a:lnTo>
                    <a:pt x="3309" y="30"/>
                  </a:lnTo>
                  <a:lnTo>
                    <a:pt x="3285" y="36"/>
                  </a:lnTo>
                  <a:lnTo>
                    <a:pt x="3262" y="43"/>
                  </a:lnTo>
                  <a:lnTo>
                    <a:pt x="3239" y="51"/>
                  </a:lnTo>
                  <a:lnTo>
                    <a:pt x="3216" y="59"/>
                  </a:lnTo>
                  <a:lnTo>
                    <a:pt x="3193" y="67"/>
                  </a:lnTo>
                  <a:lnTo>
                    <a:pt x="3169" y="76"/>
                  </a:lnTo>
                  <a:lnTo>
                    <a:pt x="3147" y="86"/>
                  </a:lnTo>
                  <a:lnTo>
                    <a:pt x="3124" y="97"/>
                  </a:lnTo>
                  <a:lnTo>
                    <a:pt x="3103" y="108"/>
                  </a:lnTo>
                  <a:lnTo>
                    <a:pt x="3081" y="119"/>
                  </a:lnTo>
                  <a:lnTo>
                    <a:pt x="3059" y="131"/>
                  </a:lnTo>
                  <a:lnTo>
                    <a:pt x="3038" y="143"/>
                  </a:lnTo>
                  <a:lnTo>
                    <a:pt x="3017" y="156"/>
                  </a:lnTo>
                  <a:lnTo>
                    <a:pt x="2997" y="169"/>
                  </a:lnTo>
                  <a:lnTo>
                    <a:pt x="2977" y="183"/>
                  </a:lnTo>
                  <a:lnTo>
                    <a:pt x="2957" y="197"/>
                  </a:lnTo>
                  <a:lnTo>
                    <a:pt x="2937" y="212"/>
                  </a:lnTo>
                  <a:lnTo>
                    <a:pt x="2918" y="228"/>
                  </a:lnTo>
                  <a:lnTo>
                    <a:pt x="2898" y="243"/>
                  </a:lnTo>
                  <a:lnTo>
                    <a:pt x="2880" y="260"/>
                  </a:lnTo>
                  <a:lnTo>
                    <a:pt x="2861" y="278"/>
                  </a:lnTo>
                  <a:lnTo>
                    <a:pt x="2844" y="295"/>
                  </a:lnTo>
                  <a:lnTo>
                    <a:pt x="295" y="2849"/>
                  </a:lnTo>
                  <a:lnTo>
                    <a:pt x="277" y="2868"/>
                  </a:lnTo>
                  <a:lnTo>
                    <a:pt x="259" y="2887"/>
                  </a:lnTo>
                  <a:lnTo>
                    <a:pt x="242" y="2906"/>
                  </a:lnTo>
                  <a:lnTo>
                    <a:pt x="226" y="2926"/>
                  </a:lnTo>
                  <a:lnTo>
                    <a:pt x="210" y="2946"/>
                  </a:lnTo>
                  <a:lnTo>
                    <a:pt x="195" y="2966"/>
                  </a:lnTo>
                  <a:lnTo>
                    <a:pt x="180" y="2987"/>
                  </a:lnTo>
                  <a:lnTo>
                    <a:pt x="166" y="3008"/>
                  </a:lnTo>
                  <a:lnTo>
                    <a:pt x="152" y="3029"/>
                  </a:lnTo>
                  <a:lnTo>
                    <a:pt x="140" y="3051"/>
                  </a:lnTo>
                  <a:lnTo>
                    <a:pt x="126" y="3072"/>
                  </a:lnTo>
                  <a:lnTo>
                    <a:pt x="114" y="3094"/>
                  </a:lnTo>
                  <a:lnTo>
                    <a:pt x="103" y="3116"/>
                  </a:lnTo>
                  <a:lnTo>
                    <a:pt x="93" y="3139"/>
                  </a:lnTo>
                  <a:lnTo>
                    <a:pt x="83" y="3162"/>
                  </a:lnTo>
                  <a:lnTo>
                    <a:pt x="73" y="3185"/>
                  </a:lnTo>
                  <a:lnTo>
                    <a:pt x="64" y="3208"/>
                  </a:lnTo>
                  <a:lnTo>
                    <a:pt x="56" y="3231"/>
                  </a:lnTo>
                  <a:lnTo>
                    <a:pt x="48" y="3254"/>
                  </a:lnTo>
                  <a:lnTo>
                    <a:pt x="41" y="3277"/>
                  </a:lnTo>
                  <a:lnTo>
                    <a:pt x="34" y="3301"/>
                  </a:lnTo>
                  <a:lnTo>
                    <a:pt x="28" y="3324"/>
                  </a:lnTo>
                  <a:lnTo>
                    <a:pt x="23" y="3349"/>
                  </a:lnTo>
                  <a:lnTo>
                    <a:pt x="18" y="3373"/>
                  </a:lnTo>
                  <a:lnTo>
                    <a:pt x="14" y="3397"/>
                  </a:lnTo>
                  <a:lnTo>
                    <a:pt x="10" y="3421"/>
                  </a:lnTo>
                  <a:lnTo>
                    <a:pt x="7" y="3445"/>
                  </a:lnTo>
                  <a:lnTo>
                    <a:pt x="5" y="3469"/>
                  </a:lnTo>
                  <a:lnTo>
                    <a:pt x="3" y="3493"/>
                  </a:lnTo>
                  <a:lnTo>
                    <a:pt x="1" y="3518"/>
                  </a:lnTo>
                  <a:lnTo>
                    <a:pt x="0" y="3543"/>
                  </a:lnTo>
                  <a:lnTo>
                    <a:pt x="0" y="3567"/>
                  </a:lnTo>
                  <a:lnTo>
                    <a:pt x="1" y="3611"/>
                  </a:lnTo>
                  <a:lnTo>
                    <a:pt x="5" y="3655"/>
                  </a:lnTo>
                  <a:lnTo>
                    <a:pt x="10" y="3700"/>
                  </a:lnTo>
                  <a:lnTo>
                    <a:pt x="17" y="3743"/>
                  </a:lnTo>
                  <a:lnTo>
                    <a:pt x="26" y="3787"/>
                  </a:lnTo>
                  <a:lnTo>
                    <a:pt x="37" y="3830"/>
                  </a:lnTo>
                  <a:lnTo>
                    <a:pt x="49" y="3874"/>
                  </a:lnTo>
                  <a:lnTo>
                    <a:pt x="64" y="3916"/>
                  </a:lnTo>
                  <a:lnTo>
                    <a:pt x="72" y="3936"/>
                  </a:lnTo>
                  <a:lnTo>
                    <a:pt x="81" y="3957"/>
                  </a:lnTo>
                  <a:lnTo>
                    <a:pt x="90" y="3978"/>
                  </a:lnTo>
                  <a:lnTo>
                    <a:pt x="100" y="3998"/>
                  </a:lnTo>
                  <a:lnTo>
                    <a:pt x="110" y="4018"/>
                  </a:lnTo>
                  <a:lnTo>
                    <a:pt x="120" y="4039"/>
                  </a:lnTo>
                  <a:lnTo>
                    <a:pt x="132" y="4059"/>
                  </a:lnTo>
                  <a:lnTo>
                    <a:pt x="144" y="4079"/>
                  </a:lnTo>
                  <a:lnTo>
                    <a:pt x="156" y="4099"/>
                  </a:lnTo>
                  <a:lnTo>
                    <a:pt x="169" y="4118"/>
                  </a:lnTo>
                  <a:lnTo>
                    <a:pt x="182" y="4137"/>
                  </a:lnTo>
                  <a:lnTo>
                    <a:pt x="195" y="4156"/>
                  </a:lnTo>
                  <a:lnTo>
                    <a:pt x="209" y="4174"/>
                  </a:lnTo>
                  <a:lnTo>
                    <a:pt x="224" y="4193"/>
                  </a:lnTo>
                  <a:lnTo>
                    <a:pt x="239" y="4211"/>
                  </a:lnTo>
                  <a:lnTo>
                    <a:pt x="254" y="4228"/>
                  </a:lnTo>
                  <a:lnTo>
                    <a:pt x="7278" y="11724"/>
                  </a:lnTo>
                  <a:lnTo>
                    <a:pt x="7297" y="11744"/>
                  </a:lnTo>
                  <a:lnTo>
                    <a:pt x="7315" y="11763"/>
                  </a:lnTo>
                  <a:lnTo>
                    <a:pt x="7334" y="11782"/>
                  </a:lnTo>
                  <a:lnTo>
                    <a:pt x="7354" y="11801"/>
                  </a:lnTo>
                  <a:lnTo>
                    <a:pt x="7374" y="11819"/>
                  </a:lnTo>
                  <a:lnTo>
                    <a:pt x="7395" y="11836"/>
                  </a:lnTo>
                  <a:lnTo>
                    <a:pt x="7415" y="11852"/>
                  </a:lnTo>
                  <a:lnTo>
                    <a:pt x="7436" y="11868"/>
                  </a:lnTo>
                  <a:lnTo>
                    <a:pt x="7458" y="11883"/>
                  </a:lnTo>
                  <a:lnTo>
                    <a:pt x="7480" y="11898"/>
                  </a:lnTo>
                  <a:lnTo>
                    <a:pt x="7502" y="11912"/>
                  </a:lnTo>
                  <a:lnTo>
                    <a:pt x="7524" y="11925"/>
                  </a:lnTo>
                  <a:lnTo>
                    <a:pt x="7547" y="11938"/>
                  </a:lnTo>
                  <a:lnTo>
                    <a:pt x="7570" y="11950"/>
                  </a:lnTo>
                  <a:lnTo>
                    <a:pt x="7594" y="11962"/>
                  </a:lnTo>
                  <a:lnTo>
                    <a:pt x="7618" y="11974"/>
                  </a:lnTo>
                  <a:lnTo>
                    <a:pt x="7642" y="11985"/>
                  </a:lnTo>
                  <a:lnTo>
                    <a:pt x="7667" y="11994"/>
                  </a:lnTo>
                  <a:lnTo>
                    <a:pt x="7691" y="12004"/>
                  </a:lnTo>
                  <a:lnTo>
                    <a:pt x="7716" y="12012"/>
                  </a:lnTo>
                  <a:lnTo>
                    <a:pt x="7741" y="12020"/>
                  </a:lnTo>
                  <a:lnTo>
                    <a:pt x="7766" y="12027"/>
                  </a:lnTo>
                  <a:lnTo>
                    <a:pt x="7792" y="12034"/>
                  </a:lnTo>
                  <a:lnTo>
                    <a:pt x="7817" y="12040"/>
                  </a:lnTo>
                  <a:lnTo>
                    <a:pt x="7843" y="12045"/>
                  </a:lnTo>
                  <a:lnTo>
                    <a:pt x="7869" y="12049"/>
                  </a:lnTo>
                  <a:lnTo>
                    <a:pt x="7896" y="12053"/>
                  </a:lnTo>
                  <a:lnTo>
                    <a:pt x="7923" y="12056"/>
                  </a:lnTo>
                  <a:lnTo>
                    <a:pt x="7949" y="12059"/>
                  </a:lnTo>
                  <a:lnTo>
                    <a:pt x="7976" y="12061"/>
                  </a:lnTo>
                  <a:lnTo>
                    <a:pt x="8002" y="12062"/>
                  </a:lnTo>
                  <a:lnTo>
                    <a:pt x="8029" y="12062"/>
                  </a:lnTo>
                  <a:lnTo>
                    <a:pt x="8056" y="12062"/>
                  </a:lnTo>
                  <a:lnTo>
                    <a:pt x="8082" y="12061"/>
                  </a:lnTo>
                  <a:lnTo>
                    <a:pt x="8109" y="12059"/>
                  </a:lnTo>
                  <a:lnTo>
                    <a:pt x="8135" y="12056"/>
                  </a:lnTo>
                  <a:lnTo>
                    <a:pt x="8162" y="12053"/>
                  </a:lnTo>
                  <a:lnTo>
                    <a:pt x="8189" y="12049"/>
                  </a:lnTo>
                  <a:lnTo>
                    <a:pt x="8215" y="12045"/>
                  </a:lnTo>
                  <a:lnTo>
                    <a:pt x="8241" y="12040"/>
                  </a:lnTo>
                  <a:lnTo>
                    <a:pt x="8266" y="12034"/>
                  </a:lnTo>
                  <a:lnTo>
                    <a:pt x="8292" y="12027"/>
                  </a:lnTo>
                  <a:lnTo>
                    <a:pt x="8317" y="12020"/>
                  </a:lnTo>
                  <a:lnTo>
                    <a:pt x="8342" y="12012"/>
                  </a:lnTo>
                  <a:lnTo>
                    <a:pt x="8367" y="12004"/>
                  </a:lnTo>
                  <a:lnTo>
                    <a:pt x="8392" y="11994"/>
                  </a:lnTo>
                  <a:lnTo>
                    <a:pt x="8416" y="11985"/>
                  </a:lnTo>
                  <a:lnTo>
                    <a:pt x="8440" y="11974"/>
                  </a:lnTo>
                  <a:lnTo>
                    <a:pt x="8465" y="11962"/>
                  </a:lnTo>
                  <a:lnTo>
                    <a:pt x="8488" y="11950"/>
                  </a:lnTo>
                  <a:lnTo>
                    <a:pt x="8511" y="11938"/>
                  </a:lnTo>
                  <a:lnTo>
                    <a:pt x="8534" y="11925"/>
                  </a:lnTo>
                  <a:lnTo>
                    <a:pt x="8557" y="11912"/>
                  </a:lnTo>
                  <a:lnTo>
                    <a:pt x="8579" y="11898"/>
                  </a:lnTo>
                  <a:lnTo>
                    <a:pt x="8601" y="11883"/>
                  </a:lnTo>
                  <a:lnTo>
                    <a:pt x="8622" y="11868"/>
                  </a:lnTo>
                  <a:lnTo>
                    <a:pt x="8643" y="11852"/>
                  </a:lnTo>
                  <a:lnTo>
                    <a:pt x="8664" y="11836"/>
                  </a:lnTo>
                  <a:lnTo>
                    <a:pt x="8684" y="11819"/>
                  </a:lnTo>
                  <a:lnTo>
                    <a:pt x="8704" y="11801"/>
                  </a:lnTo>
                  <a:lnTo>
                    <a:pt x="8724" y="11782"/>
                  </a:lnTo>
                  <a:lnTo>
                    <a:pt x="8743" y="11763"/>
                  </a:lnTo>
                  <a:lnTo>
                    <a:pt x="8762" y="11744"/>
                  </a:lnTo>
                  <a:lnTo>
                    <a:pt x="8780" y="11724"/>
                  </a:lnTo>
                  <a:lnTo>
                    <a:pt x="15805" y="4228"/>
                  </a:lnTo>
                  <a:lnTo>
                    <a:pt x="15821" y="4210"/>
                  </a:lnTo>
                  <a:lnTo>
                    <a:pt x="15836" y="4192"/>
                  </a:lnTo>
                  <a:lnTo>
                    <a:pt x="15851" y="4173"/>
                  </a:lnTo>
                  <a:lnTo>
                    <a:pt x="15865" y="4154"/>
                  </a:lnTo>
                  <a:lnTo>
                    <a:pt x="15878" y="4135"/>
                  </a:lnTo>
                  <a:lnTo>
                    <a:pt x="15892" y="4115"/>
                  </a:lnTo>
                  <a:lnTo>
                    <a:pt x="15904" y="4096"/>
                  </a:lnTo>
                  <a:lnTo>
                    <a:pt x="15917" y="4076"/>
                  </a:lnTo>
                  <a:lnTo>
                    <a:pt x="15929" y="4056"/>
                  </a:lnTo>
                  <a:lnTo>
                    <a:pt x="15940" y="4034"/>
                  </a:lnTo>
                  <a:lnTo>
                    <a:pt x="15951" y="4014"/>
                  </a:lnTo>
                  <a:lnTo>
                    <a:pt x="15961" y="3993"/>
                  </a:lnTo>
                  <a:lnTo>
                    <a:pt x="15971" y="3972"/>
                  </a:lnTo>
                  <a:lnTo>
                    <a:pt x="15980" y="3951"/>
                  </a:lnTo>
                  <a:lnTo>
                    <a:pt x="15989" y="3930"/>
                  </a:lnTo>
                  <a:lnTo>
                    <a:pt x="15997" y="3908"/>
                  </a:lnTo>
                  <a:lnTo>
                    <a:pt x="16004" y="3887"/>
                  </a:lnTo>
                  <a:lnTo>
                    <a:pt x="16011" y="3864"/>
                  </a:lnTo>
                  <a:lnTo>
                    <a:pt x="16018" y="3842"/>
                  </a:lnTo>
                  <a:lnTo>
                    <a:pt x="16024" y="3820"/>
                  </a:lnTo>
                  <a:lnTo>
                    <a:pt x="16030" y="3799"/>
                  </a:lnTo>
                  <a:lnTo>
                    <a:pt x="16035" y="3776"/>
                  </a:lnTo>
                  <a:lnTo>
                    <a:pt x="16039" y="3754"/>
                  </a:lnTo>
                  <a:lnTo>
                    <a:pt x="16044" y="3732"/>
                  </a:lnTo>
                  <a:lnTo>
                    <a:pt x="16047" y="3710"/>
                  </a:lnTo>
                  <a:lnTo>
                    <a:pt x="16050" y="3686"/>
                  </a:lnTo>
                  <a:lnTo>
                    <a:pt x="16053" y="3664"/>
                  </a:lnTo>
                  <a:lnTo>
                    <a:pt x="16055" y="3642"/>
                  </a:lnTo>
                  <a:lnTo>
                    <a:pt x="16056" y="3619"/>
                  </a:lnTo>
                  <a:lnTo>
                    <a:pt x="16057" y="3597"/>
                  </a:lnTo>
                  <a:lnTo>
                    <a:pt x="16058" y="3574"/>
                  </a:lnTo>
                  <a:lnTo>
                    <a:pt x="16058" y="3552"/>
                  </a:lnTo>
                  <a:lnTo>
                    <a:pt x="16057" y="3528"/>
                  </a:lnTo>
                  <a:lnTo>
                    <a:pt x="16056" y="3503"/>
                  </a:lnTo>
                  <a:lnTo>
                    <a:pt x="16055" y="3479"/>
                  </a:lnTo>
                  <a:lnTo>
                    <a:pt x="16053" y="3456"/>
                  </a:lnTo>
                  <a:lnTo>
                    <a:pt x="16050" y="3432"/>
                  </a:lnTo>
                  <a:lnTo>
                    <a:pt x="16047" y="3408"/>
                  </a:lnTo>
                  <a:lnTo>
                    <a:pt x="16043" y="3385"/>
                  </a:lnTo>
                  <a:lnTo>
                    <a:pt x="16039" y="3362"/>
                  </a:lnTo>
                  <a:lnTo>
                    <a:pt x="16034" y="3338"/>
                  </a:lnTo>
                  <a:lnTo>
                    <a:pt x="16028" y="3314"/>
                  </a:lnTo>
                  <a:lnTo>
                    <a:pt x="16022" y="3291"/>
                  </a:lnTo>
                  <a:lnTo>
                    <a:pt x="16015" y="3268"/>
                  </a:lnTo>
                  <a:lnTo>
                    <a:pt x="16008" y="3245"/>
                  </a:lnTo>
                  <a:lnTo>
                    <a:pt x="16000" y="3222"/>
                  </a:lnTo>
                  <a:lnTo>
                    <a:pt x="15992" y="3200"/>
                  </a:lnTo>
                  <a:lnTo>
                    <a:pt x="15983" y="3178"/>
                  </a:lnTo>
                  <a:lnTo>
                    <a:pt x="15974" y="3155"/>
                  </a:lnTo>
                  <a:lnTo>
                    <a:pt x="15964" y="3132"/>
                  </a:lnTo>
                  <a:lnTo>
                    <a:pt x="15953" y="3111"/>
                  </a:lnTo>
                  <a:lnTo>
                    <a:pt x="15942" y="3089"/>
                  </a:lnTo>
                  <a:lnTo>
                    <a:pt x="15930" y="3068"/>
                  </a:lnTo>
                  <a:lnTo>
                    <a:pt x="15917" y="3047"/>
                  </a:lnTo>
                  <a:lnTo>
                    <a:pt x="15904" y="3026"/>
                  </a:lnTo>
                  <a:lnTo>
                    <a:pt x="15891" y="3005"/>
                  </a:lnTo>
                  <a:lnTo>
                    <a:pt x="15877" y="2985"/>
                  </a:lnTo>
                  <a:lnTo>
                    <a:pt x="15863" y="2964"/>
                  </a:lnTo>
                  <a:lnTo>
                    <a:pt x="15848" y="2944"/>
                  </a:lnTo>
                  <a:lnTo>
                    <a:pt x="15832" y="2924"/>
                  </a:lnTo>
                  <a:lnTo>
                    <a:pt x="15816" y="2905"/>
                  </a:lnTo>
                  <a:lnTo>
                    <a:pt x="15799" y="2886"/>
                  </a:lnTo>
                  <a:lnTo>
                    <a:pt x="15782" y="2868"/>
                  </a:lnTo>
                  <a:lnTo>
                    <a:pt x="15764" y="284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29" name="îšľîḍê">
              <a:extLst>
                <a:ext uri="{FF2B5EF4-FFF2-40B4-BE49-F238E27FC236}">
                  <a16:creationId xmlns:a16="http://schemas.microsoft.com/office/drawing/2014/main" id="{B1B181B4-629E-4B90-9271-5266D0FD22EC}"/>
                </a:ext>
              </a:extLst>
            </p:cNvPr>
            <p:cNvSpPr/>
            <p:nvPr/>
          </p:nvSpPr>
          <p:spPr bwMode="auto">
            <a:xfrm>
              <a:off x="7231998" y="1735700"/>
              <a:ext cx="404054" cy="361004"/>
            </a:xfrm>
            <a:custGeom>
              <a:avLst/>
              <a:gdLst>
                <a:gd name="T0" fmla="*/ 8326 w 16095"/>
                <a:gd name="T1" fmla="*/ 13008 h 14096"/>
                <a:gd name="T2" fmla="*/ 8191 w 16095"/>
                <a:gd name="T3" fmla="*/ 13069 h 14096"/>
                <a:gd name="T4" fmla="*/ 8048 w 16095"/>
                <a:gd name="T5" fmla="*/ 13090 h 14096"/>
                <a:gd name="T6" fmla="*/ 7903 w 16095"/>
                <a:gd name="T7" fmla="*/ 13069 h 14096"/>
                <a:gd name="T8" fmla="*/ 7768 w 16095"/>
                <a:gd name="T9" fmla="*/ 13008 h 14096"/>
                <a:gd name="T10" fmla="*/ 1995 w 16095"/>
                <a:gd name="T11" fmla="*/ 7293 h 14096"/>
                <a:gd name="T12" fmla="*/ 1368 w 16095"/>
                <a:gd name="T13" fmla="*/ 6355 h 14096"/>
                <a:gd name="T14" fmla="*/ 1055 w 16095"/>
                <a:gd name="T15" fmla="*/ 5309 h 14096"/>
                <a:gd name="T16" fmla="*/ 1055 w 16095"/>
                <a:gd name="T17" fmla="*/ 4226 h 14096"/>
                <a:gd name="T18" fmla="*/ 1368 w 16095"/>
                <a:gd name="T19" fmla="*/ 3179 h 14096"/>
                <a:gd name="T20" fmla="*/ 1995 w 16095"/>
                <a:gd name="T21" fmla="*/ 2241 h 14096"/>
                <a:gd name="T22" fmla="*/ 2857 w 16095"/>
                <a:gd name="T23" fmla="*/ 1536 h 14096"/>
                <a:gd name="T24" fmla="*/ 3845 w 16095"/>
                <a:gd name="T25" fmla="*/ 1126 h 14096"/>
                <a:gd name="T26" fmla="*/ 4896 w 16095"/>
                <a:gd name="T27" fmla="*/ 1005 h 14096"/>
                <a:gd name="T28" fmla="*/ 5943 w 16095"/>
                <a:gd name="T29" fmla="*/ 1178 h 14096"/>
                <a:gd name="T30" fmla="*/ 6922 w 16095"/>
                <a:gd name="T31" fmla="*/ 1644 h 14096"/>
                <a:gd name="T32" fmla="*/ 8873 w 16095"/>
                <a:gd name="T33" fmla="*/ 1866 h 14096"/>
                <a:gd name="T34" fmla="*/ 9814 w 16095"/>
                <a:gd name="T35" fmla="*/ 1301 h 14096"/>
                <a:gd name="T36" fmla="*/ 10846 w 16095"/>
                <a:gd name="T37" fmla="*/ 1030 h 14096"/>
                <a:gd name="T38" fmla="*/ 11903 w 16095"/>
                <a:gd name="T39" fmla="*/ 1053 h 14096"/>
                <a:gd name="T40" fmla="*/ 12919 w 16095"/>
                <a:gd name="T41" fmla="*/ 1367 h 14096"/>
                <a:gd name="T42" fmla="*/ 13830 w 16095"/>
                <a:gd name="T43" fmla="*/ 1971 h 14096"/>
                <a:gd name="T44" fmla="*/ 14553 w 16095"/>
                <a:gd name="T45" fmla="*/ 2850 h 14096"/>
                <a:gd name="T46" fmla="*/ 14970 w 16095"/>
                <a:gd name="T47" fmla="*/ 3868 h 14096"/>
                <a:gd name="T48" fmla="*/ 15074 w 16095"/>
                <a:gd name="T49" fmla="*/ 4948 h 14096"/>
                <a:gd name="T50" fmla="*/ 14866 w 16095"/>
                <a:gd name="T51" fmla="*/ 6015 h 14096"/>
                <a:gd name="T52" fmla="*/ 14344 w 16095"/>
                <a:gd name="T53" fmla="*/ 6997 h 14096"/>
                <a:gd name="T54" fmla="*/ 14329 w 16095"/>
                <a:gd name="T55" fmla="*/ 1071 h 14096"/>
                <a:gd name="T56" fmla="*/ 13143 w 16095"/>
                <a:gd name="T57" fmla="*/ 364 h 14096"/>
                <a:gd name="T58" fmla="*/ 11837 w 16095"/>
                <a:gd name="T59" fmla="*/ 29 h 14096"/>
                <a:gd name="T60" fmla="*/ 10497 w 16095"/>
                <a:gd name="T61" fmla="*/ 65 h 14096"/>
                <a:gd name="T62" fmla="*/ 9205 w 16095"/>
                <a:gd name="T63" fmla="*/ 471 h 14096"/>
                <a:gd name="T64" fmla="*/ 8046 w 16095"/>
                <a:gd name="T65" fmla="*/ 1245 h 14096"/>
                <a:gd name="T66" fmla="*/ 6889 w 16095"/>
                <a:gd name="T67" fmla="*/ 471 h 14096"/>
                <a:gd name="T68" fmla="*/ 5598 w 16095"/>
                <a:gd name="T69" fmla="*/ 65 h 14096"/>
                <a:gd name="T70" fmla="*/ 4258 w 16095"/>
                <a:gd name="T71" fmla="*/ 29 h 14096"/>
                <a:gd name="T72" fmla="*/ 2953 w 16095"/>
                <a:gd name="T73" fmla="*/ 364 h 14096"/>
                <a:gd name="T74" fmla="*/ 1766 w 16095"/>
                <a:gd name="T75" fmla="*/ 1071 h 14096"/>
                <a:gd name="T76" fmla="*/ 794 w 16095"/>
                <a:gd name="T77" fmla="*/ 2140 h 14096"/>
                <a:gd name="T78" fmla="*/ 198 w 16095"/>
                <a:gd name="T79" fmla="*/ 3407 h 14096"/>
                <a:gd name="T80" fmla="*/ 0 w 16095"/>
                <a:gd name="T81" fmla="*/ 4767 h 14096"/>
                <a:gd name="T82" fmla="*/ 198 w 16095"/>
                <a:gd name="T83" fmla="*/ 6127 h 14096"/>
                <a:gd name="T84" fmla="*/ 794 w 16095"/>
                <a:gd name="T85" fmla="*/ 7395 h 14096"/>
                <a:gd name="T86" fmla="*/ 1805 w 16095"/>
                <a:gd name="T87" fmla="*/ 8534 h 14096"/>
                <a:gd name="T88" fmla="*/ 4393 w 16095"/>
                <a:gd name="T89" fmla="*/ 11099 h 14096"/>
                <a:gd name="T90" fmla="*/ 6755 w 16095"/>
                <a:gd name="T91" fmla="*/ 13439 h 14096"/>
                <a:gd name="T92" fmla="*/ 7211 w 16095"/>
                <a:gd name="T93" fmla="*/ 13847 h 14096"/>
                <a:gd name="T94" fmla="*/ 7614 w 16095"/>
                <a:gd name="T95" fmla="*/ 14034 h 14096"/>
                <a:gd name="T96" fmla="*/ 8048 w 16095"/>
                <a:gd name="T97" fmla="*/ 14096 h 14096"/>
                <a:gd name="T98" fmla="*/ 8480 w 16095"/>
                <a:gd name="T99" fmla="*/ 14034 h 14096"/>
                <a:gd name="T100" fmla="*/ 8884 w 16095"/>
                <a:gd name="T101" fmla="*/ 13847 h 14096"/>
                <a:gd name="T102" fmla="*/ 9360 w 16095"/>
                <a:gd name="T103" fmla="*/ 13419 h 14096"/>
                <a:gd name="T104" fmla="*/ 11881 w 16095"/>
                <a:gd name="T105" fmla="*/ 10921 h 14096"/>
                <a:gd name="T106" fmla="*/ 14427 w 16095"/>
                <a:gd name="T107" fmla="*/ 8398 h 14096"/>
                <a:gd name="T108" fmla="*/ 15301 w 16095"/>
                <a:gd name="T109" fmla="*/ 7395 h 14096"/>
                <a:gd name="T110" fmla="*/ 15897 w 16095"/>
                <a:gd name="T111" fmla="*/ 6127 h 14096"/>
                <a:gd name="T112" fmla="*/ 16095 w 16095"/>
                <a:gd name="T113" fmla="*/ 4767 h 14096"/>
                <a:gd name="T114" fmla="*/ 15897 w 16095"/>
                <a:gd name="T115" fmla="*/ 3407 h 14096"/>
                <a:gd name="T116" fmla="*/ 15301 w 16095"/>
                <a:gd name="T117" fmla="*/ 2140 h 14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095" h="14096">
                  <a:moveTo>
                    <a:pt x="13965" y="7434"/>
                  </a:moveTo>
                  <a:lnTo>
                    <a:pt x="8406" y="12943"/>
                  </a:lnTo>
                  <a:lnTo>
                    <a:pt x="8387" y="12960"/>
                  </a:lnTo>
                  <a:lnTo>
                    <a:pt x="8367" y="12977"/>
                  </a:lnTo>
                  <a:lnTo>
                    <a:pt x="8347" y="12992"/>
                  </a:lnTo>
                  <a:lnTo>
                    <a:pt x="8326" y="13008"/>
                  </a:lnTo>
                  <a:lnTo>
                    <a:pt x="8305" y="13021"/>
                  </a:lnTo>
                  <a:lnTo>
                    <a:pt x="8283" y="13033"/>
                  </a:lnTo>
                  <a:lnTo>
                    <a:pt x="8261" y="13044"/>
                  </a:lnTo>
                  <a:lnTo>
                    <a:pt x="8239" y="13053"/>
                  </a:lnTo>
                  <a:lnTo>
                    <a:pt x="8215" y="13062"/>
                  </a:lnTo>
                  <a:lnTo>
                    <a:pt x="8191" y="13069"/>
                  </a:lnTo>
                  <a:lnTo>
                    <a:pt x="8168" y="13076"/>
                  </a:lnTo>
                  <a:lnTo>
                    <a:pt x="8144" y="13081"/>
                  </a:lnTo>
                  <a:lnTo>
                    <a:pt x="8120" y="13085"/>
                  </a:lnTo>
                  <a:lnTo>
                    <a:pt x="8096" y="13088"/>
                  </a:lnTo>
                  <a:lnTo>
                    <a:pt x="8072" y="13089"/>
                  </a:lnTo>
                  <a:lnTo>
                    <a:pt x="8048" y="13090"/>
                  </a:lnTo>
                  <a:lnTo>
                    <a:pt x="8023" y="13089"/>
                  </a:lnTo>
                  <a:lnTo>
                    <a:pt x="7998" y="13088"/>
                  </a:lnTo>
                  <a:lnTo>
                    <a:pt x="7974" y="13085"/>
                  </a:lnTo>
                  <a:lnTo>
                    <a:pt x="7950" y="13081"/>
                  </a:lnTo>
                  <a:lnTo>
                    <a:pt x="7927" y="13076"/>
                  </a:lnTo>
                  <a:lnTo>
                    <a:pt x="7903" y="13069"/>
                  </a:lnTo>
                  <a:lnTo>
                    <a:pt x="7880" y="13062"/>
                  </a:lnTo>
                  <a:lnTo>
                    <a:pt x="7856" y="13053"/>
                  </a:lnTo>
                  <a:lnTo>
                    <a:pt x="7833" y="13044"/>
                  </a:lnTo>
                  <a:lnTo>
                    <a:pt x="7811" y="13033"/>
                  </a:lnTo>
                  <a:lnTo>
                    <a:pt x="7790" y="13021"/>
                  </a:lnTo>
                  <a:lnTo>
                    <a:pt x="7768" y="13008"/>
                  </a:lnTo>
                  <a:lnTo>
                    <a:pt x="7748" y="12992"/>
                  </a:lnTo>
                  <a:lnTo>
                    <a:pt x="7728" y="12977"/>
                  </a:lnTo>
                  <a:lnTo>
                    <a:pt x="7707" y="12960"/>
                  </a:lnTo>
                  <a:lnTo>
                    <a:pt x="7689" y="12943"/>
                  </a:lnTo>
                  <a:lnTo>
                    <a:pt x="2130" y="7434"/>
                  </a:lnTo>
                  <a:lnTo>
                    <a:pt x="1995" y="7293"/>
                  </a:lnTo>
                  <a:lnTo>
                    <a:pt x="1868" y="7148"/>
                  </a:lnTo>
                  <a:lnTo>
                    <a:pt x="1751" y="6997"/>
                  </a:lnTo>
                  <a:lnTo>
                    <a:pt x="1643" y="6843"/>
                  </a:lnTo>
                  <a:lnTo>
                    <a:pt x="1542" y="6684"/>
                  </a:lnTo>
                  <a:lnTo>
                    <a:pt x="1452" y="6521"/>
                  </a:lnTo>
                  <a:lnTo>
                    <a:pt x="1368" y="6355"/>
                  </a:lnTo>
                  <a:lnTo>
                    <a:pt x="1295" y="6186"/>
                  </a:lnTo>
                  <a:lnTo>
                    <a:pt x="1229" y="6015"/>
                  </a:lnTo>
                  <a:lnTo>
                    <a:pt x="1173" y="5841"/>
                  </a:lnTo>
                  <a:lnTo>
                    <a:pt x="1125" y="5666"/>
                  </a:lnTo>
                  <a:lnTo>
                    <a:pt x="1085" y="5487"/>
                  </a:lnTo>
                  <a:lnTo>
                    <a:pt x="1055" y="5309"/>
                  </a:lnTo>
                  <a:lnTo>
                    <a:pt x="1034" y="5129"/>
                  </a:lnTo>
                  <a:lnTo>
                    <a:pt x="1021" y="4948"/>
                  </a:lnTo>
                  <a:lnTo>
                    <a:pt x="1016" y="4767"/>
                  </a:lnTo>
                  <a:lnTo>
                    <a:pt x="1021" y="4586"/>
                  </a:lnTo>
                  <a:lnTo>
                    <a:pt x="1034" y="4405"/>
                  </a:lnTo>
                  <a:lnTo>
                    <a:pt x="1055" y="4226"/>
                  </a:lnTo>
                  <a:lnTo>
                    <a:pt x="1085" y="4047"/>
                  </a:lnTo>
                  <a:lnTo>
                    <a:pt x="1125" y="3868"/>
                  </a:lnTo>
                  <a:lnTo>
                    <a:pt x="1173" y="3693"/>
                  </a:lnTo>
                  <a:lnTo>
                    <a:pt x="1229" y="3519"/>
                  </a:lnTo>
                  <a:lnTo>
                    <a:pt x="1295" y="3348"/>
                  </a:lnTo>
                  <a:lnTo>
                    <a:pt x="1368" y="3179"/>
                  </a:lnTo>
                  <a:lnTo>
                    <a:pt x="1452" y="3013"/>
                  </a:lnTo>
                  <a:lnTo>
                    <a:pt x="1542" y="2850"/>
                  </a:lnTo>
                  <a:lnTo>
                    <a:pt x="1643" y="2691"/>
                  </a:lnTo>
                  <a:lnTo>
                    <a:pt x="1751" y="2537"/>
                  </a:lnTo>
                  <a:lnTo>
                    <a:pt x="1868" y="2386"/>
                  </a:lnTo>
                  <a:lnTo>
                    <a:pt x="1995" y="2241"/>
                  </a:lnTo>
                  <a:lnTo>
                    <a:pt x="2130" y="2100"/>
                  </a:lnTo>
                  <a:lnTo>
                    <a:pt x="2265" y="1971"/>
                  </a:lnTo>
                  <a:lnTo>
                    <a:pt x="2407" y="1851"/>
                  </a:lnTo>
                  <a:lnTo>
                    <a:pt x="2553" y="1738"/>
                  </a:lnTo>
                  <a:lnTo>
                    <a:pt x="2703" y="1633"/>
                  </a:lnTo>
                  <a:lnTo>
                    <a:pt x="2857" y="1536"/>
                  </a:lnTo>
                  <a:lnTo>
                    <a:pt x="3015" y="1448"/>
                  </a:lnTo>
                  <a:lnTo>
                    <a:pt x="3176" y="1367"/>
                  </a:lnTo>
                  <a:lnTo>
                    <a:pt x="3339" y="1295"/>
                  </a:lnTo>
                  <a:lnTo>
                    <a:pt x="3506" y="1230"/>
                  </a:lnTo>
                  <a:lnTo>
                    <a:pt x="3675" y="1174"/>
                  </a:lnTo>
                  <a:lnTo>
                    <a:pt x="3845" y="1126"/>
                  </a:lnTo>
                  <a:lnTo>
                    <a:pt x="4018" y="1085"/>
                  </a:lnTo>
                  <a:lnTo>
                    <a:pt x="4192" y="1053"/>
                  </a:lnTo>
                  <a:lnTo>
                    <a:pt x="4367" y="1029"/>
                  </a:lnTo>
                  <a:lnTo>
                    <a:pt x="4543" y="1013"/>
                  </a:lnTo>
                  <a:lnTo>
                    <a:pt x="4719" y="1005"/>
                  </a:lnTo>
                  <a:lnTo>
                    <a:pt x="4896" y="1005"/>
                  </a:lnTo>
                  <a:lnTo>
                    <a:pt x="5072" y="1014"/>
                  </a:lnTo>
                  <a:lnTo>
                    <a:pt x="5249" y="1030"/>
                  </a:lnTo>
                  <a:lnTo>
                    <a:pt x="5424" y="1055"/>
                  </a:lnTo>
                  <a:lnTo>
                    <a:pt x="5599" y="1087"/>
                  </a:lnTo>
                  <a:lnTo>
                    <a:pt x="5772" y="1129"/>
                  </a:lnTo>
                  <a:lnTo>
                    <a:pt x="5943" y="1178"/>
                  </a:lnTo>
                  <a:lnTo>
                    <a:pt x="6113" y="1235"/>
                  </a:lnTo>
                  <a:lnTo>
                    <a:pt x="6281" y="1301"/>
                  </a:lnTo>
                  <a:lnTo>
                    <a:pt x="6446" y="1374"/>
                  </a:lnTo>
                  <a:lnTo>
                    <a:pt x="6608" y="1456"/>
                  </a:lnTo>
                  <a:lnTo>
                    <a:pt x="6767" y="1547"/>
                  </a:lnTo>
                  <a:lnTo>
                    <a:pt x="6922" y="1644"/>
                  </a:lnTo>
                  <a:lnTo>
                    <a:pt x="7074" y="1751"/>
                  </a:lnTo>
                  <a:lnTo>
                    <a:pt x="7222" y="1866"/>
                  </a:lnTo>
                  <a:lnTo>
                    <a:pt x="7365" y="1989"/>
                  </a:lnTo>
                  <a:lnTo>
                    <a:pt x="8046" y="2603"/>
                  </a:lnTo>
                  <a:lnTo>
                    <a:pt x="8730" y="1989"/>
                  </a:lnTo>
                  <a:lnTo>
                    <a:pt x="8873" y="1866"/>
                  </a:lnTo>
                  <a:lnTo>
                    <a:pt x="9021" y="1751"/>
                  </a:lnTo>
                  <a:lnTo>
                    <a:pt x="9173" y="1644"/>
                  </a:lnTo>
                  <a:lnTo>
                    <a:pt x="9328" y="1547"/>
                  </a:lnTo>
                  <a:lnTo>
                    <a:pt x="9487" y="1456"/>
                  </a:lnTo>
                  <a:lnTo>
                    <a:pt x="9649" y="1374"/>
                  </a:lnTo>
                  <a:lnTo>
                    <a:pt x="9814" y="1301"/>
                  </a:lnTo>
                  <a:lnTo>
                    <a:pt x="9982" y="1235"/>
                  </a:lnTo>
                  <a:lnTo>
                    <a:pt x="10152" y="1178"/>
                  </a:lnTo>
                  <a:lnTo>
                    <a:pt x="10323" y="1129"/>
                  </a:lnTo>
                  <a:lnTo>
                    <a:pt x="10496" y="1087"/>
                  </a:lnTo>
                  <a:lnTo>
                    <a:pt x="10671" y="1055"/>
                  </a:lnTo>
                  <a:lnTo>
                    <a:pt x="10846" y="1030"/>
                  </a:lnTo>
                  <a:lnTo>
                    <a:pt x="11023" y="1014"/>
                  </a:lnTo>
                  <a:lnTo>
                    <a:pt x="11199" y="1005"/>
                  </a:lnTo>
                  <a:lnTo>
                    <a:pt x="11376" y="1005"/>
                  </a:lnTo>
                  <a:lnTo>
                    <a:pt x="11552" y="1013"/>
                  </a:lnTo>
                  <a:lnTo>
                    <a:pt x="11728" y="1029"/>
                  </a:lnTo>
                  <a:lnTo>
                    <a:pt x="11903" y="1053"/>
                  </a:lnTo>
                  <a:lnTo>
                    <a:pt x="12077" y="1085"/>
                  </a:lnTo>
                  <a:lnTo>
                    <a:pt x="12250" y="1126"/>
                  </a:lnTo>
                  <a:lnTo>
                    <a:pt x="12420" y="1174"/>
                  </a:lnTo>
                  <a:lnTo>
                    <a:pt x="12589" y="1230"/>
                  </a:lnTo>
                  <a:lnTo>
                    <a:pt x="12756" y="1295"/>
                  </a:lnTo>
                  <a:lnTo>
                    <a:pt x="12919" y="1367"/>
                  </a:lnTo>
                  <a:lnTo>
                    <a:pt x="13080" y="1448"/>
                  </a:lnTo>
                  <a:lnTo>
                    <a:pt x="13238" y="1536"/>
                  </a:lnTo>
                  <a:lnTo>
                    <a:pt x="13392" y="1633"/>
                  </a:lnTo>
                  <a:lnTo>
                    <a:pt x="13542" y="1738"/>
                  </a:lnTo>
                  <a:lnTo>
                    <a:pt x="13688" y="1851"/>
                  </a:lnTo>
                  <a:lnTo>
                    <a:pt x="13830" y="1971"/>
                  </a:lnTo>
                  <a:lnTo>
                    <a:pt x="13965" y="2100"/>
                  </a:lnTo>
                  <a:lnTo>
                    <a:pt x="14100" y="2241"/>
                  </a:lnTo>
                  <a:lnTo>
                    <a:pt x="14227" y="2386"/>
                  </a:lnTo>
                  <a:lnTo>
                    <a:pt x="14344" y="2537"/>
                  </a:lnTo>
                  <a:lnTo>
                    <a:pt x="14452" y="2691"/>
                  </a:lnTo>
                  <a:lnTo>
                    <a:pt x="14553" y="2850"/>
                  </a:lnTo>
                  <a:lnTo>
                    <a:pt x="14643" y="3013"/>
                  </a:lnTo>
                  <a:lnTo>
                    <a:pt x="14727" y="3179"/>
                  </a:lnTo>
                  <a:lnTo>
                    <a:pt x="14800" y="3348"/>
                  </a:lnTo>
                  <a:lnTo>
                    <a:pt x="14866" y="3519"/>
                  </a:lnTo>
                  <a:lnTo>
                    <a:pt x="14922" y="3693"/>
                  </a:lnTo>
                  <a:lnTo>
                    <a:pt x="14970" y="3868"/>
                  </a:lnTo>
                  <a:lnTo>
                    <a:pt x="15010" y="4047"/>
                  </a:lnTo>
                  <a:lnTo>
                    <a:pt x="15040" y="4226"/>
                  </a:lnTo>
                  <a:lnTo>
                    <a:pt x="15061" y="4405"/>
                  </a:lnTo>
                  <a:lnTo>
                    <a:pt x="15074" y="4586"/>
                  </a:lnTo>
                  <a:lnTo>
                    <a:pt x="15079" y="4767"/>
                  </a:lnTo>
                  <a:lnTo>
                    <a:pt x="15074" y="4948"/>
                  </a:lnTo>
                  <a:lnTo>
                    <a:pt x="15061" y="5129"/>
                  </a:lnTo>
                  <a:lnTo>
                    <a:pt x="15040" y="5309"/>
                  </a:lnTo>
                  <a:lnTo>
                    <a:pt x="15010" y="5487"/>
                  </a:lnTo>
                  <a:lnTo>
                    <a:pt x="14970" y="5666"/>
                  </a:lnTo>
                  <a:lnTo>
                    <a:pt x="14922" y="5841"/>
                  </a:lnTo>
                  <a:lnTo>
                    <a:pt x="14866" y="6015"/>
                  </a:lnTo>
                  <a:lnTo>
                    <a:pt x="14800" y="6186"/>
                  </a:lnTo>
                  <a:lnTo>
                    <a:pt x="14727" y="6355"/>
                  </a:lnTo>
                  <a:lnTo>
                    <a:pt x="14643" y="6521"/>
                  </a:lnTo>
                  <a:lnTo>
                    <a:pt x="14553" y="6684"/>
                  </a:lnTo>
                  <a:lnTo>
                    <a:pt x="14452" y="6843"/>
                  </a:lnTo>
                  <a:lnTo>
                    <a:pt x="14344" y="6997"/>
                  </a:lnTo>
                  <a:lnTo>
                    <a:pt x="14227" y="7148"/>
                  </a:lnTo>
                  <a:lnTo>
                    <a:pt x="14100" y="7293"/>
                  </a:lnTo>
                  <a:lnTo>
                    <a:pt x="13965" y="7434"/>
                  </a:lnTo>
                  <a:close/>
                  <a:moveTo>
                    <a:pt x="14684" y="1390"/>
                  </a:moveTo>
                  <a:lnTo>
                    <a:pt x="14510" y="1225"/>
                  </a:lnTo>
                  <a:lnTo>
                    <a:pt x="14329" y="1071"/>
                  </a:lnTo>
                  <a:lnTo>
                    <a:pt x="14142" y="927"/>
                  </a:lnTo>
                  <a:lnTo>
                    <a:pt x="13951" y="794"/>
                  </a:lnTo>
                  <a:lnTo>
                    <a:pt x="13755" y="672"/>
                  </a:lnTo>
                  <a:lnTo>
                    <a:pt x="13555" y="559"/>
                  </a:lnTo>
                  <a:lnTo>
                    <a:pt x="13351" y="456"/>
                  </a:lnTo>
                  <a:lnTo>
                    <a:pt x="13143" y="364"/>
                  </a:lnTo>
                  <a:lnTo>
                    <a:pt x="12930" y="282"/>
                  </a:lnTo>
                  <a:lnTo>
                    <a:pt x="12716" y="211"/>
                  </a:lnTo>
                  <a:lnTo>
                    <a:pt x="12499" y="150"/>
                  </a:lnTo>
                  <a:lnTo>
                    <a:pt x="12280" y="100"/>
                  </a:lnTo>
                  <a:lnTo>
                    <a:pt x="12059" y="59"/>
                  </a:lnTo>
                  <a:lnTo>
                    <a:pt x="11837" y="29"/>
                  </a:lnTo>
                  <a:lnTo>
                    <a:pt x="11614" y="9"/>
                  </a:lnTo>
                  <a:lnTo>
                    <a:pt x="11390" y="0"/>
                  </a:lnTo>
                  <a:lnTo>
                    <a:pt x="11166" y="1"/>
                  </a:lnTo>
                  <a:lnTo>
                    <a:pt x="10943" y="12"/>
                  </a:lnTo>
                  <a:lnTo>
                    <a:pt x="10719" y="33"/>
                  </a:lnTo>
                  <a:lnTo>
                    <a:pt x="10497" y="65"/>
                  </a:lnTo>
                  <a:lnTo>
                    <a:pt x="10276" y="107"/>
                  </a:lnTo>
                  <a:lnTo>
                    <a:pt x="10056" y="159"/>
                  </a:lnTo>
                  <a:lnTo>
                    <a:pt x="9840" y="222"/>
                  </a:lnTo>
                  <a:lnTo>
                    <a:pt x="9625" y="295"/>
                  </a:lnTo>
                  <a:lnTo>
                    <a:pt x="9414" y="378"/>
                  </a:lnTo>
                  <a:lnTo>
                    <a:pt x="9205" y="471"/>
                  </a:lnTo>
                  <a:lnTo>
                    <a:pt x="9001" y="574"/>
                  </a:lnTo>
                  <a:lnTo>
                    <a:pt x="8800" y="688"/>
                  </a:lnTo>
                  <a:lnTo>
                    <a:pt x="8605" y="812"/>
                  </a:lnTo>
                  <a:lnTo>
                    <a:pt x="8413" y="946"/>
                  </a:lnTo>
                  <a:lnTo>
                    <a:pt x="8228" y="1090"/>
                  </a:lnTo>
                  <a:lnTo>
                    <a:pt x="8046" y="1245"/>
                  </a:lnTo>
                  <a:lnTo>
                    <a:pt x="7866" y="1090"/>
                  </a:lnTo>
                  <a:lnTo>
                    <a:pt x="7681" y="946"/>
                  </a:lnTo>
                  <a:lnTo>
                    <a:pt x="7490" y="812"/>
                  </a:lnTo>
                  <a:lnTo>
                    <a:pt x="7294" y="688"/>
                  </a:lnTo>
                  <a:lnTo>
                    <a:pt x="7094" y="574"/>
                  </a:lnTo>
                  <a:lnTo>
                    <a:pt x="6889" y="471"/>
                  </a:lnTo>
                  <a:lnTo>
                    <a:pt x="6680" y="378"/>
                  </a:lnTo>
                  <a:lnTo>
                    <a:pt x="6469" y="295"/>
                  </a:lnTo>
                  <a:lnTo>
                    <a:pt x="6255" y="222"/>
                  </a:lnTo>
                  <a:lnTo>
                    <a:pt x="6038" y="159"/>
                  </a:lnTo>
                  <a:lnTo>
                    <a:pt x="5819" y="107"/>
                  </a:lnTo>
                  <a:lnTo>
                    <a:pt x="5598" y="65"/>
                  </a:lnTo>
                  <a:lnTo>
                    <a:pt x="5376" y="33"/>
                  </a:lnTo>
                  <a:lnTo>
                    <a:pt x="5152" y="12"/>
                  </a:lnTo>
                  <a:lnTo>
                    <a:pt x="4929" y="1"/>
                  </a:lnTo>
                  <a:lnTo>
                    <a:pt x="4705" y="0"/>
                  </a:lnTo>
                  <a:lnTo>
                    <a:pt x="4481" y="9"/>
                  </a:lnTo>
                  <a:lnTo>
                    <a:pt x="4258" y="29"/>
                  </a:lnTo>
                  <a:lnTo>
                    <a:pt x="4036" y="59"/>
                  </a:lnTo>
                  <a:lnTo>
                    <a:pt x="3816" y="100"/>
                  </a:lnTo>
                  <a:lnTo>
                    <a:pt x="3596" y="150"/>
                  </a:lnTo>
                  <a:lnTo>
                    <a:pt x="3379" y="211"/>
                  </a:lnTo>
                  <a:lnTo>
                    <a:pt x="3165" y="282"/>
                  </a:lnTo>
                  <a:lnTo>
                    <a:pt x="2953" y="364"/>
                  </a:lnTo>
                  <a:lnTo>
                    <a:pt x="2744" y="456"/>
                  </a:lnTo>
                  <a:lnTo>
                    <a:pt x="2540" y="559"/>
                  </a:lnTo>
                  <a:lnTo>
                    <a:pt x="2340" y="672"/>
                  </a:lnTo>
                  <a:lnTo>
                    <a:pt x="2144" y="794"/>
                  </a:lnTo>
                  <a:lnTo>
                    <a:pt x="1953" y="927"/>
                  </a:lnTo>
                  <a:lnTo>
                    <a:pt x="1766" y="1071"/>
                  </a:lnTo>
                  <a:lnTo>
                    <a:pt x="1586" y="1225"/>
                  </a:lnTo>
                  <a:lnTo>
                    <a:pt x="1411" y="1390"/>
                  </a:lnTo>
                  <a:lnTo>
                    <a:pt x="1240" y="1569"/>
                  </a:lnTo>
                  <a:lnTo>
                    <a:pt x="1080" y="1753"/>
                  </a:lnTo>
                  <a:lnTo>
                    <a:pt x="931" y="1943"/>
                  </a:lnTo>
                  <a:lnTo>
                    <a:pt x="794" y="2140"/>
                  </a:lnTo>
                  <a:lnTo>
                    <a:pt x="667" y="2340"/>
                  </a:lnTo>
                  <a:lnTo>
                    <a:pt x="551" y="2546"/>
                  </a:lnTo>
                  <a:lnTo>
                    <a:pt x="447" y="2756"/>
                  </a:lnTo>
                  <a:lnTo>
                    <a:pt x="353" y="2970"/>
                  </a:lnTo>
                  <a:lnTo>
                    <a:pt x="271" y="3187"/>
                  </a:lnTo>
                  <a:lnTo>
                    <a:pt x="198" y="3407"/>
                  </a:lnTo>
                  <a:lnTo>
                    <a:pt x="138" y="3630"/>
                  </a:lnTo>
                  <a:lnTo>
                    <a:pt x="89" y="3855"/>
                  </a:lnTo>
                  <a:lnTo>
                    <a:pt x="49" y="4082"/>
                  </a:lnTo>
                  <a:lnTo>
                    <a:pt x="22" y="4309"/>
                  </a:lnTo>
                  <a:lnTo>
                    <a:pt x="6" y="4538"/>
                  </a:lnTo>
                  <a:lnTo>
                    <a:pt x="0" y="4767"/>
                  </a:lnTo>
                  <a:lnTo>
                    <a:pt x="6" y="4996"/>
                  </a:lnTo>
                  <a:lnTo>
                    <a:pt x="22" y="5225"/>
                  </a:lnTo>
                  <a:lnTo>
                    <a:pt x="49" y="5453"/>
                  </a:lnTo>
                  <a:lnTo>
                    <a:pt x="89" y="5680"/>
                  </a:lnTo>
                  <a:lnTo>
                    <a:pt x="138" y="5904"/>
                  </a:lnTo>
                  <a:lnTo>
                    <a:pt x="198" y="6127"/>
                  </a:lnTo>
                  <a:lnTo>
                    <a:pt x="271" y="6347"/>
                  </a:lnTo>
                  <a:lnTo>
                    <a:pt x="353" y="6565"/>
                  </a:lnTo>
                  <a:lnTo>
                    <a:pt x="447" y="6778"/>
                  </a:lnTo>
                  <a:lnTo>
                    <a:pt x="551" y="6989"/>
                  </a:lnTo>
                  <a:lnTo>
                    <a:pt x="667" y="7194"/>
                  </a:lnTo>
                  <a:lnTo>
                    <a:pt x="794" y="7395"/>
                  </a:lnTo>
                  <a:lnTo>
                    <a:pt x="931" y="7591"/>
                  </a:lnTo>
                  <a:lnTo>
                    <a:pt x="1080" y="7782"/>
                  </a:lnTo>
                  <a:lnTo>
                    <a:pt x="1240" y="7966"/>
                  </a:lnTo>
                  <a:lnTo>
                    <a:pt x="1411" y="8144"/>
                  </a:lnTo>
                  <a:lnTo>
                    <a:pt x="1562" y="8294"/>
                  </a:lnTo>
                  <a:lnTo>
                    <a:pt x="1805" y="8534"/>
                  </a:lnTo>
                  <a:lnTo>
                    <a:pt x="2125" y="8850"/>
                  </a:lnTo>
                  <a:lnTo>
                    <a:pt x="2507" y="9230"/>
                  </a:lnTo>
                  <a:lnTo>
                    <a:pt x="2939" y="9659"/>
                  </a:lnTo>
                  <a:lnTo>
                    <a:pt x="3407" y="10122"/>
                  </a:lnTo>
                  <a:lnTo>
                    <a:pt x="3896" y="10606"/>
                  </a:lnTo>
                  <a:lnTo>
                    <a:pt x="4393" y="11099"/>
                  </a:lnTo>
                  <a:lnTo>
                    <a:pt x="4884" y="11585"/>
                  </a:lnTo>
                  <a:lnTo>
                    <a:pt x="5354" y="12051"/>
                  </a:lnTo>
                  <a:lnTo>
                    <a:pt x="5790" y="12483"/>
                  </a:lnTo>
                  <a:lnTo>
                    <a:pt x="6178" y="12868"/>
                  </a:lnTo>
                  <a:lnTo>
                    <a:pt x="6504" y="13191"/>
                  </a:lnTo>
                  <a:lnTo>
                    <a:pt x="6755" y="13439"/>
                  </a:lnTo>
                  <a:lnTo>
                    <a:pt x="6915" y="13598"/>
                  </a:lnTo>
                  <a:lnTo>
                    <a:pt x="6971" y="13654"/>
                  </a:lnTo>
                  <a:lnTo>
                    <a:pt x="7028" y="13707"/>
                  </a:lnTo>
                  <a:lnTo>
                    <a:pt x="7087" y="13758"/>
                  </a:lnTo>
                  <a:lnTo>
                    <a:pt x="7148" y="13804"/>
                  </a:lnTo>
                  <a:lnTo>
                    <a:pt x="7211" y="13847"/>
                  </a:lnTo>
                  <a:lnTo>
                    <a:pt x="7274" y="13887"/>
                  </a:lnTo>
                  <a:lnTo>
                    <a:pt x="7340" y="13923"/>
                  </a:lnTo>
                  <a:lnTo>
                    <a:pt x="7407" y="13956"/>
                  </a:lnTo>
                  <a:lnTo>
                    <a:pt x="7475" y="13985"/>
                  </a:lnTo>
                  <a:lnTo>
                    <a:pt x="7545" y="14011"/>
                  </a:lnTo>
                  <a:lnTo>
                    <a:pt x="7614" y="14034"/>
                  </a:lnTo>
                  <a:lnTo>
                    <a:pt x="7685" y="14053"/>
                  </a:lnTo>
                  <a:lnTo>
                    <a:pt x="7757" y="14068"/>
                  </a:lnTo>
                  <a:lnTo>
                    <a:pt x="7829" y="14080"/>
                  </a:lnTo>
                  <a:lnTo>
                    <a:pt x="7902" y="14089"/>
                  </a:lnTo>
                  <a:lnTo>
                    <a:pt x="7974" y="14094"/>
                  </a:lnTo>
                  <a:lnTo>
                    <a:pt x="8048" y="14096"/>
                  </a:lnTo>
                  <a:lnTo>
                    <a:pt x="8120" y="14094"/>
                  </a:lnTo>
                  <a:lnTo>
                    <a:pt x="8193" y="14089"/>
                  </a:lnTo>
                  <a:lnTo>
                    <a:pt x="8266" y="14080"/>
                  </a:lnTo>
                  <a:lnTo>
                    <a:pt x="8338" y="14068"/>
                  </a:lnTo>
                  <a:lnTo>
                    <a:pt x="8410" y="14053"/>
                  </a:lnTo>
                  <a:lnTo>
                    <a:pt x="8480" y="14034"/>
                  </a:lnTo>
                  <a:lnTo>
                    <a:pt x="8550" y="14011"/>
                  </a:lnTo>
                  <a:lnTo>
                    <a:pt x="8620" y="13985"/>
                  </a:lnTo>
                  <a:lnTo>
                    <a:pt x="8688" y="13956"/>
                  </a:lnTo>
                  <a:lnTo>
                    <a:pt x="8755" y="13923"/>
                  </a:lnTo>
                  <a:lnTo>
                    <a:pt x="8820" y="13887"/>
                  </a:lnTo>
                  <a:lnTo>
                    <a:pt x="8884" y="13847"/>
                  </a:lnTo>
                  <a:lnTo>
                    <a:pt x="8947" y="13804"/>
                  </a:lnTo>
                  <a:lnTo>
                    <a:pt x="9008" y="13758"/>
                  </a:lnTo>
                  <a:lnTo>
                    <a:pt x="9067" y="13707"/>
                  </a:lnTo>
                  <a:lnTo>
                    <a:pt x="9124" y="13654"/>
                  </a:lnTo>
                  <a:lnTo>
                    <a:pt x="9185" y="13593"/>
                  </a:lnTo>
                  <a:lnTo>
                    <a:pt x="9360" y="13419"/>
                  </a:lnTo>
                  <a:lnTo>
                    <a:pt x="9632" y="13151"/>
                  </a:lnTo>
                  <a:lnTo>
                    <a:pt x="9984" y="12801"/>
                  </a:lnTo>
                  <a:lnTo>
                    <a:pt x="10400" y="12388"/>
                  </a:lnTo>
                  <a:lnTo>
                    <a:pt x="10867" y="11926"/>
                  </a:lnTo>
                  <a:lnTo>
                    <a:pt x="11365" y="11432"/>
                  </a:lnTo>
                  <a:lnTo>
                    <a:pt x="11881" y="10921"/>
                  </a:lnTo>
                  <a:lnTo>
                    <a:pt x="12397" y="10410"/>
                  </a:lnTo>
                  <a:lnTo>
                    <a:pt x="12897" y="9915"/>
                  </a:lnTo>
                  <a:lnTo>
                    <a:pt x="13367" y="9449"/>
                  </a:lnTo>
                  <a:lnTo>
                    <a:pt x="13789" y="9031"/>
                  </a:lnTo>
                  <a:lnTo>
                    <a:pt x="14148" y="8675"/>
                  </a:lnTo>
                  <a:lnTo>
                    <a:pt x="14427" y="8398"/>
                  </a:lnTo>
                  <a:lnTo>
                    <a:pt x="14611" y="8216"/>
                  </a:lnTo>
                  <a:lnTo>
                    <a:pt x="14684" y="8144"/>
                  </a:lnTo>
                  <a:lnTo>
                    <a:pt x="14855" y="7966"/>
                  </a:lnTo>
                  <a:lnTo>
                    <a:pt x="15015" y="7782"/>
                  </a:lnTo>
                  <a:lnTo>
                    <a:pt x="15164" y="7591"/>
                  </a:lnTo>
                  <a:lnTo>
                    <a:pt x="15301" y="7395"/>
                  </a:lnTo>
                  <a:lnTo>
                    <a:pt x="15428" y="7194"/>
                  </a:lnTo>
                  <a:lnTo>
                    <a:pt x="15544" y="6989"/>
                  </a:lnTo>
                  <a:lnTo>
                    <a:pt x="15648" y="6778"/>
                  </a:lnTo>
                  <a:lnTo>
                    <a:pt x="15742" y="6565"/>
                  </a:lnTo>
                  <a:lnTo>
                    <a:pt x="15824" y="6347"/>
                  </a:lnTo>
                  <a:lnTo>
                    <a:pt x="15897" y="6127"/>
                  </a:lnTo>
                  <a:lnTo>
                    <a:pt x="15957" y="5904"/>
                  </a:lnTo>
                  <a:lnTo>
                    <a:pt x="16006" y="5680"/>
                  </a:lnTo>
                  <a:lnTo>
                    <a:pt x="16046" y="5453"/>
                  </a:lnTo>
                  <a:lnTo>
                    <a:pt x="16073" y="5225"/>
                  </a:lnTo>
                  <a:lnTo>
                    <a:pt x="16089" y="4996"/>
                  </a:lnTo>
                  <a:lnTo>
                    <a:pt x="16095" y="4767"/>
                  </a:lnTo>
                  <a:lnTo>
                    <a:pt x="16089" y="4538"/>
                  </a:lnTo>
                  <a:lnTo>
                    <a:pt x="16073" y="4309"/>
                  </a:lnTo>
                  <a:lnTo>
                    <a:pt x="16046" y="4082"/>
                  </a:lnTo>
                  <a:lnTo>
                    <a:pt x="16006" y="3855"/>
                  </a:lnTo>
                  <a:lnTo>
                    <a:pt x="15957" y="3630"/>
                  </a:lnTo>
                  <a:lnTo>
                    <a:pt x="15897" y="3407"/>
                  </a:lnTo>
                  <a:lnTo>
                    <a:pt x="15824" y="3187"/>
                  </a:lnTo>
                  <a:lnTo>
                    <a:pt x="15742" y="2970"/>
                  </a:lnTo>
                  <a:lnTo>
                    <a:pt x="15648" y="2756"/>
                  </a:lnTo>
                  <a:lnTo>
                    <a:pt x="15544" y="2546"/>
                  </a:lnTo>
                  <a:lnTo>
                    <a:pt x="15428" y="2340"/>
                  </a:lnTo>
                  <a:lnTo>
                    <a:pt x="15301" y="2140"/>
                  </a:lnTo>
                  <a:lnTo>
                    <a:pt x="15164" y="1943"/>
                  </a:lnTo>
                  <a:lnTo>
                    <a:pt x="15015" y="1753"/>
                  </a:lnTo>
                  <a:lnTo>
                    <a:pt x="14855" y="1569"/>
                  </a:lnTo>
                  <a:lnTo>
                    <a:pt x="14684" y="13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30" name="ïśľïḑè">
              <a:extLst>
                <a:ext uri="{FF2B5EF4-FFF2-40B4-BE49-F238E27FC236}">
                  <a16:creationId xmlns:a16="http://schemas.microsoft.com/office/drawing/2014/main" id="{EE764945-0C46-405F-893B-43C1A59861C1}"/>
                </a:ext>
              </a:extLst>
            </p:cNvPr>
            <p:cNvSpPr/>
            <p:nvPr/>
          </p:nvSpPr>
          <p:spPr bwMode="auto">
            <a:xfrm>
              <a:off x="7295161" y="1800131"/>
              <a:ext cx="60376" cy="61589"/>
            </a:xfrm>
            <a:custGeom>
              <a:avLst/>
              <a:gdLst>
                <a:gd name="T0" fmla="*/ 2026 w 2389"/>
                <a:gd name="T1" fmla="*/ 3 h 2391"/>
                <a:gd name="T2" fmla="*/ 1602 w 2389"/>
                <a:gd name="T3" fmla="*/ 69 h 2391"/>
                <a:gd name="T4" fmla="*/ 1210 w 2389"/>
                <a:gd name="T5" fmla="*/ 213 h 2391"/>
                <a:gd name="T6" fmla="*/ 858 w 2389"/>
                <a:gd name="T7" fmla="*/ 426 h 2391"/>
                <a:gd name="T8" fmla="*/ 554 w 2389"/>
                <a:gd name="T9" fmla="*/ 702 h 2391"/>
                <a:gd name="T10" fmla="*/ 309 w 2389"/>
                <a:gd name="T11" fmla="*/ 1031 h 2391"/>
                <a:gd name="T12" fmla="*/ 130 w 2389"/>
                <a:gd name="T13" fmla="*/ 1405 h 2391"/>
                <a:gd name="T14" fmla="*/ 24 w 2389"/>
                <a:gd name="T15" fmla="*/ 1814 h 2391"/>
                <a:gd name="T16" fmla="*/ 0 w 2389"/>
                <a:gd name="T17" fmla="*/ 2153 h 2391"/>
                <a:gd name="T18" fmla="*/ 8 w 2389"/>
                <a:gd name="T19" fmla="*/ 2203 h 2391"/>
                <a:gd name="T20" fmla="*/ 25 w 2389"/>
                <a:gd name="T21" fmla="*/ 2249 h 2391"/>
                <a:gd name="T22" fmla="*/ 50 w 2389"/>
                <a:gd name="T23" fmla="*/ 2291 h 2391"/>
                <a:gd name="T24" fmla="*/ 82 w 2389"/>
                <a:gd name="T25" fmla="*/ 2327 h 2391"/>
                <a:gd name="T26" fmla="*/ 121 w 2389"/>
                <a:gd name="T27" fmla="*/ 2355 h 2391"/>
                <a:gd name="T28" fmla="*/ 165 w 2389"/>
                <a:gd name="T29" fmla="*/ 2376 h 2391"/>
                <a:gd name="T30" fmla="*/ 213 w 2389"/>
                <a:gd name="T31" fmla="*/ 2389 h 2391"/>
                <a:gd name="T32" fmla="*/ 264 w 2389"/>
                <a:gd name="T33" fmla="*/ 2391 h 2391"/>
                <a:gd name="T34" fmla="*/ 314 w 2389"/>
                <a:gd name="T35" fmla="*/ 2384 h 2391"/>
                <a:gd name="T36" fmla="*/ 360 w 2389"/>
                <a:gd name="T37" fmla="*/ 2367 h 2391"/>
                <a:gd name="T38" fmla="*/ 402 w 2389"/>
                <a:gd name="T39" fmla="*/ 2342 h 2391"/>
                <a:gd name="T40" fmla="*/ 437 w 2389"/>
                <a:gd name="T41" fmla="*/ 2310 h 2391"/>
                <a:gd name="T42" fmla="*/ 467 w 2389"/>
                <a:gd name="T43" fmla="*/ 2271 h 2391"/>
                <a:gd name="T44" fmla="*/ 488 w 2389"/>
                <a:gd name="T45" fmla="*/ 2226 h 2391"/>
                <a:gd name="T46" fmla="*/ 500 w 2389"/>
                <a:gd name="T47" fmla="*/ 2178 h 2391"/>
                <a:gd name="T48" fmla="*/ 503 w 2389"/>
                <a:gd name="T49" fmla="*/ 2140 h 2391"/>
                <a:gd name="T50" fmla="*/ 536 w 2389"/>
                <a:gd name="T51" fmla="*/ 1810 h 2391"/>
                <a:gd name="T52" fmla="*/ 632 w 2389"/>
                <a:gd name="T53" fmla="*/ 1503 h 2391"/>
                <a:gd name="T54" fmla="*/ 782 w 2389"/>
                <a:gd name="T55" fmla="*/ 1225 h 2391"/>
                <a:gd name="T56" fmla="*/ 982 w 2389"/>
                <a:gd name="T57" fmla="*/ 983 h 2391"/>
                <a:gd name="T58" fmla="*/ 1223 w 2389"/>
                <a:gd name="T59" fmla="*/ 783 h 2391"/>
                <a:gd name="T60" fmla="*/ 1501 w 2389"/>
                <a:gd name="T61" fmla="*/ 632 h 2391"/>
                <a:gd name="T62" fmla="*/ 1808 w 2389"/>
                <a:gd name="T63" fmla="*/ 537 h 2391"/>
                <a:gd name="T64" fmla="*/ 2137 w 2389"/>
                <a:gd name="T65" fmla="*/ 504 h 2391"/>
                <a:gd name="T66" fmla="*/ 2176 w 2389"/>
                <a:gd name="T67" fmla="*/ 501 h 2391"/>
                <a:gd name="T68" fmla="*/ 2224 w 2389"/>
                <a:gd name="T69" fmla="*/ 488 h 2391"/>
                <a:gd name="T70" fmla="*/ 2268 w 2389"/>
                <a:gd name="T71" fmla="*/ 467 h 2391"/>
                <a:gd name="T72" fmla="*/ 2306 w 2389"/>
                <a:gd name="T73" fmla="*/ 438 h 2391"/>
                <a:gd name="T74" fmla="*/ 2340 w 2389"/>
                <a:gd name="T75" fmla="*/ 403 h 2391"/>
                <a:gd name="T76" fmla="*/ 2365 w 2389"/>
                <a:gd name="T77" fmla="*/ 362 h 2391"/>
                <a:gd name="T78" fmla="*/ 2381 w 2389"/>
                <a:gd name="T79" fmla="*/ 315 h 2391"/>
                <a:gd name="T80" fmla="*/ 2389 w 2389"/>
                <a:gd name="T81" fmla="*/ 265 h 2391"/>
                <a:gd name="T82" fmla="*/ 2386 w 2389"/>
                <a:gd name="T83" fmla="*/ 214 h 2391"/>
                <a:gd name="T84" fmla="*/ 2374 w 2389"/>
                <a:gd name="T85" fmla="*/ 165 h 2391"/>
                <a:gd name="T86" fmla="*/ 2353 w 2389"/>
                <a:gd name="T87" fmla="*/ 122 h 2391"/>
                <a:gd name="T88" fmla="*/ 2324 w 2389"/>
                <a:gd name="T89" fmla="*/ 83 h 2391"/>
                <a:gd name="T90" fmla="*/ 2288 w 2389"/>
                <a:gd name="T91" fmla="*/ 50 h 2391"/>
                <a:gd name="T92" fmla="*/ 2247 w 2389"/>
                <a:gd name="T93" fmla="*/ 25 h 2391"/>
                <a:gd name="T94" fmla="*/ 2201 w 2389"/>
                <a:gd name="T95" fmla="*/ 8 h 2391"/>
                <a:gd name="T96" fmla="*/ 2151 w 2389"/>
                <a:gd name="T97" fmla="*/ 0 h 2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389" h="2391">
                  <a:moveTo>
                    <a:pt x="2137" y="0"/>
                  </a:moveTo>
                  <a:lnTo>
                    <a:pt x="2136" y="0"/>
                  </a:lnTo>
                  <a:lnTo>
                    <a:pt x="2135" y="1"/>
                  </a:lnTo>
                  <a:lnTo>
                    <a:pt x="2026" y="3"/>
                  </a:lnTo>
                  <a:lnTo>
                    <a:pt x="1917" y="12"/>
                  </a:lnTo>
                  <a:lnTo>
                    <a:pt x="1811" y="25"/>
                  </a:lnTo>
                  <a:lnTo>
                    <a:pt x="1705" y="44"/>
                  </a:lnTo>
                  <a:lnTo>
                    <a:pt x="1602" y="69"/>
                  </a:lnTo>
                  <a:lnTo>
                    <a:pt x="1501" y="97"/>
                  </a:lnTo>
                  <a:lnTo>
                    <a:pt x="1401" y="131"/>
                  </a:lnTo>
                  <a:lnTo>
                    <a:pt x="1305" y="169"/>
                  </a:lnTo>
                  <a:lnTo>
                    <a:pt x="1210" y="213"/>
                  </a:lnTo>
                  <a:lnTo>
                    <a:pt x="1117" y="259"/>
                  </a:lnTo>
                  <a:lnTo>
                    <a:pt x="1028" y="311"/>
                  </a:lnTo>
                  <a:lnTo>
                    <a:pt x="941" y="367"/>
                  </a:lnTo>
                  <a:lnTo>
                    <a:pt x="858" y="426"/>
                  </a:lnTo>
                  <a:lnTo>
                    <a:pt x="777" y="489"/>
                  </a:lnTo>
                  <a:lnTo>
                    <a:pt x="700" y="557"/>
                  </a:lnTo>
                  <a:lnTo>
                    <a:pt x="626" y="627"/>
                  </a:lnTo>
                  <a:lnTo>
                    <a:pt x="554" y="702"/>
                  </a:lnTo>
                  <a:lnTo>
                    <a:pt x="488" y="779"/>
                  </a:lnTo>
                  <a:lnTo>
                    <a:pt x="424" y="861"/>
                  </a:lnTo>
                  <a:lnTo>
                    <a:pt x="365" y="945"/>
                  </a:lnTo>
                  <a:lnTo>
                    <a:pt x="309" y="1031"/>
                  </a:lnTo>
                  <a:lnTo>
                    <a:pt x="257" y="1121"/>
                  </a:lnTo>
                  <a:lnTo>
                    <a:pt x="210" y="1213"/>
                  </a:lnTo>
                  <a:lnTo>
                    <a:pt x="168" y="1308"/>
                  </a:lnTo>
                  <a:lnTo>
                    <a:pt x="130" y="1405"/>
                  </a:lnTo>
                  <a:lnTo>
                    <a:pt x="95" y="1504"/>
                  </a:lnTo>
                  <a:lnTo>
                    <a:pt x="67" y="1606"/>
                  </a:lnTo>
                  <a:lnTo>
                    <a:pt x="43" y="1709"/>
                  </a:lnTo>
                  <a:lnTo>
                    <a:pt x="24" y="1814"/>
                  </a:lnTo>
                  <a:lnTo>
                    <a:pt x="11" y="1921"/>
                  </a:lnTo>
                  <a:lnTo>
                    <a:pt x="3" y="2030"/>
                  </a:lnTo>
                  <a:lnTo>
                    <a:pt x="0" y="2140"/>
                  </a:lnTo>
                  <a:lnTo>
                    <a:pt x="0" y="2153"/>
                  </a:lnTo>
                  <a:lnTo>
                    <a:pt x="1" y="2166"/>
                  </a:lnTo>
                  <a:lnTo>
                    <a:pt x="3" y="2178"/>
                  </a:lnTo>
                  <a:lnTo>
                    <a:pt x="5" y="2191"/>
                  </a:lnTo>
                  <a:lnTo>
                    <a:pt x="8" y="2203"/>
                  </a:lnTo>
                  <a:lnTo>
                    <a:pt x="11" y="2215"/>
                  </a:lnTo>
                  <a:lnTo>
                    <a:pt x="15" y="2226"/>
                  </a:lnTo>
                  <a:lnTo>
                    <a:pt x="20" y="2238"/>
                  </a:lnTo>
                  <a:lnTo>
                    <a:pt x="25" y="2249"/>
                  </a:lnTo>
                  <a:lnTo>
                    <a:pt x="30" y="2261"/>
                  </a:lnTo>
                  <a:lnTo>
                    <a:pt x="36" y="2271"/>
                  </a:lnTo>
                  <a:lnTo>
                    <a:pt x="43" y="2281"/>
                  </a:lnTo>
                  <a:lnTo>
                    <a:pt x="50" y="2291"/>
                  </a:lnTo>
                  <a:lnTo>
                    <a:pt x="57" y="2300"/>
                  </a:lnTo>
                  <a:lnTo>
                    <a:pt x="65" y="2310"/>
                  </a:lnTo>
                  <a:lnTo>
                    <a:pt x="73" y="2318"/>
                  </a:lnTo>
                  <a:lnTo>
                    <a:pt x="82" y="2327"/>
                  </a:lnTo>
                  <a:lnTo>
                    <a:pt x="91" y="2334"/>
                  </a:lnTo>
                  <a:lnTo>
                    <a:pt x="100" y="2342"/>
                  </a:lnTo>
                  <a:lnTo>
                    <a:pt x="110" y="2349"/>
                  </a:lnTo>
                  <a:lnTo>
                    <a:pt x="121" y="2355"/>
                  </a:lnTo>
                  <a:lnTo>
                    <a:pt x="132" y="2361"/>
                  </a:lnTo>
                  <a:lnTo>
                    <a:pt x="143" y="2367"/>
                  </a:lnTo>
                  <a:lnTo>
                    <a:pt x="154" y="2372"/>
                  </a:lnTo>
                  <a:lnTo>
                    <a:pt x="165" y="2376"/>
                  </a:lnTo>
                  <a:lnTo>
                    <a:pt x="177" y="2380"/>
                  </a:lnTo>
                  <a:lnTo>
                    <a:pt x="188" y="2384"/>
                  </a:lnTo>
                  <a:lnTo>
                    <a:pt x="201" y="2386"/>
                  </a:lnTo>
                  <a:lnTo>
                    <a:pt x="213" y="2389"/>
                  </a:lnTo>
                  <a:lnTo>
                    <a:pt x="225" y="2390"/>
                  </a:lnTo>
                  <a:lnTo>
                    <a:pt x="238" y="2391"/>
                  </a:lnTo>
                  <a:lnTo>
                    <a:pt x="251" y="2391"/>
                  </a:lnTo>
                  <a:lnTo>
                    <a:pt x="264" y="2391"/>
                  </a:lnTo>
                  <a:lnTo>
                    <a:pt x="277" y="2390"/>
                  </a:lnTo>
                  <a:lnTo>
                    <a:pt x="290" y="2389"/>
                  </a:lnTo>
                  <a:lnTo>
                    <a:pt x="302" y="2386"/>
                  </a:lnTo>
                  <a:lnTo>
                    <a:pt x="314" y="2384"/>
                  </a:lnTo>
                  <a:lnTo>
                    <a:pt x="326" y="2380"/>
                  </a:lnTo>
                  <a:lnTo>
                    <a:pt x="338" y="2376"/>
                  </a:lnTo>
                  <a:lnTo>
                    <a:pt x="349" y="2372"/>
                  </a:lnTo>
                  <a:lnTo>
                    <a:pt x="360" y="2367"/>
                  </a:lnTo>
                  <a:lnTo>
                    <a:pt x="371" y="2361"/>
                  </a:lnTo>
                  <a:lnTo>
                    <a:pt x="382" y="2355"/>
                  </a:lnTo>
                  <a:lnTo>
                    <a:pt x="392" y="2349"/>
                  </a:lnTo>
                  <a:lnTo>
                    <a:pt x="402" y="2342"/>
                  </a:lnTo>
                  <a:lnTo>
                    <a:pt x="411" y="2334"/>
                  </a:lnTo>
                  <a:lnTo>
                    <a:pt x="420" y="2327"/>
                  </a:lnTo>
                  <a:lnTo>
                    <a:pt x="429" y="2318"/>
                  </a:lnTo>
                  <a:lnTo>
                    <a:pt x="437" y="2310"/>
                  </a:lnTo>
                  <a:lnTo>
                    <a:pt x="445" y="2300"/>
                  </a:lnTo>
                  <a:lnTo>
                    <a:pt x="453" y="2291"/>
                  </a:lnTo>
                  <a:lnTo>
                    <a:pt x="460" y="2281"/>
                  </a:lnTo>
                  <a:lnTo>
                    <a:pt x="467" y="2271"/>
                  </a:lnTo>
                  <a:lnTo>
                    <a:pt x="473" y="2261"/>
                  </a:lnTo>
                  <a:lnTo>
                    <a:pt x="478" y="2249"/>
                  </a:lnTo>
                  <a:lnTo>
                    <a:pt x="483" y="2238"/>
                  </a:lnTo>
                  <a:lnTo>
                    <a:pt x="488" y="2226"/>
                  </a:lnTo>
                  <a:lnTo>
                    <a:pt x="492" y="2215"/>
                  </a:lnTo>
                  <a:lnTo>
                    <a:pt x="495" y="2203"/>
                  </a:lnTo>
                  <a:lnTo>
                    <a:pt x="498" y="2191"/>
                  </a:lnTo>
                  <a:lnTo>
                    <a:pt x="500" y="2178"/>
                  </a:lnTo>
                  <a:lnTo>
                    <a:pt x="502" y="2166"/>
                  </a:lnTo>
                  <a:lnTo>
                    <a:pt x="503" y="2153"/>
                  </a:lnTo>
                  <a:lnTo>
                    <a:pt x="503" y="2140"/>
                  </a:lnTo>
                  <a:lnTo>
                    <a:pt x="503" y="2140"/>
                  </a:lnTo>
                  <a:lnTo>
                    <a:pt x="505" y="2055"/>
                  </a:lnTo>
                  <a:lnTo>
                    <a:pt x="511" y="1973"/>
                  </a:lnTo>
                  <a:lnTo>
                    <a:pt x="522" y="1890"/>
                  </a:lnTo>
                  <a:lnTo>
                    <a:pt x="536" y="1810"/>
                  </a:lnTo>
                  <a:lnTo>
                    <a:pt x="554" y="1731"/>
                  </a:lnTo>
                  <a:lnTo>
                    <a:pt x="576" y="1653"/>
                  </a:lnTo>
                  <a:lnTo>
                    <a:pt x="602" y="1577"/>
                  </a:lnTo>
                  <a:lnTo>
                    <a:pt x="632" y="1503"/>
                  </a:lnTo>
                  <a:lnTo>
                    <a:pt x="664" y="1431"/>
                  </a:lnTo>
                  <a:lnTo>
                    <a:pt x="700" y="1360"/>
                  </a:lnTo>
                  <a:lnTo>
                    <a:pt x="739" y="1292"/>
                  </a:lnTo>
                  <a:lnTo>
                    <a:pt x="782" y="1225"/>
                  </a:lnTo>
                  <a:lnTo>
                    <a:pt x="828" y="1161"/>
                  </a:lnTo>
                  <a:lnTo>
                    <a:pt x="876" y="1100"/>
                  </a:lnTo>
                  <a:lnTo>
                    <a:pt x="927" y="1040"/>
                  </a:lnTo>
                  <a:lnTo>
                    <a:pt x="982" y="983"/>
                  </a:lnTo>
                  <a:lnTo>
                    <a:pt x="1038" y="928"/>
                  </a:lnTo>
                  <a:lnTo>
                    <a:pt x="1097" y="877"/>
                  </a:lnTo>
                  <a:lnTo>
                    <a:pt x="1160" y="829"/>
                  </a:lnTo>
                  <a:lnTo>
                    <a:pt x="1223" y="783"/>
                  </a:lnTo>
                  <a:lnTo>
                    <a:pt x="1289" y="741"/>
                  </a:lnTo>
                  <a:lnTo>
                    <a:pt x="1358" y="701"/>
                  </a:lnTo>
                  <a:lnTo>
                    <a:pt x="1428" y="666"/>
                  </a:lnTo>
                  <a:lnTo>
                    <a:pt x="1501" y="632"/>
                  </a:lnTo>
                  <a:lnTo>
                    <a:pt x="1575" y="603"/>
                  </a:lnTo>
                  <a:lnTo>
                    <a:pt x="1652" y="577"/>
                  </a:lnTo>
                  <a:lnTo>
                    <a:pt x="1729" y="555"/>
                  </a:lnTo>
                  <a:lnTo>
                    <a:pt x="1808" y="537"/>
                  </a:lnTo>
                  <a:lnTo>
                    <a:pt x="1888" y="523"/>
                  </a:lnTo>
                  <a:lnTo>
                    <a:pt x="1970" y="513"/>
                  </a:lnTo>
                  <a:lnTo>
                    <a:pt x="2053" y="506"/>
                  </a:lnTo>
                  <a:lnTo>
                    <a:pt x="2137" y="504"/>
                  </a:lnTo>
                  <a:lnTo>
                    <a:pt x="2137" y="504"/>
                  </a:lnTo>
                  <a:lnTo>
                    <a:pt x="2151" y="504"/>
                  </a:lnTo>
                  <a:lnTo>
                    <a:pt x="2164" y="503"/>
                  </a:lnTo>
                  <a:lnTo>
                    <a:pt x="2176" y="501"/>
                  </a:lnTo>
                  <a:lnTo>
                    <a:pt x="2189" y="499"/>
                  </a:lnTo>
                  <a:lnTo>
                    <a:pt x="2201" y="496"/>
                  </a:lnTo>
                  <a:lnTo>
                    <a:pt x="2213" y="492"/>
                  </a:lnTo>
                  <a:lnTo>
                    <a:pt x="2224" y="488"/>
                  </a:lnTo>
                  <a:lnTo>
                    <a:pt x="2235" y="484"/>
                  </a:lnTo>
                  <a:lnTo>
                    <a:pt x="2247" y="479"/>
                  </a:lnTo>
                  <a:lnTo>
                    <a:pt x="2257" y="473"/>
                  </a:lnTo>
                  <a:lnTo>
                    <a:pt x="2268" y="467"/>
                  </a:lnTo>
                  <a:lnTo>
                    <a:pt x="2278" y="461"/>
                  </a:lnTo>
                  <a:lnTo>
                    <a:pt x="2288" y="454"/>
                  </a:lnTo>
                  <a:lnTo>
                    <a:pt x="2297" y="446"/>
                  </a:lnTo>
                  <a:lnTo>
                    <a:pt x="2306" y="438"/>
                  </a:lnTo>
                  <a:lnTo>
                    <a:pt x="2316" y="430"/>
                  </a:lnTo>
                  <a:lnTo>
                    <a:pt x="2324" y="421"/>
                  </a:lnTo>
                  <a:lnTo>
                    <a:pt x="2332" y="412"/>
                  </a:lnTo>
                  <a:lnTo>
                    <a:pt x="2340" y="403"/>
                  </a:lnTo>
                  <a:lnTo>
                    <a:pt x="2347" y="393"/>
                  </a:lnTo>
                  <a:lnTo>
                    <a:pt x="2353" y="383"/>
                  </a:lnTo>
                  <a:lnTo>
                    <a:pt x="2359" y="372"/>
                  </a:lnTo>
                  <a:lnTo>
                    <a:pt x="2365" y="362"/>
                  </a:lnTo>
                  <a:lnTo>
                    <a:pt x="2370" y="350"/>
                  </a:lnTo>
                  <a:lnTo>
                    <a:pt x="2374" y="338"/>
                  </a:lnTo>
                  <a:lnTo>
                    <a:pt x="2378" y="326"/>
                  </a:lnTo>
                  <a:lnTo>
                    <a:pt x="2381" y="315"/>
                  </a:lnTo>
                  <a:lnTo>
                    <a:pt x="2384" y="303"/>
                  </a:lnTo>
                  <a:lnTo>
                    <a:pt x="2386" y="290"/>
                  </a:lnTo>
                  <a:lnTo>
                    <a:pt x="2388" y="278"/>
                  </a:lnTo>
                  <a:lnTo>
                    <a:pt x="2389" y="265"/>
                  </a:lnTo>
                  <a:lnTo>
                    <a:pt x="2389" y="252"/>
                  </a:lnTo>
                  <a:lnTo>
                    <a:pt x="2389" y="239"/>
                  </a:lnTo>
                  <a:lnTo>
                    <a:pt x="2388" y="227"/>
                  </a:lnTo>
                  <a:lnTo>
                    <a:pt x="2386" y="214"/>
                  </a:lnTo>
                  <a:lnTo>
                    <a:pt x="2384" y="202"/>
                  </a:lnTo>
                  <a:lnTo>
                    <a:pt x="2381" y="189"/>
                  </a:lnTo>
                  <a:lnTo>
                    <a:pt x="2378" y="177"/>
                  </a:lnTo>
                  <a:lnTo>
                    <a:pt x="2374" y="165"/>
                  </a:lnTo>
                  <a:lnTo>
                    <a:pt x="2370" y="154"/>
                  </a:lnTo>
                  <a:lnTo>
                    <a:pt x="2365" y="143"/>
                  </a:lnTo>
                  <a:lnTo>
                    <a:pt x="2359" y="132"/>
                  </a:lnTo>
                  <a:lnTo>
                    <a:pt x="2353" y="122"/>
                  </a:lnTo>
                  <a:lnTo>
                    <a:pt x="2347" y="111"/>
                  </a:lnTo>
                  <a:lnTo>
                    <a:pt x="2340" y="102"/>
                  </a:lnTo>
                  <a:lnTo>
                    <a:pt x="2332" y="92"/>
                  </a:lnTo>
                  <a:lnTo>
                    <a:pt x="2324" y="83"/>
                  </a:lnTo>
                  <a:lnTo>
                    <a:pt x="2316" y="74"/>
                  </a:lnTo>
                  <a:lnTo>
                    <a:pt x="2306" y="66"/>
                  </a:lnTo>
                  <a:lnTo>
                    <a:pt x="2297" y="58"/>
                  </a:lnTo>
                  <a:lnTo>
                    <a:pt x="2288" y="50"/>
                  </a:lnTo>
                  <a:lnTo>
                    <a:pt x="2278" y="43"/>
                  </a:lnTo>
                  <a:lnTo>
                    <a:pt x="2268" y="36"/>
                  </a:lnTo>
                  <a:lnTo>
                    <a:pt x="2257" y="30"/>
                  </a:lnTo>
                  <a:lnTo>
                    <a:pt x="2247" y="25"/>
                  </a:lnTo>
                  <a:lnTo>
                    <a:pt x="2235" y="20"/>
                  </a:lnTo>
                  <a:lnTo>
                    <a:pt x="2224" y="15"/>
                  </a:lnTo>
                  <a:lnTo>
                    <a:pt x="2213" y="11"/>
                  </a:lnTo>
                  <a:lnTo>
                    <a:pt x="2201" y="8"/>
                  </a:lnTo>
                  <a:lnTo>
                    <a:pt x="2189" y="5"/>
                  </a:lnTo>
                  <a:lnTo>
                    <a:pt x="2176" y="3"/>
                  </a:lnTo>
                  <a:lnTo>
                    <a:pt x="2164" y="1"/>
                  </a:lnTo>
                  <a:lnTo>
                    <a:pt x="2151" y="0"/>
                  </a:lnTo>
                  <a:lnTo>
                    <a:pt x="213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31" name="îşḷïḋê">
              <a:extLst>
                <a:ext uri="{FF2B5EF4-FFF2-40B4-BE49-F238E27FC236}">
                  <a16:creationId xmlns:a16="http://schemas.microsoft.com/office/drawing/2014/main" id="{AF7239AD-D4AF-48F8-B65C-67D12B96F891}"/>
                </a:ext>
              </a:extLst>
            </p:cNvPr>
            <p:cNvSpPr/>
            <p:nvPr/>
          </p:nvSpPr>
          <p:spPr bwMode="auto">
            <a:xfrm>
              <a:off x="6938792" y="1861423"/>
              <a:ext cx="78763" cy="50669"/>
            </a:xfrm>
            <a:custGeom>
              <a:avLst/>
              <a:gdLst>
                <a:gd name="T0" fmla="*/ 4713 w 5797"/>
                <a:gd name="T1" fmla="*/ 41 h 3756"/>
                <a:gd name="T2" fmla="*/ 3661 w 5797"/>
                <a:gd name="T3" fmla="*/ 216 h 3756"/>
                <a:gd name="T4" fmla="*/ 2695 w 5797"/>
                <a:gd name="T5" fmla="*/ 516 h 3756"/>
                <a:gd name="T6" fmla="*/ 1839 w 5797"/>
                <a:gd name="T7" fmla="*/ 924 h 3756"/>
                <a:gd name="T8" fmla="*/ 1118 w 5797"/>
                <a:gd name="T9" fmla="*/ 1423 h 3756"/>
                <a:gd name="T10" fmla="*/ 556 w 5797"/>
                <a:gd name="T11" fmla="*/ 2001 h 3756"/>
                <a:gd name="T12" fmla="*/ 178 w 5797"/>
                <a:gd name="T13" fmla="*/ 2641 h 3756"/>
                <a:gd name="T14" fmla="*/ 7 w 5797"/>
                <a:gd name="T15" fmla="*/ 3329 h 3756"/>
                <a:gd name="T16" fmla="*/ 3 w 5797"/>
                <a:gd name="T17" fmla="*/ 3544 h 3756"/>
                <a:gd name="T18" fmla="*/ 15 w 5797"/>
                <a:gd name="T19" fmla="*/ 3592 h 3756"/>
                <a:gd name="T20" fmla="*/ 36 w 5797"/>
                <a:gd name="T21" fmla="*/ 3636 h 3756"/>
                <a:gd name="T22" fmla="*/ 65 w 5797"/>
                <a:gd name="T23" fmla="*/ 3674 h 3756"/>
                <a:gd name="T24" fmla="*/ 100 w 5797"/>
                <a:gd name="T25" fmla="*/ 3706 h 3756"/>
                <a:gd name="T26" fmla="*/ 143 w 5797"/>
                <a:gd name="T27" fmla="*/ 3731 h 3756"/>
                <a:gd name="T28" fmla="*/ 189 w 5797"/>
                <a:gd name="T29" fmla="*/ 3748 h 3756"/>
                <a:gd name="T30" fmla="*/ 239 w 5797"/>
                <a:gd name="T31" fmla="*/ 3756 h 3756"/>
                <a:gd name="T32" fmla="*/ 290 w 5797"/>
                <a:gd name="T33" fmla="*/ 3753 h 3756"/>
                <a:gd name="T34" fmla="*/ 338 w 5797"/>
                <a:gd name="T35" fmla="*/ 3741 h 3756"/>
                <a:gd name="T36" fmla="*/ 383 w 5797"/>
                <a:gd name="T37" fmla="*/ 3720 h 3756"/>
                <a:gd name="T38" fmla="*/ 421 w 5797"/>
                <a:gd name="T39" fmla="*/ 3691 h 3756"/>
                <a:gd name="T40" fmla="*/ 453 w 5797"/>
                <a:gd name="T41" fmla="*/ 3655 h 3756"/>
                <a:gd name="T42" fmla="*/ 479 w 5797"/>
                <a:gd name="T43" fmla="*/ 3614 h 3756"/>
                <a:gd name="T44" fmla="*/ 496 w 5797"/>
                <a:gd name="T45" fmla="*/ 3568 h 3756"/>
                <a:gd name="T46" fmla="*/ 504 w 5797"/>
                <a:gd name="T47" fmla="*/ 3519 h 3756"/>
                <a:gd name="T48" fmla="*/ 564 w 5797"/>
                <a:gd name="T49" fmla="*/ 3062 h 3756"/>
                <a:gd name="T50" fmla="*/ 820 w 5797"/>
                <a:gd name="T51" fmla="*/ 2496 h 3756"/>
                <a:gd name="T52" fmla="*/ 1257 w 5797"/>
                <a:gd name="T53" fmla="*/ 1973 h 3756"/>
                <a:gd name="T54" fmla="*/ 1848 w 5797"/>
                <a:gd name="T55" fmla="*/ 1509 h 3756"/>
                <a:gd name="T56" fmla="*/ 2572 w 5797"/>
                <a:gd name="T57" fmla="*/ 1115 h 3756"/>
                <a:gd name="T58" fmla="*/ 3402 w 5797"/>
                <a:gd name="T59" fmla="*/ 807 h 3756"/>
                <a:gd name="T60" fmla="*/ 4318 w 5797"/>
                <a:gd name="T61" fmla="*/ 599 h 3756"/>
                <a:gd name="T62" fmla="*/ 5294 w 5797"/>
                <a:gd name="T63" fmla="*/ 505 h 3756"/>
                <a:gd name="T64" fmla="*/ 5583 w 5797"/>
                <a:gd name="T65" fmla="*/ 498 h 3756"/>
                <a:gd name="T66" fmla="*/ 5632 w 5797"/>
                <a:gd name="T67" fmla="*/ 486 h 3756"/>
                <a:gd name="T68" fmla="*/ 5676 w 5797"/>
                <a:gd name="T69" fmla="*/ 465 h 3756"/>
                <a:gd name="T70" fmla="*/ 5714 w 5797"/>
                <a:gd name="T71" fmla="*/ 436 h 3756"/>
                <a:gd name="T72" fmla="*/ 5747 w 5797"/>
                <a:gd name="T73" fmla="*/ 401 h 3756"/>
                <a:gd name="T74" fmla="*/ 5772 w 5797"/>
                <a:gd name="T75" fmla="*/ 359 h 3756"/>
                <a:gd name="T76" fmla="*/ 5789 w 5797"/>
                <a:gd name="T77" fmla="*/ 313 h 3756"/>
                <a:gd name="T78" fmla="*/ 5797 w 5797"/>
                <a:gd name="T79" fmla="*/ 264 h 3756"/>
                <a:gd name="T80" fmla="*/ 5794 w 5797"/>
                <a:gd name="T81" fmla="*/ 212 h 3756"/>
                <a:gd name="T82" fmla="*/ 5782 w 5797"/>
                <a:gd name="T83" fmla="*/ 164 h 3756"/>
                <a:gd name="T84" fmla="*/ 5761 w 5797"/>
                <a:gd name="T85" fmla="*/ 120 h 3756"/>
                <a:gd name="T86" fmla="*/ 5732 w 5797"/>
                <a:gd name="T87" fmla="*/ 82 h 3756"/>
                <a:gd name="T88" fmla="*/ 5696 w 5797"/>
                <a:gd name="T89" fmla="*/ 50 h 3756"/>
                <a:gd name="T90" fmla="*/ 5654 w 5797"/>
                <a:gd name="T91" fmla="*/ 25 h 3756"/>
                <a:gd name="T92" fmla="*/ 5609 w 5797"/>
                <a:gd name="T93" fmla="*/ 8 h 3756"/>
                <a:gd name="T94" fmla="*/ 5558 w 5797"/>
                <a:gd name="T95" fmla="*/ 0 h 3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797" h="3756">
                  <a:moveTo>
                    <a:pt x="5545" y="0"/>
                  </a:moveTo>
                  <a:lnTo>
                    <a:pt x="5265" y="5"/>
                  </a:lnTo>
                  <a:lnTo>
                    <a:pt x="4987" y="18"/>
                  </a:lnTo>
                  <a:lnTo>
                    <a:pt x="4713" y="41"/>
                  </a:lnTo>
                  <a:lnTo>
                    <a:pt x="4444" y="73"/>
                  </a:lnTo>
                  <a:lnTo>
                    <a:pt x="4178" y="112"/>
                  </a:lnTo>
                  <a:lnTo>
                    <a:pt x="3917" y="160"/>
                  </a:lnTo>
                  <a:lnTo>
                    <a:pt x="3661" y="216"/>
                  </a:lnTo>
                  <a:lnTo>
                    <a:pt x="3411" y="281"/>
                  </a:lnTo>
                  <a:lnTo>
                    <a:pt x="3166" y="352"/>
                  </a:lnTo>
                  <a:lnTo>
                    <a:pt x="2927" y="431"/>
                  </a:lnTo>
                  <a:lnTo>
                    <a:pt x="2695" y="516"/>
                  </a:lnTo>
                  <a:lnTo>
                    <a:pt x="2470" y="608"/>
                  </a:lnTo>
                  <a:lnTo>
                    <a:pt x="2251" y="707"/>
                  </a:lnTo>
                  <a:lnTo>
                    <a:pt x="2041" y="812"/>
                  </a:lnTo>
                  <a:lnTo>
                    <a:pt x="1839" y="924"/>
                  </a:lnTo>
                  <a:lnTo>
                    <a:pt x="1645" y="1041"/>
                  </a:lnTo>
                  <a:lnTo>
                    <a:pt x="1460" y="1163"/>
                  </a:lnTo>
                  <a:lnTo>
                    <a:pt x="1284" y="1291"/>
                  </a:lnTo>
                  <a:lnTo>
                    <a:pt x="1118" y="1423"/>
                  </a:lnTo>
                  <a:lnTo>
                    <a:pt x="961" y="1562"/>
                  </a:lnTo>
                  <a:lnTo>
                    <a:pt x="815" y="1704"/>
                  </a:lnTo>
                  <a:lnTo>
                    <a:pt x="680" y="1851"/>
                  </a:lnTo>
                  <a:lnTo>
                    <a:pt x="556" y="2001"/>
                  </a:lnTo>
                  <a:lnTo>
                    <a:pt x="443" y="2157"/>
                  </a:lnTo>
                  <a:lnTo>
                    <a:pt x="342" y="2315"/>
                  </a:lnTo>
                  <a:lnTo>
                    <a:pt x="254" y="2477"/>
                  </a:lnTo>
                  <a:lnTo>
                    <a:pt x="178" y="2641"/>
                  </a:lnTo>
                  <a:lnTo>
                    <a:pt x="115" y="2810"/>
                  </a:lnTo>
                  <a:lnTo>
                    <a:pt x="65" y="2980"/>
                  </a:lnTo>
                  <a:lnTo>
                    <a:pt x="29" y="3153"/>
                  </a:lnTo>
                  <a:lnTo>
                    <a:pt x="7" y="3329"/>
                  </a:lnTo>
                  <a:lnTo>
                    <a:pt x="0" y="3506"/>
                  </a:lnTo>
                  <a:lnTo>
                    <a:pt x="0" y="3519"/>
                  </a:lnTo>
                  <a:lnTo>
                    <a:pt x="1" y="3531"/>
                  </a:lnTo>
                  <a:lnTo>
                    <a:pt x="3" y="3544"/>
                  </a:lnTo>
                  <a:lnTo>
                    <a:pt x="5" y="3556"/>
                  </a:lnTo>
                  <a:lnTo>
                    <a:pt x="8" y="3568"/>
                  </a:lnTo>
                  <a:lnTo>
                    <a:pt x="11" y="3580"/>
                  </a:lnTo>
                  <a:lnTo>
                    <a:pt x="15" y="3592"/>
                  </a:lnTo>
                  <a:lnTo>
                    <a:pt x="20" y="3603"/>
                  </a:lnTo>
                  <a:lnTo>
                    <a:pt x="25" y="3614"/>
                  </a:lnTo>
                  <a:lnTo>
                    <a:pt x="30" y="3625"/>
                  </a:lnTo>
                  <a:lnTo>
                    <a:pt x="36" y="3636"/>
                  </a:lnTo>
                  <a:lnTo>
                    <a:pt x="43" y="3646"/>
                  </a:lnTo>
                  <a:lnTo>
                    <a:pt x="50" y="3655"/>
                  </a:lnTo>
                  <a:lnTo>
                    <a:pt x="57" y="3665"/>
                  </a:lnTo>
                  <a:lnTo>
                    <a:pt x="65" y="3674"/>
                  </a:lnTo>
                  <a:lnTo>
                    <a:pt x="73" y="3683"/>
                  </a:lnTo>
                  <a:lnTo>
                    <a:pt x="82" y="3691"/>
                  </a:lnTo>
                  <a:lnTo>
                    <a:pt x="91" y="3699"/>
                  </a:lnTo>
                  <a:lnTo>
                    <a:pt x="100" y="3706"/>
                  </a:lnTo>
                  <a:lnTo>
                    <a:pt x="111" y="3713"/>
                  </a:lnTo>
                  <a:lnTo>
                    <a:pt x="121" y="3720"/>
                  </a:lnTo>
                  <a:lnTo>
                    <a:pt x="132" y="3726"/>
                  </a:lnTo>
                  <a:lnTo>
                    <a:pt x="143" y="3731"/>
                  </a:lnTo>
                  <a:lnTo>
                    <a:pt x="154" y="3736"/>
                  </a:lnTo>
                  <a:lnTo>
                    <a:pt x="165" y="3741"/>
                  </a:lnTo>
                  <a:lnTo>
                    <a:pt x="177" y="3745"/>
                  </a:lnTo>
                  <a:lnTo>
                    <a:pt x="189" y="3748"/>
                  </a:lnTo>
                  <a:lnTo>
                    <a:pt x="201" y="3751"/>
                  </a:lnTo>
                  <a:lnTo>
                    <a:pt x="213" y="3753"/>
                  </a:lnTo>
                  <a:lnTo>
                    <a:pt x="226" y="3755"/>
                  </a:lnTo>
                  <a:lnTo>
                    <a:pt x="239" y="3756"/>
                  </a:lnTo>
                  <a:lnTo>
                    <a:pt x="252" y="3756"/>
                  </a:lnTo>
                  <a:lnTo>
                    <a:pt x="265" y="3756"/>
                  </a:lnTo>
                  <a:lnTo>
                    <a:pt x="278" y="3755"/>
                  </a:lnTo>
                  <a:lnTo>
                    <a:pt x="290" y="3753"/>
                  </a:lnTo>
                  <a:lnTo>
                    <a:pt x="302" y="3751"/>
                  </a:lnTo>
                  <a:lnTo>
                    <a:pt x="315" y="3748"/>
                  </a:lnTo>
                  <a:lnTo>
                    <a:pt x="326" y="3745"/>
                  </a:lnTo>
                  <a:lnTo>
                    <a:pt x="338" y="3741"/>
                  </a:lnTo>
                  <a:lnTo>
                    <a:pt x="349" y="3736"/>
                  </a:lnTo>
                  <a:lnTo>
                    <a:pt x="361" y="3731"/>
                  </a:lnTo>
                  <a:lnTo>
                    <a:pt x="372" y="3726"/>
                  </a:lnTo>
                  <a:lnTo>
                    <a:pt x="383" y="3720"/>
                  </a:lnTo>
                  <a:lnTo>
                    <a:pt x="393" y="3713"/>
                  </a:lnTo>
                  <a:lnTo>
                    <a:pt x="403" y="3706"/>
                  </a:lnTo>
                  <a:lnTo>
                    <a:pt x="412" y="3699"/>
                  </a:lnTo>
                  <a:lnTo>
                    <a:pt x="421" y="3691"/>
                  </a:lnTo>
                  <a:lnTo>
                    <a:pt x="430" y="3683"/>
                  </a:lnTo>
                  <a:lnTo>
                    <a:pt x="438" y="3674"/>
                  </a:lnTo>
                  <a:lnTo>
                    <a:pt x="446" y="3665"/>
                  </a:lnTo>
                  <a:lnTo>
                    <a:pt x="453" y="3655"/>
                  </a:lnTo>
                  <a:lnTo>
                    <a:pt x="460" y="3646"/>
                  </a:lnTo>
                  <a:lnTo>
                    <a:pt x="467" y="3636"/>
                  </a:lnTo>
                  <a:lnTo>
                    <a:pt x="474" y="3625"/>
                  </a:lnTo>
                  <a:lnTo>
                    <a:pt x="479" y="3614"/>
                  </a:lnTo>
                  <a:lnTo>
                    <a:pt x="484" y="3603"/>
                  </a:lnTo>
                  <a:lnTo>
                    <a:pt x="489" y="3592"/>
                  </a:lnTo>
                  <a:lnTo>
                    <a:pt x="493" y="3580"/>
                  </a:lnTo>
                  <a:lnTo>
                    <a:pt x="496" y="3568"/>
                  </a:lnTo>
                  <a:lnTo>
                    <a:pt x="499" y="3556"/>
                  </a:lnTo>
                  <a:lnTo>
                    <a:pt x="501" y="3544"/>
                  </a:lnTo>
                  <a:lnTo>
                    <a:pt x="503" y="3531"/>
                  </a:lnTo>
                  <a:lnTo>
                    <a:pt x="504" y="3519"/>
                  </a:lnTo>
                  <a:lnTo>
                    <a:pt x="504" y="3506"/>
                  </a:lnTo>
                  <a:lnTo>
                    <a:pt x="511" y="3357"/>
                  </a:lnTo>
                  <a:lnTo>
                    <a:pt x="531" y="3208"/>
                  </a:lnTo>
                  <a:lnTo>
                    <a:pt x="564" y="3062"/>
                  </a:lnTo>
                  <a:lnTo>
                    <a:pt x="611" y="2917"/>
                  </a:lnTo>
                  <a:lnTo>
                    <a:pt x="669" y="2775"/>
                  </a:lnTo>
                  <a:lnTo>
                    <a:pt x="739" y="2634"/>
                  </a:lnTo>
                  <a:lnTo>
                    <a:pt x="820" y="2496"/>
                  </a:lnTo>
                  <a:lnTo>
                    <a:pt x="914" y="2361"/>
                  </a:lnTo>
                  <a:lnTo>
                    <a:pt x="1018" y="2229"/>
                  </a:lnTo>
                  <a:lnTo>
                    <a:pt x="1132" y="2100"/>
                  </a:lnTo>
                  <a:lnTo>
                    <a:pt x="1257" y="1973"/>
                  </a:lnTo>
                  <a:lnTo>
                    <a:pt x="1391" y="1851"/>
                  </a:lnTo>
                  <a:lnTo>
                    <a:pt x="1534" y="1733"/>
                  </a:lnTo>
                  <a:lnTo>
                    <a:pt x="1686" y="1619"/>
                  </a:lnTo>
                  <a:lnTo>
                    <a:pt x="1848" y="1509"/>
                  </a:lnTo>
                  <a:lnTo>
                    <a:pt x="2017" y="1403"/>
                  </a:lnTo>
                  <a:lnTo>
                    <a:pt x="2195" y="1302"/>
                  </a:lnTo>
                  <a:lnTo>
                    <a:pt x="2379" y="1206"/>
                  </a:lnTo>
                  <a:lnTo>
                    <a:pt x="2572" y="1115"/>
                  </a:lnTo>
                  <a:lnTo>
                    <a:pt x="2769" y="1030"/>
                  </a:lnTo>
                  <a:lnTo>
                    <a:pt x="2975" y="950"/>
                  </a:lnTo>
                  <a:lnTo>
                    <a:pt x="3186" y="876"/>
                  </a:lnTo>
                  <a:lnTo>
                    <a:pt x="3402" y="807"/>
                  </a:lnTo>
                  <a:lnTo>
                    <a:pt x="3624" y="745"/>
                  </a:lnTo>
                  <a:lnTo>
                    <a:pt x="3851" y="690"/>
                  </a:lnTo>
                  <a:lnTo>
                    <a:pt x="4083" y="641"/>
                  </a:lnTo>
                  <a:lnTo>
                    <a:pt x="4318" y="599"/>
                  </a:lnTo>
                  <a:lnTo>
                    <a:pt x="4557" y="564"/>
                  </a:lnTo>
                  <a:lnTo>
                    <a:pt x="4800" y="537"/>
                  </a:lnTo>
                  <a:lnTo>
                    <a:pt x="5046" y="517"/>
                  </a:lnTo>
                  <a:lnTo>
                    <a:pt x="5294" y="505"/>
                  </a:lnTo>
                  <a:lnTo>
                    <a:pt x="5545" y="501"/>
                  </a:lnTo>
                  <a:lnTo>
                    <a:pt x="5558" y="501"/>
                  </a:lnTo>
                  <a:lnTo>
                    <a:pt x="5571" y="500"/>
                  </a:lnTo>
                  <a:lnTo>
                    <a:pt x="5583" y="498"/>
                  </a:lnTo>
                  <a:lnTo>
                    <a:pt x="5595" y="496"/>
                  </a:lnTo>
                  <a:lnTo>
                    <a:pt x="5609" y="493"/>
                  </a:lnTo>
                  <a:lnTo>
                    <a:pt x="5620" y="490"/>
                  </a:lnTo>
                  <a:lnTo>
                    <a:pt x="5632" y="486"/>
                  </a:lnTo>
                  <a:lnTo>
                    <a:pt x="5643" y="481"/>
                  </a:lnTo>
                  <a:lnTo>
                    <a:pt x="5654" y="476"/>
                  </a:lnTo>
                  <a:lnTo>
                    <a:pt x="5665" y="471"/>
                  </a:lnTo>
                  <a:lnTo>
                    <a:pt x="5676" y="465"/>
                  </a:lnTo>
                  <a:lnTo>
                    <a:pt x="5686" y="458"/>
                  </a:lnTo>
                  <a:lnTo>
                    <a:pt x="5696" y="451"/>
                  </a:lnTo>
                  <a:lnTo>
                    <a:pt x="5705" y="444"/>
                  </a:lnTo>
                  <a:lnTo>
                    <a:pt x="5714" y="436"/>
                  </a:lnTo>
                  <a:lnTo>
                    <a:pt x="5723" y="428"/>
                  </a:lnTo>
                  <a:lnTo>
                    <a:pt x="5732" y="419"/>
                  </a:lnTo>
                  <a:lnTo>
                    <a:pt x="5740" y="410"/>
                  </a:lnTo>
                  <a:lnTo>
                    <a:pt x="5747" y="401"/>
                  </a:lnTo>
                  <a:lnTo>
                    <a:pt x="5754" y="391"/>
                  </a:lnTo>
                  <a:lnTo>
                    <a:pt x="5761" y="381"/>
                  </a:lnTo>
                  <a:lnTo>
                    <a:pt x="5767" y="370"/>
                  </a:lnTo>
                  <a:lnTo>
                    <a:pt x="5772" y="359"/>
                  </a:lnTo>
                  <a:lnTo>
                    <a:pt x="5777" y="348"/>
                  </a:lnTo>
                  <a:lnTo>
                    <a:pt x="5782" y="337"/>
                  </a:lnTo>
                  <a:lnTo>
                    <a:pt x="5786" y="325"/>
                  </a:lnTo>
                  <a:lnTo>
                    <a:pt x="5789" y="313"/>
                  </a:lnTo>
                  <a:lnTo>
                    <a:pt x="5792" y="301"/>
                  </a:lnTo>
                  <a:lnTo>
                    <a:pt x="5794" y="289"/>
                  </a:lnTo>
                  <a:lnTo>
                    <a:pt x="5796" y="277"/>
                  </a:lnTo>
                  <a:lnTo>
                    <a:pt x="5797" y="264"/>
                  </a:lnTo>
                  <a:lnTo>
                    <a:pt x="5797" y="251"/>
                  </a:lnTo>
                  <a:lnTo>
                    <a:pt x="5797" y="237"/>
                  </a:lnTo>
                  <a:lnTo>
                    <a:pt x="5796" y="225"/>
                  </a:lnTo>
                  <a:lnTo>
                    <a:pt x="5794" y="212"/>
                  </a:lnTo>
                  <a:lnTo>
                    <a:pt x="5792" y="200"/>
                  </a:lnTo>
                  <a:lnTo>
                    <a:pt x="5789" y="188"/>
                  </a:lnTo>
                  <a:lnTo>
                    <a:pt x="5786" y="176"/>
                  </a:lnTo>
                  <a:lnTo>
                    <a:pt x="5782" y="164"/>
                  </a:lnTo>
                  <a:lnTo>
                    <a:pt x="5777" y="153"/>
                  </a:lnTo>
                  <a:lnTo>
                    <a:pt x="5772" y="142"/>
                  </a:lnTo>
                  <a:lnTo>
                    <a:pt x="5767" y="131"/>
                  </a:lnTo>
                  <a:lnTo>
                    <a:pt x="5761" y="120"/>
                  </a:lnTo>
                  <a:lnTo>
                    <a:pt x="5754" y="110"/>
                  </a:lnTo>
                  <a:lnTo>
                    <a:pt x="5747" y="100"/>
                  </a:lnTo>
                  <a:lnTo>
                    <a:pt x="5740" y="91"/>
                  </a:lnTo>
                  <a:lnTo>
                    <a:pt x="5732" y="82"/>
                  </a:lnTo>
                  <a:lnTo>
                    <a:pt x="5723" y="73"/>
                  </a:lnTo>
                  <a:lnTo>
                    <a:pt x="5714" y="65"/>
                  </a:lnTo>
                  <a:lnTo>
                    <a:pt x="5705" y="57"/>
                  </a:lnTo>
                  <a:lnTo>
                    <a:pt x="5696" y="50"/>
                  </a:lnTo>
                  <a:lnTo>
                    <a:pt x="5686" y="43"/>
                  </a:lnTo>
                  <a:lnTo>
                    <a:pt x="5676" y="36"/>
                  </a:lnTo>
                  <a:lnTo>
                    <a:pt x="5665" y="30"/>
                  </a:lnTo>
                  <a:lnTo>
                    <a:pt x="5654" y="25"/>
                  </a:lnTo>
                  <a:lnTo>
                    <a:pt x="5643" y="20"/>
                  </a:lnTo>
                  <a:lnTo>
                    <a:pt x="5632" y="15"/>
                  </a:lnTo>
                  <a:lnTo>
                    <a:pt x="5620" y="11"/>
                  </a:lnTo>
                  <a:lnTo>
                    <a:pt x="5609" y="8"/>
                  </a:lnTo>
                  <a:lnTo>
                    <a:pt x="5595" y="5"/>
                  </a:lnTo>
                  <a:lnTo>
                    <a:pt x="5583" y="3"/>
                  </a:lnTo>
                  <a:lnTo>
                    <a:pt x="5571" y="1"/>
                  </a:lnTo>
                  <a:lnTo>
                    <a:pt x="5558" y="0"/>
                  </a:lnTo>
                  <a:lnTo>
                    <a:pt x="55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32" name="îslíḓè">
              <a:extLst>
                <a:ext uri="{FF2B5EF4-FFF2-40B4-BE49-F238E27FC236}">
                  <a16:creationId xmlns:a16="http://schemas.microsoft.com/office/drawing/2014/main" id="{27E0A046-5098-4BDB-9C30-DA5D2E3F58AB}"/>
                </a:ext>
              </a:extLst>
            </p:cNvPr>
            <p:cNvSpPr/>
            <p:nvPr/>
          </p:nvSpPr>
          <p:spPr bwMode="auto">
            <a:xfrm>
              <a:off x="6904678" y="1827309"/>
              <a:ext cx="218729" cy="190134"/>
            </a:xfrm>
            <a:custGeom>
              <a:avLst/>
              <a:gdLst>
                <a:gd name="T0" fmla="*/ 7365 w 16132"/>
                <a:gd name="T1" fmla="*/ 10992 h 14023"/>
                <a:gd name="T2" fmla="*/ 6620 w 16132"/>
                <a:gd name="T3" fmla="*/ 10910 h 14023"/>
                <a:gd name="T4" fmla="*/ 6344 w 16132"/>
                <a:gd name="T5" fmla="*/ 10917 h 14023"/>
                <a:gd name="T6" fmla="*/ 6106 w 16132"/>
                <a:gd name="T7" fmla="*/ 10988 h 14023"/>
                <a:gd name="T8" fmla="*/ 5892 w 16132"/>
                <a:gd name="T9" fmla="*/ 11114 h 14023"/>
                <a:gd name="T10" fmla="*/ 5710 w 16132"/>
                <a:gd name="T11" fmla="*/ 11296 h 14023"/>
                <a:gd name="T12" fmla="*/ 5336 w 16132"/>
                <a:gd name="T13" fmla="*/ 11674 h 14023"/>
                <a:gd name="T14" fmla="*/ 4873 w 16132"/>
                <a:gd name="T15" fmla="*/ 12065 h 14023"/>
                <a:gd name="T16" fmla="*/ 4310 w 16132"/>
                <a:gd name="T17" fmla="*/ 12459 h 14023"/>
                <a:gd name="T18" fmla="*/ 4388 w 16132"/>
                <a:gd name="T19" fmla="*/ 11971 h 14023"/>
                <a:gd name="T20" fmla="*/ 4488 w 16132"/>
                <a:gd name="T21" fmla="*/ 11553 h 14023"/>
                <a:gd name="T22" fmla="*/ 4535 w 16132"/>
                <a:gd name="T23" fmla="*/ 11121 h 14023"/>
                <a:gd name="T24" fmla="*/ 4531 w 16132"/>
                <a:gd name="T25" fmla="*/ 10842 h 14023"/>
                <a:gd name="T26" fmla="*/ 4442 w 16132"/>
                <a:gd name="T27" fmla="*/ 10547 h 14023"/>
                <a:gd name="T28" fmla="*/ 4269 w 16132"/>
                <a:gd name="T29" fmla="*/ 10296 h 14023"/>
                <a:gd name="T30" fmla="*/ 4023 w 16132"/>
                <a:gd name="T31" fmla="*/ 10106 h 14023"/>
                <a:gd name="T32" fmla="*/ 2737 w 16132"/>
                <a:gd name="T33" fmla="*/ 9277 h 14023"/>
                <a:gd name="T34" fmla="*/ 1706 w 16132"/>
                <a:gd name="T35" fmla="*/ 8163 h 14023"/>
                <a:gd name="T36" fmla="*/ 1123 w 16132"/>
                <a:gd name="T37" fmla="*/ 6901 h 14023"/>
                <a:gd name="T38" fmla="*/ 1090 w 16132"/>
                <a:gd name="T39" fmla="*/ 5248 h 14023"/>
                <a:gd name="T40" fmla="*/ 2215 w 16132"/>
                <a:gd name="T41" fmla="*/ 3211 h 14023"/>
                <a:gd name="T42" fmla="*/ 4409 w 16132"/>
                <a:gd name="T43" fmla="*/ 1728 h 14023"/>
                <a:gd name="T44" fmla="*/ 7345 w 16132"/>
                <a:gd name="T45" fmla="*/ 1028 h 14023"/>
                <a:gd name="T46" fmla="*/ 10490 w 16132"/>
                <a:gd name="T47" fmla="*/ 1306 h 14023"/>
                <a:gd name="T48" fmla="*/ 13054 w 16132"/>
                <a:gd name="T49" fmla="*/ 2470 h 14023"/>
                <a:gd name="T50" fmla="*/ 14695 w 16132"/>
                <a:gd name="T51" fmla="*/ 4290 h 14023"/>
                <a:gd name="T52" fmla="*/ 15087 w 16132"/>
                <a:gd name="T53" fmla="*/ 6521 h 14023"/>
                <a:gd name="T54" fmla="*/ 14100 w 16132"/>
                <a:gd name="T55" fmla="*/ 8605 h 14023"/>
                <a:gd name="T56" fmla="*/ 12009 w 16132"/>
                <a:gd name="T57" fmla="*/ 10162 h 14023"/>
                <a:gd name="T58" fmla="*/ 9140 w 16132"/>
                <a:gd name="T59" fmla="*/ 10960 h 14023"/>
                <a:gd name="T60" fmla="*/ 6051 w 16132"/>
                <a:gd name="T61" fmla="*/ 189 h 14023"/>
                <a:gd name="T62" fmla="*/ 2935 w 16132"/>
                <a:gd name="T63" fmla="*/ 1372 h 14023"/>
                <a:gd name="T64" fmla="*/ 796 w 16132"/>
                <a:gd name="T65" fmla="*/ 3405 h 14023"/>
                <a:gd name="T66" fmla="*/ 0 w 16132"/>
                <a:gd name="T67" fmla="*/ 6010 h 14023"/>
                <a:gd name="T68" fmla="*/ 318 w 16132"/>
                <a:gd name="T69" fmla="*/ 7685 h 14023"/>
                <a:gd name="T70" fmla="*/ 1211 w 16132"/>
                <a:gd name="T71" fmla="*/ 9177 h 14023"/>
                <a:gd name="T72" fmla="*/ 2590 w 16132"/>
                <a:gd name="T73" fmla="*/ 10421 h 14023"/>
                <a:gd name="T74" fmla="*/ 3529 w 16132"/>
                <a:gd name="T75" fmla="*/ 11018 h 14023"/>
                <a:gd name="T76" fmla="*/ 3392 w 16132"/>
                <a:gd name="T77" fmla="*/ 11780 h 14023"/>
                <a:gd name="T78" fmla="*/ 3075 w 16132"/>
                <a:gd name="T79" fmla="*/ 12505 h 14023"/>
                <a:gd name="T80" fmla="*/ 2616 w 16132"/>
                <a:gd name="T81" fmla="*/ 13290 h 14023"/>
                <a:gd name="T82" fmla="*/ 2522 w 16132"/>
                <a:gd name="T83" fmla="*/ 13545 h 14023"/>
                <a:gd name="T84" fmla="*/ 2556 w 16132"/>
                <a:gd name="T85" fmla="*/ 13746 h 14023"/>
                <a:gd name="T86" fmla="*/ 2670 w 16132"/>
                <a:gd name="T87" fmla="*/ 13905 h 14023"/>
                <a:gd name="T88" fmla="*/ 2841 w 16132"/>
                <a:gd name="T89" fmla="*/ 14003 h 14023"/>
                <a:gd name="T90" fmla="*/ 3078 w 16132"/>
                <a:gd name="T91" fmla="*/ 14016 h 14023"/>
                <a:gd name="T92" fmla="*/ 3690 w 16132"/>
                <a:gd name="T93" fmla="*/ 13870 h 14023"/>
                <a:gd name="T94" fmla="*/ 4910 w 16132"/>
                <a:gd name="T95" fmla="*/ 13267 h 14023"/>
                <a:gd name="T96" fmla="*/ 5885 w 16132"/>
                <a:gd name="T97" fmla="*/ 12528 h 14023"/>
                <a:gd name="T98" fmla="*/ 6475 w 16132"/>
                <a:gd name="T99" fmla="*/ 11947 h 14023"/>
                <a:gd name="T100" fmla="*/ 7278 w 16132"/>
                <a:gd name="T101" fmla="*/ 11990 h 14023"/>
                <a:gd name="T102" fmla="*/ 8481 w 16132"/>
                <a:gd name="T103" fmla="*/ 12012 h 14023"/>
                <a:gd name="T104" fmla="*/ 11910 w 16132"/>
                <a:gd name="T105" fmla="*/ 11295 h 14023"/>
                <a:gd name="T106" fmla="*/ 14530 w 16132"/>
                <a:gd name="T107" fmla="*/ 9606 h 14023"/>
                <a:gd name="T108" fmla="*/ 15968 w 16132"/>
                <a:gd name="T109" fmla="*/ 7221 h 14023"/>
                <a:gd name="T110" fmla="*/ 15878 w 16132"/>
                <a:gd name="T111" fmla="*/ 4508 h 14023"/>
                <a:gd name="T112" fmla="*/ 14290 w 16132"/>
                <a:gd name="T113" fmla="*/ 2188 h 14023"/>
                <a:gd name="T114" fmla="*/ 11563 w 16132"/>
                <a:gd name="T115" fmla="*/ 593 h 14023"/>
                <a:gd name="T116" fmla="*/ 8066 w 16132"/>
                <a:gd name="T117" fmla="*/ 0 h 14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132" h="14023">
                  <a:moveTo>
                    <a:pt x="8066" y="11018"/>
                  </a:moveTo>
                  <a:lnTo>
                    <a:pt x="7979" y="11018"/>
                  </a:lnTo>
                  <a:lnTo>
                    <a:pt x="7893" y="11016"/>
                  </a:lnTo>
                  <a:lnTo>
                    <a:pt x="7805" y="11014"/>
                  </a:lnTo>
                  <a:lnTo>
                    <a:pt x="7717" y="11012"/>
                  </a:lnTo>
                  <a:lnTo>
                    <a:pt x="7629" y="11008"/>
                  </a:lnTo>
                  <a:lnTo>
                    <a:pt x="7542" y="11003"/>
                  </a:lnTo>
                  <a:lnTo>
                    <a:pt x="7454" y="10998"/>
                  </a:lnTo>
                  <a:lnTo>
                    <a:pt x="7365" y="10992"/>
                  </a:lnTo>
                  <a:lnTo>
                    <a:pt x="7278" y="10985"/>
                  </a:lnTo>
                  <a:lnTo>
                    <a:pt x="7189" y="10978"/>
                  </a:lnTo>
                  <a:lnTo>
                    <a:pt x="7100" y="10969"/>
                  </a:lnTo>
                  <a:lnTo>
                    <a:pt x="7011" y="10960"/>
                  </a:lnTo>
                  <a:lnTo>
                    <a:pt x="6923" y="10950"/>
                  </a:lnTo>
                  <a:lnTo>
                    <a:pt x="6834" y="10939"/>
                  </a:lnTo>
                  <a:lnTo>
                    <a:pt x="6745" y="10927"/>
                  </a:lnTo>
                  <a:lnTo>
                    <a:pt x="6656" y="10914"/>
                  </a:lnTo>
                  <a:lnTo>
                    <a:pt x="6620" y="10910"/>
                  </a:lnTo>
                  <a:lnTo>
                    <a:pt x="6583" y="10906"/>
                  </a:lnTo>
                  <a:lnTo>
                    <a:pt x="6547" y="10904"/>
                  </a:lnTo>
                  <a:lnTo>
                    <a:pt x="6510" y="10903"/>
                  </a:lnTo>
                  <a:lnTo>
                    <a:pt x="6482" y="10904"/>
                  </a:lnTo>
                  <a:lnTo>
                    <a:pt x="6455" y="10905"/>
                  </a:lnTo>
                  <a:lnTo>
                    <a:pt x="6427" y="10907"/>
                  </a:lnTo>
                  <a:lnTo>
                    <a:pt x="6398" y="10910"/>
                  </a:lnTo>
                  <a:lnTo>
                    <a:pt x="6371" y="10913"/>
                  </a:lnTo>
                  <a:lnTo>
                    <a:pt x="6344" y="10917"/>
                  </a:lnTo>
                  <a:lnTo>
                    <a:pt x="6317" y="10922"/>
                  </a:lnTo>
                  <a:lnTo>
                    <a:pt x="6289" y="10928"/>
                  </a:lnTo>
                  <a:lnTo>
                    <a:pt x="6262" y="10934"/>
                  </a:lnTo>
                  <a:lnTo>
                    <a:pt x="6236" y="10941"/>
                  </a:lnTo>
                  <a:lnTo>
                    <a:pt x="6210" y="10949"/>
                  </a:lnTo>
                  <a:lnTo>
                    <a:pt x="6183" y="10958"/>
                  </a:lnTo>
                  <a:lnTo>
                    <a:pt x="6157" y="10967"/>
                  </a:lnTo>
                  <a:lnTo>
                    <a:pt x="6131" y="10977"/>
                  </a:lnTo>
                  <a:lnTo>
                    <a:pt x="6106" y="10988"/>
                  </a:lnTo>
                  <a:lnTo>
                    <a:pt x="6081" y="10999"/>
                  </a:lnTo>
                  <a:lnTo>
                    <a:pt x="6056" y="11011"/>
                  </a:lnTo>
                  <a:lnTo>
                    <a:pt x="6031" y="11024"/>
                  </a:lnTo>
                  <a:lnTo>
                    <a:pt x="6007" y="11037"/>
                  </a:lnTo>
                  <a:lnTo>
                    <a:pt x="5983" y="11051"/>
                  </a:lnTo>
                  <a:lnTo>
                    <a:pt x="5960" y="11066"/>
                  </a:lnTo>
                  <a:lnTo>
                    <a:pt x="5937" y="11081"/>
                  </a:lnTo>
                  <a:lnTo>
                    <a:pt x="5914" y="11097"/>
                  </a:lnTo>
                  <a:lnTo>
                    <a:pt x="5892" y="11114"/>
                  </a:lnTo>
                  <a:lnTo>
                    <a:pt x="5870" y="11131"/>
                  </a:lnTo>
                  <a:lnTo>
                    <a:pt x="5849" y="11149"/>
                  </a:lnTo>
                  <a:lnTo>
                    <a:pt x="5828" y="11167"/>
                  </a:lnTo>
                  <a:lnTo>
                    <a:pt x="5808" y="11187"/>
                  </a:lnTo>
                  <a:lnTo>
                    <a:pt x="5787" y="11206"/>
                  </a:lnTo>
                  <a:lnTo>
                    <a:pt x="5768" y="11227"/>
                  </a:lnTo>
                  <a:lnTo>
                    <a:pt x="5749" y="11248"/>
                  </a:lnTo>
                  <a:lnTo>
                    <a:pt x="5731" y="11269"/>
                  </a:lnTo>
                  <a:lnTo>
                    <a:pt x="5710" y="11296"/>
                  </a:lnTo>
                  <a:lnTo>
                    <a:pt x="5686" y="11323"/>
                  </a:lnTo>
                  <a:lnTo>
                    <a:pt x="5660" y="11352"/>
                  </a:lnTo>
                  <a:lnTo>
                    <a:pt x="5632" y="11382"/>
                  </a:lnTo>
                  <a:lnTo>
                    <a:pt x="5570" y="11448"/>
                  </a:lnTo>
                  <a:lnTo>
                    <a:pt x="5499" y="11518"/>
                  </a:lnTo>
                  <a:lnTo>
                    <a:pt x="5461" y="11556"/>
                  </a:lnTo>
                  <a:lnTo>
                    <a:pt x="5420" y="11594"/>
                  </a:lnTo>
                  <a:lnTo>
                    <a:pt x="5379" y="11633"/>
                  </a:lnTo>
                  <a:lnTo>
                    <a:pt x="5336" y="11674"/>
                  </a:lnTo>
                  <a:lnTo>
                    <a:pt x="5290" y="11715"/>
                  </a:lnTo>
                  <a:lnTo>
                    <a:pt x="5243" y="11757"/>
                  </a:lnTo>
                  <a:lnTo>
                    <a:pt x="5195" y="11799"/>
                  </a:lnTo>
                  <a:lnTo>
                    <a:pt x="5145" y="11842"/>
                  </a:lnTo>
                  <a:lnTo>
                    <a:pt x="5093" y="11886"/>
                  </a:lnTo>
                  <a:lnTo>
                    <a:pt x="5040" y="11931"/>
                  </a:lnTo>
                  <a:lnTo>
                    <a:pt x="4986" y="11975"/>
                  </a:lnTo>
                  <a:lnTo>
                    <a:pt x="4930" y="12020"/>
                  </a:lnTo>
                  <a:lnTo>
                    <a:pt x="4873" y="12065"/>
                  </a:lnTo>
                  <a:lnTo>
                    <a:pt x="4814" y="12109"/>
                  </a:lnTo>
                  <a:lnTo>
                    <a:pt x="4755" y="12154"/>
                  </a:lnTo>
                  <a:lnTo>
                    <a:pt x="4694" y="12199"/>
                  </a:lnTo>
                  <a:lnTo>
                    <a:pt x="4633" y="12243"/>
                  </a:lnTo>
                  <a:lnTo>
                    <a:pt x="4570" y="12287"/>
                  </a:lnTo>
                  <a:lnTo>
                    <a:pt x="4507" y="12331"/>
                  </a:lnTo>
                  <a:lnTo>
                    <a:pt x="4442" y="12374"/>
                  </a:lnTo>
                  <a:lnTo>
                    <a:pt x="4377" y="12417"/>
                  </a:lnTo>
                  <a:lnTo>
                    <a:pt x="4310" y="12459"/>
                  </a:lnTo>
                  <a:lnTo>
                    <a:pt x="4244" y="12501"/>
                  </a:lnTo>
                  <a:lnTo>
                    <a:pt x="4176" y="12542"/>
                  </a:lnTo>
                  <a:lnTo>
                    <a:pt x="4212" y="12456"/>
                  </a:lnTo>
                  <a:lnTo>
                    <a:pt x="4248" y="12371"/>
                  </a:lnTo>
                  <a:lnTo>
                    <a:pt x="4281" y="12284"/>
                  </a:lnTo>
                  <a:lnTo>
                    <a:pt x="4313" y="12196"/>
                  </a:lnTo>
                  <a:lnTo>
                    <a:pt x="4345" y="12107"/>
                  </a:lnTo>
                  <a:lnTo>
                    <a:pt x="4374" y="12017"/>
                  </a:lnTo>
                  <a:lnTo>
                    <a:pt x="4388" y="11971"/>
                  </a:lnTo>
                  <a:lnTo>
                    <a:pt x="4401" y="11926"/>
                  </a:lnTo>
                  <a:lnTo>
                    <a:pt x="4414" y="11879"/>
                  </a:lnTo>
                  <a:lnTo>
                    <a:pt x="4426" y="11833"/>
                  </a:lnTo>
                  <a:lnTo>
                    <a:pt x="4438" y="11787"/>
                  </a:lnTo>
                  <a:lnTo>
                    <a:pt x="4449" y="11740"/>
                  </a:lnTo>
                  <a:lnTo>
                    <a:pt x="4459" y="11694"/>
                  </a:lnTo>
                  <a:lnTo>
                    <a:pt x="4470" y="11647"/>
                  </a:lnTo>
                  <a:lnTo>
                    <a:pt x="4480" y="11600"/>
                  </a:lnTo>
                  <a:lnTo>
                    <a:pt x="4488" y="11553"/>
                  </a:lnTo>
                  <a:lnTo>
                    <a:pt x="4496" y="11506"/>
                  </a:lnTo>
                  <a:lnTo>
                    <a:pt x="4504" y="11458"/>
                  </a:lnTo>
                  <a:lnTo>
                    <a:pt x="4510" y="11411"/>
                  </a:lnTo>
                  <a:lnTo>
                    <a:pt x="4516" y="11363"/>
                  </a:lnTo>
                  <a:lnTo>
                    <a:pt x="4522" y="11315"/>
                  </a:lnTo>
                  <a:lnTo>
                    <a:pt x="4526" y="11266"/>
                  </a:lnTo>
                  <a:lnTo>
                    <a:pt x="4530" y="11218"/>
                  </a:lnTo>
                  <a:lnTo>
                    <a:pt x="4533" y="11170"/>
                  </a:lnTo>
                  <a:lnTo>
                    <a:pt x="4535" y="11121"/>
                  </a:lnTo>
                  <a:lnTo>
                    <a:pt x="4537" y="11073"/>
                  </a:lnTo>
                  <a:lnTo>
                    <a:pt x="4538" y="11049"/>
                  </a:lnTo>
                  <a:lnTo>
                    <a:pt x="4540" y="11025"/>
                  </a:lnTo>
                  <a:lnTo>
                    <a:pt x="4541" y="11002"/>
                  </a:lnTo>
                  <a:lnTo>
                    <a:pt x="4541" y="10981"/>
                  </a:lnTo>
                  <a:lnTo>
                    <a:pt x="4540" y="10946"/>
                  </a:lnTo>
                  <a:lnTo>
                    <a:pt x="4539" y="10911"/>
                  </a:lnTo>
                  <a:lnTo>
                    <a:pt x="4536" y="10876"/>
                  </a:lnTo>
                  <a:lnTo>
                    <a:pt x="4531" y="10842"/>
                  </a:lnTo>
                  <a:lnTo>
                    <a:pt x="4526" y="10808"/>
                  </a:lnTo>
                  <a:lnTo>
                    <a:pt x="4519" y="10774"/>
                  </a:lnTo>
                  <a:lnTo>
                    <a:pt x="4512" y="10741"/>
                  </a:lnTo>
                  <a:lnTo>
                    <a:pt x="4503" y="10707"/>
                  </a:lnTo>
                  <a:lnTo>
                    <a:pt x="4493" y="10675"/>
                  </a:lnTo>
                  <a:lnTo>
                    <a:pt x="4482" y="10641"/>
                  </a:lnTo>
                  <a:lnTo>
                    <a:pt x="4470" y="10610"/>
                  </a:lnTo>
                  <a:lnTo>
                    <a:pt x="4456" y="10578"/>
                  </a:lnTo>
                  <a:lnTo>
                    <a:pt x="4442" y="10547"/>
                  </a:lnTo>
                  <a:lnTo>
                    <a:pt x="4426" y="10517"/>
                  </a:lnTo>
                  <a:lnTo>
                    <a:pt x="4410" y="10487"/>
                  </a:lnTo>
                  <a:lnTo>
                    <a:pt x="4393" y="10458"/>
                  </a:lnTo>
                  <a:lnTo>
                    <a:pt x="4375" y="10429"/>
                  </a:lnTo>
                  <a:lnTo>
                    <a:pt x="4356" y="10401"/>
                  </a:lnTo>
                  <a:lnTo>
                    <a:pt x="4334" y="10374"/>
                  </a:lnTo>
                  <a:lnTo>
                    <a:pt x="4313" y="10347"/>
                  </a:lnTo>
                  <a:lnTo>
                    <a:pt x="4291" y="10321"/>
                  </a:lnTo>
                  <a:lnTo>
                    <a:pt x="4269" y="10296"/>
                  </a:lnTo>
                  <a:lnTo>
                    <a:pt x="4245" y="10271"/>
                  </a:lnTo>
                  <a:lnTo>
                    <a:pt x="4220" y="10248"/>
                  </a:lnTo>
                  <a:lnTo>
                    <a:pt x="4194" y="10225"/>
                  </a:lnTo>
                  <a:lnTo>
                    <a:pt x="4168" y="10203"/>
                  </a:lnTo>
                  <a:lnTo>
                    <a:pt x="4140" y="10182"/>
                  </a:lnTo>
                  <a:lnTo>
                    <a:pt x="4112" y="10161"/>
                  </a:lnTo>
                  <a:lnTo>
                    <a:pt x="4083" y="10142"/>
                  </a:lnTo>
                  <a:lnTo>
                    <a:pt x="4053" y="10123"/>
                  </a:lnTo>
                  <a:lnTo>
                    <a:pt x="4023" y="10106"/>
                  </a:lnTo>
                  <a:lnTo>
                    <a:pt x="3992" y="10089"/>
                  </a:lnTo>
                  <a:lnTo>
                    <a:pt x="3819" y="9998"/>
                  </a:lnTo>
                  <a:lnTo>
                    <a:pt x="3650" y="9904"/>
                  </a:lnTo>
                  <a:lnTo>
                    <a:pt x="3487" y="9807"/>
                  </a:lnTo>
                  <a:lnTo>
                    <a:pt x="3327" y="9707"/>
                  </a:lnTo>
                  <a:lnTo>
                    <a:pt x="3173" y="9604"/>
                  </a:lnTo>
                  <a:lnTo>
                    <a:pt x="3023" y="9499"/>
                  </a:lnTo>
                  <a:lnTo>
                    <a:pt x="2878" y="9389"/>
                  </a:lnTo>
                  <a:lnTo>
                    <a:pt x="2737" y="9277"/>
                  </a:lnTo>
                  <a:lnTo>
                    <a:pt x="2602" y="9163"/>
                  </a:lnTo>
                  <a:lnTo>
                    <a:pt x="2472" y="9046"/>
                  </a:lnTo>
                  <a:lnTo>
                    <a:pt x="2346" y="8927"/>
                  </a:lnTo>
                  <a:lnTo>
                    <a:pt x="2226" y="8805"/>
                  </a:lnTo>
                  <a:lnTo>
                    <a:pt x="2112" y="8681"/>
                  </a:lnTo>
                  <a:lnTo>
                    <a:pt x="2002" y="8555"/>
                  </a:lnTo>
                  <a:lnTo>
                    <a:pt x="1899" y="8427"/>
                  </a:lnTo>
                  <a:lnTo>
                    <a:pt x="1800" y="8297"/>
                  </a:lnTo>
                  <a:lnTo>
                    <a:pt x="1706" y="8163"/>
                  </a:lnTo>
                  <a:lnTo>
                    <a:pt x="1618" y="8030"/>
                  </a:lnTo>
                  <a:lnTo>
                    <a:pt x="1537" y="7894"/>
                  </a:lnTo>
                  <a:lnTo>
                    <a:pt x="1460" y="7757"/>
                  </a:lnTo>
                  <a:lnTo>
                    <a:pt x="1388" y="7617"/>
                  </a:lnTo>
                  <a:lnTo>
                    <a:pt x="1324" y="7476"/>
                  </a:lnTo>
                  <a:lnTo>
                    <a:pt x="1264" y="7335"/>
                  </a:lnTo>
                  <a:lnTo>
                    <a:pt x="1212" y="7192"/>
                  </a:lnTo>
                  <a:lnTo>
                    <a:pt x="1165" y="7047"/>
                  </a:lnTo>
                  <a:lnTo>
                    <a:pt x="1123" y="6901"/>
                  </a:lnTo>
                  <a:lnTo>
                    <a:pt x="1089" y="6755"/>
                  </a:lnTo>
                  <a:lnTo>
                    <a:pt x="1060" y="6608"/>
                  </a:lnTo>
                  <a:lnTo>
                    <a:pt x="1037" y="6459"/>
                  </a:lnTo>
                  <a:lnTo>
                    <a:pt x="1021" y="6309"/>
                  </a:lnTo>
                  <a:lnTo>
                    <a:pt x="1011" y="6160"/>
                  </a:lnTo>
                  <a:lnTo>
                    <a:pt x="1008" y="6010"/>
                  </a:lnTo>
                  <a:lnTo>
                    <a:pt x="1017" y="5752"/>
                  </a:lnTo>
                  <a:lnTo>
                    <a:pt x="1045" y="5498"/>
                  </a:lnTo>
                  <a:lnTo>
                    <a:pt x="1090" y="5248"/>
                  </a:lnTo>
                  <a:lnTo>
                    <a:pt x="1151" y="5002"/>
                  </a:lnTo>
                  <a:lnTo>
                    <a:pt x="1231" y="4760"/>
                  </a:lnTo>
                  <a:lnTo>
                    <a:pt x="1326" y="4522"/>
                  </a:lnTo>
                  <a:lnTo>
                    <a:pt x="1437" y="4290"/>
                  </a:lnTo>
                  <a:lnTo>
                    <a:pt x="1564" y="4063"/>
                  </a:lnTo>
                  <a:lnTo>
                    <a:pt x="1705" y="3840"/>
                  </a:lnTo>
                  <a:lnTo>
                    <a:pt x="1861" y="3625"/>
                  </a:lnTo>
                  <a:lnTo>
                    <a:pt x="2032" y="3415"/>
                  </a:lnTo>
                  <a:lnTo>
                    <a:pt x="2215" y="3211"/>
                  </a:lnTo>
                  <a:lnTo>
                    <a:pt x="2412" y="3015"/>
                  </a:lnTo>
                  <a:lnTo>
                    <a:pt x="2621" y="2826"/>
                  </a:lnTo>
                  <a:lnTo>
                    <a:pt x="2844" y="2644"/>
                  </a:lnTo>
                  <a:lnTo>
                    <a:pt x="3078" y="2470"/>
                  </a:lnTo>
                  <a:lnTo>
                    <a:pt x="3323" y="2304"/>
                  </a:lnTo>
                  <a:lnTo>
                    <a:pt x="3579" y="2147"/>
                  </a:lnTo>
                  <a:lnTo>
                    <a:pt x="3845" y="1998"/>
                  </a:lnTo>
                  <a:lnTo>
                    <a:pt x="4123" y="1858"/>
                  </a:lnTo>
                  <a:lnTo>
                    <a:pt x="4409" y="1728"/>
                  </a:lnTo>
                  <a:lnTo>
                    <a:pt x="4704" y="1607"/>
                  </a:lnTo>
                  <a:lnTo>
                    <a:pt x="5009" y="1496"/>
                  </a:lnTo>
                  <a:lnTo>
                    <a:pt x="5322" y="1395"/>
                  </a:lnTo>
                  <a:lnTo>
                    <a:pt x="5642" y="1306"/>
                  </a:lnTo>
                  <a:lnTo>
                    <a:pt x="5970" y="1227"/>
                  </a:lnTo>
                  <a:lnTo>
                    <a:pt x="6305" y="1160"/>
                  </a:lnTo>
                  <a:lnTo>
                    <a:pt x="6645" y="1104"/>
                  </a:lnTo>
                  <a:lnTo>
                    <a:pt x="6992" y="1060"/>
                  </a:lnTo>
                  <a:lnTo>
                    <a:pt x="7345" y="1028"/>
                  </a:lnTo>
                  <a:lnTo>
                    <a:pt x="7703" y="1008"/>
                  </a:lnTo>
                  <a:lnTo>
                    <a:pt x="8066" y="1002"/>
                  </a:lnTo>
                  <a:lnTo>
                    <a:pt x="8429" y="1008"/>
                  </a:lnTo>
                  <a:lnTo>
                    <a:pt x="8787" y="1028"/>
                  </a:lnTo>
                  <a:lnTo>
                    <a:pt x="9140" y="1060"/>
                  </a:lnTo>
                  <a:lnTo>
                    <a:pt x="9487" y="1104"/>
                  </a:lnTo>
                  <a:lnTo>
                    <a:pt x="9827" y="1160"/>
                  </a:lnTo>
                  <a:lnTo>
                    <a:pt x="10162" y="1227"/>
                  </a:lnTo>
                  <a:lnTo>
                    <a:pt x="10490" y="1306"/>
                  </a:lnTo>
                  <a:lnTo>
                    <a:pt x="10810" y="1395"/>
                  </a:lnTo>
                  <a:lnTo>
                    <a:pt x="11123" y="1496"/>
                  </a:lnTo>
                  <a:lnTo>
                    <a:pt x="11428" y="1607"/>
                  </a:lnTo>
                  <a:lnTo>
                    <a:pt x="11723" y="1728"/>
                  </a:lnTo>
                  <a:lnTo>
                    <a:pt x="12009" y="1858"/>
                  </a:lnTo>
                  <a:lnTo>
                    <a:pt x="12287" y="1998"/>
                  </a:lnTo>
                  <a:lnTo>
                    <a:pt x="12553" y="2147"/>
                  </a:lnTo>
                  <a:lnTo>
                    <a:pt x="12809" y="2304"/>
                  </a:lnTo>
                  <a:lnTo>
                    <a:pt x="13054" y="2470"/>
                  </a:lnTo>
                  <a:lnTo>
                    <a:pt x="13288" y="2644"/>
                  </a:lnTo>
                  <a:lnTo>
                    <a:pt x="13511" y="2826"/>
                  </a:lnTo>
                  <a:lnTo>
                    <a:pt x="13720" y="3015"/>
                  </a:lnTo>
                  <a:lnTo>
                    <a:pt x="13917" y="3211"/>
                  </a:lnTo>
                  <a:lnTo>
                    <a:pt x="14100" y="3415"/>
                  </a:lnTo>
                  <a:lnTo>
                    <a:pt x="14271" y="3625"/>
                  </a:lnTo>
                  <a:lnTo>
                    <a:pt x="14427" y="3840"/>
                  </a:lnTo>
                  <a:lnTo>
                    <a:pt x="14568" y="4063"/>
                  </a:lnTo>
                  <a:lnTo>
                    <a:pt x="14695" y="4290"/>
                  </a:lnTo>
                  <a:lnTo>
                    <a:pt x="14806" y="4522"/>
                  </a:lnTo>
                  <a:lnTo>
                    <a:pt x="14901" y="4760"/>
                  </a:lnTo>
                  <a:lnTo>
                    <a:pt x="14981" y="5002"/>
                  </a:lnTo>
                  <a:lnTo>
                    <a:pt x="15042" y="5248"/>
                  </a:lnTo>
                  <a:lnTo>
                    <a:pt x="15087" y="5498"/>
                  </a:lnTo>
                  <a:lnTo>
                    <a:pt x="15115" y="5752"/>
                  </a:lnTo>
                  <a:lnTo>
                    <a:pt x="15124" y="6010"/>
                  </a:lnTo>
                  <a:lnTo>
                    <a:pt x="15115" y="6267"/>
                  </a:lnTo>
                  <a:lnTo>
                    <a:pt x="15087" y="6521"/>
                  </a:lnTo>
                  <a:lnTo>
                    <a:pt x="15042" y="6771"/>
                  </a:lnTo>
                  <a:lnTo>
                    <a:pt x="14981" y="7018"/>
                  </a:lnTo>
                  <a:lnTo>
                    <a:pt x="14901" y="7260"/>
                  </a:lnTo>
                  <a:lnTo>
                    <a:pt x="14806" y="7497"/>
                  </a:lnTo>
                  <a:lnTo>
                    <a:pt x="14695" y="7730"/>
                  </a:lnTo>
                  <a:lnTo>
                    <a:pt x="14568" y="7957"/>
                  </a:lnTo>
                  <a:lnTo>
                    <a:pt x="14427" y="8179"/>
                  </a:lnTo>
                  <a:lnTo>
                    <a:pt x="14271" y="8395"/>
                  </a:lnTo>
                  <a:lnTo>
                    <a:pt x="14100" y="8605"/>
                  </a:lnTo>
                  <a:lnTo>
                    <a:pt x="13917" y="8807"/>
                  </a:lnTo>
                  <a:lnTo>
                    <a:pt x="13720" y="9005"/>
                  </a:lnTo>
                  <a:lnTo>
                    <a:pt x="13511" y="9194"/>
                  </a:lnTo>
                  <a:lnTo>
                    <a:pt x="13288" y="9375"/>
                  </a:lnTo>
                  <a:lnTo>
                    <a:pt x="13054" y="9550"/>
                  </a:lnTo>
                  <a:lnTo>
                    <a:pt x="12809" y="9715"/>
                  </a:lnTo>
                  <a:lnTo>
                    <a:pt x="12553" y="9873"/>
                  </a:lnTo>
                  <a:lnTo>
                    <a:pt x="12287" y="10021"/>
                  </a:lnTo>
                  <a:lnTo>
                    <a:pt x="12009" y="10162"/>
                  </a:lnTo>
                  <a:lnTo>
                    <a:pt x="11723" y="10292"/>
                  </a:lnTo>
                  <a:lnTo>
                    <a:pt x="11428" y="10413"/>
                  </a:lnTo>
                  <a:lnTo>
                    <a:pt x="11123" y="10523"/>
                  </a:lnTo>
                  <a:lnTo>
                    <a:pt x="10810" y="10623"/>
                  </a:lnTo>
                  <a:lnTo>
                    <a:pt x="10490" y="10714"/>
                  </a:lnTo>
                  <a:lnTo>
                    <a:pt x="10162" y="10793"/>
                  </a:lnTo>
                  <a:lnTo>
                    <a:pt x="9827" y="10860"/>
                  </a:lnTo>
                  <a:lnTo>
                    <a:pt x="9487" y="10916"/>
                  </a:lnTo>
                  <a:lnTo>
                    <a:pt x="9140" y="10960"/>
                  </a:lnTo>
                  <a:lnTo>
                    <a:pt x="8787" y="10992"/>
                  </a:lnTo>
                  <a:lnTo>
                    <a:pt x="8429" y="11011"/>
                  </a:lnTo>
                  <a:lnTo>
                    <a:pt x="8066" y="11018"/>
                  </a:lnTo>
                  <a:close/>
                  <a:moveTo>
                    <a:pt x="8066" y="0"/>
                  </a:moveTo>
                  <a:lnTo>
                    <a:pt x="7651" y="8"/>
                  </a:lnTo>
                  <a:lnTo>
                    <a:pt x="7241" y="31"/>
                  </a:lnTo>
                  <a:lnTo>
                    <a:pt x="6838" y="69"/>
                  </a:lnTo>
                  <a:lnTo>
                    <a:pt x="6441" y="122"/>
                  </a:lnTo>
                  <a:lnTo>
                    <a:pt x="6051" y="189"/>
                  </a:lnTo>
                  <a:lnTo>
                    <a:pt x="5667" y="270"/>
                  </a:lnTo>
                  <a:lnTo>
                    <a:pt x="5292" y="365"/>
                  </a:lnTo>
                  <a:lnTo>
                    <a:pt x="4926" y="473"/>
                  </a:lnTo>
                  <a:lnTo>
                    <a:pt x="4569" y="593"/>
                  </a:lnTo>
                  <a:lnTo>
                    <a:pt x="4222" y="725"/>
                  </a:lnTo>
                  <a:lnTo>
                    <a:pt x="3884" y="870"/>
                  </a:lnTo>
                  <a:lnTo>
                    <a:pt x="3556" y="1027"/>
                  </a:lnTo>
                  <a:lnTo>
                    <a:pt x="3240" y="1194"/>
                  </a:lnTo>
                  <a:lnTo>
                    <a:pt x="2935" y="1372"/>
                  </a:lnTo>
                  <a:lnTo>
                    <a:pt x="2643" y="1562"/>
                  </a:lnTo>
                  <a:lnTo>
                    <a:pt x="2362" y="1760"/>
                  </a:lnTo>
                  <a:lnTo>
                    <a:pt x="2095" y="1969"/>
                  </a:lnTo>
                  <a:lnTo>
                    <a:pt x="1842" y="2188"/>
                  </a:lnTo>
                  <a:lnTo>
                    <a:pt x="1602" y="2414"/>
                  </a:lnTo>
                  <a:lnTo>
                    <a:pt x="1377" y="2649"/>
                  </a:lnTo>
                  <a:lnTo>
                    <a:pt x="1168" y="2894"/>
                  </a:lnTo>
                  <a:lnTo>
                    <a:pt x="974" y="3145"/>
                  </a:lnTo>
                  <a:lnTo>
                    <a:pt x="796" y="3405"/>
                  </a:lnTo>
                  <a:lnTo>
                    <a:pt x="634" y="3671"/>
                  </a:lnTo>
                  <a:lnTo>
                    <a:pt x="489" y="3943"/>
                  </a:lnTo>
                  <a:lnTo>
                    <a:pt x="363" y="4223"/>
                  </a:lnTo>
                  <a:lnTo>
                    <a:pt x="254" y="4508"/>
                  </a:lnTo>
                  <a:lnTo>
                    <a:pt x="163" y="4799"/>
                  </a:lnTo>
                  <a:lnTo>
                    <a:pt x="93" y="5094"/>
                  </a:lnTo>
                  <a:lnTo>
                    <a:pt x="41" y="5396"/>
                  </a:lnTo>
                  <a:lnTo>
                    <a:pt x="10" y="5700"/>
                  </a:lnTo>
                  <a:lnTo>
                    <a:pt x="0" y="6010"/>
                  </a:lnTo>
                  <a:lnTo>
                    <a:pt x="4" y="6203"/>
                  </a:lnTo>
                  <a:lnTo>
                    <a:pt x="16" y="6394"/>
                  </a:lnTo>
                  <a:lnTo>
                    <a:pt x="36" y="6584"/>
                  </a:lnTo>
                  <a:lnTo>
                    <a:pt x="65" y="6772"/>
                  </a:lnTo>
                  <a:lnTo>
                    <a:pt x="100" y="6958"/>
                  </a:lnTo>
                  <a:lnTo>
                    <a:pt x="143" y="7144"/>
                  </a:lnTo>
                  <a:lnTo>
                    <a:pt x="195" y="7326"/>
                  </a:lnTo>
                  <a:lnTo>
                    <a:pt x="252" y="7506"/>
                  </a:lnTo>
                  <a:lnTo>
                    <a:pt x="318" y="7685"/>
                  </a:lnTo>
                  <a:lnTo>
                    <a:pt x="390" y="7861"/>
                  </a:lnTo>
                  <a:lnTo>
                    <a:pt x="470" y="8034"/>
                  </a:lnTo>
                  <a:lnTo>
                    <a:pt x="556" y="8205"/>
                  </a:lnTo>
                  <a:lnTo>
                    <a:pt x="648" y="8375"/>
                  </a:lnTo>
                  <a:lnTo>
                    <a:pt x="748" y="8541"/>
                  </a:lnTo>
                  <a:lnTo>
                    <a:pt x="855" y="8704"/>
                  </a:lnTo>
                  <a:lnTo>
                    <a:pt x="967" y="8865"/>
                  </a:lnTo>
                  <a:lnTo>
                    <a:pt x="1086" y="9023"/>
                  </a:lnTo>
                  <a:lnTo>
                    <a:pt x="1211" y="9177"/>
                  </a:lnTo>
                  <a:lnTo>
                    <a:pt x="1341" y="9329"/>
                  </a:lnTo>
                  <a:lnTo>
                    <a:pt x="1478" y="9478"/>
                  </a:lnTo>
                  <a:lnTo>
                    <a:pt x="1620" y="9623"/>
                  </a:lnTo>
                  <a:lnTo>
                    <a:pt x="1768" y="9765"/>
                  </a:lnTo>
                  <a:lnTo>
                    <a:pt x="1923" y="9903"/>
                  </a:lnTo>
                  <a:lnTo>
                    <a:pt x="2081" y="10038"/>
                  </a:lnTo>
                  <a:lnTo>
                    <a:pt x="2245" y="10170"/>
                  </a:lnTo>
                  <a:lnTo>
                    <a:pt x="2415" y="10298"/>
                  </a:lnTo>
                  <a:lnTo>
                    <a:pt x="2590" y="10421"/>
                  </a:lnTo>
                  <a:lnTo>
                    <a:pt x="2769" y="10541"/>
                  </a:lnTo>
                  <a:lnTo>
                    <a:pt x="2953" y="10657"/>
                  </a:lnTo>
                  <a:lnTo>
                    <a:pt x="3142" y="10770"/>
                  </a:lnTo>
                  <a:lnTo>
                    <a:pt x="3335" y="10878"/>
                  </a:lnTo>
                  <a:lnTo>
                    <a:pt x="3533" y="10981"/>
                  </a:lnTo>
                  <a:lnTo>
                    <a:pt x="3532" y="10990"/>
                  </a:lnTo>
                  <a:lnTo>
                    <a:pt x="3531" y="10999"/>
                  </a:lnTo>
                  <a:lnTo>
                    <a:pt x="3530" y="11008"/>
                  </a:lnTo>
                  <a:lnTo>
                    <a:pt x="3529" y="11018"/>
                  </a:lnTo>
                  <a:lnTo>
                    <a:pt x="3527" y="11102"/>
                  </a:lnTo>
                  <a:lnTo>
                    <a:pt x="3521" y="11187"/>
                  </a:lnTo>
                  <a:lnTo>
                    <a:pt x="3512" y="11271"/>
                  </a:lnTo>
                  <a:lnTo>
                    <a:pt x="3500" y="11357"/>
                  </a:lnTo>
                  <a:lnTo>
                    <a:pt x="3484" y="11442"/>
                  </a:lnTo>
                  <a:lnTo>
                    <a:pt x="3464" y="11527"/>
                  </a:lnTo>
                  <a:lnTo>
                    <a:pt x="3443" y="11612"/>
                  </a:lnTo>
                  <a:lnTo>
                    <a:pt x="3419" y="11696"/>
                  </a:lnTo>
                  <a:lnTo>
                    <a:pt x="3392" y="11780"/>
                  </a:lnTo>
                  <a:lnTo>
                    <a:pt x="3364" y="11863"/>
                  </a:lnTo>
                  <a:lnTo>
                    <a:pt x="3332" y="11947"/>
                  </a:lnTo>
                  <a:lnTo>
                    <a:pt x="3300" y="12030"/>
                  </a:lnTo>
                  <a:lnTo>
                    <a:pt x="3266" y="12111"/>
                  </a:lnTo>
                  <a:lnTo>
                    <a:pt x="3229" y="12192"/>
                  </a:lnTo>
                  <a:lnTo>
                    <a:pt x="3192" y="12271"/>
                  </a:lnTo>
                  <a:lnTo>
                    <a:pt x="3155" y="12350"/>
                  </a:lnTo>
                  <a:lnTo>
                    <a:pt x="3115" y="12428"/>
                  </a:lnTo>
                  <a:lnTo>
                    <a:pt x="3075" y="12505"/>
                  </a:lnTo>
                  <a:lnTo>
                    <a:pt x="3036" y="12580"/>
                  </a:lnTo>
                  <a:lnTo>
                    <a:pt x="2995" y="12653"/>
                  </a:lnTo>
                  <a:lnTo>
                    <a:pt x="2954" y="12726"/>
                  </a:lnTo>
                  <a:lnTo>
                    <a:pt x="2914" y="12796"/>
                  </a:lnTo>
                  <a:lnTo>
                    <a:pt x="2874" y="12864"/>
                  </a:lnTo>
                  <a:lnTo>
                    <a:pt x="2834" y="12931"/>
                  </a:lnTo>
                  <a:lnTo>
                    <a:pt x="2757" y="13059"/>
                  </a:lnTo>
                  <a:lnTo>
                    <a:pt x="2684" y="13180"/>
                  </a:lnTo>
                  <a:lnTo>
                    <a:pt x="2616" y="13290"/>
                  </a:lnTo>
                  <a:lnTo>
                    <a:pt x="2557" y="13390"/>
                  </a:lnTo>
                  <a:lnTo>
                    <a:pt x="2558" y="13390"/>
                  </a:lnTo>
                  <a:lnTo>
                    <a:pt x="2550" y="13411"/>
                  </a:lnTo>
                  <a:lnTo>
                    <a:pt x="2542" y="13432"/>
                  </a:lnTo>
                  <a:lnTo>
                    <a:pt x="2536" y="13454"/>
                  </a:lnTo>
                  <a:lnTo>
                    <a:pt x="2531" y="13476"/>
                  </a:lnTo>
                  <a:lnTo>
                    <a:pt x="2527" y="13499"/>
                  </a:lnTo>
                  <a:lnTo>
                    <a:pt x="2523" y="13522"/>
                  </a:lnTo>
                  <a:lnTo>
                    <a:pt x="2522" y="13545"/>
                  </a:lnTo>
                  <a:lnTo>
                    <a:pt x="2521" y="13569"/>
                  </a:lnTo>
                  <a:lnTo>
                    <a:pt x="2522" y="13592"/>
                  </a:lnTo>
                  <a:lnTo>
                    <a:pt x="2523" y="13615"/>
                  </a:lnTo>
                  <a:lnTo>
                    <a:pt x="2526" y="13638"/>
                  </a:lnTo>
                  <a:lnTo>
                    <a:pt x="2530" y="13660"/>
                  </a:lnTo>
                  <a:lnTo>
                    <a:pt x="2535" y="13682"/>
                  </a:lnTo>
                  <a:lnTo>
                    <a:pt x="2541" y="13704"/>
                  </a:lnTo>
                  <a:lnTo>
                    <a:pt x="2548" y="13726"/>
                  </a:lnTo>
                  <a:lnTo>
                    <a:pt x="2556" y="13746"/>
                  </a:lnTo>
                  <a:lnTo>
                    <a:pt x="2566" y="13766"/>
                  </a:lnTo>
                  <a:lnTo>
                    <a:pt x="2576" y="13786"/>
                  </a:lnTo>
                  <a:lnTo>
                    <a:pt x="2586" y="13805"/>
                  </a:lnTo>
                  <a:lnTo>
                    <a:pt x="2598" y="13823"/>
                  </a:lnTo>
                  <a:lnTo>
                    <a:pt x="2611" y="13841"/>
                  </a:lnTo>
                  <a:lnTo>
                    <a:pt x="2624" y="13858"/>
                  </a:lnTo>
                  <a:lnTo>
                    <a:pt x="2640" y="13875"/>
                  </a:lnTo>
                  <a:lnTo>
                    <a:pt x="2655" y="13890"/>
                  </a:lnTo>
                  <a:lnTo>
                    <a:pt x="2670" y="13905"/>
                  </a:lnTo>
                  <a:lnTo>
                    <a:pt x="2687" y="13920"/>
                  </a:lnTo>
                  <a:lnTo>
                    <a:pt x="2704" y="13933"/>
                  </a:lnTo>
                  <a:lnTo>
                    <a:pt x="2722" y="13946"/>
                  </a:lnTo>
                  <a:lnTo>
                    <a:pt x="2740" y="13958"/>
                  </a:lnTo>
                  <a:lnTo>
                    <a:pt x="2760" y="13968"/>
                  </a:lnTo>
                  <a:lnTo>
                    <a:pt x="2779" y="13978"/>
                  </a:lnTo>
                  <a:lnTo>
                    <a:pt x="2800" y="13987"/>
                  </a:lnTo>
                  <a:lnTo>
                    <a:pt x="2820" y="13996"/>
                  </a:lnTo>
                  <a:lnTo>
                    <a:pt x="2841" y="14003"/>
                  </a:lnTo>
                  <a:lnTo>
                    <a:pt x="2863" y="14009"/>
                  </a:lnTo>
                  <a:lnTo>
                    <a:pt x="2886" y="14014"/>
                  </a:lnTo>
                  <a:lnTo>
                    <a:pt x="2908" y="14018"/>
                  </a:lnTo>
                  <a:lnTo>
                    <a:pt x="2931" y="14021"/>
                  </a:lnTo>
                  <a:lnTo>
                    <a:pt x="2954" y="14022"/>
                  </a:lnTo>
                  <a:lnTo>
                    <a:pt x="2977" y="14023"/>
                  </a:lnTo>
                  <a:lnTo>
                    <a:pt x="3018" y="14021"/>
                  </a:lnTo>
                  <a:lnTo>
                    <a:pt x="3060" y="14017"/>
                  </a:lnTo>
                  <a:lnTo>
                    <a:pt x="3078" y="14016"/>
                  </a:lnTo>
                  <a:lnTo>
                    <a:pt x="3093" y="14015"/>
                  </a:lnTo>
                  <a:lnTo>
                    <a:pt x="3099" y="14015"/>
                  </a:lnTo>
                  <a:lnTo>
                    <a:pt x="3103" y="14015"/>
                  </a:lnTo>
                  <a:lnTo>
                    <a:pt x="3105" y="14016"/>
                  </a:lnTo>
                  <a:lnTo>
                    <a:pt x="3106" y="14016"/>
                  </a:lnTo>
                  <a:lnTo>
                    <a:pt x="3254" y="13989"/>
                  </a:lnTo>
                  <a:lnTo>
                    <a:pt x="3400" y="13955"/>
                  </a:lnTo>
                  <a:lnTo>
                    <a:pt x="3546" y="13915"/>
                  </a:lnTo>
                  <a:lnTo>
                    <a:pt x="3690" y="13870"/>
                  </a:lnTo>
                  <a:lnTo>
                    <a:pt x="3833" y="13819"/>
                  </a:lnTo>
                  <a:lnTo>
                    <a:pt x="3976" y="13763"/>
                  </a:lnTo>
                  <a:lnTo>
                    <a:pt x="4116" y="13701"/>
                  </a:lnTo>
                  <a:lnTo>
                    <a:pt x="4254" y="13637"/>
                  </a:lnTo>
                  <a:lnTo>
                    <a:pt x="4390" y="13569"/>
                  </a:lnTo>
                  <a:lnTo>
                    <a:pt x="4524" y="13497"/>
                  </a:lnTo>
                  <a:lnTo>
                    <a:pt x="4656" y="13423"/>
                  </a:lnTo>
                  <a:lnTo>
                    <a:pt x="4784" y="13346"/>
                  </a:lnTo>
                  <a:lnTo>
                    <a:pt x="4910" y="13267"/>
                  </a:lnTo>
                  <a:lnTo>
                    <a:pt x="5033" y="13186"/>
                  </a:lnTo>
                  <a:lnTo>
                    <a:pt x="5153" y="13104"/>
                  </a:lnTo>
                  <a:lnTo>
                    <a:pt x="5269" y="13021"/>
                  </a:lnTo>
                  <a:lnTo>
                    <a:pt x="5382" y="12938"/>
                  </a:lnTo>
                  <a:lnTo>
                    <a:pt x="5491" y="12854"/>
                  </a:lnTo>
                  <a:lnTo>
                    <a:pt x="5596" y="12771"/>
                  </a:lnTo>
                  <a:lnTo>
                    <a:pt x="5697" y="12689"/>
                  </a:lnTo>
                  <a:lnTo>
                    <a:pt x="5793" y="12608"/>
                  </a:lnTo>
                  <a:lnTo>
                    <a:pt x="5885" y="12528"/>
                  </a:lnTo>
                  <a:lnTo>
                    <a:pt x="5972" y="12450"/>
                  </a:lnTo>
                  <a:lnTo>
                    <a:pt x="6055" y="12375"/>
                  </a:lnTo>
                  <a:lnTo>
                    <a:pt x="6131" y="12302"/>
                  </a:lnTo>
                  <a:lnTo>
                    <a:pt x="6203" y="12233"/>
                  </a:lnTo>
                  <a:lnTo>
                    <a:pt x="6269" y="12167"/>
                  </a:lnTo>
                  <a:lnTo>
                    <a:pt x="6330" y="12105"/>
                  </a:lnTo>
                  <a:lnTo>
                    <a:pt x="6384" y="12048"/>
                  </a:lnTo>
                  <a:lnTo>
                    <a:pt x="6433" y="11995"/>
                  </a:lnTo>
                  <a:lnTo>
                    <a:pt x="6475" y="11947"/>
                  </a:lnTo>
                  <a:lnTo>
                    <a:pt x="6510" y="11906"/>
                  </a:lnTo>
                  <a:lnTo>
                    <a:pt x="6605" y="11919"/>
                  </a:lnTo>
                  <a:lnTo>
                    <a:pt x="6700" y="11932"/>
                  </a:lnTo>
                  <a:lnTo>
                    <a:pt x="6796" y="11943"/>
                  </a:lnTo>
                  <a:lnTo>
                    <a:pt x="6891" y="11954"/>
                  </a:lnTo>
                  <a:lnTo>
                    <a:pt x="6987" y="11965"/>
                  </a:lnTo>
                  <a:lnTo>
                    <a:pt x="7083" y="11974"/>
                  </a:lnTo>
                  <a:lnTo>
                    <a:pt x="7180" y="11983"/>
                  </a:lnTo>
                  <a:lnTo>
                    <a:pt x="7278" y="11990"/>
                  </a:lnTo>
                  <a:lnTo>
                    <a:pt x="7374" y="11997"/>
                  </a:lnTo>
                  <a:lnTo>
                    <a:pt x="7472" y="12003"/>
                  </a:lnTo>
                  <a:lnTo>
                    <a:pt x="7571" y="12008"/>
                  </a:lnTo>
                  <a:lnTo>
                    <a:pt x="7669" y="12012"/>
                  </a:lnTo>
                  <a:lnTo>
                    <a:pt x="7768" y="12016"/>
                  </a:lnTo>
                  <a:lnTo>
                    <a:pt x="7867" y="12018"/>
                  </a:lnTo>
                  <a:lnTo>
                    <a:pt x="7966" y="12019"/>
                  </a:lnTo>
                  <a:lnTo>
                    <a:pt x="8066" y="12020"/>
                  </a:lnTo>
                  <a:lnTo>
                    <a:pt x="8481" y="12012"/>
                  </a:lnTo>
                  <a:lnTo>
                    <a:pt x="8891" y="11989"/>
                  </a:lnTo>
                  <a:lnTo>
                    <a:pt x="9294" y="11951"/>
                  </a:lnTo>
                  <a:lnTo>
                    <a:pt x="9691" y="11898"/>
                  </a:lnTo>
                  <a:lnTo>
                    <a:pt x="10081" y="11830"/>
                  </a:lnTo>
                  <a:lnTo>
                    <a:pt x="10465" y="11749"/>
                  </a:lnTo>
                  <a:lnTo>
                    <a:pt x="10840" y="11655"/>
                  </a:lnTo>
                  <a:lnTo>
                    <a:pt x="11206" y="11547"/>
                  </a:lnTo>
                  <a:lnTo>
                    <a:pt x="11563" y="11427"/>
                  </a:lnTo>
                  <a:lnTo>
                    <a:pt x="11910" y="11295"/>
                  </a:lnTo>
                  <a:lnTo>
                    <a:pt x="12248" y="11149"/>
                  </a:lnTo>
                  <a:lnTo>
                    <a:pt x="12576" y="10993"/>
                  </a:lnTo>
                  <a:lnTo>
                    <a:pt x="12891" y="10826"/>
                  </a:lnTo>
                  <a:lnTo>
                    <a:pt x="13197" y="10647"/>
                  </a:lnTo>
                  <a:lnTo>
                    <a:pt x="13489" y="10458"/>
                  </a:lnTo>
                  <a:lnTo>
                    <a:pt x="13770" y="10260"/>
                  </a:lnTo>
                  <a:lnTo>
                    <a:pt x="14037" y="10050"/>
                  </a:lnTo>
                  <a:lnTo>
                    <a:pt x="14290" y="9832"/>
                  </a:lnTo>
                  <a:lnTo>
                    <a:pt x="14530" y="9606"/>
                  </a:lnTo>
                  <a:lnTo>
                    <a:pt x="14755" y="9370"/>
                  </a:lnTo>
                  <a:lnTo>
                    <a:pt x="14964" y="9126"/>
                  </a:lnTo>
                  <a:lnTo>
                    <a:pt x="15158" y="8875"/>
                  </a:lnTo>
                  <a:lnTo>
                    <a:pt x="15336" y="8615"/>
                  </a:lnTo>
                  <a:lnTo>
                    <a:pt x="15498" y="8349"/>
                  </a:lnTo>
                  <a:lnTo>
                    <a:pt x="15643" y="8076"/>
                  </a:lnTo>
                  <a:lnTo>
                    <a:pt x="15769" y="7797"/>
                  </a:lnTo>
                  <a:lnTo>
                    <a:pt x="15878" y="7511"/>
                  </a:lnTo>
                  <a:lnTo>
                    <a:pt x="15968" y="7221"/>
                  </a:lnTo>
                  <a:lnTo>
                    <a:pt x="16039" y="6925"/>
                  </a:lnTo>
                  <a:lnTo>
                    <a:pt x="16091" y="6624"/>
                  </a:lnTo>
                  <a:lnTo>
                    <a:pt x="16122" y="6319"/>
                  </a:lnTo>
                  <a:lnTo>
                    <a:pt x="16132" y="6010"/>
                  </a:lnTo>
                  <a:lnTo>
                    <a:pt x="16122" y="5700"/>
                  </a:lnTo>
                  <a:lnTo>
                    <a:pt x="16091" y="5396"/>
                  </a:lnTo>
                  <a:lnTo>
                    <a:pt x="16039" y="5094"/>
                  </a:lnTo>
                  <a:lnTo>
                    <a:pt x="15968" y="4799"/>
                  </a:lnTo>
                  <a:lnTo>
                    <a:pt x="15878" y="4508"/>
                  </a:lnTo>
                  <a:lnTo>
                    <a:pt x="15769" y="4223"/>
                  </a:lnTo>
                  <a:lnTo>
                    <a:pt x="15643" y="3943"/>
                  </a:lnTo>
                  <a:lnTo>
                    <a:pt x="15498" y="3671"/>
                  </a:lnTo>
                  <a:lnTo>
                    <a:pt x="15336" y="3405"/>
                  </a:lnTo>
                  <a:lnTo>
                    <a:pt x="15158" y="3145"/>
                  </a:lnTo>
                  <a:lnTo>
                    <a:pt x="14964" y="2894"/>
                  </a:lnTo>
                  <a:lnTo>
                    <a:pt x="14755" y="2649"/>
                  </a:lnTo>
                  <a:lnTo>
                    <a:pt x="14530" y="2414"/>
                  </a:lnTo>
                  <a:lnTo>
                    <a:pt x="14290" y="2188"/>
                  </a:lnTo>
                  <a:lnTo>
                    <a:pt x="14037" y="1969"/>
                  </a:lnTo>
                  <a:lnTo>
                    <a:pt x="13770" y="1760"/>
                  </a:lnTo>
                  <a:lnTo>
                    <a:pt x="13489" y="1562"/>
                  </a:lnTo>
                  <a:lnTo>
                    <a:pt x="13197" y="1372"/>
                  </a:lnTo>
                  <a:lnTo>
                    <a:pt x="12891" y="1194"/>
                  </a:lnTo>
                  <a:lnTo>
                    <a:pt x="12576" y="1027"/>
                  </a:lnTo>
                  <a:lnTo>
                    <a:pt x="12248" y="870"/>
                  </a:lnTo>
                  <a:lnTo>
                    <a:pt x="11910" y="725"/>
                  </a:lnTo>
                  <a:lnTo>
                    <a:pt x="11563" y="593"/>
                  </a:lnTo>
                  <a:lnTo>
                    <a:pt x="11206" y="473"/>
                  </a:lnTo>
                  <a:lnTo>
                    <a:pt x="10840" y="365"/>
                  </a:lnTo>
                  <a:lnTo>
                    <a:pt x="10465" y="270"/>
                  </a:lnTo>
                  <a:lnTo>
                    <a:pt x="10081" y="189"/>
                  </a:lnTo>
                  <a:lnTo>
                    <a:pt x="9691" y="122"/>
                  </a:lnTo>
                  <a:lnTo>
                    <a:pt x="9294" y="69"/>
                  </a:lnTo>
                  <a:lnTo>
                    <a:pt x="8891" y="31"/>
                  </a:lnTo>
                  <a:lnTo>
                    <a:pt x="8481" y="8"/>
                  </a:lnTo>
                  <a:lnTo>
                    <a:pt x="80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33" name="ïS1ïďe">
              <a:extLst>
                <a:ext uri="{FF2B5EF4-FFF2-40B4-BE49-F238E27FC236}">
                  <a16:creationId xmlns:a16="http://schemas.microsoft.com/office/drawing/2014/main" id="{5B0D61BF-268C-4196-A2E0-FF86AD3BE776}"/>
                </a:ext>
              </a:extLst>
            </p:cNvPr>
            <p:cNvSpPr/>
            <p:nvPr/>
          </p:nvSpPr>
          <p:spPr bwMode="auto">
            <a:xfrm>
              <a:off x="7693747" y="1703694"/>
              <a:ext cx="593599" cy="595008"/>
            </a:xfrm>
            <a:custGeom>
              <a:avLst/>
              <a:gdLst>
                <a:gd name="T0" fmla="*/ 11438 w 16419"/>
                <a:gd name="T1" fmla="*/ 11992 h 16036"/>
                <a:gd name="T2" fmla="*/ 12051 w 16419"/>
                <a:gd name="T3" fmla="*/ 9611 h 16036"/>
                <a:gd name="T4" fmla="*/ 15080 w 16419"/>
                <a:gd name="T5" fmla="*/ 9931 h 16036"/>
                <a:gd name="T6" fmla="*/ 13248 w 16419"/>
                <a:gd name="T7" fmla="*/ 12967 h 16036"/>
                <a:gd name="T8" fmla="*/ 4590 w 16419"/>
                <a:gd name="T9" fmla="*/ 10655 h 16036"/>
                <a:gd name="T10" fmla="*/ 4429 w 16419"/>
                <a:gd name="T11" fmla="*/ 12231 h 16036"/>
                <a:gd name="T12" fmla="*/ 2147 w 16419"/>
                <a:gd name="T13" fmla="*/ 11712 h 16036"/>
                <a:gd name="T14" fmla="*/ 1073 w 16419"/>
                <a:gd name="T15" fmla="*/ 8277 h 16036"/>
                <a:gd name="T16" fmla="*/ 4139 w 16419"/>
                <a:gd name="T17" fmla="*/ 4183 h 16036"/>
                <a:gd name="T18" fmla="*/ 4533 w 16419"/>
                <a:gd name="T19" fmla="*/ 5582 h 16036"/>
                <a:gd name="T20" fmla="*/ 1073 w 16419"/>
                <a:gd name="T21" fmla="*/ 7759 h 16036"/>
                <a:gd name="T22" fmla="*/ 1997 w 16419"/>
                <a:gd name="T23" fmla="*/ 4578 h 16036"/>
                <a:gd name="T24" fmla="*/ 9313 w 16419"/>
                <a:gd name="T25" fmla="*/ 5095 h 16036"/>
                <a:gd name="T26" fmla="*/ 11066 w 16419"/>
                <a:gd name="T27" fmla="*/ 4695 h 16036"/>
                <a:gd name="T28" fmla="*/ 11565 w 16419"/>
                <a:gd name="T29" fmla="*/ 6759 h 16036"/>
                <a:gd name="T30" fmla="*/ 10152 w 16419"/>
                <a:gd name="T31" fmla="*/ 11598 h 16036"/>
                <a:gd name="T32" fmla="*/ 8474 w 16419"/>
                <a:gd name="T33" fmla="*/ 11394 h 16036"/>
                <a:gd name="T34" fmla="*/ 11313 w 16419"/>
                <a:gd name="T35" fmla="*/ 10543 h 16036"/>
                <a:gd name="T36" fmla="*/ 12142 w 16419"/>
                <a:gd name="T37" fmla="*/ 12889 h 16036"/>
                <a:gd name="T38" fmla="*/ 11354 w 16419"/>
                <a:gd name="T39" fmla="*/ 14282 h 16036"/>
                <a:gd name="T40" fmla="*/ 9710 w 16419"/>
                <a:gd name="T41" fmla="*/ 14564 h 16036"/>
                <a:gd name="T42" fmla="*/ 10935 w 16419"/>
                <a:gd name="T43" fmla="*/ 12871 h 16036"/>
                <a:gd name="T44" fmla="*/ 9524 w 16419"/>
                <a:gd name="T45" fmla="*/ 12005 h 16036"/>
                <a:gd name="T46" fmla="*/ 10393 w 16419"/>
                <a:gd name="T47" fmla="*/ 12757 h 16036"/>
                <a:gd name="T48" fmla="*/ 8904 w 16419"/>
                <a:gd name="T49" fmla="*/ 14636 h 16036"/>
                <a:gd name="T50" fmla="*/ 5284 w 16419"/>
                <a:gd name="T51" fmla="*/ 14382 h 16036"/>
                <a:gd name="T52" fmla="*/ 4071 w 16419"/>
                <a:gd name="T53" fmla="*/ 13005 h 16036"/>
                <a:gd name="T54" fmla="*/ 5783 w 16419"/>
                <a:gd name="T55" fmla="*/ 13367 h 16036"/>
                <a:gd name="T56" fmla="*/ 7945 w 16419"/>
                <a:gd name="T57" fmla="*/ 8277 h 16036"/>
                <a:gd name="T58" fmla="*/ 6342 w 16419"/>
                <a:gd name="T59" fmla="*/ 11582 h 16036"/>
                <a:gd name="T60" fmla="*/ 5136 w 16419"/>
                <a:gd name="T61" fmla="*/ 10650 h 16036"/>
                <a:gd name="T62" fmla="*/ 7945 w 16419"/>
                <a:gd name="T63" fmla="*/ 8277 h 16036"/>
                <a:gd name="T64" fmla="*/ 7024 w 16419"/>
                <a:gd name="T65" fmla="*/ 5084 h 16036"/>
                <a:gd name="T66" fmla="*/ 4843 w 16419"/>
                <a:gd name="T67" fmla="*/ 6857 h 16036"/>
                <a:gd name="T68" fmla="*/ 5321 w 16419"/>
                <a:gd name="T69" fmla="*/ 4784 h 16036"/>
                <a:gd name="T70" fmla="*/ 3667 w 16419"/>
                <a:gd name="T71" fmla="*/ 3305 h 16036"/>
                <a:gd name="T72" fmla="*/ 5215 w 16419"/>
                <a:gd name="T73" fmla="*/ 1684 h 16036"/>
                <a:gd name="T74" fmla="*/ 6448 w 16419"/>
                <a:gd name="T75" fmla="*/ 1771 h 16036"/>
                <a:gd name="T76" fmla="*/ 5148 w 16419"/>
                <a:gd name="T77" fmla="*/ 3833 h 16036"/>
                <a:gd name="T78" fmla="*/ 6569 w 16419"/>
                <a:gd name="T79" fmla="*/ 4486 h 16036"/>
                <a:gd name="T80" fmla="*/ 6014 w 16419"/>
                <a:gd name="T81" fmla="*/ 3301 h 16036"/>
                <a:gd name="T82" fmla="*/ 7732 w 16419"/>
                <a:gd name="T83" fmla="*/ 1205 h 16036"/>
                <a:gd name="T84" fmla="*/ 11565 w 16419"/>
                <a:gd name="T85" fmla="*/ 1859 h 16036"/>
                <a:gd name="T86" fmla="*/ 12421 w 16419"/>
                <a:gd name="T87" fmla="*/ 3513 h 16036"/>
                <a:gd name="T88" fmla="*/ 11123 w 16419"/>
                <a:gd name="T89" fmla="*/ 3527 h 16036"/>
                <a:gd name="T90" fmla="*/ 9758 w 16419"/>
                <a:gd name="T91" fmla="*/ 1525 h 16036"/>
                <a:gd name="T92" fmla="*/ 9852 w 16419"/>
                <a:gd name="T93" fmla="*/ 2463 h 16036"/>
                <a:gd name="T94" fmla="*/ 10437 w 16419"/>
                <a:gd name="T95" fmla="*/ 4348 h 16036"/>
                <a:gd name="T96" fmla="*/ 8786 w 16419"/>
                <a:gd name="T97" fmla="*/ 4626 h 16036"/>
                <a:gd name="T98" fmla="*/ 6848 w 16419"/>
                <a:gd name="T99" fmla="*/ 13930 h 16036"/>
                <a:gd name="T100" fmla="*/ 6020 w 16419"/>
                <a:gd name="T101" fmla="*/ 12187 h 16036"/>
                <a:gd name="T102" fmla="*/ 7521 w 16419"/>
                <a:gd name="T103" fmla="*/ 11934 h 16036"/>
                <a:gd name="T104" fmla="*/ 12063 w 16419"/>
                <a:gd name="T105" fmla="*/ 6494 h 16036"/>
                <a:gd name="T106" fmla="*/ 11695 w 16419"/>
                <a:gd name="T107" fmla="*/ 4461 h 16036"/>
                <a:gd name="T108" fmla="*/ 13078 w 16419"/>
                <a:gd name="T109" fmla="*/ 3710 h 16036"/>
                <a:gd name="T110" fmla="*/ 14700 w 16419"/>
                <a:gd name="T111" fmla="*/ 5106 h 16036"/>
                <a:gd name="T112" fmla="*/ 6960 w 16419"/>
                <a:gd name="T113" fmla="*/ 92 h 16036"/>
                <a:gd name="T114" fmla="*/ 498 w 16419"/>
                <a:gd name="T115" fmla="*/ 5261 h 16036"/>
                <a:gd name="T116" fmla="*/ 2132 w 16419"/>
                <a:gd name="T117" fmla="*/ 13409 h 16036"/>
                <a:gd name="T118" fmla="*/ 10261 w 16419"/>
                <a:gd name="T119" fmla="*/ 15783 h 16036"/>
                <a:gd name="T120" fmla="*/ 16160 w 16419"/>
                <a:gd name="T121" fmla="*/ 10021 h 16036"/>
                <a:gd name="T122" fmla="*/ 13729 w 16419"/>
                <a:gd name="T123" fmla="*/ 2083 h 160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419" h="16036">
                  <a:moveTo>
                    <a:pt x="13248" y="12967"/>
                  </a:moveTo>
                  <a:lnTo>
                    <a:pt x="13139" y="12892"/>
                  </a:lnTo>
                  <a:lnTo>
                    <a:pt x="13030" y="12819"/>
                  </a:lnTo>
                  <a:lnTo>
                    <a:pt x="12919" y="12748"/>
                  </a:lnTo>
                  <a:lnTo>
                    <a:pt x="12807" y="12676"/>
                  </a:lnTo>
                  <a:lnTo>
                    <a:pt x="12693" y="12608"/>
                  </a:lnTo>
                  <a:lnTo>
                    <a:pt x="12579" y="12541"/>
                  </a:lnTo>
                  <a:lnTo>
                    <a:pt x="12463" y="12476"/>
                  </a:lnTo>
                  <a:lnTo>
                    <a:pt x="12347" y="12413"/>
                  </a:lnTo>
                  <a:lnTo>
                    <a:pt x="12229" y="12351"/>
                  </a:lnTo>
                  <a:lnTo>
                    <a:pt x="12110" y="12291"/>
                  </a:lnTo>
                  <a:lnTo>
                    <a:pt x="12051" y="12261"/>
                  </a:lnTo>
                  <a:lnTo>
                    <a:pt x="11990" y="12231"/>
                  </a:lnTo>
                  <a:lnTo>
                    <a:pt x="11930" y="12203"/>
                  </a:lnTo>
                  <a:lnTo>
                    <a:pt x="11869" y="12175"/>
                  </a:lnTo>
                  <a:lnTo>
                    <a:pt x="11808" y="12147"/>
                  </a:lnTo>
                  <a:lnTo>
                    <a:pt x="11747" y="12120"/>
                  </a:lnTo>
                  <a:lnTo>
                    <a:pt x="11686" y="12094"/>
                  </a:lnTo>
                  <a:lnTo>
                    <a:pt x="11625" y="12068"/>
                  </a:lnTo>
                  <a:lnTo>
                    <a:pt x="11562" y="12042"/>
                  </a:lnTo>
                  <a:lnTo>
                    <a:pt x="11499" y="12017"/>
                  </a:lnTo>
                  <a:lnTo>
                    <a:pt x="11438" y="11992"/>
                  </a:lnTo>
                  <a:lnTo>
                    <a:pt x="11374" y="11968"/>
                  </a:lnTo>
                  <a:lnTo>
                    <a:pt x="11419" y="11863"/>
                  </a:lnTo>
                  <a:lnTo>
                    <a:pt x="11463" y="11756"/>
                  </a:lnTo>
                  <a:lnTo>
                    <a:pt x="11505" y="11649"/>
                  </a:lnTo>
                  <a:lnTo>
                    <a:pt x="11546" y="11541"/>
                  </a:lnTo>
                  <a:lnTo>
                    <a:pt x="11585" y="11433"/>
                  </a:lnTo>
                  <a:lnTo>
                    <a:pt x="11624" y="11323"/>
                  </a:lnTo>
                  <a:lnTo>
                    <a:pt x="11661" y="11214"/>
                  </a:lnTo>
                  <a:lnTo>
                    <a:pt x="11696" y="11104"/>
                  </a:lnTo>
                  <a:lnTo>
                    <a:pt x="11731" y="10993"/>
                  </a:lnTo>
                  <a:lnTo>
                    <a:pt x="11765" y="10880"/>
                  </a:lnTo>
                  <a:lnTo>
                    <a:pt x="11798" y="10768"/>
                  </a:lnTo>
                  <a:lnTo>
                    <a:pt x="11829" y="10655"/>
                  </a:lnTo>
                  <a:lnTo>
                    <a:pt x="11859" y="10542"/>
                  </a:lnTo>
                  <a:lnTo>
                    <a:pt x="11887" y="10427"/>
                  </a:lnTo>
                  <a:lnTo>
                    <a:pt x="11914" y="10312"/>
                  </a:lnTo>
                  <a:lnTo>
                    <a:pt x="11941" y="10197"/>
                  </a:lnTo>
                  <a:lnTo>
                    <a:pt x="11965" y="10081"/>
                  </a:lnTo>
                  <a:lnTo>
                    <a:pt x="11988" y="9964"/>
                  </a:lnTo>
                  <a:lnTo>
                    <a:pt x="12010" y="9847"/>
                  </a:lnTo>
                  <a:lnTo>
                    <a:pt x="12031" y="9729"/>
                  </a:lnTo>
                  <a:lnTo>
                    <a:pt x="12051" y="9611"/>
                  </a:lnTo>
                  <a:lnTo>
                    <a:pt x="12068" y="9492"/>
                  </a:lnTo>
                  <a:lnTo>
                    <a:pt x="12084" y="9373"/>
                  </a:lnTo>
                  <a:lnTo>
                    <a:pt x="12100" y="9253"/>
                  </a:lnTo>
                  <a:lnTo>
                    <a:pt x="12113" y="9133"/>
                  </a:lnTo>
                  <a:lnTo>
                    <a:pt x="12126" y="9011"/>
                  </a:lnTo>
                  <a:lnTo>
                    <a:pt x="12137" y="8890"/>
                  </a:lnTo>
                  <a:lnTo>
                    <a:pt x="12147" y="8769"/>
                  </a:lnTo>
                  <a:lnTo>
                    <a:pt x="12155" y="8646"/>
                  </a:lnTo>
                  <a:lnTo>
                    <a:pt x="12161" y="8523"/>
                  </a:lnTo>
                  <a:lnTo>
                    <a:pt x="12166" y="8400"/>
                  </a:lnTo>
                  <a:lnTo>
                    <a:pt x="12171" y="8277"/>
                  </a:lnTo>
                  <a:lnTo>
                    <a:pt x="15347" y="8277"/>
                  </a:lnTo>
                  <a:lnTo>
                    <a:pt x="15337" y="8448"/>
                  </a:lnTo>
                  <a:lnTo>
                    <a:pt x="15325" y="8617"/>
                  </a:lnTo>
                  <a:lnTo>
                    <a:pt x="15309" y="8786"/>
                  </a:lnTo>
                  <a:lnTo>
                    <a:pt x="15287" y="8954"/>
                  </a:lnTo>
                  <a:lnTo>
                    <a:pt x="15262" y="9119"/>
                  </a:lnTo>
                  <a:lnTo>
                    <a:pt x="15234" y="9285"/>
                  </a:lnTo>
                  <a:lnTo>
                    <a:pt x="15201" y="9449"/>
                  </a:lnTo>
                  <a:lnTo>
                    <a:pt x="15164" y="9612"/>
                  </a:lnTo>
                  <a:lnTo>
                    <a:pt x="15124" y="9772"/>
                  </a:lnTo>
                  <a:lnTo>
                    <a:pt x="15080" y="9931"/>
                  </a:lnTo>
                  <a:lnTo>
                    <a:pt x="15032" y="10090"/>
                  </a:lnTo>
                  <a:lnTo>
                    <a:pt x="14980" y="10246"/>
                  </a:lnTo>
                  <a:lnTo>
                    <a:pt x="14925" y="10400"/>
                  </a:lnTo>
                  <a:lnTo>
                    <a:pt x="14866" y="10554"/>
                  </a:lnTo>
                  <a:lnTo>
                    <a:pt x="14804" y="10705"/>
                  </a:lnTo>
                  <a:lnTo>
                    <a:pt x="14738" y="10854"/>
                  </a:lnTo>
                  <a:lnTo>
                    <a:pt x="14668" y="11002"/>
                  </a:lnTo>
                  <a:lnTo>
                    <a:pt x="14596" y="11148"/>
                  </a:lnTo>
                  <a:lnTo>
                    <a:pt x="14521" y="11292"/>
                  </a:lnTo>
                  <a:lnTo>
                    <a:pt x="14441" y="11434"/>
                  </a:lnTo>
                  <a:lnTo>
                    <a:pt x="14358" y="11574"/>
                  </a:lnTo>
                  <a:lnTo>
                    <a:pt x="14272" y="11712"/>
                  </a:lnTo>
                  <a:lnTo>
                    <a:pt x="14183" y="11848"/>
                  </a:lnTo>
                  <a:lnTo>
                    <a:pt x="14092" y="11981"/>
                  </a:lnTo>
                  <a:lnTo>
                    <a:pt x="13996" y="12113"/>
                  </a:lnTo>
                  <a:lnTo>
                    <a:pt x="13898" y="12241"/>
                  </a:lnTo>
                  <a:lnTo>
                    <a:pt x="13797" y="12369"/>
                  </a:lnTo>
                  <a:lnTo>
                    <a:pt x="13693" y="12493"/>
                  </a:lnTo>
                  <a:lnTo>
                    <a:pt x="13586" y="12615"/>
                  </a:lnTo>
                  <a:lnTo>
                    <a:pt x="13476" y="12735"/>
                  </a:lnTo>
                  <a:lnTo>
                    <a:pt x="13364" y="12852"/>
                  </a:lnTo>
                  <a:lnTo>
                    <a:pt x="13248" y="12967"/>
                  </a:lnTo>
                  <a:close/>
                  <a:moveTo>
                    <a:pt x="1073" y="8277"/>
                  </a:moveTo>
                  <a:lnTo>
                    <a:pt x="4248" y="8277"/>
                  </a:lnTo>
                  <a:lnTo>
                    <a:pt x="4253" y="8400"/>
                  </a:lnTo>
                  <a:lnTo>
                    <a:pt x="4258" y="8523"/>
                  </a:lnTo>
                  <a:lnTo>
                    <a:pt x="4265" y="8646"/>
                  </a:lnTo>
                  <a:lnTo>
                    <a:pt x="4273" y="8769"/>
                  </a:lnTo>
                  <a:lnTo>
                    <a:pt x="4282" y="8890"/>
                  </a:lnTo>
                  <a:lnTo>
                    <a:pt x="4294" y="9011"/>
                  </a:lnTo>
                  <a:lnTo>
                    <a:pt x="4306" y="9133"/>
                  </a:lnTo>
                  <a:lnTo>
                    <a:pt x="4319" y="9253"/>
                  </a:lnTo>
                  <a:lnTo>
                    <a:pt x="4335" y="9373"/>
                  </a:lnTo>
                  <a:lnTo>
                    <a:pt x="4351" y="9492"/>
                  </a:lnTo>
                  <a:lnTo>
                    <a:pt x="4370" y="9611"/>
                  </a:lnTo>
                  <a:lnTo>
                    <a:pt x="4388" y="9729"/>
                  </a:lnTo>
                  <a:lnTo>
                    <a:pt x="4410" y="9847"/>
                  </a:lnTo>
                  <a:lnTo>
                    <a:pt x="4431" y="9964"/>
                  </a:lnTo>
                  <a:lnTo>
                    <a:pt x="4455" y="10081"/>
                  </a:lnTo>
                  <a:lnTo>
                    <a:pt x="4479" y="10197"/>
                  </a:lnTo>
                  <a:lnTo>
                    <a:pt x="4505" y="10312"/>
                  </a:lnTo>
                  <a:lnTo>
                    <a:pt x="4533" y="10427"/>
                  </a:lnTo>
                  <a:lnTo>
                    <a:pt x="4560" y="10542"/>
                  </a:lnTo>
                  <a:lnTo>
                    <a:pt x="4590" y="10655"/>
                  </a:lnTo>
                  <a:lnTo>
                    <a:pt x="4622" y="10768"/>
                  </a:lnTo>
                  <a:lnTo>
                    <a:pt x="4654" y="10880"/>
                  </a:lnTo>
                  <a:lnTo>
                    <a:pt x="4688" y="10993"/>
                  </a:lnTo>
                  <a:lnTo>
                    <a:pt x="4723" y="11104"/>
                  </a:lnTo>
                  <a:lnTo>
                    <a:pt x="4758" y="11214"/>
                  </a:lnTo>
                  <a:lnTo>
                    <a:pt x="4795" y="11323"/>
                  </a:lnTo>
                  <a:lnTo>
                    <a:pt x="4834" y="11433"/>
                  </a:lnTo>
                  <a:lnTo>
                    <a:pt x="4874" y="11541"/>
                  </a:lnTo>
                  <a:lnTo>
                    <a:pt x="4915" y="11649"/>
                  </a:lnTo>
                  <a:lnTo>
                    <a:pt x="4958" y="11756"/>
                  </a:lnTo>
                  <a:lnTo>
                    <a:pt x="5001" y="11863"/>
                  </a:lnTo>
                  <a:lnTo>
                    <a:pt x="5045" y="11968"/>
                  </a:lnTo>
                  <a:lnTo>
                    <a:pt x="4982" y="11992"/>
                  </a:lnTo>
                  <a:lnTo>
                    <a:pt x="4920" y="12017"/>
                  </a:lnTo>
                  <a:lnTo>
                    <a:pt x="4857" y="12042"/>
                  </a:lnTo>
                  <a:lnTo>
                    <a:pt x="4795" y="12068"/>
                  </a:lnTo>
                  <a:lnTo>
                    <a:pt x="4734" y="12094"/>
                  </a:lnTo>
                  <a:lnTo>
                    <a:pt x="4672" y="12120"/>
                  </a:lnTo>
                  <a:lnTo>
                    <a:pt x="4611" y="12147"/>
                  </a:lnTo>
                  <a:lnTo>
                    <a:pt x="4550" y="12175"/>
                  </a:lnTo>
                  <a:lnTo>
                    <a:pt x="4490" y="12203"/>
                  </a:lnTo>
                  <a:lnTo>
                    <a:pt x="4429" y="12231"/>
                  </a:lnTo>
                  <a:lnTo>
                    <a:pt x="4370" y="12261"/>
                  </a:lnTo>
                  <a:lnTo>
                    <a:pt x="4309" y="12291"/>
                  </a:lnTo>
                  <a:lnTo>
                    <a:pt x="4191" y="12351"/>
                  </a:lnTo>
                  <a:lnTo>
                    <a:pt x="4073" y="12413"/>
                  </a:lnTo>
                  <a:lnTo>
                    <a:pt x="3956" y="12476"/>
                  </a:lnTo>
                  <a:lnTo>
                    <a:pt x="3841" y="12541"/>
                  </a:lnTo>
                  <a:lnTo>
                    <a:pt x="3726" y="12608"/>
                  </a:lnTo>
                  <a:lnTo>
                    <a:pt x="3613" y="12676"/>
                  </a:lnTo>
                  <a:lnTo>
                    <a:pt x="3501" y="12748"/>
                  </a:lnTo>
                  <a:lnTo>
                    <a:pt x="3389" y="12819"/>
                  </a:lnTo>
                  <a:lnTo>
                    <a:pt x="3280" y="12892"/>
                  </a:lnTo>
                  <a:lnTo>
                    <a:pt x="3171" y="12967"/>
                  </a:lnTo>
                  <a:lnTo>
                    <a:pt x="3056" y="12852"/>
                  </a:lnTo>
                  <a:lnTo>
                    <a:pt x="2943" y="12735"/>
                  </a:lnTo>
                  <a:lnTo>
                    <a:pt x="2833" y="12615"/>
                  </a:lnTo>
                  <a:lnTo>
                    <a:pt x="2727" y="12493"/>
                  </a:lnTo>
                  <a:lnTo>
                    <a:pt x="2623" y="12369"/>
                  </a:lnTo>
                  <a:lnTo>
                    <a:pt x="2521" y="12241"/>
                  </a:lnTo>
                  <a:lnTo>
                    <a:pt x="2423" y="12113"/>
                  </a:lnTo>
                  <a:lnTo>
                    <a:pt x="2328" y="11981"/>
                  </a:lnTo>
                  <a:lnTo>
                    <a:pt x="2236" y="11848"/>
                  </a:lnTo>
                  <a:lnTo>
                    <a:pt x="2147" y="11712"/>
                  </a:lnTo>
                  <a:lnTo>
                    <a:pt x="2062" y="11574"/>
                  </a:lnTo>
                  <a:lnTo>
                    <a:pt x="1978" y="11434"/>
                  </a:lnTo>
                  <a:lnTo>
                    <a:pt x="1899" y="11292"/>
                  </a:lnTo>
                  <a:lnTo>
                    <a:pt x="1824" y="11148"/>
                  </a:lnTo>
                  <a:lnTo>
                    <a:pt x="1751" y="11002"/>
                  </a:lnTo>
                  <a:lnTo>
                    <a:pt x="1682" y="10854"/>
                  </a:lnTo>
                  <a:lnTo>
                    <a:pt x="1615" y="10705"/>
                  </a:lnTo>
                  <a:lnTo>
                    <a:pt x="1554" y="10554"/>
                  </a:lnTo>
                  <a:lnTo>
                    <a:pt x="1494" y="10400"/>
                  </a:lnTo>
                  <a:lnTo>
                    <a:pt x="1440" y="10246"/>
                  </a:lnTo>
                  <a:lnTo>
                    <a:pt x="1387" y="10090"/>
                  </a:lnTo>
                  <a:lnTo>
                    <a:pt x="1340" y="9931"/>
                  </a:lnTo>
                  <a:lnTo>
                    <a:pt x="1296" y="9772"/>
                  </a:lnTo>
                  <a:lnTo>
                    <a:pt x="1255" y="9612"/>
                  </a:lnTo>
                  <a:lnTo>
                    <a:pt x="1219" y="9449"/>
                  </a:lnTo>
                  <a:lnTo>
                    <a:pt x="1186" y="9285"/>
                  </a:lnTo>
                  <a:lnTo>
                    <a:pt x="1158" y="9119"/>
                  </a:lnTo>
                  <a:lnTo>
                    <a:pt x="1132" y="8954"/>
                  </a:lnTo>
                  <a:lnTo>
                    <a:pt x="1111" y="8786"/>
                  </a:lnTo>
                  <a:lnTo>
                    <a:pt x="1095" y="8617"/>
                  </a:lnTo>
                  <a:lnTo>
                    <a:pt x="1082" y="8448"/>
                  </a:lnTo>
                  <a:lnTo>
                    <a:pt x="1073" y="8277"/>
                  </a:lnTo>
                  <a:close/>
                  <a:moveTo>
                    <a:pt x="2878" y="3381"/>
                  </a:moveTo>
                  <a:lnTo>
                    <a:pt x="2935" y="3423"/>
                  </a:lnTo>
                  <a:lnTo>
                    <a:pt x="2992" y="3466"/>
                  </a:lnTo>
                  <a:lnTo>
                    <a:pt x="3050" y="3507"/>
                  </a:lnTo>
                  <a:lnTo>
                    <a:pt x="3107" y="3549"/>
                  </a:lnTo>
                  <a:lnTo>
                    <a:pt x="3165" y="3590"/>
                  </a:lnTo>
                  <a:lnTo>
                    <a:pt x="3223" y="3630"/>
                  </a:lnTo>
                  <a:lnTo>
                    <a:pt x="3282" y="3670"/>
                  </a:lnTo>
                  <a:lnTo>
                    <a:pt x="3341" y="3710"/>
                  </a:lnTo>
                  <a:lnTo>
                    <a:pt x="3401" y="3749"/>
                  </a:lnTo>
                  <a:lnTo>
                    <a:pt x="3460" y="3789"/>
                  </a:lnTo>
                  <a:lnTo>
                    <a:pt x="3521" y="3827"/>
                  </a:lnTo>
                  <a:lnTo>
                    <a:pt x="3581" y="3865"/>
                  </a:lnTo>
                  <a:lnTo>
                    <a:pt x="3642" y="3902"/>
                  </a:lnTo>
                  <a:lnTo>
                    <a:pt x="3702" y="3939"/>
                  </a:lnTo>
                  <a:lnTo>
                    <a:pt x="3764" y="3975"/>
                  </a:lnTo>
                  <a:lnTo>
                    <a:pt x="3826" y="4011"/>
                  </a:lnTo>
                  <a:lnTo>
                    <a:pt x="3887" y="4046"/>
                  </a:lnTo>
                  <a:lnTo>
                    <a:pt x="3950" y="4081"/>
                  </a:lnTo>
                  <a:lnTo>
                    <a:pt x="4012" y="4116"/>
                  </a:lnTo>
                  <a:lnTo>
                    <a:pt x="4076" y="4150"/>
                  </a:lnTo>
                  <a:lnTo>
                    <a:pt x="4139" y="4183"/>
                  </a:lnTo>
                  <a:lnTo>
                    <a:pt x="4202" y="4216"/>
                  </a:lnTo>
                  <a:lnTo>
                    <a:pt x="4267" y="4249"/>
                  </a:lnTo>
                  <a:lnTo>
                    <a:pt x="4331" y="4281"/>
                  </a:lnTo>
                  <a:lnTo>
                    <a:pt x="4395" y="4312"/>
                  </a:lnTo>
                  <a:lnTo>
                    <a:pt x="4461" y="4343"/>
                  </a:lnTo>
                  <a:lnTo>
                    <a:pt x="4525" y="4374"/>
                  </a:lnTo>
                  <a:lnTo>
                    <a:pt x="4591" y="4403"/>
                  </a:lnTo>
                  <a:lnTo>
                    <a:pt x="4657" y="4432"/>
                  </a:lnTo>
                  <a:lnTo>
                    <a:pt x="4724" y="4461"/>
                  </a:lnTo>
                  <a:lnTo>
                    <a:pt x="4789" y="4489"/>
                  </a:lnTo>
                  <a:lnTo>
                    <a:pt x="4856" y="4517"/>
                  </a:lnTo>
                  <a:lnTo>
                    <a:pt x="4822" y="4611"/>
                  </a:lnTo>
                  <a:lnTo>
                    <a:pt x="4789" y="4706"/>
                  </a:lnTo>
                  <a:lnTo>
                    <a:pt x="4756" y="4801"/>
                  </a:lnTo>
                  <a:lnTo>
                    <a:pt x="4726" y="4897"/>
                  </a:lnTo>
                  <a:lnTo>
                    <a:pt x="4695" y="4993"/>
                  </a:lnTo>
                  <a:lnTo>
                    <a:pt x="4665" y="5090"/>
                  </a:lnTo>
                  <a:lnTo>
                    <a:pt x="4637" y="5188"/>
                  </a:lnTo>
                  <a:lnTo>
                    <a:pt x="4610" y="5285"/>
                  </a:lnTo>
                  <a:lnTo>
                    <a:pt x="4583" y="5383"/>
                  </a:lnTo>
                  <a:lnTo>
                    <a:pt x="4557" y="5482"/>
                  </a:lnTo>
                  <a:lnTo>
                    <a:pt x="4533" y="5582"/>
                  </a:lnTo>
                  <a:lnTo>
                    <a:pt x="4509" y="5681"/>
                  </a:lnTo>
                  <a:lnTo>
                    <a:pt x="4486" y="5781"/>
                  </a:lnTo>
                  <a:lnTo>
                    <a:pt x="4465" y="5881"/>
                  </a:lnTo>
                  <a:lnTo>
                    <a:pt x="4444" y="5982"/>
                  </a:lnTo>
                  <a:lnTo>
                    <a:pt x="4425" y="6084"/>
                  </a:lnTo>
                  <a:lnTo>
                    <a:pt x="4406" y="6186"/>
                  </a:lnTo>
                  <a:lnTo>
                    <a:pt x="4388" y="6288"/>
                  </a:lnTo>
                  <a:lnTo>
                    <a:pt x="4372" y="6391"/>
                  </a:lnTo>
                  <a:lnTo>
                    <a:pt x="4356" y="6494"/>
                  </a:lnTo>
                  <a:lnTo>
                    <a:pt x="4342" y="6598"/>
                  </a:lnTo>
                  <a:lnTo>
                    <a:pt x="4328" y="6701"/>
                  </a:lnTo>
                  <a:lnTo>
                    <a:pt x="4315" y="6805"/>
                  </a:lnTo>
                  <a:lnTo>
                    <a:pt x="4304" y="6911"/>
                  </a:lnTo>
                  <a:lnTo>
                    <a:pt x="4294" y="7015"/>
                  </a:lnTo>
                  <a:lnTo>
                    <a:pt x="4284" y="7120"/>
                  </a:lnTo>
                  <a:lnTo>
                    <a:pt x="4275" y="7226"/>
                  </a:lnTo>
                  <a:lnTo>
                    <a:pt x="4268" y="7332"/>
                  </a:lnTo>
                  <a:lnTo>
                    <a:pt x="4262" y="7439"/>
                  </a:lnTo>
                  <a:lnTo>
                    <a:pt x="4257" y="7545"/>
                  </a:lnTo>
                  <a:lnTo>
                    <a:pt x="4253" y="7652"/>
                  </a:lnTo>
                  <a:lnTo>
                    <a:pt x="4248" y="7759"/>
                  </a:lnTo>
                  <a:lnTo>
                    <a:pt x="1073" y="7759"/>
                  </a:lnTo>
                  <a:lnTo>
                    <a:pt x="1081" y="7602"/>
                  </a:lnTo>
                  <a:lnTo>
                    <a:pt x="1092" y="7446"/>
                  </a:lnTo>
                  <a:lnTo>
                    <a:pt x="1107" y="7291"/>
                  </a:lnTo>
                  <a:lnTo>
                    <a:pt x="1125" y="7137"/>
                  </a:lnTo>
                  <a:lnTo>
                    <a:pt x="1146" y="6984"/>
                  </a:lnTo>
                  <a:lnTo>
                    <a:pt x="1171" y="6832"/>
                  </a:lnTo>
                  <a:lnTo>
                    <a:pt x="1200" y="6681"/>
                  </a:lnTo>
                  <a:lnTo>
                    <a:pt x="1231" y="6532"/>
                  </a:lnTo>
                  <a:lnTo>
                    <a:pt x="1265" y="6383"/>
                  </a:lnTo>
                  <a:lnTo>
                    <a:pt x="1304" y="6236"/>
                  </a:lnTo>
                  <a:lnTo>
                    <a:pt x="1345" y="6090"/>
                  </a:lnTo>
                  <a:lnTo>
                    <a:pt x="1389" y="5945"/>
                  </a:lnTo>
                  <a:lnTo>
                    <a:pt x="1437" y="5802"/>
                  </a:lnTo>
                  <a:lnTo>
                    <a:pt x="1487" y="5660"/>
                  </a:lnTo>
                  <a:lnTo>
                    <a:pt x="1540" y="5519"/>
                  </a:lnTo>
                  <a:lnTo>
                    <a:pt x="1597" y="5380"/>
                  </a:lnTo>
                  <a:lnTo>
                    <a:pt x="1656" y="5243"/>
                  </a:lnTo>
                  <a:lnTo>
                    <a:pt x="1719" y="5106"/>
                  </a:lnTo>
                  <a:lnTo>
                    <a:pt x="1785" y="4972"/>
                  </a:lnTo>
                  <a:lnTo>
                    <a:pt x="1852" y="4839"/>
                  </a:lnTo>
                  <a:lnTo>
                    <a:pt x="1923" y="4708"/>
                  </a:lnTo>
                  <a:lnTo>
                    <a:pt x="1997" y="4578"/>
                  </a:lnTo>
                  <a:lnTo>
                    <a:pt x="2074" y="4450"/>
                  </a:lnTo>
                  <a:lnTo>
                    <a:pt x="2153" y="4324"/>
                  </a:lnTo>
                  <a:lnTo>
                    <a:pt x="2234" y="4199"/>
                  </a:lnTo>
                  <a:lnTo>
                    <a:pt x="2319" y="4076"/>
                  </a:lnTo>
                  <a:lnTo>
                    <a:pt x="2405" y="3956"/>
                  </a:lnTo>
                  <a:lnTo>
                    <a:pt x="2496" y="3837"/>
                  </a:lnTo>
                  <a:lnTo>
                    <a:pt x="2587" y="3719"/>
                  </a:lnTo>
                  <a:lnTo>
                    <a:pt x="2681" y="3605"/>
                  </a:lnTo>
                  <a:lnTo>
                    <a:pt x="2779" y="3492"/>
                  </a:lnTo>
                  <a:lnTo>
                    <a:pt x="2878" y="3381"/>
                  </a:lnTo>
                  <a:close/>
                  <a:moveTo>
                    <a:pt x="8474" y="7759"/>
                  </a:moveTo>
                  <a:lnTo>
                    <a:pt x="8474" y="5160"/>
                  </a:lnTo>
                  <a:lnTo>
                    <a:pt x="8559" y="5157"/>
                  </a:lnTo>
                  <a:lnTo>
                    <a:pt x="8644" y="5153"/>
                  </a:lnTo>
                  <a:lnTo>
                    <a:pt x="8728" y="5149"/>
                  </a:lnTo>
                  <a:lnTo>
                    <a:pt x="8812" y="5143"/>
                  </a:lnTo>
                  <a:lnTo>
                    <a:pt x="8896" y="5137"/>
                  </a:lnTo>
                  <a:lnTo>
                    <a:pt x="8980" y="5131"/>
                  </a:lnTo>
                  <a:lnTo>
                    <a:pt x="9063" y="5122"/>
                  </a:lnTo>
                  <a:lnTo>
                    <a:pt x="9146" y="5114"/>
                  </a:lnTo>
                  <a:lnTo>
                    <a:pt x="9230" y="5105"/>
                  </a:lnTo>
                  <a:lnTo>
                    <a:pt x="9313" y="5095"/>
                  </a:lnTo>
                  <a:lnTo>
                    <a:pt x="9395" y="5084"/>
                  </a:lnTo>
                  <a:lnTo>
                    <a:pt x="9477" y="5073"/>
                  </a:lnTo>
                  <a:lnTo>
                    <a:pt x="9559" y="5061"/>
                  </a:lnTo>
                  <a:lnTo>
                    <a:pt x="9641" y="5048"/>
                  </a:lnTo>
                  <a:lnTo>
                    <a:pt x="9723" y="5035"/>
                  </a:lnTo>
                  <a:lnTo>
                    <a:pt x="9804" y="5020"/>
                  </a:lnTo>
                  <a:lnTo>
                    <a:pt x="9885" y="5005"/>
                  </a:lnTo>
                  <a:lnTo>
                    <a:pt x="9965" y="4990"/>
                  </a:lnTo>
                  <a:lnTo>
                    <a:pt x="10046" y="4973"/>
                  </a:lnTo>
                  <a:lnTo>
                    <a:pt x="10126" y="4956"/>
                  </a:lnTo>
                  <a:lnTo>
                    <a:pt x="10206" y="4938"/>
                  </a:lnTo>
                  <a:lnTo>
                    <a:pt x="10287" y="4920"/>
                  </a:lnTo>
                  <a:lnTo>
                    <a:pt x="10366" y="4900"/>
                  </a:lnTo>
                  <a:lnTo>
                    <a:pt x="10445" y="4880"/>
                  </a:lnTo>
                  <a:lnTo>
                    <a:pt x="10524" y="4860"/>
                  </a:lnTo>
                  <a:lnTo>
                    <a:pt x="10602" y="4838"/>
                  </a:lnTo>
                  <a:lnTo>
                    <a:pt x="10681" y="4816"/>
                  </a:lnTo>
                  <a:lnTo>
                    <a:pt x="10759" y="4793"/>
                  </a:lnTo>
                  <a:lnTo>
                    <a:pt x="10836" y="4770"/>
                  </a:lnTo>
                  <a:lnTo>
                    <a:pt x="10914" y="4746"/>
                  </a:lnTo>
                  <a:lnTo>
                    <a:pt x="10990" y="4721"/>
                  </a:lnTo>
                  <a:lnTo>
                    <a:pt x="11066" y="4695"/>
                  </a:lnTo>
                  <a:lnTo>
                    <a:pt x="11099" y="4784"/>
                  </a:lnTo>
                  <a:lnTo>
                    <a:pt x="11130" y="4873"/>
                  </a:lnTo>
                  <a:lnTo>
                    <a:pt x="11161" y="4963"/>
                  </a:lnTo>
                  <a:lnTo>
                    <a:pt x="11191" y="5053"/>
                  </a:lnTo>
                  <a:lnTo>
                    <a:pt x="11219" y="5145"/>
                  </a:lnTo>
                  <a:lnTo>
                    <a:pt x="11247" y="5236"/>
                  </a:lnTo>
                  <a:lnTo>
                    <a:pt x="11274" y="5328"/>
                  </a:lnTo>
                  <a:lnTo>
                    <a:pt x="11299" y="5420"/>
                  </a:lnTo>
                  <a:lnTo>
                    <a:pt x="11325" y="5513"/>
                  </a:lnTo>
                  <a:lnTo>
                    <a:pt x="11349" y="5607"/>
                  </a:lnTo>
                  <a:lnTo>
                    <a:pt x="11372" y="5701"/>
                  </a:lnTo>
                  <a:lnTo>
                    <a:pt x="11395" y="5795"/>
                  </a:lnTo>
                  <a:lnTo>
                    <a:pt x="11415" y="5889"/>
                  </a:lnTo>
                  <a:lnTo>
                    <a:pt x="11436" y="5984"/>
                  </a:lnTo>
                  <a:lnTo>
                    <a:pt x="11455" y="6080"/>
                  </a:lnTo>
                  <a:lnTo>
                    <a:pt x="11474" y="6176"/>
                  </a:lnTo>
                  <a:lnTo>
                    <a:pt x="11491" y="6272"/>
                  </a:lnTo>
                  <a:lnTo>
                    <a:pt x="11509" y="6368"/>
                  </a:lnTo>
                  <a:lnTo>
                    <a:pt x="11524" y="6466"/>
                  </a:lnTo>
                  <a:lnTo>
                    <a:pt x="11538" y="6563"/>
                  </a:lnTo>
                  <a:lnTo>
                    <a:pt x="11553" y="6661"/>
                  </a:lnTo>
                  <a:lnTo>
                    <a:pt x="11565" y="6759"/>
                  </a:lnTo>
                  <a:lnTo>
                    <a:pt x="11577" y="6857"/>
                  </a:lnTo>
                  <a:lnTo>
                    <a:pt x="11589" y="6957"/>
                  </a:lnTo>
                  <a:lnTo>
                    <a:pt x="11598" y="7056"/>
                  </a:lnTo>
                  <a:lnTo>
                    <a:pt x="11607" y="7155"/>
                  </a:lnTo>
                  <a:lnTo>
                    <a:pt x="11615" y="7255"/>
                  </a:lnTo>
                  <a:lnTo>
                    <a:pt x="11623" y="7356"/>
                  </a:lnTo>
                  <a:lnTo>
                    <a:pt x="11629" y="7456"/>
                  </a:lnTo>
                  <a:lnTo>
                    <a:pt x="11634" y="7557"/>
                  </a:lnTo>
                  <a:lnTo>
                    <a:pt x="11638" y="7658"/>
                  </a:lnTo>
                  <a:lnTo>
                    <a:pt x="11641" y="7759"/>
                  </a:lnTo>
                  <a:lnTo>
                    <a:pt x="8474" y="7759"/>
                  </a:lnTo>
                  <a:close/>
                  <a:moveTo>
                    <a:pt x="10879" y="11791"/>
                  </a:moveTo>
                  <a:lnTo>
                    <a:pt x="10807" y="11768"/>
                  </a:lnTo>
                  <a:lnTo>
                    <a:pt x="10735" y="11747"/>
                  </a:lnTo>
                  <a:lnTo>
                    <a:pt x="10663" y="11726"/>
                  </a:lnTo>
                  <a:lnTo>
                    <a:pt x="10590" y="11706"/>
                  </a:lnTo>
                  <a:lnTo>
                    <a:pt x="10518" y="11686"/>
                  </a:lnTo>
                  <a:lnTo>
                    <a:pt x="10446" y="11667"/>
                  </a:lnTo>
                  <a:lnTo>
                    <a:pt x="10373" y="11649"/>
                  </a:lnTo>
                  <a:lnTo>
                    <a:pt x="10299" y="11631"/>
                  </a:lnTo>
                  <a:lnTo>
                    <a:pt x="10226" y="11614"/>
                  </a:lnTo>
                  <a:lnTo>
                    <a:pt x="10152" y="11598"/>
                  </a:lnTo>
                  <a:lnTo>
                    <a:pt x="10078" y="11582"/>
                  </a:lnTo>
                  <a:lnTo>
                    <a:pt x="10003" y="11566"/>
                  </a:lnTo>
                  <a:lnTo>
                    <a:pt x="9929" y="11552"/>
                  </a:lnTo>
                  <a:lnTo>
                    <a:pt x="9854" y="11538"/>
                  </a:lnTo>
                  <a:lnTo>
                    <a:pt x="9780" y="11525"/>
                  </a:lnTo>
                  <a:lnTo>
                    <a:pt x="9704" y="11512"/>
                  </a:lnTo>
                  <a:lnTo>
                    <a:pt x="9629" y="11500"/>
                  </a:lnTo>
                  <a:lnTo>
                    <a:pt x="9553" y="11488"/>
                  </a:lnTo>
                  <a:lnTo>
                    <a:pt x="9477" y="11477"/>
                  </a:lnTo>
                  <a:lnTo>
                    <a:pt x="9401" y="11467"/>
                  </a:lnTo>
                  <a:lnTo>
                    <a:pt x="9325" y="11458"/>
                  </a:lnTo>
                  <a:lnTo>
                    <a:pt x="9249" y="11449"/>
                  </a:lnTo>
                  <a:lnTo>
                    <a:pt x="9172" y="11440"/>
                  </a:lnTo>
                  <a:lnTo>
                    <a:pt x="9095" y="11433"/>
                  </a:lnTo>
                  <a:lnTo>
                    <a:pt x="9018" y="11425"/>
                  </a:lnTo>
                  <a:lnTo>
                    <a:pt x="8941" y="11419"/>
                  </a:lnTo>
                  <a:lnTo>
                    <a:pt x="8864" y="11413"/>
                  </a:lnTo>
                  <a:lnTo>
                    <a:pt x="8786" y="11408"/>
                  </a:lnTo>
                  <a:lnTo>
                    <a:pt x="8708" y="11404"/>
                  </a:lnTo>
                  <a:lnTo>
                    <a:pt x="8630" y="11400"/>
                  </a:lnTo>
                  <a:lnTo>
                    <a:pt x="8552" y="11396"/>
                  </a:lnTo>
                  <a:lnTo>
                    <a:pt x="8474" y="11394"/>
                  </a:lnTo>
                  <a:lnTo>
                    <a:pt x="8474" y="8277"/>
                  </a:lnTo>
                  <a:lnTo>
                    <a:pt x="11641" y="8277"/>
                  </a:lnTo>
                  <a:lnTo>
                    <a:pt x="11637" y="8394"/>
                  </a:lnTo>
                  <a:lnTo>
                    <a:pt x="11632" y="8512"/>
                  </a:lnTo>
                  <a:lnTo>
                    <a:pt x="11626" y="8628"/>
                  </a:lnTo>
                  <a:lnTo>
                    <a:pt x="11617" y="8746"/>
                  </a:lnTo>
                  <a:lnTo>
                    <a:pt x="11608" y="8862"/>
                  </a:lnTo>
                  <a:lnTo>
                    <a:pt x="11598" y="8977"/>
                  </a:lnTo>
                  <a:lnTo>
                    <a:pt x="11586" y="9092"/>
                  </a:lnTo>
                  <a:lnTo>
                    <a:pt x="11572" y="9207"/>
                  </a:lnTo>
                  <a:lnTo>
                    <a:pt x="11558" y="9321"/>
                  </a:lnTo>
                  <a:lnTo>
                    <a:pt x="11542" y="9435"/>
                  </a:lnTo>
                  <a:lnTo>
                    <a:pt x="11525" y="9548"/>
                  </a:lnTo>
                  <a:lnTo>
                    <a:pt x="11506" y="9661"/>
                  </a:lnTo>
                  <a:lnTo>
                    <a:pt x="11486" y="9773"/>
                  </a:lnTo>
                  <a:lnTo>
                    <a:pt x="11466" y="9884"/>
                  </a:lnTo>
                  <a:lnTo>
                    <a:pt x="11443" y="9995"/>
                  </a:lnTo>
                  <a:lnTo>
                    <a:pt x="11419" y="10106"/>
                  </a:lnTo>
                  <a:lnTo>
                    <a:pt x="11395" y="10216"/>
                  </a:lnTo>
                  <a:lnTo>
                    <a:pt x="11368" y="10325"/>
                  </a:lnTo>
                  <a:lnTo>
                    <a:pt x="11341" y="10434"/>
                  </a:lnTo>
                  <a:lnTo>
                    <a:pt x="11313" y="10543"/>
                  </a:lnTo>
                  <a:lnTo>
                    <a:pt x="11283" y="10650"/>
                  </a:lnTo>
                  <a:lnTo>
                    <a:pt x="11252" y="10757"/>
                  </a:lnTo>
                  <a:lnTo>
                    <a:pt x="11220" y="10863"/>
                  </a:lnTo>
                  <a:lnTo>
                    <a:pt x="11186" y="10969"/>
                  </a:lnTo>
                  <a:lnTo>
                    <a:pt x="11152" y="11074"/>
                  </a:lnTo>
                  <a:lnTo>
                    <a:pt x="11117" y="11178"/>
                  </a:lnTo>
                  <a:lnTo>
                    <a:pt x="11080" y="11282"/>
                  </a:lnTo>
                  <a:lnTo>
                    <a:pt x="11042" y="11386"/>
                  </a:lnTo>
                  <a:lnTo>
                    <a:pt x="11003" y="11488"/>
                  </a:lnTo>
                  <a:lnTo>
                    <a:pt x="10962" y="11590"/>
                  </a:lnTo>
                  <a:lnTo>
                    <a:pt x="10921" y="11690"/>
                  </a:lnTo>
                  <a:lnTo>
                    <a:pt x="10879" y="11791"/>
                  </a:lnTo>
                  <a:close/>
                  <a:moveTo>
                    <a:pt x="11162" y="12440"/>
                  </a:moveTo>
                  <a:lnTo>
                    <a:pt x="11275" y="12484"/>
                  </a:lnTo>
                  <a:lnTo>
                    <a:pt x="11387" y="12529"/>
                  </a:lnTo>
                  <a:lnTo>
                    <a:pt x="11497" y="12575"/>
                  </a:lnTo>
                  <a:lnTo>
                    <a:pt x="11606" y="12624"/>
                  </a:lnTo>
                  <a:lnTo>
                    <a:pt x="11715" y="12674"/>
                  </a:lnTo>
                  <a:lnTo>
                    <a:pt x="11824" y="12726"/>
                  </a:lnTo>
                  <a:lnTo>
                    <a:pt x="11930" y="12779"/>
                  </a:lnTo>
                  <a:lnTo>
                    <a:pt x="12036" y="12833"/>
                  </a:lnTo>
                  <a:lnTo>
                    <a:pt x="12142" y="12889"/>
                  </a:lnTo>
                  <a:lnTo>
                    <a:pt x="12245" y="12946"/>
                  </a:lnTo>
                  <a:lnTo>
                    <a:pt x="12349" y="13005"/>
                  </a:lnTo>
                  <a:lnTo>
                    <a:pt x="12451" y="13065"/>
                  </a:lnTo>
                  <a:lnTo>
                    <a:pt x="12552" y="13127"/>
                  </a:lnTo>
                  <a:lnTo>
                    <a:pt x="12653" y="13191"/>
                  </a:lnTo>
                  <a:lnTo>
                    <a:pt x="12751" y="13255"/>
                  </a:lnTo>
                  <a:lnTo>
                    <a:pt x="12850" y="13320"/>
                  </a:lnTo>
                  <a:lnTo>
                    <a:pt x="12759" y="13395"/>
                  </a:lnTo>
                  <a:lnTo>
                    <a:pt x="12666" y="13469"/>
                  </a:lnTo>
                  <a:lnTo>
                    <a:pt x="12573" y="13540"/>
                  </a:lnTo>
                  <a:lnTo>
                    <a:pt x="12477" y="13612"/>
                  </a:lnTo>
                  <a:lnTo>
                    <a:pt x="12381" y="13681"/>
                  </a:lnTo>
                  <a:lnTo>
                    <a:pt x="12283" y="13748"/>
                  </a:lnTo>
                  <a:lnTo>
                    <a:pt x="12185" y="13814"/>
                  </a:lnTo>
                  <a:lnTo>
                    <a:pt x="12084" y="13878"/>
                  </a:lnTo>
                  <a:lnTo>
                    <a:pt x="11984" y="13940"/>
                  </a:lnTo>
                  <a:lnTo>
                    <a:pt x="11881" y="14001"/>
                  </a:lnTo>
                  <a:lnTo>
                    <a:pt x="11779" y="14062"/>
                  </a:lnTo>
                  <a:lnTo>
                    <a:pt x="11674" y="14119"/>
                  </a:lnTo>
                  <a:lnTo>
                    <a:pt x="11568" y="14175"/>
                  </a:lnTo>
                  <a:lnTo>
                    <a:pt x="11461" y="14229"/>
                  </a:lnTo>
                  <a:lnTo>
                    <a:pt x="11354" y="14282"/>
                  </a:lnTo>
                  <a:lnTo>
                    <a:pt x="11245" y="14333"/>
                  </a:lnTo>
                  <a:lnTo>
                    <a:pt x="11136" y="14382"/>
                  </a:lnTo>
                  <a:lnTo>
                    <a:pt x="11025" y="14429"/>
                  </a:lnTo>
                  <a:lnTo>
                    <a:pt x="10914" y="14475"/>
                  </a:lnTo>
                  <a:lnTo>
                    <a:pt x="10802" y="14519"/>
                  </a:lnTo>
                  <a:lnTo>
                    <a:pt x="10688" y="14561"/>
                  </a:lnTo>
                  <a:lnTo>
                    <a:pt x="10573" y="14601"/>
                  </a:lnTo>
                  <a:lnTo>
                    <a:pt x="10458" y="14639"/>
                  </a:lnTo>
                  <a:lnTo>
                    <a:pt x="10342" y="14676"/>
                  </a:lnTo>
                  <a:lnTo>
                    <a:pt x="10225" y="14710"/>
                  </a:lnTo>
                  <a:lnTo>
                    <a:pt x="10107" y="14743"/>
                  </a:lnTo>
                  <a:lnTo>
                    <a:pt x="9989" y="14774"/>
                  </a:lnTo>
                  <a:lnTo>
                    <a:pt x="9869" y="14802"/>
                  </a:lnTo>
                  <a:lnTo>
                    <a:pt x="9749" y="14829"/>
                  </a:lnTo>
                  <a:lnTo>
                    <a:pt x="9628" y="14854"/>
                  </a:lnTo>
                  <a:lnTo>
                    <a:pt x="9507" y="14877"/>
                  </a:lnTo>
                  <a:lnTo>
                    <a:pt x="9383" y="14898"/>
                  </a:lnTo>
                  <a:lnTo>
                    <a:pt x="9450" y="14833"/>
                  </a:lnTo>
                  <a:lnTo>
                    <a:pt x="9516" y="14767"/>
                  </a:lnTo>
                  <a:lnTo>
                    <a:pt x="9582" y="14700"/>
                  </a:lnTo>
                  <a:lnTo>
                    <a:pt x="9645" y="14633"/>
                  </a:lnTo>
                  <a:lnTo>
                    <a:pt x="9710" y="14564"/>
                  </a:lnTo>
                  <a:lnTo>
                    <a:pt x="9772" y="14495"/>
                  </a:lnTo>
                  <a:lnTo>
                    <a:pt x="9835" y="14424"/>
                  </a:lnTo>
                  <a:lnTo>
                    <a:pt x="9897" y="14354"/>
                  </a:lnTo>
                  <a:lnTo>
                    <a:pt x="9958" y="14282"/>
                  </a:lnTo>
                  <a:lnTo>
                    <a:pt x="10019" y="14210"/>
                  </a:lnTo>
                  <a:lnTo>
                    <a:pt x="10078" y="14137"/>
                  </a:lnTo>
                  <a:lnTo>
                    <a:pt x="10138" y="14064"/>
                  </a:lnTo>
                  <a:lnTo>
                    <a:pt x="10195" y="13988"/>
                  </a:lnTo>
                  <a:lnTo>
                    <a:pt x="10254" y="13913"/>
                  </a:lnTo>
                  <a:lnTo>
                    <a:pt x="10310" y="13837"/>
                  </a:lnTo>
                  <a:lnTo>
                    <a:pt x="10367" y="13761"/>
                  </a:lnTo>
                  <a:lnTo>
                    <a:pt x="10422" y="13684"/>
                  </a:lnTo>
                  <a:lnTo>
                    <a:pt x="10476" y="13606"/>
                  </a:lnTo>
                  <a:lnTo>
                    <a:pt x="10531" y="13526"/>
                  </a:lnTo>
                  <a:lnTo>
                    <a:pt x="10584" y="13447"/>
                  </a:lnTo>
                  <a:lnTo>
                    <a:pt x="10636" y="13367"/>
                  </a:lnTo>
                  <a:lnTo>
                    <a:pt x="10688" y="13286"/>
                  </a:lnTo>
                  <a:lnTo>
                    <a:pt x="10739" y="13204"/>
                  </a:lnTo>
                  <a:lnTo>
                    <a:pt x="10789" y="13121"/>
                  </a:lnTo>
                  <a:lnTo>
                    <a:pt x="10839" y="13039"/>
                  </a:lnTo>
                  <a:lnTo>
                    <a:pt x="10888" y="12955"/>
                  </a:lnTo>
                  <a:lnTo>
                    <a:pt x="10935" y="12871"/>
                  </a:lnTo>
                  <a:lnTo>
                    <a:pt x="10982" y="12786"/>
                  </a:lnTo>
                  <a:lnTo>
                    <a:pt x="11028" y="12701"/>
                  </a:lnTo>
                  <a:lnTo>
                    <a:pt x="11074" y="12614"/>
                  </a:lnTo>
                  <a:lnTo>
                    <a:pt x="11119" y="12528"/>
                  </a:lnTo>
                  <a:lnTo>
                    <a:pt x="11162" y="12440"/>
                  </a:lnTo>
                  <a:close/>
                  <a:moveTo>
                    <a:pt x="8474" y="14988"/>
                  </a:moveTo>
                  <a:lnTo>
                    <a:pt x="8474" y="11911"/>
                  </a:lnTo>
                  <a:lnTo>
                    <a:pt x="8545" y="11913"/>
                  </a:lnTo>
                  <a:lnTo>
                    <a:pt x="8616" y="11916"/>
                  </a:lnTo>
                  <a:lnTo>
                    <a:pt x="8687" y="11920"/>
                  </a:lnTo>
                  <a:lnTo>
                    <a:pt x="8757" y="11924"/>
                  </a:lnTo>
                  <a:lnTo>
                    <a:pt x="8828" y="11929"/>
                  </a:lnTo>
                  <a:lnTo>
                    <a:pt x="8899" y="11934"/>
                  </a:lnTo>
                  <a:lnTo>
                    <a:pt x="8969" y="11940"/>
                  </a:lnTo>
                  <a:lnTo>
                    <a:pt x="9039" y="11946"/>
                  </a:lnTo>
                  <a:lnTo>
                    <a:pt x="9108" y="11953"/>
                  </a:lnTo>
                  <a:lnTo>
                    <a:pt x="9178" y="11960"/>
                  </a:lnTo>
                  <a:lnTo>
                    <a:pt x="9248" y="11968"/>
                  </a:lnTo>
                  <a:lnTo>
                    <a:pt x="9317" y="11976"/>
                  </a:lnTo>
                  <a:lnTo>
                    <a:pt x="9387" y="11986"/>
                  </a:lnTo>
                  <a:lnTo>
                    <a:pt x="9455" y="11995"/>
                  </a:lnTo>
                  <a:lnTo>
                    <a:pt x="9524" y="12005"/>
                  </a:lnTo>
                  <a:lnTo>
                    <a:pt x="9593" y="12016"/>
                  </a:lnTo>
                  <a:lnTo>
                    <a:pt x="9661" y="12027"/>
                  </a:lnTo>
                  <a:lnTo>
                    <a:pt x="9729" y="12039"/>
                  </a:lnTo>
                  <a:lnTo>
                    <a:pt x="9797" y="12051"/>
                  </a:lnTo>
                  <a:lnTo>
                    <a:pt x="9865" y="12064"/>
                  </a:lnTo>
                  <a:lnTo>
                    <a:pt x="9932" y="12077"/>
                  </a:lnTo>
                  <a:lnTo>
                    <a:pt x="10000" y="12091"/>
                  </a:lnTo>
                  <a:lnTo>
                    <a:pt x="10067" y="12106"/>
                  </a:lnTo>
                  <a:lnTo>
                    <a:pt x="10134" y="12121"/>
                  </a:lnTo>
                  <a:lnTo>
                    <a:pt x="10200" y="12136"/>
                  </a:lnTo>
                  <a:lnTo>
                    <a:pt x="10267" y="12153"/>
                  </a:lnTo>
                  <a:lnTo>
                    <a:pt x="10334" y="12169"/>
                  </a:lnTo>
                  <a:lnTo>
                    <a:pt x="10399" y="12187"/>
                  </a:lnTo>
                  <a:lnTo>
                    <a:pt x="10465" y="12204"/>
                  </a:lnTo>
                  <a:lnTo>
                    <a:pt x="10531" y="12223"/>
                  </a:lnTo>
                  <a:lnTo>
                    <a:pt x="10596" y="12242"/>
                  </a:lnTo>
                  <a:lnTo>
                    <a:pt x="10661" y="12262"/>
                  </a:lnTo>
                  <a:lnTo>
                    <a:pt x="10610" y="12363"/>
                  </a:lnTo>
                  <a:lnTo>
                    <a:pt x="10557" y="12462"/>
                  </a:lnTo>
                  <a:lnTo>
                    <a:pt x="10504" y="12561"/>
                  </a:lnTo>
                  <a:lnTo>
                    <a:pt x="10450" y="12659"/>
                  </a:lnTo>
                  <a:lnTo>
                    <a:pt x="10393" y="12757"/>
                  </a:lnTo>
                  <a:lnTo>
                    <a:pt x="10337" y="12853"/>
                  </a:lnTo>
                  <a:lnTo>
                    <a:pt x="10279" y="12948"/>
                  </a:lnTo>
                  <a:lnTo>
                    <a:pt x="10220" y="13042"/>
                  </a:lnTo>
                  <a:lnTo>
                    <a:pt x="10159" y="13135"/>
                  </a:lnTo>
                  <a:lnTo>
                    <a:pt x="10099" y="13228"/>
                  </a:lnTo>
                  <a:lnTo>
                    <a:pt x="10036" y="13319"/>
                  </a:lnTo>
                  <a:lnTo>
                    <a:pt x="9972" y="13410"/>
                  </a:lnTo>
                  <a:lnTo>
                    <a:pt x="9909" y="13499"/>
                  </a:lnTo>
                  <a:lnTo>
                    <a:pt x="9843" y="13588"/>
                  </a:lnTo>
                  <a:lnTo>
                    <a:pt x="9776" y="13675"/>
                  </a:lnTo>
                  <a:lnTo>
                    <a:pt x="9710" y="13761"/>
                  </a:lnTo>
                  <a:lnTo>
                    <a:pt x="9641" y="13846"/>
                  </a:lnTo>
                  <a:lnTo>
                    <a:pt x="9571" y="13930"/>
                  </a:lnTo>
                  <a:lnTo>
                    <a:pt x="9501" y="14012"/>
                  </a:lnTo>
                  <a:lnTo>
                    <a:pt x="9430" y="14095"/>
                  </a:lnTo>
                  <a:lnTo>
                    <a:pt x="9358" y="14175"/>
                  </a:lnTo>
                  <a:lnTo>
                    <a:pt x="9284" y="14255"/>
                  </a:lnTo>
                  <a:lnTo>
                    <a:pt x="9210" y="14333"/>
                  </a:lnTo>
                  <a:lnTo>
                    <a:pt x="9135" y="14410"/>
                  </a:lnTo>
                  <a:lnTo>
                    <a:pt x="9059" y="14487"/>
                  </a:lnTo>
                  <a:lnTo>
                    <a:pt x="8982" y="14562"/>
                  </a:lnTo>
                  <a:lnTo>
                    <a:pt x="8904" y="14636"/>
                  </a:lnTo>
                  <a:lnTo>
                    <a:pt x="8825" y="14708"/>
                  </a:lnTo>
                  <a:lnTo>
                    <a:pt x="8746" y="14779"/>
                  </a:lnTo>
                  <a:lnTo>
                    <a:pt x="8666" y="14850"/>
                  </a:lnTo>
                  <a:lnTo>
                    <a:pt x="8584" y="14918"/>
                  </a:lnTo>
                  <a:lnTo>
                    <a:pt x="8502" y="14987"/>
                  </a:lnTo>
                  <a:lnTo>
                    <a:pt x="8474" y="14988"/>
                  </a:lnTo>
                  <a:close/>
                  <a:moveTo>
                    <a:pt x="7036" y="14898"/>
                  </a:moveTo>
                  <a:lnTo>
                    <a:pt x="6913" y="14877"/>
                  </a:lnTo>
                  <a:lnTo>
                    <a:pt x="6791" y="14854"/>
                  </a:lnTo>
                  <a:lnTo>
                    <a:pt x="6670" y="14829"/>
                  </a:lnTo>
                  <a:lnTo>
                    <a:pt x="6550" y="14802"/>
                  </a:lnTo>
                  <a:lnTo>
                    <a:pt x="6431" y="14774"/>
                  </a:lnTo>
                  <a:lnTo>
                    <a:pt x="6312" y="14743"/>
                  </a:lnTo>
                  <a:lnTo>
                    <a:pt x="6194" y="14710"/>
                  </a:lnTo>
                  <a:lnTo>
                    <a:pt x="6077" y="14676"/>
                  </a:lnTo>
                  <a:lnTo>
                    <a:pt x="5961" y="14639"/>
                  </a:lnTo>
                  <a:lnTo>
                    <a:pt x="5846" y="14601"/>
                  </a:lnTo>
                  <a:lnTo>
                    <a:pt x="5731" y="14561"/>
                  </a:lnTo>
                  <a:lnTo>
                    <a:pt x="5618" y="14519"/>
                  </a:lnTo>
                  <a:lnTo>
                    <a:pt x="5505" y="14475"/>
                  </a:lnTo>
                  <a:lnTo>
                    <a:pt x="5395" y="14429"/>
                  </a:lnTo>
                  <a:lnTo>
                    <a:pt x="5284" y="14382"/>
                  </a:lnTo>
                  <a:lnTo>
                    <a:pt x="5174" y="14333"/>
                  </a:lnTo>
                  <a:lnTo>
                    <a:pt x="5065" y="14282"/>
                  </a:lnTo>
                  <a:lnTo>
                    <a:pt x="4958" y="14229"/>
                  </a:lnTo>
                  <a:lnTo>
                    <a:pt x="4851" y="14175"/>
                  </a:lnTo>
                  <a:lnTo>
                    <a:pt x="4746" y="14119"/>
                  </a:lnTo>
                  <a:lnTo>
                    <a:pt x="4641" y="14062"/>
                  </a:lnTo>
                  <a:lnTo>
                    <a:pt x="4538" y="14001"/>
                  </a:lnTo>
                  <a:lnTo>
                    <a:pt x="4436" y="13940"/>
                  </a:lnTo>
                  <a:lnTo>
                    <a:pt x="4335" y="13878"/>
                  </a:lnTo>
                  <a:lnTo>
                    <a:pt x="4235" y="13814"/>
                  </a:lnTo>
                  <a:lnTo>
                    <a:pt x="4137" y="13748"/>
                  </a:lnTo>
                  <a:lnTo>
                    <a:pt x="4038" y="13681"/>
                  </a:lnTo>
                  <a:lnTo>
                    <a:pt x="3943" y="13612"/>
                  </a:lnTo>
                  <a:lnTo>
                    <a:pt x="3847" y="13540"/>
                  </a:lnTo>
                  <a:lnTo>
                    <a:pt x="3753" y="13469"/>
                  </a:lnTo>
                  <a:lnTo>
                    <a:pt x="3660" y="13395"/>
                  </a:lnTo>
                  <a:lnTo>
                    <a:pt x="3569" y="13320"/>
                  </a:lnTo>
                  <a:lnTo>
                    <a:pt x="3668" y="13255"/>
                  </a:lnTo>
                  <a:lnTo>
                    <a:pt x="3767" y="13191"/>
                  </a:lnTo>
                  <a:lnTo>
                    <a:pt x="3867" y="13127"/>
                  </a:lnTo>
                  <a:lnTo>
                    <a:pt x="3968" y="13065"/>
                  </a:lnTo>
                  <a:lnTo>
                    <a:pt x="4071" y="13005"/>
                  </a:lnTo>
                  <a:lnTo>
                    <a:pt x="4174" y="12946"/>
                  </a:lnTo>
                  <a:lnTo>
                    <a:pt x="4278" y="12889"/>
                  </a:lnTo>
                  <a:lnTo>
                    <a:pt x="4383" y="12833"/>
                  </a:lnTo>
                  <a:lnTo>
                    <a:pt x="4489" y="12779"/>
                  </a:lnTo>
                  <a:lnTo>
                    <a:pt x="4596" y="12726"/>
                  </a:lnTo>
                  <a:lnTo>
                    <a:pt x="4704" y="12674"/>
                  </a:lnTo>
                  <a:lnTo>
                    <a:pt x="4813" y="12624"/>
                  </a:lnTo>
                  <a:lnTo>
                    <a:pt x="4923" y="12575"/>
                  </a:lnTo>
                  <a:lnTo>
                    <a:pt x="5033" y="12529"/>
                  </a:lnTo>
                  <a:lnTo>
                    <a:pt x="5144" y="12484"/>
                  </a:lnTo>
                  <a:lnTo>
                    <a:pt x="5257" y="12440"/>
                  </a:lnTo>
                  <a:lnTo>
                    <a:pt x="5301" y="12528"/>
                  </a:lnTo>
                  <a:lnTo>
                    <a:pt x="5345" y="12614"/>
                  </a:lnTo>
                  <a:lnTo>
                    <a:pt x="5391" y="12701"/>
                  </a:lnTo>
                  <a:lnTo>
                    <a:pt x="5437" y="12786"/>
                  </a:lnTo>
                  <a:lnTo>
                    <a:pt x="5484" y="12871"/>
                  </a:lnTo>
                  <a:lnTo>
                    <a:pt x="5532" y="12955"/>
                  </a:lnTo>
                  <a:lnTo>
                    <a:pt x="5580" y="13039"/>
                  </a:lnTo>
                  <a:lnTo>
                    <a:pt x="5630" y="13121"/>
                  </a:lnTo>
                  <a:lnTo>
                    <a:pt x="5680" y="13204"/>
                  </a:lnTo>
                  <a:lnTo>
                    <a:pt x="5731" y="13286"/>
                  </a:lnTo>
                  <a:lnTo>
                    <a:pt x="5783" y="13367"/>
                  </a:lnTo>
                  <a:lnTo>
                    <a:pt x="5835" y="13447"/>
                  </a:lnTo>
                  <a:lnTo>
                    <a:pt x="5888" y="13526"/>
                  </a:lnTo>
                  <a:lnTo>
                    <a:pt x="5943" y="13606"/>
                  </a:lnTo>
                  <a:lnTo>
                    <a:pt x="5997" y="13684"/>
                  </a:lnTo>
                  <a:lnTo>
                    <a:pt x="6052" y="13761"/>
                  </a:lnTo>
                  <a:lnTo>
                    <a:pt x="6109" y="13837"/>
                  </a:lnTo>
                  <a:lnTo>
                    <a:pt x="6166" y="13913"/>
                  </a:lnTo>
                  <a:lnTo>
                    <a:pt x="6224" y="13988"/>
                  </a:lnTo>
                  <a:lnTo>
                    <a:pt x="6282" y="14064"/>
                  </a:lnTo>
                  <a:lnTo>
                    <a:pt x="6341" y="14137"/>
                  </a:lnTo>
                  <a:lnTo>
                    <a:pt x="6400" y="14210"/>
                  </a:lnTo>
                  <a:lnTo>
                    <a:pt x="6461" y="14282"/>
                  </a:lnTo>
                  <a:lnTo>
                    <a:pt x="6522" y="14354"/>
                  </a:lnTo>
                  <a:lnTo>
                    <a:pt x="6584" y="14424"/>
                  </a:lnTo>
                  <a:lnTo>
                    <a:pt x="6647" y="14495"/>
                  </a:lnTo>
                  <a:lnTo>
                    <a:pt x="6710" y="14564"/>
                  </a:lnTo>
                  <a:lnTo>
                    <a:pt x="6774" y="14633"/>
                  </a:lnTo>
                  <a:lnTo>
                    <a:pt x="6839" y="14700"/>
                  </a:lnTo>
                  <a:lnTo>
                    <a:pt x="6903" y="14767"/>
                  </a:lnTo>
                  <a:lnTo>
                    <a:pt x="6969" y="14833"/>
                  </a:lnTo>
                  <a:lnTo>
                    <a:pt x="7036" y="14898"/>
                  </a:lnTo>
                  <a:close/>
                  <a:moveTo>
                    <a:pt x="7945" y="8277"/>
                  </a:moveTo>
                  <a:lnTo>
                    <a:pt x="7945" y="11394"/>
                  </a:lnTo>
                  <a:lnTo>
                    <a:pt x="7867" y="11396"/>
                  </a:lnTo>
                  <a:lnTo>
                    <a:pt x="7789" y="11400"/>
                  </a:lnTo>
                  <a:lnTo>
                    <a:pt x="7711" y="11404"/>
                  </a:lnTo>
                  <a:lnTo>
                    <a:pt x="7633" y="11408"/>
                  </a:lnTo>
                  <a:lnTo>
                    <a:pt x="7555" y="11413"/>
                  </a:lnTo>
                  <a:lnTo>
                    <a:pt x="7478" y="11419"/>
                  </a:lnTo>
                  <a:lnTo>
                    <a:pt x="7401" y="11425"/>
                  </a:lnTo>
                  <a:lnTo>
                    <a:pt x="7324" y="11433"/>
                  </a:lnTo>
                  <a:lnTo>
                    <a:pt x="7247" y="11440"/>
                  </a:lnTo>
                  <a:lnTo>
                    <a:pt x="7170" y="11449"/>
                  </a:lnTo>
                  <a:lnTo>
                    <a:pt x="7094" y="11458"/>
                  </a:lnTo>
                  <a:lnTo>
                    <a:pt x="7018" y="11467"/>
                  </a:lnTo>
                  <a:lnTo>
                    <a:pt x="6942" y="11477"/>
                  </a:lnTo>
                  <a:lnTo>
                    <a:pt x="6866" y="11488"/>
                  </a:lnTo>
                  <a:lnTo>
                    <a:pt x="6790" y="11500"/>
                  </a:lnTo>
                  <a:lnTo>
                    <a:pt x="6715" y="11512"/>
                  </a:lnTo>
                  <a:lnTo>
                    <a:pt x="6640" y="11525"/>
                  </a:lnTo>
                  <a:lnTo>
                    <a:pt x="6565" y="11538"/>
                  </a:lnTo>
                  <a:lnTo>
                    <a:pt x="6491" y="11552"/>
                  </a:lnTo>
                  <a:lnTo>
                    <a:pt x="6416" y="11566"/>
                  </a:lnTo>
                  <a:lnTo>
                    <a:pt x="6342" y="11582"/>
                  </a:lnTo>
                  <a:lnTo>
                    <a:pt x="6268" y="11598"/>
                  </a:lnTo>
                  <a:lnTo>
                    <a:pt x="6194" y="11614"/>
                  </a:lnTo>
                  <a:lnTo>
                    <a:pt x="6120" y="11631"/>
                  </a:lnTo>
                  <a:lnTo>
                    <a:pt x="6047" y="11649"/>
                  </a:lnTo>
                  <a:lnTo>
                    <a:pt x="5973" y="11667"/>
                  </a:lnTo>
                  <a:lnTo>
                    <a:pt x="5901" y="11686"/>
                  </a:lnTo>
                  <a:lnTo>
                    <a:pt x="5829" y="11706"/>
                  </a:lnTo>
                  <a:lnTo>
                    <a:pt x="5756" y="11726"/>
                  </a:lnTo>
                  <a:lnTo>
                    <a:pt x="5684" y="11747"/>
                  </a:lnTo>
                  <a:lnTo>
                    <a:pt x="5612" y="11768"/>
                  </a:lnTo>
                  <a:lnTo>
                    <a:pt x="5540" y="11791"/>
                  </a:lnTo>
                  <a:lnTo>
                    <a:pt x="5498" y="11690"/>
                  </a:lnTo>
                  <a:lnTo>
                    <a:pt x="5457" y="11590"/>
                  </a:lnTo>
                  <a:lnTo>
                    <a:pt x="5417" y="11488"/>
                  </a:lnTo>
                  <a:lnTo>
                    <a:pt x="5377" y="11386"/>
                  </a:lnTo>
                  <a:lnTo>
                    <a:pt x="5339" y="11282"/>
                  </a:lnTo>
                  <a:lnTo>
                    <a:pt x="5303" y="11178"/>
                  </a:lnTo>
                  <a:lnTo>
                    <a:pt x="5267" y="11074"/>
                  </a:lnTo>
                  <a:lnTo>
                    <a:pt x="5233" y="10969"/>
                  </a:lnTo>
                  <a:lnTo>
                    <a:pt x="5200" y="10863"/>
                  </a:lnTo>
                  <a:lnTo>
                    <a:pt x="5167" y="10757"/>
                  </a:lnTo>
                  <a:lnTo>
                    <a:pt x="5136" y="10650"/>
                  </a:lnTo>
                  <a:lnTo>
                    <a:pt x="5106" y="10543"/>
                  </a:lnTo>
                  <a:lnTo>
                    <a:pt x="5079" y="10434"/>
                  </a:lnTo>
                  <a:lnTo>
                    <a:pt x="5051" y="10325"/>
                  </a:lnTo>
                  <a:lnTo>
                    <a:pt x="5025" y="10216"/>
                  </a:lnTo>
                  <a:lnTo>
                    <a:pt x="5000" y="10106"/>
                  </a:lnTo>
                  <a:lnTo>
                    <a:pt x="4976" y="9995"/>
                  </a:lnTo>
                  <a:lnTo>
                    <a:pt x="4954" y="9884"/>
                  </a:lnTo>
                  <a:lnTo>
                    <a:pt x="4933" y="9773"/>
                  </a:lnTo>
                  <a:lnTo>
                    <a:pt x="4913" y="9661"/>
                  </a:lnTo>
                  <a:lnTo>
                    <a:pt x="4895" y="9548"/>
                  </a:lnTo>
                  <a:lnTo>
                    <a:pt x="4877" y="9435"/>
                  </a:lnTo>
                  <a:lnTo>
                    <a:pt x="4861" y="9321"/>
                  </a:lnTo>
                  <a:lnTo>
                    <a:pt x="4847" y="9207"/>
                  </a:lnTo>
                  <a:lnTo>
                    <a:pt x="4833" y="9092"/>
                  </a:lnTo>
                  <a:lnTo>
                    <a:pt x="4822" y="8977"/>
                  </a:lnTo>
                  <a:lnTo>
                    <a:pt x="4811" y="8862"/>
                  </a:lnTo>
                  <a:lnTo>
                    <a:pt x="4802" y="8746"/>
                  </a:lnTo>
                  <a:lnTo>
                    <a:pt x="4794" y="8628"/>
                  </a:lnTo>
                  <a:lnTo>
                    <a:pt x="4787" y="8512"/>
                  </a:lnTo>
                  <a:lnTo>
                    <a:pt x="4782" y="8394"/>
                  </a:lnTo>
                  <a:lnTo>
                    <a:pt x="4779" y="8277"/>
                  </a:lnTo>
                  <a:lnTo>
                    <a:pt x="7945" y="8277"/>
                  </a:lnTo>
                  <a:close/>
                  <a:moveTo>
                    <a:pt x="5353" y="4695"/>
                  </a:moveTo>
                  <a:lnTo>
                    <a:pt x="5430" y="4721"/>
                  </a:lnTo>
                  <a:lnTo>
                    <a:pt x="5507" y="4746"/>
                  </a:lnTo>
                  <a:lnTo>
                    <a:pt x="5583" y="4770"/>
                  </a:lnTo>
                  <a:lnTo>
                    <a:pt x="5661" y="4793"/>
                  </a:lnTo>
                  <a:lnTo>
                    <a:pt x="5739" y="4816"/>
                  </a:lnTo>
                  <a:lnTo>
                    <a:pt x="5817" y="4838"/>
                  </a:lnTo>
                  <a:lnTo>
                    <a:pt x="5896" y="4860"/>
                  </a:lnTo>
                  <a:lnTo>
                    <a:pt x="5974" y="4880"/>
                  </a:lnTo>
                  <a:lnTo>
                    <a:pt x="6053" y="4900"/>
                  </a:lnTo>
                  <a:lnTo>
                    <a:pt x="6134" y="4920"/>
                  </a:lnTo>
                  <a:lnTo>
                    <a:pt x="6213" y="4938"/>
                  </a:lnTo>
                  <a:lnTo>
                    <a:pt x="6293" y="4956"/>
                  </a:lnTo>
                  <a:lnTo>
                    <a:pt x="6373" y="4973"/>
                  </a:lnTo>
                  <a:lnTo>
                    <a:pt x="6454" y="4990"/>
                  </a:lnTo>
                  <a:lnTo>
                    <a:pt x="6535" y="5005"/>
                  </a:lnTo>
                  <a:lnTo>
                    <a:pt x="6615" y="5020"/>
                  </a:lnTo>
                  <a:lnTo>
                    <a:pt x="6697" y="5035"/>
                  </a:lnTo>
                  <a:lnTo>
                    <a:pt x="6778" y="5048"/>
                  </a:lnTo>
                  <a:lnTo>
                    <a:pt x="6860" y="5061"/>
                  </a:lnTo>
                  <a:lnTo>
                    <a:pt x="6942" y="5073"/>
                  </a:lnTo>
                  <a:lnTo>
                    <a:pt x="7024" y="5084"/>
                  </a:lnTo>
                  <a:lnTo>
                    <a:pt x="7106" y="5095"/>
                  </a:lnTo>
                  <a:lnTo>
                    <a:pt x="7189" y="5105"/>
                  </a:lnTo>
                  <a:lnTo>
                    <a:pt x="7273" y="5114"/>
                  </a:lnTo>
                  <a:lnTo>
                    <a:pt x="7356" y="5122"/>
                  </a:lnTo>
                  <a:lnTo>
                    <a:pt x="7439" y="5131"/>
                  </a:lnTo>
                  <a:lnTo>
                    <a:pt x="7523" y="5137"/>
                  </a:lnTo>
                  <a:lnTo>
                    <a:pt x="7607" y="5143"/>
                  </a:lnTo>
                  <a:lnTo>
                    <a:pt x="7691" y="5149"/>
                  </a:lnTo>
                  <a:lnTo>
                    <a:pt x="7775" y="5153"/>
                  </a:lnTo>
                  <a:lnTo>
                    <a:pt x="7860" y="5157"/>
                  </a:lnTo>
                  <a:lnTo>
                    <a:pt x="7945" y="5160"/>
                  </a:lnTo>
                  <a:lnTo>
                    <a:pt x="7945" y="7759"/>
                  </a:lnTo>
                  <a:lnTo>
                    <a:pt x="4779" y="7759"/>
                  </a:lnTo>
                  <a:lnTo>
                    <a:pt x="4782" y="7658"/>
                  </a:lnTo>
                  <a:lnTo>
                    <a:pt x="4786" y="7557"/>
                  </a:lnTo>
                  <a:lnTo>
                    <a:pt x="4791" y="7456"/>
                  </a:lnTo>
                  <a:lnTo>
                    <a:pt x="4797" y="7356"/>
                  </a:lnTo>
                  <a:lnTo>
                    <a:pt x="4805" y="7255"/>
                  </a:lnTo>
                  <a:lnTo>
                    <a:pt x="4812" y="7155"/>
                  </a:lnTo>
                  <a:lnTo>
                    <a:pt x="4821" y="7056"/>
                  </a:lnTo>
                  <a:lnTo>
                    <a:pt x="4831" y="6957"/>
                  </a:lnTo>
                  <a:lnTo>
                    <a:pt x="4843" y="6857"/>
                  </a:lnTo>
                  <a:lnTo>
                    <a:pt x="4854" y="6759"/>
                  </a:lnTo>
                  <a:lnTo>
                    <a:pt x="4867" y="6661"/>
                  </a:lnTo>
                  <a:lnTo>
                    <a:pt x="4881" y="6563"/>
                  </a:lnTo>
                  <a:lnTo>
                    <a:pt x="4896" y="6466"/>
                  </a:lnTo>
                  <a:lnTo>
                    <a:pt x="4911" y="6368"/>
                  </a:lnTo>
                  <a:lnTo>
                    <a:pt x="4928" y="6272"/>
                  </a:lnTo>
                  <a:lnTo>
                    <a:pt x="4945" y="6176"/>
                  </a:lnTo>
                  <a:lnTo>
                    <a:pt x="4964" y="6080"/>
                  </a:lnTo>
                  <a:lnTo>
                    <a:pt x="4983" y="5984"/>
                  </a:lnTo>
                  <a:lnTo>
                    <a:pt x="5004" y="5889"/>
                  </a:lnTo>
                  <a:lnTo>
                    <a:pt x="5025" y="5795"/>
                  </a:lnTo>
                  <a:lnTo>
                    <a:pt x="5048" y="5701"/>
                  </a:lnTo>
                  <a:lnTo>
                    <a:pt x="5070" y="5607"/>
                  </a:lnTo>
                  <a:lnTo>
                    <a:pt x="5095" y="5513"/>
                  </a:lnTo>
                  <a:lnTo>
                    <a:pt x="5120" y="5420"/>
                  </a:lnTo>
                  <a:lnTo>
                    <a:pt x="5145" y="5328"/>
                  </a:lnTo>
                  <a:lnTo>
                    <a:pt x="5172" y="5236"/>
                  </a:lnTo>
                  <a:lnTo>
                    <a:pt x="5201" y="5145"/>
                  </a:lnTo>
                  <a:lnTo>
                    <a:pt x="5228" y="5053"/>
                  </a:lnTo>
                  <a:lnTo>
                    <a:pt x="5258" y="4963"/>
                  </a:lnTo>
                  <a:lnTo>
                    <a:pt x="5289" y="4873"/>
                  </a:lnTo>
                  <a:lnTo>
                    <a:pt x="5321" y="4784"/>
                  </a:lnTo>
                  <a:lnTo>
                    <a:pt x="5353" y="4695"/>
                  </a:lnTo>
                  <a:close/>
                  <a:moveTo>
                    <a:pt x="5056" y="4040"/>
                  </a:moveTo>
                  <a:lnTo>
                    <a:pt x="4994" y="4015"/>
                  </a:lnTo>
                  <a:lnTo>
                    <a:pt x="4934" y="3989"/>
                  </a:lnTo>
                  <a:lnTo>
                    <a:pt x="4873" y="3963"/>
                  </a:lnTo>
                  <a:lnTo>
                    <a:pt x="4813" y="3936"/>
                  </a:lnTo>
                  <a:lnTo>
                    <a:pt x="4753" y="3909"/>
                  </a:lnTo>
                  <a:lnTo>
                    <a:pt x="4693" y="3882"/>
                  </a:lnTo>
                  <a:lnTo>
                    <a:pt x="4633" y="3854"/>
                  </a:lnTo>
                  <a:lnTo>
                    <a:pt x="4575" y="3825"/>
                  </a:lnTo>
                  <a:lnTo>
                    <a:pt x="4515" y="3796"/>
                  </a:lnTo>
                  <a:lnTo>
                    <a:pt x="4457" y="3766"/>
                  </a:lnTo>
                  <a:lnTo>
                    <a:pt x="4398" y="3736"/>
                  </a:lnTo>
                  <a:lnTo>
                    <a:pt x="4341" y="3705"/>
                  </a:lnTo>
                  <a:lnTo>
                    <a:pt x="4282" y="3674"/>
                  </a:lnTo>
                  <a:lnTo>
                    <a:pt x="4225" y="3643"/>
                  </a:lnTo>
                  <a:lnTo>
                    <a:pt x="4168" y="3611"/>
                  </a:lnTo>
                  <a:lnTo>
                    <a:pt x="4111" y="3579"/>
                  </a:lnTo>
                  <a:lnTo>
                    <a:pt x="3998" y="3513"/>
                  </a:lnTo>
                  <a:lnTo>
                    <a:pt x="3886" y="3446"/>
                  </a:lnTo>
                  <a:lnTo>
                    <a:pt x="3776" y="3377"/>
                  </a:lnTo>
                  <a:lnTo>
                    <a:pt x="3667" y="3305"/>
                  </a:lnTo>
                  <a:lnTo>
                    <a:pt x="3559" y="3233"/>
                  </a:lnTo>
                  <a:lnTo>
                    <a:pt x="3451" y="3159"/>
                  </a:lnTo>
                  <a:lnTo>
                    <a:pt x="3345" y="3084"/>
                  </a:lnTo>
                  <a:lnTo>
                    <a:pt x="3241" y="3007"/>
                  </a:lnTo>
                  <a:lnTo>
                    <a:pt x="3337" y="2917"/>
                  </a:lnTo>
                  <a:lnTo>
                    <a:pt x="3436" y="2829"/>
                  </a:lnTo>
                  <a:lnTo>
                    <a:pt x="3535" y="2743"/>
                  </a:lnTo>
                  <a:lnTo>
                    <a:pt x="3637" y="2659"/>
                  </a:lnTo>
                  <a:lnTo>
                    <a:pt x="3740" y="2576"/>
                  </a:lnTo>
                  <a:lnTo>
                    <a:pt x="3845" y="2496"/>
                  </a:lnTo>
                  <a:lnTo>
                    <a:pt x="3951" y="2417"/>
                  </a:lnTo>
                  <a:lnTo>
                    <a:pt x="4059" y="2340"/>
                  </a:lnTo>
                  <a:lnTo>
                    <a:pt x="4168" y="2266"/>
                  </a:lnTo>
                  <a:lnTo>
                    <a:pt x="4279" y="2193"/>
                  </a:lnTo>
                  <a:lnTo>
                    <a:pt x="4391" y="2122"/>
                  </a:lnTo>
                  <a:lnTo>
                    <a:pt x="4505" y="2054"/>
                  </a:lnTo>
                  <a:lnTo>
                    <a:pt x="4620" y="1986"/>
                  </a:lnTo>
                  <a:lnTo>
                    <a:pt x="4736" y="1921"/>
                  </a:lnTo>
                  <a:lnTo>
                    <a:pt x="4854" y="1859"/>
                  </a:lnTo>
                  <a:lnTo>
                    <a:pt x="4973" y="1799"/>
                  </a:lnTo>
                  <a:lnTo>
                    <a:pt x="5093" y="1740"/>
                  </a:lnTo>
                  <a:lnTo>
                    <a:pt x="5215" y="1684"/>
                  </a:lnTo>
                  <a:lnTo>
                    <a:pt x="5338" y="1630"/>
                  </a:lnTo>
                  <a:lnTo>
                    <a:pt x="5461" y="1579"/>
                  </a:lnTo>
                  <a:lnTo>
                    <a:pt x="5587" y="1528"/>
                  </a:lnTo>
                  <a:lnTo>
                    <a:pt x="5714" y="1481"/>
                  </a:lnTo>
                  <a:lnTo>
                    <a:pt x="5841" y="1436"/>
                  </a:lnTo>
                  <a:lnTo>
                    <a:pt x="5969" y="1393"/>
                  </a:lnTo>
                  <a:lnTo>
                    <a:pt x="6100" y="1353"/>
                  </a:lnTo>
                  <a:lnTo>
                    <a:pt x="6230" y="1315"/>
                  </a:lnTo>
                  <a:lnTo>
                    <a:pt x="6362" y="1279"/>
                  </a:lnTo>
                  <a:lnTo>
                    <a:pt x="6495" y="1246"/>
                  </a:lnTo>
                  <a:lnTo>
                    <a:pt x="6628" y="1215"/>
                  </a:lnTo>
                  <a:lnTo>
                    <a:pt x="6764" y="1187"/>
                  </a:lnTo>
                  <a:lnTo>
                    <a:pt x="6899" y="1161"/>
                  </a:lnTo>
                  <a:lnTo>
                    <a:pt x="7036" y="1137"/>
                  </a:lnTo>
                  <a:lnTo>
                    <a:pt x="6960" y="1213"/>
                  </a:lnTo>
                  <a:lnTo>
                    <a:pt x="6884" y="1289"/>
                  </a:lnTo>
                  <a:lnTo>
                    <a:pt x="6809" y="1367"/>
                  </a:lnTo>
                  <a:lnTo>
                    <a:pt x="6735" y="1446"/>
                  </a:lnTo>
                  <a:lnTo>
                    <a:pt x="6662" y="1525"/>
                  </a:lnTo>
                  <a:lnTo>
                    <a:pt x="6589" y="1607"/>
                  </a:lnTo>
                  <a:lnTo>
                    <a:pt x="6518" y="1689"/>
                  </a:lnTo>
                  <a:lnTo>
                    <a:pt x="6448" y="1771"/>
                  </a:lnTo>
                  <a:lnTo>
                    <a:pt x="6379" y="1855"/>
                  </a:lnTo>
                  <a:lnTo>
                    <a:pt x="6310" y="1940"/>
                  </a:lnTo>
                  <a:lnTo>
                    <a:pt x="6242" y="2027"/>
                  </a:lnTo>
                  <a:lnTo>
                    <a:pt x="6176" y="2113"/>
                  </a:lnTo>
                  <a:lnTo>
                    <a:pt x="6110" y="2201"/>
                  </a:lnTo>
                  <a:lnTo>
                    <a:pt x="6045" y="2290"/>
                  </a:lnTo>
                  <a:lnTo>
                    <a:pt x="5982" y="2379"/>
                  </a:lnTo>
                  <a:lnTo>
                    <a:pt x="5919" y="2471"/>
                  </a:lnTo>
                  <a:lnTo>
                    <a:pt x="5857" y="2562"/>
                  </a:lnTo>
                  <a:lnTo>
                    <a:pt x="5797" y="2654"/>
                  </a:lnTo>
                  <a:lnTo>
                    <a:pt x="5736" y="2748"/>
                  </a:lnTo>
                  <a:lnTo>
                    <a:pt x="5678" y="2842"/>
                  </a:lnTo>
                  <a:lnTo>
                    <a:pt x="5620" y="2938"/>
                  </a:lnTo>
                  <a:lnTo>
                    <a:pt x="5564" y="3034"/>
                  </a:lnTo>
                  <a:lnTo>
                    <a:pt x="5508" y="3130"/>
                  </a:lnTo>
                  <a:lnTo>
                    <a:pt x="5453" y="3228"/>
                  </a:lnTo>
                  <a:lnTo>
                    <a:pt x="5400" y="3326"/>
                  </a:lnTo>
                  <a:lnTo>
                    <a:pt x="5347" y="3427"/>
                  </a:lnTo>
                  <a:lnTo>
                    <a:pt x="5296" y="3527"/>
                  </a:lnTo>
                  <a:lnTo>
                    <a:pt x="5246" y="3628"/>
                  </a:lnTo>
                  <a:lnTo>
                    <a:pt x="5197" y="3729"/>
                  </a:lnTo>
                  <a:lnTo>
                    <a:pt x="5148" y="3833"/>
                  </a:lnTo>
                  <a:lnTo>
                    <a:pt x="5102" y="3936"/>
                  </a:lnTo>
                  <a:lnTo>
                    <a:pt x="5056" y="4040"/>
                  </a:lnTo>
                  <a:close/>
                  <a:moveTo>
                    <a:pt x="7945" y="1047"/>
                  </a:moveTo>
                  <a:lnTo>
                    <a:pt x="7945" y="4642"/>
                  </a:lnTo>
                  <a:lnTo>
                    <a:pt x="7867" y="4639"/>
                  </a:lnTo>
                  <a:lnTo>
                    <a:pt x="7789" y="4635"/>
                  </a:lnTo>
                  <a:lnTo>
                    <a:pt x="7711" y="4631"/>
                  </a:lnTo>
                  <a:lnTo>
                    <a:pt x="7633" y="4626"/>
                  </a:lnTo>
                  <a:lnTo>
                    <a:pt x="7556" y="4621"/>
                  </a:lnTo>
                  <a:lnTo>
                    <a:pt x="7478" y="4614"/>
                  </a:lnTo>
                  <a:lnTo>
                    <a:pt x="7401" y="4607"/>
                  </a:lnTo>
                  <a:lnTo>
                    <a:pt x="7325" y="4600"/>
                  </a:lnTo>
                  <a:lnTo>
                    <a:pt x="7248" y="4591"/>
                  </a:lnTo>
                  <a:lnTo>
                    <a:pt x="7172" y="4582"/>
                  </a:lnTo>
                  <a:lnTo>
                    <a:pt x="7095" y="4573"/>
                  </a:lnTo>
                  <a:lnTo>
                    <a:pt x="7020" y="4562"/>
                  </a:lnTo>
                  <a:lnTo>
                    <a:pt x="6944" y="4551"/>
                  </a:lnTo>
                  <a:lnTo>
                    <a:pt x="6868" y="4540"/>
                  </a:lnTo>
                  <a:lnTo>
                    <a:pt x="6793" y="4527"/>
                  </a:lnTo>
                  <a:lnTo>
                    <a:pt x="6718" y="4514"/>
                  </a:lnTo>
                  <a:lnTo>
                    <a:pt x="6644" y="4501"/>
                  </a:lnTo>
                  <a:lnTo>
                    <a:pt x="6569" y="4486"/>
                  </a:lnTo>
                  <a:lnTo>
                    <a:pt x="6495" y="4471"/>
                  </a:lnTo>
                  <a:lnTo>
                    <a:pt x="6421" y="4456"/>
                  </a:lnTo>
                  <a:lnTo>
                    <a:pt x="6347" y="4439"/>
                  </a:lnTo>
                  <a:lnTo>
                    <a:pt x="6273" y="4423"/>
                  </a:lnTo>
                  <a:lnTo>
                    <a:pt x="6200" y="4405"/>
                  </a:lnTo>
                  <a:lnTo>
                    <a:pt x="6127" y="4387"/>
                  </a:lnTo>
                  <a:lnTo>
                    <a:pt x="6055" y="4368"/>
                  </a:lnTo>
                  <a:lnTo>
                    <a:pt x="5982" y="4348"/>
                  </a:lnTo>
                  <a:lnTo>
                    <a:pt x="5910" y="4328"/>
                  </a:lnTo>
                  <a:lnTo>
                    <a:pt x="5838" y="4308"/>
                  </a:lnTo>
                  <a:lnTo>
                    <a:pt x="5766" y="4286"/>
                  </a:lnTo>
                  <a:lnTo>
                    <a:pt x="5694" y="4264"/>
                  </a:lnTo>
                  <a:lnTo>
                    <a:pt x="5624" y="4242"/>
                  </a:lnTo>
                  <a:lnTo>
                    <a:pt x="5553" y="4217"/>
                  </a:lnTo>
                  <a:lnTo>
                    <a:pt x="5605" y="4099"/>
                  </a:lnTo>
                  <a:lnTo>
                    <a:pt x="5658" y="3982"/>
                  </a:lnTo>
                  <a:lnTo>
                    <a:pt x="5714" y="3866"/>
                  </a:lnTo>
                  <a:lnTo>
                    <a:pt x="5771" y="3750"/>
                  </a:lnTo>
                  <a:lnTo>
                    <a:pt x="5830" y="3637"/>
                  </a:lnTo>
                  <a:lnTo>
                    <a:pt x="5889" y="3524"/>
                  </a:lnTo>
                  <a:lnTo>
                    <a:pt x="5951" y="3412"/>
                  </a:lnTo>
                  <a:lnTo>
                    <a:pt x="6014" y="3301"/>
                  </a:lnTo>
                  <a:lnTo>
                    <a:pt x="6078" y="3192"/>
                  </a:lnTo>
                  <a:lnTo>
                    <a:pt x="6144" y="3084"/>
                  </a:lnTo>
                  <a:lnTo>
                    <a:pt x="6212" y="2978"/>
                  </a:lnTo>
                  <a:lnTo>
                    <a:pt x="6279" y="2871"/>
                  </a:lnTo>
                  <a:lnTo>
                    <a:pt x="6349" y="2767"/>
                  </a:lnTo>
                  <a:lnTo>
                    <a:pt x="6421" y="2664"/>
                  </a:lnTo>
                  <a:lnTo>
                    <a:pt x="6494" y="2563"/>
                  </a:lnTo>
                  <a:lnTo>
                    <a:pt x="6568" y="2463"/>
                  </a:lnTo>
                  <a:lnTo>
                    <a:pt x="6643" y="2363"/>
                  </a:lnTo>
                  <a:lnTo>
                    <a:pt x="6718" y="2265"/>
                  </a:lnTo>
                  <a:lnTo>
                    <a:pt x="6796" y="2169"/>
                  </a:lnTo>
                  <a:lnTo>
                    <a:pt x="6875" y="2074"/>
                  </a:lnTo>
                  <a:lnTo>
                    <a:pt x="6955" y="1980"/>
                  </a:lnTo>
                  <a:lnTo>
                    <a:pt x="7038" y="1888"/>
                  </a:lnTo>
                  <a:lnTo>
                    <a:pt x="7121" y="1798"/>
                  </a:lnTo>
                  <a:lnTo>
                    <a:pt x="7204" y="1709"/>
                  </a:lnTo>
                  <a:lnTo>
                    <a:pt x="7289" y="1621"/>
                  </a:lnTo>
                  <a:lnTo>
                    <a:pt x="7375" y="1534"/>
                  </a:lnTo>
                  <a:lnTo>
                    <a:pt x="7463" y="1449"/>
                  </a:lnTo>
                  <a:lnTo>
                    <a:pt x="7552" y="1366"/>
                  </a:lnTo>
                  <a:lnTo>
                    <a:pt x="7642" y="1285"/>
                  </a:lnTo>
                  <a:lnTo>
                    <a:pt x="7732" y="1205"/>
                  </a:lnTo>
                  <a:lnTo>
                    <a:pt x="7825" y="1126"/>
                  </a:lnTo>
                  <a:lnTo>
                    <a:pt x="7918" y="1049"/>
                  </a:lnTo>
                  <a:lnTo>
                    <a:pt x="7931" y="1048"/>
                  </a:lnTo>
                  <a:lnTo>
                    <a:pt x="7945" y="1047"/>
                  </a:lnTo>
                  <a:close/>
                  <a:moveTo>
                    <a:pt x="9383" y="1137"/>
                  </a:moveTo>
                  <a:lnTo>
                    <a:pt x="9520" y="1161"/>
                  </a:lnTo>
                  <a:lnTo>
                    <a:pt x="9656" y="1187"/>
                  </a:lnTo>
                  <a:lnTo>
                    <a:pt x="9791" y="1215"/>
                  </a:lnTo>
                  <a:lnTo>
                    <a:pt x="9924" y="1246"/>
                  </a:lnTo>
                  <a:lnTo>
                    <a:pt x="10058" y="1279"/>
                  </a:lnTo>
                  <a:lnTo>
                    <a:pt x="10189" y="1315"/>
                  </a:lnTo>
                  <a:lnTo>
                    <a:pt x="10320" y="1353"/>
                  </a:lnTo>
                  <a:lnTo>
                    <a:pt x="10450" y="1393"/>
                  </a:lnTo>
                  <a:lnTo>
                    <a:pt x="10578" y="1436"/>
                  </a:lnTo>
                  <a:lnTo>
                    <a:pt x="10706" y="1481"/>
                  </a:lnTo>
                  <a:lnTo>
                    <a:pt x="10832" y="1528"/>
                  </a:lnTo>
                  <a:lnTo>
                    <a:pt x="10958" y="1579"/>
                  </a:lnTo>
                  <a:lnTo>
                    <a:pt x="11082" y="1630"/>
                  </a:lnTo>
                  <a:lnTo>
                    <a:pt x="11205" y="1684"/>
                  </a:lnTo>
                  <a:lnTo>
                    <a:pt x="11326" y="1740"/>
                  </a:lnTo>
                  <a:lnTo>
                    <a:pt x="11446" y="1799"/>
                  </a:lnTo>
                  <a:lnTo>
                    <a:pt x="11565" y="1859"/>
                  </a:lnTo>
                  <a:lnTo>
                    <a:pt x="11683" y="1921"/>
                  </a:lnTo>
                  <a:lnTo>
                    <a:pt x="11799" y="1986"/>
                  </a:lnTo>
                  <a:lnTo>
                    <a:pt x="11914" y="2054"/>
                  </a:lnTo>
                  <a:lnTo>
                    <a:pt x="12028" y="2122"/>
                  </a:lnTo>
                  <a:lnTo>
                    <a:pt x="12140" y="2193"/>
                  </a:lnTo>
                  <a:lnTo>
                    <a:pt x="12251" y="2266"/>
                  </a:lnTo>
                  <a:lnTo>
                    <a:pt x="12360" y="2340"/>
                  </a:lnTo>
                  <a:lnTo>
                    <a:pt x="12468" y="2417"/>
                  </a:lnTo>
                  <a:lnTo>
                    <a:pt x="12574" y="2496"/>
                  </a:lnTo>
                  <a:lnTo>
                    <a:pt x="12679" y="2576"/>
                  </a:lnTo>
                  <a:lnTo>
                    <a:pt x="12782" y="2659"/>
                  </a:lnTo>
                  <a:lnTo>
                    <a:pt x="12884" y="2743"/>
                  </a:lnTo>
                  <a:lnTo>
                    <a:pt x="12983" y="2829"/>
                  </a:lnTo>
                  <a:lnTo>
                    <a:pt x="13082" y="2917"/>
                  </a:lnTo>
                  <a:lnTo>
                    <a:pt x="13178" y="3007"/>
                  </a:lnTo>
                  <a:lnTo>
                    <a:pt x="13074" y="3084"/>
                  </a:lnTo>
                  <a:lnTo>
                    <a:pt x="12968" y="3159"/>
                  </a:lnTo>
                  <a:lnTo>
                    <a:pt x="12861" y="3233"/>
                  </a:lnTo>
                  <a:lnTo>
                    <a:pt x="12752" y="3305"/>
                  </a:lnTo>
                  <a:lnTo>
                    <a:pt x="12644" y="3377"/>
                  </a:lnTo>
                  <a:lnTo>
                    <a:pt x="12533" y="3446"/>
                  </a:lnTo>
                  <a:lnTo>
                    <a:pt x="12421" y="3513"/>
                  </a:lnTo>
                  <a:lnTo>
                    <a:pt x="12308" y="3579"/>
                  </a:lnTo>
                  <a:lnTo>
                    <a:pt x="12252" y="3611"/>
                  </a:lnTo>
                  <a:lnTo>
                    <a:pt x="12194" y="3643"/>
                  </a:lnTo>
                  <a:lnTo>
                    <a:pt x="12137" y="3674"/>
                  </a:lnTo>
                  <a:lnTo>
                    <a:pt x="12078" y="3705"/>
                  </a:lnTo>
                  <a:lnTo>
                    <a:pt x="12021" y="3736"/>
                  </a:lnTo>
                  <a:lnTo>
                    <a:pt x="11962" y="3766"/>
                  </a:lnTo>
                  <a:lnTo>
                    <a:pt x="11904" y="3796"/>
                  </a:lnTo>
                  <a:lnTo>
                    <a:pt x="11844" y="3825"/>
                  </a:lnTo>
                  <a:lnTo>
                    <a:pt x="11786" y="3854"/>
                  </a:lnTo>
                  <a:lnTo>
                    <a:pt x="11726" y="3882"/>
                  </a:lnTo>
                  <a:lnTo>
                    <a:pt x="11667" y="3909"/>
                  </a:lnTo>
                  <a:lnTo>
                    <a:pt x="11606" y="3936"/>
                  </a:lnTo>
                  <a:lnTo>
                    <a:pt x="11546" y="3963"/>
                  </a:lnTo>
                  <a:lnTo>
                    <a:pt x="11485" y="3989"/>
                  </a:lnTo>
                  <a:lnTo>
                    <a:pt x="11425" y="4015"/>
                  </a:lnTo>
                  <a:lnTo>
                    <a:pt x="11363" y="4040"/>
                  </a:lnTo>
                  <a:lnTo>
                    <a:pt x="11317" y="3936"/>
                  </a:lnTo>
                  <a:lnTo>
                    <a:pt x="11271" y="3833"/>
                  </a:lnTo>
                  <a:lnTo>
                    <a:pt x="11222" y="3729"/>
                  </a:lnTo>
                  <a:lnTo>
                    <a:pt x="11173" y="3628"/>
                  </a:lnTo>
                  <a:lnTo>
                    <a:pt x="11123" y="3527"/>
                  </a:lnTo>
                  <a:lnTo>
                    <a:pt x="11072" y="3427"/>
                  </a:lnTo>
                  <a:lnTo>
                    <a:pt x="11019" y="3326"/>
                  </a:lnTo>
                  <a:lnTo>
                    <a:pt x="10966" y="3228"/>
                  </a:lnTo>
                  <a:lnTo>
                    <a:pt x="10911" y="3130"/>
                  </a:lnTo>
                  <a:lnTo>
                    <a:pt x="10855" y="3034"/>
                  </a:lnTo>
                  <a:lnTo>
                    <a:pt x="10799" y="2938"/>
                  </a:lnTo>
                  <a:lnTo>
                    <a:pt x="10741" y="2842"/>
                  </a:lnTo>
                  <a:lnTo>
                    <a:pt x="10683" y="2748"/>
                  </a:lnTo>
                  <a:lnTo>
                    <a:pt x="10623" y="2654"/>
                  </a:lnTo>
                  <a:lnTo>
                    <a:pt x="10562" y="2562"/>
                  </a:lnTo>
                  <a:lnTo>
                    <a:pt x="10500" y="2471"/>
                  </a:lnTo>
                  <a:lnTo>
                    <a:pt x="10437" y="2379"/>
                  </a:lnTo>
                  <a:lnTo>
                    <a:pt x="10374" y="2290"/>
                  </a:lnTo>
                  <a:lnTo>
                    <a:pt x="10309" y="2201"/>
                  </a:lnTo>
                  <a:lnTo>
                    <a:pt x="10243" y="2113"/>
                  </a:lnTo>
                  <a:lnTo>
                    <a:pt x="10177" y="2027"/>
                  </a:lnTo>
                  <a:lnTo>
                    <a:pt x="10109" y="1940"/>
                  </a:lnTo>
                  <a:lnTo>
                    <a:pt x="10041" y="1855"/>
                  </a:lnTo>
                  <a:lnTo>
                    <a:pt x="9971" y="1771"/>
                  </a:lnTo>
                  <a:lnTo>
                    <a:pt x="9901" y="1689"/>
                  </a:lnTo>
                  <a:lnTo>
                    <a:pt x="9830" y="1607"/>
                  </a:lnTo>
                  <a:lnTo>
                    <a:pt x="9758" y="1525"/>
                  </a:lnTo>
                  <a:lnTo>
                    <a:pt x="9685" y="1446"/>
                  </a:lnTo>
                  <a:lnTo>
                    <a:pt x="9610" y="1367"/>
                  </a:lnTo>
                  <a:lnTo>
                    <a:pt x="9536" y="1289"/>
                  </a:lnTo>
                  <a:lnTo>
                    <a:pt x="9460" y="1213"/>
                  </a:lnTo>
                  <a:lnTo>
                    <a:pt x="9383" y="1137"/>
                  </a:lnTo>
                  <a:close/>
                  <a:moveTo>
                    <a:pt x="8502" y="1049"/>
                  </a:moveTo>
                  <a:lnTo>
                    <a:pt x="8595" y="1126"/>
                  </a:lnTo>
                  <a:lnTo>
                    <a:pt x="8687" y="1205"/>
                  </a:lnTo>
                  <a:lnTo>
                    <a:pt x="8778" y="1285"/>
                  </a:lnTo>
                  <a:lnTo>
                    <a:pt x="8867" y="1366"/>
                  </a:lnTo>
                  <a:lnTo>
                    <a:pt x="8957" y="1449"/>
                  </a:lnTo>
                  <a:lnTo>
                    <a:pt x="9044" y="1534"/>
                  </a:lnTo>
                  <a:lnTo>
                    <a:pt x="9130" y="1621"/>
                  </a:lnTo>
                  <a:lnTo>
                    <a:pt x="9215" y="1709"/>
                  </a:lnTo>
                  <a:lnTo>
                    <a:pt x="9299" y="1798"/>
                  </a:lnTo>
                  <a:lnTo>
                    <a:pt x="9382" y="1888"/>
                  </a:lnTo>
                  <a:lnTo>
                    <a:pt x="9464" y="1980"/>
                  </a:lnTo>
                  <a:lnTo>
                    <a:pt x="9544" y="2074"/>
                  </a:lnTo>
                  <a:lnTo>
                    <a:pt x="9623" y="2169"/>
                  </a:lnTo>
                  <a:lnTo>
                    <a:pt x="9701" y="2265"/>
                  </a:lnTo>
                  <a:lnTo>
                    <a:pt x="9778" y="2363"/>
                  </a:lnTo>
                  <a:lnTo>
                    <a:pt x="9852" y="2463"/>
                  </a:lnTo>
                  <a:lnTo>
                    <a:pt x="9926" y="2563"/>
                  </a:lnTo>
                  <a:lnTo>
                    <a:pt x="9999" y="2664"/>
                  </a:lnTo>
                  <a:lnTo>
                    <a:pt x="10070" y="2767"/>
                  </a:lnTo>
                  <a:lnTo>
                    <a:pt x="10140" y="2871"/>
                  </a:lnTo>
                  <a:lnTo>
                    <a:pt x="10209" y="2978"/>
                  </a:lnTo>
                  <a:lnTo>
                    <a:pt x="10275" y="3084"/>
                  </a:lnTo>
                  <a:lnTo>
                    <a:pt x="10341" y="3192"/>
                  </a:lnTo>
                  <a:lnTo>
                    <a:pt x="10406" y="3301"/>
                  </a:lnTo>
                  <a:lnTo>
                    <a:pt x="10468" y="3412"/>
                  </a:lnTo>
                  <a:lnTo>
                    <a:pt x="10530" y="3524"/>
                  </a:lnTo>
                  <a:lnTo>
                    <a:pt x="10589" y="3637"/>
                  </a:lnTo>
                  <a:lnTo>
                    <a:pt x="10648" y="3750"/>
                  </a:lnTo>
                  <a:lnTo>
                    <a:pt x="10705" y="3866"/>
                  </a:lnTo>
                  <a:lnTo>
                    <a:pt x="10761" y="3982"/>
                  </a:lnTo>
                  <a:lnTo>
                    <a:pt x="10815" y="4099"/>
                  </a:lnTo>
                  <a:lnTo>
                    <a:pt x="10867" y="4217"/>
                  </a:lnTo>
                  <a:lnTo>
                    <a:pt x="10797" y="4242"/>
                  </a:lnTo>
                  <a:lnTo>
                    <a:pt x="10725" y="4264"/>
                  </a:lnTo>
                  <a:lnTo>
                    <a:pt x="10654" y="4286"/>
                  </a:lnTo>
                  <a:lnTo>
                    <a:pt x="10582" y="4308"/>
                  </a:lnTo>
                  <a:lnTo>
                    <a:pt x="10510" y="4328"/>
                  </a:lnTo>
                  <a:lnTo>
                    <a:pt x="10437" y="4348"/>
                  </a:lnTo>
                  <a:lnTo>
                    <a:pt x="10366" y="4368"/>
                  </a:lnTo>
                  <a:lnTo>
                    <a:pt x="10293" y="4387"/>
                  </a:lnTo>
                  <a:lnTo>
                    <a:pt x="10219" y="4405"/>
                  </a:lnTo>
                  <a:lnTo>
                    <a:pt x="10146" y="4423"/>
                  </a:lnTo>
                  <a:lnTo>
                    <a:pt x="10072" y="4439"/>
                  </a:lnTo>
                  <a:lnTo>
                    <a:pt x="9998" y="4456"/>
                  </a:lnTo>
                  <a:lnTo>
                    <a:pt x="9924" y="4471"/>
                  </a:lnTo>
                  <a:lnTo>
                    <a:pt x="9850" y="4486"/>
                  </a:lnTo>
                  <a:lnTo>
                    <a:pt x="9775" y="4501"/>
                  </a:lnTo>
                  <a:lnTo>
                    <a:pt x="9701" y="4514"/>
                  </a:lnTo>
                  <a:lnTo>
                    <a:pt x="9626" y="4527"/>
                  </a:lnTo>
                  <a:lnTo>
                    <a:pt x="9551" y="4540"/>
                  </a:lnTo>
                  <a:lnTo>
                    <a:pt x="9475" y="4551"/>
                  </a:lnTo>
                  <a:lnTo>
                    <a:pt x="9400" y="4562"/>
                  </a:lnTo>
                  <a:lnTo>
                    <a:pt x="9324" y="4573"/>
                  </a:lnTo>
                  <a:lnTo>
                    <a:pt x="9247" y="4582"/>
                  </a:lnTo>
                  <a:lnTo>
                    <a:pt x="9171" y="4591"/>
                  </a:lnTo>
                  <a:lnTo>
                    <a:pt x="9094" y="4600"/>
                  </a:lnTo>
                  <a:lnTo>
                    <a:pt x="9018" y="4607"/>
                  </a:lnTo>
                  <a:lnTo>
                    <a:pt x="8940" y="4614"/>
                  </a:lnTo>
                  <a:lnTo>
                    <a:pt x="8863" y="4621"/>
                  </a:lnTo>
                  <a:lnTo>
                    <a:pt x="8786" y="4626"/>
                  </a:lnTo>
                  <a:lnTo>
                    <a:pt x="8708" y="4631"/>
                  </a:lnTo>
                  <a:lnTo>
                    <a:pt x="8630" y="4635"/>
                  </a:lnTo>
                  <a:lnTo>
                    <a:pt x="8552" y="4639"/>
                  </a:lnTo>
                  <a:lnTo>
                    <a:pt x="8474" y="4642"/>
                  </a:lnTo>
                  <a:lnTo>
                    <a:pt x="8474" y="1047"/>
                  </a:lnTo>
                  <a:lnTo>
                    <a:pt x="8489" y="1048"/>
                  </a:lnTo>
                  <a:lnTo>
                    <a:pt x="8502" y="1049"/>
                  </a:lnTo>
                  <a:close/>
                  <a:moveTo>
                    <a:pt x="7917" y="14987"/>
                  </a:moveTo>
                  <a:lnTo>
                    <a:pt x="7835" y="14918"/>
                  </a:lnTo>
                  <a:lnTo>
                    <a:pt x="7754" y="14850"/>
                  </a:lnTo>
                  <a:lnTo>
                    <a:pt x="7673" y="14779"/>
                  </a:lnTo>
                  <a:lnTo>
                    <a:pt x="7594" y="14708"/>
                  </a:lnTo>
                  <a:lnTo>
                    <a:pt x="7515" y="14636"/>
                  </a:lnTo>
                  <a:lnTo>
                    <a:pt x="7437" y="14562"/>
                  </a:lnTo>
                  <a:lnTo>
                    <a:pt x="7360" y="14487"/>
                  </a:lnTo>
                  <a:lnTo>
                    <a:pt x="7284" y="14410"/>
                  </a:lnTo>
                  <a:lnTo>
                    <a:pt x="7209" y="14333"/>
                  </a:lnTo>
                  <a:lnTo>
                    <a:pt x="7135" y="14255"/>
                  </a:lnTo>
                  <a:lnTo>
                    <a:pt x="7061" y="14175"/>
                  </a:lnTo>
                  <a:lnTo>
                    <a:pt x="6989" y="14095"/>
                  </a:lnTo>
                  <a:lnTo>
                    <a:pt x="6919" y="14012"/>
                  </a:lnTo>
                  <a:lnTo>
                    <a:pt x="6848" y="13930"/>
                  </a:lnTo>
                  <a:lnTo>
                    <a:pt x="6778" y="13846"/>
                  </a:lnTo>
                  <a:lnTo>
                    <a:pt x="6710" y="13761"/>
                  </a:lnTo>
                  <a:lnTo>
                    <a:pt x="6643" y="13675"/>
                  </a:lnTo>
                  <a:lnTo>
                    <a:pt x="6576" y="13588"/>
                  </a:lnTo>
                  <a:lnTo>
                    <a:pt x="6511" y="13499"/>
                  </a:lnTo>
                  <a:lnTo>
                    <a:pt x="6447" y="13410"/>
                  </a:lnTo>
                  <a:lnTo>
                    <a:pt x="6383" y="13319"/>
                  </a:lnTo>
                  <a:lnTo>
                    <a:pt x="6321" y="13228"/>
                  </a:lnTo>
                  <a:lnTo>
                    <a:pt x="6260" y="13135"/>
                  </a:lnTo>
                  <a:lnTo>
                    <a:pt x="6199" y="13042"/>
                  </a:lnTo>
                  <a:lnTo>
                    <a:pt x="6141" y="12948"/>
                  </a:lnTo>
                  <a:lnTo>
                    <a:pt x="6082" y="12853"/>
                  </a:lnTo>
                  <a:lnTo>
                    <a:pt x="6026" y="12757"/>
                  </a:lnTo>
                  <a:lnTo>
                    <a:pt x="5969" y="12659"/>
                  </a:lnTo>
                  <a:lnTo>
                    <a:pt x="5915" y="12561"/>
                  </a:lnTo>
                  <a:lnTo>
                    <a:pt x="5862" y="12462"/>
                  </a:lnTo>
                  <a:lnTo>
                    <a:pt x="5809" y="12363"/>
                  </a:lnTo>
                  <a:lnTo>
                    <a:pt x="5758" y="12262"/>
                  </a:lnTo>
                  <a:lnTo>
                    <a:pt x="5823" y="12242"/>
                  </a:lnTo>
                  <a:lnTo>
                    <a:pt x="5888" y="12223"/>
                  </a:lnTo>
                  <a:lnTo>
                    <a:pt x="5954" y="12204"/>
                  </a:lnTo>
                  <a:lnTo>
                    <a:pt x="6020" y="12187"/>
                  </a:lnTo>
                  <a:lnTo>
                    <a:pt x="6086" y="12169"/>
                  </a:lnTo>
                  <a:lnTo>
                    <a:pt x="6152" y="12153"/>
                  </a:lnTo>
                  <a:lnTo>
                    <a:pt x="6219" y="12136"/>
                  </a:lnTo>
                  <a:lnTo>
                    <a:pt x="6285" y="12121"/>
                  </a:lnTo>
                  <a:lnTo>
                    <a:pt x="6352" y="12106"/>
                  </a:lnTo>
                  <a:lnTo>
                    <a:pt x="6420" y="12091"/>
                  </a:lnTo>
                  <a:lnTo>
                    <a:pt x="6487" y="12077"/>
                  </a:lnTo>
                  <a:lnTo>
                    <a:pt x="6554" y="12064"/>
                  </a:lnTo>
                  <a:lnTo>
                    <a:pt x="6622" y="12051"/>
                  </a:lnTo>
                  <a:lnTo>
                    <a:pt x="6691" y="12039"/>
                  </a:lnTo>
                  <a:lnTo>
                    <a:pt x="6758" y="12027"/>
                  </a:lnTo>
                  <a:lnTo>
                    <a:pt x="6827" y="12016"/>
                  </a:lnTo>
                  <a:lnTo>
                    <a:pt x="6895" y="12005"/>
                  </a:lnTo>
                  <a:lnTo>
                    <a:pt x="6964" y="11995"/>
                  </a:lnTo>
                  <a:lnTo>
                    <a:pt x="7033" y="11986"/>
                  </a:lnTo>
                  <a:lnTo>
                    <a:pt x="7102" y="11976"/>
                  </a:lnTo>
                  <a:lnTo>
                    <a:pt x="7171" y="11968"/>
                  </a:lnTo>
                  <a:lnTo>
                    <a:pt x="7241" y="11960"/>
                  </a:lnTo>
                  <a:lnTo>
                    <a:pt x="7311" y="11953"/>
                  </a:lnTo>
                  <a:lnTo>
                    <a:pt x="7380" y="11946"/>
                  </a:lnTo>
                  <a:lnTo>
                    <a:pt x="7450" y="11940"/>
                  </a:lnTo>
                  <a:lnTo>
                    <a:pt x="7521" y="11934"/>
                  </a:lnTo>
                  <a:lnTo>
                    <a:pt x="7591" y="11929"/>
                  </a:lnTo>
                  <a:lnTo>
                    <a:pt x="7662" y="11924"/>
                  </a:lnTo>
                  <a:lnTo>
                    <a:pt x="7732" y="11920"/>
                  </a:lnTo>
                  <a:lnTo>
                    <a:pt x="7803" y="11916"/>
                  </a:lnTo>
                  <a:lnTo>
                    <a:pt x="7874" y="11913"/>
                  </a:lnTo>
                  <a:lnTo>
                    <a:pt x="7945" y="11911"/>
                  </a:lnTo>
                  <a:lnTo>
                    <a:pt x="7945" y="14988"/>
                  </a:lnTo>
                  <a:lnTo>
                    <a:pt x="7917" y="14987"/>
                  </a:lnTo>
                  <a:close/>
                  <a:moveTo>
                    <a:pt x="15347" y="7759"/>
                  </a:moveTo>
                  <a:lnTo>
                    <a:pt x="12171" y="7759"/>
                  </a:lnTo>
                  <a:lnTo>
                    <a:pt x="12168" y="7652"/>
                  </a:lnTo>
                  <a:lnTo>
                    <a:pt x="12163" y="7545"/>
                  </a:lnTo>
                  <a:lnTo>
                    <a:pt x="12157" y="7439"/>
                  </a:lnTo>
                  <a:lnTo>
                    <a:pt x="12151" y="7332"/>
                  </a:lnTo>
                  <a:lnTo>
                    <a:pt x="12144" y="7226"/>
                  </a:lnTo>
                  <a:lnTo>
                    <a:pt x="12136" y="7120"/>
                  </a:lnTo>
                  <a:lnTo>
                    <a:pt x="12126" y="7015"/>
                  </a:lnTo>
                  <a:lnTo>
                    <a:pt x="12115" y="6911"/>
                  </a:lnTo>
                  <a:lnTo>
                    <a:pt x="12104" y="6805"/>
                  </a:lnTo>
                  <a:lnTo>
                    <a:pt x="12092" y="6701"/>
                  </a:lnTo>
                  <a:lnTo>
                    <a:pt x="12078" y="6598"/>
                  </a:lnTo>
                  <a:lnTo>
                    <a:pt x="12063" y="6494"/>
                  </a:lnTo>
                  <a:lnTo>
                    <a:pt x="12047" y="6391"/>
                  </a:lnTo>
                  <a:lnTo>
                    <a:pt x="12031" y="6288"/>
                  </a:lnTo>
                  <a:lnTo>
                    <a:pt x="12014" y="6186"/>
                  </a:lnTo>
                  <a:lnTo>
                    <a:pt x="11995" y="6084"/>
                  </a:lnTo>
                  <a:lnTo>
                    <a:pt x="11976" y="5982"/>
                  </a:lnTo>
                  <a:lnTo>
                    <a:pt x="11954" y="5881"/>
                  </a:lnTo>
                  <a:lnTo>
                    <a:pt x="11933" y="5781"/>
                  </a:lnTo>
                  <a:lnTo>
                    <a:pt x="11910" y="5681"/>
                  </a:lnTo>
                  <a:lnTo>
                    <a:pt x="11886" y="5582"/>
                  </a:lnTo>
                  <a:lnTo>
                    <a:pt x="11862" y="5482"/>
                  </a:lnTo>
                  <a:lnTo>
                    <a:pt x="11836" y="5383"/>
                  </a:lnTo>
                  <a:lnTo>
                    <a:pt x="11810" y="5285"/>
                  </a:lnTo>
                  <a:lnTo>
                    <a:pt x="11783" y="5188"/>
                  </a:lnTo>
                  <a:lnTo>
                    <a:pt x="11754" y="5090"/>
                  </a:lnTo>
                  <a:lnTo>
                    <a:pt x="11724" y="4993"/>
                  </a:lnTo>
                  <a:lnTo>
                    <a:pt x="11694" y="4897"/>
                  </a:lnTo>
                  <a:lnTo>
                    <a:pt x="11663" y="4801"/>
                  </a:lnTo>
                  <a:lnTo>
                    <a:pt x="11630" y="4706"/>
                  </a:lnTo>
                  <a:lnTo>
                    <a:pt x="11597" y="4611"/>
                  </a:lnTo>
                  <a:lnTo>
                    <a:pt x="11563" y="4517"/>
                  </a:lnTo>
                  <a:lnTo>
                    <a:pt x="11630" y="4489"/>
                  </a:lnTo>
                  <a:lnTo>
                    <a:pt x="11695" y="4461"/>
                  </a:lnTo>
                  <a:lnTo>
                    <a:pt x="11762" y="4432"/>
                  </a:lnTo>
                  <a:lnTo>
                    <a:pt x="11828" y="4403"/>
                  </a:lnTo>
                  <a:lnTo>
                    <a:pt x="11894" y="4374"/>
                  </a:lnTo>
                  <a:lnTo>
                    <a:pt x="11959" y="4343"/>
                  </a:lnTo>
                  <a:lnTo>
                    <a:pt x="12024" y="4312"/>
                  </a:lnTo>
                  <a:lnTo>
                    <a:pt x="12088" y="4281"/>
                  </a:lnTo>
                  <a:lnTo>
                    <a:pt x="12153" y="4249"/>
                  </a:lnTo>
                  <a:lnTo>
                    <a:pt x="12217" y="4216"/>
                  </a:lnTo>
                  <a:lnTo>
                    <a:pt x="12280" y="4183"/>
                  </a:lnTo>
                  <a:lnTo>
                    <a:pt x="12344" y="4150"/>
                  </a:lnTo>
                  <a:lnTo>
                    <a:pt x="12407" y="4116"/>
                  </a:lnTo>
                  <a:lnTo>
                    <a:pt x="12469" y="4081"/>
                  </a:lnTo>
                  <a:lnTo>
                    <a:pt x="12532" y="4046"/>
                  </a:lnTo>
                  <a:lnTo>
                    <a:pt x="12593" y="4011"/>
                  </a:lnTo>
                  <a:lnTo>
                    <a:pt x="12655" y="3975"/>
                  </a:lnTo>
                  <a:lnTo>
                    <a:pt x="12717" y="3939"/>
                  </a:lnTo>
                  <a:lnTo>
                    <a:pt x="12778" y="3902"/>
                  </a:lnTo>
                  <a:lnTo>
                    <a:pt x="12839" y="3865"/>
                  </a:lnTo>
                  <a:lnTo>
                    <a:pt x="12899" y="3827"/>
                  </a:lnTo>
                  <a:lnTo>
                    <a:pt x="12959" y="3789"/>
                  </a:lnTo>
                  <a:lnTo>
                    <a:pt x="13019" y="3749"/>
                  </a:lnTo>
                  <a:lnTo>
                    <a:pt x="13078" y="3710"/>
                  </a:lnTo>
                  <a:lnTo>
                    <a:pt x="13137" y="3670"/>
                  </a:lnTo>
                  <a:lnTo>
                    <a:pt x="13196" y="3630"/>
                  </a:lnTo>
                  <a:lnTo>
                    <a:pt x="13254" y="3590"/>
                  </a:lnTo>
                  <a:lnTo>
                    <a:pt x="13313" y="3549"/>
                  </a:lnTo>
                  <a:lnTo>
                    <a:pt x="13370" y="3507"/>
                  </a:lnTo>
                  <a:lnTo>
                    <a:pt x="13428" y="3466"/>
                  </a:lnTo>
                  <a:lnTo>
                    <a:pt x="13485" y="3423"/>
                  </a:lnTo>
                  <a:lnTo>
                    <a:pt x="13542" y="3381"/>
                  </a:lnTo>
                  <a:lnTo>
                    <a:pt x="13641" y="3492"/>
                  </a:lnTo>
                  <a:lnTo>
                    <a:pt x="13738" y="3605"/>
                  </a:lnTo>
                  <a:lnTo>
                    <a:pt x="13832" y="3719"/>
                  </a:lnTo>
                  <a:lnTo>
                    <a:pt x="13924" y="3837"/>
                  </a:lnTo>
                  <a:lnTo>
                    <a:pt x="14014" y="3956"/>
                  </a:lnTo>
                  <a:lnTo>
                    <a:pt x="14101" y="4076"/>
                  </a:lnTo>
                  <a:lnTo>
                    <a:pt x="14185" y="4199"/>
                  </a:lnTo>
                  <a:lnTo>
                    <a:pt x="14266" y="4324"/>
                  </a:lnTo>
                  <a:lnTo>
                    <a:pt x="14346" y="4450"/>
                  </a:lnTo>
                  <a:lnTo>
                    <a:pt x="14422" y="4578"/>
                  </a:lnTo>
                  <a:lnTo>
                    <a:pt x="14496" y="4708"/>
                  </a:lnTo>
                  <a:lnTo>
                    <a:pt x="14567" y="4839"/>
                  </a:lnTo>
                  <a:lnTo>
                    <a:pt x="14634" y="4972"/>
                  </a:lnTo>
                  <a:lnTo>
                    <a:pt x="14700" y="5106"/>
                  </a:lnTo>
                  <a:lnTo>
                    <a:pt x="14763" y="5243"/>
                  </a:lnTo>
                  <a:lnTo>
                    <a:pt x="14822" y="5380"/>
                  </a:lnTo>
                  <a:lnTo>
                    <a:pt x="14879" y="5519"/>
                  </a:lnTo>
                  <a:lnTo>
                    <a:pt x="14932" y="5660"/>
                  </a:lnTo>
                  <a:lnTo>
                    <a:pt x="14982" y="5802"/>
                  </a:lnTo>
                  <a:lnTo>
                    <a:pt x="15031" y="5945"/>
                  </a:lnTo>
                  <a:lnTo>
                    <a:pt x="15075" y="6090"/>
                  </a:lnTo>
                  <a:lnTo>
                    <a:pt x="15116" y="6236"/>
                  </a:lnTo>
                  <a:lnTo>
                    <a:pt x="15154" y="6383"/>
                  </a:lnTo>
                  <a:lnTo>
                    <a:pt x="15189" y="6532"/>
                  </a:lnTo>
                  <a:lnTo>
                    <a:pt x="15220" y="6681"/>
                  </a:lnTo>
                  <a:lnTo>
                    <a:pt x="15248" y="6832"/>
                  </a:lnTo>
                  <a:lnTo>
                    <a:pt x="15273" y="6984"/>
                  </a:lnTo>
                  <a:lnTo>
                    <a:pt x="15294" y="7137"/>
                  </a:lnTo>
                  <a:lnTo>
                    <a:pt x="15313" y="7291"/>
                  </a:lnTo>
                  <a:lnTo>
                    <a:pt x="15327" y="7446"/>
                  </a:lnTo>
                  <a:lnTo>
                    <a:pt x="15338" y="7602"/>
                  </a:lnTo>
                  <a:lnTo>
                    <a:pt x="15347" y="7759"/>
                  </a:lnTo>
                  <a:close/>
                  <a:moveTo>
                    <a:pt x="8210" y="0"/>
                  </a:moveTo>
                  <a:lnTo>
                    <a:pt x="7787" y="10"/>
                  </a:lnTo>
                  <a:lnTo>
                    <a:pt x="7370" y="41"/>
                  </a:lnTo>
                  <a:lnTo>
                    <a:pt x="6960" y="92"/>
                  </a:lnTo>
                  <a:lnTo>
                    <a:pt x="6555" y="162"/>
                  </a:lnTo>
                  <a:lnTo>
                    <a:pt x="6158" y="253"/>
                  </a:lnTo>
                  <a:lnTo>
                    <a:pt x="5768" y="361"/>
                  </a:lnTo>
                  <a:lnTo>
                    <a:pt x="5386" y="486"/>
                  </a:lnTo>
                  <a:lnTo>
                    <a:pt x="5014" y="630"/>
                  </a:lnTo>
                  <a:lnTo>
                    <a:pt x="4651" y="791"/>
                  </a:lnTo>
                  <a:lnTo>
                    <a:pt x="4297" y="967"/>
                  </a:lnTo>
                  <a:lnTo>
                    <a:pt x="3953" y="1161"/>
                  </a:lnTo>
                  <a:lnTo>
                    <a:pt x="3619" y="1369"/>
                  </a:lnTo>
                  <a:lnTo>
                    <a:pt x="3298" y="1593"/>
                  </a:lnTo>
                  <a:lnTo>
                    <a:pt x="2987" y="1831"/>
                  </a:lnTo>
                  <a:lnTo>
                    <a:pt x="2690" y="2083"/>
                  </a:lnTo>
                  <a:lnTo>
                    <a:pt x="2404" y="2348"/>
                  </a:lnTo>
                  <a:lnTo>
                    <a:pt x="2132" y="2627"/>
                  </a:lnTo>
                  <a:lnTo>
                    <a:pt x="1875" y="2918"/>
                  </a:lnTo>
                  <a:lnTo>
                    <a:pt x="1631" y="3220"/>
                  </a:lnTo>
                  <a:lnTo>
                    <a:pt x="1402" y="3535"/>
                  </a:lnTo>
                  <a:lnTo>
                    <a:pt x="1188" y="3861"/>
                  </a:lnTo>
                  <a:lnTo>
                    <a:pt x="991" y="4195"/>
                  </a:lnTo>
                  <a:lnTo>
                    <a:pt x="810" y="4541"/>
                  </a:lnTo>
                  <a:lnTo>
                    <a:pt x="645" y="4897"/>
                  </a:lnTo>
                  <a:lnTo>
                    <a:pt x="498" y="5261"/>
                  </a:lnTo>
                  <a:lnTo>
                    <a:pt x="369" y="5634"/>
                  </a:lnTo>
                  <a:lnTo>
                    <a:pt x="259" y="6014"/>
                  </a:lnTo>
                  <a:lnTo>
                    <a:pt x="167" y="6402"/>
                  </a:lnTo>
                  <a:lnTo>
                    <a:pt x="94" y="6797"/>
                  </a:lnTo>
                  <a:lnTo>
                    <a:pt x="42" y="7198"/>
                  </a:lnTo>
                  <a:lnTo>
                    <a:pt x="10" y="7605"/>
                  </a:lnTo>
                  <a:lnTo>
                    <a:pt x="0" y="8018"/>
                  </a:lnTo>
                  <a:lnTo>
                    <a:pt x="10" y="8431"/>
                  </a:lnTo>
                  <a:lnTo>
                    <a:pt x="42" y="8838"/>
                  </a:lnTo>
                  <a:lnTo>
                    <a:pt x="94" y="9239"/>
                  </a:lnTo>
                  <a:lnTo>
                    <a:pt x="167" y="9634"/>
                  </a:lnTo>
                  <a:lnTo>
                    <a:pt x="259" y="10021"/>
                  </a:lnTo>
                  <a:lnTo>
                    <a:pt x="369" y="10402"/>
                  </a:lnTo>
                  <a:lnTo>
                    <a:pt x="498" y="10774"/>
                  </a:lnTo>
                  <a:lnTo>
                    <a:pt x="645" y="11139"/>
                  </a:lnTo>
                  <a:lnTo>
                    <a:pt x="810" y="11494"/>
                  </a:lnTo>
                  <a:lnTo>
                    <a:pt x="991" y="11840"/>
                  </a:lnTo>
                  <a:lnTo>
                    <a:pt x="1188" y="12175"/>
                  </a:lnTo>
                  <a:lnTo>
                    <a:pt x="1402" y="12501"/>
                  </a:lnTo>
                  <a:lnTo>
                    <a:pt x="1631" y="12815"/>
                  </a:lnTo>
                  <a:lnTo>
                    <a:pt x="1875" y="13118"/>
                  </a:lnTo>
                  <a:lnTo>
                    <a:pt x="2132" y="13409"/>
                  </a:lnTo>
                  <a:lnTo>
                    <a:pt x="2404" y="13688"/>
                  </a:lnTo>
                  <a:lnTo>
                    <a:pt x="2690" y="13953"/>
                  </a:lnTo>
                  <a:lnTo>
                    <a:pt x="2987" y="14205"/>
                  </a:lnTo>
                  <a:lnTo>
                    <a:pt x="3298" y="14443"/>
                  </a:lnTo>
                  <a:lnTo>
                    <a:pt x="3619" y="14667"/>
                  </a:lnTo>
                  <a:lnTo>
                    <a:pt x="3953" y="14875"/>
                  </a:lnTo>
                  <a:lnTo>
                    <a:pt x="4297" y="15068"/>
                  </a:lnTo>
                  <a:lnTo>
                    <a:pt x="4651" y="15245"/>
                  </a:lnTo>
                  <a:lnTo>
                    <a:pt x="5014" y="15406"/>
                  </a:lnTo>
                  <a:lnTo>
                    <a:pt x="5386" y="15550"/>
                  </a:lnTo>
                  <a:lnTo>
                    <a:pt x="5768" y="15675"/>
                  </a:lnTo>
                  <a:lnTo>
                    <a:pt x="6158" y="15783"/>
                  </a:lnTo>
                  <a:lnTo>
                    <a:pt x="6555" y="15873"/>
                  </a:lnTo>
                  <a:lnTo>
                    <a:pt x="6960" y="15944"/>
                  </a:lnTo>
                  <a:lnTo>
                    <a:pt x="7370" y="15995"/>
                  </a:lnTo>
                  <a:lnTo>
                    <a:pt x="7787" y="16026"/>
                  </a:lnTo>
                  <a:lnTo>
                    <a:pt x="8210" y="16036"/>
                  </a:lnTo>
                  <a:lnTo>
                    <a:pt x="8632" y="16026"/>
                  </a:lnTo>
                  <a:lnTo>
                    <a:pt x="9049" y="15995"/>
                  </a:lnTo>
                  <a:lnTo>
                    <a:pt x="9459" y="15944"/>
                  </a:lnTo>
                  <a:lnTo>
                    <a:pt x="9864" y="15873"/>
                  </a:lnTo>
                  <a:lnTo>
                    <a:pt x="10261" y="15783"/>
                  </a:lnTo>
                  <a:lnTo>
                    <a:pt x="10651" y="15675"/>
                  </a:lnTo>
                  <a:lnTo>
                    <a:pt x="11033" y="15550"/>
                  </a:lnTo>
                  <a:lnTo>
                    <a:pt x="11405" y="15406"/>
                  </a:lnTo>
                  <a:lnTo>
                    <a:pt x="11768" y="15245"/>
                  </a:lnTo>
                  <a:lnTo>
                    <a:pt x="12122" y="15068"/>
                  </a:lnTo>
                  <a:lnTo>
                    <a:pt x="12466" y="14875"/>
                  </a:lnTo>
                  <a:lnTo>
                    <a:pt x="12800" y="14667"/>
                  </a:lnTo>
                  <a:lnTo>
                    <a:pt x="13122" y="14443"/>
                  </a:lnTo>
                  <a:lnTo>
                    <a:pt x="13432" y="14205"/>
                  </a:lnTo>
                  <a:lnTo>
                    <a:pt x="13729" y="13953"/>
                  </a:lnTo>
                  <a:lnTo>
                    <a:pt x="14015" y="13688"/>
                  </a:lnTo>
                  <a:lnTo>
                    <a:pt x="14287" y="13409"/>
                  </a:lnTo>
                  <a:lnTo>
                    <a:pt x="14544" y="13118"/>
                  </a:lnTo>
                  <a:lnTo>
                    <a:pt x="14788" y="12815"/>
                  </a:lnTo>
                  <a:lnTo>
                    <a:pt x="15017" y="12501"/>
                  </a:lnTo>
                  <a:lnTo>
                    <a:pt x="15231" y="12175"/>
                  </a:lnTo>
                  <a:lnTo>
                    <a:pt x="15428" y="11840"/>
                  </a:lnTo>
                  <a:lnTo>
                    <a:pt x="15609" y="11494"/>
                  </a:lnTo>
                  <a:lnTo>
                    <a:pt x="15774" y="11139"/>
                  </a:lnTo>
                  <a:lnTo>
                    <a:pt x="15921" y="10774"/>
                  </a:lnTo>
                  <a:lnTo>
                    <a:pt x="16050" y="10402"/>
                  </a:lnTo>
                  <a:lnTo>
                    <a:pt x="16160" y="10021"/>
                  </a:lnTo>
                  <a:lnTo>
                    <a:pt x="16253" y="9634"/>
                  </a:lnTo>
                  <a:lnTo>
                    <a:pt x="16325" y="9239"/>
                  </a:lnTo>
                  <a:lnTo>
                    <a:pt x="16377" y="8838"/>
                  </a:lnTo>
                  <a:lnTo>
                    <a:pt x="16409" y="8431"/>
                  </a:lnTo>
                  <a:lnTo>
                    <a:pt x="16419" y="8018"/>
                  </a:lnTo>
                  <a:lnTo>
                    <a:pt x="16409" y="7605"/>
                  </a:lnTo>
                  <a:lnTo>
                    <a:pt x="16377" y="7198"/>
                  </a:lnTo>
                  <a:lnTo>
                    <a:pt x="16325" y="6797"/>
                  </a:lnTo>
                  <a:lnTo>
                    <a:pt x="16253" y="6402"/>
                  </a:lnTo>
                  <a:lnTo>
                    <a:pt x="16160" y="6014"/>
                  </a:lnTo>
                  <a:lnTo>
                    <a:pt x="16050" y="5634"/>
                  </a:lnTo>
                  <a:lnTo>
                    <a:pt x="15921" y="5261"/>
                  </a:lnTo>
                  <a:lnTo>
                    <a:pt x="15774" y="4897"/>
                  </a:lnTo>
                  <a:lnTo>
                    <a:pt x="15609" y="4541"/>
                  </a:lnTo>
                  <a:lnTo>
                    <a:pt x="15428" y="4195"/>
                  </a:lnTo>
                  <a:lnTo>
                    <a:pt x="15231" y="3861"/>
                  </a:lnTo>
                  <a:lnTo>
                    <a:pt x="15017" y="3535"/>
                  </a:lnTo>
                  <a:lnTo>
                    <a:pt x="14788" y="3220"/>
                  </a:lnTo>
                  <a:lnTo>
                    <a:pt x="14544" y="2918"/>
                  </a:lnTo>
                  <a:lnTo>
                    <a:pt x="14287" y="2627"/>
                  </a:lnTo>
                  <a:lnTo>
                    <a:pt x="14015" y="2348"/>
                  </a:lnTo>
                  <a:lnTo>
                    <a:pt x="13729" y="2083"/>
                  </a:lnTo>
                  <a:lnTo>
                    <a:pt x="13432" y="1831"/>
                  </a:lnTo>
                  <a:lnTo>
                    <a:pt x="13122" y="1593"/>
                  </a:lnTo>
                  <a:lnTo>
                    <a:pt x="12800" y="1369"/>
                  </a:lnTo>
                  <a:lnTo>
                    <a:pt x="12466" y="1161"/>
                  </a:lnTo>
                  <a:lnTo>
                    <a:pt x="12122" y="967"/>
                  </a:lnTo>
                  <a:lnTo>
                    <a:pt x="11768" y="791"/>
                  </a:lnTo>
                  <a:lnTo>
                    <a:pt x="11405" y="630"/>
                  </a:lnTo>
                  <a:lnTo>
                    <a:pt x="11033" y="486"/>
                  </a:lnTo>
                  <a:lnTo>
                    <a:pt x="10651" y="361"/>
                  </a:lnTo>
                  <a:lnTo>
                    <a:pt x="10261" y="253"/>
                  </a:lnTo>
                  <a:lnTo>
                    <a:pt x="9864" y="162"/>
                  </a:lnTo>
                  <a:lnTo>
                    <a:pt x="9459" y="92"/>
                  </a:lnTo>
                  <a:lnTo>
                    <a:pt x="9049" y="41"/>
                  </a:lnTo>
                  <a:lnTo>
                    <a:pt x="8632" y="10"/>
                  </a:lnTo>
                  <a:lnTo>
                    <a:pt x="821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34" name="îṧ1iďè">
              <a:extLst>
                <a:ext uri="{FF2B5EF4-FFF2-40B4-BE49-F238E27FC236}">
                  <a16:creationId xmlns:a16="http://schemas.microsoft.com/office/drawing/2014/main" id="{D717E463-F3E5-4CC9-8230-4250526A916F}"/>
                </a:ext>
              </a:extLst>
            </p:cNvPr>
            <p:cNvSpPr/>
            <p:nvPr/>
          </p:nvSpPr>
          <p:spPr bwMode="auto">
            <a:xfrm>
              <a:off x="8278886" y="2081544"/>
              <a:ext cx="265011" cy="190515"/>
            </a:xfrm>
            <a:custGeom>
              <a:avLst/>
              <a:gdLst>
                <a:gd name="T0" fmla="*/ 2486 w 16058"/>
                <a:gd name="T1" fmla="*/ 10403 h 11544"/>
                <a:gd name="T2" fmla="*/ 1591 w 16058"/>
                <a:gd name="T3" fmla="*/ 9798 h 11544"/>
                <a:gd name="T4" fmla="*/ 1075 w 16058"/>
                <a:gd name="T5" fmla="*/ 8845 h 11544"/>
                <a:gd name="T6" fmla="*/ 1034 w 16058"/>
                <a:gd name="T7" fmla="*/ 7911 h 11544"/>
                <a:gd name="T8" fmla="*/ 1269 w 16058"/>
                <a:gd name="T9" fmla="*/ 7227 h 11544"/>
                <a:gd name="T10" fmla="*/ 1712 w 16058"/>
                <a:gd name="T11" fmla="*/ 6654 h 11544"/>
                <a:gd name="T12" fmla="*/ 2311 w 16058"/>
                <a:gd name="T13" fmla="*/ 6236 h 11544"/>
                <a:gd name="T14" fmla="*/ 2677 w 16058"/>
                <a:gd name="T15" fmla="*/ 5951 h 11544"/>
                <a:gd name="T16" fmla="*/ 2739 w 16058"/>
                <a:gd name="T17" fmla="*/ 5626 h 11544"/>
                <a:gd name="T18" fmla="*/ 2564 w 16058"/>
                <a:gd name="T19" fmla="*/ 5102 h 11544"/>
                <a:gd name="T20" fmla="*/ 2509 w 16058"/>
                <a:gd name="T21" fmla="*/ 4790 h 11544"/>
                <a:gd name="T22" fmla="*/ 2634 w 16058"/>
                <a:gd name="T23" fmla="*/ 4225 h 11544"/>
                <a:gd name="T24" fmla="*/ 3014 w 16058"/>
                <a:gd name="T25" fmla="*/ 3763 h 11544"/>
                <a:gd name="T26" fmla="*/ 3573 w 16058"/>
                <a:gd name="T27" fmla="*/ 3528 h 11544"/>
                <a:gd name="T28" fmla="*/ 4022 w 16058"/>
                <a:gd name="T29" fmla="*/ 3524 h 11544"/>
                <a:gd name="T30" fmla="*/ 4410 w 16058"/>
                <a:gd name="T31" fmla="*/ 3616 h 11544"/>
                <a:gd name="T32" fmla="*/ 4822 w 16058"/>
                <a:gd name="T33" fmla="*/ 3718 h 11544"/>
                <a:gd name="T34" fmla="*/ 5077 w 16058"/>
                <a:gd name="T35" fmla="*/ 3578 h 11544"/>
                <a:gd name="T36" fmla="*/ 5304 w 16058"/>
                <a:gd name="T37" fmla="*/ 3154 h 11544"/>
                <a:gd name="T38" fmla="*/ 5986 w 16058"/>
                <a:gd name="T39" fmla="*/ 2112 h 11544"/>
                <a:gd name="T40" fmla="*/ 6970 w 16058"/>
                <a:gd name="T41" fmla="*/ 1377 h 11544"/>
                <a:gd name="T42" fmla="*/ 8153 w 16058"/>
                <a:gd name="T43" fmla="*/ 1025 h 11544"/>
                <a:gd name="T44" fmla="*/ 9661 w 16058"/>
                <a:gd name="T45" fmla="*/ 1190 h 11544"/>
                <a:gd name="T46" fmla="*/ 10994 w 16058"/>
                <a:gd name="T47" fmla="*/ 2023 h 11544"/>
                <a:gd name="T48" fmla="*/ 11831 w 16058"/>
                <a:gd name="T49" fmla="*/ 3370 h 11544"/>
                <a:gd name="T50" fmla="*/ 12046 w 16058"/>
                <a:gd name="T51" fmla="*/ 4561 h 11544"/>
                <a:gd name="T52" fmla="*/ 12173 w 16058"/>
                <a:gd name="T53" fmla="*/ 4853 h 11544"/>
                <a:gd name="T54" fmla="*/ 12517 w 16058"/>
                <a:gd name="T55" fmla="*/ 5002 h 11544"/>
                <a:gd name="T56" fmla="*/ 13610 w 16058"/>
                <a:gd name="T57" fmla="*/ 5356 h 11544"/>
                <a:gd name="T58" fmla="*/ 14494 w 16058"/>
                <a:gd name="T59" fmla="*/ 6116 h 11544"/>
                <a:gd name="T60" fmla="*/ 14988 w 16058"/>
                <a:gd name="T61" fmla="*/ 7177 h 11544"/>
                <a:gd name="T62" fmla="*/ 14968 w 16058"/>
                <a:gd name="T63" fmla="*/ 8469 h 11544"/>
                <a:gd name="T64" fmla="*/ 14337 w 16058"/>
                <a:gd name="T65" fmla="*/ 9634 h 11544"/>
                <a:gd name="T66" fmla="*/ 13243 w 16058"/>
                <a:gd name="T67" fmla="*/ 10372 h 11544"/>
                <a:gd name="T68" fmla="*/ 12944 w 16058"/>
                <a:gd name="T69" fmla="*/ 3664 h 11544"/>
                <a:gd name="T70" fmla="*/ 12111 w 16058"/>
                <a:gd name="T71" fmla="*/ 1788 h 11544"/>
                <a:gd name="T72" fmla="*/ 10564 w 16058"/>
                <a:gd name="T73" fmla="*/ 487 h 11544"/>
                <a:gd name="T74" fmla="*/ 8531 w 16058"/>
                <a:gd name="T75" fmla="*/ 0 h 11544"/>
                <a:gd name="T76" fmla="*/ 6922 w 16058"/>
                <a:gd name="T77" fmla="*/ 297 h 11544"/>
                <a:gd name="T78" fmla="*/ 5572 w 16058"/>
                <a:gd name="T79" fmla="*/ 1115 h 11544"/>
                <a:gd name="T80" fmla="*/ 4587 w 16058"/>
                <a:gd name="T81" fmla="*/ 2341 h 11544"/>
                <a:gd name="T82" fmla="*/ 4112 w 16058"/>
                <a:gd name="T83" fmla="*/ 2541 h 11544"/>
                <a:gd name="T84" fmla="*/ 3533 w 16058"/>
                <a:gd name="T85" fmla="*/ 2521 h 11544"/>
                <a:gd name="T86" fmla="*/ 2501 w 16058"/>
                <a:gd name="T87" fmla="*/ 2896 h 11544"/>
                <a:gd name="T88" fmla="*/ 1778 w 16058"/>
                <a:gd name="T89" fmla="*/ 3692 h 11544"/>
                <a:gd name="T90" fmla="*/ 1505 w 16058"/>
                <a:gd name="T91" fmla="*/ 4768 h 11544"/>
                <a:gd name="T92" fmla="*/ 1558 w 16058"/>
                <a:gd name="T93" fmla="*/ 5217 h 11544"/>
                <a:gd name="T94" fmla="*/ 1281 w 16058"/>
                <a:gd name="T95" fmla="*/ 5706 h 11544"/>
                <a:gd name="T96" fmla="*/ 564 w 16058"/>
                <a:gd name="T97" fmla="*/ 6461 h 11544"/>
                <a:gd name="T98" fmla="*/ 118 w 16058"/>
                <a:gd name="T99" fmla="*/ 7414 h 11544"/>
                <a:gd name="T100" fmla="*/ 17 w 16058"/>
                <a:gd name="T101" fmla="*/ 8615 h 11544"/>
                <a:gd name="T102" fmla="*/ 557 w 16058"/>
                <a:gd name="T103" fmla="*/ 10106 h 11544"/>
                <a:gd name="T104" fmla="*/ 1707 w 16058"/>
                <a:gd name="T105" fmla="*/ 11150 h 11544"/>
                <a:gd name="T106" fmla="*/ 3262 w 16058"/>
                <a:gd name="T107" fmla="*/ 11543 h 11544"/>
                <a:gd name="T108" fmla="*/ 13589 w 16058"/>
                <a:gd name="T109" fmla="*/ 11315 h 11544"/>
                <a:gd name="T110" fmla="*/ 15080 w 16058"/>
                <a:gd name="T111" fmla="*/ 10310 h 11544"/>
                <a:gd name="T112" fmla="*/ 15940 w 16058"/>
                <a:gd name="T113" fmla="*/ 8720 h 11544"/>
                <a:gd name="T114" fmla="*/ 15965 w 16058"/>
                <a:gd name="T115" fmla="*/ 6945 h 11544"/>
                <a:gd name="T116" fmla="*/ 15283 w 16058"/>
                <a:gd name="T117" fmla="*/ 5493 h 11544"/>
                <a:gd name="T118" fmla="*/ 14075 w 16058"/>
                <a:gd name="T119" fmla="*/ 4467 h 11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058" h="11544">
                  <a:moveTo>
                    <a:pt x="12294" y="10539"/>
                  </a:moveTo>
                  <a:lnTo>
                    <a:pt x="12294" y="10540"/>
                  </a:lnTo>
                  <a:lnTo>
                    <a:pt x="3262" y="10540"/>
                  </a:lnTo>
                  <a:lnTo>
                    <a:pt x="3145" y="10537"/>
                  </a:lnTo>
                  <a:lnTo>
                    <a:pt x="3031" y="10528"/>
                  </a:lnTo>
                  <a:lnTo>
                    <a:pt x="2919" y="10514"/>
                  </a:lnTo>
                  <a:lnTo>
                    <a:pt x="2807" y="10494"/>
                  </a:lnTo>
                  <a:lnTo>
                    <a:pt x="2698" y="10469"/>
                  </a:lnTo>
                  <a:lnTo>
                    <a:pt x="2591" y="10438"/>
                  </a:lnTo>
                  <a:lnTo>
                    <a:pt x="2486" y="10403"/>
                  </a:lnTo>
                  <a:lnTo>
                    <a:pt x="2384" y="10363"/>
                  </a:lnTo>
                  <a:lnTo>
                    <a:pt x="2284" y="10316"/>
                  </a:lnTo>
                  <a:lnTo>
                    <a:pt x="2187" y="10267"/>
                  </a:lnTo>
                  <a:lnTo>
                    <a:pt x="2092" y="10212"/>
                  </a:lnTo>
                  <a:lnTo>
                    <a:pt x="2000" y="10154"/>
                  </a:lnTo>
                  <a:lnTo>
                    <a:pt x="1912" y="10091"/>
                  </a:lnTo>
                  <a:lnTo>
                    <a:pt x="1827" y="10023"/>
                  </a:lnTo>
                  <a:lnTo>
                    <a:pt x="1744" y="9952"/>
                  </a:lnTo>
                  <a:lnTo>
                    <a:pt x="1666" y="9878"/>
                  </a:lnTo>
                  <a:lnTo>
                    <a:pt x="1591" y="9798"/>
                  </a:lnTo>
                  <a:lnTo>
                    <a:pt x="1520" y="9717"/>
                  </a:lnTo>
                  <a:lnTo>
                    <a:pt x="1453" y="9632"/>
                  </a:lnTo>
                  <a:lnTo>
                    <a:pt x="1390" y="9543"/>
                  </a:lnTo>
                  <a:lnTo>
                    <a:pt x="1331" y="9451"/>
                  </a:lnTo>
                  <a:lnTo>
                    <a:pt x="1277" y="9357"/>
                  </a:lnTo>
                  <a:lnTo>
                    <a:pt x="1226" y="9259"/>
                  </a:lnTo>
                  <a:lnTo>
                    <a:pt x="1181" y="9159"/>
                  </a:lnTo>
                  <a:lnTo>
                    <a:pt x="1141" y="9057"/>
                  </a:lnTo>
                  <a:lnTo>
                    <a:pt x="1105" y="8952"/>
                  </a:lnTo>
                  <a:lnTo>
                    <a:pt x="1075" y="8845"/>
                  </a:lnTo>
                  <a:lnTo>
                    <a:pt x="1050" y="8736"/>
                  </a:lnTo>
                  <a:lnTo>
                    <a:pt x="1030" y="8624"/>
                  </a:lnTo>
                  <a:lnTo>
                    <a:pt x="1016" y="8512"/>
                  </a:lnTo>
                  <a:lnTo>
                    <a:pt x="1007" y="8397"/>
                  </a:lnTo>
                  <a:lnTo>
                    <a:pt x="1004" y="8281"/>
                  </a:lnTo>
                  <a:lnTo>
                    <a:pt x="1005" y="8207"/>
                  </a:lnTo>
                  <a:lnTo>
                    <a:pt x="1009" y="8131"/>
                  </a:lnTo>
                  <a:lnTo>
                    <a:pt x="1015" y="8057"/>
                  </a:lnTo>
                  <a:lnTo>
                    <a:pt x="1024" y="7984"/>
                  </a:lnTo>
                  <a:lnTo>
                    <a:pt x="1034" y="7911"/>
                  </a:lnTo>
                  <a:lnTo>
                    <a:pt x="1048" y="7839"/>
                  </a:lnTo>
                  <a:lnTo>
                    <a:pt x="1063" y="7768"/>
                  </a:lnTo>
                  <a:lnTo>
                    <a:pt x="1081" y="7697"/>
                  </a:lnTo>
                  <a:lnTo>
                    <a:pt x="1101" y="7627"/>
                  </a:lnTo>
                  <a:lnTo>
                    <a:pt x="1123" y="7558"/>
                  </a:lnTo>
                  <a:lnTo>
                    <a:pt x="1148" y="7490"/>
                  </a:lnTo>
                  <a:lnTo>
                    <a:pt x="1175" y="7423"/>
                  </a:lnTo>
                  <a:lnTo>
                    <a:pt x="1203" y="7356"/>
                  </a:lnTo>
                  <a:lnTo>
                    <a:pt x="1235" y="7291"/>
                  </a:lnTo>
                  <a:lnTo>
                    <a:pt x="1269" y="7227"/>
                  </a:lnTo>
                  <a:lnTo>
                    <a:pt x="1304" y="7165"/>
                  </a:lnTo>
                  <a:lnTo>
                    <a:pt x="1341" y="7102"/>
                  </a:lnTo>
                  <a:lnTo>
                    <a:pt x="1381" y="7041"/>
                  </a:lnTo>
                  <a:lnTo>
                    <a:pt x="1422" y="6982"/>
                  </a:lnTo>
                  <a:lnTo>
                    <a:pt x="1465" y="6924"/>
                  </a:lnTo>
                  <a:lnTo>
                    <a:pt x="1511" y="6867"/>
                  </a:lnTo>
                  <a:lnTo>
                    <a:pt x="1559" y="6811"/>
                  </a:lnTo>
                  <a:lnTo>
                    <a:pt x="1608" y="6757"/>
                  </a:lnTo>
                  <a:lnTo>
                    <a:pt x="1659" y="6705"/>
                  </a:lnTo>
                  <a:lnTo>
                    <a:pt x="1712" y="6654"/>
                  </a:lnTo>
                  <a:lnTo>
                    <a:pt x="1767" y="6604"/>
                  </a:lnTo>
                  <a:lnTo>
                    <a:pt x="1825" y="6555"/>
                  </a:lnTo>
                  <a:lnTo>
                    <a:pt x="1883" y="6509"/>
                  </a:lnTo>
                  <a:lnTo>
                    <a:pt x="1943" y="6464"/>
                  </a:lnTo>
                  <a:lnTo>
                    <a:pt x="2005" y="6421"/>
                  </a:lnTo>
                  <a:lnTo>
                    <a:pt x="2069" y="6380"/>
                  </a:lnTo>
                  <a:lnTo>
                    <a:pt x="2135" y="6341"/>
                  </a:lnTo>
                  <a:lnTo>
                    <a:pt x="2198" y="6304"/>
                  </a:lnTo>
                  <a:lnTo>
                    <a:pt x="2256" y="6269"/>
                  </a:lnTo>
                  <a:lnTo>
                    <a:pt x="2311" y="6236"/>
                  </a:lnTo>
                  <a:lnTo>
                    <a:pt x="2364" y="6205"/>
                  </a:lnTo>
                  <a:lnTo>
                    <a:pt x="2412" y="6174"/>
                  </a:lnTo>
                  <a:lnTo>
                    <a:pt x="2456" y="6145"/>
                  </a:lnTo>
                  <a:lnTo>
                    <a:pt x="2498" y="6116"/>
                  </a:lnTo>
                  <a:lnTo>
                    <a:pt x="2535" y="6088"/>
                  </a:lnTo>
                  <a:lnTo>
                    <a:pt x="2570" y="6061"/>
                  </a:lnTo>
                  <a:lnTo>
                    <a:pt x="2601" y="6033"/>
                  </a:lnTo>
                  <a:lnTo>
                    <a:pt x="2629" y="6006"/>
                  </a:lnTo>
                  <a:lnTo>
                    <a:pt x="2655" y="5979"/>
                  </a:lnTo>
                  <a:lnTo>
                    <a:pt x="2677" y="5951"/>
                  </a:lnTo>
                  <a:lnTo>
                    <a:pt x="2696" y="5923"/>
                  </a:lnTo>
                  <a:lnTo>
                    <a:pt x="2712" y="5895"/>
                  </a:lnTo>
                  <a:lnTo>
                    <a:pt x="2725" y="5866"/>
                  </a:lnTo>
                  <a:lnTo>
                    <a:pt x="2735" y="5836"/>
                  </a:lnTo>
                  <a:lnTo>
                    <a:pt x="2742" y="5805"/>
                  </a:lnTo>
                  <a:lnTo>
                    <a:pt x="2747" y="5773"/>
                  </a:lnTo>
                  <a:lnTo>
                    <a:pt x="2748" y="5738"/>
                  </a:lnTo>
                  <a:lnTo>
                    <a:pt x="2748" y="5703"/>
                  </a:lnTo>
                  <a:lnTo>
                    <a:pt x="2744" y="5665"/>
                  </a:lnTo>
                  <a:lnTo>
                    <a:pt x="2739" y="5626"/>
                  </a:lnTo>
                  <a:lnTo>
                    <a:pt x="2730" y="5585"/>
                  </a:lnTo>
                  <a:lnTo>
                    <a:pt x="2720" y="5542"/>
                  </a:lnTo>
                  <a:lnTo>
                    <a:pt x="2707" y="5495"/>
                  </a:lnTo>
                  <a:lnTo>
                    <a:pt x="2691" y="5446"/>
                  </a:lnTo>
                  <a:lnTo>
                    <a:pt x="2674" y="5395"/>
                  </a:lnTo>
                  <a:lnTo>
                    <a:pt x="2654" y="5340"/>
                  </a:lnTo>
                  <a:lnTo>
                    <a:pt x="2632" y="5282"/>
                  </a:lnTo>
                  <a:lnTo>
                    <a:pt x="2607" y="5220"/>
                  </a:lnTo>
                  <a:lnTo>
                    <a:pt x="2581" y="5156"/>
                  </a:lnTo>
                  <a:lnTo>
                    <a:pt x="2564" y="5102"/>
                  </a:lnTo>
                  <a:lnTo>
                    <a:pt x="2549" y="5050"/>
                  </a:lnTo>
                  <a:lnTo>
                    <a:pt x="2537" y="5000"/>
                  </a:lnTo>
                  <a:lnTo>
                    <a:pt x="2527" y="4950"/>
                  </a:lnTo>
                  <a:lnTo>
                    <a:pt x="2523" y="4926"/>
                  </a:lnTo>
                  <a:lnTo>
                    <a:pt x="2519" y="4903"/>
                  </a:lnTo>
                  <a:lnTo>
                    <a:pt x="2516" y="4880"/>
                  </a:lnTo>
                  <a:lnTo>
                    <a:pt x="2514" y="4857"/>
                  </a:lnTo>
                  <a:lnTo>
                    <a:pt x="2512" y="4834"/>
                  </a:lnTo>
                  <a:lnTo>
                    <a:pt x="2510" y="4812"/>
                  </a:lnTo>
                  <a:lnTo>
                    <a:pt x="2509" y="4790"/>
                  </a:lnTo>
                  <a:lnTo>
                    <a:pt x="2509" y="4768"/>
                  </a:lnTo>
                  <a:lnTo>
                    <a:pt x="2511" y="4704"/>
                  </a:lnTo>
                  <a:lnTo>
                    <a:pt x="2516" y="4640"/>
                  </a:lnTo>
                  <a:lnTo>
                    <a:pt x="2524" y="4577"/>
                  </a:lnTo>
                  <a:lnTo>
                    <a:pt x="2535" y="4516"/>
                  </a:lnTo>
                  <a:lnTo>
                    <a:pt x="2549" y="4455"/>
                  </a:lnTo>
                  <a:lnTo>
                    <a:pt x="2565" y="4395"/>
                  </a:lnTo>
                  <a:lnTo>
                    <a:pt x="2585" y="4337"/>
                  </a:lnTo>
                  <a:lnTo>
                    <a:pt x="2608" y="4280"/>
                  </a:lnTo>
                  <a:lnTo>
                    <a:pt x="2634" y="4225"/>
                  </a:lnTo>
                  <a:lnTo>
                    <a:pt x="2661" y="4171"/>
                  </a:lnTo>
                  <a:lnTo>
                    <a:pt x="2691" y="4118"/>
                  </a:lnTo>
                  <a:lnTo>
                    <a:pt x="2724" y="4067"/>
                  </a:lnTo>
                  <a:lnTo>
                    <a:pt x="2759" y="4018"/>
                  </a:lnTo>
                  <a:lnTo>
                    <a:pt x="2796" y="3971"/>
                  </a:lnTo>
                  <a:lnTo>
                    <a:pt x="2835" y="3925"/>
                  </a:lnTo>
                  <a:lnTo>
                    <a:pt x="2877" y="3881"/>
                  </a:lnTo>
                  <a:lnTo>
                    <a:pt x="2921" y="3839"/>
                  </a:lnTo>
                  <a:lnTo>
                    <a:pt x="2966" y="3800"/>
                  </a:lnTo>
                  <a:lnTo>
                    <a:pt x="3014" y="3763"/>
                  </a:lnTo>
                  <a:lnTo>
                    <a:pt x="3063" y="3728"/>
                  </a:lnTo>
                  <a:lnTo>
                    <a:pt x="3113" y="3696"/>
                  </a:lnTo>
                  <a:lnTo>
                    <a:pt x="3166" y="3665"/>
                  </a:lnTo>
                  <a:lnTo>
                    <a:pt x="3221" y="3638"/>
                  </a:lnTo>
                  <a:lnTo>
                    <a:pt x="3276" y="3612"/>
                  </a:lnTo>
                  <a:lnTo>
                    <a:pt x="3333" y="3589"/>
                  </a:lnTo>
                  <a:lnTo>
                    <a:pt x="3391" y="3570"/>
                  </a:lnTo>
                  <a:lnTo>
                    <a:pt x="3450" y="3553"/>
                  </a:lnTo>
                  <a:lnTo>
                    <a:pt x="3512" y="3539"/>
                  </a:lnTo>
                  <a:lnTo>
                    <a:pt x="3573" y="3528"/>
                  </a:lnTo>
                  <a:lnTo>
                    <a:pt x="3636" y="3520"/>
                  </a:lnTo>
                  <a:lnTo>
                    <a:pt x="3699" y="3515"/>
                  </a:lnTo>
                  <a:lnTo>
                    <a:pt x="3764" y="3513"/>
                  </a:lnTo>
                  <a:lnTo>
                    <a:pt x="3779" y="3513"/>
                  </a:lnTo>
                  <a:lnTo>
                    <a:pt x="3821" y="3512"/>
                  </a:lnTo>
                  <a:lnTo>
                    <a:pt x="3851" y="3512"/>
                  </a:lnTo>
                  <a:lnTo>
                    <a:pt x="3886" y="3513"/>
                  </a:lnTo>
                  <a:lnTo>
                    <a:pt x="3927" y="3515"/>
                  </a:lnTo>
                  <a:lnTo>
                    <a:pt x="3972" y="3519"/>
                  </a:lnTo>
                  <a:lnTo>
                    <a:pt x="4022" y="3524"/>
                  </a:lnTo>
                  <a:lnTo>
                    <a:pt x="4074" y="3531"/>
                  </a:lnTo>
                  <a:lnTo>
                    <a:pt x="4130" y="3540"/>
                  </a:lnTo>
                  <a:lnTo>
                    <a:pt x="4189" y="3552"/>
                  </a:lnTo>
                  <a:lnTo>
                    <a:pt x="4219" y="3559"/>
                  </a:lnTo>
                  <a:lnTo>
                    <a:pt x="4250" y="3566"/>
                  </a:lnTo>
                  <a:lnTo>
                    <a:pt x="4281" y="3575"/>
                  </a:lnTo>
                  <a:lnTo>
                    <a:pt x="4314" y="3584"/>
                  </a:lnTo>
                  <a:lnTo>
                    <a:pt x="4345" y="3594"/>
                  </a:lnTo>
                  <a:lnTo>
                    <a:pt x="4378" y="3604"/>
                  </a:lnTo>
                  <a:lnTo>
                    <a:pt x="4410" y="3616"/>
                  </a:lnTo>
                  <a:lnTo>
                    <a:pt x="4443" y="3629"/>
                  </a:lnTo>
                  <a:lnTo>
                    <a:pt x="4495" y="3649"/>
                  </a:lnTo>
                  <a:lnTo>
                    <a:pt x="4544" y="3667"/>
                  </a:lnTo>
                  <a:lnTo>
                    <a:pt x="4592" y="3682"/>
                  </a:lnTo>
                  <a:lnTo>
                    <a:pt x="4636" y="3694"/>
                  </a:lnTo>
                  <a:lnTo>
                    <a:pt x="4678" y="3704"/>
                  </a:lnTo>
                  <a:lnTo>
                    <a:pt x="4717" y="3711"/>
                  </a:lnTo>
                  <a:lnTo>
                    <a:pt x="4754" y="3716"/>
                  </a:lnTo>
                  <a:lnTo>
                    <a:pt x="4789" y="3718"/>
                  </a:lnTo>
                  <a:lnTo>
                    <a:pt x="4822" y="3718"/>
                  </a:lnTo>
                  <a:lnTo>
                    <a:pt x="4855" y="3715"/>
                  </a:lnTo>
                  <a:lnTo>
                    <a:pt x="4884" y="3710"/>
                  </a:lnTo>
                  <a:lnTo>
                    <a:pt x="4912" y="3702"/>
                  </a:lnTo>
                  <a:lnTo>
                    <a:pt x="4939" y="3692"/>
                  </a:lnTo>
                  <a:lnTo>
                    <a:pt x="4964" y="3679"/>
                  </a:lnTo>
                  <a:lnTo>
                    <a:pt x="4989" y="3664"/>
                  </a:lnTo>
                  <a:lnTo>
                    <a:pt x="5012" y="3646"/>
                  </a:lnTo>
                  <a:lnTo>
                    <a:pt x="5034" y="3626"/>
                  </a:lnTo>
                  <a:lnTo>
                    <a:pt x="5056" y="3603"/>
                  </a:lnTo>
                  <a:lnTo>
                    <a:pt x="5077" y="3578"/>
                  </a:lnTo>
                  <a:lnTo>
                    <a:pt x="5097" y="3551"/>
                  </a:lnTo>
                  <a:lnTo>
                    <a:pt x="5117" y="3522"/>
                  </a:lnTo>
                  <a:lnTo>
                    <a:pt x="5138" y="3490"/>
                  </a:lnTo>
                  <a:lnTo>
                    <a:pt x="5158" y="3456"/>
                  </a:lnTo>
                  <a:lnTo>
                    <a:pt x="5177" y="3420"/>
                  </a:lnTo>
                  <a:lnTo>
                    <a:pt x="5197" y="3382"/>
                  </a:lnTo>
                  <a:lnTo>
                    <a:pt x="5218" y="3340"/>
                  </a:lnTo>
                  <a:lnTo>
                    <a:pt x="5238" y="3297"/>
                  </a:lnTo>
                  <a:lnTo>
                    <a:pt x="5260" y="3251"/>
                  </a:lnTo>
                  <a:lnTo>
                    <a:pt x="5304" y="3154"/>
                  </a:lnTo>
                  <a:lnTo>
                    <a:pt x="5353" y="3047"/>
                  </a:lnTo>
                  <a:lnTo>
                    <a:pt x="5409" y="2932"/>
                  </a:lnTo>
                  <a:lnTo>
                    <a:pt x="5469" y="2820"/>
                  </a:lnTo>
                  <a:lnTo>
                    <a:pt x="5532" y="2710"/>
                  </a:lnTo>
                  <a:lnTo>
                    <a:pt x="5599" y="2603"/>
                  </a:lnTo>
                  <a:lnTo>
                    <a:pt x="5669" y="2499"/>
                  </a:lnTo>
                  <a:lnTo>
                    <a:pt x="5744" y="2398"/>
                  </a:lnTo>
                  <a:lnTo>
                    <a:pt x="5821" y="2300"/>
                  </a:lnTo>
                  <a:lnTo>
                    <a:pt x="5902" y="2204"/>
                  </a:lnTo>
                  <a:lnTo>
                    <a:pt x="5986" y="2112"/>
                  </a:lnTo>
                  <a:lnTo>
                    <a:pt x="6072" y="2024"/>
                  </a:lnTo>
                  <a:lnTo>
                    <a:pt x="6161" y="1938"/>
                  </a:lnTo>
                  <a:lnTo>
                    <a:pt x="6255" y="1856"/>
                  </a:lnTo>
                  <a:lnTo>
                    <a:pt x="6349" y="1777"/>
                  </a:lnTo>
                  <a:lnTo>
                    <a:pt x="6447" y="1701"/>
                  </a:lnTo>
                  <a:lnTo>
                    <a:pt x="6547" y="1629"/>
                  </a:lnTo>
                  <a:lnTo>
                    <a:pt x="6650" y="1560"/>
                  </a:lnTo>
                  <a:lnTo>
                    <a:pt x="6754" y="1496"/>
                  </a:lnTo>
                  <a:lnTo>
                    <a:pt x="6862" y="1434"/>
                  </a:lnTo>
                  <a:lnTo>
                    <a:pt x="6970" y="1377"/>
                  </a:lnTo>
                  <a:lnTo>
                    <a:pt x="7082" y="1323"/>
                  </a:lnTo>
                  <a:lnTo>
                    <a:pt x="7195" y="1274"/>
                  </a:lnTo>
                  <a:lnTo>
                    <a:pt x="7309" y="1228"/>
                  </a:lnTo>
                  <a:lnTo>
                    <a:pt x="7426" y="1186"/>
                  </a:lnTo>
                  <a:lnTo>
                    <a:pt x="7543" y="1148"/>
                  </a:lnTo>
                  <a:lnTo>
                    <a:pt x="7663" y="1115"/>
                  </a:lnTo>
                  <a:lnTo>
                    <a:pt x="7784" y="1086"/>
                  </a:lnTo>
                  <a:lnTo>
                    <a:pt x="7906" y="1061"/>
                  </a:lnTo>
                  <a:lnTo>
                    <a:pt x="8029" y="1041"/>
                  </a:lnTo>
                  <a:lnTo>
                    <a:pt x="8153" y="1025"/>
                  </a:lnTo>
                  <a:lnTo>
                    <a:pt x="8278" y="1013"/>
                  </a:lnTo>
                  <a:lnTo>
                    <a:pt x="8404" y="1007"/>
                  </a:lnTo>
                  <a:lnTo>
                    <a:pt x="8531" y="1004"/>
                  </a:lnTo>
                  <a:lnTo>
                    <a:pt x="8699" y="1008"/>
                  </a:lnTo>
                  <a:lnTo>
                    <a:pt x="8866" y="1020"/>
                  </a:lnTo>
                  <a:lnTo>
                    <a:pt x="9030" y="1039"/>
                  </a:lnTo>
                  <a:lnTo>
                    <a:pt x="9192" y="1066"/>
                  </a:lnTo>
                  <a:lnTo>
                    <a:pt x="9351" y="1100"/>
                  </a:lnTo>
                  <a:lnTo>
                    <a:pt x="9507" y="1142"/>
                  </a:lnTo>
                  <a:lnTo>
                    <a:pt x="9661" y="1190"/>
                  </a:lnTo>
                  <a:lnTo>
                    <a:pt x="9811" y="1246"/>
                  </a:lnTo>
                  <a:lnTo>
                    <a:pt x="9959" y="1308"/>
                  </a:lnTo>
                  <a:lnTo>
                    <a:pt x="10102" y="1376"/>
                  </a:lnTo>
                  <a:lnTo>
                    <a:pt x="10242" y="1451"/>
                  </a:lnTo>
                  <a:lnTo>
                    <a:pt x="10378" y="1532"/>
                  </a:lnTo>
                  <a:lnTo>
                    <a:pt x="10510" y="1619"/>
                  </a:lnTo>
                  <a:lnTo>
                    <a:pt x="10638" y="1711"/>
                  </a:lnTo>
                  <a:lnTo>
                    <a:pt x="10761" y="1810"/>
                  </a:lnTo>
                  <a:lnTo>
                    <a:pt x="10880" y="1914"/>
                  </a:lnTo>
                  <a:lnTo>
                    <a:pt x="10994" y="2023"/>
                  </a:lnTo>
                  <a:lnTo>
                    <a:pt x="11103" y="2137"/>
                  </a:lnTo>
                  <a:lnTo>
                    <a:pt x="11207" y="2256"/>
                  </a:lnTo>
                  <a:lnTo>
                    <a:pt x="11306" y="2381"/>
                  </a:lnTo>
                  <a:lnTo>
                    <a:pt x="11398" y="2509"/>
                  </a:lnTo>
                  <a:lnTo>
                    <a:pt x="11486" y="2643"/>
                  </a:lnTo>
                  <a:lnTo>
                    <a:pt x="11568" y="2780"/>
                  </a:lnTo>
                  <a:lnTo>
                    <a:pt x="11643" y="2922"/>
                  </a:lnTo>
                  <a:lnTo>
                    <a:pt x="11712" y="3067"/>
                  </a:lnTo>
                  <a:lnTo>
                    <a:pt x="11775" y="3217"/>
                  </a:lnTo>
                  <a:lnTo>
                    <a:pt x="11831" y="3370"/>
                  </a:lnTo>
                  <a:lnTo>
                    <a:pt x="11880" y="3526"/>
                  </a:lnTo>
                  <a:lnTo>
                    <a:pt x="11922" y="3686"/>
                  </a:lnTo>
                  <a:lnTo>
                    <a:pt x="11957" y="3848"/>
                  </a:lnTo>
                  <a:lnTo>
                    <a:pt x="11985" y="4014"/>
                  </a:lnTo>
                  <a:lnTo>
                    <a:pt x="12005" y="4183"/>
                  </a:lnTo>
                  <a:lnTo>
                    <a:pt x="12016" y="4309"/>
                  </a:lnTo>
                  <a:lnTo>
                    <a:pt x="12027" y="4420"/>
                  </a:lnTo>
                  <a:lnTo>
                    <a:pt x="12032" y="4471"/>
                  </a:lnTo>
                  <a:lnTo>
                    <a:pt x="12038" y="4517"/>
                  </a:lnTo>
                  <a:lnTo>
                    <a:pt x="12046" y="4561"/>
                  </a:lnTo>
                  <a:lnTo>
                    <a:pt x="12053" y="4601"/>
                  </a:lnTo>
                  <a:lnTo>
                    <a:pt x="12061" y="4638"/>
                  </a:lnTo>
                  <a:lnTo>
                    <a:pt x="12070" y="4673"/>
                  </a:lnTo>
                  <a:lnTo>
                    <a:pt x="12081" y="4706"/>
                  </a:lnTo>
                  <a:lnTo>
                    <a:pt x="12092" y="4736"/>
                  </a:lnTo>
                  <a:lnTo>
                    <a:pt x="12105" y="4763"/>
                  </a:lnTo>
                  <a:lnTo>
                    <a:pt x="12119" y="4788"/>
                  </a:lnTo>
                  <a:lnTo>
                    <a:pt x="12135" y="4812"/>
                  </a:lnTo>
                  <a:lnTo>
                    <a:pt x="12153" y="4833"/>
                  </a:lnTo>
                  <a:lnTo>
                    <a:pt x="12173" y="4853"/>
                  </a:lnTo>
                  <a:lnTo>
                    <a:pt x="12195" y="4872"/>
                  </a:lnTo>
                  <a:lnTo>
                    <a:pt x="12220" y="4889"/>
                  </a:lnTo>
                  <a:lnTo>
                    <a:pt x="12247" y="4905"/>
                  </a:lnTo>
                  <a:lnTo>
                    <a:pt x="12276" y="4920"/>
                  </a:lnTo>
                  <a:lnTo>
                    <a:pt x="12308" y="4935"/>
                  </a:lnTo>
                  <a:lnTo>
                    <a:pt x="12344" y="4949"/>
                  </a:lnTo>
                  <a:lnTo>
                    <a:pt x="12383" y="4962"/>
                  </a:lnTo>
                  <a:lnTo>
                    <a:pt x="12424" y="4976"/>
                  </a:lnTo>
                  <a:lnTo>
                    <a:pt x="12468" y="4989"/>
                  </a:lnTo>
                  <a:lnTo>
                    <a:pt x="12517" y="5002"/>
                  </a:lnTo>
                  <a:lnTo>
                    <a:pt x="12568" y="5015"/>
                  </a:lnTo>
                  <a:lnTo>
                    <a:pt x="12684" y="5043"/>
                  </a:lnTo>
                  <a:lnTo>
                    <a:pt x="12816" y="5073"/>
                  </a:lnTo>
                  <a:lnTo>
                    <a:pt x="12937" y="5099"/>
                  </a:lnTo>
                  <a:lnTo>
                    <a:pt x="13055" y="5129"/>
                  </a:lnTo>
                  <a:lnTo>
                    <a:pt x="13171" y="5165"/>
                  </a:lnTo>
                  <a:lnTo>
                    <a:pt x="13285" y="5206"/>
                  </a:lnTo>
                  <a:lnTo>
                    <a:pt x="13395" y="5252"/>
                  </a:lnTo>
                  <a:lnTo>
                    <a:pt x="13505" y="5302"/>
                  </a:lnTo>
                  <a:lnTo>
                    <a:pt x="13610" y="5356"/>
                  </a:lnTo>
                  <a:lnTo>
                    <a:pt x="13714" y="5415"/>
                  </a:lnTo>
                  <a:lnTo>
                    <a:pt x="13813" y="5477"/>
                  </a:lnTo>
                  <a:lnTo>
                    <a:pt x="13910" y="5545"/>
                  </a:lnTo>
                  <a:lnTo>
                    <a:pt x="14004" y="5615"/>
                  </a:lnTo>
                  <a:lnTo>
                    <a:pt x="14095" y="5690"/>
                  </a:lnTo>
                  <a:lnTo>
                    <a:pt x="14181" y="5768"/>
                  </a:lnTo>
                  <a:lnTo>
                    <a:pt x="14266" y="5850"/>
                  </a:lnTo>
                  <a:lnTo>
                    <a:pt x="14346" y="5935"/>
                  </a:lnTo>
                  <a:lnTo>
                    <a:pt x="14422" y="6024"/>
                  </a:lnTo>
                  <a:lnTo>
                    <a:pt x="14494" y="6116"/>
                  </a:lnTo>
                  <a:lnTo>
                    <a:pt x="14564" y="6210"/>
                  </a:lnTo>
                  <a:lnTo>
                    <a:pt x="14628" y="6307"/>
                  </a:lnTo>
                  <a:lnTo>
                    <a:pt x="14689" y="6408"/>
                  </a:lnTo>
                  <a:lnTo>
                    <a:pt x="14745" y="6511"/>
                  </a:lnTo>
                  <a:lnTo>
                    <a:pt x="14796" y="6617"/>
                  </a:lnTo>
                  <a:lnTo>
                    <a:pt x="14845" y="6724"/>
                  </a:lnTo>
                  <a:lnTo>
                    <a:pt x="14888" y="6834"/>
                  </a:lnTo>
                  <a:lnTo>
                    <a:pt x="14926" y="6947"/>
                  </a:lnTo>
                  <a:lnTo>
                    <a:pt x="14959" y="7060"/>
                  </a:lnTo>
                  <a:lnTo>
                    <a:pt x="14988" y="7177"/>
                  </a:lnTo>
                  <a:lnTo>
                    <a:pt x="15012" y="7294"/>
                  </a:lnTo>
                  <a:lnTo>
                    <a:pt x="15030" y="7414"/>
                  </a:lnTo>
                  <a:lnTo>
                    <a:pt x="15044" y="7534"/>
                  </a:lnTo>
                  <a:lnTo>
                    <a:pt x="15052" y="7656"/>
                  </a:lnTo>
                  <a:lnTo>
                    <a:pt x="15055" y="7779"/>
                  </a:lnTo>
                  <a:lnTo>
                    <a:pt x="15051" y="7922"/>
                  </a:lnTo>
                  <a:lnTo>
                    <a:pt x="15040" y="8061"/>
                  </a:lnTo>
                  <a:lnTo>
                    <a:pt x="15023" y="8199"/>
                  </a:lnTo>
                  <a:lnTo>
                    <a:pt x="14999" y="8335"/>
                  </a:lnTo>
                  <a:lnTo>
                    <a:pt x="14968" y="8469"/>
                  </a:lnTo>
                  <a:lnTo>
                    <a:pt x="14931" y="8599"/>
                  </a:lnTo>
                  <a:lnTo>
                    <a:pt x="14887" y="8728"/>
                  </a:lnTo>
                  <a:lnTo>
                    <a:pt x="14838" y="8853"/>
                  </a:lnTo>
                  <a:lnTo>
                    <a:pt x="14782" y="8975"/>
                  </a:lnTo>
                  <a:lnTo>
                    <a:pt x="14721" y="9094"/>
                  </a:lnTo>
                  <a:lnTo>
                    <a:pt x="14655" y="9209"/>
                  </a:lnTo>
                  <a:lnTo>
                    <a:pt x="14583" y="9322"/>
                  </a:lnTo>
                  <a:lnTo>
                    <a:pt x="14505" y="9430"/>
                  </a:lnTo>
                  <a:lnTo>
                    <a:pt x="14424" y="9535"/>
                  </a:lnTo>
                  <a:lnTo>
                    <a:pt x="14337" y="9634"/>
                  </a:lnTo>
                  <a:lnTo>
                    <a:pt x="14245" y="9730"/>
                  </a:lnTo>
                  <a:lnTo>
                    <a:pt x="14150" y="9822"/>
                  </a:lnTo>
                  <a:lnTo>
                    <a:pt x="14050" y="9909"/>
                  </a:lnTo>
                  <a:lnTo>
                    <a:pt x="13945" y="9990"/>
                  </a:lnTo>
                  <a:lnTo>
                    <a:pt x="13837" y="10068"/>
                  </a:lnTo>
                  <a:lnTo>
                    <a:pt x="13725" y="10140"/>
                  </a:lnTo>
                  <a:lnTo>
                    <a:pt x="13609" y="10206"/>
                  </a:lnTo>
                  <a:lnTo>
                    <a:pt x="13491" y="10267"/>
                  </a:lnTo>
                  <a:lnTo>
                    <a:pt x="13368" y="10322"/>
                  </a:lnTo>
                  <a:lnTo>
                    <a:pt x="13243" y="10372"/>
                  </a:lnTo>
                  <a:lnTo>
                    <a:pt x="13114" y="10416"/>
                  </a:lnTo>
                  <a:lnTo>
                    <a:pt x="12984" y="10453"/>
                  </a:lnTo>
                  <a:lnTo>
                    <a:pt x="12850" y="10484"/>
                  </a:lnTo>
                  <a:lnTo>
                    <a:pt x="12715" y="10508"/>
                  </a:lnTo>
                  <a:lnTo>
                    <a:pt x="12576" y="10525"/>
                  </a:lnTo>
                  <a:lnTo>
                    <a:pt x="12437" y="10536"/>
                  </a:lnTo>
                  <a:lnTo>
                    <a:pt x="12294" y="10539"/>
                  </a:lnTo>
                  <a:close/>
                  <a:moveTo>
                    <a:pt x="13004" y="4087"/>
                  </a:moveTo>
                  <a:lnTo>
                    <a:pt x="12979" y="3874"/>
                  </a:lnTo>
                  <a:lnTo>
                    <a:pt x="12944" y="3664"/>
                  </a:lnTo>
                  <a:lnTo>
                    <a:pt x="12899" y="3457"/>
                  </a:lnTo>
                  <a:lnTo>
                    <a:pt x="12845" y="3254"/>
                  </a:lnTo>
                  <a:lnTo>
                    <a:pt x="12782" y="3054"/>
                  </a:lnTo>
                  <a:lnTo>
                    <a:pt x="12711" y="2860"/>
                  </a:lnTo>
                  <a:lnTo>
                    <a:pt x="12631" y="2669"/>
                  </a:lnTo>
                  <a:lnTo>
                    <a:pt x="12542" y="2482"/>
                  </a:lnTo>
                  <a:lnTo>
                    <a:pt x="12446" y="2301"/>
                  </a:lnTo>
                  <a:lnTo>
                    <a:pt x="12343" y="2124"/>
                  </a:lnTo>
                  <a:lnTo>
                    <a:pt x="12230" y="1953"/>
                  </a:lnTo>
                  <a:lnTo>
                    <a:pt x="12111" y="1788"/>
                  </a:lnTo>
                  <a:lnTo>
                    <a:pt x="11985" y="1628"/>
                  </a:lnTo>
                  <a:lnTo>
                    <a:pt x="11852" y="1473"/>
                  </a:lnTo>
                  <a:lnTo>
                    <a:pt x="11711" y="1326"/>
                  </a:lnTo>
                  <a:lnTo>
                    <a:pt x="11566" y="1184"/>
                  </a:lnTo>
                  <a:lnTo>
                    <a:pt x="11413" y="1050"/>
                  </a:lnTo>
                  <a:lnTo>
                    <a:pt x="11254" y="922"/>
                  </a:lnTo>
                  <a:lnTo>
                    <a:pt x="11090" y="802"/>
                  </a:lnTo>
                  <a:lnTo>
                    <a:pt x="10919" y="690"/>
                  </a:lnTo>
                  <a:lnTo>
                    <a:pt x="10745" y="584"/>
                  </a:lnTo>
                  <a:lnTo>
                    <a:pt x="10564" y="487"/>
                  </a:lnTo>
                  <a:lnTo>
                    <a:pt x="10378" y="397"/>
                  </a:lnTo>
                  <a:lnTo>
                    <a:pt x="10189" y="316"/>
                  </a:lnTo>
                  <a:lnTo>
                    <a:pt x="9995" y="244"/>
                  </a:lnTo>
                  <a:lnTo>
                    <a:pt x="9796" y="181"/>
                  </a:lnTo>
                  <a:lnTo>
                    <a:pt x="9594" y="126"/>
                  </a:lnTo>
                  <a:lnTo>
                    <a:pt x="9388" y="81"/>
                  </a:lnTo>
                  <a:lnTo>
                    <a:pt x="9178" y="46"/>
                  </a:lnTo>
                  <a:lnTo>
                    <a:pt x="8965" y="21"/>
                  </a:lnTo>
                  <a:lnTo>
                    <a:pt x="8750" y="5"/>
                  </a:lnTo>
                  <a:lnTo>
                    <a:pt x="8531" y="0"/>
                  </a:lnTo>
                  <a:lnTo>
                    <a:pt x="8361" y="3"/>
                  </a:lnTo>
                  <a:lnTo>
                    <a:pt x="8194" y="12"/>
                  </a:lnTo>
                  <a:lnTo>
                    <a:pt x="8027" y="28"/>
                  </a:lnTo>
                  <a:lnTo>
                    <a:pt x="7863" y="49"/>
                  </a:lnTo>
                  <a:lnTo>
                    <a:pt x="7701" y="76"/>
                  </a:lnTo>
                  <a:lnTo>
                    <a:pt x="7540" y="109"/>
                  </a:lnTo>
                  <a:lnTo>
                    <a:pt x="7383" y="149"/>
                  </a:lnTo>
                  <a:lnTo>
                    <a:pt x="7227" y="193"/>
                  </a:lnTo>
                  <a:lnTo>
                    <a:pt x="7074" y="242"/>
                  </a:lnTo>
                  <a:lnTo>
                    <a:pt x="6922" y="297"/>
                  </a:lnTo>
                  <a:lnTo>
                    <a:pt x="6773" y="357"/>
                  </a:lnTo>
                  <a:lnTo>
                    <a:pt x="6628" y="423"/>
                  </a:lnTo>
                  <a:lnTo>
                    <a:pt x="6485" y="493"/>
                  </a:lnTo>
                  <a:lnTo>
                    <a:pt x="6345" y="568"/>
                  </a:lnTo>
                  <a:lnTo>
                    <a:pt x="6208" y="648"/>
                  </a:lnTo>
                  <a:lnTo>
                    <a:pt x="6075" y="733"/>
                  </a:lnTo>
                  <a:lnTo>
                    <a:pt x="5943" y="821"/>
                  </a:lnTo>
                  <a:lnTo>
                    <a:pt x="5817" y="915"/>
                  </a:lnTo>
                  <a:lnTo>
                    <a:pt x="5693" y="1013"/>
                  </a:lnTo>
                  <a:lnTo>
                    <a:pt x="5572" y="1115"/>
                  </a:lnTo>
                  <a:lnTo>
                    <a:pt x="5456" y="1221"/>
                  </a:lnTo>
                  <a:lnTo>
                    <a:pt x="5342" y="1331"/>
                  </a:lnTo>
                  <a:lnTo>
                    <a:pt x="5234" y="1444"/>
                  </a:lnTo>
                  <a:lnTo>
                    <a:pt x="5129" y="1562"/>
                  </a:lnTo>
                  <a:lnTo>
                    <a:pt x="5027" y="1683"/>
                  </a:lnTo>
                  <a:lnTo>
                    <a:pt x="4931" y="1809"/>
                  </a:lnTo>
                  <a:lnTo>
                    <a:pt x="4837" y="1936"/>
                  </a:lnTo>
                  <a:lnTo>
                    <a:pt x="4750" y="2068"/>
                  </a:lnTo>
                  <a:lnTo>
                    <a:pt x="4666" y="2203"/>
                  </a:lnTo>
                  <a:lnTo>
                    <a:pt x="4587" y="2341"/>
                  </a:lnTo>
                  <a:lnTo>
                    <a:pt x="4512" y="2481"/>
                  </a:lnTo>
                  <a:lnTo>
                    <a:pt x="4443" y="2625"/>
                  </a:lnTo>
                  <a:lnTo>
                    <a:pt x="4402" y="2613"/>
                  </a:lnTo>
                  <a:lnTo>
                    <a:pt x="4362" y="2601"/>
                  </a:lnTo>
                  <a:lnTo>
                    <a:pt x="4321" y="2589"/>
                  </a:lnTo>
                  <a:lnTo>
                    <a:pt x="4279" y="2579"/>
                  </a:lnTo>
                  <a:lnTo>
                    <a:pt x="4237" y="2568"/>
                  </a:lnTo>
                  <a:lnTo>
                    <a:pt x="4196" y="2559"/>
                  </a:lnTo>
                  <a:lnTo>
                    <a:pt x="4154" y="2549"/>
                  </a:lnTo>
                  <a:lnTo>
                    <a:pt x="4112" y="2541"/>
                  </a:lnTo>
                  <a:lnTo>
                    <a:pt x="4070" y="2534"/>
                  </a:lnTo>
                  <a:lnTo>
                    <a:pt x="4027" y="2528"/>
                  </a:lnTo>
                  <a:lnTo>
                    <a:pt x="3983" y="2522"/>
                  </a:lnTo>
                  <a:lnTo>
                    <a:pt x="3940" y="2518"/>
                  </a:lnTo>
                  <a:lnTo>
                    <a:pt x="3896" y="2514"/>
                  </a:lnTo>
                  <a:lnTo>
                    <a:pt x="3853" y="2511"/>
                  </a:lnTo>
                  <a:lnTo>
                    <a:pt x="3809" y="2510"/>
                  </a:lnTo>
                  <a:lnTo>
                    <a:pt x="3764" y="2509"/>
                  </a:lnTo>
                  <a:lnTo>
                    <a:pt x="3647" y="2512"/>
                  </a:lnTo>
                  <a:lnTo>
                    <a:pt x="3533" y="2521"/>
                  </a:lnTo>
                  <a:lnTo>
                    <a:pt x="3420" y="2535"/>
                  </a:lnTo>
                  <a:lnTo>
                    <a:pt x="3309" y="2556"/>
                  </a:lnTo>
                  <a:lnTo>
                    <a:pt x="3200" y="2581"/>
                  </a:lnTo>
                  <a:lnTo>
                    <a:pt x="3092" y="2611"/>
                  </a:lnTo>
                  <a:lnTo>
                    <a:pt x="2988" y="2647"/>
                  </a:lnTo>
                  <a:lnTo>
                    <a:pt x="2884" y="2687"/>
                  </a:lnTo>
                  <a:lnTo>
                    <a:pt x="2785" y="2732"/>
                  </a:lnTo>
                  <a:lnTo>
                    <a:pt x="2688" y="2782"/>
                  </a:lnTo>
                  <a:lnTo>
                    <a:pt x="2593" y="2837"/>
                  </a:lnTo>
                  <a:lnTo>
                    <a:pt x="2501" y="2896"/>
                  </a:lnTo>
                  <a:lnTo>
                    <a:pt x="2413" y="2958"/>
                  </a:lnTo>
                  <a:lnTo>
                    <a:pt x="2327" y="3025"/>
                  </a:lnTo>
                  <a:lnTo>
                    <a:pt x="2245" y="3097"/>
                  </a:lnTo>
                  <a:lnTo>
                    <a:pt x="2167" y="3172"/>
                  </a:lnTo>
                  <a:lnTo>
                    <a:pt x="2093" y="3250"/>
                  </a:lnTo>
                  <a:lnTo>
                    <a:pt x="2021" y="3331"/>
                  </a:lnTo>
                  <a:lnTo>
                    <a:pt x="1954" y="3417"/>
                  </a:lnTo>
                  <a:lnTo>
                    <a:pt x="1891" y="3506"/>
                  </a:lnTo>
                  <a:lnTo>
                    <a:pt x="1833" y="3597"/>
                  </a:lnTo>
                  <a:lnTo>
                    <a:pt x="1778" y="3692"/>
                  </a:lnTo>
                  <a:lnTo>
                    <a:pt x="1728" y="3789"/>
                  </a:lnTo>
                  <a:lnTo>
                    <a:pt x="1683" y="3889"/>
                  </a:lnTo>
                  <a:lnTo>
                    <a:pt x="1643" y="3992"/>
                  </a:lnTo>
                  <a:lnTo>
                    <a:pt x="1607" y="4097"/>
                  </a:lnTo>
                  <a:lnTo>
                    <a:pt x="1577" y="4204"/>
                  </a:lnTo>
                  <a:lnTo>
                    <a:pt x="1552" y="4313"/>
                  </a:lnTo>
                  <a:lnTo>
                    <a:pt x="1532" y="4424"/>
                  </a:lnTo>
                  <a:lnTo>
                    <a:pt x="1517" y="4537"/>
                  </a:lnTo>
                  <a:lnTo>
                    <a:pt x="1508" y="4652"/>
                  </a:lnTo>
                  <a:lnTo>
                    <a:pt x="1505" y="4768"/>
                  </a:lnTo>
                  <a:lnTo>
                    <a:pt x="1506" y="4815"/>
                  </a:lnTo>
                  <a:lnTo>
                    <a:pt x="1507" y="4860"/>
                  </a:lnTo>
                  <a:lnTo>
                    <a:pt x="1510" y="4906"/>
                  </a:lnTo>
                  <a:lnTo>
                    <a:pt x="1514" y="4951"/>
                  </a:lnTo>
                  <a:lnTo>
                    <a:pt x="1519" y="4997"/>
                  </a:lnTo>
                  <a:lnTo>
                    <a:pt x="1526" y="5042"/>
                  </a:lnTo>
                  <a:lnTo>
                    <a:pt x="1532" y="5086"/>
                  </a:lnTo>
                  <a:lnTo>
                    <a:pt x="1540" y="5130"/>
                  </a:lnTo>
                  <a:lnTo>
                    <a:pt x="1548" y="5174"/>
                  </a:lnTo>
                  <a:lnTo>
                    <a:pt x="1558" y="5217"/>
                  </a:lnTo>
                  <a:lnTo>
                    <a:pt x="1568" y="5261"/>
                  </a:lnTo>
                  <a:lnTo>
                    <a:pt x="1579" y="5304"/>
                  </a:lnTo>
                  <a:lnTo>
                    <a:pt x="1590" y="5347"/>
                  </a:lnTo>
                  <a:lnTo>
                    <a:pt x="1603" y="5389"/>
                  </a:lnTo>
                  <a:lnTo>
                    <a:pt x="1616" y="5431"/>
                  </a:lnTo>
                  <a:lnTo>
                    <a:pt x="1629" y="5473"/>
                  </a:lnTo>
                  <a:lnTo>
                    <a:pt x="1539" y="5528"/>
                  </a:lnTo>
                  <a:lnTo>
                    <a:pt x="1451" y="5585"/>
                  </a:lnTo>
                  <a:lnTo>
                    <a:pt x="1365" y="5644"/>
                  </a:lnTo>
                  <a:lnTo>
                    <a:pt x="1281" y="5706"/>
                  </a:lnTo>
                  <a:lnTo>
                    <a:pt x="1198" y="5771"/>
                  </a:lnTo>
                  <a:lnTo>
                    <a:pt x="1118" y="5839"/>
                  </a:lnTo>
                  <a:lnTo>
                    <a:pt x="1041" y="5909"/>
                  </a:lnTo>
                  <a:lnTo>
                    <a:pt x="965" y="5981"/>
                  </a:lnTo>
                  <a:lnTo>
                    <a:pt x="892" y="6056"/>
                  </a:lnTo>
                  <a:lnTo>
                    <a:pt x="821" y="6133"/>
                  </a:lnTo>
                  <a:lnTo>
                    <a:pt x="753" y="6211"/>
                  </a:lnTo>
                  <a:lnTo>
                    <a:pt x="687" y="6292"/>
                  </a:lnTo>
                  <a:lnTo>
                    <a:pt x="624" y="6376"/>
                  </a:lnTo>
                  <a:lnTo>
                    <a:pt x="564" y="6461"/>
                  </a:lnTo>
                  <a:lnTo>
                    <a:pt x="506" y="6548"/>
                  </a:lnTo>
                  <a:lnTo>
                    <a:pt x="451" y="6638"/>
                  </a:lnTo>
                  <a:lnTo>
                    <a:pt x="398" y="6729"/>
                  </a:lnTo>
                  <a:lnTo>
                    <a:pt x="349" y="6821"/>
                  </a:lnTo>
                  <a:lnTo>
                    <a:pt x="303" y="6917"/>
                  </a:lnTo>
                  <a:lnTo>
                    <a:pt x="260" y="7013"/>
                  </a:lnTo>
                  <a:lnTo>
                    <a:pt x="220" y="7110"/>
                  </a:lnTo>
                  <a:lnTo>
                    <a:pt x="183" y="7210"/>
                  </a:lnTo>
                  <a:lnTo>
                    <a:pt x="149" y="7311"/>
                  </a:lnTo>
                  <a:lnTo>
                    <a:pt x="118" y="7414"/>
                  </a:lnTo>
                  <a:lnTo>
                    <a:pt x="91" y="7518"/>
                  </a:lnTo>
                  <a:lnTo>
                    <a:pt x="67" y="7623"/>
                  </a:lnTo>
                  <a:lnTo>
                    <a:pt x="47" y="7730"/>
                  </a:lnTo>
                  <a:lnTo>
                    <a:pt x="30" y="7838"/>
                  </a:lnTo>
                  <a:lnTo>
                    <a:pt x="17" y="7948"/>
                  </a:lnTo>
                  <a:lnTo>
                    <a:pt x="8" y="8057"/>
                  </a:lnTo>
                  <a:lnTo>
                    <a:pt x="2" y="8168"/>
                  </a:lnTo>
                  <a:lnTo>
                    <a:pt x="0" y="8281"/>
                  </a:lnTo>
                  <a:lnTo>
                    <a:pt x="4" y="8449"/>
                  </a:lnTo>
                  <a:lnTo>
                    <a:pt x="17" y="8615"/>
                  </a:lnTo>
                  <a:lnTo>
                    <a:pt x="37" y="8778"/>
                  </a:lnTo>
                  <a:lnTo>
                    <a:pt x="66" y="8938"/>
                  </a:lnTo>
                  <a:lnTo>
                    <a:pt x="102" y="9097"/>
                  </a:lnTo>
                  <a:lnTo>
                    <a:pt x="147" y="9251"/>
                  </a:lnTo>
                  <a:lnTo>
                    <a:pt x="198" y="9403"/>
                  </a:lnTo>
                  <a:lnTo>
                    <a:pt x="256" y="9551"/>
                  </a:lnTo>
                  <a:lnTo>
                    <a:pt x="322" y="9695"/>
                  </a:lnTo>
                  <a:lnTo>
                    <a:pt x="393" y="9837"/>
                  </a:lnTo>
                  <a:lnTo>
                    <a:pt x="473" y="9973"/>
                  </a:lnTo>
                  <a:lnTo>
                    <a:pt x="557" y="10106"/>
                  </a:lnTo>
                  <a:lnTo>
                    <a:pt x="648" y="10233"/>
                  </a:lnTo>
                  <a:lnTo>
                    <a:pt x="745" y="10357"/>
                  </a:lnTo>
                  <a:lnTo>
                    <a:pt x="847" y="10475"/>
                  </a:lnTo>
                  <a:lnTo>
                    <a:pt x="955" y="10588"/>
                  </a:lnTo>
                  <a:lnTo>
                    <a:pt x="1069" y="10696"/>
                  </a:lnTo>
                  <a:lnTo>
                    <a:pt x="1187" y="10798"/>
                  </a:lnTo>
                  <a:lnTo>
                    <a:pt x="1310" y="10896"/>
                  </a:lnTo>
                  <a:lnTo>
                    <a:pt x="1438" y="10986"/>
                  </a:lnTo>
                  <a:lnTo>
                    <a:pt x="1571" y="11071"/>
                  </a:lnTo>
                  <a:lnTo>
                    <a:pt x="1707" y="11150"/>
                  </a:lnTo>
                  <a:lnTo>
                    <a:pt x="1848" y="11222"/>
                  </a:lnTo>
                  <a:lnTo>
                    <a:pt x="1992" y="11287"/>
                  </a:lnTo>
                  <a:lnTo>
                    <a:pt x="2141" y="11345"/>
                  </a:lnTo>
                  <a:lnTo>
                    <a:pt x="2292" y="11396"/>
                  </a:lnTo>
                  <a:lnTo>
                    <a:pt x="2447" y="11441"/>
                  </a:lnTo>
                  <a:lnTo>
                    <a:pt x="2604" y="11478"/>
                  </a:lnTo>
                  <a:lnTo>
                    <a:pt x="2765" y="11506"/>
                  </a:lnTo>
                  <a:lnTo>
                    <a:pt x="2929" y="11527"/>
                  </a:lnTo>
                  <a:lnTo>
                    <a:pt x="3094" y="11539"/>
                  </a:lnTo>
                  <a:lnTo>
                    <a:pt x="3262" y="11543"/>
                  </a:lnTo>
                  <a:lnTo>
                    <a:pt x="3262" y="11544"/>
                  </a:lnTo>
                  <a:lnTo>
                    <a:pt x="12294" y="11544"/>
                  </a:lnTo>
                  <a:lnTo>
                    <a:pt x="12294" y="11543"/>
                  </a:lnTo>
                  <a:lnTo>
                    <a:pt x="12488" y="11539"/>
                  </a:lnTo>
                  <a:lnTo>
                    <a:pt x="12680" y="11524"/>
                  </a:lnTo>
                  <a:lnTo>
                    <a:pt x="12867" y="11500"/>
                  </a:lnTo>
                  <a:lnTo>
                    <a:pt x="13053" y="11467"/>
                  </a:lnTo>
                  <a:lnTo>
                    <a:pt x="13236" y="11425"/>
                  </a:lnTo>
                  <a:lnTo>
                    <a:pt x="13414" y="11374"/>
                  </a:lnTo>
                  <a:lnTo>
                    <a:pt x="13589" y="11315"/>
                  </a:lnTo>
                  <a:lnTo>
                    <a:pt x="13760" y="11248"/>
                  </a:lnTo>
                  <a:lnTo>
                    <a:pt x="13926" y="11173"/>
                  </a:lnTo>
                  <a:lnTo>
                    <a:pt x="14089" y="11089"/>
                  </a:lnTo>
                  <a:lnTo>
                    <a:pt x="14246" y="10999"/>
                  </a:lnTo>
                  <a:lnTo>
                    <a:pt x="14399" y="10901"/>
                  </a:lnTo>
                  <a:lnTo>
                    <a:pt x="14547" y="10796"/>
                  </a:lnTo>
                  <a:lnTo>
                    <a:pt x="14689" y="10684"/>
                  </a:lnTo>
                  <a:lnTo>
                    <a:pt x="14826" y="10565"/>
                  </a:lnTo>
                  <a:lnTo>
                    <a:pt x="14956" y="10441"/>
                  </a:lnTo>
                  <a:lnTo>
                    <a:pt x="15080" y="10310"/>
                  </a:lnTo>
                  <a:lnTo>
                    <a:pt x="15199" y="10174"/>
                  </a:lnTo>
                  <a:lnTo>
                    <a:pt x="15310" y="10031"/>
                  </a:lnTo>
                  <a:lnTo>
                    <a:pt x="15416" y="9884"/>
                  </a:lnTo>
                  <a:lnTo>
                    <a:pt x="15513" y="9731"/>
                  </a:lnTo>
                  <a:lnTo>
                    <a:pt x="15604" y="9574"/>
                  </a:lnTo>
                  <a:lnTo>
                    <a:pt x="15687" y="9411"/>
                  </a:lnTo>
                  <a:lnTo>
                    <a:pt x="15762" y="9244"/>
                  </a:lnTo>
                  <a:lnTo>
                    <a:pt x="15830" y="9074"/>
                  </a:lnTo>
                  <a:lnTo>
                    <a:pt x="15888" y="8899"/>
                  </a:lnTo>
                  <a:lnTo>
                    <a:pt x="15940" y="8720"/>
                  </a:lnTo>
                  <a:lnTo>
                    <a:pt x="15982" y="8538"/>
                  </a:lnTo>
                  <a:lnTo>
                    <a:pt x="16015" y="8352"/>
                  </a:lnTo>
                  <a:lnTo>
                    <a:pt x="16039" y="8164"/>
                  </a:lnTo>
                  <a:lnTo>
                    <a:pt x="16053" y="7973"/>
                  </a:lnTo>
                  <a:lnTo>
                    <a:pt x="16058" y="7779"/>
                  </a:lnTo>
                  <a:lnTo>
                    <a:pt x="16054" y="7608"/>
                  </a:lnTo>
                  <a:lnTo>
                    <a:pt x="16043" y="7439"/>
                  </a:lnTo>
                  <a:lnTo>
                    <a:pt x="16024" y="7272"/>
                  </a:lnTo>
                  <a:lnTo>
                    <a:pt x="15998" y="7107"/>
                  </a:lnTo>
                  <a:lnTo>
                    <a:pt x="15965" y="6945"/>
                  </a:lnTo>
                  <a:lnTo>
                    <a:pt x="15926" y="6785"/>
                  </a:lnTo>
                  <a:lnTo>
                    <a:pt x="15878" y="6629"/>
                  </a:lnTo>
                  <a:lnTo>
                    <a:pt x="15825" y="6475"/>
                  </a:lnTo>
                  <a:lnTo>
                    <a:pt x="15766" y="6324"/>
                  </a:lnTo>
                  <a:lnTo>
                    <a:pt x="15700" y="6176"/>
                  </a:lnTo>
                  <a:lnTo>
                    <a:pt x="15628" y="6032"/>
                  </a:lnTo>
                  <a:lnTo>
                    <a:pt x="15550" y="5892"/>
                  </a:lnTo>
                  <a:lnTo>
                    <a:pt x="15467" y="5755"/>
                  </a:lnTo>
                  <a:lnTo>
                    <a:pt x="15378" y="5623"/>
                  </a:lnTo>
                  <a:lnTo>
                    <a:pt x="15283" y="5493"/>
                  </a:lnTo>
                  <a:lnTo>
                    <a:pt x="15183" y="5369"/>
                  </a:lnTo>
                  <a:lnTo>
                    <a:pt x="15078" y="5250"/>
                  </a:lnTo>
                  <a:lnTo>
                    <a:pt x="14968" y="5134"/>
                  </a:lnTo>
                  <a:lnTo>
                    <a:pt x="14854" y="5023"/>
                  </a:lnTo>
                  <a:lnTo>
                    <a:pt x="14734" y="4917"/>
                  </a:lnTo>
                  <a:lnTo>
                    <a:pt x="14611" y="4817"/>
                  </a:lnTo>
                  <a:lnTo>
                    <a:pt x="14483" y="4721"/>
                  </a:lnTo>
                  <a:lnTo>
                    <a:pt x="14351" y="4630"/>
                  </a:lnTo>
                  <a:lnTo>
                    <a:pt x="14215" y="4546"/>
                  </a:lnTo>
                  <a:lnTo>
                    <a:pt x="14075" y="4467"/>
                  </a:lnTo>
                  <a:lnTo>
                    <a:pt x="13931" y="4394"/>
                  </a:lnTo>
                  <a:lnTo>
                    <a:pt x="13785" y="4327"/>
                  </a:lnTo>
                  <a:lnTo>
                    <a:pt x="13634" y="4266"/>
                  </a:lnTo>
                  <a:lnTo>
                    <a:pt x="13482" y="4212"/>
                  </a:lnTo>
                  <a:lnTo>
                    <a:pt x="13325" y="4164"/>
                  </a:lnTo>
                  <a:lnTo>
                    <a:pt x="13166" y="4121"/>
                  </a:lnTo>
                  <a:lnTo>
                    <a:pt x="13004" y="408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35" name="íş1ïďè">
              <a:extLst>
                <a:ext uri="{FF2B5EF4-FFF2-40B4-BE49-F238E27FC236}">
                  <a16:creationId xmlns:a16="http://schemas.microsoft.com/office/drawing/2014/main" id="{6FE687B9-0EB3-4051-B177-408C632B93E3}"/>
                </a:ext>
              </a:extLst>
            </p:cNvPr>
            <p:cNvSpPr/>
            <p:nvPr/>
          </p:nvSpPr>
          <p:spPr bwMode="auto">
            <a:xfrm>
              <a:off x="8765863" y="1571348"/>
              <a:ext cx="363600" cy="362763"/>
            </a:xfrm>
            <a:custGeom>
              <a:avLst/>
              <a:gdLst>
                <a:gd name="T0" fmla="*/ 13537 w 16094"/>
                <a:gd name="T1" fmla="*/ 6059 h 16058"/>
                <a:gd name="T2" fmla="*/ 13105 w 16094"/>
                <a:gd name="T3" fmla="*/ 4843 h 16058"/>
                <a:gd name="T4" fmla="*/ 12309 w 16094"/>
                <a:gd name="T5" fmla="*/ 3778 h 16058"/>
                <a:gd name="T6" fmla="*/ 11103 w 16094"/>
                <a:gd name="T7" fmla="*/ 2914 h 16058"/>
                <a:gd name="T8" fmla="*/ 9730 w 16094"/>
                <a:gd name="T9" fmla="*/ 2510 h 16058"/>
                <a:gd name="T10" fmla="*/ 10548 w 16094"/>
                <a:gd name="T11" fmla="*/ 1344 h 16058"/>
                <a:gd name="T12" fmla="*/ 11273 w 16094"/>
                <a:gd name="T13" fmla="*/ 1058 h 16058"/>
                <a:gd name="T14" fmla="*/ 12175 w 16094"/>
                <a:gd name="T15" fmla="*/ 1030 h 16058"/>
                <a:gd name="T16" fmla="*/ 13215 w 16094"/>
                <a:gd name="T17" fmla="*/ 1370 h 16058"/>
                <a:gd name="T18" fmla="*/ 14130 w 16094"/>
                <a:gd name="T19" fmla="*/ 2061 h 16058"/>
                <a:gd name="T20" fmla="*/ 14752 w 16094"/>
                <a:gd name="T21" fmla="*/ 2927 h 16058"/>
                <a:gd name="T22" fmla="*/ 15061 w 16094"/>
                <a:gd name="T23" fmla="*/ 3885 h 16058"/>
                <a:gd name="T24" fmla="*/ 15035 w 16094"/>
                <a:gd name="T25" fmla="*/ 4794 h 16058"/>
                <a:gd name="T26" fmla="*/ 14704 w 16094"/>
                <a:gd name="T27" fmla="*/ 5577 h 16058"/>
                <a:gd name="T28" fmla="*/ 4429 w 16094"/>
                <a:gd name="T29" fmla="*/ 13990 h 16058"/>
                <a:gd name="T30" fmla="*/ 4128 w 16094"/>
                <a:gd name="T31" fmla="*/ 13119 h 16058"/>
                <a:gd name="T32" fmla="*/ 3522 w 16094"/>
                <a:gd name="T33" fmla="*/ 12349 h 16058"/>
                <a:gd name="T34" fmla="*/ 2735 w 16094"/>
                <a:gd name="T35" fmla="*/ 11832 h 16058"/>
                <a:gd name="T36" fmla="*/ 1857 w 16094"/>
                <a:gd name="T37" fmla="*/ 11600 h 16058"/>
                <a:gd name="T38" fmla="*/ 2349 w 16094"/>
                <a:gd name="T39" fmla="*/ 9539 h 16058"/>
                <a:gd name="T40" fmla="*/ 3383 w 16094"/>
                <a:gd name="T41" fmla="*/ 9051 h 16058"/>
                <a:gd name="T42" fmla="*/ 5065 w 16094"/>
                <a:gd name="T43" fmla="*/ 9305 h 16058"/>
                <a:gd name="T44" fmla="*/ 6529 w 16094"/>
                <a:gd name="T45" fmla="*/ 10574 h 16058"/>
                <a:gd name="T46" fmla="*/ 7057 w 16094"/>
                <a:gd name="T47" fmla="*/ 12341 h 16058"/>
                <a:gd name="T48" fmla="*/ 6481 w 16094"/>
                <a:gd name="T49" fmla="*/ 13816 h 16058"/>
                <a:gd name="T50" fmla="*/ 1899 w 16094"/>
                <a:gd name="T51" fmla="*/ 15034 h 16058"/>
                <a:gd name="T52" fmla="*/ 1430 w 16094"/>
                <a:gd name="T53" fmla="*/ 14978 h 16058"/>
                <a:gd name="T54" fmla="*/ 1080 w 16094"/>
                <a:gd name="T55" fmla="*/ 14626 h 16058"/>
                <a:gd name="T56" fmla="*/ 1037 w 16094"/>
                <a:gd name="T57" fmla="*/ 14110 h 16058"/>
                <a:gd name="T58" fmla="*/ 2133 w 16094"/>
                <a:gd name="T59" fmla="*/ 12161 h 16058"/>
                <a:gd name="T60" fmla="*/ 2879 w 16094"/>
                <a:gd name="T61" fmla="*/ 12483 h 16058"/>
                <a:gd name="T62" fmla="*/ 3517 w 16094"/>
                <a:gd name="T63" fmla="*/ 13089 h 16058"/>
                <a:gd name="T64" fmla="*/ 3887 w 16094"/>
                <a:gd name="T65" fmla="*/ 13837 h 16058"/>
                <a:gd name="T66" fmla="*/ 5275 w 16094"/>
                <a:gd name="T67" fmla="*/ 8311 h 16058"/>
                <a:gd name="T68" fmla="*/ 4471 w 16094"/>
                <a:gd name="T69" fmla="*/ 8075 h 16058"/>
                <a:gd name="T70" fmla="*/ 3832 w 16094"/>
                <a:gd name="T71" fmla="*/ 8011 h 16058"/>
                <a:gd name="T72" fmla="*/ 8544 w 16094"/>
                <a:gd name="T73" fmla="*/ 3613 h 16058"/>
                <a:gd name="T74" fmla="*/ 9615 w 16094"/>
                <a:gd name="T75" fmla="*/ 3512 h 16058"/>
                <a:gd name="T76" fmla="*/ 7177 w 16094"/>
                <a:gd name="T77" fmla="*/ 9768 h 16058"/>
                <a:gd name="T78" fmla="*/ 6475 w 16094"/>
                <a:gd name="T79" fmla="*/ 9029 h 16058"/>
                <a:gd name="T80" fmla="*/ 10683 w 16094"/>
                <a:gd name="T81" fmla="*/ 3831 h 16058"/>
                <a:gd name="T82" fmla="*/ 11597 w 16094"/>
                <a:gd name="T83" fmla="*/ 4487 h 16058"/>
                <a:gd name="T84" fmla="*/ 12178 w 16094"/>
                <a:gd name="T85" fmla="*/ 5258 h 16058"/>
                <a:gd name="T86" fmla="*/ 7882 w 16094"/>
                <a:gd name="T87" fmla="*/ 11105 h 16058"/>
                <a:gd name="T88" fmla="*/ 12576 w 16094"/>
                <a:gd name="T89" fmla="*/ 6482 h 16058"/>
                <a:gd name="T90" fmla="*/ 12439 w 16094"/>
                <a:gd name="T91" fmla="*/ 7635 h 16058"/>
                <a:gd name="T92" fmla="*/ 11948 w 16094"/>
                <a:gd name="T93" fmla="*/ 8406 h 16058"/>
                <a:gd name="T94" fmla="*/ 14463 w 16094"/>
                <a:gd name="T95" fmla="*/ 1003 h 16058"/>
                <a:gd name="T96" fmla="*/ 13190 w 16094"/>
                <a:gd name="T97" fmla="*/ 260 h 16058"/>
                <a:gd name="T98" fmla="*/ 11795 w 16094"/>
                <a:gd name="T99" fmla="*/ 0 h 16058"/>
                <a:gd name="T100" fmla="*/ 10660 w 16094"/>
                <a:gd name="T101" fmla="*/ 187 h 16058"/>
                <a:gd name="T102" fmla="*/ 9684 w 16094"/>
                <a:gd name="T103" fmla="*/ 727 h 16058"/>
                <a:gd name="T104" fmla="*/ 1704 w 16094"/>
                <a:gd name="T105" fmla="*/ 8728 h 16058"/>
                <a:gd name="T106" fmla="*/ 1279 w 16094"/>
                <a:gd name="T107" fmla="*/ 9454 h 16058"/>
                <a:gd name="T108" fmla="*/ 0 w 16094"/>
                <a:gd name="T109" fmla="*/ 14302 h 16058"/>
                <a:gd name="T110" fmla="*/ 402 w 16094"/>
                <a:gd name="T111" fmla="*/ 15419 h 16058"/>
                <a:gd name="T112" fmla="*/ 1407 w 16094"/>
                <a:gd name="T113" fmla="*/ 16022 h 16058"/>
                <a:gd name="T114" fmla="*/ 2275 w 16094"/>
                <a:gd name="T115" fmla="*/ 15980 h 16058"/>
                <a:gd name="T116" fmla="*/ 7227 w 16094"/>
                <a:gd name="T117" fmla="*/ 14541 h 16058"/>
                <a:gd name="T118" fmla="*/ 15901 w 16094"/>
                <a:gd name="T119" fmla="*/ 5421 h 16058"/>
                <a:gd name="T120" fmla="*/ 15857 w 16094"/>
                <a:gd name="T121" fmla="*/ 2953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094" h="16058">
                  <a:moveTo>
                    <a:pt x="14431" y="5907"/>
                  </a:moveTo>
                  <a:lnTo>
                    <a:pt x="13584" y="6759"/>
                  </a:lnTo>
                  <a:lnTo>
                    <a:pt x="13585" y="6717"/>
                  </a:lnTo>
                  <a:lnTo>
                    <a:pt x="13586" y="6675"/>
                  </a:lnTo>
                  <a:lnTo>
                    <a:pt x="13588" y="6633"/>
                  </a:lnTo>
                  <a:lnTo>
                    <a:pt x="13590" y="6591"/>
                  </a:lnTo>
                  <a:lnTo>
                    <a:pt x="13591" y="6549"/>
                  </a:lnTo>
                  <a:lnTo>
                    <a:pt x="13591" y="6507"/>
                  </a:lnTo>
                  <a:lnTo>
                    <a:pt x="13590" y="6464"/>
                  </a:lnTo>
                  <a:lnTo>
                    <a:pt x="13587" y="6420"/>
                  </a:lnTo>
                  <a:lnTo>
                    <a:pt x="13578" y="6330"/>
                  </a:lnTo>
                  <a:lnTo>
                    <a:pt x="13566" y="6240"/>
                  </a:lnTo>
                  <a:lnTo>
                    <a:pt x="13553" y="6148"/>
                  </a:lnTo>
                  <a:lnTo>
                    <a:pt x="13537" y="6059"/>
                  </a:lnTo>
                  <a:lnTo>
                    <a:pt x="13520" y="5969"/>
                  </a:lnTo>
                  <a:lnTo>
                    <a:pt x="13500" y="5879"/>
                  </a:lnTo>
                  <a:lnTo>
                    <a:pt x="13478" y="5790"/>
                  </a:lnTo>
                  <a:lnTo>
                    <a:pt x="13453" y="5702"/>
                  </a:lnTo>
                  <a:lnTo>
                    <a:pt x="13427" y="5613"/>
                  </a:lnTo>
                  <a:lnTo>
                    <a:pt x="13400" y="5525"/>
                  </a:lnTo>
                  <a:lnTo>
                    <a:pt x="13370" y="5439"/>
                  </a:lnTo>
                  <a:lnTo>
                    <a:pt x="13338" y="5351"/>
                  </a:lnTo>
                  <a:lnTo>
                    <a:pt x="13305" y="5265"/>
                  </a:lnTo>
                  <a:lnTo>
                    <a:pt x="13268" y="5180"/>
                  </a:lnTo>
                  <a:lnTo>
                    <a:pt x="13230" y="5094"/>
                  </a:lnTo>
                  <a:lnTo>
                    <a:pt x="13191" y="5010"/>
                  </a:lnTo>
                  <a:lnTo>
                    <a:pt x="13150" y="4927"/>
                  </a:lnTo>
                  <a:lnTo>
                    <a:pt x="13105" y="4843"/>
                  </a:lnTo>
                  <a:lnTo>
                    <a:pt x="13060" y="4761"/>
                  </a:lnTo>
                  <a:lnTo>
                    <a:pt x="13014" y="4680"/>
                  </a:lnTo>
                  <a:lnTo>
                    <a:pt x="12965" y="4600"/>
                  </a:lnTo>
                  <a:lnTo>
                    <a:pt x="12913" y="4520"/>
                  </a:lnTo>
                  <a:lnTo>
                    <a:pt x="12861" y="4441"/>
                  </a:lnTo>
                  <a:lnTo>
                    <a:pt x="12807" y="4364"/>
                  </a:lnTo>
                  <a:lnTo>
                    <a:pt x="12750" y="4286"/>
                  </a:lnTo>
                  <a:lnTo>
                    <a:pt x="12692" y="4210"/>
                  </a:lnTo>
                  <a:lnTo>
                    <a:pt x="12633" y="4136"/>
                  </a:lnTo>
                  <a:lnTo>
                    <a:pt x="12571" y="4062"/>
                  </a:lnTo>
                  <a:lnTo>
                    <a:pt x="12508" y="3989"/>
                  </a:lnTo>
                  <a:lnTo>
                    <a:pt x="12443" y="3917"/>
                  </a:lnTo>
                  <a:lnTo>
                    <a:pt x="12376" y="3847"/>
                  </a:lnTo>
                  <a:lnTo>
                    <a:pt x="12309" y="3778"/>
                  </a:lnTo>
                  <a:lnTo>
                    <a:pt x="12230" y="3701"/>
                  </a:lnTo>
                  <a:lnTo>
                    <a:pt x="12152" y="3628"/>
                  </a:lnTo>
                  <a:lnTo>
                    <a:pt x="12071" y="3557"/>
                  </a:lnTo>
                  <a:lnTo>
                    <a:pt x="11989" y="3487"/>
                  </a:lnTo>
                  <a:lnTo>
                    <a:pt x="11905" y="3419"/>
                  </a:lnTo>
                  <a:lnTo>
                    <a:pt x="11821" y="3354"/>
                  </a:lnTo>
                  <a:lnTo>
                    <a:pt x="11735" y="3292"/>
                  </a:lnTo>
                  <a:lnTo>
                    <a:pt x="11648" y="3231"/>
                  </a:lnTo>
                  <a:lnTo>
                    <a:pt x="11560" y="3172"/>
                  </a:lnTo>
                  <a:lnTo>
                    <a:pt x="11471" y="3116"/>
                  </a:lnTo>
                  <a:lnTo>
                    <a:pt x="11380" y="3062"/>
                  </a:lnTo>
                  <a:lnTo>
                    <a:pt x="11289" y="3010"/>
                  </a:lnTo>
                  <a:lnTo>
                    <a:pt x="11196" y="2961"/>
                  </a:lnTo>
                  <a:lnTo>
                    <a:pt x="11103" y="2914"/>
                  </a:lnTo>
                  <a:lnTo>
                    <a:pt x="11009" y="2868"/>
                  </a:lnTo>
                  <a:lnTo>
                    <a:pt x="10913" y="2826"/>
                  </a:lnTo>
                  <a:lnTo>
                    <a:pt x="10818" y="2786"/>
                  </a:lnTo>
                  <a:lnTo>
                    <a:pt x="10721" y="2749"/>
                  </a:lnTo>
                  <a:lnTo>
                    <a:pt x="10625" y="2714"/>
                  </a:lnTo>
                  <a:lnTo>
                    <a:pt x="10527" y="2681"/>
                  </a:lnTo>
                  <a:lnTo>
                    <a:pt x="10429" y="2651"/>
                  </a:lnTo>
                  <a:lnTo>
                    <a:pt x="10330" y="2622"/>
                  </a:lnTo>
                  <a:lnTo>
                    <a:pt x="10231" y="2597"/>
                  </a:lnTo>
                  <a:lnTo>
                    <a:pt x="10132" y="2574"/>
                  </a:lnTo>
                  <a:lnTo>
                    <a:pt x="10031" y="2554"/>
                  </a:lnTo>
                  <a:lnTo>
                    <a:pt x="9932" y="2537"/>
                  </a:lnTo>
                  <a:lnTo>
                    <a:pt x="9831" y="2522"/>
                  </a:lnTo>
                  <a:lnTo>
                    <a:pt x="9730" y="2510"/>
                  </a:lnTo>
                  <a:lnTo>
                    <a:pt x="9630" y="2500"/>
                  </a:lnTo>
                  <a:lnTo>
                    <a:pt x="9529" y="2493"/>
                  </a:lnTo>
                  <a:lnTo>
                    <a:pt x="9428" y="2489"/>
                  </a:lnTo>
                  <a:lnTo>
                    <a:pt x="9327" y="2487"/>
                  </a:lnTo>
                  <a:lnTo>
                    <a:pt x="10160" y="1649"/>
                  </a:lnTo>
                  <a:lnTo>
                    <a:pt x="10199" y="1611"/>
                  </a:lnTo>
                  <a:lnTo>
                    <a:pt x="10240" y="1574"/>
                  </a:lnTo>
                  <a:lnTo>
                    <a:pt x="10282" y="1538"/>
                  </a:lnTo>
                  <a:lnTo>
                    <a:pt x="10324" y="1502"/>
                  </a:lnTo>
                  <a:lnTo>
                    <a:pt x="10367" y="1468"/>
                  </a:lnTo>
                  <a:lnTo>
                    <a:pt x="10411" y="1435"/>
                  </a:lnTo>
                  <a:lnTo>
                    <a:pt x="10456" y="1404"/>
                  </a:lnTo>
                  <a:lnTo>
                    <a:pt x="10502" y="1373"/>
                  </a:lnTo>
                  <a:lnTo>
                    <a:pt x="10548" y="1344"/>
                  </a:lnTo>
                  <a:lnTo>
                    <a:pt x="10596" y="1316"/>
                  </a:lnTo>
                  <a:lnTo>
                    <a:pt x="10644" y="1289"/>
                  </a:lnTo>
                  <a:lnTo>
                    <a:pt x="10692" y="1263"/>
                  </a:lnTo>
                  <a:lnTo>
                    <a:pt x="10742" y="1237"/>
                  </a:lnTo>
                  <a:lnTo>
                    <a:pt x="10793" y="1214"/>
                  </a:lnTo>
                  <a:lnTo>
                    <a:pt x="10843" y="1192"/>
                  </a:lnTo>
                  <a:lnTo>
                    <a:pt x="10894" y="1171"/>
                  </a:lnTo>
                  <a:lnTo>
                    <a:pt x="10947" y="1151"/>
                  </a:lnTo>
                  <a:lnTo>
                    <a:pt x="11000" y="1132"/>
                  </a:lnTo>
                  <a:lnTo>
                    <a:pt x="11053" y="1115"/>
                  </a:lnTo>
                  <a:lnTo>
                    <a:pt x="11108" y="1099"/>
                  </a:lnTo>
                  <a:lnTo>
                    <a:pt x="11162" y="1084"/>
                  </a:lnTo>
                  <a:lnTo>
                    <a:pt x="11217" y="1070"/>
                  </a:lnTo>
                  <a:lnTo>
                    <a:pt x="11273" y="1058"/>
                  </a:lnTo>
                  <a:lnTo>
                    <a:pt x="11329" y="1046"/>
                  </a:lnTo>
                  <a:lnTo>
                    <a:pt x="11386" y="1037"/>
                  </a:lnTo>
                  <a:lnTo>
                    <a:pt x="11444" y="1028"/>
                  </a:lnTo>
                  <a:lnTo>
                    <a:pt x="11501" y="1021"/>
                  </a:lnTo>
                  <a:lnTo>
                    <a:pt x="11559" y="1015"/>
                  </a:lnTo>
                  <a:lnTo>
                    <a:pt x="11618" y="1010"/>
                  </a:lnTo>
                  <a:lnTo>
                    <a:pt x="11676" y="1007"/>
                  </a:lnTo>
                  <a:lnTo>
                    <a:pt x="11735" y="1005"/>
                  </a:lnTo>
                  <a:lnTo>
                    <a:pt x="11795" y="1004"/>
                  </a:lnTo>
                  <a:lnTo>
                    <a:pt x="11871" y="1005"/>
                  </a:lnTo>
                  <a:lnTo>
                    <a:pt x="11947" y="1008"/>
                  </a:lnTo>
                  <a:lnTo>
                    <a:pt x="12023" y="1014"/>
                  </a:lnTo>
                  <a:lnTo>
                    <a:pt x="12098" y="1021"/>
                  </a:lnTo>
                  <a:lnTo>
                    <a:pt x="12175" y="1030"/>
                  </a:lnTo>
                  <a:lnTo>
                    <a:pt x="12251" y="1042"/>
                  </a:lnTo>
                  <a:lnTo>
                    <a:pt x="12327" y="1055"/>
                  </a:lnTo>
                  <a:lnTo>
                    <a:pt x="12402" y="1071"/>
                  </a:lnTo>
                  <a:lnTo>
                    <a:pt x="12478" y="1088"/>
                  </a:lnTo>
                  <a:lnTo>
                    <a:pt x="12553" y="1108"/>
                  </a:lnTo>
                  <a:lnTo>
                    <a:pt x="12629" y="1129"/>
                  </a:lnTo>
                  <a:lnTo>
                    <a:pt x="12703" y="1153"/>
                  </a:lnTo>
                  <a:lnTo>
                    <a:pt x="12777" y="1178"/>
                  </a:lnTo>
                  <a:lnTo>
                    <a:pt x="12852" y="1205"/>
                  </a:lnTo>
                  <a:lnTo>
                    <a:pt x="12925" y="1234"/>
                  </a:lnTo>
                  <a:lnTo>
                    <a:pt x="12999" y="1266"/>
                  </a:lnTo>
                  <a:lnTo>
                    <a:pt x="13071" y="1299"/>
                  </a:lnTo>
                  <a:lnTo>
                    <a:pt x="13144" y="1334"/>
                  </a:lnTo>
                  <a:lnTo>
                    <a:pt x="13215" y="1370"/>
                  </a:lnTo>
                  <a:lnTo>
                    <a:pt x="13285" y="1408"/>
                  </a:lnTo>
                  <a:lnTo>
                    <a:pt x="13356" y="1448"/>
                  </a:lnTo>
                  <a:lnTo>
                    <a:pt x="13425" y="1490"/>
                  </a:lnTo>
                  <a:lnTo>
                    <a:pt x="13495" y="1535"/>
                  </a:lnTo>
                  <a:lnTo>
                    <a:pt x="13562" y="1580"/>
                  </a:lnTo>
                  <a:lnTo>
                    <a:pt x="13629" y="1627"/>
                  </a:lnTo>
                  <a:lnTo>
                    <a:pt x="13696" y="1676"/>
                  </a:lnTo>
                  <a:lnTo>
                    <a:pt x="13761" y="1727"/>
                  </a:lnTo>
                  <a:lnTo>
                    <a:pt x="13827" y="1779"/>
                  </a:lnTo>
                  <a:lnTo>
                    <a:pt x="13890" y="1834"/>
                  </a:lnTo>
                  <a:lnTo>
                    <a:pt x="13952" y="1889"/>
                  </a:lnTo>
                  <a:lnTo>
                    <a:pt x="14014" y="1946"/>
                  </a:lnTo>
                  <a:lnTo>
                    <a:pt x="14075" y="2005"/>
                  </a:lnTo>
                  <a:lnTo>
                    <a:pt x="14130" y="2061"/>
                  </a:lnTo>
                  <a:lnTo>
                    <a:pt x="14185" y="2119"/>
                  </a:lnTo>
                  <a:lnTo>
                    <a:pt x="14237" y="2177"/>
                  </a:lnTo>
                  <a:lnTo>
                    <a:pt x="14288" y="2235"/>
                  </a:lnTo>
                  <a:lnTo>
                    <a:pt x="14338" y="2295"/>
                  </a:lnTo>
                  <a:lnTo>
                    <a:pt x="14386" y="2356"/>
                  </a:lnTo>
                  <a:lnTo>
                    <a:pt x="14433" y="2417"/>
                  </a:lnTo>
                  <a:lnTo>
                    <a:pt x="14478" y="2478"/>
                  </a:lnTo>
                  <a:lnTo>
                    <a:pt x="14522" y="2540"/>
                  </a:lnTo>
                  <a:lnTo>
                    <a:pt x="14564" y="2603"/>
                  </a:lnTo>
                  <a:lnTo>
                    <a:pt x="14605" y="2667"/>
                  </a:lnTo>
                  <a:lnTo>
                    <a:pt x="14644" y="2731"/>
                  </a:lnTo>
                  <a:lnTo>
                    <a:pt x="14682" y="2796"/>
                  </a:lnTo>
                  <a:lnTo>
                    <a:pt x="14718" y="2861"/>
                  </a:lnTo>
                  <a:lnTo>
                    <a:pt x="14752" y="2927"/>
                  </a:lnTo>
                  <a:lnTo>
                    <a:pt x="14785" y="2993"/>
                  </a:lnTo>
                  <a:lnTo>
                    <a:pt x="14816" y="3060"/>
                  </a:lnTo>
                  <a:lnTo>
                    <a:pt x="14846" y="3126"/>
                  </a:lnTo>
                  <a:lnTo>
                    <a:pt x="14874" y="3195"/>
                  </a:lnTo>
                  <a:lnTo>
                    <a:pt x="14900" y="3262"/>
                  </a:lnTo>
                  <a:lnTo>
                    <a:pt x="14925" y="3330"/>
                  </a:lnTo>
                  <a:lnTo>
                    <a:pt x="14948" y="3398"/>
                  </a:lnTo>
                  <a:lnTo>
                    <a:pt x="14969" y="3468"/>
                  </a:lnTo>
                  <a:lnTo>
                    <a:pt x="14988" y="3537"/>
                  </a:lnTo>
                  <a:lnTo>
                    <a:pt x="15007" y="3606"/>
                  </a:lnTo>
                  <a:lnTo>
                    <a:pt x="15023" y="3675"/>
                  </a:lnTo>
                  <a:lnTo>
                    <a:pt x="15038" y="3746"/>
                  </a:lnTo>
                  <a:lnTo>
                    <a:pt x="15050" y="3816"/>
                  </a:lnTo>
                  <a:lnTo>
                    <a:pt x="15061" y="3885"/>
                  </a:lnTo>
                  <a:lnTo>
                    <a:pt x="15070" y="3955"/>
                  </a:lnTo>
                  <a:lnTo>
                    <a:pt x="15078" y="4026"/>
                  </a:lnTo>
                  <a:lnTo>
                    <a:pt x="15084" y="4097"/>
                  </a:lnTo>
                  <a:lnTo>
                    <a:pt x="15087" y="4162"/>
                  </a:lnTo>
                  <a:lnTo>
                    <a:pt x="15089" y="4227"/>
                  </a:lnTo>
                  <a:lnTo>
                    <a:pt x="15089" y="4292"/>
                  </a:lnTo>
                  <a:lnTo>
                    <a:pt x="15088" y="4357"/>
                  </a:lnTo>
                  <a:lnTo>
                    <a:pt x="15085" y="4420"/>
                  </a:lnTo>
                  <a:lnTo>
                    <a:pt x="15081" y="4484"/>
                  </a:lnTo>
                  <a:lnTo>
                    <a:pt x="15075" y="4546"/>
                  </a:lnTo>
                  <a:lnTo>
                    <a:pt x="15067" y="4610"/>
                  </a:lnTo>
                  <a:lnTo>
                    <a:pt x="15058" y="4672"/>
                  </a:lnTo>
                  <a:lnTo>
                    <a:pt x="15048" y="4733"/>
                  </a:lnTo>
                  <a:lnTo>
                    <a:pt x="15035" y="4794"/>
                  </a:lnTo>
                  <a:lnTo>
                    <a:pt x="15022" y="4855"/>
                  </a:lnTo>
                  <a:lnTo>
                    <a:pt x="15006" y="4914"/>
                  </a:lnTo>
                  <a:lnTo>
                    <a:pt x="14989" y="4973"/>
                  </a:lnTo>
                  <a:lnTo>
                    <a:pt x="14970" y="5032"/>
                  </a:lnTo>
                  <a:lnTo>
                    <a:pt x="14950" y="5089"/>
                  </a:lnTo>
                  <a:lnTo>
                    <a:pt x="14929" y="5147"/>
                  </a:lnTo>
                  <a:lnTo>
                    <a:pt x="14906" y="5203"/>
                  </a:lnTo>
                  <a:lnTo>
                    <a:pt x="14882" y="5259"/>
                  </a:lnTo>
                  <a:lnTo>
                    <a:pt x="14856" y="5314"/>
                  </a:lnTo>
                  <a:lnTo>
                    <a:pt x="14829" y="5368"/>
                  </a:lnTo>
                  <a:lnTo>
                    <a:pt x="14799" y="5422"/>
                  </a:lnTo>
                  <a:lnTo>
                    <a:pt x="14769" y="5474"/>
                  </a:lnTo>
                  <a:lnTo>
                    <a:pt x="14737" y="5526"/>
                  </a:lnTo>
                  <a:lnTo>
                    <a:pt x="14704" y="5577"/>
                  </a:lnTo>
                  <a:lnTo>
                    <a:pt x="14670" y="5627"/>
                  </a:lnTo>
                  <a:lnTo>
                    <a:pt x="14633" y="5675"/>
                  </a:lnTo>
                  <a:lnTo>
                    <a:pt x="14595" y="5724"/>
                  </a:lnTo>
                  <a:lnTo>
                    <a:pt x="14557" y="5772"/>
                  </a:lnTo>
                  <a:lnTo>
                    <a:pt x="14516" y="5818"/>
                  </a:lnTo>
                  <a:lnTo>
                    <a:pt x="14474" y="5863"/>
                  </a:lnTo>
                  <a:lnTo>
                    <a:pt x="14431" y="5907"/>
                  </a:lnTo>
                  <a:close/>
                  <a:moveTo>
                    <a:pt x="4463" y="14370"/>
                  </a:moveTo>
                  <a:lnTo>
                    <a:pt x="4461" y="14307"/>
                  </a:lnTo>
                  <a:lnTo>
                    <a:pt x="4458" y="14243"/>
                  </a:lnTo>
                  <a:lnTo>
                    <a:pt x="4453" y="14180"/>
                  </a:lnTo>
                  <a:lnTo>
                    <a:pt x="4446" y="14117"/>
                  </a:lnTo>
                  <a:lnTo>
                    <a:pt x="4438" y="14053"/>
                  </a:lnTo>
                  <a:lnTo>
                    <a:pt x="4429" y="13990"/>
                  </a:lnTo>
                  <a:lnTo>
                    <a:pt x="4417" y="13926"/>
                  </a:lnTo>
                  <a:lnTo>
                    <a:pt x="4405" y="13863"/>
                  </a:lnTo>
                  <a:lnTo>
                    <a:pt x="4391" y="13800"/>
                  </a:lnTo>
                  <a:lnTo>
                    <a:pt x="4375" y="13737"/>
                  </a:lnTo>
                  <a:lnTo>
                    <a:pt x="4357" y="13673"/>
                  </a:lnTo>
                  <a:lnTo>
                    <a:pt x="4338" y="13610"/>
                  </a:lnTo>
                  <a:lnTo>
                    <a:pt x="4317" y="13548"/>
                  </a:lnTo>
                  <a:lnTo>
                    <a:pt x="4295" y="13486"/>
                  </a:lnTo>
                  <a:lnTo>
                    <a:pt x="4271" y="13423"/>
                  </a:lnTo>
                  <a:lnTo>
                    <a:pt x="4246" y="13362"/>
                  </a:lnTo>
                  <a:lnTo>
                    <a:pt x="4219" y="13300"/>
                  </a:lnTo>
                  <a:lnTo>
                    <a:pt x="4191" y="13240"/>
                  </a:lnTo>
                  <a:lnTo>
                    <a:pt x="4161" y="13179"/>
                  </a:lnTo>
                  <a:lnTo>
                    <a:pt x="4128" y="13119"/>
                  </a:lnTo>
                  <a:lnTo>
                    <a:pt x="4095" y="13059"/>
                  </a:lnTo>
                  <a:lnTo>
                    <a:pt x="4060" y="13000"/>
                  </a:lnTo>
                  <a:lnTo>
                    <a:pt x="4024" y="12942"/>
                  </a:lnTo>
                  <a:lnTo>
                    <a:pt x="3986" y="12884"/>
                  </a:lnTo>
                  <a:lnTo>
                    <a:pt x="3946" y="12826"/>
                  </a:lnTo>
                  <a:lnTo>
                    <a:pt x="3905" y="12769"/>
                  </a:lnTo>
                  <a:lnTo>
                    <a:pt x="3862" y="12714"/>
                  </a:lnTo>
                  <a:lnTo>
                    <a:pt x="3818" y="12658"/>
                  </a:lnTo>
                  <a:lnTo>
                    <a:pt x="3771" y="12604"/>
                  </a:lnTo>
                  <a:lnTo>
                    <a:pt x="3723" y="12549"/>
                  </a:lnTo>
                  <a:lnTo>
                    <a:pt x="3674" y="12497"/>
                  </a:lnTo>
                  <a:lnTo>
                    <a:pt x="3622" y="12445"/>
                  </a:lnTo>
                  <a:lnTo>
                    <a:pt x="3573" y="12396"/>
                  </a:lnTo>
                  <a:lnTo>
                    <a:pt x="3522" y="12349"/>
                  </a:lnTo>
                  <a:lnTo>
                    <a:pt x="3470" y="12303"/>
                  </a:lnTo>
                  <a:lnTo>
                    <a:pt x="3418" y="12258"/>
                  </a:lnTo>
                  <a:lnTo>
                    <a:pt x="3366" y="12215"/>
                  </a:lnTo>
                  <a:lnTo>
                    <a:pt x="3312" y="12174"/>
                  </a:lnTo>
                  <a:lnTo>
                    <a:pt x="3257" y="12133"/>
                  </a:lnTo>
                  <a:lnTo>
                    <a:pt x="3202" y="12094"/>
                  </a:lnTo>
                  <a:lnTo>
                    <a:pt x="3146" y="12057"/>
                  </a:lnTo>
                  <a:lnTo>
                    <a:pt x="3088" y="12020"/>
                  </a:lnTo>
                  <a:lnTo>
                    <a:pt x="3031" y="11985"/>
                  </a:lnTo>
                  <a:lnTo>
                    <a:pt x="2974" y="11952"/>
                  </a:lnTo>
                  <a:lnTo>
                    <a:pt x="2914" y="11920"/>
                  </a:lnTo>
                  <a:lnTo>
                    <a:pt x="2855" y="11889"/>
                  </a:lnTo>
                  <a:lnTo>
                    <a:pt x="2796" y="11860"/>
                  </a:lnTo>
                  <a:lnTo>
                    <a:pt x="2735" y="11832"/>
                  </a:lnTo>
                  <a:lnTo>
                    <a:pt x="2675" y="11806"/>
                  </a:lnTo>
                  <a:lnTo>
                    <a:pt x="2613" y="11781"/>
                  </a:lnTo>
                  <a:lnTo>
                    <a:pt x="2552" y="11757"/>
                  </a:lnTo>
                  <a:lnTo>
                    <a:pt x="2490" y="11735"/>
                  </a:lnTo>
                  <a:lnTo>
                    <a:pt x="2427" y="11715"/>
                  </a:lnTo>
                  <a:lnTo>
                    <a:pt x="2365" y="11696"/>
                  </a:lnTo>
                  <a:lnTo>
                    <a:pt x="2303" y="11679"/>
                  </a:lnTo>
                  <a:lnTo>
                    <a:pt x="2239" y="11663"/>
                  </a:lnTo>
                  <a:lnTo>
                    <a:pt x="2176" y="11648"/>
                  </a:lnTo>
                  <a:lnTo>
                    <a:pt x="2112" y="11636"/>
                  </a:lnTo>
                  <a:lnTo>
                    <a:pt x="2048" y="11625"/>
                  </a:lnTo>
                  <a:lnTo>
                    <a:pt x="1985" y="11615"/>
                  </a:lnTo>
                  <a:lnTo>
                    <a:pt x="1920" y="11607"/>
                  </a:lnTo>
                  <a:lnTo>
                    <a:pt x="1857" y="11600"/>
                  </a:lnTo>
                  <a:lnTo>
                    <a:pt x="1793" y="11595"/>
                  </a:lnTo>
                  <a:lnTo>
                    <a:pt x="1728" y="11592"/>
                  </a:lnTo>
                  <a:lnTo>
                    <a:pt x="2229" y="9781"/>
                  </a:lnTo>
                  <a:lnTo>
                    <a:pt x="2236" y="9759"/>
                  </a:lnTo>
                  <a:lnTo>
                    <a:pt x="2244" y="9736"/>
                  </a:lnTo>
                  <a:lnTo>
                    <a:pt x="2253" y="9714"/>
                  </a:lnTo>
                  <a:lnTo>
                    <a:pt x="2263" y="9692"/>
                  </a:lnTo>
                  <a:lnTo>
                    <a:pt x="2273" y="9670"/>
                  </a:lnTo>
                  <a:lnTo>
                    <a:pt x="2284" y="9648"/>
                  </a:lnTo>
                  <a:lnTo>
                    <a:pt x="2296" y="9626"/>
                  </a:lnTo>
                  <a:lnTo>
                    <a:pt x="2308" y="9604"/>
                  </a:lnTo>
                  <a:lnTo>
                    <a:pt x="2321" y="9583"/>
                  </a:lnTo>
                  <a:lnTo>
                    <a:pt x="2335" y="9561"/>
                  </a:lnTo>
                  <a:lnTo>
                    <a:pt x="2349" y="9539"/>
                  </a:lnTo>
                  <a:lnTo>
                    <a:pt x="2363" y="9518"/>
                  </a:lnTo>
                  <a:lnTo>
                    <a:pt x="2378" y="9498"/>
                  </a:lnTo>
                  <a:lnTo>
                    <a:pt x="2393" y="9478"/>
                  </a:lnTo>
                  <a:lnTo>
                    <a:pt x="2409" y="9458"/>
                  </a:lnTo>
                  <a:lnTo>
                    <a:pt x="2426" y="9438"/>
                  </a:lnTo>
                  <a:lnTo>
                    <a:pt x="2522" y="9374"/>
                  </a:lnTo>
                  <a:lnTo>
                    <a:pt x="2621" y="9314"/>
                  </a:lnTo>
                  <a:lnTo>
                    <a:pt x="2723" y="9260"/>
                  </a:lnTo>
                  <a:lnTo>
                    <a:pt x="2828" y="9211"/>
                  </a:lnTo>
                  <a:lnTo>
                    <a:pt x="2934" y="9169"/>
                  </a:lnTo>
                  <a:lnTo>
                    <a:pt x="3044" y="9131"/>
                  </a:lnTo>
                  <a:lnTo>
                    <a:pt x="3156" y="9099"/>
                  </a:lnTo>
                  <a:lnTo>
                    <a:pt x="3268" y="9072"/>
                  </a:lnTo>
                  <a:lnTo>
                    <a:pt x="3383" y="9051"/>
                  </a:lnTo>
                  <a:lnTo>
                    <a:pt x="3500" y="9034"/>
                  </a:lnTo>
                  <a:lnTo>
                    <a:pt x="3617" y="9024"/>
                  </a:lnTo>
                  <a:lnTo>
                    <a:pt x="3736" y="9018"/>
                  </a:lnTo>
                  <a:lnTo>
                    <a:pt x="3857" y="9018"/>
                  </a:lnTo>
                  <a:lnTo>
                    <a:pt x="3976" y="9023"/>
                  </a:lnTo>
                  <a:lnTo>
                    <a:pt x="4098" y="9033"/>
                  </a:lnTo>
                  <a:lnTo>
                    <a:pt x="4220" y="9049"/>
                  </a:lnTo>
                  <a:lnTo>
                    <a:pt x="4342" y="9070"/>
                  </a:lnTo>
                  <a:lnTo>
                    <a:pt x="4463" y="9096"/>
                  </a:lnTo>
                  <a:lnTo>
                    <a:pt x="4584" y="9127"/>
                  </a:lnTo>
                  <a:lnTo>
                    <a:pt x="4706" y="9164"/>
                  </a:lnTo>
                  <a:lnTo>
                    <a:pt x="4826" y="9206"/>
                  </a:lnTo>
                  <a:lnTo>
                    <a:pt x="4946" y="9252"/>
                  </a:lnTo>
                  <a:lnTo>
                    <a:pt x="5065" y="9305"/>
                  </a:lnTo>
                  <a:lnTo>
                    <a:pt x="5184" y="9363"/>
                  </a:lnTo>
                  <a:lnTo>
                    <a:pt x="5300" y="9425"/>
                  </a:lnTo>
                  <a:lnTo>
                    <a:pt x="5415" y="9493"/>
                  </a:lnTo>
                  <a:lnTo>
                    <a:pt x="5529" y="9566"/>
                  </a:lnTo>
                  <a:lnTo>
                    <a:pt x="5640" y="9644"/>
                  </a:lnTo>
                  <a:lnTo>
                    <a:pt x="5750" y="9727"/>
                  </a:lnTo>
                  <a:lnTo>
                    <a:pt x="5857" y="9815"/>
                  </a:lnTo>
                  <a:lnTo>
                    <a:pt x="5962" y="9909"/>
                  </a:lnTo>
                  <a:lnTo>
                    <a:pt x="6065" y="10007"/>
                  </a:lnTo>
                  <a:lnTo>
                    <a:pt x="6168" y="10115"/>
                  </a:lnTo>
                  <a:lnTo>
                    <a:pt x="6267" y="10226"/>
                  </a:lnTo>
                  <a:lnTo>
                    <a:pt x="6360" y="10339"/>
                  </a:lnTo>
                  <a:lnTo>
                    <a:pt x="6447" y="10456"/>
                  </a:lnTo>
                  <a:lnTo>
                    <a:pt x="6529" y="10574"/>
                  </a:lnTo>
                  <a:lnTo>
                    <a:pt x="6604" y="10695"/>
                  </a:lnTo>
                  <a:lnTo>
                    <a:pt x="6673" y="10816"/>
                  </a:lnTo>
                  <a:lnTo>
                    <a:pt x="6738" y="10941"/>
                  </a:lnTo>
                  <a:lnTo>
                    <a:pt x="6796" y="11065"/>
                  </a:lnTo>
                  <a:lnTo>
                    <a:pt x="6848" y="11191"/>
                  </a:lnTo>
                  <a:lnTo>
                    <a:pt x="6895" y="11318"/>
                  </a:lnTo>
                  <a:lnTo>
                    <a:pt x="6936" y="11446"/>
                  </a:lnTo>
                  <a:lnTo>
                    <a:pt x="6971" y="11574"/>
                  </a:lnTo>
                  <a:lnTo>
                    <a:pt x="7000" y="11702"/>
                  </a:lnTo>
                  <a:lnTo>
                    <a:pt x="7023" y="11831"/>
                  </a:lnTo>
                  <a:lnTo>
                    <a:pt x="7041" y="11959"/>
                  </a:lnTo>
                  <a:lnTo>
                    <a:pt x="7052" y="12087"/>
                  </a:lnTo>
                  <a:lnTo>
                    <a:pt x="7058" y="12214"/>
                  </a:lnTo>
                  <a:lnTo>
                    <a:pt x="7057" y="12341"/>
                  </a:lnTo>
                  <a:lnTo>
                    <a:pt x="7051" y="12466"/>
                  </a:lnTo>
                  <a:lnTo>
                    <a:pt x="7039" y="12589"/>
                  </a:lnTo>
                  <a:lnTo>
                    <a:pt x="7019" y="12712"/>
                  </a:lnTo>
                  <a:lnTo>
                    <a:pt x="6995" y="12832"/>
                  </a:lnTo>
                  <a:lnTo>
                    <a:pt x="6965" y="12952"/>
                  </a:lnTo>
                  <a:lnTo>
                    <a:pt x="6929" y="13068"/>
                  </a:lnTo>
                  <a:lnTo>
                    <a:pt x="6886" y="13183"/>
                  </a:lnTo>
                  <a:lnTo>
                    <a:pt x="6837" y="13294"/>
                  </a:lnTo>
                  <a:lnTo>
                    <a:pt x="6783" y="13402"/>
                  </a:lnTo>
                  <a:lnTo>
                    <a:pt x="6722" y="13508"/>
                  </a:lnTo>
                  <a:lnTo>
                    <a:pt x="6655" y="13610"/>
                  </a:lnTo>
                  <a:lnTo>
                    <a:pt x="6582" y="13710"/>
                  </a:lnTo>
                  <a:lnTo>
                    <a:pt x="6502" y="13805"/>
                  </a:lnTo>
                  <a:lnTo>
                    <a:pt x="6481" y="13816"/>
                  </a:lnTo>
                  <a:lnTo>
                    <a:pt x="6459" y="13827"/>
                  </a:lnTo>
                  <a:lnTo>
                    <a:pt x="6437" y="13838"/>
                  </a:lnTo>
                  <a:lnTo>
                    <a:pt x="6415" y="13848"/>
                  </a:lnTo>
                  <a:lnTo>
                    <a:pt x="6392" y="13858"/>
                  </a:lnTo>
                  <a:lnTo>
                    <a:pt x="6369" y="13867"/>
                  </a:lnTo>
                  <a:lnTo>
                    <a:pt x="6345" y="13876"/>
                  </a:lnTo>
                  <a:lnTo>
                    <a:pt x="6322" y="13884"/>
                  </a:lnTo>
                  <a:lnTo>
                    <a:pt x="4463" y="14370"/>
                  </a:lnTo>
                  <a:close/>
                  <a:moveTo>
                    <a:pt x="2096" y="14991"/>
                  </a:moveTo>
                  <a:lnTo>
                    <a:pt x="2070" y="14997"/>
                  </a:lnTo>
                  <a:lnTo>
                    <a:pt x="2036" y="15005"/>
                  </a:lnTo>
                  <a:lnTo>
                    <a:pt x="1995" y="15014"/>
                  </a:lnTo>
                  <a:lnTo>
                    <a:pt x="1949" y="15024"/>
                  </a:lnTo>
                  <a:lnTo>
                    <a:pt x="1899" y="15034"/>
                  </a:lnTo>
                  <a:lnTo>
                    <a:pt x="1849" y="15043"/>
                  </a:lnTo>
                  <a:lnTo>
                    <a:pt x="1825" y="15046"/>
                  </a:lnTo>
                  <a:lnTo>
                    <a:pt x="1801" y="15050"/>
                  </a:lnTo>
                  <a:lnTo>
                    <a:pt x="1777" y="15052"/>
                  </a:lnTo>
                  <a:lnTo>
                    <a:pt x="1755" y="15054"/>
                  </a:lnTo>
                  <a:lnTo>
                    <a:pt x="1716" y="15053"/>
                  </a:lnTo>
                  <a:lnTo>
                    <a:pt x="1679" y="15049"/>
                  </a:lnTo>
                  <a:lnTo>
                    <a:pt x="1641" y="15044"/>
                  </a:lnTo>
                  <a:lnTo>
                    <a:pt x="1604" y="15037"/>
                  </a:lnTo>
                  <a:lnTo>
                    <a:pt x="1568" y="15029"/>
                  </a:lnTo>
                  <a:lnTo>
                    <a:pt x="1532" y="15018"/>
                  </a:lnTo>
                  <a:lnTo>
                    <a:pt x="1498" y="15006"/>
                  </a:lnTo>
                  <a:lnTo>
                    <a:pt x="1464" y="14993"/>
                  </a:lnTo>
                  <a:lnTo>
                    <a:pt x="1430" y="14978"/>
                  </a:lnTo>
                  <a:lnTo>
                    <a:pt x="1398" y="14961"/>
                  </a:lnTo>
                  <a:lnTo>
                    <a:pt x="1367" y="14943"/>
                  </a:lnTo>
                  <a:lnTo>
                    <a:pt x="1336" y="14923"/>
                  </a:lnTo>
                  <a:lnTo>
                    <a:pt x="1307" y="14902"/>
                  </a:lnTo>
                  <a:lnTo>
                    <a:pt x="1279" y="14880"/>
                  </a:lnTo>
                  <a:lnTo>
                    <a:pt x="1251" y="14856"/>
                  </a:lnTo>
                  <a:lnTo>
                    <a:pt x="1225" y="14832"/>
                  </a:lnTo>
                  <a:lnTo>
                    <a:pt x="1201" y="14804"/>
                  </a:lnTo>
                  <a:lnTo>
                    <a:pt x="1177" y="14777"/>
                  </a:lnTo>
                  <a:lnTo>
                    <a:pt x="1155" y="14749"/>
                  </a:lnTo>
                  <a:lnTo>
                    <a:pt x="1134" y="14720"/>
                  </a:lnTo>
                  <a:lnTo>
                    <a:pt x="1115" y="14689"/>
                  </a:lnTo>
                  <a:lnTo>
                    <a:pt x="1096" y="14658"/>
                  </a:lnTo>
                  <a:lnTo>
                    <a:pt x="1080" y="14626"/>
                  </a:lnTo>
                  <a:lnTo>
                    <a:pt x="1065" y="14593"/>
                  </a:lnTo>
                  <a:lnTo>
                    <a:pt x="1051" y="14559"/>
                  </a:lnTo>
                  <a:lnTo>
                    <a:pt x="1040" y="14524"/>
                  </a:lnTo>
                  <a:lnTo>
                    <a:pt x="1030" y="14488"/>
                  </a:lnTo>
                  <a:lnTo>
                    <a:pt x="1021" y="14452"/>
                  </a:lnTo>
                  <a:lnTo>
                    <a:pt x="1015" y="14415"/>
                  </a:lnTo>
                  <a:lnTo>
                    <a:pt x="1010" y="14378"/>
                  </a:lnTo>
                  <a:lnTo>
                    <a:pt x="1007" y="14340"/>
                  </a:lnTo>
                  <a:lnTo>
                    <a:pt x="1006" y="14302"/>
                  </a:lnTo>
                  <a:lnTo>
                    <a:pt x="1009" y="14268"/>
                  </a:lnTo>
                  <a:lnTo>
                    <a:pt x="1015" y="14229"/>
                  </a:lnTo>
                  <a:lnTo>
                    <a:pt x="1022" y="14189"/>
                  </a:lnTo>
                  <a:lnTo>
                    <a:pt x="1029" y="14149"/>
                  </a:lnTo>
                  <a:lnTo>
                    <a:pt x="1037" y="14110"/>
                  </a:lnTo>
                  <a:lnTo>
                    <a:pt x="1045" y="14074"/>
                  </a:lnTo>
                  <a:lnTo>
                    <a:pt x="1051" y="14043"/>
                  </a:lnTo>
                  <a:lnTo>
                    <a:pt x="1056" y="14020"/>
                  </a:lnTo>
                  <a:lnTo>
                    <a:pt x="1586" y="12106"/>
                  </a:lnTo>
                  <a:lnTo>
                    <a:pt x="1641" y="12105"/>
                  </a:lnTo>
                  <a:lnTo>
                    <a:pt x="1695" y="12105"/>
                  </a:lnTo>
                  <a:lnTo>
                    <a:pt x="1749" y="12107"/>
                  </a:lnTo>
                  <a:lnTo>
                    <a:pt x="1804" y="12111"/>
                  </a:lnTo>
                  <a:lnTo>
                    <a:pt x="1858" y="12116"/>
                  </a:lnTo>
                  <a:lnTo>
                    <a:pt x="1913" y="12122"/>
                  </a:lnTo>
                  <a:lnTo>
                    <a:pt x="1968" y="12130"/>
                  </a:lnTo>
                  <a:lnTo>
                    <a:pt x="2023" y="12139"/>
                  </a:lnTo>
                  <a:lnTo>
                    <a:pt x="2077" y="12149"/>
                  </a:lnTo>
                  <a:lnTo>
                    <a:pt x="2133" y="12161"/>
                  </a:lnTo>
                  <a:lnTo>
                    <a:pt x="2187" y="12175"/>
                  </a:lnTo>
                  <a:lnTo>
                    <a:pt x="2242" y="12190"/>
                  </a:lnTo>
                  <a:lnTo>
                    <a:pt x="2297" y="12206"/>
                  </a:lnTo>
                  <a:lnTo>
                    <a:pt x="2351" y="12224"/>
                  </a:lnTo>
                  <a:lnTo>
                    <a:pt x="2405" y="12243"/>
                  </a:lnTo>
                  <a:lnTo>
                    <a:pt x="2460" y="12264"/>
                  </a:lnTo>
                  <a:lnTo>
                    <a:pt x="2513" y="12286"/>
                  </a:lnTo>
                  <a:lnTo>
                    <a:pt x="2566" y="12309"/>
                  </a:lnTo>
                  <a:lnTo>
                    <a:pt x="2619" y="12335"/>
                  </a:lnTo>
                  <a:lnTo>
                    <a:pt x="2673" y="12362"/>
                  </a:lnTo>
                  <a:lnTo>
                    <a:pt x="2725" y="12390"/>
                  </a:lnTo>
                  <a:lnTo>
                    <a:pt x="2776" y="12420"/>
                  </a:lnTo>
                  <a:lnTo>
                    <a:pt x="2829" y="12451"/>
                  </a:lnTo>
                  <a:lnTo>
                    <a:pt x="2879" y="12483"/>
                  </a:lnTo>
                  <a:lnTo>
                    <a:pt x="2930" y="12517"/>
                  </a:lnTo>
                  <a:lnTo>
                    <a:pt x="2980" y="12553"/>
                  </a:lnTo>
                  <a:lnTo>
                    <a:pt x="3029" y="12590"/>
                  </a:lnTo>
                  <a:lnTo>
                    <a:pt x="3078" y="12629"/>
                  </a:lnTo>
                  <a:lnTo>
                    <a:pt x="3126" y="12669"/>
                  </a:lnTo>
                  <a:lnTo>
                    <a:pt x="3174" y="12711"/>
                  </a:lnTo>
                  <a:lnTo>
                    <a:pt x="3220" y="12754"/>
                  </a:lnTo>
                  <a:lnTo>
                    <a:pt x="3266" y="12799"/>
                  </a:lnTo>
                  <a:lnTo>
                    <a:pt x="3312" y="12845"/>
                  </a:lnTo>
                  <a:lnTo>
                    <a:pt x="3356" y="12893"/>
                  </a:lnTo>
                  <a:lnTo>
                    <a:pt x="3398" y="12941"/>
                  </a:lnTo>
                  <a:lnTo>
                    <a:pt x="3439" y="12990"/>
                  </a:lnTo>
                  <a:lnTo>
                    <a:pt x="3479" y="13039"/>
                  </a:lnTo>
                  <a:lnTo>
                    <a:pt x="3517" y="13089"/>
                  </a:lnTo>
                  <a:lnTo>
                    <a:pt x="3553" y="13139"/>
                  </a:lnTo>
                  <a:lnTo>
                    <a:pt x="3588" y="13191"/>
                  </a:lnTo>
                  <a:lnTo>
                    <a:pt x="3621" y="13243"/>
                  </a:lnTo>
                  <a:lnTo>
                    <a:pt x="3653" y="13295"/>
                  </a:lnTo>
                  <a:lnTo>
                    <a:pt x="3683" y="13348"/>
                  </a:lnTo>
                  <a:lnTo>
                    <a:pt x="3712" y="13401"/>
                  </a:lnTo>
                  <a:lnTo>
                    <a:pt x="3739" y="13455"/>
                  </a:lnTo>
                  <a:lnTo>
                    <a:pt x="3765" y="13509"/>
                  </a:lnTo>
                  <a:lnTo>
                    <a:pt x="3788" y="13563"/>
                  </a:lnTo>
                  <a:lnTo>
                    <a:pt x="3811" y="13617"/>
                  </a:lnTo>
                  <a:lnTo>
                    <a:pt x="3833" y="13671"/>
                  </a:lnTo>
                  <a:lnTo>
                    <a:pt x="3852" y="13727"/>
                  </a:lnTo>
                  <a:lnTo>
                    <a:pt x="3870" y="13782"/>
                  </a:lnTo>
                  <a:lnTo>
                    <a:pt x="3887" y="13837"/>
                  </a:lnTo>
                  <a:lnTo>
                    <a:pt x="3902" y="13892"/>
                  </a:lnTo>
                  <a:lnTo>
                    <a:pt x="3915" y="13948"/>
                  </a:lnTo>
                  <a:lnTo>
                    <a:pt x="3927" y="14004"/>
                  </a:lnTo>
                  <a:lnTo>
                    <a:pt x="3938" y="14060"/>
                  </a:lnTo>
                  <a:lnTo>
                    <a:pt x="3946" y="14115"/>
                  </a:lnTo>
                  <a:lnTo>
                    <a:pt x="3954" y="14170"/>
                  </a:lnTo>
                  <a:lnTo>
                    <a:pt x="3960" y="14225"/>
                  </a:lnTo>
                  <a:lnTo>
                    <a:pt x="3964" y="14282"/>
                  </a:lnTo>
                  <a:lnTo>
                    <a:pt x="3967" y="14337"/>
                  </a:lnTo>
                  <a:lnTo>
                    <a:pt x="3968" y="14391"/>
                  </a:lnTo>
                  <a:lnTo>
                    <a:pt x="3968" y="14446"/>
                  </a:lnTo>
                  <a:lnTo>
                    <a:pt x="3967" y="14500"/>
                  </a:lnTo>
                  <a:lnTo>
                    <a:pt x="2096" y="14991"/>
                  </a:lnTo>
                  <a:close/>
                  <a:moveTo>
                    <a:pt x="5275" y="8311"/>
                  </a:moveTo>
                  <a:lnTo>
                    <a:pt x="5187" y="8277"/>
                  </a:lnTo>
                  <a:lnTo>
                    <a:pt x="5099" y="8245"/>
                  </a:lnTo>
                  <a:lnTo>
                    <a:pt x="5011" y="8215"/>
                  </a:lnTo>
                  <a:lnTo>
                    <a:pt x="4921" y="8186"/>
                  </a:lnTo>
                  <a:lnTo>
                    <a:pt x="4877" y="8173"/>
                  </a:lnTo>
                  <a:lnTo>
                    <a:pt x="4833" y="8159"/>
                  </a:lnTo>
                  <a:lnTo>
                    <a:pt x="4787" y="8147"/>
                  </a:lnTo>
                  <a:lnTo>
                    <a:pt x="4742" y="8135"/>
                  </a:lnTo>
                  <a:lnTo>
                    <a:pt x="4698" y="8124"/>
                  </a:lnTo>
                  <a:lnTo>
                    <a:pt x="4652" y="8113"/>
                  </a:lnTo>
                  <a:lnTo>
                    <a:pt x="4607" y="8103"/>
                  </a:lnTo>
                  <a:lnTo>
                    <a:pt x="4562" y="8093"/>
                  </a:lnTo>
                  <a:lnTo>
                    <a:pt x="4517" y="8084"/>
                  </a:lnTo>
                  <a:lnTo>
                    <a:pt x="4471" y="8075"/>
                  </a:lnTo>
                  <a:lnTo>
                    <a:pt x="4426" y="8067"/>
                  </a:lnTo>
                  <a:lnTo>
                    <a:pt x="4380" y="8059"/>
                  </a:lnTo>
                  <a:lnTo>
                    <a:pt x="4335" y="8052"/>
                  </a:lnTo>
                  <a:lnTo>
                    <a:pt x="4289" y="8045"/>
                  </a:lnTo>
                  <a:lnTo>
                    <a:pt x="4243" y="8039"/>
                  </a:lnTo>
                  <a:lnTo>
                    <a:pt x="4198" y="8034"/>
                  </a:lnTo>
                  <a:lnTo>
                    <a:pt x="4153" y="8029"/>
                  </a:lnTo>
                  <a:lnTo>
                    <a:pt x="4106" y="8025"/>
                  </a:lnTo>
                  <a:lnTo>
                    <a:pt x="4061" y="8021"/>
                  </a:lnTo>
                  <a:lnTo>
                    <a:pt x="4015" y="8018"/>
                  </a:lnTo>
                  <a:lnTo>
                    <a:pt x="3969" y="8015"/>
                  </a:lnTo>
                  <a:lnTo>
                    <a:pt x="3923" y="8013"/>
                  </a:lnTo>
                  <a:lnTo>
                    <a:pt x="3878" y="8011"/>
                  </a:lnTo>
                  <a:lnTo>
                    <a:pt x="3832" y="8011"/>
                  </a:lnTo>
                  <a:lnTo>
                    <a:pt x="7706" y="4116"/>
                  </a:lnTo>
                  <a:lnTo>
                    <a:pt x="7763" y="4063"/>
                  </a:lnTo>
                  <a:lnTo>
                    <a:pt x="7820" y="4012"/>
                  </a:lnTo>
                  <a:lnTo>
                    <a:pt x="7880" y="3964"/>
                  </a:lnTo>
                  <a:lnTo>
                    <a:pt x="7941" y="3918"/>
                  </a:lnTo>
                  <a:lnTo>
                    <a:pt x="8003" y="3875"/>
                  </a:lnTo>
                  <a:lnTo>
                    <a:pt x="8067" y="3834"/>
                  </a:lnTo>
                  <a:lnTo>
                    <a:pt x="8131" y="3796"/>
                  </a:lnTo>
                  <a:lnTo>
                    <a:pt x="8197" y="3760"/>
                  </a:lnTo>
                  <a:lnTo>
                    <a:pt x="8265" y="3725"/>
                  </a:lnTo>
                  <a:lnTo>
                    <a:pt x="8333" y="3694"/>
                  </a:lnTo>
                  <a:lnTo>
                    <a:pt x="8403" y="3665"/>
                  </a:lnTo>
                  <a:lnTo>
                    <a:pt x="8473" y="3638"/>
                  </a:lnTo>
                  <a:lnTo>
                    <a:pt x="8544" y="3613"/>
                  </a:lnTo>
                  <a:lnTo>
                    <a:pt x="8616" y="3591"/>
                  </a:lnTo>
                  <a:lnTo>
                    <a:pt x="8689" y="3571"/>
                  </a:lnTo>
                  <a:lnTo>
                    <a:pt x="8764" y="3554"/>
                  </a:lnTo>
                  <a:lnTo>
                    <a:pt x="8838" y="3539"/>
                  </a:lnTo>
                  <a:lnTo>
                    <a:pt x="8914" y="3526"/>
                  </a:lnTo>
                  <a:lnTo>
                    <a:pt x="8989" y="3515"/>
                  </a:lnTo>
                  <a:lnTo>
                    <a:pt x="9067" y="3507"/>
                  </a:lnTo>
                  <a:lnTo>
                    <a:pt x="9143" y="3501"/>
                  </a:lnTo>
                  <a:lnTo>
                    <a:pt x="9220" y="3497"/>
                  </a:lnTo>
                  <a:lnTo>
                    <a:pt x="9299" y="3496"/>
                  </a:lnTo>
                  <a:lnTo>
                    <a:pt x="9377" y="3497"/>
                  </a:lnTo>
                  <a:lnTo>
                    <a:pt x="9457" y="3500"/>
                  </a:lnTo>
                  <a:lnTo>
                    <a:pt x="9535" y="3505"/>
                  </a:lnTo>
                  <a:lnTo>
                    <a:pt x="9615" y="3512"/>
                  </a:lnTo>
                  <a:lnTo>
                    <a:pt x="9694" y="3522"/>
                  </a:lnTo>
                  <a:lnTo>
                    <a:pt x="9775" y="3534"/>
                  </a:lnTo>
                  <a:lnTo>
                    <a:pt x="9854" y="3548"/>
                  </a:lnTo>
                  <a:lnTo>
                    <a:pt x="9934" y="3565"/>
                  </a:lnTo>
                  <a:lnTo>
                    <a:pt x="10014" y="3583"/>
                  </a:lnTo>
                  <a:lnTo>
                    <a:pt x="5275" y="8311"/>
                  </a:lnTo>
                  <a:close/>
                  <a:moveTo>
                    <a:pt x="7441" y="10165"/>
                  </a:moveTo>
                  <a:lnTo>
                    <a:pt x="7406" y="10107"/>
                  </a:lnTo>
                  <a:lnTo>
                    <a:pt x="7369" y="10049"/>
                  </a:lnTo>
                  <a:lnTo>
                    <a:pt x="7332" y="9992"/>
                  </a:lnTo>
                  <a:lnTo>
                    <a:pt x="7295" y="9936"/>
                  </a:lnTo>
                  <a:lnTo>
                    <a:pt x="7257" y="9880"/>
                  </a:lnTo>
                  <a:lnTo>
                    <a:pt x="7218" y="9824"/>
                  </a:lnTo>
                  <a:lnTo>
                    <a:pt x="7177" y="9768"/>
                  </a:lnTo>
                  <a:lnTo>
                    <a:pt x="7137" y="9714"/>
                  </a:lnTo>
                  <a:lnTo>
                    <a:pt x="7096" y="9660"/>
                  </a:lnTo>
                  <a:lnTo>
                    <a:pt x="7053" y="9606"/>
                  </a:lnTo>
                  <a:lnTo>
                    <a:pt x="7009" y="9553"/>
                  </a:lnTo>
                  <a:lnTo>
                    <a:pt x="6965" y="9500"/>
                  </a:lnTo>
                  <a:lnTo>
                    <a:pt x="6919" y="9448"/>
                  </a:lnTo>
                  <a:lnTo>
                    <a:pt x="6873" y="9397"/>
                  </a:lnTo>
                  <a:lnTo>
                    <a:pt x="6824" y="9347"/>
                  </a:lnTo>
                  <a:lnTo>
                    <a:pt x="6776" y="9297"/>
                  </a:lnTo>
                  <a:lnTo>
                    <a:pt x="6718" y="9240"/>
                  </a:lnTo>
                  <a:lnTo>
                    <a:pt x="6658" y="9185"/>
                  </a:lnTo>
                  <a:lnTo>
                    <a:pt x="6598" y="9131"/>
                  </a:lnTo>
                  <a:lnTo>
                    <a:pt x="6538" y="9079"/>
                  </a:lnTo>
                  <a:lnTo>
                    <a:pt x="6475" y="9029"/>
                  </a:lnTo>
                  <a:lnTo>
                    <a:pt x="6412" y="8978"/>
                  </a:lnTo>
                  <a:lnTo>
                    <a:pt x="6348" y="8930"/>
                  </a:lnTo>
                  <a:lnTo>
                    <a:pt x="6284" y="8884"/>
                  </a:lnTo>
                  <a:lnTo>
                    <a:pt x="6220" y="8838"/>
                  </a:lnTo>
                  <a:lnTo>
                    <a:pt x="6153" y="8794"/>
                  </a:lnTo>
                  <a:lnTo>
                    <a:pt x="6087" y="8750"/>
                  </a:lnTo>
                  <a:lnTo>
                    <a:pt x="6021" y="8707"/>
                  </a:lnTo>
                  <a:lnTo>
                    <a:pt x="5953" y="8666"/>
                  </a:lnTo>
                  <a:lnTo>
                    <a:pt x="5885" y="8626"/>
                  </a:lnTo>
                  <a:lnTo>
                    <a:pt x="5816" y="8587"/>
                  </a:lnTo>
                  <a:lnTo>
                    <a:pt x="5748" y="8549"/>
                  </a:lnTo>
                  <a:lnTo>
                    <a:pt x="10542" y="3766"/>
                  </a:lnTo>
                  <a:lnTo>
                    <a:pt x="10613" y="3798"/>
                  </a:lnTo>
                  <a:lnTo>
                    <a:pt x="10683" y="3831"/>
                  </a:lnTo>
                  <a:lnTo>
                    <a:pt x="10752" y="3866"/>
                  </a:lnTo>
                  <a:lnTo>
                    <a:pt x="10821" y="3903"/>
                  </a:lnTo>
                  <a:lnTo>
                    <a:pt x="10889" y="3942"/>
                  </a:lnTo>
                  <a:lnTo>
                    <a:pt x="10958" y="3983"/>
                  </a:lnTo>
                  <a:lnTo>
                    <a:pt x="11025" y="4026"/>
                  </a:lnTo>
                  <a:lnTo>
                    <a:pt x="11091" y="4070"/>
                  </a:lnTo>
                  <a:lnTo>
                    <a:pt x="11157" y="4115"/>
                  </a:lnTo>
                  <a:lnTo>
                    <a:pt x="11222" y="4163"/>
                  </a:lnTo>
                  <a:lnTo>
                    <a:pt x="11287" y="4212"/>
                  </a:lnTo>
                  <a:lnTo>
                    <a:pt x="11351" y="4263"/>
                  </a:lnTo>
                  <a:lnTo>
                    <a:pt x="11413" y="4317"/>
                  </a:lnTo>
                  <a:lnTo>
                    <a:pt x="11476" y="4372"/>
                  </a:lnTo>
                  <a:lnTo>
                    <a:pt x="11537" y="4428"/>
                  </a:lnTo>
                  <a:lnTo>
                    <a:pt x="11597" y="4487"/>
                  </a:lnTo>
                  <a:lnTo>
                    <a:pt x="11648" y="4537"/>
                  </a:lnTo>
                  <a:lnTo>
                    <a:pt x="11696" y="4590"/>
                  </a:lnTo>
                  <a:lnTo>
                    <a:pt x="11743" y="4642"/>
                  </a:lnTo>
                  <a:lnTo>
                    <a:pt x="11790" y="4696"/>
                  </a:lnTo>
                  <a:lnTo>
                    <a:pt x="11835" y="4749"/>
                  </a:lnTo>
                  <a:lnTo>
                    <a:pt x="11878" y="4803"/>
                  </a:lnTo>
                  <a:lnTo>
                    <a:pt x="11919" y="4859"/>
                  </a:lnTo>
                  <a:lnTo>
                    <a:pt x="11961" y="4915"/>
                  </a:lnTo>
                  <a:lnTo>
                    <a:pt x="12000" y="4970"/>
                  </a:lnTo>
                  <a:lnTo>
                    <a:pt x="12038" y="5027"/>
                  </a:lnTo>
                  <a:lnTo>
                    <a:pt x="12075" y="5084"/>
                  </a:lnTo>
                  <a:lnTo>
                    <a:pt x="12110" y="5142"/>
                  </a:lnTo>
                  <a:lnTo>
                    <a:pt x="12145" y="5200"/>
                  </a:lnTo>
                  <a:lnTo>
                    <a:pt x="12178" y="5258"/>
                  </a:lnTo>
                  <a:lnTo>
                    <a:pt x="12210" y="5316"/>
                  </a:lnTo>
                  <a:lnTo>
                    <a:pt x="12241" y="5375"/>
                  </a:lnTo>
                  <a:lnTo>
                    <a:pt x="7441" y="10165"/>
                  </a:lnTo>
                  <a:close/>
                  <a:moveTo>
                    <a:pt x="8055" y="11941"/>
                  </a:moveTo>
                  <a:lnTo>
                    <a:pt x="8045" y="11856"/>
                  </a:lnTo>
                  <a:lnTo>
                    <a:pt x="8035" y="11772"/>
                  </a:lnTo>
                  <a:lnTo>
                    <a:pt x="8022" y="11687"/>
                  </a:lnTo>
                  <a:lnTo>
                    <a:pt x="8008" y="11603"/>
                  </a:lnTo>
                  <a:lnTo>
                    <a:pt x="7991" y="11519"/>
                  </a:lnTo>
                  <a:lnTo>
                    <a:pt x="7973" y="11435"/>
                  </a:lnTo>
                  <a:lnTo>
                    <a:pt x="7953" y="11352"/>
                  </a:lnTo>
                  <a:lnTo>
                    <a:pt x="7931" y="11270"/>
                  </a:lnTo>
                  <a:lnTo>
                    <a:pt x="7907" y="11187"/>
                  </a:lnTo>
                  <a:lnTo>
                    <a:pt x="7882" y="11105"/>
                  </a:lnTo>
                  <a:lnTo>
                    <a:pt x="7854" y="11024"/>
                  </a:lnTo>
                  <a:lnTo>
                    <a:pt x="7825" y="10943"/>
                  </a:lnTo>
                  <a:lnTo>
                    <a:pt x="7795" y="10861"/>
                  </a:lnTo>
                  <a:lnTo>
                    <a:pt x="7763" y="10781"/>
                  </a:lnTo>
                  <a:lnTo>
                    <a:pt x="7729" y="10702"/>
                  </a:lnTo>
                  <a:lnTo>
                    <a:pt x="7693" y="10622"/>
                  </a:lnTo>
                  <a:lnTo>
                    <a:pt x="12448" y="5878"/>
                  </a:lnTo>
                  <a:lnTo>
                    <a:pt x="12475" y="5965"/>
                  </a:lnTo>
                  <a:lnTo>
                    <a:pt x="12499" y="6051"/>
                  </a:lnTo>
                  <a:lnTo>
                    <a:pt x="12519" y="6137"/>
                  </a:lnTo>
                  <a:lnTo>
                    <a:pt x="12537" y="6223"/>
                  </a:lnTo>
                  <a:lnTo>
                    <a:pt x="12553" y="6310"/>
                  </a:lnTo>
                  <a:lnTo>
                    <a:pt x="12566" y="6396"/>
                  </a:lnTo>
                  <a:lnTo>
                    <a:pt x="12576" y="6482"/>
                  </a:lnTo>
                  <a:lnTo>
                    <a:pt x="12583" y="6568"/>
                  </a:lnTo>
                  <a:lnTo>
                    <a:pt x="12588" y="6654"/>
                  </a:lnTo>
                  <a:lnTo>
                    <a:pt x="12591" y="6739"/>
                  </a:lnTo>
                  <a:lnTo>
                    <a:pt x="12591" y="6824"/>
                  </a:lnTo>
                  <a:lnTo>
                    <a:pt x="12588" y="6908"/>
                  </a:lnTo>
                  <a:lnTo>
                    <a:pt x="12582" y="6992"/>
                  </a:lnTo>
                  <a:lnTo>
                    <a:pt x="12574" y="7075"/>
                  </a:lnTo>
                  <a:lnTo>
                    <a:pt x="12563" y="7158"/>
                  </a:lnTo>
                  <a:lnTo>
                    <a:pt x="12549" y="7239"/>
                  </a:lnTo>
                  <a:lnTo>
                    <a:pt x="12533" y="7320"/>
                  </a:lnTo>
                  <a:lnTo>
                    <a:pt x="12513" y="7400"/>
                  </a:lnTo>
                  <a:lnTo>
                    <a:pt x="12492" y="7479"/>
                  </a:lnTo>
                  <a:lnTo>
                    <a:pt x="12467" y="7557"/>
                  </a:lnTo>
                  <a:lnTo>
                    <a:pt x="12439" y="7635"/>
                  </a:lnTo>
                  <a:lnTo>
                    <a:pt x="12409" y="7710"/>
                  </a:lnTo>
                  <a:lnTo>
                    <a:pt x="12376" y="7784"/>
                  </a:lnTo>
                  <a:lnTo>
                    <a:pt x="12340" y="7857"/>
                  </a:lnTo>
                  <a:lnTo>
                    <a:pt x="12302" y="7930"/>
                  </a:lnTo>
                  <a:lnTo>
                    <a:pt x="12260" y="8000"/>
                  </a:lnTo>
                  <a:lnTo>
                    <a:pt x="12216" y="8069"/>
                  </a:lnTo>
                  <a:lnTo>
                    <a:pt x="12169" y="8136"/>
                  </a:lnTo>
                  <a:lnTo>
                    <a:pt x="12120" y="8203"/>
                  </a:lnTo>
                  <a:lnTo>
                    <a:pt x="12066" y="8267"/>
                  </a:lnTo>
                  <a:lnTo>
                    <a:pt x="12011" y="8329"/>
                  </a:lnTo>
                  <a:lnTo>
                    <a:pt x="11953" y="8389"/>
                  </a:lnTo>
                  <a:lnTo>
                    <a:pt x="11947" y="8394"/>
                  </a:lnTo>
                  <a:lnTo>
                    <a:pt x="11940" y="8400"/>
                  </a:lnTo>
                  <a:lnTo>
                    <a:pt x="11948" y="8406"/>
                  </a:lnTo>
                  <a:lnTo>
                    <a:pt x="8060" y="12314"/>
                  </a:lnTo>
                  <a:lnTo>
                    <a:pt x="8061" y="12268"/>
                  </a:lnTo>
                  <a:lnTo>
                    <a:pt x="8061" y="12222"/>
                  </a:lnTo>
                  <a:lnTo>
                    <a:pt x="8062" y="12175"/>
                  </a:lnTo>
                  <a:lnTo>
                    <a:pt x="8062" y="12129"/>
                  </a:lnTo>
                  <a:lnTo>
                    <a:pt x="8062" y="12082"/>
                  </a:lnTo>
                  <a:lnTo>
                    <a:pt x="8061" y="12035"/>
                  </a:lnTo>
                  <a:lnTo>
                    <a:pt x="8059" y="11988"/>
                  </a:lnTo>
                  <a:lnTo>
                    <a:pt x="8055" y="11941"/>
                  </a:lnTo>
                  <a:close/>
                  <a:moveTo>
                    <a:pt x="14785" y="1295"/>
                  </a:moveTo>
                  <a:lnTo>
                    <a:pt x="14707" y="1218"/>
                  </a:lnTo>
                  <a:lnTo>
                    <a:pt x="14626" y="1144"/>
                  </a:lnTo>
                  <a:lnTo>
                    <a:pt x="14546" y="1072"/>
                  </a:lnTo>
                  <a:lnTo>
                    <a:pt x="14463" y="1003"/>
                  </a:lnTo>
                  <a:lnTo>
                    <a:pt x="14379" y="934"/>
                  </a:lnTo>
                  <a:lnTo>
                    <a:pt x="14294" y="869"/>
                  </a:lnTo>
                  <a:lnTo>
                    <a:pt x="14208" y="806"/>
                  </a:lnTo>
                  <a:lnTo>
                    <a:pt x="14119" y="745"/>
                  </a:lnTo>
                  <a:lnTo>
                    <a:pt x="14031" y="685"/>
                  </a:lnTo>
                  <a:lnTo>
                    <a:pt x="13941" y="629"/>
                  </a:lnTo>
                  <a:lnTo>
                    <a:pt x="13851" y="575"/>
                  </a:lnTo>
                  <a:lnTo>
                    <a:pt x="13758" y="523"/>
                  </a:lnTo>
                  <a:lnTo>
                    <a:pt x="13666" y="473"/>
                  </a:lnTo>
                  <a:lnTo>
                    <a:pt x="13572" y="426"/>
                  </a:lnTo>
                  <a:lnTo>
                    <a:pt x="13478" y="380"/>
                  </a:lnTo>
                  <a:lnTo>
                    <a:pt x="13382" y="338"/>
                  </a:lnTo>
                  <a:lnTo>
                    <a:pt x="13286" y="298"/>
                  </a:lnTo>
                  <a:lnTo>
                    <a:pt x="13190" y="260"/>
                  </a:lnTo>
                  <a:lnTo>
                    <a:pt x="13092" y="225"/>
                  </a:lnTo>
                  <a:lnTo>
                    <a:pt x="12995" y="193"/>
                  </a:lnTo>
                  <a:lnTo>
                    <a:pt x="12896" y="162"/>
                  </a:lnTo>
                  <a:lnTo>
                    <a:pt x="12798" y="134"/>
                  </a:lnTo>
                  <a:lnTo>
                    <a:pt x="12698" y="109"/>
                  </a:lnTo>
                  <a:lnTo>
                    <a:pt x="12598" y="86"/>
                  </a:lnTo>
                  <a:lnTo>
                    <a:pt x="12499" y="66"/>
                  </a:lnTo>
                  <a:lnTo>
                    <a:pt x="12398" y="49"/>
                  </a:lnTo>
                  <a:lnTo>
                    <a:pt x="12299" y="34"/>
                  </a:lnTo>
                  <a:lnTo>
                    <a:pt x="12198" y="22"/>
                  </a:lnTo>
                  <a:lnTo>
                    <a:pt x="12097" y="12"/>
                  </a:lnTo>
                  <a:lnTo>
                    <a:pt x="11996" y="5"/>
                  </a:lnTo>
                  <a:lnTo>
                    <a:pt x="11895" y="1"/>
                  </a:lnTo>
                  <a:lnTo>
                    <a:pt x="11795" y="0"/>
                  </a:lnTo>
                  <a:lnTo>
                    <a:pt x="11710" y="1"/>
                  </a:lnTo>
                  <a:lnTo>
                    <a:pt x="11626" y="4"/>
                  </a:lnTo>
                  <a:lnTo>
                    <a:pt x="11542" y="9"/>
                  </a:lnTo>
                  <a:lnTo>
                    <a:pt x="11459" y="16"/>
                  </a:lnTo>
                  <a:lnTo>
                    <a:pt x="11376" y="24"/>
                  </a:lnTo>
                  <a:lnTo>
                    <a:pt x="11294" y="35"/>
                  </a:lnTo>
                  <a:lnTo>
                    <a:pt x="11212" y="47"/>
                  </a:lnTo>
                  <a:lnTo>
                    <a:pt x="11131" y="62"/>
                  </a:lnTo>
                  <a:lnTo>
                    <a:pt x="11051" y="78"/>
                  </a:lnTo>
                  <a:lnTo>
                    <a:pt x="10971" y="96"/>
                  </a:lnTo>
                  <a:lnTo>
                    <a:pt x="10892" y="116"/>
                  </a:lnTo>
                  <a:lnTo>
                    <a:pt x="10814" y="139"/>
                  </a:lnTo>
                  <a:lnTo>
                    <a:pt x="10736" y="162"/>
                  </a:lnTo>
                  <a:lnTo>
                    <a:pt x="10660" y="187"/>
                  </a:lnTo>
                  <a:lnTo>
                    <a:pt x="10584" y="215"/>
                  </a:lnTo>
                  <a:lnTo>
                    <a:pt x="10509" y="243"/>
                  </a:lnTo>
                  <a:lnTo>
                    <a:pt x="10435" y="274"/>
                  </a:lnTo>
                  <a:lnTo>
                    <a:pt x="10361" y="307"/>
                  </a:lnTo>
                  <a:lnTo>
                    <a:pt x="10289" y="341"/>
                  </a:lnTo>
                  <a:lnTo>
                    <a:pt x="10217" y="377"/>
                  </a:lnTo>
                  <a:lnTo>
                    <a:pt x="10147" y="416"/>
                  </a:lnTo>
                  <a:lnTo>
                    <a:pt x="10078" y="455"/>
                  </a:lnTo>
                  <a:lnTo>
                    <a:pt x="10010" y="496"/>
                  </a:lnTo>
                  <a:lnTo>
                    <a:pt x="9943" y="539"/>
                  </a:lnTo>
                  <a:lnTo>
                    <a:pt x="9876" y="583"/>
                  </a:lnTo>
                  <a:lnTo>
                    <a:pt x="9811" y="629"/>
                  </a:lnTo>
                  <a:lnTo>
                    <a:pt x="9748" y="677"/>
                  </a:lnTo>
                  <a:lnTo>
                    <a:pt x="9684" y="727"/>
                  </a:lnTo>
                  <a:lnTo>
                    <a:pt x="9623" y="778"/>
                  </a:lnTo>
                  <a:lnTo>
                    <a:pt x="9562" y="831"/>
                  </a:lnTo>
                  <a:lnTo>
                    <a:pt x="9503" y="885"/>
                  </a:lnTo>
                  <a:lnTo>
                    <a:pt x="9446" y="941"/>
                  </a:lnTo>
                  <a:lnTo>
                    <a:pt x="6997" y="3403"/>
                  </a:lnTo>
                  <a:lnTo>
                    <a:pt x="6986" y="3412"/>
                  </a:lnTo>
                  <a:lnTo>
                    <a:pt x="6974" y="3422"/>
                  </a:lnTo>
                  <a:lnTo>
                    <a:pt x="6969" y="3428"/>
                  </a:lnTo>
                  <a:lnTo>
                    <a:pt x="6964" y="3435"/>
                  </a:lnTo>
                  <a:lnTo>
                    <a:pt x="6965" y="3436"/>
                  </a:lnTo>
                  <a:lnTo>
                    <a:pt x="1769" y="8659"/>
                  </a:lnTo>
                  <a:lnTo>
                    <a:pt x="1747" y="8681"/>
                  </a:lnTo>
                  <a:lnTo>
                    <a:pt x="1725" y="8704"/>
                  </a:lnTo>
                  <a:lnTo>
                    <a:pt x="1704" y="8728"/>
                  </a:lnTo>
                  <a:lnTo>
                    <a:pt x="1683" y="8751"/>
                  </a:lnTo>
                  <a:lnTo>
                    <a:pt x="1642" y="8799"/>
                  </a:lnTo>
                  <a:lnTo>
                    <a:pt x="1602" y="8847"/>
                  </a:lnTo>
                  <a:lnTo>
                    <a:pt x="1564" y="8897"/>
                  </a:lnTo>
                  <a:lnTo>
                    <a:pt x="1528" y="8949"/>
                  </a:lnTo>
                  <a:lnTo>
                    <a:pt x="1494" y="9002"/>
                  </a:lnTo>
                  <a:lnTo>
                    <a:pt x="1461" y="9055"/>
                  </a:lnTo>
                  <a:lnTo>
                    <a:pt x="1429" y="9109"/>
                  </a:lnTo>
                  <a:lnTo>
                    <a:pt x="1400" y="9165"/>
                  </a:lnTo>
                  <a:lnTo>
                    <a:pt x="1372" y="9221"/>
                  </a:lnTo>
                  <a:lnTo>
                    <a:pt x="1347" y="9279"/>
                  </a:lnTo>
                  <a:lnTo>
                    <a:pt x="1322" y="9336"/>
                  </a:lnTo>
                  <a:lnTo>
                    <a:pt x="1300" y="9395"/>
                  </a:lnTo>
                  <a:lnTo>
                    <a:pt x="1279" y="9454"/>
                  </a:lnTo>
                  <a:lnTo>
                    <a:pt x="1260" y="9514"/>
                  </a:lnTo>
                  <a:lnTo>
                    <a:pt x="78" y="13784"/>
                  </a:lnTo>
                  <a:lnTo>
                    <a:pt x="74" y="13803"/>
                  </a:lnTo>
                  <a:lnTo>
                    <a:pt x="65" y="13846"/>
                  </a:lnTo>
                  <a:lnTo>
                    <a:pt x="53" y="13908"/>
                  </a:lnTo>
                  <a:lnTo>
                    <a:pt x="38" y="13984"/>
                  </a:lnTo>
                  <a:lnTo>
                    <a:pt x="31" y="14025"/>
                  </a:lnTo>
                  <a:lnTo>
                    <a:pt x="24" y="14066"/>
                  </a:lnTo>
                  <a:lnTo>
                    <a:pt x="18" y="14109"/>
                  </a:lnTo>
                  <a:lnTo>
                    <a:pt x="12" y="14151"/>
                  </a:lnTo>
                  <a:lnTo>
                    <a:pt x="7" y="14192"/>
                  </a:lnTo>
                  <a:lnTo>
                    <a:pt x="3" y="14231"/>
                  </a:lnTo>
                  <a:lnTo>
                    <a:pt x="1" y="14268"/>
                  </a:lnTo>
                  <a:lnTo>
                    <a:pt x="0" y="14302"/>
                  </a:lnTo>
                  <a:lnTo>
                    <a:pt x="2" y="14392"/>
                  </a:lnTo>
                  <a:lnTo>
                    <a:pt x="9" y="14481"/>
                  </a:lnTo>
                  <a:lnTo>
                    <a:pt x="20" y="14569"/>
                  </a:lnTo>
                  <a:lnTo>
                    <a:pt x="36" y="14656"/>
                  </a:lnTo>
                  <a:lnTo>
                    <a:pt x="55" y="14740"/>
                  </a:lnTo>
                  <a:lnTo>
                    <a:pt x="79" y="14824"/>
                  </a:lnTo>
                  <a:lnTo>
                    <a:pt x="107" y="14906"/>
                  </a:lnTo>
                  <a:lnTo>
                    <a:pt x="139" y="14985"/>
                  </a:lnTo>
                  <a:lnTo>
                    <a:pt x="174" y="15063"/>
                  </a:lnTo>
                  <a:lnTo>
                    <a:pt x="212" y="15139"/>
                  </a:lnTo>
                  <a:lnTo>
                    <a:pt x="256" y="15212"/>
                  </a:lnTo>
                  <a:lnTo>
                    <a:pt x="301" y="15283"/>
                  </a:lnTo>
                  <a:lnTo>
                    <a:pt x="350" y="15352"/>
                  </a:lnTo>
                  <a:lnTo>
                    <a:pt x="402" y="15419"/>
                  </a:lnTo>
                  <a:lnTo>
                    <a:pt x="458" y="15483"/>
                  </a:lnTo>
                  <a:lnTo>
                    <a:pt x="516" y="15543"/>
                  </a:lnTo>
                  <a:lnTo>
                    <a:pt x="577" y="15601"/>
                  </a:lnTo>
                  <a:lnTo>
                    <a:pt x="642" y="15657"/>
                  </a:lnTo>
                  <a:lnTo>
                    <a:pt x="708" y="15709"/>
                  </a:lnTo>
                  <a:lnTo>
                    <a:pt x="778" y="15758"/>
                  </a:lnTo>
                  <a:lnTo>
                    <a:pt x="849" y="15804"/>
                  </a:lnTo>
                  <a:lnTo>
                    <a:pt x="922" y="15846"/>
                  </a:lnTo>
                  <a:lnTo>
                    <a:pt x="999" y="15884"/>
                  </a:lnTo>
                  <a:lnTo>
                    <a:pt x="1076" y="15919"/>
                  </a:lnTo>
                  <a:lnTo>
                    <a:pt x="1157" y="15952"/>
                  </a:lnTo>
                  <a:lnTo>
                    <a:pt x="1238" y="15979"/>
                  </a:lnTo>
                  <a:lnTo>
                    <a:pt x="1323" y="16003"/>
                  </a:lnTo>
                  <a:lnTo>
                    <a:pt x="1407" y="16022"/>
                  </a:lnTo>
                  <a:lnTo>
                    <a:pt x="1495" y="16038"/>
                  </a:lnTo>
                  <a:lnTo>
                    <a:pt x="1582" y="16049"/>
                  </a:lnTo>
                  <a:lnTo>
                    <a:pt x="1672" y="16056"/>
                  </a:lnTo>
                  <a:lnTo>
                    <a:pt x="1763" y="16058"/>
                  </a:lnTo>
                  <a:lnTo>
                    <a:pt x="1801" y="16057"/>
                  </a:lnTo>
                  <a:lnTo>
                    <a:pt x="1843" y="16054"/>
                  </a:lnTo>
                  <a:lnTo>
                    <a:pt x="1887" y="16049"/>
                  </a:lnTo>
                  <a:lnTo>
                    <a:pt x="1933" y="16044"/>
                  </a:lnTo>
                  <a:lnTo>
                    <a:pt x="1981" y="16037"/>
                  </a:lnTo>
                  <a:lnTo>
                    <a:pt x="2028" y="16029"/>
                  </a:lnTo>
                  <a:lnTo>
                    <a:pt x="2075" y="16020"/>
                  </a:lnTo>
                  <a:lnTo>
                    <a:pt x="2122" y="16012"/>
                  </a:lnTo>
                  <a:lnTo>
                    <a:pt x="2205" y="15995"/>
                  </a:lnTo>
                  <a:lnTo>
                    <a:pt x="2275" y="15980"/>
                  </a:lnTo>
                  <a:lnTo>
                    <a:pt x="2324" y="15969"/>
                  </a:lnTo>
                  <a:lnTo>
                    <a:pt x="2345" y="15964"/>
                  </a:lnTo>
                  <a:lnTo>
                    <a:pt x="6609" y="14846"/>
                  </a:lnTo>
                  <a:lnTo>
                    <a:pt x="6669" y="14827"/>
                  </a:lnTo>
                  <a:lnTo>
                    <a:pt x="6729" y="14805"/>
                  </a:lnTo>
                  <a:lnTo>
                    <a:pt x="6788" y="14783"/>
                  </a:lnTo>
                  <a:lnTo>
                    <a:pt x="6845" y="14759"/>
                  </a:lnTo>
                  <a:lnTo>
                    <a:pt x="6903" y="14733"/>
                  </a:lnTo>
                  <a:lnTo>
                    <a:pt x="6960" y="14705"/>
                  </a:lnTo>
                  <a:lnTo>
                    <a:pt x="7015" y="14675"/>
                  </a:lnTo>
                  <a:lnTo>
                    <a:pt x="7070" y="14644"/>
                  </a:lnTo>
                  <a:lnTo>
                    <a:pt x="7123" y="14612"/>
                  </a:lnTo>
                  <a:lnTo>
                    <a:pt x="7175" y="14577"/>
                  </a:lnTo>
                  <a:lnTo>
                    <a:pt x="7227" y="14541"/>
                  </a:lnTo>
                  <a:lnTo>
                    <a:pt x="7277" y="14502"/>
                  </a:lnTo>
                  <a:lnTo>
                    <a:pt x="7326" y="14463"/>
                  </a:lnTo>
                  <a:lnTo>
                    <a:pt x="7375" y="14422"/>
                  </a:lnTo>
                  <a:lnTo>
                    <a:pt x="7421" y="14380"/>
                  </a:lnTo>
                  <a:lnTo>
                    <a:pt x="7466" y="14336"/>
                  </a:lnTo>
                  <a:lnTo>
                    <a:pt x="15143" y="6617"/>
                  </a:lnTo>
                  <a:lnTo>
                    <a:pt x="15270" y="6483"/>
                  </a:lnTo>
                  <a:lnTo>
                    <a:pt x="15387" y="6344"/>
                  </a:lnTo>
                  <a:lnTo>
                    <a:pt x="15495" y="6200"/>
                  </a:lnTo>
                  <a:lnTo>
                    <a:pt x="15594" y="6053"/>
                  </a:lnTo>
                  <a:lnTo>
                    <a:pt x="15685" y="5900"/>
                  </a:lnTo>
                  <a:lnTo>
                    <a:pt x="15766" y="5744"/>
                  </a:lnTo>
                  <a:lnTo>
                    <a:pt x="15837" y="5584"/>
                  </a:lnTo>
                  <a:lnTo>
                    <a:pt x="15901" y="5421"/>
                  </a:lnTo>
                  <a:lnTo>
                    <a:pt x="15955" y="5254"/>
                  </a:lnTo>
                  <a:lnTo>
                    <a:pt x="16000" y="5084"/>
                  </a:lnTo>
                  <a:lnTo>
                    <a:pt x="16037" y="4913"/>
                  </a:lnTo>
                  <a:lnTo>
                    <a:pt x="16065" y="4739"/>
                  </a:lnTo>
                  <a:lnTo>
                    <a:pt x="16083" y="4563"/>
                  </a:lnTo>
                  <a:lnTo>
                    <a:pt x="16093" y="4387"/>
                  </a:lnTo>
                  <a:lnTo>
                    <a:pt x="16094" y="4208"/>
                  </a:lnTo>
                  <a:lnTo>
                    <a:pt x="16087" y="4030"/>
                  </a:lnTo>
                  <a:lnTo>
                    <a:pt x="16070" y="3850"/>
                  </a:lnTo>
                  <a:lnTo>
                    <a:pt x="16045" y="3669"/>
                  </a:lnTo>
                  <a:lnTo>
                    <a:pt x="16011" y="3490"/>
                  </a:lnTo>
                  <a:lnTo>
                    <a:pt x="15968" y="3310"/>
                  </a:lnTo>
                  <a:lnTo>
                    <a:pt x="15917" y="3131"/>
                  </a:lnTo>
                  <a:lnTo>
                    <a:pt x="15857" y="2953"/>
                  </a:lnTo>
                  <a:lnTo>
                    <a:pt x="15788" y="2776"/>
                  </a:lnTo>
                  <a:lnTo>
                    <a:pt x="15711" y="2601"/>
                  </a:lnTo>
                  <a:lnTo>
                    <a:pt x="15625" y="2428"/>
                  </a:lnTo>
                  <a:lnTo>
                    <a:pt x="15531" y="2257"/>
                  </a:lnTo>
                  <a:lnTo>
                    <a:pt x="15428" y="2089"/>
                  </a:lnTo>
                  <a:lnTo>
                    <a:pt x="15316" y="1923"/>
                  </a:lnTo>
                  <a:lnTo>
                    <a:pt x="15196" y="1760"/>
                  </a:lnTo>
                  <a:lnTo>
                    <a:pt x="15067" y="1602"/>
                  </a:lnTo>
                  <a:lnTo>
                    <a:pt x="14930" y="1446"/>
                  </a:lnTo>
                  <a:lnTo>
                    <a:pt x="14785" y="129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36" name="ïṥḷïḑè">
              <a:extLst>
                <a:ext uri="{FF2B5EF4-FFF2-40B4-BE49-F238E27FC236}">
                  <a16:creationId xmlns:a16="http://schemas.microsoft.com/office/drawing/2014/main" id="{BEE78D8F-CCA7-4A55-B977-5391FA01627E}"/>
                </a:ext>
              </a:extLst>
            </p:cNvPr>
            <p:cNvSpPr/>
            <p:nvPr/>
          </p:nvSpPr>
          <p:spPr bwMode="auto">
            <a:xfrm>
              <a:off x="8578756" y="2031654"/>
              <a:ext cx="265624" cy="385553"/>
            </a:xfrm>
            <a:custGeom>
              <a:avLst/>
              <a:gdLst>
                <a:gd name="T0" fmla="*/ 2887 w 11063"/>
                <a:gd name="T1" fmla="*/ 9929 h 16058"/>
                <a:gd name="T2" fmla="*/ 2451 w 11063"/>
                <a:gd name="T3" fmla="*/ 9123 h 16058"/>
                <a:gd name="T4" fmla="*/ 1855 w 11063"/>
                <a:gd name="T5" fmla="*/ 8041 h 16058"/>
                <a:gd name="T6" fmla="*/ 1427 w 11063"/>
                <a:gd name="T7" fmla="*/ 7165 h 16058"/>
                <a:gd name="T8" fmla="*/ 1122 w 11063"/>
                <a:gd name="T9" fmla="*/ 6318 h 16058"/>
                <a:gd name="T10" fmla="*/ 1006 w 11063"/>
                <a:gd name="T11" fmla="*/ 5520 h 16058"/>
                <a:gd name="T12" fmla="*/ 1362 w 11063"/>
                <a:gd name="T13" fmla="*/ 3764 h 16058"/>
                <a:gd name="T14" fmla="*/ 2332 w 11063"/>
                <a:gd name="T15" fmla="*/ 2327 h 16058"/>
                <a:gd name="T16" fmla="*/ 3771 w 11063"/>
                <a:gd name="T17" fmla="*/ 1359 h 16058"/>
                <a:gd name="T18" fmla="*/ 5532 w 11063"/>
                <a:gd name="T19" fmla="*/ 1004 h 16058"/>
                <a:gd name="T20" fmla="*/ 7292 w 11063"/>
                <a:gd name="T21" fmla="*/ 1359 h 16058"/>
                <a:gd name="T22" fmla="*/ 8731 w 11063"/>
                <a:gd name="T23" fmla="*/ 2327 h 16058"/>
                <a:gd name="T24" fmla="*/ 9701 w 11063"/>
                <a:gd name="T25" fmla="*/ 3764 h 16058"/>
                <a:gd name="T26" fmla="*/ 10057 w 11063"/>
                <a:gd name="T27" fmla="*/ 5520 h 16058"/>
                <a:gd name="T28" fmla="*/ 9941 w 11063"/>
                <a:gd name="T29" fmla="*/ 6314 h 16058"/>
                <a:gd name="T30" fmla="*/ 9636 w 11063"/>
                <a:gd name="T31" fmla="*/ 7163 h 16058"/>
                <a:gd name="T32" fmla="*/ 9207 w 11063"/>
                <a:gd name="T33" fmla="*/ 8042 h 16058"/>
                <a:gd name="T34" fmla="*/ 8612 w 11063"/>
                <a:gd name="T35" fmla="*/ 9129 h 16058"/>
                <a:gd name="T36" fmla="*/ 8179 w 11063"/>
                <a:gd name="T37" fmla="*/ 9932 h 16058"/>
                <a:gd name="T38" fmla="*/ 5484 w 11063"/>
                <a:gd name="T39" fmla="*/ 15054 h 16058"/>
                <a:gd name="T40" fmla="*/ 5160 w 11063"/>
                <a:gd name="T41" fmla="*/ 15030 h 16058"/>
                <a:gd name="T42" fmla="*/ 4907 w 11063"/>
                <a:gd name="T43" fmla="*/ 14937 h 16058"/>
                <a:gd name="T44" fmla="*/ 4698 w 11063"/>
                <a:gd name="T45" fmla="*/ 14732 h 16058"/>
                <a:gd name="T46" fmla="*/ 6658 w 11063"/>
                <a:gd name="T47" fmla="*/ 14161 h 16058"/>
                <a:gd name="T48" fmla="*/ 6436 w 11063"/>
                <a:gd name="T49" fmla="*/ 14651 h 16058"/>
                <a:gd name="T50" fmla="*/ 6202 w 11063"/>
                <a:gd name="T51" fmla="*/ 14919 h 16058"/>
                <a:gd name="T52" fmla="*/ 5915 w 11063"/>
                <a:gd name="T53" fmla="*/ 15031 h 16058"/>
                <a:gd name="T54" fmla="*/ 5532 w 11063"/>
                <a:gd name="T55" fmla="*/ 15054 h 16058"/>
                <a:gd name="T56" fmla="*/ 3763 w 11063"/>
                <a:gd name="T57" fmla="*/ 12094 h 16058"/>
                <a:gd name="T58" fmla="*/ 3603 w 11063"/>
                <a:gd name="T59" fmla="*/ 11605 h 16058"/>
                <a:gd name="T60" fmla="*/ 7351 w 11063"/>
                <a:gd name="T61" fmla="*/ 11943 h 16058"/>
                <a:gd name="T62" fmla="*/ 4290 w 11063"/>
                <a:gd name="T63" fmla="*/ 13799 h 16058"/>
                <a:gd name="T64" fmla="*/ 4145 w 11063"/>
                <a:gd name="T65" fmla="*/ 13340 h 16058"/>
                <a:gd name="T66" fmla="*/ 7149 w 11063"/>
                <a:gd name="T67" fmla="*/ 12594 h 16058"/>
                <a:gd name="T68" fmla="*/ 7016 w 11063"/>
                <a:gd name="T69" fmla="*/ 13038 h 16058"/>
                <a:gd name="T70" fmla="*/ 6835 w 11063"/>
                <a:gd name="T71" fmla="*/ 13637 h 16058"/>
                <a:gd name="T72" fmla="*/ 3630 w 11063"/>
                <a:gd name="T73" fmla="*/ 335 h 16058"/>
                <a:gd name="T74" fmla="*/ 1812 w 11063"/>
                <a:gd name="T75" fmla="*/ 1434 h 16058"/>
                <a:gd name="T76" fmla="*/ 545 w 11063"/>
                <a:gd name="T77" fmla="*/ 3127 h 16058"/>
                <a:gd name="T78" fmla="*/ 7 w 11063"/>
                <a:gd name="T79" fmla="*/ 5236 h 16058"/>
                <a:gd name="T80" fmla="*/ 234 w 11063"/>
                <a:gd name="T81" fmla="*/ 6861 h 16058"/>
                <a:gd name="T82" fmla="*/ 910 w 11063"/>
                <a:gd name="T83" fmla="*/ 8405 h 16058"/>
                <a:gd name="T84" fmla="*/ 1748 w 11063"/>
                <a:gd name="T85" fmla="*/ 9927 h 16058"/>
                <a:gd name="T86" fmla="*/ 2463 w 11063"/>
                <a:gd name="T87" fmla="*/ 11392 h 16058"/>
                <a:gd name="T88" fmla="*/ 3065 w 11063"/>
                <a:gd name="T89" fmla="*/ 13245 h 16058"/>
                <a:gd name="T90" fmla="*/ 3552 w 11063"/>
                <a:gd name="T91" fmla="*/ 14718 h 16058"/>
                <a:gd name="T92" fmla="*/ 4207 w 11063"/>
                <a:gd name="T93" fmla="*/ 15672 h 16058"/>
                <a:gd name="T94" fmla="*/ 5340 w 11063"/>
                <a:gd name="T95" fmla="*/ 16053 h 16058"/>
                <a:gd name="T96" fmla="*/ 6643 w 11063"/>
                <a:gd name="T97" fmla="*/ 15823 h 16058"/>
                <a:gd name="T98" fmla="*/ 7387 w 11063"/>
                <a:gd name="T99" fmla="*/ 15011 h 16058"/>
                <a:gd name="T100" fmla="*/ 7880 w 11063"/>
                <a:gd name="T101" fmla="*/ 13666 h 16058"/>
                <a:gd name="T102" fmla="*/ 8442 w 11063"/>
                <a:gd name="T103" fmla="*/ 11841 h 16058"/>
                <a:gd name="T104" fmla="*/ 9115 w 11063"/>
                <a:gd name="T105" fmla="*/ 10307 h 16058"/>
                <a:gd name="T106" fmla="*/ 9949 w 11063"/>
                <a:gd name="T107" fmla="*/ 8788 h 16058"/>
                <a:gd name="T108" fmla="*/ 10691 w 11063"/>
                <a:gd name="T109" fmla="*/ 7241 h 16058"/>
                <a:gd name="T110" fmla="*/ 11058 w 11063"/>
                <a:gd name="T111" fmla="*/ 5709 h 16058"/>
                <a:gd name="T112" fmla="*/ 10727 w 11063"/>
                <a:gd name="T113" fmla="*/ 3622 h 16058"/>
                <a:gd name="T114" fmla="*/ 9626 w 11063"/>
                <a:gd name="T115" fmla="*/ 1809 h 16058"/>
                <a:gd name="T116" fmla="*/ 7929 w 11063"/>
                <a:gd name="T117" fmla="*/ 544 h 16058"/>
                <a:gd name="T118" fmla="*/ 5816 w 11063"/>
                <a:gd name="T119" fmla="*/ 7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063" h="16058">
                  <a:moveTo>
                    <a:pt x="7881" y="10538"/>
                  </a:moveTo>
                  <a:lnTo>
                    <a:pt x="3187" y="10538"/>
                  </a:lnTo>
                  <a:lnTo>
                    <a:pt x="3140" y="10437"/>
                  </a:lnTo>
                  <a:lnTo>
                    <a:pt x="3092" y="10335"/>
                  </a:lnTo>
                  <a:lnTo>
                    <a:pt x="3041" y="10234"/>
                  </a:lnTo>
                  <a:lnTo>
                    <a:pt x="2991" y="10132"/>
                  </a:lnTo>
                  <a:lnTo>
                    <a:pt x="2940" y="10030"/>
                  </a:lnTo>
                  <a:lnTo>
                    <a:pt x="2887" y="9929"/>
                  </a:lnTo>
                  <a:lnTo>
                    <a:pt x="2835" y="9827"/>
                  </a:lnTo>
                  <a:lnTo>
                    <a:pt x="2781" y="9727"/>
                  </a:lnTo>
                  <a:lnTo>
                    <a:pt x="2728" y="9626"/>
                  </a:lnTo>
                  <a:lnTo>
                    <a:pt x="2672" y="9524"/>
                  </a:lnTo>
                  <a:lnTo>
                    <a:pt x="2618" y="9424"/>
                  </a:lnTo>
                  <a:lnTo>
                    <a:pt x="2563" y="9324"/>
                  </a:lnTo>
                  <a:lnTo>
                    <a:pt x="2507" y="9223"/>
                  </a:lnTo>
                  <a:lnTo>
                    <a:pt x="2451" y="9123"/>
                  </a:lnTo>
                  <a:lnTo>
                    <a:pt x="2396" y="9024"/>
                  </a:lnTo>
                  <a:lnTo>
                    <a:pt x="2340" y="8924"/>
                  </a:lnTo>
                  <a:lnTo>
                    <a:pt x="2217" y="8703"/>
                  </a:lnTo>
                  <a:lnTo>
                    <a:pt x="2094" y="8483"/>
                  </a:lnTo>
                  <a:lnTo>
                    <a:pt x="2034" y="8372"/>
                  </a:lnTo>
                  <a:lnTo>
                    <a:pt x="1973" y="8262"/>
                  </a:lnTo>
                  <a:lnTo>
                    <a:pt x="1914" y="8151"/>
                  </a:lnTo>
                  <a:lnTo>
                    <a:pt x="1855" y="8041"/>
                  </a:lnTo>
                  <a:lnTo>
                    <a:pt x="1796" y="7931"/>
                  </a:lnTo>
                  <a:lnTo>
                    <a:pt x="1740" y="7820"/>
                  </a:lnTo>
                  <a:lnTo>
                    <a:pt x="1684" y="7711"/>
                  </a:lnTo>
                  <a:lnTo>
                    <a:pt x="1629" y="7600"/>
                  </a:lnTo>
                  <a:lnTo>
                    <a:pt x="1576" y="7491"/>
                  </a:lnTo>
                  <a:lnTo>
                    <a:pt x="1525" y="7383"/>
                  </a:lnTo>
                  <a:lnTo>
                    <a:pt x="1475" y="7273"/>
                  </a:lnTo>
                  <a:lnTo>
                    <a:pt x="1427" y="7165"/>
                  </a:lnTo>
                  <a:lnTo>
                    <a:pt x="1381" y="7057"/>
                  </a:lnTo>
                  <a:lnTo>
                    <a:pt x="1337" y="6950"/>
                  </a:lnTo>
                  <a:lnTo>
                    <a:pt x="1294" y="6843"/>
                  </a:lnTo>
                  <a:lnTo>
                    <a:pt x="1255" y="6736"/>
                  </a:lnTo>
                  <a:lnTo>
                    <a:pt x="1218" y="6631"/>
                  </a:lnTo>
                  <a:lnTo>
                    <a:pt x="1183" y="6526"/>
                  </a:lnTo>
                  <a:lnTo>
                    <a:pt x="1151" y="6421"/>
                  </a:lnTo>
                  <a:lnTo>
                    <a:pt x="1122" y="6318"/>
                  </a:lnTo>
                  <a:lnTo>
                    <a:pt x="1095" y="6214"/>
                  </a:lnTo>
                  <a:lnTo>
                    <a:pt x="1072" y="6112"/>
                  </a:lnTo>
                  <a:lnTo>
                    <a:pt x="1053" y="6012"/>
                  </a:lnTo>
                  <a:lnTo>
                    <a:pt x="1036" y="5911"/>
                  </a:lnTo>
                  <a:lnTo>
                    <a:pt x="1023" y="5812"/>
                  </a:lnTo>
                  <a:lnTo>
                    <a:pt x="1014" y="5714"/>
                  </a:lnTo>
                  <a:lnTo>
                    <a:pt x="1008" y="5616"/>
                  </a:lnTo>
                  <a:lnTo>
                    <a:pt x="1006" y="5520"/>
                  </a:lnTo>
                  <a:lnTo>
                    <a:pt x="1012" y="5288"/>
                  </a:lnTo>
                  <a:lnTo>
                    <a:pt x="1029" y="5059"/>
                  </a:lnTo>
                  <a:lnTo>
                    <a:pt x="1058" y="4833"/>
                  </a:lnTo>
                  <a:lnTo>
                    <a:pt x="1098" y="4611"/>
                  </a:lnTo>
                  <a:lnTo>
                    <a:pt x="1149" y="4393"/>
                  </a:lnTo>
                  <a:lnTo>
                    <a:pt x="1210" y="4178"/>
                  </a:lnTo>
                  <a:lnTo>
                    <a:pt x="1280" y="3968"/>
                  </a:lnTo>
                  <a:lnTo>
                    <a:pt x="1362" y="3764"/>
                  </a:lnTo>
                  <a:lnTo>
                    <a:pt x="1452" y="3564"/>
                  </a:lnTo>
                  <a:lnTo>
                    <a:pt x="1553" y="3369"/>
                  </a:lnTo>
                  <a:lnTo>
                    <a:pt x="1661" y="3179"/>
                  </a:lnTo>
                  <a:lnTo>
                    <a:pt x="1779" y="2997"/>
                  </a:lnTo>
                  <a:lnTo>
                    <a:pt x="1906" y="2819"/>
                  </a:lnTo>
                  <a:lnTo>
                    <a:pt x="2041" y="2649"/>
                  </a:lnTo>
                  <a:lnTo>
                    <a:pt x="2182" y="2485"/>
                  </a:lnTo>
                  <a:lnTo>
                    <a:pt x="2332" y="2327"/>
                  </a:lnTo>
                  <a:lnTo>
                    <a:pt x="2490" y="2178"/>
                  </a:lnTo>
                  <a:lnTo>
                    <a:pt x="2654" y="2036"/>
                  </a:lnTo>
                  <a:lnTo>
                    <a:pt x="2825" y="1902"/>
                  </a:lnTo>
                  <a:lnTo>
                    <a:pt x="3003" y="1776"/>
                  </a:lnTo>
                  <a:lnTo>
                    <a:pt x="3186" y="1658"/>
                  </a:lnTo>
                  <a:lnTo>
                    <a:pt x="3376" y="1550"/>
                  </a:lnTo>
                  <a:lnTo>
                    <a:pt x="3571" y="1449"/>
                  </a:lnTo>
                  <a:lnTo>
                    <a:pt x="3771" y="1359"/>
                  </a:lnTo>
                  <a:lnTo>
                    <a:pt x="3977" y="1279"/>
                  </a:lnTo>
                  <a:lnTo>
                    <a:pt x="4187" y="1207"/>
                  </a:lnTo>
                  <a:lnTo>
                    <a:pt x="4402" y="1146"/>
                  </a:lnTo>
                  <a:lnTo>
                    <a:pt x="4620" y="1096"/>
                  </a:lnTo>
                  <a:lnTo>
                    <a:pt x="4843" y="1056"/>
                  </a:lnTo>
                  <a:lnTo>
                    <a:pt x="5069" y="1027"/>
                  </a:lnTo>
                  <a:lnTo>
                    <a:pt x="5299" y="1010"/>
                  </a:lnTo>
                  <a:lnTo>
                    <a:pt x="5532" y="1004"/>
                  </a:lnTo>
                  <a:lnTo>
                    <a:pt x="5764" y="1010"/>
                  </a:lnTo>
                  <a:lnTo>
                    <a:pt x="5993" y="1027"/>
                  </a:lnTo>
                  <a:lnTo>
                    <a:pt x="6219" y="1056"/>
                  </a:lnTo>
                  <a:lnTo>
                    <a:pt x="6443" y="1096"/>
                  </a:lnTo>
                  <a:lnTo>
                    <a:pt x="6661" y="1146"/>
                  </a:lnTo>
                  <a:lnTo>
                    <a:pt x="6876" y="1207"/>
                  </a:lnTo>
                  <a:lnTo>
                    <a:pt x="7086" y="1279"/>
                  </a:lnTo>
                  <a:lnTo>
                    <a:pt x="7292" y="1359"/>
                  </a:lnTo>
                  <a:lnTo>
                    <a:pt x="7492" y="1449"/>
                  </a:lnTo>
                  <a:lnTo>
                    <a:pt x="7687" y="1550"/>
                  </a:lnTo>
                  <a:lnTo>
                    <a:pt x="7877" y="1658"/>
                  </a:lnTo>
                  <a:lnTo>
                    <a:pt x="8060" y="1776"/>
                  </a:lnTo>
                  <a:lnTo>
                    <a:pt x="8238" y="1902"/>
                  </a:lnTo>
                  <a:lnTo>
                    <a:pt x="8409" y="2036"/>
                  </a:lnTo>
                  <a:lnTo>
                    <a:pt x="8573" y="2178"/>
                  </a:lnTo>
                  <a:lnTo>
                    <a:pt x="8731" y="2327"/>
                  </a:lnTo>
                  <a:lnTo>
                    <a:pt x="8881" y="2485"/>
                  </a:lnTo>
                  <a:lnTo>
                    <a:pt x="9022" y="2649"/>
                  </a:lnTo>
                  <a:lnTo>
                    <a:pt x="9157" y="2819"/>
                  </a:lnTo>
                  <a:lnTo>
                    <a:pt x="9283" y="2997"/>
                  </a:lnTo>
                  <a:lnTo>
                    <a:pt x="9402" y="3179"/>
                  </a:lnTo>
                  <a:lnTo>
                    <a:pt x="9510" y="3369"/>
                  </a:lnTo>
                  <a:lnTo>
                    <a:pt x="9611" y="3564"/>
                  </a:lnTo>
                  <a:lnTo>
                    <a:pt x="9701" y="3764"/>
                  </a:lnTo>
                  <a:lnTo>
                    <a:pt x="9783" y="3968"/>
                  </a:lnTo>
                  <a:lnTo>
                    <a:pt x="9853" y="4178"/>
                  </a:lnTo>
                  <a:lnTo>
                    <a:pt x="9914" y="4393"/>
                  </a:lnTo>
                  <a:lnTo>
                    <a:pt x="9965" y="4611"/>
                  </a:lnTo>
                  <a:lnTo>
                    <a:pt x="10005" y="4833"/>
                  </a:lnTo>
                  <a:lnTo>
                    <a:pt x="10034" y="5059"/>
                  </a:lnTo>
                  <a:lnTo>
                    <a:pt x="10051" y="5288"/>
                  </a:lnTo>
                  <a:lnTo>
                    <a:pt x="10057" y="5520"/>
                  </a:lnTo>
                  <a:lnTo>
                    <a:pt x="10055" y="5615"/>
                  </a:lnTo>
                  <a:lnTo>
                    <a:pt x="10049" y="5713"/>
                  </a:lnTo>
                  <a:lnTo>
                    <a:pt x="10040" y="5810"/>
                  </a:lnTo>
                  <a:lnTo>
                    <a:pt x="10027" y="5908"/>
                  </a:lnTo>
                  <a:lnTo>
                    <a:pt x="10010" y="6009"/>
                  </a:lnTo>
                  <a:lnTo>
                    <a:pt x="9990" y="6110"/>
                  </a:lnTo>
                  <a:lnTo>
                    <a:pt x="9967" y="6211"/>
                  </a:lnTo>
                  <a:lnTo>
                    <a:pt x="9941" y="6314"/>
                  </a:lnTo>
                  <a:lnTo>
                    <a:pt x="9911" y="6418"/>
                  </a:lnTo>
                  <a:lnTo>
                    <a:pt x="9880" y="6523"/>
                  </a:lnTo>
                  <a:lnTo>
                    <a:pt x="9845" y="6627"/>
                  </a:lnTo>
                  <a:lnTo>
                    <a:pt x="9808" y="6733"/>
                  </a:lnTo>
                  <a:lnTo>
                    <a:pt x="9769" y="6840"/>
                  </a:lnTo>
                  <a:lnTo>
                    <a:pt x="9726" y="6947"/>
                  </a:lnTo>
                  <a:lnTo>
                    <a:pt x="9682" y="7054"/>
                  </a:lnTo>
                  <a:lnTo>
                    <a:pt x="9636" y="7163"/>
                  </a:lnTo>
                  <a:lnTo>
                    <a:pt x="9588" y="7271"/>
                  </a:lnTo>
                  <a:lnTo>
                    <a:pt x="9538" y="7381"/>
                  </a:lnTo>
                  <a:lnTo>
                    <a:pt x="9486" y="7490"/>
                  </a:lnTo>
                  <a:lnTo>
                    <a:pt x="9433" y="7599"/>
                  </a:lnTo>
                  <a:lnTo>
                    <a:pt x="9378" y="7710"/>
                  </a:lnTo>
                  <a:lnTo>
                    <a:pt x="9323" y="7820"/>
                  </a:lnTo>
                  <a:lnTo>
                    <a:pt x="9266" y="7932"/>
                  </a:lnTo>
                  <a:lnTo>
                    <a:pt x="9207" y="8042"/>
                  </a:lnTo>
                  <a:lnTo>
                    <a:pt x="9149" y="8153"/>
                  </a:lnTo>
                  <a:lnTo>
                    <a:pt x="9089" y="8264"/>
                  </a:lnTo>
                  <a:lnTo>
                    <a:pt x="9028" y="8375"/>
                  </a:lnTo>
                  <a:lnTo>
                    <a:pt x="8968" y="8487"/>
                  </a:lnTo>
                  <a:lnTo>
                    <a:pt x="8845" y="8708"/>
                  </a:lnTo>
                  <a:lnTo>
                    <a:pt x="8722" y="8930"/>
                  </a:lnTo>
                  <a:lnTo>
                    <a:pt x="8667" y="9029"/>
                  </a:lnTo>
                  <a:lnTo>
                    <a:pt x="8612" y="9129"/>
                  </a:lnTo>
                  <a:lnTo>
                    <a:pt x="8557" y="9228"/>
                  </a:lnTo>
                  <a:lnTo>
                    <a:pt x="8501" y="9329"/>
                  </a:lnTo>
                  <a:lnTo>
                    <a:pt x="8447" y="9429"/>
                  </a:lnTo>
                  <a:lnTo>
                    <a:pt x="8392" y="9529"/>
                  </a:lnTo>
                  <a:lnTo>
                    <a:pt x="8338" y="9630"/>
                  </a:lnTo>
                  <a:lnTo>
                    <a:pt x="8284" y="9730"/>
                  </a:lnTo>
                  <a:lnTo>
                    <a:pt x="8231" y="9831"/>
                  </a:lnTo>
                  <a:lnTo>
                    <a:pt x="8179" y="9932"/>
                  </a:lnTo>
                  <a:lnTo>
                    <a:pt x="8127" y="10033"/>
                  </a:lnTo>
                  <a:lnTo>
                    <a:pt x="8076" y="10134"/>
                  </a:lnTo>
                  <a:lnTo>
                    <a:pt x="8026" y="10235"/>
                  </a:lnTo>
                  <a:lnTo>
                    <a:pt x="7976" y="10336"/>
                  </a:lnTo>
                  <a:lnTo>
                    <a:pt x="7928" y="10437"/>
                  </a:lnTo>
                  <a:lnTo>
                    <a:pt x="7881" y="10538"/>
                  </a:lnTo>
                  <a:close/>
                  <a:moveTo>
                    <a:pt x="5532" y="15054"/>
                  </a:moveTo>
                  <a:lnTo>
                    <a:pt x="5484" y="15054"/>
                  </a:lnTo>
                  <a:lnTo>
                    <a:pt x="5439" y="15053"/>
                  </a:lnTo>
                  <a:lnTo>
                    <a:pt x="5395" y="15052"/>
                  </a:lnTo>
                  <a:lnTo>
                    <a:pt x="5352" y="15050"/>
                  </a:lnTo>
                  <a:lnTo>
                    <a:pt x="5311" y="15048"/>
                  </a:lnTo>
                  <a:lnTo>
                    <a:pt x="5272" y="15045"/>
                  </a:lnTo>
                  <a:lnTo>
                    <a:pt x="5234" y="15041"/>
                  </a:lnTo>
                  <a:lnTo>
                    <a:pt x="5197" y="15036"/>
                  </a:lnTo>
                  <a:lnTo>
                    <a:pt x="5160" y="15030"/>
                  </a:lnTo>
                  <a:lnTo>
                    <a:pt x="5125" y="15023"/>
                  </a:lnTo>
                  <a:lnTo>
                    <a:pt x="5091" y="15015"/>
                  </a:lnTo>
                  <a:lnTo>
                    <a:pt x="5059" y="15006"/>
                  </a:lnTo>
                  <a:lnTo>
                    <a:pt x="5027" y="14995"/>
                  </a:lnTo>
                  <a:lnTo>
                    <a:pt x="4995" y="14983"/>
                  </a:lnTo>
                  <a:lnTo>
                    <a:pt x="4965" y="14969"/>
                  </a:lnTo>
                  <a:lnTo>
                    <a:pt x="4936" y="14954"/>
                  </a:lnTo>
                  <a:lnTo>
                    <a:pt x="4907" y="14937"/>
                  </a:lnTo>
                  <a:lnTo>
                    <a:pt x="4880" y="14919"/>
                  </a:lnTo>
                  <a:lnTo>
                    <a:pt x="4852" y="14898"/>
                  </a:lnTo>
                  <a:lnTo>
                    <a:pt x="4825" y="14876"/>
                  </a:lnTo>
                  <a:lnTo>
                    <a:pt x="4799" y="14852"/>
                  </a:lnTo>
                  <a:lnTo>
                    <a:pt x="4773" y="14825"/>
                  </a:lnTo>
                  <a:lnTo>
                    <a:pt x="4748" y="14796"/>
                  </a:lnTo>
                  <a:lnTo>
                    <a:pt x="4723" y="14765"/>
                  </a:lnTo>
                  <a:lnTo>
                    <a:pt x="4698" y="14732"/>
                  </a:lnTo>
                  <a:lnTo>
                    <a:pt x="4673" y="14696"/>
                  </a:lnTo>
                  <a:lnTo>
                    <a:pt x="4648" y="14658"/>
                  </a:lnTo>
                  <a:lnTo>
                    <a:pt x="4624" y="14618"/>
                  </a:lnTo>
                  <a:lnTo>
                    <a:pt x="4600" y="14574"/>
                  </a:lnTo>
                  <a:lnTo>
                    <a:pt x="4576" y="14527"/>
                  </a:lnTo>
                  <a:lnTo>
                    <a:pt x="4552" y="14479"/>
                  </a:lnTo>
                  <a:lnTo>
                    <a:pt x="4527" y="14427"/>
                  </a:lnTo>
                  <a:lnTo>
                    <a:pt x="6658" y="14161"/>
                  </a:lnTo>
                  <a:lnTo>
                    <a:pt x="6630" y="14236"/>
                  </a:lnTo>
                  <a:lnTo>
                    <a:pt x="6602" y="14308"/>
                  </a:lnTo>
                  <a:lnTo>
                    <a:pt x="6573" y="14375"/>
                  </a:lnTo>
                  <a:lnTo>
                    <a:pt x="6546" y="14438"/>
                  </a:lnTo>
                  <a:lnTo>
                    <a:pt x="6518" y="14496"/>
                  </a:lnTo>
                  <a:lnTo>
                    <a:pt x="6491" y="14552"/>
                  </a:lnTo>
                  <a:lnTo>
                    <a:pt x="6464" y="14603"/>
                  </a:lnTo>
                  <a:lnTo>
                    <a:pt x="6436" y="14651"/>
                  </a:lnTo>
                  <a:lnTo>
                    <a:pt x="6408" y="14695"/>
                  </a:lnTo>
                  <a:lnTo>
                    <a:pt x="6380" y="14736"/>
                  </a:lnTo>
                  <a:lnTo>
                    <a:pt x="6352" y="14773"/>
                  </a:lnTo>
                  <a:lnTo>
                    <a:pt x="6323" y="14808"/>
                  </a:lnTo>
                  <a:lnTo>
                    <a:pt x="6294" y="14841"/>
                  </a:lnTo>
                  <a:lnTo>
                    <a:pt x="6264" y="14869"/>
                  </a:lnTo>
                  <a:lnTo>
                    <a:pt x="6233" y="14895"/>
                  </a:lnTo>
                  <a:lnTo>
                    <a:pt x="6202" y="14919"/>
                  </a:lnTo>
                  <a:lnTo>
                    <a:pt x="6170" y="14940"/>
                  </a:lnTo>
                  <a:lnTo>
                    <a:pt x="6137" y="14959"/>
                  </a:lnTo>
                  <a:lnTo>
                    <a:pt x="6103" y="14976"/>
                  </a:lnTo>
                  <a:lnTo>
                    <a:pt x="6068" y="14990"/>
                  </a:lnTo>
                  <a:lnTo>
                    <a:pt x="6031" y="15003"/>
                  </a:lnTo>
                  <a:lnTo>
                    <a:pt x="5994" y="15014"/>
                  </a:lnTo>
                  <a:lnTo>
                    <a:pt x="5955" y="15023"/>
                  </a:lnTo>
                  <a:lnTo>
                    <a:pt x="5915" y="15031"/>
                  </a:lnTo>
                  <a:lnTo>
                    <a:pt x="5873" y="15038"/>
                  </a:lnTo>
                  <a:lnTo>
                    <a:pt x="5829" y="15043"/>
                  </a:lnTo>
                  <a:lnTo>
                    <a:pt x="5785" y="15047"/>
                  </a:lnTo>
                  <a:lnTo>
                    <a:pt x="5738" y="15050"/>
                  </a:lnTo>
                  <a:lnTo>
                    <a:pt x="5689" y="15052"/>
                  </a:lnTo>
                  <a:lnTo>
                    <a:pt x="5638" y="15053"/>
                  </a:lnTo>
                  <a:lnTo>
                    <a:pt x="5586" y="15054"/>
                  </a:lnTo>
                  <a:lnTo>
                    <a:pt x="5532" y="15054"/>
                  </a:lnTo>
                  <a:close/>
                  <a:moveTo>
                    <a:pt x="3890" y="12499"/>
                  </a:moveTo>
                  <a:lnTo>
                    <a:pt x="3873" y="12442"/>
                  </a:lnTo>
                  <a:lnTo>
                    <a:pt x="3855" y="12386"/>
                  </a:lnTo>
                  <a:lnTo>
                    <a:pt x="3838" y="12328"/>
                  </a:lnTo>
                  <a:lnTo>
                    <a:pt x="3820" y="12269"/>
                  </a:lnTo>
                  <a:lnTo>
                    <a:pt x="3802" y="12211"/>
                  </a:lnTo>
                  <a:lnTo>
                    <a:pt x="3783" y="12153"/>
                  </a:lnTo>
                  <a:lnTo>
                    <a:pt x="3763" y="12094"/>
                  </a:lnTo>
                  <a:lnTo>
                    <a:pt x="3744" y="12033"/>
                  </a:lnTo>
                  <a:lnTo>
                    <a:pt x="3725" y="11974"/>
                  </a:lnTo>
                  <a:lnTo>
                    <a:pt x="3705" y="11913"/>
                  </a:lnTo>
                  <a:lnTo>
                    <a:pt x="3685" y="11853"/>
                  </a:lnTo>
                  <a:lnTo>
                    <a:pt x="3665" y="11792"/>
                  </a:lnTo>
                  <a:lnTo>
                    <a:pt x="3645" y="11729"/>
                  </a:lnTo>
                  <a:lnTo>
                    <a:pt x="3624" y="11667"/>
                  </a:lnTo>
                  <a:lnTo>
                    <a:pt x="3603" y="11605"/>
                  </a:lnTo>
                  <a:lnTo>
                    <a:pt x="3581" y="11542"/>
                  </a:lnTo>
                  <a:lnTo>
                    <a:pt x="7487" y="11542"/>
                  </a:lnTo>
                  <a:lnTo>
                    <a:pt x="7464" y="11609"/>
                  </a:lnTo>
                  <a:lnTo>
                    <a:pt x="7440" y="11677"/>
                  </a:lnTo>
                  <a:lnTo>
                    <a:pt x="7417" y="11744"/>
                  </a:lnTo>
                  <a:lnTo>
                    <a:pt x="7395" y="11811"/>
                  </a:lnTo>
                  <a:lnTo>
                    <a:pt x="7373" y="11878"/>
                  </a:lnTo>
                  <a:lnTo>
                    <a:pt x="7351" y="11943"/>
                  </a:lnTo>
                  <a:lnTo>
                    <a:pt x="7330" y="12008"/>
                  </a:lnTo>
                  <a:lnTo>
                    <a:pt x="7309" y="12074"/>
                  </a:lnTo>
                  <a:lnTo>
                    <a:pt x="3890" y="12499"/>
                  </a:lnTo>
                  <a:close/>
                  <a:moveTo>
                    <a:pt x="6835" y="13637"/>
                  </a:moveTo>
                  <a:lnTo>
                    <a:pt x="4342" y="13948"/>
                  </a:lnTo>
                  <a:lnTo>
                    <a:pt x="4325" y="13899"/>
                  </a:lnTo>
                  <a:lnTo>
                    <a:pt x="4309" y="13850"/>
                  </a:lnTo>
                  <a:lnTo>
                    <a:pt x="4290" y="13799"/>
                  </a:lnTo>
                  <a:lnTo>
                    <a:pt x="4273" y="13747"/>
                  </a:lnTo>
                  <a:lnTo>
                    <a:pt x="4256" y="13693"/>
                  </a:lnTo>
                  <a:lnTo>
                    <a:pt x="4238" y="13638"/>
                  </a:lnTo>
                  <a:lnTo>
                    <a:pt x="4220" y="13582"/>
                  </a:lnTo>
                  <a:lnTo>
                    <a:pt x="4202" y="13524"/>
                  </a:lnTo>
                  <a:lnTo>
                    <a:pt x="4183" y="13465"/>
                  </a:lnTo>
                  <a:lnTo>
                    <a:pt x="4164" y="13403"/>
                  </a:lnTo>
                  <a:lnTo>
                    <a:pt x="4145" y="13340"/>
                  </a:lnTo>
                  <a:lnTo>
                    <a:pt x="4124" y="13276"/>
                  </a:lnTo>
                  <a:lnTo>
                    <a:pt x="4104" y="13210"/>
                  </a:lnTo>
                  <a:lnTo>
                    <a:pt x="4083" y="13141"/>
                  </a:lnTo>
                  <a:lnTo>
                    <a:pt x="4062" y="13070"/>
                  </a:lnTo>
                  <a:lnTo>
                    <a:pt x="4041" y="12998"/>
                  </a:lnTo>
                  <a:lnTo>
                    <a:pt x="4038" y="12990"/>
                  </a:lnTo>
                  <a:lnTo>
                    <a:pt x="4036" y="12983"/>
                  </a:lnTo>
                  <a:lnTo>
                    <a:pt x="7149" y="12594"/>
                  </a:lnTo>
                  <a:lnTo>
                    <a:pt x="7132" y="12651"/>
                  </a:lnTo>
                  <a:lnTo>
                    <a:pt x="7116" y="12707"/>
                  </a:lnTo>
                  <a:lnTo>
                    <a:pt x="7098" y="12763"/>
                  </a:lnTo>
                  <a:lnTo>
                    <a:pt x="7081" y="12819"/>
                  </a:lnTo>
                  <a:lnTo>
                    <a:pt x="7064" y="12876"/>
                  </a:lnTo>
                  <a:lnTo>
                    <a:pt x="7047" y="12931"/>
                  </a:lnTo>
                  <a:lnTo>
                    <a:pt x="7031" y="12985"/>
                  </a:lnTo>
                  <a:lnTo>
                    <a:pt x="7016" y="13038"/>
                  </a:lnTo>
                  <a:lnTo>
                    <a:pt x="6992" y="13121"/>
                  </a:lnTo>
                  <a:lnTo>
                    <a:pt x="6968" y="13202"/>
                  </a:lnTo>
                  <a:lnTo>
                    <a:pt x="6945" y="13280"/>
                  </a:lnTo>
                  <a:lnTo>
                    <a:pt x="6921" y="13355"/>
                  </a:lnTo>
                  <a:lnTo>
                    <a:pt x="6899" y="13429"/>
                  </a:lnTo>
                  <a:lnTo>
                    <a:pt x="6878" y="13500"/>
                  </a:lnTo>
                  <a:lnTo>
                    <a:pt x="6856" y="13570"/>
                  </a:lnTo>
                  <a:lnTo>
                    <a:pt x="6835" y="13637"/>
                  </a:lnTo>
                  <a:close/>
                  <a:moveTo>
                    <a:pt x="5532" y="0"/>
                  </a:moveTo>
                  <a:lnTo>
                    <a:pt x="5247" y="7"/>
                  </a:lnTo>
                  <a:lnTo>
                    <a:pt x="4966" y="28"/>
                  </a:lnTo>
                  <a:lnTo>
                    <a:pt x="4689" y="63"/>
                  </a:lnTo>
                  <a:lnTo>
                    <a:pt x="4417" y="112"/>
                  </a:lnTo>
                  <a:lnTo>
                    <a:pt x="4149" y="174"/>
                  </a:lnTo>
                  <a:lnTo>
                    <a:pt x="3886" y="248"/>
                  </a:lnTo>
                  <a:lnTo>
                    <a:pt x="3630" y="335"/>
                  </a:lnTo>
                  <a:lnTo>
                    <a:pt x="3378" y="434"/>
                  </a:lnTo>
                  <a:lnTo>
                    <a:pt x="3133" y="544"/>
                  </a:lnTo>
                  <a:lnTo>
                    <a:pt x="2894" y="666"/>
                  </a:lnTo>
                  <a:lnTo>
                    <a:pt x="2663" y="799"/>
                  </a:lnTo>
                  <a:lnTo>
                    <a:pt x="2439" y="942"/>
                  </a:lnTo>
                  <a:lnTo>
                    <a:pt x="2222" y="1097"/>
                  </a:lnTo>
                  <a:lnTo>
                    <a:pt x="2013" y="1261"/>
                  </a:lnTo>
                  <a:lnTo>
                    <a:pt x="1812" y="1434"/>
                  </a:lnTo>
                  <a:lnTo>
                    <a:pt x="1620" y="1617"/>
                  </a:lnTo>
                  <a:lnTo>
                    <a:pt x="1437" y="1809"/>
                  </a:lnTo>
                  <a:lnTo>
                    <a:pt x="1263" y="2009"/>
                  </a:lnTo>
                  <a:lnTo>
                    <a:pt x="1099" y="2217"/>
                  </a:lnTo>
                  <a:lnTo>
                    <a:pt x="944" y="2434"/>
                  </a:lnTo>
                  <a:lnTo>
                    <a:pt x="801" y="2658"/>
                  </a:lnTo>
                  <a:lnTo>
                    <a:pt x="668" y="2888"/>
                  </a:lnTo>
                  <a:lnTo>
                    <a:pt x="545" y="3127"/>
                  </a:lnTo>
                  <a:lnTo>
                    <a:pt x="434" y="3371"/>
                  </a:lnTo>
                  <a:lnTo>
                    <a:pt x="336" y="3622"/>
                  </a:lnTo>
                  <a:lnTo>
                    <a:pt x="248" y="3879"/>
                  </a:lnTo>
                  <a:lnTo>
                    <a:pt x="174" y="4141"/>
                  </a:lnTo>
                  <a:lnTo>
                    <a:pt x="113" y="4408"/>
                  </a:lnTo>
                  <a:lnTo>
                    <a:pt x="63" y="4679"/>
                  </a:lnTo>
                  <a:lnTo>
                    <a:pt x="28" y="4956"/>
                  </a:lnTo>
                  <a:lnTo>
                    <a:pt x="7" y="5236"/>
                  </a:lnTo>
                  <a:lnTo>
                    <a:pt x="0" y="5520"/>
                  </a:lnTo>
                  <a:lnTo>
                    <a:pt x="5" y="5710"/>
                  </a:lnTo>
                  <a:lnTo>
                    <a:pt x="21" y="5900"/>
                  </a:lnTo>
                  <a:lnTo>
                    <a:pt x="46" y="6092"/>
                  </a:lnTo>
                  <a:lnTo>
                    <a:pt x="81" y="6284"/>
                  </a:lnTo>
                  <a:lnTo>
                    <a:pt x="125" y="6475"/>
                  </a:lnTo>
                  <a:lnTo>
                    <a:pt x="176" y="6668"/>
                  </a:lnTo>
                  <a:lnTo>
                    <a:pt x="234" y="6861"/>
                  </a:lnTo>
                  <a:lnTo>
                    <a:pt x="301" y="7053"/>
                  </a:lnTo>
                  <a:lnTo>
                    <a:pt x="373" y="7247"/>
                  </a:lnTo>
                  <a:lnTo>
                    <a:pt x="451" y="7440"/>
                  </a:lnTo>
                  <a:lnTo>
                    <a:pt x="534" y="7634"/>
                  </a:lnTo>
                  <a:lnTo>
                    <a:pt x="623" y="7826"/>
                  </a:lnTo>
                  <a:lnTo>
                    <a:pt x="715" y="8020"/>
                  </a:lnTo>
                  <a:lnTo>
                    <a:pt x="811" y="8213"/>
                  </a:lnTo>
                  <a:lnTo>
                    <a:pt x="910" y="8405"/>
                  </a:lnTo>
                  <a:lnTo>
                    <a:pt x="1012" y="8597"/>
                  </a:lnTo>
                  <a:lnTo>
                    <a:pt x="1115" y="8789"/>
                  </a:lnTo>
                  <a:lnTo>
                    <a:pt x="1221" y="8980"/>
                  </a:lnTo>
                  <a:lnTo>
                    <a:pt x="1327" y="9171"/>
                  </a:lnTo>
                  <a:lnTo>
                    <a:pt x="1433" y="9361"/>
                  </a:lnTo>
                  <a:lnTo>
                    <a:pt x="1539" y="9550"/>
                  </a:lnTo>
                  <a:lnTo>
                    <a:pt x="1644" y="9739"/>
                  </a:lnTo>
                  <a:lnTo>
                    <a:pt x="1748" y="9927"/>
                  </a:lnTo>
                  <a:lnTo>
                    <a:pt x="1850" y="10115"/>
                  </a:lnTo>
                  <a:lnTo>
                    <a:pt x="1949" y="10300"/>
                  </a:lnTo>
                  <a:lnTo>
                    <a:pt x="2046" y="10485"/>
                  </a:lnTo>
                  <a:lnTo>
                    <a:pt x="2138" y="10670"/>
                  </a:lnTo>
                  <a:lnTo>
                    <a:pt x="2228" y="10852"/>
                  </a:lnTo>
                  <a:lnTo>
                    <a:pt x="2311" y="11033"/>
                  </a:lnTo>
                  <a:lnTo>
                    <a:pt x="2391" y="11214"/>
                  </a:lnTo>
                  <a:lnTo>
                    <a:pt x="2463" y="11392"/>
                  </a:lnTo>
                  <a:lnTo>
                    <a:pt x="2529" y="11569"/>
                  </a:lnTo>
                  <a:lnTo>
                    <a:pt x="2621" y="11829"/>
                  </a:lnTo>
                  <a:lnTo>
                    <a:pt x="2706" y="12083"/>
                  </a:lnTo>
                  <a:lnTo>
                    <a:pt x="2787" y="12329"/>
                  </a:lnTo>
                  <a:lnTo>
                    <a:pt x="2861" y="12568"/>
                  </a:lnTo>
                  <a:lnTo>
                    <a:pt x="2933" y="12801"/>
                  </a:lnTo>
                  <a:lnTo>
                    <a:pt x="3000" y="13026"/>
                  </a:lnTo>
                  <a:lnTo>
                    <a:pt x="3065" y="13245"/>
                  </a:lnTo>
                  <a:lnTo>
                    <a:pt x="3128" y="13456"/>
                  </a:lnTo>
                  <a:lnTo>
                    <a:pt x="3188" y="13658"/>
                  </a:lnTo>
                  <a:lnTo>
                    <a:pt x="3248" y="13855"/>
                  </a:lnTo>
                  <a:lnTo>
                    <a:pt x="3308" y="14043"/>
                  </a:lnTo>
                  <a:lnTo>
                    <a:pt x="3367" y="14223"/>
                  </a:lnTo>
                  <a:lnTo>
                    <a:pt x="3428" y="14396"/>
                  </a:lnTo>
                  <a:lnTo>
                    <a:pt x="3489" y="14562"/>
                  </a:lnTo>
                  <a:lnTo>
                    <a:pt x="3552" y="14718"/>
                  </a:lnTo>
                  <a:lnTo>
                    <a:pt x="3619" y="14867"/>
                  </a:lnTo>
                  <a:lnTo>
                    <a:pt x="3688" y="15007"/>
                  </a:lnTo>
                  <a:lnTo>
                    <a:pt x="3761" y="15140"/>
                  </a:lnTo>
                  <a:lnTo>
                    <a:pt x="3839" y="15263"/>
                  </a:lnTo>
                  <a:lnTo>
                    <a:pt x="3922" y="15379"/>
                  </a:lnTo>
                  <a:lnTo>
                    <a:pt x="4011" y="15485"/>
                  </a:lnTo>
                  <a:lnTo>
                    <a:pt x="4105" y="15582"/>
                  </a:lnTo>
                  <a:lnTo>
                    <a:pt x="4207" y="15672"/>
                  </a:lnTo>
                  <a:lnTo>
                    <a:pt x="4316" y="15752"/>
                  </a:lnTo>
                  <a:lnTo>
                    <a:pt x="4433" y="15822"/>
                  </a:lnTo>
                  <a:lnTo>
                    <a:pt x="4559" y="15884"/>
                  </a:lnTo>
                  <a:lnTo>
                    <a:pt x="4694" y="15937"/>
                  </a:lnTo>
                  <a:lnTo>
                    <a:pt x="4840" y="15981"/>
                  </a:lnTo>
                  <a:lnTo>
                    <a:pt x="4995" y="16014"/>
                  </a:lnTo>
                  <a:lnTo>
                    <a:pt x="5161" y="16038"/>
                  </a:lnTo>
                  <a:lnTo>
                    <a:pt x="5340" y="16053"/>
                  </a:lnTo>
                  <a:lnTo>
                    <a:pt x="5532" y="16058"/>
                  </a:lnTo>
                  <a:lnTo>
                    <a:pt x="5726" y="16053"/>
                  </a:lnTo>
                  <a:lnTo>
                    <a:pt x="5907" y="16039"/>
                  </a:lnTo>
                  <a:lnTo>
                    <a:pt x="6076" y="16014"/>
                  </a:lnTo>
                  <a:lnTo>
                    <a:pt x="6232" y="15981"/>
                  </a:lnTo>
                  <a:lnTo>
                    <a:pt x="6379" y="15938"/>
                  </a:lnTo>
                  <a:lnTo>
                    <a:pt x="6516" y="15885"/>
                  </a:lnTo>
                  <a:lnTo>
                    <a:pt x="6643" y="15823"/>
                  </a:lnTo>
                  <a:lnTo>
                    <a:pt x="6760" y="15753"/>
                  </a:lnTo>
                  <a:lnTo>
                    <a:pt x="6870" y="15673"/>
                  </a:lnTo>
                  <a:lnTo>
                    <a:pt x="6972" y="15584"/>
                  </a:lnTo>
                  <a:lnTo>
                    <a:pt x="7066" y="15487"/>
                  </a:lnTo>
                  <a:lnTo>
                    <a:pt x="7155" y="15381"/>
                  </a:lnTo>
                  <a:lnTo>
                    <a:pt x="7237" y="15266"/>
                  </a:lnTo>
                  <a:lnTo>
                    <a:pt x="7315" y="15143"/>
                  </a:lnTo>
                  <a:lnTo>
                    <a:pt x="7387" y="15011"/>
                  </a:lnTo>
                  <a:lnTo>
                    <a:pt x="7455" y="14871"/>
                  </a:lnTo>
                  <a:lnTo>
                    <a:pt x="7521" y="14723"/>
                  </a:lnTo>
                  <a:lnTo>
                    <a:pt x="7584" y="14567"/>
                  </a:lnTo>
                  <a:lnTo>
                    <a:pt x="7645" y="14402"/>
                  </a:lnTo>
                  <a:lnTo>
                    <a:pt x="7704" y="14229"/>
                  </a:lnTo>
                  <a:lnTo>
                    <a:pt x="7762" y="14050"/>
                  </a:lnTo>
                  <a:lnTo>
                    <a:pt x="7821" y="13862"/>
                  </a:lnTo>
                  <a:lnTo>
                    <a:pt x="7880" y="13666"/>
                  </a:lnTo>
                  <a:lnTo>
                    <a:pt x="7939" y="13464"/>
                  </a:lnTo>
                  <a:lnTo>
                    <a:pt x="8002" y="13253"/>
                  </a:lnTo>
                  <a:lnTo>
                    <a:pt x="8065" y="13035"/>
                  </a:lnTo>
                  <a:lnTo>
                    <a:pt x="8132" y="12810"/>
                  </a:lnTo>
                  <a:lnTo>
                    <a:pt x="8203" y="12578"/>
                  </a:lnTo>
                  <a:lnTo>
                    <a:pt x="8277" y="12340"/>
                  </a:lnTo>
                  <a:lnTo>
                    <a:pt x="8357" y="12094"/>
                  </a:lnTo>
                  <a:lnTo>
                    <a:pt x="8442" y="11841"/>
                  </a:lnTo>
                  <a:lnTo>
                    <a:pt x="8534" y="11581"/>
                  </a:lnTo>
                  <a:lnTo>
                    <a:pt x="8600" y="11403"/>
                  </a:lnTo>
                  <a:lnTo>
                    <a:pt x="8673" y="11224"/>
                  </a:lnTo>
                  <a:lnTo>
                    <a:pt x="8752" y="11043"/>
                  </a:lnTo>
                  <a:lnTo>
                    <a:pt x="8836" y="10861"/>
                  </a:lnTo>
                  <a:lnTo>
                    <a:pt x="8926" y="10678"/>
                  </a:lnTo>
                  <a:lnTo>
                    <a:pt x="9018" y="10493"/>
                  </a:lnTo>
                  <a:lnTo>
                    <a:pt x="9115" y="10307"/>
                  </a:lnTo>
                  <a:lnTo>
                    <a:pt x="9214" y="10121"/>
                  </a:lnTo>
                  <a:lnTo>
                    <a:pt x="9316" y="9932"/>
                  </a:lnTo>
                  <a:lnTo>
                    <a:pt x="9421" y="9743"/>
                  </a:lnTo>
                  <a:lnTo>
                    <a:pt x="9525" y="9554"/>
                  </a:lnTo>
                  <a:lnTo>
                    <a:pt x="9632" y="9363"/>
                  </a:lnTo>
                  <a:lnTo>
                    <a:pt x="9737" y="9172"/>
                  </a:lnTo>
                  <a:lnTo>
                    <a:pt x="9844" y="8980"/>
                  </a:lnTo>
                  <a:lnTo>
                    <a:pt x="9949" y="8788"/>
                  </a:lnTo>
                  <a:lnTo>
                    <a:pt x="10052" y="8596"/>
                  </a:lnTo>
                  <a:lnTo>
                    <a:pt x="10154" y="8402"/>
                  </a:lnTo>
                  <a:lnTo>
                    <a:pt x="10253" y="8210"/>
                  </a:lnTo>
                  <a:lnTo>
                    <a:pt x="10349" y="8016"/>
                  </a:lnTo>
                  <a:lnTo>
                    <a:pt x="10441" y="7822"/>
                  </a:lnTo>
                  <a:lnTo>
                    <a:pt x="10529" y="7629"/>
                  </a:lnTo>
                  <a:lnTo>
                    <a:pt x="10612" y="7435"/>
                  </a:lnTo>
                  <a:lnTo>
                    <a:pt x="10691" y="7241"/>
                  </a:lnTo>
                  <a:lnTo>
                    <a:pt x="10763" y="7048"/>
                  </a:lnTo>
                  <a:lnTo>
                    <a:pt x="10829" y="6856"/>
                  </a:lnTo>
                  <a:lnTo>
                    <a:pt x="10888" y="6663"/>
                  </a:lnTo>
                  <a:lnTo>
                    <a:pt x="10939" y="6470"/>
                  </a:lnTo>
                  <a:lnTo>
                    <a:pt x="10983" y="6280"/>
                  </a:lnTo>
                  <a:lnTo>
                    <a:pt x="11017" y="6088"/>
                  </a:lnTo>
                  <a:lnTo>
                    <a:pt x="11042" y="5898"/>
                  </a:lnTo>
                  <a:lnTo>
                    <a:pt x="11058" y="5709"/>
                  </a:lnTo>
                  <a:lnTo>
                    <a:pt x="11063" y="5520"/>
                  </a:lnTo>
                  <a:lnTo>
                    <a:pt x="11056" y="5236"/>
                  </a:lnTo>
                  <a:lnTo>
                    <a:pt x="11035" y="4956"/>
                  </a:lnTo>
                  <a:lnTo>
                    <a:pt x="11000" y="4679"/>
                  </a:lnTo>
                  <a:lnTo>
                    <a:pt x="10950" y="4408"/>
                  </a:lnTo>
                  <a:lnTo>
                    <a:pt x="10889" y="4141"/>
                  </a:lnTo>
                  <a:lnTo>
                    <a:pt x="10815" y="3879"/>
                  </a:lnTo>
                  <a:lnTo>
                    <a:pt x="10727" y="3622"/>
                  </a:lnTo>
                  <a:lnTo>
                    <a:pt x="10629" y="3371"/>
                  </a:lnTo>
                  <a:lnTo>
                    <a:pt x="10518" y="3127"/>
                  </a:lnTo>
                  <a:lnTo>
                    <a:pt x="10395" y="2888"/>
                  </a:lnTo>
                  <a:lnTo>
                    <a:pt x="10262" y="2658"/>
                  </a:lnTo>
                  <a:lnTo>
                    <a:pt x="10119" y="2434"/>
                  </a:lnTo>
                  <a:lnTo>
                    <a:pt x="9964" y="2217"/>
                  </a:lnTo>
                  <a:lnTo>
                    <a:pt x="9800" y="2009"/>
                  </a:lnTo>
                  <a:lnTo>
                    <a:pt x="9626" y="1809"/>
                  </a:lnTo>
                  <a:lnTo>
                    <a:pt x="9443" y="1617"/>
                  </a:lnTo>
                  <a:lnTo>
                    <a:pt x="9251" y="1434"/>
                  </a:lnTo>
                  <a:lnTo>
                    <a:pt x="9050" y="1261"/>
                  </a:lnTo>
                  <a:lnTo>
                    <a:pt x="8841" y="1097"/>
                  </a:lnTo>
                  <a:lnTo>
                    <a:pt x="8624" y="942"/>
                  </a:lnTo>
                  <a:lnTo>
                    <a:pt x="8400" y="799"/>
                  </a:lnTo>
                  <a:lnTo>
                    <a:pt x="8169" y="666"/>
                  </a:lnTo>
                  <a:lnTo>
                    <a:pt x="7929" y="544"/>
                  </a:lnTo>
                  <a:lnTo>
                    <a:pt x="7685" y="434"/>
                  </a:lnTo>
                  <a:lnTo>
                    <a:pt x="7433" y="335"/>
                  </a:lnTo>
                  <a:lnTo>
                    <a:pt x="7176" y="248"/>
                  </a:lnTo>
                  <a:lnTo>
                    <a:pt x="6913" y="174"/>
                  </a:lnTo>
                  <a:lnTo>
                    <a:pt x="6646" y="112"/>
                  </a:lnTo>
                  <a:lnTo>
                    <a:pt x="6374" y="63"/>
                  </a:lnTo>
                  <a:lnTo>
                    <a:pt x="6097" y="28"/>
                  </a:lnTo>
                  <a:lnTo>
                    <a:pt x="5816" y="7"/>
                  </a:lnTo>
                  <a:lnTo>
                    <a:pt x="55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37" name="işļîḓê">
              <a:extLst>
                <a:ext uri="{FF2B5EF4-FFF2-40B4-BE49-F238E27FC236}">
                  <a16:creationId xmlns:a16="http://schemas.microsoft.com/office/drawing/2014/main" id="{FC05229E-D210-4A12-9423-B7A3BB98B3C4}"/>
                </a:ext>
              </a:extLst>
            </p:cNvPr>
            <p:cNvSpPr/>
            <p:nvPr/>
          </p:nvSpPr>
          <p:spPr bwMode="auto">
            <a:xfrm>
              <a:off x="8639165" y="2092063"/>
              <a:ext cx="78177" cy="78177"/>
            </a:xfrm>
            <a:custGeom>
              <a:avLst/>
              <a:gdLst>
                <a:gd name="T0" fmla="*/ 2559 w 3269"/>
                <a:gd name="T1" fmla="*/ 35 h 3262"/>
                <a:gd name="T2" fmla="*/ 1981 w 3269"/>
                <a:gd name="T3" fmla="*/ 183 h 3262"/>
                <a:gd name="T4" fmla="*/ 1455 w 3269"/>
                <a:gd name="T5" fmla="*/ 437 h 3262"/>
                <a:gd name="T6" fmla="*/ 990 w 3269"/>
                <a:gd name="T7" fmla="*/ 783 h 3262"/>
                <a:gd name="T8" fmla="*/ 601 w 3269"/>
                <a:gd name="T9" fmla="*/ 1210 h 3262"/>
                <a:gd name="T10" fmla="*/ 298 w 3269"/>
                <a:gd name="T11" fmla="*/ 1706 h 3262"/>
                <a:gd name="T12" fmla="*/ 96 w 3269"/>
                <a:gd name="T13" fmla="*/ 2259 h 3262"/>
                <a:gd name="T14" fmla="*/ 4 w 3269"/>
                <a:gd name="T15" fmla="*/ 2856 h 3262"/>
                <a:gd name="T16" fmla="*/ 3 w 3269"/>
                <a:gd name="T17" fmla="*/ 3049 h 3262"/>
                <a:gd name="T18" fmla="*/ 15 w 3269"/>
                <a:gd name="T19" fmla="*/ 3097 h 3262"/>
                <a:gd name="T20" fmla="*/ 37 w 3269"/>
                <a:gd name="T21" fmla="*/ 3141 h 3262"/>
                <a:gd name="T22" fmla="*/ 66 w 3269"/>
                <a:gd name="T23" fmla="*/ 3180 h 3262"/>
                <a:gd name="T24" fmla="*/ 101 w 3269"/>
                <a:gd name="T25" fmla="*/ 3212 h 3262"/>
                <a:gd name="T26" fmla="*/ 143 w 3269"/>
                <a:gd name="T27" fmla="*/ 3237 h 3262"/>
                <a:gd name="T28" fmla="*/ 189 w 3269"/>
                <a:gd name="T29" fmla="*/ 3254 h 3262"/>
                <a:gd name="T30" fmla="*/ 239 w 3269"/>
                <a:gd name="T31" fmla="*/ 3262 h 3262"/>
                <a:gd name="T32" fmla="*/ 290 w 3269"/>
                <a:gd name="T33" fmla="*/ 3259 h 3262"/>
                <a:gd name="T34" fmla="*/ 338 w 3269"/>
                <a:gd name="T35" fmla="*/ 3247 h 3262"/>
                <a:gd name="T36" fmla="*/ 382 w 3269"/>
                <a:gd name="T37" fmla="*/ 3226 h 3262"/>
                <a:gd name="T38" fmla="*/ 421 w 3269"/>
                <a:gd name="T39" fmla="*/ 3197 h 3262"/>
                <a:gd name="T40" fmla="*/ 453 w 3269"/>
                <a:gd name="T41" fmla="*/ 3161 h 3262"/>
                <a:gd name="T42" fmla="*/ 478 w 3269"/>
                <a:gd name="T43" fmla="*/ 3119 h 3262"/>
                <a:gd name="T44" fmla="*/ 495 w 3269"/>
                <a:gd name="T45" fmla="*/ 3073 h 3262"/>
                <a:gd name="T46" fmla="*/ 503 w 3269"/>
                <a:gd name="T47" fmla="*/ 3024 h 3262"/>
                <a:gd name="T48" fmla="*/ 532 w 3269"/>
                <a:gd name="T49" fmla="*/ 2630 h 3262"/>
                <a:gd name="T50" fmla="*/ 656 w 3269"/>
                <a:gd name="T51" fmla="*/ 2149 h 3262"/>
                <a:gd name="T52" fmla="*/ 867 w 3269"/>
                <a:gd name="T53" fmla="*/ 1711 h 3262"/>
                <a:gd name="T54" fmla="*/ 1157 w 3269"/>
                <a:gd name="T55" fmla="*/ 1325 h 3262"/>
                <a:gd name="T56" fmla="*/ 1514 w 3269"/>
                <a:gd name="T57" fmla="*/ 1001 h 3262"/>
                <a:gd name="T58" fmla="*/ 1928 w 3269"/>
                <a:gd name="T59" fmla="*/ 750 h 3262"/>
                <a:gd name="T60" fmla="*/ 2390 w 3269"/>
                <a:gd name="T61" fmla="*/ 581 h 3262"/>
                <a:gd name="T62" fmla="*/ 2889 w 3269"/>
                <a:gd name="T63" fmla="*/ 505 h 3262"/>
                <a:gd name="T64" fmla="*/ 3056 w 3269"/>
                <a:gd name="T65" fmla="*/ 499 h 3262"/>
                <a:gd name="T66" fmla="*/ 3104 w 3269"/>
                <a:gd name="T67" fmla="*/ 487 h 3262"/>
                <a:gd name="T68" fmla="*/ 3148 w 3269"/>
                <a:gd name="T69" fmla="*/ 466 h 3262"/>
                <a:gd name="T70" fmla="*/ 3186 w 3269"/>
                <a:gd name="T71" fmla="*/ 437 h 3262"/>
                <a:gd name="T72" fmla="*/ 3219 w 3269"/>
                <a:gd name="T73" fmla="*/ 402 h 3262"/>
                <a:gd name="T74" fmla="*/ 3244 w 3269"/>
                <a:gd name="T75" fmla="*/ 359 h 3262"/>
                <a:gd name="T76" fmla="*/ 3261 w 3269"/>
                <a:gd name="T77" fmla="*/ 314 h 3262"/>
                <a:gd name="T78" fmla="*/ 3269 w 3269"/>
                <a:gd name="T79" fmla="*/ 264 h 3262"/>
                <a:gd name="T80" fmla="*/ 3266 w 3269"/>
                <a:gd name="T81" fmla="*/ 213 h 3262"/>
                <a:gd name="T82" fmla="*/ 3254 w 3269"/>
                <a:gd name="T83" fmla="*/ 165 h 3262"/>
                <a:gd name="T84" fmla="*/ 3233 w 3269"/>
                <a:gd name="T85" fmla="*/ 120 h 3262"/>
                <a:gd name="T86" fmla="*/ 3204 w 3269"/>
                <a:gd name="T87" fmla="*/ 82 h 3262"/>
                <a:gd name="T88" fmla="*/ 3168 w 3269"/>
                <a:gd name="T89" fmla="*/ 50 h 3262"/>
                <a:gd name="T90" fmla="*/ 3126 w 3269"/>
                <a:gd name="T91" fmla="*/ 25 h 3262"/>
                <a:gd name="T92" fmla="*/ 3080 w 3269"/>
                <a:gd name="T93" fmla="*/ 8 h 3262"/>
                <a:gd name="T94" fmla="*/ 3031 w 3269"/>
                <a:gd name="T95" fmla="*/ 0 h 3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269" h="3262">
                  <a:moveTo>
                    <a:pt x="3018" y="0"/>
                  </a:moveTo>
                  <a:lnTo>
                    <a:pt x="2863" y="4"/>
                  </a:lnTo>
                  <a:lnTo>
                    <a:pt x="2710" y="15"/>
                  </a:lnTo>
                  <a:lnTo>
                    <a:pt x="2559" y="35"/>
                  </a:lnTo>
                  <a:lnTo>
                    <a:pt x="2410" y="61"/>
                  </a:lnTo>
                  <a:lnTo>
                    <a:pt x="2264" y="95"/>
                  </a:lnTo>
                  <a:lnTo>
                    <a:pt x="2121" y="136"/>
                  </a:lnTo>
                  <a:lnTo>
                    <a:pt x="1981" y="183"/>
                  </a:lnTo>
                  <a:lnTo>
                    <a:pt x="1844" y="237"/>
                  </a:lnTo>
                  <a:lnTo>
                    <a:pt x="1710" y="297"/>
                  </a:lnTo>
                  <a:lnTo>
                    <a:pt x="1580" y="364"/>
                  </a:lnTo>
                  <a:lnTo>
                    <a:pt x="1455" y="437"/>
                  </a:lnTo>
                  <a:lnTo>
                    <a:pt x="1332" y="515"/>
                  </a:lnTo>
                  <a:lnTo>
                    <a:pt x="1213" y="599"/>
                  </a:lnTo>
                  <a:lnTo>
                    <a:pt x="1100" y="689"/>
                  </a:lnTo>
                  <a:lnTo>
                    <a:pt x="990" y="783"/>
                  </a:lnTo>
                  <a:lnTo>
                    <a:pt x="885" y="883"/>
                  </a:lnTo>
                  <a:lnTo>
                    <a:pt x="785" y="988"/>
                  </a:lnTo>
                  <a:lnTo>
                    <a:pt x="690" y="1097"/>
                  </a:lnTo>
                  <a:lnTo>
                    <a:pt x="601" y="1210"/>
                  </a:lnTo>
                  <a:lnTo>
                    <a:pt x="516" y="1329"/>
                  </a:lnTo>
                  <a:lnTo>
                    <a:pt x="438" y="1450"/>
                  </a:lnTo>
                  <a:lnTo>
                    <a:pt x="365" y="1577"/>
                  </a:lnTo>
                  <a:lnTo>
                    <a:pt x="298" y="1706"/>
                  </a:lnTo>
                  <a:lnTo>
                    <a:pt x="238" y="1840"/>
                  </a:lnTo>
                  <a:lnTo>
                    <a:pt x="183" y="1976"/>
                  </a:lnTo>
                  <a:lnTo>
                    <a:pt x="136" y="2117"/>
                  </a:lnTo>
                  <a:lnTo>
                    <a:pt x="96" y="2259"/>
                  </a:lnTo>
                  <a:lnTo>
                    <a:pt x="62" y="2405"/>
                  </a:lnTo>
                  <a:lnTo>
                    <a:pt x="36" y="2553"/>
                  </a:lnTo>
                  <a:lnTo>
                    <a:pt x="16" y="2704"/>
                  </a:lnTo>
                  <a:lnTo>
                    <a:pt x="4" y="2856"/>
                  </a:lnTo>
                  <a:lnTo>
                    <a:pt x="0" y="3011"/>
                  </a:lnTo>
                  <a:lnTo>
                    <a:pt x="0" y="3024"/>
                  </a:lnTo>
                  <a:lnTo>
                    <a:pt x="1" y="3037"/>
                  </a:lnTo>
                  <a:lnTo>
                    <a:pt x="3" y="3049"/>
                  </a:lnTo>
                  <a:lnTo>
                    <a:pt x="5" y="3061"/>
                  </a:lnTo>
                  <a:lnTo>
                    <a:pt x="8" y="3073"/>
                  </a:lnTo>
                  <a:lnTo>
                    <a:pt x="11" y="3085"/>
                  </a:lnTo>
                  <a:lnTo>
                    <a:pt x="15" y="3097"/>
                  </a:lnTo>
                  <a:lnTo>
                    <a:pt x="20" y="3108"/>
                  </a:lnTo>
                  <a:lnTo>
                    <a:pt x="25" y="3119"/>
                  </a:lnTo>
                  <a:lnTo>
                    <a:pt x="30" y="3130"/>
                  </a:lnTo>
                  <a:lnTo>
                    <a:pt x="37" y="3141"/>
                  </a:lnTo>
                  <a:lnTo>
                    <a:pt x="44" y="3151"/>
                  </a:lnTo>
                  <a:lnTo>
                    <a:pt x="51" y="3161"/>
                  </a:lnTo>
                  <a:lnTo>
                    <a:pt x="58" y="3171"/>
                  </a:lnTo>
                  <a:lnTo>
                    <a:pt x="66" y="3180"/>
                  </a:lnTo>
                  <a:lnTo>
                    <a:pt x="74" y="3189"/>
                  </a:lnTo>
                  <a:lnTo>
                    <a:pt x="83" y="3197"/>
                  </a:lnTo>
                  <a:lnTo>
                    <a:pt x="92" y="3205"/>
                  </a:lnTo>
                  <a:lnTo>
                    <a:pt x="101" y="3212"/>
                  </a:lnTo>
                  <a:lnTo>
                    <a:pt x="111" y="3219"/>
                  </a:lnTo>
                  <a:lnTo>
                    <a:pt x="121" y="3226"/>
                  </a:lnTo>
                  <a:lnTo>
                    <a:pt x="132" y="3232"/>
                  </a:lnTo>
                  <a:lnTo>
                    <a:pt x="143" y="3237"/>
                  </a:lnTo>
                  <a:lnTo>
                    <a:pt x="154" y="3242"/>
                  </a:lnTo>
                  <a:lnTo>
                    <a:pt x="165" y="3247"/>
                  </a:lnTo>
                  <a:lnTo>
                    <a:pt x="177" y="3251"/>
                  </a:lnTo>
                  <a:lnTo>
                    <a:pt x="189" y="3254"/>
                  </a:lnTo>
                  <a:lnTo>
                    <a:pt x="201" y="3257"/>
                  </a:lnTo>
                  <a:lnTo>
                    <a:pt x="214" y="3259"/>
                  </a:lnTo>
                  <a:lnTo>
                    <a:pt x="227" y="3261"/>
                  </a:lnTo>
                  <a:lnTo>
                    <a:pt x="239" y="3262"/>
                  </a:lnTo>
                  <a:lnTo>
                    <a:pt x="252" y="3262"/>
                  </a:lnTo>
                  <a:lnTo>
                    <a:pt x="265" y="3262"/>
                  </a:lnTo>
                  <a:lnTo>
                    <a:pt x="278" y="3261"/>
                  </a:lnTo>
                  <a:lnTo>
                    <a:pt x="290" y="3259"/>
                  </a:lnTo>
                  <a:lnTo>
                    <a:pt x="302" y="3257"/>
                  </a:lnTo>
                  <a:lnTo>
                    <a:pt x="315" y="3254"/>
                  </a:lnTo>
                  <a:lnTo>
                    <a:pt x="326" y="3251"/>
                  </a:lnTo>
                  <a:lnTo>
                    <a:pt x="338" y="3247"/>
                  </a:lnTo>
                  <a:lnTo>
                    <a:pt x="349" y="3242"/>
                  </a:lnTo>
                  <a:lnTo>
                    <a:pt x="360" y="3237"/>
                  </a:lnTo>
                  <a:lnTo>
                    <a:pt x="371" y="3232"/>
                  </a:lnTo>
                  <a:lnTo>
                    <a:pt x="382" y="3226"/>
                  </a:lnTo>
                  <a:lnTo>
                    <a:pt x="393" y="3219"/>
                  </a:lnTo>
                  <a:lnTo>
                    <a:pt x="403" y="3212"/>
                  </a:lnTo>
                  <a:lnTo>
                    <a:pt x="412" y="3205"/>
                  </a:lnTo>
                  <a:lnTo>
                    <a:pt x="421" y="3197"/>
                  </a:lnTo>
                  <a:lnTo>
                    <a:pt x="430" y="3189"/>
                  </a:lnTo>
                  <a:lnTo>
                    <a:pt x="438" y="3180"/>
                  </a:lnTo>
                  <a:lnTo>
                    <a:pt x="446" y="3171"/>
                  </a:lnTo>
                  <a:lnTo>
                    <a:pt x="453" y="3161"/>
                  </a:lnTo>
                  <a:lnTo>
                    <a:pt x="460" y="3151"/>
                  </a:lnTo>
                  <a:lnTo>
                    <a:pt x="467" y="3141"/>
                  </a:lnTo>
                  <a:lnTo>
                    <a:pt x="473" y="3130"/>
                  </a:lnTo>
                  <a:lnTo>
                    <a:pt x="478" y="3119"/>
                  </a:lnTo>
                  <a:lnTo>
                    <a:pt x="483" y="3108"/>
                  </a:lnTo>
                  <a:lnTo>
                    <a:pt x="488" y="3097"/>
                  </a:lnTo>
                  <a:lnTo>
                    <a:pt x="492" y="3085"/>
                  </a:lnTo>
                  <a:lnTo>
                    <a:pt x="495" y="3073"/>
                  </a:lnTo>
                  <a:lnTo>
                    <a:pt x="498" y="3061"/>
                  </a:lnTo>
                  <a:lnTo>
                    <a:pt x="500" y="3049"/>
                  </a:lnTo>
                  <a:lnTo>
                    <a:pt x="502" y="3037"/>
                  </a:lnTo>
                  <a:lnTo>
                    <a:pt x="503" y="3024"/>
                  </a:lnTo>
                  <a:lnTo>
                    <a:pt x="503" y="3011"/>
                  </a:lnTo>
                  <a:lnTo>
                    <a:pt x="506" y="2882"/>
                  </a:lnTo>
                  <a:lnTo>
                    <a:pt x="516" y="2755"/>
                  </a:lnTo>
                  <a:lnTo>
                    <a:pt x="532" y="2630"/>
                  </a:lnTo>
                  <a:lnTo>
                    <a:pt x="554" y="2506"/>
                  </a:lnTo>
                  <a:lnTo>
                    <a:pt x="583" y="2385"/>
                  </a:lnTo>
                  <a:lnTo>
                    <a:pt x="617" y="2265"/>
                  </a:lnTo>
                  <a:lnTo>
                    <a:pt x="656" y="2149"/>
                  </a:lnTo>
                  <a:lnTo>
                    <a:pt x="701" y="2035"/>
                  </a:lnTo>
                  <a:lnTo>
                    <a:pt x="752" y="1924"/>
                  </a:lnTo>
                  <a:lnTo>
                    <a:pt x="807" y="1816"/>
                  </a:lnTo>
                  <a:lnTo>
                    <a:pt x="867" y="1711"/>
                  </a:lnTo>
                  <a:lnTo>
                    <a:pt x="934" y="1609"/>
                  </a:lnTo>
                  <a:lnTo>
                    <a:pt x="1003" y="1511"/>
                  </a:lnTo>
                  <a:lnTo>
                    <a:pt x="1078" y="1416"/>
                  </a:lnTo>
                  <a:lnTo>
                    <a:pt x="1157" y="1325"/>
                  </a:lnTo>
                  <a:lnTo>
                    <a:pt x="1240" y="1238"/>
                  </a:lnTo>
                  <a:lnTo>
                    <a:pt x="1328" y="1154"/>
                  </a:lnTo>
                  <a:lnTo>
                    <a:pt x="1419" y="1076"/>
                  </a:lnTo>
                  <a:lnTo>
                    <a:pt x="1514" y="1001"/>
                  </a:lnTo>
                  <a:lnTo>
                    <a:pt x="1612" y="931"/>
                  </a:lnTo>
                  <a:lnTo>
                    <a:pt x="1715" y="865"/>
                  </a:lnTo>
                  <a:lnTo>
                    <a:pt x="1820" y="805"/>
                  </a:lnTo>
                  <a:lnTo>
                    <a:pt x="1928" y="750"/>
                  </a:lnTo>
                  <a:lnTo>
                    <a:pt x="2040" y="700"/>
                  </a:lnTo>
                  <a:lnTo>
                    <a:pt x="2154" y="654"/>
                  </a:lnTo>
                  <a:lnTo>
                    <a:pt x="2270" y="615"/>
                  </a:lnTo>
                  <a:lnTo>
                    <a:pt x="2390" y="581"/>
                  </a:lnTo>
                  <a:lnTo>
                    <a:pt x="2512" y="553"/>
                  </a:lnTo>
                  <a:lnTo>
                    <a:pt x="2635" y="531"/>
                  </a:lnTo>
                  <a:lnTo>
                    <a:pt x="2761" y="515"/>
                  </a:lnTo>
                  <a:lnTo>
                    <a:pt x="2889" y="505"/>
                  </a:lnTo>
                  <a:lnTo>
                    <a:pt x="3018" y="502"/>
                  </a:lnTo>
                  <a:lnTo>
                    <a:pt x="3031" y="502"/>
                  </a:lnTo>
                  <a:lnTo>
                    <a:pt x="3044" y="501"/>
                  </a:lnTo>
                  <a:lnTo>
                    <a:pt x="3056" y="499"/>
                  </a:lnTo>
                  <a:lnTo>
                    <a:pt x="3068" y="497"/>
                  </a:lnTo>
                  <a:lnTo>
                    <a:pt x="3080" y="494"/>
                  </a:lnTo>
                  <a:lnTo>
                    <a:pt x="3092" y="491"/>
                  </a:lnTo>
                  <a:lnTo>
                    <a:pt x="3104" y="487"/>
                  </a:lnTo>
                  <a:lnTo>
                    <a:pt x="3115" y="482"/>
                  </a:lnTo>
                  <a:lnTo>
                    <a:pt x="3126" y="477"/>
                  </a:lnTo>
                  <a:lnTo>
                    <a:pt x="3137" y="472"/>
                  </a:lnTo>
                  <a:lnTo>
                    <a:pt x="3148" y="466"/>
                  </a:lnTo>
                  <a:lnTo>
                    <a:pt x="3158" y="459"/>
                  </a:lnTo>
                  <a:lnTo>
                    <a:pt x="3168" y="452"/>
                  </a:lnTo>
                  <a:lnTo>
                    <a:pt x="3177" y="445"/>
                  </a:lnTo>
                  <a:lnTo>
                    <a:pt x="3186" y="437"/>
                  </a:lnTo>
                  <a:lnTo>
                    <a:pt x="3196" y="429"/>
                  </a:lnTo>
                  <a:lnTo>
                    <a:pt x="3204" y="420"/>
                  </a:lnTo>
                  <a:lnTo>
                    <a:pt x="3212" y="411"/>
                  </a:lnTo>
                  <a:lnTo>
                    <a:pt x="3219" y="402"/>
                  </a:lnTo>
                  <a:lnTo>
                    <a:pt x="3226" y="391"/>
                  </a:lnTo>
                  <a:lnTo>
                    <a:pt x="3233" y="381"/>
                  </a:lnTo>
                  <a:lnTo>
                    <a:pt x="3239" y="370"/>
                  </a:lnTo>
                  <a:lnTo>
                    <a:pt x="3244" y="359"/>
                  </a:lnTo>
                  <a:lnTo>
                    <a:pt x="3249" y="348"/>
                  </a:lnTo>
                  <a:lnTo>
                    <a:pt x="3254" y="337"/>
                  </a:lnTo>
                  <a:lnTo>
                    <a:pt x="3258" y="325"/>
                  </a:lnTo>
                  <a:lnTo>
                    <a:pt x="3261" y="314"/>
                  </a:lnTo>
                  <a:lnTo>
                    <a:pt x="3264" y="301"/>
                  </a:lnTo>
                  <a:lnTo>
                    <a:pt x="3266" y="289"/>
                  </a:lnTo>
                  <a:lnTo>
                    <a:pt x="3268" y="277"/>
                  </a:lnTo>
                  <a:lnTo>
                    <a:pt x="3269" y="264"/>
                  </a:lnTo>
                  <a:lnTo>
                    <a:pt x="3269" y="251"/>
                  </a:lnTo>
                  <a:lnTo>
                    <a:pt x="3269" y="238"/>
                  </a:lnTo>
                  <a:lnTo>
                    <a:pt x="3268" y="226"/>
                  </a:lnTo>
                  <a:lnTo>
                    <a:pt x="3266" y="213"/>
                  </a:lnTo>
                  <a:lnTo>
                    <a:pt x="3264" y="201"/>
                  </a:lnTo>
                  <a:lnTo>
                    <a:pt x="3261" y="189"/>
                  </a:lnTo>
                  <a:lnTo>
                    <a:pt x="3258" y="177"/>
                  </a:lnTo>
                  <a:lnTo>
                    <a:pt x="3254" y="165"/>
                  </a:lnTo>
                  <a:lnTo>
                    <a:pt x="3249" y="154"/>
                  </a:lnTo>
                  <a:lnTo>
                    <a:pt x="3244" y="143"/>
                  </a:lnTo>
                  <a:lnTo>
                    <a:pt x="3239" y="132"/>
                  </a:lnTo>
                  <a:lnTo>
                    <a:pt x="3233" y="120"/>
                  </a:lnTo>
                  <a:lnTo>
                    <a:pt x="3226" y="110"/>
                  </a:lnTo>
                  <a:lnTo>
                    <a:pt x="3219" y="100"/>
                  </a:lnTo>
                  <a:lnTo>
                    <a:pt x="3212" y="91"/>
                  </a:lnTo>
                  <a:lnTo>
                    <a:pt x="3204" y="82"/>
                  </a:lnTo>
                  <a:lnTo>
                    <a:pt x="3196" y="73"/>
                  </a:lnTo>
                  <a:lnTo>
                    <a:pt x="3186" y="65"/>
                  </a:lnTo>
                  <a:lnTo>
                    <a:pt x="3177" y="57"/>
                  </a:lnTo>
                  <a:lnTo>
                    <a:pt x="3168" y="50"/>
                  </a:lnTo>
                  <a:lnTo>
                    <a:pt x="3158" y="43"/>
                  </a:lnTo>
                  <a:lnTo>
                    <a:pt x="3148" y="36"/>
                  </a:lnTo>
                  <a:lnTo>
                    <a:pt x="3137" y="30"/>
                  </a:lnTo>
                  <a:lnTo>
                    <a:pt x="3126" y="25"/>
                  </a:lnTo>
                  <a:lnTo>
                    <a:pt x="3115" y="20"/>
                  </a:lnTo>
                  <a:lnTo>
                    <a:pt x="3104" y="15"/>
                  </a:lnTo>
                  <a:lnTo>
                    <a:pt x="3092" y="11"/>
                  </a:lnTo>
                  <a:lnTo>
                    <a:pt x="3080" y="8"/>
                  </a:lnTo>
                  <a:lnTo>
                    <a:pt x="3068" y="5"/>
                  </a:lnTo>
                  <a:lnTo>
                    <a:pt x="3056" y="3"/>
                  </a:lnTo>
                  <a:lnTo>
                    <a:pt x="3044" y="1"/>
                  </a:lnTo>
                  <a:lnTo>
                    <a:pt x="3031" y="0"/>
                  </a:lnTo>
                  <a:lnTo>
                    <a:pt x="30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38" name="ïs1iḓè">
              <a:extLst>
                <a:ext uri="{FF2B5EF4-FFF2-40B4-BE49-F238E27FC236}">
                  <a16:creationId xmlns:a16="http://schemas.microsoft.com/office/drawing/2014/main" id="{7FD84465-66CE-4BF1-A88F-37536783EA39}"/>
                </a:ext>
              </a:extLst>
            </p:cNvPr>
            <p:cNvSpPr/>
            <p:nvPr/>
          </p:nvSpPr>
          <p:spPr bwMode="auto">
            <a:xfrm>
              <a:off x="9484711" y="1127861"/>
              <a:ext cx="459652" cy="611928"/>
            </a:xfrm>
            <a:custGeom>
              <a:avLst/>
              <a:gdLst>
                <a:gd name="T0" fmla="*/ 10946 w 12062"/>
                <a:gd name="T1" fmla="*/ 12419 h 16058"/>
                <a:gd name="T2" fmla="*/ 10253 w 12062"/>
                <a:gd name="T3" fmla="*/ 13775 h 16058"/>
                <a:gd name="T4" fmla="*/ 9063 w 12062"/>
                <a:gd name="T5" fmla="*/ 14707 h 16058"/>
                <a:gd name="T6" fmla="*/ 7539 w 12062"/>
                <a:gd name="T7" fmla="*/ 15054 h 16058"/>
                <a:gd name="T8" fmla="*/ 3155 w 12062"/>
                <a:gd name="T9" fmla="*/ 14778 h 16058"/>
                <a:gd name="T10" fmla="*/ 1920 w 12062"/>
                <a:gd name="T11" fmla="*/ 13902 h 16058"/>
                <a:gd name="T12" fmla="*/ 1164 w 12062"/>
                <a:gd name="T13" fmla="*/ 12585 h 16058"/>
                <a:gd name="T14" fmla="*/ 1005 w 12062"/>
                <a:gd name="T15" fmla="*/ 9534 h 16058"/>
                <a:gd name="T16" fmla="*/ 1044 w 12062"/>
                <a:gd name="T17" fmla="*/ 7834 h 16058"/>
                <a:gd name="T18" fmla="*/ 1170 w 12062"/>
                <a:gd name="T19" fmla="*/ 7658 h 16058"/>
                <a:gd name="T20" fmla="*/ 1358 w 12062"/>
                <a:gd name="T21" fmla="*/ 7550 h 16058"/>
                <a:gd name="T22" fmla="*/ 10554 w 12062"/>
                <a:gd name="T23" fmla="*/ 7527 h 16058"/>
                <a:gd name="T24" fmla="*/ 10772 w 12062"/>
                <a:gd name="T25" fmla="*/ 7576 h 16058"/>
                <a:gd name="T26" fmla="*/ 10942 w 12062"/>
                <a:gd name="T27" fmla="*/ 7710 h 16058"/>
                <a:gd name="T28" fmla="*/ 11041 w 12062"/>
                <a:gd name="T29" fmla="*/ 7904 h 16058"/>
                <a:gd name="T30" fmla="*/ 8041 w 12062"/>
                <a:gd name="T31" fmla="*/ 6524 h 16058"/>
                <a:gd name="T32" fmla="*/ 4111 w 12062"/>
                <a:gd name="T33" fmla="*/ 3919 h 16058"/>
                <a:gd name="T34" fmla="*/ 4543 w 12062"/>
                <a:gd name="T35" fmla="*/ 3166 h 16058"/>
                <a:gd name="T36" fmla="*/ 5248 w 12062"/>
                <a:gd name="T37" fmla="*/ 2667 h 16058"/>
                <a:gd name="T38" fmla="*/ 6135 w 12062"/>
                <a:gd name="T39" fmla="*/ 2512 h 16058"/>
                <a:gd name="T40" fmla="*/ 6989 w 12062"/>
                <a:gd name="T41" fmla="*/ 2751 h 16058"/>
                <a:gd name="T42" fmla="*/ 7642 w 12062"/>
                <a:gd name="T43" fmla="*/ 3315 h 16058"/>
                <a:gd name="T44" fmla="*/ 8000 w 12062"/>
                <a:gd name="T45" fmla="*/ 4112 h 16058"/>
                <a:gd name="T46" fmla="*/ 2584 w 12062"/>
                <a:gd name="T47" fmla="*/ 3809 h 16058"/>
                <a:gd name="T48" fmla="*/ 3212 w 12062"/>
                <a:gd name="T49" fmla="*/ 2415 h 16058"/>
                <a:gd name="T50" fmla="*/ 4354 w 12062"/>
                <a:gd name="T51" fmla="*/ 1427 h 16058"/>
                <a:gd name="T52" fmla="*/ 5850 w 12062"/>
                <a:gd name="T53" fmla="*/ 1009 h 16058"/>
                <a:gd name="T54" fmla="*/ 7400 w 12062"/>
                <a:gd name="T55" fmla="*/ 1280 h 16058"/>
                <a:gd name="T56" fmla="*/ 8635 w 12062"/>
                <a:gd name="T57" fmla="*/ 2155 h 16058"/>
                <a:gd name="T58" fmla="*/ 9391 w 12062"/>
                <a:gd name="T59" fmla="*/ 3472 h 16058"/>
                <a:gd name="T60" fmla="*/ 8544 w 12062"/>
                <a:gd name="T61" fmla="*/ 4518 h 16058"/>
                <a:gd name="T62" fmla="*/ 8297 w 12062"/>
                <a:gd name="T63" fmla="*/ 3430 h 16058"/>
                <a:gd name="T64" fmla="*/ 7629 w 12062"/>
                <a:gd name="T65" fmla="*/ 2581 h 16058"/>
                <a:gd name="T66" fmla="*/ 6659 w 12062"/>
                <a:gd name="T67" fmla="*/ 2088 h 16058"/>
                <a:gd name="T68" fmla="*/ 5524 w 12062"/>
                <a:gd name="T69" fmla="*/ 2059 h 16058"/>
                <a:gd name="T70" fmla="*/ 4527 w 12062"/>
                <a:gd name="T71" fmla="*/ 2507 h 16058"/>
                <a:gd name="T72" fmla="*/ 3822 w 12062"/>
                <a:gd name="T73" fmla="*/ 3322 h 16058"/>
                <a:gd name="T74" fmla="*/ 3521 w 12062"/>
                <a:gd name="T75" fmla="*/ 4389 h 16058"/>
                <a:gd name="T76" fmla="*/ 10502 w 12062"/>
                <a:gd name="T77" fmla="*/ 3829 h 16058"/>
                <a:gd name="T78" fmla="*/ 9782 w 12062"/>
                <a:gd name="T79" fmla="*/ 1991 h 16058"/>
                <a:gd name="T80" fmla="*/ 8376 w 12062"/>
                <a:gd name="T81" fmla="*/ 653 h 16058"/>
                <a:gd name="T82" fmla="*/ 6493 w 12062"/>
                <a:gd name="T83" fmla="*/ 23 h 16058"/>
                <a:gd name="T84" fmla="*/ 4476 w 12062"/>
                <a:gd name="T85" fmla="*/ 274 h 16058"/>
                <a:gd name="T86" fmla="*/ 2833 w 12062"/>
                <a:gd name="T87" fmla="*/ 1323 h 16058"/>
                <a:gd name="T88" fmla="*/ 1782 w 12062"/>
                <a:gd name="T89" fmla="*/ 2964 h 16058"/>
                <a:gd name="T90" fmla="*/ 1430 w 12062"/>
                <a:gd name="T91" fmla="*/ 6526 h 16058"/>
                <a:gd name="T92" fmla="*/ 789 w 12062"/>
                <a:gd name="T93" fmla="*/ 6705 h 16058"/>
                <a:gd name="T94" fmla="*/ 300 w 12062"/>
                <a:gd name="T95" fmla="*/ 7129 h 16058"/>
                <a:gd name="T96" fmla="*/ 30 w 12062"/>
                <a:gd name="T97" fmla="*/ 7726 h 16058"/>
                <a:gd name="T98" fmla="*/ 6 w 12062"/>
                <a:gd name="T99" fmla="*/ 11775 h 16058"/>
                <a:gd name="T100" fmla="*/ 546 w 12062"/>
                <a:gd name="T101" fmla="*/ 13694 h 16058"/>
                <a:gd name="T102" fmla="*/ 1817 w 12062"/>
                <a:gd name="T103" fmla="*/ 15161 h 16058"/>
                <a:gd name="T104" fmla="*/ 3612 w 12062"/>
                <a:gd name="T105" fmla="*/ 15967 h 16058"/>
                <a:gd name="T106" fmla="*/ 8450 w 12062"/>
                <a:gd name="T107" fmla="*/ 15967 h 16058"/>
                <a:gd name="T108" fmla="*/ 10245 w 12062"/>
                <a:gd name="T109" fmla="*/ 15161 h 16058"/>
                <a:gd name="T110" fmla="*/ 11516 w 12062"/>
                <a:gd name="T111" fmla="*/ 13694 h 16058"/>
                <a:gd name="T112" fmla="*/ 12056 w 12062"/>
                <a:gd name="T113" fmla="*/ 11775 h 16058"/>
                <a:gd name="T114" fmla="*/ 12032 w 12062"/>
                <a:gd name="T115" fmla="*/ 7726 h 16058"/>
                <a:gd name="T116" fmla="*/ 11762 w 12062"/>
                <a:gd name="T117" fmla="*/ 7129 h 16058"/>
                <a:gd name="T118" fmla="*/ 11273 w 12062"/>
                <a:gd name="T119" fmla="*/ 6705 h 16058"/>
                <a:gd name="T120" fmla="*/ 10632 w 12062"/>
                <a:gd name="T121" fmla="*/ 6526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062" h="16058">
                  <a:moveTo>
                    <a:pt x="11057" y="9534"/>
                  </a:moveTo>
                  <a:lnTo>
                    <a:pt x="11057" y="10036"/>
                  </a:lnTo>
                  <a:lnTo>
                    <a:pt x="11057" y="11040"/>
                  </a:lnTo>
                  <a:lnTo>
                    <a:pt x="11057" y="11542"/>
                  </a:lnTo>
                  <a:lnTo>
                    <a:pt x="11052" y="11722"/>
                  </a:lnTo>
                  <a:lnTo>
                    <a:pt x="11039" y="11900"/>
                  </a:lnTo>
                  <a:lnTo>
                    <a:pt x="11017" y="12076"/>
                  </a:lnTo>
                  <a:lnTo>
                    <a:pt x="10985" y="12248"/>
                  </a:lnTo>
                  <a:lnTo>
                    <a:pt x="10946" y="12419"/>
                  </a:lnTo>
                  <a:lnTo>
                    <a:pt x="10898" y="12585"/>
                  </a:lnTo>
                  <a:lnTo>
                    <a:pt x="10843" y="12748"/>
                  </a:lnTo>
                  <a:lnTo>
                    <a:pt x="10780" y="12908"/>
                  </a:lnTo>
                  <a:lnTo>
                    <a:pt x="10709" y="13063"/>
                  </a:lnTo>
                  <a:lnTo>
                    <a:pt x="10632" y="13215"/>
                  </a:lnTo>
                  <a:lnTo>
                    <a:pt x="10547" y="13361"/>
                  </a:lnTo>
                  <a:lnTo>
                    <a:pt x="10455" y="13504"/>
                  </a:lnTo>
                  <a:lnTo>
                    <a:pt x="10357" y="13642"/>
                  </a:lnTo>
                  <a:lnTo>
                    <a:pt x="10253" y="13775"/>
                  </a:lnTo>
                  <a:lnTo>
                    <a:pt x="10142" y="13902"/>
                  </a:lnTo>
                  <a:lnTo>
                    <a:pt x="10026" y="14025"/>
                  </a:lnTo>
                  <a:lnTo>
                    <a:pt x="9903" y="14141"/>
                  </a:lnTo>
                  <a:lnTo>
                    <a:pt x="9775" y="14251"/>
                  </a:lnTo>
                  <a:lnTo>
                    <a:pt x="9643" y="14356"/>
                  </a:lnTo>
                  <a:lnTo>
                    <a:pt x="9504" y="14453"/>
                  </a:lnTo>
                  <a:lnTo>
                    <a:pt x="9361" y="14546"/>
                  </a:lnTo>
                  <a:lnTo>
                    <a:pt x="9214" y="14630"/>
                  </a:lnTo>
                  <a:lnTo>
                    <a:pt x="9063" y="14707"/>
                  </a:lnTo>
                  <a:lnTo>
                    <a:pt x="8907" y="14778"/>
                  </a:lnTo>
                  <a:lnTo>
                    <a:pt x="8747" y="14841"/>
                  </a:lnTo>
                  <a:lnTo>
                    <a:pt x="8583" y="14896"/>
                  </a:lnTo>
                  <a:lnTo>
                    <a:pt x="8416" y="14944"/>
                  </a:lnTo>
                  <a:lnTo>
                    <a:pt x="8246" y="14983"/>
                  </a:lnTo>
                  <a:lnTo>
                    <a:pt x="8073" y="15014"/>
                  </a:lnTo>
                  <a:lnTo>
                    <a:pt x="7898" y="15036"/>
                  </a:lnTo>
                  <a:lnTo>
                    <a:pt x="7720" y="15049"/>
                  </a:lnTo>
                  <a:lnTo>
                    <a:pt x="7539" y="15054"/>
                  </a:lnTo>
                  <a:lnTo>
                    <a:pt x="4523" y="15054"/>
                  </a:lnTo>
                  <a:lnTo>
                    <a:pt x="4342" y="15049"/>
                  </a:lnTo>
                  <a:lnTo>
                    <a:pt x="4164" y="15036"/>
                  </a:lnTo>
                  <a:lnTo>
                    <a:pt x="3989" y="15014"/>
                  </a:lnTo>
                  <a:lnTo>
                    <a:pt x="3816" y="14983"/>
                  </a:lnTo>
                  <a:lnTo>
                    <a:pt x="3645" y="14944"/>
                  </a:lnTo>
                  <a:lnTo>
                    <a:pt x="3478" y="14896"/>
                  </a:lnTo>
                  <a:lnTo>
                    <a:pt x="3315" y="14841"/>
                  </a:lnTo>
                  <a:lnTo>
                    <a:pt x="3155" y="14778"/>
                  </a:lnTo>
                  <a:lnTo>
                    <a:pt x="2999" y="14707"/>
                  </a:lnTo>
                  <a:lnTo>
                    <a:pt x="2848" y="14630"/>
                  </a:lnTo>
                  <a:lnTo>
                    <a:pt x="2701" y="14546"/>
                  </a:lnTo>
                  <a:lnTo>
                    <a:pt x="2558" y="14453"/>
                  </a:lnTo>
                  <a:lnTo>
                    <a:pt x="2419" y="14356"/>
                  </a:lnTo>
                  <a:lnTo>
                    <a:pt x="2287" y="14251"/>
                  </a:lnTo>
                  <a:lnTo>
                    <a:pt x="2159" y="14141"/>
                  </a:lnTo>
                  <a:lnTo>
                    <a:pt x="2036" y="14025"/>
                  </a:lnTo>
                  <a:lnTo>
                    <a:pt x="1920" y="13902"/>
                  </a:lnTo>
                  <a:lnTo>
                    <a:pt x="1809" y="13775"/>
                  </a:lnTo>
                  <a:lnTo>
                    <a:pt x="1705" y="13642"/>
                  </a:lnTo>
                  <a:lnTo>
                    <a:pt x="1607" y="13504"/>
                  </a:lnTo>
                  <a:lnTo>
                    <a:pt x="1515" y="13361"/>
                  </a:lnTo>
                  <a:lnTo>
                    <a:pt x="1430" y="13215"/>
                  </a:lnTo>
                  <a:lnTo>
                    <a:pt x="1353" y="13063"/>
                  </a:lnTo>
                  <a:lnTo>
                    <a:pt x="1282" y="12908"/>
                  </a:lnTo>
                  <a:lnTo>
                    <a:pt x="1219" y="12748"/>
                  </a:lnTo>
                  <a:lnTo>
                    <a:pt x="1164" y="12585"/>
                  </a:lnTo>
                  <a:lnTo>
                    <a:pt x="1116" y="12419"/>
                  </a:lnTo>
                  <a:lnTo>
                    <a:pt x="1077" y="12248"/>
                  </a:lnTo>
                  <a:lnTo>
                    <a:pt x="1045" y="12076"/>
                  </a:lnTo>
                  <a:lnTo>
                    <a:pt x="1023" y="11900"/>
                  </a:lnTo>
                  <a:lnTo>
                    <a:pt x="1010" y="11722"/>
                  </a:lnTo>
                  <a:lnTo>
                    <a:pt x="1005" y="11542"/>
                  </a:lnTo>
                  <a:lnTo>
                    <a:pt x="1005" y="11040"/>
                  </a:lnTo>
                  <a:lnTo>
                    <a:pt x="1005" y="10036"/>
                  </a:lnTo>
                  <a:lnTo>
                    <a:pt x="1005" y="9534"/>
                  </a:lnTo>
                  <a:lnTo>
                    <a:pt x="1005" y="8029"/>
                  </a:lnTo>
                  <a:lnTo>
                    <a:pt x="1006" y="8003"/>
                  </a:lnTo>
                  <a:lnTo>
                    <a:pt x="1008" y="7978"/>
                  </a:lnTo>
                  <a:lnTo>
                    <a:pt x="1011" y="7953"/>
                  </a:lnTo>
                  <a:lnTo>
                    <a:pt x="1015" y="7928"/>
                  </a:lnTo>
                  <a:lnTo>
                    <a:pt x="1021" y="7904"/>
                  </a:lnTo>
                  <a:lnTo>
                    <a:pt x="1027" y="7879"/>
                  </a:lnTo>
                  <a:lnTo>
                    <a:pt x="1035" y="7856"/>
                  </a:lnTo>
                  <a:lnTo>
                    <a:pt x="1044" y="7834"/>
                  </a:lnTo>
                  <a:lnTo>
                    <a:pt x="1054" y="7811"/>
                  </a:lnTo>
                  <a:lnTo>
                    <a:pt x="1065" y="7790"/>
                  </a:lnTo>
                  <a:lnTo>
                    <a:pt x="1078" y="7769"/>
                  </a:lnTo>
                  <a:lnTo>
                    <a:pt x="1091" y="7749"/>
                  </a:lnTo>
                  <a:lnTo>
                    <a:pt x="1105" y="7729"/>
                  </a:lnTo>
                  <a:lnTo>
                    <a:pt x="1120" y="7710"/>
                  </a:lnTo>
                  <a:lnTo>
                    <a:pt x="1136" y="7692"/>
                  </a:lnTo>
                  <a:lnTo>
                    <a:pt x="1152" y="7675"/>
                  </a:lnTo>
                  <a:lnTo>
                    <a:pt x="1170" y="7658"/>
                  </a:lnTo>
                  <a:lnTo>
                    <a:pt x="1188" y="7642"/>
                  </a:lnTo>
                  <a:lnTo>
                    <a:pt x="1207" y="7627"/>
                  </a:lnTo>
                  <a:lnTo>
                    <a:pt x="1226" y="7612"/>
                  </a:lnTo>
                  <a:lnTo>
                    <a:pt x="1247" y="7599"/>
                  </a:lnTo>
                  <a:lnTo>
                    <a:pt x="1269" y="7587"/>
                  </a:lnTo>
                  <a:lnTo>
                    <a:pt x="1290" y="7576"/>
                  </a:lnTo>
                  <a:lnTo>
                    <a:pt x="1312" y="7566"/>
                  </a:lnTo>
                  <a:lnTo>
                    <a:pt x="1335" y="7557"/>
                  </a:lnTo>
                  <a:lnTo>
                    <a:pt x="1358" y="7550"/>
                  </a:lnTo>
                  <a:lnTo>
                    <a:pt x="1382" y="7543"/>
                  </a:lnTo>
                  <a:lnTo>
                    <a:pt x="1406" y="7537"/>
                  </a:lnTo>
                  <a:lnTo>
                    <a:pt x="1431" y="7533"/>
                  </a:lnTo>
                  <a:lnTo>
                    <a:pt x="1456" y="7530"/>
                  </a:lnTo>
                  <a:lnTo>
                    <a:pt x="1482" y="7528"/>
                  </a:lnTo>
                  <a:lnTo>
                    <a:pt x="1508" y="7527"/>
                  </a:lnTo>
                  <a:lnTo>
                    <a:pt x="2513" y="7527"/>
                  </a:lnTo>
                  <a:lnTo>
                    <a:pt x="9549" y="7527"/>
                  </a:lnTo>
                  <a:lnTo>
                    <a:pt x="10554" y="7527"/>
                  </a:lnTo>
                  <a:lnTo>
                    <a:pt x="10580" y="7528"/>
                  </a:lnTo>
                  <a:lnTo>
                    <a:pt x="10606" y="7530"/>
                  </a:lnTo>
                  <a:lnTo>
                    <a:pt x="10631" y="7533"/>
                  </a:lnTo>
                  <a:lnTo>
                    <a:pt x="10656" y="7537"/>
                  </a:lnTo>
                  <a:lnTo>
                    <a:pt x="10680" y="7543"/>
                  </a:lnTo>
                  <a:lnTo>
                    <a:pt x="10704" y="7550"/>
                  </a:lnTo>
                  <a:lnTo>
                    <a:pt x="10727" y="7557"/>
                  </a:lnTo>
                  <a:lnTo>
                    <a:pt x="10750" y="7566"/>
                  </a:lnTo>
                  <a:lnTo>
                    <a:pt x="10772" y="7576"/>
                  </a:lnTo>
                  <a:lnTo>
                    <a:pt x="10793" y="7587"/>
                  </a:lnTo>
                  <a:lnTo>
                    <a:pt x="10815" y="7599"/>
                  </a:lnTo>
                  <a:lnTo>
                    <a:pt x="10836" y="7612"/>
                  </a:lnTo>
                  <a:lnTo>
                    <a:pt x="10855" y="7627"/>
                  </a:lnTo>
                  <a:lnTo>
                    <a:pt x="10874" y="7642"/>
                  </a:lnTo>
                  <a:lnTo>
                    <a:pt x="10892" y="7658"/>
                  </a:lnTo>
                  <a:lnTo>
                    <a:pt x="10909" y="7675"/>
                  </a:lnTo>
                  <a:lnTo>
                    <a:pt x="10926" y="7692"/>
                  </a:lnTo>
                  <a:lnTo>
                    <a:pt x="10942" y="7710"/>
                  </a:lnTo>
                  <a:lnTo>
                    <a:pt x="10957" y="7729"/>
                  </a:lnTo>
                  <a:lnTo>
                    <a:pt x="10971" y="7749"/>
                  </a:lnTo>
                  <a:lnTo>
                    <a:pt x="10984" y="7769"/>
                  </a:lnTo>
                  <a:lnTo>
                    <a:pt x="10997" y="7790"/>
                  </a:lnTo>
                  <a:lnTo>
                    <a:pt x="11008" y="7811"/>
                  </a:lnTo>
                  <a:lnTo>
                    <a:pt x="11018" y="7834"/>
                  </a:lnTo>
                  <a:lnTo>
                    <a:pt x="11027" y="7856"/>
                  </a:lnTo>
                  <a:lnTo>
                    <a:pt x="11035" y="7879"/>
                  </a:lnTo>
                  <a:lnTo>
                    <a:pt x="11041" y="7904"/>
                  </a:lnTo>
                  <a:lnTo>
                    <a:pt x="11047" y="7928"/>
                  </a:lnTo>
                  <a:lnTo>
                    <a:pt x="11051" y="7953"/>
                  </a:lnTo>
                  <a:lnTo>
                    <a:pt x="11054" y="7978"/>
                  </a:lnTo>
                  <a:lnTo>
                    <a:pt x="11056" y="8003"/>
                  </a:lnTo>
                  <a:lnTo>
                    <a:pt x="11057" y="8029"/>
                  </a:lnTo>
                  <a:lnTo>
                    <a:pt x="11057" y="9534"/>
                  </a:lnTo>
                  <a:close/>
                  <a:moveTo>
                    <a:pt x="8041" y="4516"/>
                  </a:moveTo>
                  <a:lnTo>
                    <a:pt x="8041" y="4518"/>
                  </a:lnTo>
                  <a:lnTo>
                    <a:pt x="8041" y="6524"/>
                  </a:lnTo>
                  <a:lnTo>
                    <a:pt x="4021" y="6524"/>
                  </a:lnTo>
                  <a:lnTo>
                    <a:pt x="4021" y="4518"/>
                  </a:lnTo>
                  <a:lnTo>
                    <a:pt x="4021" y="4516"/>
                  </a:lnTo>
                  <a:lnTo>
                    <a:pt x="4024" y="4413"/>
                  </a:lnTo>
                  <a:lnTo>
                    <a:pt x="4031" y="4312"/>
                  </a:lnTo>
                  <a:lnTo>
                    <a:pt x="4044" y="4210"/>
                  </a:lnTo>
                  <a:lnTo>
                    <a:pt x="4062" y="4112"/>
                  </a:lnTo>
                  <a:lnTo>
                    <a:pt x="4084" y="4015"/>
                  </a:lnTo>
                  <a:lnTo>
                    <a:pt x="4111" y="3919"/>
                  </a:lnTo>
                  <a:lnTo>
                    <a:pt x="4142" y="3826"/>
                  </a:lnTo>
                  <a:lnTo>
                    <a:pt x="4178" y="3735"/>
                  </a:lnTo>
                  <a:lnTo>
                    <a:pt x="4219" y="3646"/>
                  </a:lnTo>
                  <a:lnTo>
                    <a:pt x="4263" y="3560"/>
                  </a:lnTo>
                  <a:lnTo>
                    <a:pt x="4312" y="3476"/>
                  </a:lnTo>
                  <a:lnTo>
                    <a:pt x="4364" y="3394"/>
                  </a:lnTo>
                  <a:lnTo>
                    <a:pt x="4420" y="3315"/>
                  </a:lnTo>
                  <a:lnTo>
                    <a:pt x="4480" y="3240"/>
                  </a:lnTo>
                  <a:lnTo>
                    <a:pt x="4543" y="3166"/>
                  </a:lnTo>
                  <a:lnTo>
                    <a:pt x="4610" y="3097"/>
                  </a:lnTo>
                  <a:lnTo>
                    <a:pt x="4679" y="3031"/>
                  </a:lnTo>
                  <a:lnTo>
                    <a:pt x="4752" y="2968"/>
                  </a:lnTo>
                  <a:lnTo>
                    <a:pt x="4828" y="2908"/>
                  </a:lnTo>
                  <a:lnTo>
                    <a:pt x="4907" y="2852"/>
                  </a:lnTo>
                  <a:lnTo>
                    <a:pt x="4989" y="2800"/>
                  </a:lnTo>
                  <a:lnTo>
                    <a:pt x="5073" y="2751"/>
                  </a:lnTo>
                  <a:lnTo>
                    <a:pt x="5160" y="2707"/>
                  </a:lnTo>
                  <a:lnTo>
                    <a:pt x="5248" y="2667"/>
                  </a:lnTo>
                  <a:lnTo>
                    <a:pt x="5339" y="2631"/>
                  </a:lnTo>
                  <a:lnTo>
                    <a:pt x="5433" y="2599"/>
                  </a:lnTo>
                  <a:lnTo>
                    <a:pt x="5528" y="2572"/>
                  </a:lnTo>
                  <a:lnTo>
                    <a:pt x="5626" y="2550"/>
                  </a:lnTo>
                  <a:lnTo>
                    <a:pt x="5724" y="2532"/>
                  </a:lnTo>
                  <a:lnTo>
                    <a:pt x="5825" y="2519"/>
                  </a:lnTo>
                  <a:lnTo>
                    <a:pt x="5927" y="2512"/>
                  </a:lnTo>
                  <a:lnTo>
                    <a:pt x="6031" y="2509"/>
                  </a:lnTo>
                  <a:lnTo>
                    <a:pt x="6135" y="2512"/>
                  </a:lnTo>
                  <a:lnTo>
                    <a:pt x="6236" y="2519"/>
                  </a:lnTo>
                  <a:lnTo>
                    <a:pt x="6338" y="2532"/>
                  </a:lnTo>
                  <a:lnTo>
                    <a:pt x="6436" y="2550"/>
                  </a:lnTo>
                  <a:lnTo>
                    <a:pt x="6534" y="2572"/>
                  </a:lnTo>
                  <a:lnTo>
                    <a:pt x="6629" y="2599"/>
                  </a:lnTo>
                  <a:lnTo>
                    <a:pt x="6723" y="2631"/>
                  </a:lnTo>
                  <a:lnTo>
                    <a:pt x="6813" y="2667"/>
                  </a:lnTo>
                  <a:lnTo>
                    <a:pt x="6902" y="2707"/>
                  </a:lnTo>
                  <a:lnTo>
                    <a:pt x="6989" y="2751"/>
                  </a:lnTo>
                  <a:lnTo>
                    <a:pt x="7073" y="2800"/>
                  </a:lnTo>
                  <a:lnTo>
                    <a:pt x="7155" y="2852"/>
                  </a:lnTo>
                  <a:lnTo>
                    <a:pt x="7234" y="2908"/>
                  </a:lnTo>
                  <a:lnTo>
                    <a:pt x="7310" y="2968"/>
                  </a:lnTo>
                  <a:lnTo>
                    <a:pt x="7383" y="3031"/>
                  </a:lnTo>
                  <a:lnTo>
                    <a:pt x="7452" y="3097"/>
                  </a:lnTo>
                  <a:lnTo>
                    <a:pt x="7519" y="3166"/>
                  </a:lnTo>
                  <a:lnTo>
                    <a:pt x="7582" y="3240"/>
                  </a:lnTo>
                  <a:lnTo>
                    <a:pt x="7642" y="3315"/>
                  </a:lnTo>
                  <a:lnTo>
                    <a:pt x="7698" y="3394"/>
                  </a:lnTo>
                  <a:lnTo>
                    <a:pt x="7750" y="3476"/>
                  </a:lnTo>
                  <a:lnTo>
                    <a:pt x="7799" y="3560"/>
                  </a:lnTo>
                  <a:lnTo>
                    <a:pt x="7843" y="3646"/>
                  </a:lnTo>
                  <a:lnTo>
                    <a:pt x="7884" y="3735"/>
                  </a:lnTo>
                  <a:lnTo>
                    <a:pt x="7920" y="3826"/>
                  </a:lnTo>
                  <a:lnTo>
                    <a:pt x="7951" y="3919"/>
                  </a:lnTo>
                  <a:lnTo>
                    <a:pt x="7978" y="4015"/>
                  </a:lnTo>
                  <a:lnTo>
                    <a:pt x="8000" y="4112"/>
                  </a:lnTo>
                  <a:lnTo>
                    <a:pt x="8018" y="4210"/>
                  </a:lnTo>
                  <a:lnTo>
                    <a:pt x="8031" y="4312"/>
                  </a:lnTo>
                  <a:lnTo>
                    <a:pt x="8038" y="4413"/>
                  </a:lnTo>
                  <a:lnTo>
                    <a:pt x="8041" y="4516"/>
                  </a:lnTo>
                  <a:close/>
                  <a:moveTo>
                    <a:pt x="2513" y="4516"/>
                  </a:moveTo>
                  <a:lnTo>
                    <a:pt x="2517" y="4336"/>
                  </a:lnTo>
                  <a:lnTo>
                    <a:pt x="2531" y="4157"/>
                  </a:lnTo>
                  <a:lnTo>
                    <a:pt x="2553" y="3981"/>
                  </a:lnTo>
                  <a:lnTo>
                    <a:pt x="2584" y="3809"/>
                  </a:lnTo>
                  <a:lnTo>
                    <a:pt x="2623" y="3638"/>
                  </a:lnTo>
                  <a:lnTo>
                    <a:pt x="2671" y="3472"/>
                  </a:lnTo>
                  <a:lnTo>
                    <a:pt x="2726" y="3309"/>
                  </a:lnTo>
                  <a:lnTo>
                    <a:pt x="2789" y="3149"/>
                  </a:lnTo>
                  <a:lnTo>
                    <a:pt x="2860" y="2994"/>
                  </a:lnTo>
                  <a:lnTo>
                    <a:pt x="2937" y="2842"/>
                  </a:lnTo>
                  <a:lnTo>
                    <a:pt x="3023" y="2695"/>
                  </a:lnTo>
                  <a:lnTo>
                    <a:pt x="3114" y="2552"/>
                  </a:lnTo>
                  <a:lnTo>
                    <a:pt x="3212" y="2415"/>
                  </a:lnTo>
                  <a:lnTo>
                    <a:pt x="3316" y="2282"/>
                  </a:lnTo>
                  <a:lnTo>
                    <a:pt x="3427" y="2155"/>
                  </a:lnTo>
                  <a:lnTo>
                    <a:pt x="3543" y="2032"/>
                  </a:lnTo>
                  <a:lnTo>
                    <a:pt x="3666" y="1916"/>
                  </a:lnTo>
                  <a:lnTo>
                    <a:pt x="3793" y="1806"/>
                  </a:lnTo>
                  <a:lnTo>
                    <a:pt x="3926" y="1701"/>
                  </a:lnTo>
                  <a:lnTo>
                    <a:pt x="4064" y="1604"/>
                  </a:lnTo>
                  <a:lnTo>
                    <a:pt x="4207" y="1512"/>
                  </a:lnTo>
                  <a:lnTo>
                    <a:pt x="4354" y="1427"/>
                  </a:lnTo>
                  <a:lnTo>
                    <a:pt x="4505" y="1350"/>
                  </a:lnTo>
                  <a:lnTo>
                    <a:pt x="4662" y="1280"/>
                  </a:lnTo>
                  <a:lnTo>
                    <a:pt x="4821" y="1216"/>
                  </a:lnTo>
                  <a:lnTo>
                    <a:pt x="4985" y="1161"/>
                  </a:lnTo>
                  <a:lnTo>
                    <a:pt x="5151" y="1114"/>
                  </a:lnTo>
                  <a:lnTo>
                    <a:pt x="5322" y="1075"/>
                  </a:lnTo>
                  <a:lnTo>
                    <a:pt x="5495" y="1044"/>
                  </a:lnTo>
                  <a:lnTo>
                    <a:pt x="5671" y="1022"/>
                  </a:lnTo>
                  <a:lnTo>
                    <a:pt x="5850" y="1009"/>
                  </a:lnTo>
                  <a:lnTo>
                    <a:pt x="6031" y="1004"/>
                  </a:lnTo>
                  <a:lnTo>
                    <a:pt x="6212" y="1009"/>
                  </a:lnTo>
                  <a:lnTo>
                    <a:pt x="6391" y="1022"/>
                  </a:lnTo>
                  <a:lnTo>
                    <a:pt x="6567" y="1044"/>
                  </a:lnTo>
                  <a:lnTo>
                    <a:pt x="6740" y="1075"/>
                  </a:lnTo>
                  <a:lnTo>
                    <a:pt x="6911" y="1114"/>
                  </a:lnTo>
                  <a:lnTo>
                    <a:pt x="7077" y="1161"/>
                  </a:lnTo>
                  <a:lnTo>
                    <a:pt x="7240" y="1216"/>
                  </a:lnTo>
                  <a:lnTo>
                    <a:pt x="7400" y="1280"/>
                  </a:lnTo>
                  <a:lnTo>
                    <a:pt x="7556" y="1350"/>
                  </a:lnTo>
                  <a:lnTo>
                    <a:pt x="7708" y="1427"/>
                  </a:lnTo>
                  <a:lnTo>
                    <a:pt x="7855" y="1512"/>
                  </a:lnTo>
                  <a:lnTo>
                    <a:pt x="7998" y="1604"/>
                  </a:lnTo>
                  <a:lnTo>
                    <a:pt x="8136" y="1701"/>
                  </a:lnTo>
                  <a:lnTo>
                    <a:pt x="8269" y="1806"/>
                  </a:lnTo>
                  <a:lnTo>
                    <a:pt x="8396" y="1916"/>
                  </a:lnTo>
                  <a:lnTo>
                    <a:pt x="8519" y="2032"/>
                  </a:lnTo>
                  <a:lnTo>
                    <a:pt x="8635" y="2155"/>
                  </a:lnTo>
                  <a:lnTo>
                    <a:pt x="8746" y="2282"/>
                  </a:lnTo>
                  <a:lnTo>
                    <a:pt x="8850" y="2415"/>
                  </a:lnTo>
                  <a:lnTo>
                    <a:pt x="8948" y="2552"/>
                  </a:lnTo>
                  <a:lnTo>
                    <a:pt x="9039" y="2695"/>
                  </a:lnTo>
                  <a:lnTo>
                    <a:pt x="9125" y="2842"/>
                  </a:lnTo>
                  <a:lnTo>
                    <a:pt x="9202" y="2994"/>
                  </a:lnTo>
                  <a:lnTo>
                    <a:pt x="9273" y="3149"/>
                  </a:lnTo>
                  <a:lnTo>
                    <a:pt x="9336" y="3309"/>
                  </a:lnTo>
                  <a:lnTo>
                    <a:pt x="9391" y="3472"/>
                  </a:lnTo>
                  <a:lnTo>
                    <a:pt x="9439" y="3638"/>
                  </a:lnTo>
                  <a:lnTo>
                    <a:pt x="9478" y="3809"/>
                  </a:lnTo>
                  <a:lnTo>
                    <a:pt x="9509" y="3981"/>
                  </a:lnTo>
                  <a:lnTo>
                    <a:pt x="9531" y="4157"/>
                  </a:lnTo>
                  <a:lnTo>
                    <a:pt x="9544" y="4336"/>
                  </a:lnTo>
                  <a:lnTo>
                    <a:pt x="9549" y="4516"/>
                  </a:lnTo>
                  <a:lnTo>
                    <a:pt x="9549" y="6524"/>
                  </a:lnTo>
                  <a:lnTo>
                    <a:pt x="8544" y="6524"/>
                  </a:lnTo>
                  <a:lnTo>
                    <a:pt x="8544" y="4518"/>
                  </a:lnTo>
                  <a:lnTo>
                    <a:pt x="8541" y="4389"/>
                  </a:lnTo>
                  <a:lnTo>
                    <a:pt x="8531" y="4261"/>
                  </a:lnTo>
                  <a:lnTo>
                    <a:pt x="8515" y="4136"/>
                  </a:lnTo>
                  <a:lnTo>
                    <a:pt x="8493" y="4012"/>
                  </a:lnTo>
                  <a:lnTo>
                    <a:pt x="8465" y="3891"/>
                  </a:lnTo>
                  <a:lnTo>
                    <a:pt x="8431" y="3772"/>
                  </a:lnTo>
                  <a:lnTo>
                    <a:pt x="8391" y="3655"/>
                  </a:lnTo>
                  <a:lnTo>
                    <a:pt x="8347" y="3541"/>
                  </a:lnTo>
                  <a:lnTo>
                    <a:pt x="8297" y="3430"/>
                  </a:lnTo>
                  <a:lnTo>
                    <a:pt x="8240" y="3322"/>
                  </a:lnTo>
                  <a:lnTo>
                    <a:pt x="8180" y="3217"/>
                  </a:lnTo>
                  <a:lnTo>
                    <a:pt x="8115" y="3115"/>
                  </a:lnTo>
                  <a:lnTo>
                    <a:pt x="8044" y="3017"/>
                  </a:lnTo>
                  <a:lnTo>
                    <a:pt x="7970" y="2922"/>
                  </a:lnTo>
                  <a:lnTo>
                    <a:pt x="7892" y="2830"/>
                  </a:lnTo>
                  <a:lnTo>
                    <a:pt x="7808" y="2744"/>
                  </a:lnTo>
                  <a:lnTo>
                    <a:pt x="7721" y="2661"/>
                  </a:lnTo>
                  <a:lnTo>
                    <a:pt x="7629" y="2581"/>
                  </a:lnTo>
                  <a:lnTo>
                    <a:pt x="7535" y="2507"/>
                  </a:lnTo>
                  <a:lnTo>
                    <a:pt x="7436" y="2437"/>
                  </a:lnTo>
                  <a:lnTo>
                    <a:pt x="7334" y="2372"/>
                  </a:lnTo>
                  <a:lnTo>
                    <a:pt x="7229" y="2311"/>
                  </a:lnTo>
                  <a:lnTo>
                    <a:pt x="7121" y="2256"/>
                  </a:lnTo>
                  <a:lnTo>
                    <a:pt x="7009" y="2206"/>
                  </a:lnTo>
                  <a:lnTo>
                    <a:pt x="6895" y="2161"/>
                  </a:lnTo>
                  <a:lnTo>
                    <a:pt x="6779" y="2122"/>
                  </a:lnTo>
                  <a:lnTo>
                    <a:pt x="6659" y="2088"/>
                  </a:lnTo>
                  <a:lnTo>
                    <a:pt x="6538" y="2059"/>
                  </a:lnTo>
                  <a:lnTo>
                    <a:pt x="6414" y="2037"/>
                  </a:lnTo>
                  <a:lnTo>
                    <a:pt x="6288" y="2021"/>
                  </a:lnTo>
                  <a:lnTo>
                    <a:pt x="6161" y="2012"/>
                  </a:lnTo>
                  <a:lnTo>
                    <a:pt x="6031" y="2009"/>
                  </a:lnTo>
                  <a:lnTo>
                    <a:pt x="5901" y="2012"/>
                  </a:lnTo>
                  <a:lnTo>
                    <a:pt x="5774" y="2021"/>
                  </a:lnTo>
                  <a:lnTo>
                    <a:pt x="5648" y="2037"/>
                  </a:lnTo>
                  <a:lnTo>
                    <a:pt x="5524" y="2059"/>
                  </a:lnTo>
                  <a:lnTo>
                    <a:pt x="5403" y="2088"/>
                  </a:lnTo>
                  <a:lnTo>
                    <a:pt x="5283" y="2122"/>
                  </a:lnTo>
                  <a:lnTo>
                    <a:pt x="5167" y="2161"/>
                  </a:lnTo>
                  <a:lnTo>
                    <a:pt x="5053" y="2206"/>
                  </a:lnTo>
                  <a:lnTo>
                    <a:pt x="4941" y="2256"/>
                  </a:lnTo>
                  <a:lnTo>
                    <a:pt x="4833" y="2311"/>
                  </a:lnTo>
                  <a:lnTo>
                    <a:pt x="4727" y="2372"/>
                  </a:lnTo>
                  <a:lnTo>
                    <a:pt x="4626" y="2437"/>
                  </a:lnTo>
                  <a:lnTo>
                    <a:pt x="4527" y="2507"/>
                  </a:lnTo>
                  <a:lnTo>
                    <a:pt x="4433" y="2581"/>
                  </a:lnTo>
                  <a:lnTo>
                    <a:pt x="4341" y="2661"/>
                  </a:lnTo>
                  <a:lnTo>
                    <a:pt x="4254" y="2744"/>
                  </a:lnTo>
                  <a:lnTo>
                    <a:pt x="4170" y="2830"/>
                  </a:lnTo>
                  <a:lnTo>
                    <a:pt x="4092" y="2922"/>
                  </a:lnTo>
                  <a:lnTo>
                    <a:pt x="4017" y="3017"/>
                  </a:lnTo>
                  <a:lnTo>
                    <a:pt x="3947" y="3115"/>
                  </a:lnTo>
                  <a:lnTo>
                    <a:pt x="3882" y="3217"/>
                  </a:lnTo>
                  <a:lnTo>
                    <a:pt x="3822" y="3322"/>
                  </a:lnTo>
                  <a:lnTo>
                    <a:pt x="3765" y="3430"/>
                  </a:lnTo>
                  <a:lnTo>
                    <a:pt x="3715" y="3541"/>
                  </a:lnTo>
                  <a:lnTo>
                    <a:pt x="3671" y="3655"/>
                  </a:lnTo>
                  <a:lnTo>
                    <a:pt x="3631" y="3772"/>
                  </a:lnTo>
                  <a:lnTo>
                    <a:pt x="3597" y="3891"/>
                  </a:lnTo>
                  <a:lnTo>
                    <a:pt x="3569" y="4012"/>
                  </a:lnTo>
                  <a:lnTo>
                    <a:pt x="3547" y="4136"/>
                  </a:lnTo>
                  <a:lnTo>
                    <a:pt x="3531" y="4261"/>
                  </a:lnTo>
                  <a:lnTo>
                    <a:pt x="3521" y="4389"/>
                  </a:lnTo>
                  <a:lnTo>
                    <a:pt x="3518" y="4518"/>
                  </a:lnTo>
                  <a:lnTo>
                    <a:pt x="3518" y="6524"/>
                  </a:lnTo>
                  <a:lnTo>
                    <a:pt x="2513" y="6524"/>
                  </a:lnTo>
                  <a:lnTo>
                    <a:pt x="2513" y="4516"/>
                  </a:lnTo>
                  <a:close/>
                  <a:moveTo>
                    <a:pt x="10554" y="6524"/>
                  </a:moveTo>
                  <a:lnTo>
                    <a:pt x="10554" y="4516"/>
                  </a:lnTo>
                  <a:lnTo>
                    <a:pt x="10548" y="4283"/>
                  </a:lnTo>
                  <a:lnTo>
                    <a:pt x="10531" y="4055"/>
                  </a:lnTo>
                  <a:lnTo>
                    <a:pt x="10502" y="3829"/>
                  </a:lnTo>
                  <a:lnTo>
                    <a:pt x="10463" y="3606"/>
                  </a:lnTo>
                  <a:lnTo>
                    <a:pt x="10412" y="3387"/>
                  </a:lnTo>
                  <a:lnTo>
                    <a:pt x="10351" y="3173"/>
                  </a:lnTo>
                  <a:lnTo>
                    <a:pt x="10280" y="2964"/>
                  </a:lnTo>
                  <a:lnTo>
                    <a:pt x="10198" y="2758"/>
                  </a:lnTo>
                  <a:lnTo>
                    <a:pt x="10108" y="2558"/>
                  </a:lnTo>
                  <a:lnTo>
                    <a:pt x="10008" y="2364"/>
                  </a:lnTo>
                  <a:lnTo>
                    <a:pt x="9900" y="2175"/>
                  </a:lnTo>
                  <a:lnTo>
                    <a:pt x="9782" y="1991"/>
                  </a:lnTo>
                  <a:lnTo>
                    <a:pt x="9656" y="1815"/>
                  </a:lnTo>
                  <a:lnTo>
                    <a:pt x="9521" y="1643"/>
                  </a:lnTo>
                  <a:lnTo>
                    <a:pt x="9379" y="1479"/>
                  </a:lnTo>
                  <a:lnTo>
                    <a:pt x="9229" y="1323"/>
                  </a:lnTo>
                  <a:lnTo>
                    <a:pt x="9073" y="1173"/>
                  </a:lnTo>
                  <a:lnTo>
                    <a:pt x="8908" y="1032"/>
                  </a:lnTo>
                  <a:lnTo>
                    <a:pt x="8737" y="897"/>
                  </a:lnTo>
                  <a:lnTo>
                    <a:pt x="8560" y="771"/>
                  </a:lnTo>
                  <a:lnTo>
                    <a:pt x="8376" y="653"/>
                  </a:lnTo>
                  <a:lnTo>
                    <a:pt x="8187" y="545"/>
                  </a:lnTo>
                  <a:lnTo>
                    <a:pt x="7992" y="446"/>
                  </a:lnTo>
                  <a:lnTo>
                    <a:pt x="7792" y="355"/>
                  </a:lnTo>
                  <a:lnTo>
                    <a:pt x="7586" y="274"/>
                  </a:lnTo>
                  <a:lnTo>
                    <a:pt x="7376" y="203"/>
                  </a:lnTo>
                  <a:lnTo>
                    <a:pt x="7162" y="143"/>
                  </a:lnTo>
                  <a:lnTo>
                    <a:pt x="6943" y="91"/>
                  </a:lnTo>
                  <a:lnTo>
                    <a:pt x="6720" y="52"/>
                  </a:lnTo>
                  <a:lnTo>
                    <a:pt x="6493" y="23"/>
                  </a:lnTo>
                  <a:lnTo>
                    <a:pt x="6264" y="6"/>
                  </a:lnTo>
                  <a:lnTo>
                    <a:pt x="6031" y="0"/>
                  </a:lnTo>
                  <a:lnTo>
                    <a:pt x="5798" y="6"/>
                  </a:lnTo>
                  <a:lnTo>
                    <a:pt x="5569" y="23"/>
                  </a:lnTo>
                  <a:lnTo>
                    <a:pt x="5342" y="52"/>
                  </a:lnTo>
                  <a:lnTo>
                    <a:pt x="5119" y="91"/>
                  </a:lnTo>
                  <a:lnTo>
                    <a:pt x="4900" y="143"/>
                  </a:lnTo>
                  <a:lnTo>
                    <a:pt x="4686" y="203"/>
                  </a:lnTo>
                  <a:lnTo>
                    <a:pt x="4476" y="274"/>
                  </a:lnTo>
                  <a:lnTo>
                    <a:pt x="4270" y="355"/>
                  </a:lnTo>
                  <a:lnTo>
                    <a:pt x="4070" y="446"/>
                  </a:lnTo>
                  <a:lnTo>
                    <a:pt x="3875" y="545"/>
                  </a:lnTo>
                  <a:lnTo>
                    <a:pt x="3685" y="653"/>
                  </a:lnTo>
                  <a:lnTo>
                    <a:pt x="3502" y="771"/>
                  </a:lnTo>
                  <a:lnTo>
                    <a:pt x="3324" y="897"/>
                  </a:lnTo>
                  <a:lnTo>
                    <a:pt x="3153" y="1032"/>
                  </a:lnTo>
                  <a:lnTo>
                    <a:pt x="2989" y="1173"/>
                  </a:lnTo>
                  <a:lnTo>
                    <a:pt x="2833" y="1323"/>
                  </a:lnTo>
                  <a:lnTo>
                    <a:pt x="2683" y="1479"/>
                  </a:lnTo>
                  <a:lnTo>
                    <a:pt x="2540" y="1643"/>
                  </a:lnTo>
                  <a:lnTo>
                    <a:pt x="2406" y="1815"/>
                  </a:lnTo>
                  <a:lnTo>
                    <a:pt x="2280" y="1991"/>
                  </a:lnTo>
                  <a:lnTo>
                    <a:pt x="2162" y="2175"/>
                  </a:lnTo>
                  <a:lnTo>
                    <a:pt x="2054" y="2364"/>
                  </a:lnTo>
                  <a:lnTo>
                    <a:pt x="1954" y="2558"/>
                  </a:lnTo>
                  <a:lnTo>
                    <a:pt x="1864" y="2758"/>
                  </a:lnTo>
                  <a:lnTo>
                    <a:pt x="1782" y="2964"/>
                  </a:lnTo>
                  <a:lnTo>
                    <a:pt x="1711" y="3173"/>
                  </a:lnTo>
                  <a:lnTo>
                    <a:pt x="1650" y="3387"/>
                  </a:lnTo>
                  <a:lnTo>
                    <a:pt x="1599" y="3606"/>
                  </a:lnTo>
                  <a:lnTo>
                    <a:pt x="1560" y="3829"/>
                  </a:lnTo>
                  <a:lnTo>
                    <a:pt x="1531" y="4055"/>
                  </a:lnTo>
                  <a:lnTo>
                    <a:pt x="1514" y="4283"/>
                  </a:lnTo>
                  <a:lnTo>
                    <a:pt x="1508" y="4516"/>
                  </a:lnTo>
                  <a:lnTo>
                    <a:pt x="1508" y="6524"/>
                  </a:lnTo>
                  <a:lnTo>
                    <a:pt x="1430" y="6526"/>
                  </a:lnTo>
                  <a:lnTo>
                    <a:pt x="1354" y="6532"/>
                  </a:lnTo>
                  <a:lnTo>
                    <a:pt x="1278" y="6541"/>
                  </a:lnTo>
                  <a:lnTo>
                    <a:pt x="1204" y="6555"/>
                  </a:lnTo>
                  <a:lnTo>
                    <a:pt x="1131" y="6571"/>
                  </a:lnTo>
                  <a:lnTo>
                    <a:pt x="1059" y="6592"/>
                  </a:lnTo>
                  <a:lnTo>
                    <a:pt x="989" y="6615"/>
                  </a:lnTo>
                  <a:lnTo>
                    <a:pt x="921" y="6642"/>
                  </a:lnTo>
                  <a:lnTo>
                    <a:pt x="854" y="6672"/>
                  </a:lnTo>
                  <a:lnTo>
                    <a:pt x="789" y="6705"/>
                  </a:lnTo>
                  <a:lnTo>
                    <a:pt x="726" y="6741"/>
                  </a:lnTo>
                  <a:lnTo>
                    <a:pt x="664" y="6780"/>
                  </a:lnTo>
                  <a:lnTo>
                    <a:pt x="605" y="6823"/>
                  </a:lnTo>
                  <a:lnTo>
                    <a:pt x="549" y="6868"/>
                  </a:lnTo>
                  <a:lnTo>
                    <a:pt x="494" y="6915"/>
                  </a:lnTo>
                  <a:lnTo>
                    <a:pt x="441" y="6964"/>
                  </a:lnTo>
                  <a:lnTo>
                    <a:pt x="392" y="7016"/>
                  </a:lnTo>
                  <a:lnTo>
                    <a:pt x="344" y="7072"/>
                  </a:lnTo>
                  <a:lnTo>
                    <a:pt x="300" y="7129"/>
                  </a:lnTo>
                  <a:lnTo>
                    <a:pt x="257" y="7187"/>
                  </a:lnTo>
                  <a:lnTo>
                    <a:pt x="218" y="7248"/>
                  </a:lnTo>
                  <a:lnTo>
                    <a:pt x="182" y="7311"/>
                  </a:lnTo>
                  <a:lnTo>
                    <a:pt x="149" y="7377"/>
                  </a:lnTo>
                  <a:lnTo>
                    <a:pt x="119" y="7443"/>
                  </a:lnTo>
                  <a:lnTo>
                    <a:pt x="91" y="7511"/>
                  </a:lnTo>
                  <a:lnTo>
                    <a:pt x="67" y="7581"/>
                  </a:lnTo>
                  <a:lnTo>
                    <a:pt x="47" y="7653"/>
                  </a:lnTo>
                  <a:lnTo>
                    <a:pt x="30" y="7726"/>
                  </a:lnTo>
                  <a:lnTo>
                    <a:pt x="17" y="7800"/>
                  </a:lnTo>
                  <a:lnTo>
                    <a:pt x="8" y="7875"/>
                  </a:lnTo>
                  <a:lnTo>
                    <a:pt x="2" y="7952"/>
                  </a:lnTo>
                  <a:lnTo>
                    <a:pt x="0" y="8029"/>
                  </a:lnTo>
                  <a:lnTo>
                    <a:pt x="0" y="9534"/>
                  </a:lnTo>
                  <a:lnTo>
                    <a:pt x="0" y="10036"/>
                  </a:lnTo>
                  <a:lnTo>
                    <a:pt x="0" y="11040"/>
                  </a:lnTo>
                  <a:lnTo>
                    <a:pt x="0" y="11542"/>
                  </a:lnTo>
                  <a:lnTo>
                    <a:pt x="6" y="11775"/>
                  </a:lnTo>
                  <a:lnTo>
                    <a:pt x="23" y="12003"/>
                  </a:lnTo>
                  <a:lnTo>
                    <a:pt x="52" y="12229"/>
                  </a:lnTo>
                  <a:lnTo>
                    <a:pt x="91" y="12452"/>
                  </a:lnTo>
                  <a:lnTo>
                    <a:pt x="143" y="12671"/>
                  </a:lnTo>
                  <a:lnTo>
                    <a:pt x="203" y="12885"/>
                  </a:lnTo>
                  <a:lnTo>
                    <a:pt x="274" y="13094"/>
                  </a:lnTo>
                  <a:lnTo>
                    <a:pt x="356" y="13300"/>
                  </a:lnTo>
                  <a:lnTo>
                    <a:pt x="446" y="13500"/>
                  </a:lnTo>
                  <a:lnTo>
                    <a:pt x="546" y="13694"/>
                  </a:lnTo>
                  <a:lnTo>
                    <a:pt x="654" y="13884"/>
                  </a:lnTo>
                  <a:lnTo>
                    <a:pt x="772" y="14067"/>
                  </a:lnTo>
                  <a:lnTo>
                    <a:pt x="899" y="14243"/>
                  </a:lnTo>
                  <a:lnTo>
                    <a:pt x="1032" y="14415"/>
                  </a:lnTo>
                  <a:lnTo>
                    <a:pt x="1175" y="14579"/>
                  </a:lnTo>
                  <a:lnTo>
                    <a:pt x="1325" y="14735"/>
                  </a:lnTo>
                  <a:lnTo>
                    <a:pt x="1482" y="14885"/>
                  </a:lnTo>
                  <a:lnTo>
                    <a:pt x="1646" y="15027"/>
                  </a:lnTo>
                  <a:lnTo>
                    <a:pt x="1817" y="15161"/>
                  </a:lnTo>
                  <a:lnTo>
                    <a:pt x="1994" y="15287"/>
                  </a:lnTo>
                  <a:lnTo>
                    <a:pt x="2177" y="15405"/>
                  </a:lnTo>
                  <a:lnTo>
                    <a:pt x="2367" y="15513"/>
                  </a:lnTo>
                  <a:lnTo>
                    <a:pt x="2562" y="15612"/>
                  </a:lnTo>
                  <a:lnTo>
                    <a:pt x="2762" y="15703"/>
                  </a:lnTo>
                  <a:lnTo>
                    <a:pt x="2968" y="15784"/>
                  </a:lnTo>
                  <a:lnTo>
                    <a:pt x="3178" y="15855"/>
                  </a:lnTo>
                  <a:lnTo>
                    <a:pt x="3392" y="15915"/>
                  </a:lnTo>
                  <a:lnTo>
                    <a:pt x="3612" y="15967"/>
                  </a:lnTo>
                  <a:lnTo>
                    <a:pt x="3835" y="16006"/>
                  </a:lnTo>
                  <a:lnTo>
                    <a:pt x="4061" y="16035"/>
                  </a:lnTo>
                  <a:lnTo>
                    <a:pt x="4290" y="16052"/>
                  </a:lnTo>
                  <a:lnTo>
                    <a:pt x="4523" y="16058"/>
                  </a:lnTo>
                  <a:lnTo>
                    <a:pt x="7539" y="16058"/>
                  </a:lnTo>
                  <a:lnTo>
                    <a:pt x="7771" y="16052"/>
                  </a:lnTo>
                  <a:lnTo>
                    <a:pt x="8001" y="16035"/>
                  </a:lnTo>
                  <a:lnTo>
                    <a:pt x="8227" y="16006"/>
                  </a:lnTo>
                  <a:lnTo>
                    <a:pt x="8450" y="15967"/>
                  </a:lnTo>
                  <a:lnTo>
                    <a:pt x="8670" y="15915"/>
                  </a:lnTo>
                  <a:lnTo>
                    <a:pt x="8884" y="15855"/>
                  </a:lnTo>
                  <a:lnTo>
                    <a:pt x="9094" y="15784"/>
                  </a:lnTo>
                  <a:lnTo>
                    <a:pt x="9300" y="15703"/>
                  </a:lnTo>
                  <a:lnTo>
                    <a:pt x="9500" y="15612"/>
                  </a:lnTo>
                  <a:lnTo>
                    <a:pt x="9695" y="15513"/>
                  </a:lnTo>
                  <a:lnTo>
                    <a:pt x="9884" y="15405"/>
                  </a:lnTo>
                  <a:lnTo>
                    <a:pt x="10068" y="15287"/>
                  </a:lnTo>
                  <a:lnTo>
                    <a:pt x="10245" y="15161"/>
                  </a:lnTo>
                  <a:lnTo>
                    <a:pt x="10416" y="15027"/>
                  </a:lnTo>
                  <a:lnTo>
                    <a:pt x="10580" y="14885"/>
                  </a:lnTo>
                  <a:lnTo>
                    <a:pt x="10737" y="14735"/>
                  </a:lnTo>
                  <a:lnTo>
                    <a:pt x="10887" y="14579"/>
                  </a:lnTo>
                  <a:lnTo>
                    <a:pt x="11029" y="14415"/>
                  </a:lnTo>
                  <a:lnTo>
                    <a:pt x="11163" y="14243"/>
                  </a:lnTo>
                  <a:lnTo>
                    <a:pt x="11290" y="14067"/>
                  </a:lnTo>
                  <a:lnTo>
                    <a:pt x="11408" y="13884"/>
                  </a:lnTo>
                  <a:lnTo>
                    <a:pt x="11516" y="13694"/>
                  </a:lnTo>
                  <a:lnTo>
                    <a:pt x="11616" y="13500"/>
                  </a:lnTo>
                  <a:lnTo>
                    <a:pt x="11706" y="13300"/>
                  </a:lnTo>
                  <a:lnTo>
                    <a:pt x="11788" y="13094"/>
                  </a:lnTo>
                  <a:lnTo>
                    <a:pt x="11859" y="12885"/>
                  </a:lnTo>
                  <a:lnTo>
                    <a:pt x="11919" y="12671"/>
                  </a:lnTo>
                  <a:lnTo>
                    <a:pt x="11971" y="12452"/>
                  </a:lnTo>
                  <a:lnTo>
                    <a:pt x="12010" y="12229"/>
                  </a:lnTo>
                  <a:lnTo>
                    <a:pt x="12039" y="12003"/>
                  </a:lnTo>
                  <a:lnTo>
                    <a:pt x="12056" y="11775"/>
                  </a:lnTo>
                  <a:lnTo>
                    <a:pt x="12062" y="11542"/>
                  </a:lnTo>
                  <a:lnTo>
                    <a:pt x="12062" y="11040"/>
                  </a:lnTo>
                  <a:lnTo>
                    <a:pt x="12062" y="10036"/>
                  </a:lnTo>
                  <a:lnTo>
                    <a:pt x="12062" y="9534"/>
                  </a:lnTo>
                  <a:lnTo>
                    <a:pt x="12062" y="8029"/>
                  </a:lnTo>
                  <a:lnTo>
                    <a:pt x="12060" y="7952"/>
                  </a:lnTo>
                  <a:lnTo>
                    <a:pt x="12054" y="7875"/>
                  </a:lnTo>
                  <a:lnTo>
                    <a:pt x="12045" y="7800"/>
                  </a:lnTo>
                  <a:lnTo>
                    <a:pt x="12032" y="7726"/>
                  </a:lnTo>
                  <a:lnTo>
                    <a:pt x="12015" y="7653"/>
                  </a:lnTo>
                  <a:lnTo>
                    <a:pt x="11995" y="7581"/>
                  </a:lnTo>
                  <a:lnTo>
                    <a:pt x="11971" y="7511"/>
                  </a:lnTo>
                  <a:lnTo>
                    <a:pt x="11943" y="7443"/>
                  </a:lnTo>
                  <a:lnTo>
                    <a:pt x="11913" y="7377"/>
                  </a:lnTo>
                  <a:lnTo>
                    <a:pt x="11880" y="7311"/>
                  </a:lnTo>
                  <a:lnTo>
                    <a:pt x="11844" y="7248"/>
                  </a:lnTo>
                  <a:lnTo>
                    <a:pt x="11805" y="7187"/>
                  </a:lnTo>
                  <a:lnTo>
                    <a:pt x="11762" y="7129"/>
                  </a:lnTo>
                  <a:lnTo>
                    <a:pt x="11717" y="7072"/>
                  </a:lnTo>
                  <a:lnTo>
                    <a:pt x="11670" y="7016"/>
                  </a:lnTo>
                  <a:lnTo>
                    <a:pt x="11621" y="6964"/>
                  </a:lnTo>
                  <a:lnTo>
                    <a:pt x="11568" y="6915"/>
                  </a:lnTo>
                  <a:lnTo>
                    <a:pt x="11513" y="6868"/>
                  </a:lnTo>
                  <a:lnTo>
                    <a:pt x="11456" y="6823"/>
                  </a:lnTo>
                  <a:lnTo>
                    <a:pt x="11398" y="6780"/>
                  </a:lnTo>
                  <a:lnTo>
                    <a:pt x="11336" y="6741"/>
                  </a:lnTo>
                  <a:lnTo>
                    <a:pt x="11273" y="6705"/>
                  </a:lnTo>
                  <a:lnTo>
                    <a:pt x="11208" y="6672"/>
                  </a:lnTo>
                  <a:lnTo>
                    <a:pt x="11141" y="6642"/>
                  </a:lnTo>
                  <a:lnTo>
                    <a:pt x="11073" y="6615"/>
                  </a:lnTo>
                  <a:lnTo>
                    <a:pt x="11003" y="6592"/>
                  </a:lnTo>
                  <a:lnTo>
                    <a:pt x="10931" y="6571"/>
                  </a:lnTo>
                  <a:lnTo>
                    <a:pt x="10858" y="6555"/>
                  </a:lnTo>
                  <a:lnTo>
                    <a:pt x="10783" y="6541"/>
                  </a:lnTo>
                  <a:lnTo>
                    <a:pt x="10708" y="6532"/>
                  </a:lnTo>
                  <a:lnTo>
                    <a:pt x="10632" y="6526"/>
                  </a:lnTo>
                  <a:lnTo>
                    <a:pt x="10554" y="65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39" name="ïşľíḋê">
              <a:extLst>
                <a:ext uri="{FF2B5EF4-FFF2-40B4-BE49-F238E27FC236}">
                  <a16:creationId xmlns:a16="http://schemas.microsoft.com/office/drawing/2014/main" id="{BDEE2489-F6D0-48A2-8B48-6142AB5E9721}"/>
                </a:ext>
              </a:extLst>
            </p:cNvPr>
            <p:cNvSpPr/>
            <p:nvPr/>
          </p:nvSpPr>
          <p:spPr bwMode="auto">
            <a:xfrm>
              <a:off x="9676468" y="1491634"/>
              <a:ext cx="76139" cy="114208"/>
            </a:xfrm>
            <a:custGeom>
              <a:avLst/>
              <a:gdLst>
                <a:gd name="T0" fmla="*/ 902 w 2010"/>
                <a:gd name="T1" fmla="*/ 5 h 3011"/>
                <a:gd name="T2" fmla="*/ 754 w 2010"/>
                <a:gd name="T3" fmla="*/ 33 h 3011"/>
                <a:gd name="T4" fmla="*/ 614 w 2010"/>
                <a:gd name="T5" fmla="*/ 80 h 3011"/>
                <a:gd name="T6" fmla="*/ 484 w 2010"/>
                <a:gd name="T7" fmla="*/ 146 h 3011"/>
                <a:gd name="T8" fmla="*/ 366 w 2010"/>
                <a:gd name="T9" fmla="*/ 229 h 3011"/>
                <a:gd name="T10" fmla="*/ 261 w 2010"/>
                <a:gd name="T11" fmla="*/ 330 h 3011"/>
                <a:gd name="T12" fmla="*/ 172 w 2010"/>
                <a:gd name="T13" fmla="*/ 443 h 3011"/>
                <a:gd name="T14" fmla="*/ 99 w 2010"/>
                <a:gd name="T15" fmla="*/ 569 h 3011"/>
                <a:gd name="T16" fmla="*/ 45 w 2010"/>
                <a:gd name="T17" fmla="*/ 706 h 3011"/>
                <a:gd name="T18" fmla="*/ 11 w 2010"/>
                <a:gd name="T19" fmla="*/ 852 h 3011"/>
                <a:gd name="T20" fmla="*/ 0 w 2010"/>
                <a:gd name="T21" fmla="*/ 1004 h 3011"/>
                <a:gd name="T22" fmla="*/ 4 w 2010"/>
                <a:gd name="T23" fmla="*/ 1096 h 3011"/>
                <a:gd name="T24" fmla="*/ 16 w 2010"/>
                <a:gd name="T25" fmla="*/ 1202 h 3011"/>
                <a:gd name="T26" fmla="*/ 44 w 2010"/>
                <a:gd name="T27" fmla="*/ 1358 h 3011"/>
                <a:gd name="T28" fmla="*/ 104 w 2010"/>
                <a:gd name="T29" fmla="*/ 1617 h 3011"/>
                <a:gd name="T30" fmla="*/ 183 w 2010"/>
                <a:gd name="T31" fmla="*/ 1892 h 3011"/>
                <a:gd name="T32" fmla="*/ 272 w 2010"/>
                <a:gd name="T33" fmla="*/ 2168 h 3011"/>
                <a:gd name="T34" fmla="*/ 361 w 2010"/>
                <a:gd name="T35" fmla="*/ 2414 h 3011"/>
                <a:gd name="T36" fmla="*/ 417 w 2010"/>
                <a:gd name="T37" fmla="*/ 2545 h 3011"/>
                <a:gd name="T38" fmla="*/ 462 w 2010"/>
                <a:gd name="T39" fmla="*/ 2636 h 3011"/>
                <a:gd name="T40" fmla="*/ 511 w 2010"/>
                <a:gd name="T41" fmla="*/ 2719 h 3011"/>
                <a:gd name="T42" fmla="*/ 567 w 2010"/>
                <a:gd name="T43" fmla="*/ 2795 h 3011"/>
                <a:gd name="T44" fmla="*/ 626 w 2010"/>
                <a:gd name="T45" fmla="*/ 2860 h 3011"/>
                <a:gd name="T46" fmla="*/ 693 w 2010"/>
                <a:gd name="T47" fmla="*/ 2916 h 3011"/>
                <a:gd name="T48" fmla="*/ 767 w 2010"/>
                <a:gd name="T49" fmla="*/ 2959 h 3011"/>
                <a:gd name="T50" fmla="*/ 849 w 2010"/>
                <a:gd name="T51" fmla="*/ 2990 h 3011"/>
                <a:gd name="T52" fmla="*/ 940 w 2010"/>
                <a:gd name="T53" fmla="*/ 3007 h 3011"/>
                <a:gd name="T54" fmla="*/ 1041 w 2010"/>
                <a:gd name="T55" fmla="*/ 3010 h 3011"/>
                <a:gd name="T56" fmla="*/ 1141 w 2010"/>
                <a:gd name="T57" fmla="*/ 2997 h 3011"/>
                <a:gd name="T58" fmla="*/ 1229 w 2010"/>
                <a:gd name="T59" fmla="*/ 2971 h 3011"/>
                <a:gd name="T60" fmla="*/ 1307 w 2010"/>
                <a:gd name="T61" fmla="*/ 2932 h 3011"/>
                <a:gd name="T62" fmla="*/ 1375 w 2010"/>
                <a:gd name="T63" fmla="*/ 2881 h 3011"/>
                <a:gd name="T64" fmla="*/ 1436 w 2010"/>
                <a:gd name="T65" fmla="*/ 2820 h 3011"/>
                <a:gd name="T66" fmla="*/ 1489 w 2010"/>
                <a:gd name="T67" fmla="*/ 2747 h 3011"/>
                <a:gd name="T68" fmla="*/ 1538 w 2010"/>
                <a:gd name="T69" fmla="*/ 2667 h 3011"/>
                <a:gd name="T70" fmla="*/ 1582 w 2010"/>
                <a:gd name="T71" fmla="*/ 2580 h 3011"/>
                <a:gd name="T72" fmla="*/ 1623 w 2010"/>
                <a:gd name="T73" fmla="*/ 2484 h 3011"/>
                <a:gd name="T74" fmla="*/ 1708 w 2010"/>
                <a:gd name="T75" fmla="*/ 2263 h 3011"/>
                <a:gd name="T76" fmla="*/ 1799 w 2010"/>
                <a:gd name="T77" fmla="*/ 1990 h 3011"/>
                <a:gd name="T78" fmla="*/ 1883 w 2010"/>
                <a:gd name="T79" fmla="*/ 1711 h 3011"/>
                <a:gd name="T80" fmla="*/ 1949 w 2010"/>
                <a:gd name="T81" fmla="*/ 1444 h 3011"/>
                <a:gd name="T82" fmla="*/ 1988 w 2010"/>
                <a:gd name="T83" fmla="*/ 1240 h 3011"/>
                <a:gd name="T84" fmla="*/ 2003 w 2010"/>
                <a:gd name="T85" fmla="*/ 1132 h 3011"/>
                <a:gd name="T86" fmla="*/ 2009 w 2010"/>
                <a:gd name="T87" fmla="*/ 1033 h 3011"/>
                <a:gd name="T88" fmla="*/ 2005 w 2010"/>
                <a:gd name="T89" fmla="*/ 902 h 3011"/>
                <a:gd name="T90" fmla="*/ 1978 w 2010"/>
                <a:gd name="T91" fmla="*/ 753 h 3011"/>
                <a:gd name="T92" fmla="*/ 1931 w 2010"/>
                <a:gd name="T93" fmla="*/ 614 h 3011"/>
                <a:gd name="T94" fmla="*/ 1864 w 2010"/>
                <a:gd name="T95" fmla="*/ 484 h 3011"/>
                <a:gd name="T96" fmla="*/ 1780 w 2010"/>
                <a:gd name="T97" fmla="*/ 366 h 3011"/>
                <a:gd name="T98" fmla="*/ 1680 w 2010"/>
                <a:gd name="T99" fmla="*/ 261 h 3011"/>
                <a:gd name="T100" fmla="*/ 1567 w 2010"/>
                <a:gd name="T101" fmla="*/ 172 h 3011"/>
                <a:gd name="T102" fmla="*/ 1440 w 2010"/>
                <a:gd name="T103" fmla="*/ 100 h 3011"/>
                <a:gd name="T104" fmla="*/ 1304 w 2010"/>
                <a:gd name="T105" fmla="*/ 46 h 3011"/>
                <a:gd name="T106" fmla="*/ 1158 w 2010"/>
                <a:gd name="T107" fmla="*/ 11 h 3011"/>
                <a:gd name="T108" fmla="*/ 1005 w 2010"/>
                <a:gd name="T109" fmla="*/ 0 h 30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10" h="3011">
                  <a:moveTo>
                    <a:pt x="1005" y="0"/>
                  </a:moveTo>
                  <a:lnTo>
                    <a:pt x="953" y="1"/>
                  </a:lnTo>
                  <a:lnTo>
                    <a:pt x="902" y="5"/>
                  </a:lnTo>
                  <a:lnTo>
                    <a:pt x="852" y="11"/>
                  </a:lnTo>
                  <a:lnTo>
                    <a:pt x="803" y="21"/>
                  </a:lnTo>
                  <a:lnTo>
                    <a:pt x="754" y="33"/>
                  </a:lnTo>
                  <a:lnTo>
                    <a:pt x="706" y="46"/>
                  </a:lnTo>
                  <a:lnTo>
                    <a:pt x="659" y="62"/>
                  </a:lnTo>
                  <a:lnTo>
                    <a:pt x="614" y="80"/>
                  </a:lnTo>
                  <a:lnTo>
                    <a:pt x="570" y="100"/>
                  </a:lnTo>
                  <a:lnTo>
                    <a:pt x="526" y="122"/>
                  </a:lnTo>
                  <a:lnTo>
                    <a:pt x="484" y="146"/>
                  </a:lnTo>
                  <a:lnTo>
                    <a:pt x="443" y="172"/>
                  </a:lnTo>
                  <a:lnTo>
                    <a:pt x="404" y="200"/>
                  </a:lnTo>
                  <a:lnTo>
                    <a:pt x="366" y="229"/>
                  </a:lnTo>
                  <a:lnTo>
                    <a:pt x="330" y="261"/>
                  </a:lnTo>
                  <a:lnTo>
                    <a:pt x="294" y="294"/>
                  </a:lnTo>
                  <a:lnTo>
                    <a:pt x="261" y="330"/>
                  </a:lnTo>
                  <a:lnTo>
                    <a:pt x="229" y="366"/>
                  </a:lnTo>
                  <a:lnTo>
                    <a:pt x="200" y="404"/>
                  </a:lnTo>
                  <a:lnTo>
                    <a:pt x="172" y="443"/>
                  </a:lnTo>
                  <a:lnTo>
                    <a:pt x="146" y="484"/>
                  </a:lnTo>
                  <a:lnTo>
                    <a:pt x="121" y="526"/>
                  </a:lnTo>
                  <a:lnTo>
                    <a:pt x="99" y="569"/>
                  </a:lnTo>
                  <a:lnTo>
                    <a:pt x="79" y="614"/>
                  </a:lnTo>
                  <a:lnTo>
                    <a:pt x="61" y="659"/>
                  </a:lnTo>
                  <a:lnTo>
                    <a:pt x="45" y="706"/>
                  </a:lnTo>
                  <a:lnTo>
                    <a:pt x="31" y="753"/>
                  </a:lnTo>
                  <a:lnTo>
                    <a:pt x="20" y="802"/>
                  </a:lnTo>
                  <a:lnTo>
                    <a:pt x="11" y="852"/>
                  </a:lnTo>
                  <a:lnTo>
                    <a:pt x="5" y="902"/>
                  </a:lnTo>
                  <a:lnTo>
                    <a:pt x="1" y="953"/>
                  </a:lnTo>
                  <a:lnTo>
                    <a:pt x="0" y="1004"/>
                  </a:lnTo>
                  <a:lnTo>
                    <a:pt x="0" y="1033"/>
                  </a:lnTo>
                  <a:lnTo>
                    <a:pt x="2" y="1064"/>
                  </a:lnTo>
                  <a:lnTo>
                    <a:pt x="4" y="1096"/>
                  </a:lnTo>
                  <a:lnTo>
                    <a:pt x="7" y="1131"/>
                  </a:lnTo>
                  <a:lnTo>
                    <a:pt x="12" y="1166"/>
                  </a:lnTo>
                  <a:lnTo>
                    <a:pt x="16" y="1202"/>
                  </a:lnTo>
                  <a:lnTo>
                    <a:pt x="22" y="1239"/>
                  </a:lnTo>
                  <a:lnTo>
                    <a:pt x="29" y="1278"/>
                  </a:lnTo>
                  <a:lnTo>
                    <a:pt x="44" y="1358"/>
                  </a:lnTo>
                  <a:lnTo>
                    <a:pt x="61" y="1442"/>
                  </a:lnTo>
                  <a:lnTo>
                    <a:pt x="82" y="1528"/>
                  </a:lnTo>
                  <a:lnTo>
                    <a:pt x="104" y="1617"/>
                  </a:lnTo>
                  <a:lnTo>
                    <a:pt x="128" y="1708"/>
                  </a:lnTo>
                  <a:lnTo>
                    <a:pt x="156" y="1800"/>
                  </a:lnTo>
                  <a:lnTo>
                    <a:pt x="183" y="1892"/>
                  </a:lnTo>
                  <a:lnTo>
                    <a:pt x="212" y="1986"/>
                  </a:lnTo>
                  <a:lnTo>
                    <a:pt x="242" y="2078"/>
                  </a:lnTo>
                  <a:lnTo>
                    <a:pt x="272" y="2168"/>
                  </a:lnTo>
                  <a:lnTo>
                    <a:pt x="303" y="2258"/>
                  </a:lnTo>
                  <a:lnTo>
                    <a:pt x="335" y="2345"/>
                  </a:lnTo>
                  <a:lnTo>
                    <a:pt x="361" y="2414"/>
                  </a:lnTo>
                  <a:lnTo>
                    <a:pt x="388" y="2480"/>
                  </a:lnTo>
                  <a:lnTo>
                    <a:pt x="402" y="2513"/>
                  </a:lnTo>
                  <a:lnTo>
                    <a:pt x="417" y="2545"/>
                  </a:lnTo>
                  <a:lnTo>
                    <a:pt x="431" y="2576"/>
                  </a:lnTo>
                  <a:lnTo>
                    <a:pt x="446" y="2606"/>
                  </a:lnTo>
                  <a:lnTo>
                    <a:pt x="462" y="2636"/>
                  </a:lnTo>
                  <a:lnTo>
                    <a:pt x="478" y="2664"/>
                  </a:lnTo>
                  <a:lnTo>
                    <a:pt x="494" y="2692"/>
                  </a:lnTo>
                  <a:lnTo>
                    <a:pt x="511" y="2719"/>
                  </a:lnTo>
                  <a:lnTo>
                    <a:pt x="530" y="2745"/>
                  </a:lnTo>
                  <a:lnTo>
                    <a:pt x="548" y="2770"/>
                  </a:lnTo>
                  <a:lnTo>
                    <a:pt x="567" y="2795"/>
                  </a:lnTo>
                  <a:lnTo>
                    <a:pt x="586" y="2818"/>
                  </a:lnTo>
                  <a:lnTo>
                    <a:pt x="606" y="2840"/>
                  </a:lnTo>
                  <a:lnTo>
                    <a:pt x="626" y="2860"/>
                  </a:lnTo>
                  <a:lnTo>
                    <a:pt x="648" y="2880"/>
                  </a:lnTo>
                  <a:lnTo>
                    <a:pt x="670" y="2898"/>
                  </a:lnTo>
                  <a:lnTo>
                    <a:pt x="693" y="2916"/>
                  </a:lnTo>
                  <a:lnTo>
                    <a:pt x="717" y="2931"/>
                  </a:lnTo>
                  <a:lnTo>
                    <a:pt x="742" y="2946"/>
                  </a:lnTo>
                  <a:lnTo>
                    <a:pt x="767" y="2959"/>
                  </a:lnTo>
                  <a:lnTo>
                    <a:pt x="793" y="2971"/>
                  </a:lnTo>
                  <a:lnTo>
                    <a:pt x="821" y="2981"/>
                  </a:lnTo>
                  <a:lnTo>
                    <a:pt x="849" y="2990"/>
                  </a:lnTo>
                  <a:lnTo>
                    <a:pt x="878" y="2997"/>
                  </a:lnTo>
                  <a:lnTo>
                    <a:pt x="909" y="3003"/>
                  </a:lnTo>
                  <a:lnTo>
                    <a:pt x="940" y="3007"/>
                  </a:lnTo>
                  <a:lnTo>
                    <a:pt x="972" y="3010"/>
                  </a:lnTo>
                  <a:lnTo>
                    <a:pt x="1005" y="3011"/>
                  </a:lnTo>
                  <a:lnTo>
                    <a:pt x="1041" y="3010"/>
                  </a:lnTo>
                  <a:lnTo>
                    <a:pt x="1075" y="3007"/>
                  </a:lnTo>
                  <a:lnTo>
                    <a:pt x="1109" y="3003"/>
                  </a:lnTo>
                  <a:lnTo>
                    <a:pt x="1141" y="2997"/>
                  </a:lnTo>
                  <a:lnTo>
                    <a:pt x="1172" y="2990"/>
                  </a:lnTo>
                  <a:lnTo>
                    <a:pt x="1201" y="2981"/>
                  </a:lnTo>
                  <a:lnTo>
                    <a:pt x="1229" y="2971"/>
                  </a:lnTo>
                  <a:lnTo>
                    <a:pt x="1256" y="2960"/>
                  </a:lnTo>
                  <a:lnTo>
                    <a:pt x="1281" y="2947"/>
                  </a:lnTo>
                  <a:lnTo>
                    <a:pt x="1307" y="2932"/>
                  </a:lnTo>
                  <a:lnTo>
                    <a:pt x="1331" y="2916"/>
                  </a:lnTo>
                  <a:lnTo>
                    <a:pt x="1354" y="2899"/>
                  </a:lnTo>
                  <a:lnTo>
                    <a:pt x="1375" y="2881"/>
                  </a:lnTo>
                  <a:lnTo>
                    <a:pt x="1396" y="2862"/>
                  </a:lnTo>
                  <a:lnTo>
                    <a:pt x="1416" y="2841"/>
                  </a:lnTo>
                  <a:lnTo>
                    <a:pt x="1436" y="2820"/>
                  </a:lnTo>
                  <a:lnTo>
                    <a:pt x="1454" y="2797"/>
                  </a:lnTo>
                  <a:lnTo>
                    <a:pt x="1472" y="2772"/>
                  </a:lnTo>
                  <a:lnTo>
                    <a:pt x="1489" y="2747"/>
                  </a:lnTo>
                  <a:lnTo>
                    <a:pt x="1507" y="2722"/>
                  </a:lnTo>
                  <a:lnTo>
                    <a:pt x="1523" y="2695"/>
                  </a:lnTo>
                  <a:lnTo>
                    <a:pt x="1538" y="2667"/>
                  </a:lnTo>
                  <a:lnTo>
                    <a:pt x="1554" y="2639"/>
                  </a:lnTo>
                  <a:lnTo>
                    <a:pt x="1568" y="2610"/>
                  </a:lnTo>
                  <a:lnTo>
                    <a:pt x="1582" y="2580"/>
                  </a:lnTo>
                  <a:lnTo>
                    <a:pt x="1596" y="2549"/>
                  </a:lnTo>
                  <a:lnTo>
                    <a:pt x="1610" y="2517"/>
                  </a:lnTo>
                  <a:lnTo>
                    <a:pt x="1623" y="2484"/>
                  </a:lnTo>
                  <a:lnTo>
                    <a:pt x="1649" y="2418"/>
                  </a:lnTo>
                  <a:lnTo>
                    <a:pt x="1675" y="2350"/>
                  </a:lnTo>
                  <a:lnTo>
                    <a:pt x="1708" y="2263"/>
                  </a:lnTo>
                  <a:lnTo>
                    <a:pt x="1739" y="2173"/>
                  </a:lnTo>
                  <a:lnTo>
                    <a:pt x="1769" y="2082"/>
                  </a:lnTo>
                  <a:lnTo>
                    <a:pt x="1799" y="1990"/>
                  </a:lnTo>
                  <a:lnTo>
                    <a:pt x="1828" y="1896"/>
                  </a:lnTo>
                  <a:lnTo>
                    <a:pt x="1856" y="1803"/>
                  </a:lnTo>
                  <a:lnTo>
                    <a:pt x="1883" y="1711"/>
                  </a:lnTo>
                  <a:lnTo>
                    <a:pt x="1907" y="1620"/>
                  </a:lnTo>
                  <a:lnTo>
                    <a:pt x="1929" y="1531"/>
                  </a:lnTo>
                  <a:lnTo>
                    <a:pt x="1949" y="1444"/>
                  </a:lnTo>
                  <a:lnTo>
                    <a:pt x="1967" y="1359"/>
                  </a:lnTo>
                  <a:lnTo>
                    <a:pt x="1982" y="1279"/>
                  </a:lnTo>
                  <a:lnTo>
                    <a:pt x="1988" y="1240"/>
                  </a:lnTo>
                  <a:lnTo>
                    <a:pt x="1994" y="1203"/>
                  </a:lnTo>
                  <a:lnTo>
                    <a:pt x="1998" y="1167"/>
                  </a:lnTo>
                  <a:lnTo>
                    <a:pt x="2003" y="1132"/>
                  </a:lnTo>
                  <a:lnTo>
                    <a:pt x="2006" y="1097"/>
                  </a:lnTo>
                  <a:lnTo>
                    <a:pt x="2008" y="1064"/>
                  </a:lnTo>
                  <a:lnTo>
                    <a:pt x="2009" y="1033"/>
                  </a:lnTo>
                  <a:lnTo>
                    <a:pt x="2010" y="1004"/>
                  </a:lnTo>
                  <a:lnTo>
                    <a:pt x="2009" y="953"/>
                  </a:lnTo>
                  <a:lnTo>
                    <a:pt x="2005" y="902"/>
                  </a:lnTo>
                  <a:lnTo>
                    <a:pt x="1998" y="852"/>
                  </a:lnTo>
                  <a:lnTo>
                    <a:pt x="1990" y="802"/>
                  </a:lnTo>
                  <a:lnTo>
                    <a:pt x="1978" y="753"/>
                  </a:lnTo>
                  <a:lnTo>
                    <a:pt x="1965" y="706"/>
                  </a:lnTo>
                  <a:lnTo>
                    <a:pt x="1949" y="659"/>
                  </a:lnTo>
                  <a:lnTo>
                    <a:pt x="1931" y="614"/>
                  </a:lnTo>
                  <a:lnTo>
                    <a:pt x="1911" y="569"/>
                  </a:lnTo>
                  <a:lnTo>
                    <a:pt x="1889" y="526"/>
                  </a:lnTo>
                  <a:lnTo>
                    <a:pt x="1864" y="484"/>
                  </a:lnTo>
                  <a:lnTo>
                    <a:pt x="1838" y="443"/>
                  </a:lnTo>
                  <a:lnTo>
                    <a:pt x="1810" y="404"/>
                  </a:lnTo>
                  <a:lnTo>
                    <a:pt x="1780" y="366"/>
                  </a:lnTo>
                  <a:lnTo>
                    <a:pt x="1749" y="330"/>
                  </a:lnTo>
                  <a:lnTo>
                    <a:pt x="1716" y="294"/>
                  </a:lnTo>
                  <a:lnTo>
                    <a:pt x="1680" y="261"/>
                  </a:lnTo>
                  <a:lnTo>
                    <a:pt x="1644" y="229"/>
                  </a:lnTo>
                  <a:lnTo>
                    <a:pt x="1606" y="200"/>
                  </a:lnTo>
                  <a:lnTo>
                    <a:pt x="1567" y="172"/>
                  </a:lnTo>
                  <a:lnTo>
                    <a:pt x="1526" y="146"/>
                  </a:lnTo>
                  <a:lnTo>
                    <a:pt x="1484" y="122"/>
                  </a:lnTo>
                  <a:lnTo>
                    <a:pt x="1440" y="100"/>
                  </a:lnTo>
                  <a:lnTo>
                    <a:pt x="1396" y="80"/>
                  </a:lnTo>
                  <a:lnTo>
                    <a:pt x="1351" y="62"/>
                  </a:lnTo>
                  <a:lnTo>
                    <a:pt x="1304" y="46"/>
                  </a:lnTo>
                  <a:lnTo>
                    <a:pt x="1256" y="33"/>
                  </a:lnTo>
                  <a:lnTo>
                    <a:pt x="1207" y="21"/>
                  </a:lnTo>
                  <a:lnTo>
                    <a:pt x="1158" y="11"/>
                  </a:lnTo>
                  <a:lnTo>
                    <a:pt x="1108" y="5"/>
                  </a:lnTo>
                  <a:lnTo>
                    <a:pt x="1056" y="1"/>
                  </a:lnTo>
                  <a:lnTo>
                    <a:pt x="10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40" name="iṩḻíḑe">
              <a:extLst>
                <a:ext uri="{FF2B5EF4-FFF2-40B4-BE49-F238E27FC236}">
                  <a16:creationId xmlns:a16="http://schemas.microsoft.com/office/drawing/2014/main" id="{D182D4E8-1F02-4EAB-9BBD-C3707ED46C79}"/>
                </a:ext>
              </a:extLst>
            </p:cNvPr>
            <p:cNvSpPr/>
            <p:nvPr/>
          </p:nvSpPr>
          <p:spPr bwMode="auto">
            <a:xfrm>
              <a:off x="8930021" y="1306442"/>
              <a:ext cx="171982" cy="249634"/>
            </a:xfrm>
            <a:custGeom>
              <a:avLst/>
              <a:gdLst>
                <a:gd name="T0" fmla="*/ 1009 w 11063"/>
                <a:gd name="T1" fmla="*/ 1454 h 16058"/>
                <a:gd name="T2" fmla="*/ 1036 w 11063"/>
                <a:gd name="T3" fmla="*/ 1334 h 16058"/>
                <a:gd name="T4" fmla="*/ 1091 w 11063"/>
                <a:gd name="T5" fmla="*/ 1225 h 16058"/>
                <a:gd name="T6" fmla="*/ 1171 w 11063"/>
                <a:gd name="T7" fmla="*/ 1134 h 16058"/>
                <a:gd name="T8" fmla="*/ 1268 w 11063"/>
                <a:gd name="T9" fmla="*/ 1065 h 16058"/>
                <a:gd name="T10" fmla="*/ 1383 w 11063"/>
                <a:gd name="T11" fmla="*/ 1020 h 16058"/>
                <a:gd name="T12" fmla="*/ 1509 w 11063"/>
                <a:gd name="T13" fmla="*/ 1004 h 16058"/>
                <a:gd name="T14" fmla="*/ 9655 w 11063"/>
                <a:gd name="T15" fmla="*/ 1014 h 16058"/>
                <a:gd name="T16" fmla="*/ 9772 w 11063"/>
                <a:gd name="T17" fmla="*/ 1053 h 16058"/>
                <a:gd name="T18" fmla="*/ 9874 w 11063"/>
                <a:gd name="T19" fmla="*/ 1118 h 16058"/>
                <a:gd name="T20" fmla="*/ 9957 w 11063"/>
                <a:gd name="T21" fmla="*/ 1205 h 16058"/>
                <a:gd name="T22" fmla="*/ 10018 w 11063"/>
                <a:gd name="T23" fmla="*/ 1310 h 16058"/>
                <a:gd name="T24" fmla="*/ 10051 w 11063"/>
                <a:gd name="T25" fmla="*/ 1429 h 16058"/>
                <a:gd name="T26" fmla="*/ 10057 w 11063"/>
                <a:gd name="T27" fmla="*/ 13044 h 16058"/>
                <a:gd name="T28" fmla="*/ 10057 w 11063"/>
                <a:gd name="T29" fmla="*/ 14553 h 16058"/>
                <a:gd name="T30" fmla="*/ 10041 w 11063"/>
                <a:gd name="T31" fmla="*/ 14677 h 16058"/>
                <a:gd name="T32" fmla="*/ 9996 w 11063"/>
                <a:gd name="T33" fmla="*/ 14791 h 16058"/>
                <a:gd name="T34" fmla="*/ 9927 w 11063"/>
                <a:gd name="T35" fmla="*/ 14890 h 16058"/>
                <a:gd name="T36" fmla="*/ 9835 w 11063"/>
                <a:gd name="T37" fmla="*/ 14968 h 16058"/>
                <a:gd name="T38" fmla="*/ 9727 w 11063"/>
                <a:gd name="T39" fmla="*/ 15023 h 16058"/>
                <a:gd name="T40" fmla="*/ 9606 w 11063"/>
                <a:gd name="T41" fmla="*/ 15051 h 16058"/>
                <a:gd name="T42" fmla="*/ 1457 w 11063"/>
                <a:gd name="T43" fmla="*/ 15051 h 16058"/>
                <a:gd name="T44" fmla="*/ 1336 w 11063"/>
                <a:gd name="T45" fmla="*/ 15024 h 16058"/>
                <a:gd name="T46" fmla="*/ 1227 w 11063"/>
                <a:gd name="T47" fmla="*/ 14969 h 16058"/>
                <a:gd name="T48" fmla="*/ 1136 w 11063"/>
                <a:gd name="T49" fmla="*/ 14890 h 16058"/>
                <a:gd name="T50" fmla="*/ 1066 w 11063"/>
                <a:gd name="T51" fmla="*/ 14791 h 16058"/>
                <a:gd name="T52" fmla="*/ 1022 w 11063"/>
                <a:gd name="T53" fmla="*/ 14678 h 16058"/>
                <a:gd name="T54" fmla="*/ 1006 w 11063"/>
                <a:gd name="T55" fmla="*/ 14553 h 16058"/>
                <a:gd name="T56" fmla="*/ 1509 w 11063"/>
                <a:gd name="T57" fmla="*/ 1 h 16058"/>
                <a:gd name="T58" fmla="*/ 1131 w 11063"/>
                <a:gd name="T59" fmla="*/ 48 h 16058"/>
                <a:gd name="T60" fmla="*/ 789 w 11063"/>
                <a:gd name="T61" fmla="*/ 183 h 16058"/>
                <a:gd name="T62" fmla="*/ 494 w 11063"/>
                <a:gd name="T63" fmla="*/ 391 h 16058"/>
                <a:gd name="T64" fmla="*/ 257 w 11063"/>
                <a:gd name="T65" fmla="*/ 664 h 16058"/>
                <a:gd name="T66" fmla="*/ 92 w 11063"/>
                <a:gd name="T67" fmla="*/ 989 h 16058"/>
                <a:gd name="T68" fmla="*/ 8 w 11063"/>
                <a:gd name="T69" fmla="*/ 1352 h 16058"/>
                <a:gd name="T70" fmla="*/ 8 w 11063"/>
                <a:gd name="T71" fmla="*/ 14706 h 16058"/>
                <a:gd name="T72" fmla="*/ 92 w 11063"/>
                <a:gd name="T73" fmla="*/ 15070 h 16058"/>
                <a:gd name="T74" fmla="*/ 257 w 11063"/>
                <a:gd name="T75" fmla="*/ 15395 h 16058"/>
                <a:gd name="T76" fmla="*/ 494 w 11063"/>
                <a:gd name="T77" fmla="*/ 15667 h 16058"/>
                <a:gd name="T78" fmla="*/ 789 w 11063"/>
                <a:gd name="T79" fmla="*/ 15876 h 16058"/>
                <a:gd name="T80" fmla="*/ 1131 w 11063"/>
                <a:gd name="T81" fmla="*/ 16011 h 16058"/>
                <a:gd name="T82" fmla="*/ 1509 w 11063"/>
                <a:gd name="T83" fmla="*/ 16058 h 16058"/>
                <a:gd name="T84" fmla="*/ 9858 w 11063"/>
                <a:gd name="T85" fmla="*/ 16027 h 16058"/>
                <a:gd name="T86" fmla="*/ 10208 w 11063"/>
                <a:gd name="T87" fmla="*/ 15909 h 16058"/>
                <a:gd name="T88" fmla="*/ 10514 w 11063"/>
                <a:gd name="T89" fmla="*/ 15714 h 16058"/>
                <a:gd name="T90" fmla="*/ 10763 w 11063"/>
                <a:gd name="T91" fmla="*/ 15453 h 16058"/>
                <a:gd name="T92" fmla="*/ 10944 w 11063"/>
                <a:gd name="T93" fmla="*/ 15138 h 16058"/>
                <a:gd name="T94" fmla="*/ 11046 w 11063"/>
                <a:gd name="T95" fmla="*/ 14781 h 16058"/>
                <a:gd name="T96" fmla="*/ 11061 w 11063"/>
                <a:gd name="T97" fmla="*/ 1428 h 16058"/>
                <a:gd name="T98" fmla="*/ 10996 w 11063"/>
                <a:gd name="T99" fmla="*/ 1058 h 16058"/>
                <a:gd name="T100" fmla="*/ 10845 w 11063"/>
                <a:gd name="T101" fmla="*/ 725 h 16058"/>
                <a:gd name="T102" fmla="*/ 10620 w 11063"/>
                <a:gd name="T103" fmla="*/ 441 h 16058"/>
                <a:gd name="T104" fmla="*/ 10337 w 11063"/>
                <a:gd name="T105" fmla="*/ 218 h 16058"/>
                <a:gd name="T106" fmla="*/ 10003 w 11063"/>
                <a:gd name="T107" fmla="*/ 67 h 16058"/>
                <a:gd name="T108" fmla="*/ 9632 w 11063"/>
                <a:gd name="T109" fmla="*/ 2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063" h="16058">
                  <a:moveTo>
                    <a:pt x="10057" y="2509"/>
                  </a:moveTo>
                  <a:lnTo>
                    <a:pt x="1006" y="2510"/>
                  </a:lnTo>
                  <a:lnTo>
                    <a:pt x="1006" y="1505"/>
                  </a:lnTo>
                  <a:lnTo>
                    <a:pt x="1007" y="1480"/>
                  </a:lnTo>
                  <a:lnTo>
                    <a:pt x="1009" y="1454"/>
                  </a:lnTo>
                  <a:lnTo>
                    <a:pt x="1012" y="1429"/>
                  </a:lnTo>
                  <a:lnTo>
                    <a:pt x="1016" y="1405"/>
                  </a:lnTo>
                  <a:lnTo>
                    <a:pt x="1022" y="1381"/>
                  </a:lnTo>
                  <a:lnTo>
                    <a:pt x="1028" y="1357"/>
                  </a:lnTo>
                  <a:lnTo>
                    <a:pt x="1036" y="1334"/>
                  </a:lnTo>
                  <a:lnTo>
                    <a:pt x="1045" y="1311"/>
                  </a:lnTo>
                  <a:lnTo>
                    <a:pt x="1055" y="1289"/>
                  </a:lnTo>
                  <a:lnTo>
                    <a:pt x="1066" y="1267"/>
                  </a:lnTo>
                  <a:lnTo>
                    <a:pt x="1078" y="1245"/>
                  </a:lnTo>
                  <a:lnTo>
                    <a:pt x="1091" y="1225"/>
                  </a:lnTo>
                  <a:lnTo>
                    <a:pt x="1105" y="1205"/>
                  </a:lnTo>
                  <a:lnTo>
                    <a:pt x="1120" y="1186"/>
                  </a:lnTo>
                  <a:lnTo>
                    <a:pt x="1136" y="1168"/>
                  </a:lnTo>
                  <a:lnTo>
                    <a:pt x="1153" y="1151"/>
                  </a:lnTo>
                  <a:lnTo>
                    <a:pt x="1171" y="1134"/>
                  </a:lnTo>
                  <a:lnTo>
                    <a:pt x="1189" y="1119"/>
                  </a:lnTo>
                  <a:lnTo>
                    <a:pt x="1208" y="1104"/>
                  </a:lnTo>
                  <a:lnTo>
                    <a:pt x="1227" y="1090"/>
                  </a:lnTo>
                  <a:lnTo>
                    <a:pt x="1248" y="1077"/>
                  </a:lnTo>
                  <a:lnTo>
                    <a:pt x="1268" y="1065"/>
                  </a:lnTo>
                  <a:lnTo>
                    <a:pt x="1290" y="1054"/>
                  </a:lnTo>
                  <a:lnTo>
                    <a:pt x="1312" y="1044"/>
                  </a:lnTo>
                  <a:lnTo>
                    <a:pt x="1336" y="1035"/>
                  </a:lnTo>
                  <a:lnTo>
                    <a:pt x="1359" y="1027"/>
                  </a:lnTo>
                  <a:lnTo>
                    <a:pt x="1383" y="1020"/>
                  </a:lnTo>
                  <a:lnTo>
                    <a:pt x="1407" y="1015"/>
                  </a:lnTo>
                  <a:lnTo>
                    <a:pt x="1432" y="1010"/>
                  </a:lnTo>
                  <a:lnTo>
                    <a:pt x="1457" y="1007"/>
                  </a:lnTo>
                  <a:lnTo>
                    <a:pt x="1482" y="1005"/>
                  </a:lnTo>
                  <a:lnTo>
                    <a:pt x="1509" y="1004"/>
                  </a:lnTo>
                  <a:lnTo>
                    <a:pt x="9554" y="1004"/>
                  </a:lnTo>
                  <a:lnTo>
                    <a:pt x="9581" y="1005"/>
                  </a:lnTo>
                  <a:lnTo>
                    <a:pt x="9606" y="1007"/>
                  </a:lnTo>
                  <a:lnTo>
                    <a:pt x="9631" y="1010"/>
                  </a:lnTo>
                  <a:lnTo>
                    <a:pt x="9655" y="1014"/>
                  </a:lnTo>
                  <a:lnTo>
                    <a:pt x="9680" y="1020"/>
                  </a:lnTo>
                  <a:lnTo>
                    <a:pt x="9703" y="1027"/>
                  </a:lnTo>
                  <a:lnTo>
                    <a:pt x="9727" y="1034"/>
                  </a:lnTo>
                  <a:lnTo>
                    <a:pt x="9750" y="1043"/>
                  </a:lnTo>
                  <a:lnTo>
                    <a:pt x="9772" y="1053"/>
                  </a:lnTo>
                  <a:lnTo>
                    <a:pt x="9794" y="1064"/>
                  </a:lnTo>
                  <a:lnTo>
                    <a:pt x="9815" y="1076"/>
                  </a:lnTo>
                  <a:lnTo>
                    <a:pt x="9835" y="1089"/>
                  </a:lnTo>
                  <a:lnTo>
                    <a:pt x="9855" y="1103"/>
                  </a:lnTo>
                  <a:lnTo>
                    <a:pt x="9874" y="1118"/>
                  </a:lnTo>
                  <a:lnTo>
                    <a:pt x="9892" y="1134"/>
                  </a:lnTo>
                  <a:lnTo>
                    <a:pt x="9909" y="1151"/>
                  </a:lnTo>
                  <a:lnTo>
                    <a:pt x="9927" y="1168"/>
                  </a:lnTo>
                  <a:lnTo>
                    <a:pt x="9943" y="1186"/>
                  </a:lnTo>
                  <a:lnTo>
                    <a:pt x="9957" y="1205"/>
                  </a:lnTo>
                  <a:lnTo>
                    <a:pt x="9971" y="1225"/>
                  </a:lnTo>
                  <a:lnTo>
                    <a:pt x="9984" y="1245"/>
                  </a:lnTo>
                  <a:lnTo>
                    <a:pt x="9996" y="1267"/>
                  </a:lnTo>
                  <a:lnTo>
                    <a:pt x="10008" y="1288"/>
                  </a:lnTo>
                  <a:lnTo>
                    <a:pt x="10018" y="1310"/>
                  </a:lnTo>
                  <a:lnTo>
                    <a:pt x="10026" y="1333"/>
                  </a:lnTo>
                  <a:lnTo>
                    <a:pt x="10034" y="1356"/>
                  </a:lnTo>
                  <a:lnTo>
                    <a:pt x="10041" y="1380"/>
                  </a:lnTo>
                  <a:lnTo>
                    <a:pt x="10047" y="1404"/>
                  </a:lnTo>
                  <a:lnTo>
                    <a:pt x="10051" y="1429"/>
                  </a:lnTo>
                  <a:lnTo>
                    <a:pt x="10054" y="1454"/>
                  </a:lnTo>
                  <a:lnTo>
                    <a:pt x="10056" y="1479"/>
                  </a:lnTo>
                  <a:lnTo>
                    <a:pt x="10057" y="1505"/>
                  </a:lnTo>
                  <a:lnTo>
                    <a:pt x="10057" y="2509"/>
                  </a:lnTo>
                  <a:close/>
                  <a:moveTo>
                    <a:pt x="10057" y="13044"/>
                  </a:moveTo>
                  <a:lnTo>
                    <a:pt x="1006" y="13045"/>
                  </a:lnTo>
                  <a:lnTo>
                    <a:pt x="1006" y="3011"/>
                  </a:lnTo>
                  <a:lnTo>
                    <a:pt x="10057" y="3011"/>
                  </a:lnTo>
                  <a:lnTo>
                    <a:pt x="10057" y="13044"/>
                  </a:lnTo>
                  <a:close/>
                  <a:moveTo>
                    <a:pt x="10057" y="14553"/>
                  </a:moveTo>
                  <a:lnTo>
                    <a:pt x="10056" y="14578"/>
                  </a:lnTo>
                  <a:lnTo>
                    <a:pt x="10054" y="14604"/>
                  </a:lnTo>
                  <a:lnTo>
                    <a:pt x="10051" y="14629"/>
                  </a:lnTo>
                  <a:lnTo>
                    <a:pt x="10047" y="14653"/>
                  </a:lnTo>
                  <a:lnTo>
                    <a:pt x="10041" y="14677"/>
                  </a:lnTo>
                  <a:lnTo>
                    <a:pt x="10034" y="14701"/>
                  </a:lnTo>
                  <a:lnTo>
                    <a:pt x="10026" y="14724"/>
                  </a:lnTo>
                  <a:lnTo>
                    <a:pt x="10018" y="14747"/>
                  </a:lnTo>
                  <a:lnTo>
                    <a:pt x="10008" y="14769"/>
                  </a:lnTo>
                  <a:lnTo>
                    <a:pt x="9996" y="14791"/>
                  </a:lnTo>
                  <a:lnTo>
                    <a:pt x="9984" y="14813"/>
                  </a:lnTo>
                  <a:lnTo>
                    <a:pt x="9971" y="14833"/>
                  </a:lnTo>
                  <a:lnTo>
                    <a:pt x="9957" y="14853"/>
                  </a:lnTo>
                  <a:lnTo>
                    <a:pt x="9943" y="14872"/>
                  </a:lnTo>
                  <a:lnTo>
                    <a:pt x="9927" y="14890"/>
                  </a:lnTo>
                  <a:lnTo>
                    <a:pt x="9909" y="14907"/>
                  </a:lnTo>
                  <a:lnTo>
                    <a:pt x="9892" y="14924"/>
                  </a:lnTo>
                  <a:lnTo>
                    <a:pt x="9874" y="14939"/>
                  </a:lnTo>
                  <a:lnTo>
                    <a:pt x="9855" y="14954"/>
                  </a:lnTo>
                  <a:lnTo>
                    <a:pt x="9835" y="14968"/>
                  </a:lnTo>
                  <a:lnTo>
                    <a:pt x="9815" y="14981"/>
                  </a:lnTo>
                  <a:lnTo>
                    <a:pt x="9794" y="14993"/>
                  </a:lnTo>
                  <a:lnTo>
                    <a:pt x="9772" y="15004"/>
                  </a:lnTo>
                  <a:lnTo>
                    <a:pt x="9750" y="15014"/>
                  </a:lnTo>
                  <a:lnTo>
                    <a:pt x="9727" y="15023"/>
                  </a:lnTo>
                  <a:lnTo>
                    <a:pt x="9703" y="15031"/>
                  </a:lnTo>
                  <a:lnTo>
                    <a:pt x="9680" y="15038"/>
                  </a:lnTo>
                  <a:lnTo>
                    <a:pt x="9655" y="15043"/>
                  </a:lnTo>
                  <a:lnTo>
                    <a:pt x="9631" y="15048"/>
                  </a:lnTo>
                  <a:lnTo>
                    <a:pt x="9606" y="15051"/>
                  </a:lnTo>
                  <a:lnTo>
                    <a:pt x="9581" y="15053"/>
                  </a:lnTo>
                  <a:lnTo>
                    <a:pt x="9554" y="15054"/>
                  </a:lnTo>
                  <a:lnTo>
                    <a:pt x="1509" y="15054"/>
                  </a:lnTo>
                  <a:lnTo>
                    <a:pt x="1482" y="15053"/>
                  </a:lnTo>
                  <a:lnTo>
                    <a:pt x="1457" y="15051"/>
                  </a:lnTo>
                  <a:lnTo>
                    <a:pt x="1432" y="15048"/>
                  </a:lnTo>
                  <a:lnTo>
                    <a:pt x="1407" y="15044"/>
                  </a:lnTo>
                  <a:lnTo>
                    <a:pt x="1383" y="15038"/>
                  </a:lnTo>
                  <a:lnTo>
                    <a:pt x="1359" y="15031"/>
                  </a:lnTo>
                  <a:lnTo>
                    <a:pt x="1336" y="15024"/>
                  </a:lnTo>
                  <a:lnTo>
                    <a:pt x="1312" y="15015"/>
                  </a:lnTo>
                  <a:lnTo>
                    <a:pt x="1290" y="15005"/>
                  </a:lnTo>
                  <a:lnTo>
                    <a:pt x="1268" y="14994"/>
                  </a:lnTo>
                  <a:lnTo>
                    <a:pt x="1248" y="14982"/>
                  </a:lnTo>
                  <a:lnTo>
                    <a:pt x="1227" y="14969"/>
                  </a:lnTo>
                  <a:lnTo>
                    <a:pt x="1208" y="14955"/>
                  </a:lnTo>
                  <a:lnTo>
                    <a:pt x="1189" y="14940"/>
                  </a:lnTo>
                  <a:lnTo>
                    <a:pt x="1171" y="14924"/>
                  </a:lnTo>
                  <a:lnTo>
                    <a:pt x="1153" y="14907"/>
                  </a:lnTo>
                  <a:lnTo>
                    <a:pt x="1136" y="14890"/>
                  </a:lnTo>
                  <a:lnTo>
                    <a:pt x="1120" y="14872"/>
                  </a:lnTo>
                  <a:lnTo>
                    <a:pt x="1105" y="14853"/>
                  </a:lnTo>
                  <a:lnTo>
                    <a:pt x="1091" y="14833"/>
                  </a:lnTo>
                  <a:lnTo>
                    <a:pt x="1078" y="14813"/>
                  </a:lnTo>
                  <a:lnTo>
                    <a:pt x="1066" y="14791"/>
                  </a:lnTo>
                  <a:lnTo>
                    <a:pt x="1055" y="14770"/>
                  </a:lnTo>
                  <a:lnTo>
                    <a:pt x="1045" y="14748"/>
                  </a:lnTo>
                  <a:lnTo>
                    <a:pt x="1036" y="14725"/>
                  </a:lnTo>
                  <a:lnTo>
                    <a:pt x="1028" y="14702"/>
                  </a:lnTo>
                  <a:lnTo>
                    <a:pt x="1022" y="14678"/>
                  </a:lnTo>
                  <a:lnTo>
                    <a:pt x="1016" y="14654"/>
                  </a:lnTo>
                  <a:lnTo>
                    <a:pt x="1012" y="14629"/>
                  </a:lnTo>
                  <a:lnTo>
                    <a:pt x="1009" y="14604"/>
                  </a:lnTo>
                  <a:lnTo>
                    <a:pt x="1007" y="14579"/>
                  </a:lnTo>
                  <a:lnTo>
                    <a:pt x="1006" y="14553"/>
                  </a:lnTo>
                  <a:lnTo>
                    <a:pt x="1006" y="13547"/>
                  </a:lnTo>
                  <a:lnTo>
                    <a:pt x="10057" y="13546"/>
                  </a:lnTo>
                  <a:lnTo>
                    <a:pt x="10057" y="14553"/>
                  </a:lnTo>
                  <a:close/>
                  <a:moveTo>
                    <a:pt x="9554" y="0"/>
                  </a:moveTo>
                  <a:lnTo>
                    <a:pt x="1509" y="1"/>
                  </a:lnTo>
                  <a:lnTo>
                    <a:pt x="1431" y="3"/>
                  </a:lnTo>
                  <a:lnTo>
                    <a:pt x="1354" y="8"/>
                  </a:lnTo>
                  <a:lnTo>
                    <a:pt x="1278" y="18"/>
                  </a:lnTo>
                  <a:lnTo>
                    <a:pt x="1204" y="31"/>
                  </a:lnTo>
                  <a:lnTo>
                    <a:pt x="1131" y="48"/>
                  </a:lnTo>
                  <a:lnTo>
                    <a:pt x="1060" y="68"/>
                  </a:lnTo>
                  <a:lnTo>
                    <a:pt x="990" y="92"/>
                  </a:lnTo>
                  <a:lnTo>
                    <a:pt x="921" y="118"/>
                  </a:lnTo>
                  <a:lnTo>
                    <a:pt x="854" y="149"/>
                  </a:lnTo>
                  <a:lnTo>
                    <a:pt x="789" y="183"/>
                  </a:lnTo>
                  <a:lnTo>
                    <a:pt x="726" y="219"/>
                  </a:lnTo>
                  <a:lnTo>
                    <a:pt x="665" y="258"/>
                  </a:lnTo>
                  <a:lnTo>
                    <a:pt x="605" y="300"/>
                  </a:lnTo>
                  <a:lnTo>
                    <a:pt x="549" y="344"/>
                  </a:lnTo>
                  <a:lnTo>
                    <a:pt x="494" y="391"/>
                  </a:lnTo>
                  <a:lnTo>
                    <a:pt x="442" y="442"/>
                  </a:lnTo>
                  <a:lnTo>
                    <a:pt x="391" y="494"/>
                  </a:lnTo>
                  <a:lnTo>
                    <a:pt x="344" y="548"/>
                  </a:lnTo>
                  <a:lnTo>
                    <a:pt x="300" y="605"/>
                  </a:lnTo>
                  <a:lnTo>
                    <a:pt x="257" y="664"/>
                  </a:lnTo>
                  <a:lnTo>
                    <a:pt x="218" y="726"/>
                  </a:lnTo>
                  <a:lnTo>
                    <a:pt x="182" y="789"/>
                  </a:lnTo>
                  <a:lnTo>
                    <a:pt x="149" y="853"/>
                  </a:lnTo>
                  <a:lnTo>
                    <a:pt x="119" y="920"/>
                  </a:lnTo>
                  <a:lnTo>
                    <a:pt x="92" y="989"/>
                  </a:lnTo>
                  <a:lnTo>
                    <a:pt x="67" y="1058"/>
                  </a:lnTo>
                  <a:lnTo>
                    <a:pt x="47" y="1130"/>
                  </a:lnTo>
                  <a:lnTo>
                    <a:pt x="30" y="1202"/>
                  </a:lnTo>
                  <a:lnTo>
                    <a:pt x="17" y="1277"/>
                  </a:lnTo>
                  <a:lnTo>
                    <a:pt x="8" y="1352"/>
                  </a:lnTo>
                  <a:lnTo>
                    <a:pt x="2" y="1428"/>
                  </a:lnTo>
                  <a:lnTo>
                    <a:pt x="0" y="1505"/>
                  </a:lnTo>
                  <a:lnTo>
                    <a:pt x="0" y="14553"/>
                  </a:lnTo>
                  <a:lnTo>
                    <a:pt x="2" y="14630"/>
                  </a:lnTo>
                  <a:lnTo>
                    <a:pt x="8" y="14706"/>
                  </a:lnTo>
                  <a:lnTo>
                    <a:pt x="17" y="14781"/>
                  </a:lnTo>
                  <a:lnTo>
                    <a:pt x="30" y="14856"/>
                  </a:lnTo>
                  <a:lnTo>
                    <a:pt x="47" y="14929"/>
                  </a:lnTo>
                  <a:lnTo>
                    <a:pt x="67" y="15000"/>
                  </a:lnTo>
                  <a:lnTo>
                    <a:pt x="92" y="15070"/>
                  </a:lnTo>
                  <a:lnTo>
                    <a:pt x="119" y="15139"/>
                  </a:lnTo>
                  <a:lnTo>
                    <a:pt x="149" y="15205"/>
                  </a:lnTo>
                  <a:lnTo>
                    <a:pt x="182" y="15270"/>
                  </a:lnTo>
                  <a:lnTo>
                    <a:pt x="218" y="15333"/>
                  </a:lnTo>
                  <a:lnTo>
                    <a:pt x="257" y="15395"/>
                  </a:lnTo>
                  <a:lnTo>
                    <a:pt x="300" y="15453"/>
                  </a:lnTo>
                  <a:lnTo>
                    <a:pt x="344" y="15510"/>
                  </a:lnTo>
                  <a:lnTo>
                    <a:pt x="391" y="15565"/>
                  </a:lnTo>
                  <a:lnTo>
                    <a:pt x="442" y="15617"/>
                  </a:lnTo>
                  <a:lnTo>
                    <a:pt x="494" y="15667"/>
                  </a:lnTo>
                  <a:lnTo>
                    <a:pt x="549" y="15714"/>
                  </a:lnTo>
                  <a:lnTo>
                    <a:pt x="605" y="15759"/>
                  </a:lnTo>
                  <a:lnTo>
                    <a:pt x="665" y="15801"/>
                  </a:lnTo>
                  <a:lnTo>
                    <a:pt x="726" y="15840"/>
                  </a:lnTo>
                  <a:lnTo>
                    <a:pt x="789" y="15876"/>
                  </a:lnTo>
                  <a:lnTo>
                    <a:pt x="854" y="15909"/>
                  </a:lnTo>
                  <a:lnTo>
                    <a:pt x="921" y="15940"/>
                  </a:lnTo>
                  <a:lnTo>
                    <a:pt x="990" y="15967"/>
                  </a:lnTo>
                  <a:lnTo>
                    <a:pt x="1060" y="15991"/>
                  </a:lnTo>
                  <a:lnTo>
                    <a:pt x="1131" y="16011"/>
                  </a:lnTo>
                  <a:lnTo>
                    <a:pt x="1204" y="16028"/>
                  </a:lnTo>
                  <a:lnTo>
                    <a:pt x="1278" y="16041"/>
                  </a:lnTo>
                  <a:lnTo>
                    <a:pt x="1354" y="16050"/>
                  </a:lnTo>
                  <a:lnTo>
                    <a:pt x="1431" y="16056"/>
                  </a:lnTo>
                  <a:lnTo>
                    <a:pt x="1509" y="16058"/>
                  </a:lnTo>
                  <a:lnTo>
                    <a:pt x="9554" y="16057"/>
                  </a:lnTo>
                  <a:lnTo>
                    <a:pt x="9632" y="16055"/>
                  </a:lnTo>
                  <a:lnTo>
                    <a:pt x="9708" y="16050"/>
                  </a:lnTo>
                  <a:lnTo>
                    <a:pt x="9784" y="16040"/>
                  </a:lnTo>
                  <a:lnTo>
                    <a:pt x="9858" y="16027"/>
                  </a:lnTo>
                  <a:lnTo>
                    <a:pt x="9932" y="16010"/>
                  </a:lnTo>
                  <a:lnTo>
                    <a:pt x="10003" y="15990"/>
                  </a:lnTo>
                  <a:lnTo>
                    <a:pt x="10073" y="15966"/>
                  </a:lnTo>
                  <a:lnTo>
                    <a:pt x="10142" y="15940"/>
                  </a:lnTo>
                  <a:lnTo>
                    <a:pt x="10208" y="15909"/>
                  </a:lnTo>
                  <a:lnTo>
                    <a:pt x="10274" y="15875"/>
                  </a:lnTo>
                  <a:lnTo>
                    <a:pt x="10337" y="15839"/>
                  </a:lnTo>
                  <a:lnTo>
                    <a:pt x="10397" y="15800"/>
                  </a:lnTo>
                  <a:lnTo>
                    <a:pt x="10457" y="15758"/>
                  </a:lnTo>
                  <a:lnTo>
                    <a:pt x="10514" y="15714"/>
                  </a:lnTo>
                  <a:lnTo>
                    <a:pt x="10568" y="15667"/>
                  </a:lnTo>
                  <a:lnTo>
                    <a:pt x="10620" y="15616"/>
                  </a:lnTo>
                  <a:lnTo>
                    <a:pt x="10671" y="15564"/>
                  </a:lnTo>
                  <a:lnTo>
                    <a:pt x="10718" y="15510"/>
                  </a:lnTo>
                  <a:lnTo>
                    <a:pt x="10763" y="15453"/>
                  </a:lnTo>
                  <a:lnTo>
                    <a:pt x="10806" y="15394"/>
                  </a:lnTo>
                  <a:lnTo>
                    <a:pt x="10845" y="15332"/>
                  </a:lnTo>
                  <a:lnTo>
                    <a:pt x="10881" y="15269"/>
                  </a:lnTo>
                  <a:lnTo>
                    <a:pt x="10914" y="15205"/>
                  </a:lnTo>
                  <a:lnTo>
                    <a:pt x="10944" y="15138"/>
                  </a:lnTo>
                  <a:lnTo>
                    <a:pt x="10971" y="15069"/>
                  </a:lnTo>
                  <a:lnTo>
                    <a:pt x="10996" y="15000"/>
                  </a:lnTo>
                  <a:lnTo>
                    <a:pt x="11016" y="14928"/>
                  </a:lnTo>
                  <a:lnTo>
                    <a:pt x="11032" y="14856"/>
                  </a:lnTo>
                  <a:lnTo>
                    <a:pt x="11046" y="14781"/>
                  </a:lnTo>
                  <a:lnTo>
                    <a:pt x="11055" y="14706"/>
                  </a:lnTo>
                  <a:lnTo>
                    <a:pt x="11061" y="14630"/>
                  </a:lnTo>
                  <a:lnTo>
                    <a:pt x="11063" y="14553"/>
                  </a:lnTo>
                  <a:lnTo>
                    <a:pt x="11063" y="1505"/>
                  </a:lnTo>
                  <a:lnTo>
                    <a:pt x="11061" y="1428"/>
                  </a:lnTo>
                  <a:lnTo>
                    <a:pt x="11055" y="1352"/>
                  </a:lnTo>
                  <a:lnTo>
                    <a:pt x="11046" y="1277"/>
                  </a:lnTo>
                  <a:lnTo>
                    <a:pt x="11032" y="1202"/>
                  </a:lnTo>
                  <a:lnTo>
                    <a:pt x="11016" y="1129"/>
                  </a:lnTo>
                  <a:lnTo>
                    <a:pt x="10996" y="1058"/>
                  </a:lnTo>
                  <a:lnTo>
                    <a:pt x="10971" y="988"/>
                  </a:lnTo>
                  <a:lnTo>
                    <a:pt x="10944" y="919"/>
                  </a:lnTo>
                  <a:lnTo>
                    <a:pt x="10914" y="853"/>
                  </a:lnTo>
                  <a:lnTo>
                    <a:pt x="10881" y="788"/>
                  </a:lnTo>
                  <a:lnTo>
                    <a:pt x="10845" y="725"/>
                  </a:lnTo>
                  <a:lnTo>
                    <a:pt x="10806" y="663"/>
                  </a:lnTo>
                  <a:lnTo>
                    <a:pt x="10763" y="605"/>
                  </a:lnTo>
                  <a:lnTo>
                    <a:pt x="10718" y="548"/>
                  </a:lnTo>
                  <a:lnTo>
                    <a:pt x="10671" y="493"/>
                  </a:lnTo>
                  <a:lnTo>
                    <a:pt x="10620" y="441"/>
                  </a:lnTo>
                  <a:lnTo>
                    <a:pt x="10568" y="391"/>
                  </a:lnTo>
                  <a:lnTo>
                    <a:pt x="10514" y="344"/>
                  </a:lnTo>
                  <a:lnTo>
                    <a:pt x="10457" y="299"/>
                  </a:lnTo>
                  <a:lnTo>
                    <a:pt x="10397" y="257"/>
                  </a:lnTo>
                  <a:lnTo>
                    <a:pt x="10337" y="218"/>
                  </a:lnTo>
                  <a:lnTo>
                    <a:pt x="10274" y="182"/>
                  </a:lnTo>
                  <a:lnTo>
                    <a:pt x="10208" y="149"/>
                  </a:lnTo>
                  <a:lnTo>
                    <a:pt x="10142" y="118"/>
                  </a:lnTo>
                  <a:lnTo>
                    <a:pt x="10073" y="91"/>
                  </a:lnTo>
                  <a:lnTo>
                    <a:pt x="10003" y="67"/>
                  </a:lnTo>
                  <a:lnTo>
                    <a:pt x="9932" y="47"/>
                  </a:lnTo>
                  <a:lnTo>
                    <a:pt x="9858" y="30"/>
                  </a:lnTo>
                  <a:lnTo>
                    <a:pt x="9784" y="17"/>
                  </a:lnTo>
                  <a:lnTo>
                    <a:pt x="9708" y="8"/>
                  </a:lnTo>
                  <a:lnTo>
                    <a:pt x="9632" y="2"/>
                  </a:lnTo>
                  <a:lnTo>
                    <a:pt x="955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41" name="ïŝlïḍè">
              <a:extLst>
                <a:ext uri="{FF2B5EF4-FFF2-40B4-BE49-F238E27FC236}">
                  <a16:creationId xmlns:a16="http://schemas.microsoft.com/office/drawing/2014/main" id="{2776C2EF-931A-4972-85F8-09EDD3D1D218}"/>
                </a:ext>
              </a:extLst>
            </p:cNvPr>
            <p:cNvSpPr/>
            <p:nvPr/>
          </p:nvSpPr>
          <p:spPr bwMode="auto">
            <a:xfrm>
              <a:off x="9000194" y="1330025"/>
              <a:ext cx="31635" cy="7478"/>
            </a:xfrm>
            <a:custGeom>
              <a:avLst/>
              <a:gdLst>
                <a:gd name="T0" fmla="*/ 2010 w 2011"/>
                <a:gd name="T1" fmla="*/ 276 h 502"/>
                <a:gd name="T2" fmla="*/ 2003 w 2011"/>
                <a:gd name="T3" fmla="*/ 314 h 502"/>
                <a:gd name="T4" fmla="*/ 1991 w 2011"/>
                <a:gd name="T5" fmla="*/ 349 h 502"/>
                <a:gd name="T6" fmla="*/ 1975 w 2011"/>
                <a:gd name="T7" fmla="*/ 382 h 502"/>
                <a:gd name="T8" fmla="*/ 1954 w 2011"/>
                <a:gd name="T9" fmla="*/ 411 h 502"/>
                <a:gd name="T10" fmla="*/ 1929 w 2011"/>
                <a:gd name="T11" fmla="*/ 437 h 502"/>
                <a:gd name="T12" fmla="*/ 1900 w 2011"/>
                <a:gd name="T13" fmla="*/ 459 h 502"/>
                <a:gd name="T14" fmla="*/ 1868 w 2011"/>
                <a:gd name="T15" fmla="*/ 477 h 502"/>
                <a:gd name="T16" fmla="*/ 1834 w 2011"/>
                <a:gd name="T17" fmla="*/ 491 h 502"/>
                <a:gd name="T18" fmla="*/ 1798 w 2011"/>
                <a:gd name="T19" fmla="*/ 499 h 502"/>
                <a:gd name="T20" fmla="*/ 1760 w 2011"/>
                <a:gd name="T21" fmla="*/ 502 h 502"/>
                <a:gd name="T22" fmla="*/ 225 w 2011"/>
                <a:gd name="T23" fmla="*/ 501 h 502"/>
                <a:gd name="T24" fmla="*/ 188 w 2011"/>
                <a:gd name="T25" fmla="*/ 494 h 502"/>
                <a:gd name="T26" fmla="*/ 153 w 2011"/>
                <a:gd name="T27" fmla="*/ 482 h 502"/>
                <a:gd name="T28" fmla="*/ 120 w 2011"/>
                <a:gd name="T29" fmla="*/ 466 h 502"/>
                <a:gd name="T30" fmla="*/ 91 w 2011"/>
                <a:gd name="T31" fmla="*/ 445 h 502"/>
                <a:gd name="T32" fmla="*/ 65 w 2011"/>
                <a:gd name="T33" fmla="*/ 420 h 502"/>
                <a:gd name="T34" fmla="*/ 43 w 2011"/>
                <a:gd name="T35" fmla="*/ 392 h 502"/>
                <a:gd name="T36" fmla="*/ 25 w 2011"/>
                <a:gd name="T37" fmla="*/ 360 h 502"/>
                <a:gd name="T38" fmla="*/ 11 w 2011"/>
                <a:gd name="T39" fmla="*/ 326 h 502"/>
                <a:gd name="T40" fmla="*/ 3 w 2011"/>
                <a:gd name="T41" fmla="*/ 289 h 502"/>
                <a:gd name="T42" fmla="*/ 0 w 2011"/>
                <a:gd name="T43" fmla="*/ 251 h 502"/>
                <a:gd name="T44" fmla="*/ 3 w 2011"/>
                <a:gd name="T45" fmla="*/ 213 h 502"/>
                <a:gd name="T46" fmla="*/ 11 w 2011"/>
                <a:gd name="T47" fmla="*/ 177 h 502"/>
                <a:gd name="T48" fmla="*/ 25 w 2011"/>
                <a:gd name="T49" fmla="*/ 143 h 502"/>
                <a:gd name="T50" fmla="*/ 43 w 2011"/>
                <a:gd name="T51" fmla="*/ 111 h 502"/>
                <a:gd name="T52" fmla="*/ 65 w 2011"/>
                <a:gd name="T53" fmla="*/ 83 h 502"/>
                <a:gd name="T54" fmla="*/ 91 w 2011"/>
                <a:gd name="T55" fmla="*/ 58 h 502"/>
                <a:gd name="T56" fmla="*/ 120 w 2011"/>
                <a:gd name="T57" fmla="*/ 37 h 502"/>
                <a:gd name="T58" fmla="*/ 153 w 2011"/>
                <a:gd name="T59" fmla="*/ 21 h 502"/>
                <a:gd name="T60" fmla="*/ 188 w 2011"/>
                <a:gd name="T61" fmla="*/ 8 h 502"/>
                <a:gd name="T62" fmla="*/ 225 w 2011"/>
                <a:gd name="T63" fmla="*/ 1 h 502"/>
                <a:gd name="T64" fmla="*/ 1760 w 2011"/>
                <a:gd name="T65" fmla="*/ 0 h 502"/>
                <a:gd name="T66" fmla="*/ 1798 w 2011"/>
                <a:gd name="T67" fmla="*/ 3 h 502"/>
                <a:gd name="T68" fmla="*/ 1834 w 2011"/>
                <a:gd name="T69" fmla="*/ 11 h 502"/>
                <a:gd name="T70" fmla="*/ 1868 w 2011"/>
                <a:gd name="T71" fmla="*/ 26 h 502"/>
                <a:gd name="T72" fmla="*/ 1900 w 2011"/>
                <a:gd name="T73" fmla="*/ 44 h 502"/>
                <a:gd name="T74" fmla="*/ 1929 w 2011"/>
                <a:gd name="T75" fmla="*/ 66 h 502"/>
                <a:gd name="T76" fmla="*/ 1954 w 2011"/>
                <a:gd name="T77" fmla="*/ 92 h 502"/>
                <a:gd name="T78" fmla="*/ 1975 w 2011"/>
                <a:gd name="T79" fmla="*/ 121 h 502"/>
                <a:gd name="T80" fmla="*/ 1991 w 2011"/>
                <a:gd name="T81" fmla="*/ 154 h 502"/>
                <a:gd name="T82" fmla="*/ 2003 w 2011"/>
                <a:gd name="T83" fmla="*/ 189 h 502"/>
                <a:gd name="T84" fmla="*/ 2010 w 2011"/>
                <a:gd name="T85" fmla="*/ 225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11" h="502">
                  <a:moveTo>
                    <a:pt x="2011" y="251"/>
                  </a:moveTo>
                  <a:lnTo>
                    <a:pt x="2011" y="264"/>
                  </a:lnTo>
                  <a:lnTo>
                    <a:pt x="2010" y="276"/>
                  </a:lnTo>
                  <a:lnTo>
                    <a:pt x="2008" y="289"/>
                  </a:lnTo>
                  <a:lnTo>
                    <a:pt x="2006" y="302"/>
                  </a:lnTo>
                  <a:lnTo>
                    <a:pt x="2003" y="314"/>
                  </a:lnTo>
                  <a:lnTo>
                    <a:pt x="2000" y="326"/>
                  </a:lnTo>
                  <a:lnTo>
                    <a:pt x="1996" y="338"/>
                  </a:lnTo>
                  <a:lnTo>
                    <a:pt x="1991" y="349"/>
                  </a:lnTo>
                  <a:lnTo>
                    <a:pt x="1986" y="360"/>
                  </a:lnTo>
                  <a:lnTo>
                    <a:pt x="1981" y="371"/>
                  </a:lnTo>
                  <a:lnTo>
                    <a:pt x="1975" y="382"/>
                  </a:lnTo>
                  <a:lnTo>
                    <a:pt x="1968" y="392"/>
                  </a:lnTo>
                  <a:lnTo>
                    <a:pt x="1961" y="402"/>
                  </a:lnTo>
                  <a:lnTo>
                    <a:pt x="1954" y="411"/>
                  </a:lnTo>
                  <a:lnTo>
                    <a:pt x="1946" y="420"/>
                  </a:lnTo>
                  <a:lnTo>
                    <a:pt x="1938" y="429"/>
                  </a:lnTo>
                  <a:lnTo>
                    <a:pt x="1929" y="437"/>
                  </a:lnTo>
                  <a:lnTo>
                    <a:pt x="1920" y="445"/>
                  </a:lnTo>
                  <a:lnTo>
                    <a:pt x="1910" y="452"/>
                  </a:lnTo>
                  <a:lnTo>
                    <a:pt x="1900" y="459"/>
                  </a:lnTo>
                  <a:lnTo>
                    <a:pt x="1890" y="466"/>
                  </a:lnTo>
                  <a:lnTo>
                    <a:pt x="1879" y="472"/>
                  </a:lnTo>
                  <a:lnTo>
                    <a:pt x="1868" y="477"/>
                  </a:lnTo>
                  <a:lnTo>
                    <a:pt x="1857" y="482"/>
                  </a:lnTo>
                  <a:lnTo>
                    <a:pt x="1846" y="487"/>
                  </a:lnTo>
                  <a:lnTo>
                    <a:pt x="1834" y="491"/>
                  </a:lnTo>
                  <a:lnTo>
                    <a:pt x="1822" y="494"/>
                  </a:lnTo>
                  <a:lnTo>
                    <a:pt x="1810" y="497"/>
                  </a:lnTo>
                  <a:lnTo>
                    <a:pt x="1798" y="499"/>
                  </a:lnTo>
                  <a:lnTo>
                    <a:pt x="1785" y="501"/>
                  </a:lnTo>
                  <a:lnTo>
                    <a:pt x="1773" y="502"/>
                  </a:lnTo>
                  <a:lnTo>
                    <a:pt x="1760" y="502"/>
                  </a:lnTo>
                  <a:lnTo>
                    <a:pt x="251" y="502"/>
                  </a:lnTo>
                  <a:lnTo>
                    <a:pt x="238" y="502"/>
                  </a:lnTo>
                  <a:lnTo>
                    <a:pt x="225" y="501"/>
                  </a:lnTo>
                  <a:lnTo>
                    <a:pt x="213" y="499"/>
                  </a:lnTo>
                  <a:lnTo>
                    <a:pt x="200" y="497"/>
                  </a:lnTo>
                  <a:lnTo>
                    <a:pt x="188" y="494"/>
                  </a:lnTo>
                  <a:lnTo>
                    <a:pt x="176" y="491"/>
                  </a:lnTo>
                  <a:lnTo>
                    <a:pt x="165" y="487"/>
                  </a:lnTo>
                  <a:lnTo>
                    <a:pt x="153" y="482"/>
                  </a:lnTo>
                  <a:lnTo>
                    <a:pt x="142" y="477"/>
                  </a:lnTo>
                  <a:lnTo>
                    <a:pt x="132" y="472"/>
                  </a:lnTo>
                  <a:lnTo>
                    <a:pt x="120" y="466"/>
                  </a:lnTo>
                  <a:lnTo>
                    <a:pt x="110" y="459"/>
                  </a:lnTo>
                  <a:lnTo>
                    <a:pt x="100" y="452"/>
                  </a:lnTo>
                  <a:lnTo>
                    <a:pt x="91" y="445"/>
                  </a:lnTo>
                  <a:lnTo>
                    <a:pt x="82" y="437"/>
                  </a:lnTo>
                  <a:lnTo>
                    <a:pt x="73" y="429"/>
                  </a:lnTo>
                  <a:lnTo>
                    <a:pt x="65" y="420"/>
                  </a:lnTo>
                  <a:lnTo>
                    <a:pt x="57" y="411"/>
                  </a:lnTo>
                  <a:lnTo>
                    <a:pt x="49" y="402"/>
                  </a:lnTo>
                  <a:lnTo>
                    <a:pt x="43" y="392"/>
                  </a:lnTo>
                  <a:lnTo>
                    <a:pt x="36" y="382"/>
                  </a:lnTo>
                  <a:lnTo>
                    <a:pt x="30" y="371"/>
                  </a:lnTo>
                  <a:lnTo>
                    <a:pt x="25" y="360"/>
                  </a:lnTo>
                  <a:lnTo>
                    <a:pt x="20" y="349"/>
                  </a:lnTo>
                  <a:lnTo>
                    <a:pt x="15" y="338"/>
                  </a:lnTo>
                  <a:lnTo>
                    <a:pt x="11" y="326"/>
                  </a:lnTo>
                  <a:lnTo>
                    <a:pt x="8" y="314"/>
                  </a:lnTo>
                  <a:lnTo>
                    <a:pt x="5" y="302"/>
                  </a:lnTo>
                  <a:lnTo>
                    <a:pt x="3" y="289"/>
                  </a:lnTo>
                  <a:lnTo>
                    <a:pt x="1" y="276"/>
                  </a:lnTo>
                  <a:lnTo>
                    <a:pt x="0" y="264"/>
                  </a:lnTo>
                  <a:lnTo>
                    <a:pt x="0" y="251"/>
                  </a:lnTo>
                  <a:lnTo>
                    <a:pt x="0" y="238"/>
                  </a:lnTo>
                  <a:lnTo>
                    <a:pt x="1" y="225"/>
                  </a:lnTo>
                  <a:lnTo>
                    <a:pt x="3" y="213"/>
                  </a:lnTo>
                  <a:lnTo>
                    <a:pt x="5" y="201"/>
                  </a:lnTo>
                  <a:lnTo>
                    <a:pt x="8" y="189"/>
                  </a:lnTo>
                  <a:lnTo>
                    <a:pt x="11" y="177"/>
                  </a:lnTo>
                  <a:lnTo>
                    <a:pt x="15" y="165"/>
                  </a:lnTo>
                  <a:lnTo>
                    <a:pt x="20" y="154"/>
                  </a:lnTo>
                  <a:lnTo>
                    <a:pt x="25" y="143"/>
                  </a:lnTo>
                  <a:lnTo>
                    <a:pt x="30" y="132"/>
                  </a:lnTo>
                  <a:lnTo>
                    <a:pt x="36" y="121"/>
                  </a:lnTo>
                  <a:lnTo>
                    <a:pt x="43" y="111"/>
                  </a:lnTo>
                  <a:lnTo>
                    <a:pt x="49" y="101"/>
                  </a:lnTo>
                  <a:lnTo>
                    <a:pt x="57" y="92"/>
                  </a:lnTo>
                  <a:lnTo>
                    <a:pt x="65" y="83"/>
                  </a:lnTo>
                  <a:lnTo>
                    <a:pt x="73" y="74"/>
                  </a:lnTo>
                  <a:lnTo>
                    <a:pt x="82" y="66"/>
                  </a:lnTo>
                  <a:lnTo>
                    <a:pt x="91" y="58"/>
                  </a:lnTo>
                  <a:lnTo>
                    <a:pt x="100" y="51"/>
                  </a:lnTo>
                  <a:lnTo>
                    <a:pt x="110" y="44"/>
                  </a:lnTo>
                  <a:lnTo>
                    <a:pt x="120" y="37"/>
                  </a:lnTo>
                  <a:lnTo>
                    <a:pt x="132" y="31"/>
                  </a:lnTo>
                  <a:lnTo>
                    <a:pt x="142" y="26"/>
                  </a:lnTo>
                  <a:lnTo>
                    <a:pt x="153" y="21"/>
                  </a:lnTo>
                  <a:lnTo>
                    <a:pt x="165" y="15"/>
                  </a:lnTo>
                  <a:lnTo>
                    <a:pt x="176" y="11"/>
                  </a:lnTo>
                  <a:lnTo>
                    <a:pt x="188" y="8"/>
                  </a:lnTo>
                  <a:lnTo>
                    <a:pt x="200" y="5"/>
                  </a:lnTo>
                  <a:lnTo>
                    <a:pt x="213" y="3"/>
                  </a:lnTo>
                  <a:lnTo>
                    <a:pt x="225" y="1"/>
                  </a:lnTo>
                  <a:lnTo>
                    <a:pt x="238" y="0"/>
                  </a:lnTo>
                  <a:lnTo>
                    <a:pt x="251" y="0"/>
                  </a:lnTo>
                  <a:lnTo>
                    <a:pt x="1760" y="0"/>
                  </a:lnTo>
                  <a:lnTo>
                    <a:pt x="1773" y="0"/>
                  </a:lnTo>
                  <a:lnTo>
                    <a:pt x="1785" y="1"/>
                  </a:lnTo>
                  <a:lnTo>
                    <a:pt x="1798" y="3"/>
                  </a:lnTo>
                  <a:lnTo>
                    <a:pt x="1810" y="5"/>
                  </a:lnTo>
                  <a:lnTo>
                    <a:pt x="1822" y="8"/>
                  </a:lnTo>
                  <a:lnTo>
                    <a:pt x="1834" y="11"/>
                  </a:lnTo>
                  <a:lnTo>
                    <a:pt x="1846" y="15"/>
                  </a:lnTo>
                  <a:lnTo>
                    <a:pt x="1857" y="21"/>
                  </a:lnTo>
                  <a:lnTo>
                    <a:pt x="1868" y="26"/>
                  </a:lnTo>
                  <a:lnTo>
                    <a:pt x="1879" y="31"/>
                  </a:lnTo>
                  <a:lnTo>
                    <a:pt x="1890" y="37"/>
                  </a:lnTo>
                  <a:lnTo>
                    <a:pt x="1900" y="44"/>
                  </a:lnTo>
                  <a:lnTo>
                    <a:pt x="1910" y="51"/>
                  </a:lnTo>
                  <a:lnTo>
                    <a:pt x="1920" y="58"/>
                  </a:lnTo>
                  <a:lnTo>
                    <a:pt x="1929" y="66"/>
                  </a:lnTo>
                  <a:lnTo>
                    <a:pt x="1938" y="74"/>
                  </a:lnTo>
                  <a:lnTo>
                    <a:pt x="1946" y="83"/>
                  </a:lnTo>
                  <a:lnTo>
                    <a:pt x="1954" y="92"/>
                  </a:lnTo>
                  <a:lnTo>
                    <a:pt x="1961" y="101"/>
                  </a:lnTo>
                  <a:lnTo>
                    <a:pt x="1968" y="111"/>
                  </a:lnTo>
                  <a:lnTo>
                    <a:pt x="1975" y="121"/>
                  </a:lnTo>
                  <a:lnTo>
                    <a:pt x="1981" y="132"/>
                  </a:lnTo>
                  <a:lnTo>
                    <a:pt x="1986" y="143"/>
                  </a:lnTo>
                  <a:lnTo>
                    <a:pt x="1991" y="154"/>
                  </a:lnTo>
                  <a:lnTo>
                    <a:pt x="1996" y="165"/>
                  </a:lnTo>
                  <a:lnTo>
                    <a:pt x="2000" y="177"/>
                  </a:lnTo>
                  <a:lnTo>
                    <a:pt x="2003" y="189"/>
                  </a:lnTo>
                  <a:lnTo>
                    <a:pt x="2006" y="201"/>
                  </a:lnTo>
                  <a:lnTo>
                    <a:pt x="2008" y="213"/>
                  </a:lnTo>
                  <a:lnTo>
                    <a:pt x="2010" y="225"/>
                  </a:lnTo>
                  <a:lnTo>
                    <a:pt x="2011" y="238"/>
                  </a:lnTo>
                  <a:lnTo>
                    <a:pt x="2011" y="2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42" name="îsļîďê">
              <a:extLst>
                <a:ext uri="{FF2B5EF4-FFF2-40B4-BE49-F238E27FC236}">
                  <a16:creationId xmlns:a16="http://schemas.microsoft.com/office/drawing/2014/main" id="{BA7F275D-3B2C-4E2F-ABAA-C07C8DF9791C}"/>
                </a:ext>
              </a:extLst>
            </p:cNvPr>
            <p:cNvSpPr/>
            <p:nvPr/>
          </p:nvSpPr>
          <p:spPr bwMode="auto">
            <a:xfrm>
              <a:off x="9008247" y="1525016"/>
              <a:ext cx="15530" cy="7478"/>
            </a:xfrm>
            <a:custGeom>
              <a:avLst/>
              <a:gdLst>
                <a:gd name="T0" fmla="*/ 1004 w 1005"/>
                <a:gd name="T1" fmla="*/ 277 h 503"/>
                <a:gd name="T2" fmla="*/ 997 w 1005"/>
                <a:gd name="T3" fmla="*/ 314 h 503"/>
                <a:gd name="T4" fmla="*/ 985 w 1005"/>
                <a:gd name="T5" fmla="*/ 349 h 503"/>
                <a:gd name="T6" fmla="*/ 969 w 1005"/>
                <a:gd name="T7" fmla="*/ 381 h 503"/>
                <a:gd name="T8" fmla="*/ 948 w 1005"/>
                <a:gd name="T9" fmla="*/ 411 h 503"/>
                <a:gd name="T10" fmla="*/ 923 w 1005"/>
                <a:gd name="T11" fmla="*/ 437 h 503"/>
                <a:gd name="T12" fmla="*/ 894 w 1005"/>
                <a:gd name="T13" fmla="*/ 459 h 503"/>
                <a:gd name="T14" fmla="*/ 863 w 1005"/>
                <a:gd name="T15" fmla="*/ 477 h 503"/>
                <a:gd name="T16" fmla="*/ 828 w 1005"/>
                <a:gd name="T17" fmla="*/ 491 h 503"/>
                <a:gd name="T18" fmla="*/ 792 w 1005"/>
                <a:gd name="T19" fmla="*/ 500 h 503"/>
                <a:gd name="T20" fmla="*/ 754 w 1005"/>
                <a:gd name="T21" fmla="*/ 503 h 503"/>
                <a:gd name="T22" fmla="*/ 225 w 1005"/>
                <a:gd name="T23" fmla="*/ 501 h 503"/>
                <a:gd name="T24" fmla="*/ 188 w 1005"/>
                <a:gd name="T25" fmla="*/ 495 h 503"/>
                <a:gd name="T26" fmla="*/ 153 w 1005"/>
                <a:gd name="T27" fmla="*/ 482 h 503"/>
                <a:gd name="T28" fmla="*/ 120 w 1005"/>
                <a:gd name="T29" fmla="*/ 465 h 503"/>
                <a:gd name="T30" fmla="*/ 91 w 1005"/>
                <a:gd name="T31" fmla="*/ 444 h 503"/>
                <a:gd name="T32" fmla="*/ 65 w 1005"/>
                <a:gd name="T33" fmla="*/ 420 h 503"/>
                <a:gd name="T34" fmla="*/ 43 w 1005"/>
                <a:gd name="T35" fmla="*/ 391 h 503"/>
                <a:gd name="T36" fmla="*/ 25 w 1005"/>
                <a:gd name="T37" fmla="*/ 360 h 503"/>
                <a:gd name="T38" fmla="*/ 11 w 1005"/>
                <a:gd name="T39" fmla="*/ 326 h 503"/>
                <a:gd name="T40" fmla="*/ 3 w 1005"/>
                <a:gd name="T41" fmla="*/ 290 h 503"/>
                <a:gd name="T42" fmla="*/ 0 w 1005"/>
                <a:gd name="T43" fmla="*/ 252 h 503"/>
                <a:gd name="T44" fmla="*/ 3 w 1005"/>
                <a:gd name="T45" fmla="*/ 214 h 503"/>
                <a:gd name="T46" fmla="*/ 11 w 1005"/>
                <a:gd name="T47" fmla="*/ 176 h 503"/>
                <a:gd name="T48" fmla="*/ 25 w 1005"/>
                <a:gd name="T49" fmla="*/ 142 h 503"/>
                <a:gd name="T50" fmla="*/ 43 w 1005"/>
                <a:gd name="T51" fmla="*/ 111 h 503"/>
                <a:gd name="T52" fmla="*/ 65 w 1005"/>
                <a:gd name="T53" fmla="*/ 82 h 503"/>
                <a:gd name="T54" fmla="*/ 91 w 1005"/>
                <a:gd name="T55" fmla="*/ 58 h 503"/>
                <a:gd name="T56" fmla="*/ 120 w 1005"/>
                <a:gd name="T57" fmla="*/ 37 h 503"/>
                <a:gd name="T58" fmla="*/ 153 w 1005"/>
                <a:gd name="T59" fmla="*/ 20 h 503"/>
                <a:gd name="T60" fmla="*/ 188 w 1005"/>
                <a:gd name="T61" fmla="*/ 8 h 503"/>
                <a:gd name="T62" fmla="*/ 225 w 1005"/>
                <a:gd name="T63" fmla="*/ 2 h 503"/>
                <a:gd name="T64" fmla="*/ 754 w 1005"/>
                <a:gd name="T65" fmla="*/ 0 h 503"/>
                <a:gd name="T66" fmla="*/ 792 w 1005"/>
                <a:gd name="T67" fmla="*/ 3 h 503"/>
                <a:gd name="T68" fmla="*/ 828 w 1005"/>
                <a:gd name="T69" fmla="*/ 12 h 503"/>
                <a:gd name="T70" fmla="*/ 863 w 1005"/>
                <a:gd name="T71" fmla="*/ 25 h 503"/>
                <a:gd name="T72" fmla="*/ 894 w 1005"/>
                <a:gd name="T73" fmla="*/ 43 h 503"/>
                <a:gd name="T74" fmla="*/ 923 w 1005"/>
                <a:gd name="T75" fmla="*/ 65 h 503"/>
                <a:gd name="T76" fmla="*/ 948 w 1005"/>
                <a:gd name="T77" fmla="*/ 92 h 503"/>
                <a:gd name="T78" fmla="*/ 969 w 1005"/>
                <a:gd name="T79" fmla="*/ 121 h 503"/>
                <a:gd name="T80" fmla="*/ 985 w 1005"/>
                <a:gd name="T81" fmla="*/ 153 h 503"/>
                <a:gd name="T82" fmla="*/ 997 w 1005"/>
                <a:gd name="T83" fmla="*/ 188 h 503"/>
                <a:gd name="T84" fmla="*/ 1004 w 1005"/>
                <a:gd name="T85" fmla="*/ 226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5" h="503">
                  <a:moveTo>
                    <a:pt x="1005" y="252"/>
                  </a:moveTo>
                  <a:lnTo>
                    <a:pt x="1005" y="264"/>
                  </a:lnTo>
                  <a:lnTo>
                    <a:pt x="1004" y="277"/>
                  </a:lnTo>
                  <a:lnTo>
                    <a:pt x="1002" y="290"/>
                  </a:lnTo>
                  <a:lnTo>
                    <a:pt x="1000" y="302"/>
                  </a:lnTo>
                  <a:lnTo>
                    <a:pt x="997" y="314"/>
                  </a:lnTo>
                  <a:lnTo>
                    <a:pt x="994" y="326"/>
                  </a:lnTo>
                  <a:lnTo>
                    <a:pt x="990" y="337"/>
                  </a:lnTo>
                  <a:lnTo>
                    <a:pt x="985" y="349"/>
                  </a:lnTo>
                  <a:lnTo>
                    <a:pt x="980" y="360"/>
                  </a:lnTo>
                  <a:lnTo>
                    <a:pt x="975" y="371"/>
                  </a:lnTo>
                  <a:lnTo>
                    <a:pt x="969" y="381"/>
                  </a:lnTo>
                  <a:lnTo>
                    <a:pt x="962" y="391"/>
                  </a:lnTo>
                  <a:lnTo>
                    <a:pt x="955" y="401"/>
                  </a:lnTo>
                  <a:lnTo>
                    <a:pt x="948" y="411"/>
                  </a:lnTo>
                  <a:lnTo>
                    <a:pt x="940" y="420"/>
                  </a:lnTo>
                  <a:lnTo>
                    <a:pt x="932" y="428"/>
                  </a:lnTo>
                  <a:lnTo>
                    <a:pt x="923" y="437"/>
                  </a:lnTo>
                  <a:lnTo>
                    <a:pt x="914" y="444"/>
                  </a:lnTo>
                  <a:lnTo>
                    <a:pt x="904" y="452"/>
                  </a:lnTo>
                  <a:lnTo>
                    <a:pt x="894" y="459"/>
                  </a:lnTo>
                  <a:lnTo>
                    <a:pt x="884" y="465"/>
                  </a:lnTo>
                  <a:lnTo>
                    <a:pt x="874" y="471"/>
                  </a:lnTo>
                  <a:lnTo>
                    <a:pt x="863" y="477"/>
                  </a:lnTo>
                  <a:lnTo>
                    <a:pt x="851" y="482"/>
                  </a:lnTo>
                  <a:lnTo>
                    <a:pt x="840" y="486"/>
                  </a:lnTo>
                  <a:lnTo>
                    <a:pt x="828" y="491"/>
                  </a:lnTo>
                  <a:lnTo>
                    <a:pt x="816" y="495"/>
                  </a:lnTo>
                  <a:lnTo>
                    <a:pt x="804" y="497"/>
                  </a:lnTo>
                  <a:lnTo>
                    <a:pt x="792" y="500"/>
                  </a:lnTo>
                  <a:lnTo>
                    <a:pt x="779" y="501"/>
                  </a:lnTo>
                  <a:lnTo>
                    <a:pt x="767" y="502"/>
                  </a:lnTo>
                  <a:lnTo>
                    <a:pt x="754" y="503"/>
                  </a:lnTo>
                  <a:lnTo>
                    <a:pt x="251" y="503"/>
                  </a:lnTo>
                  <a:lnTo>
                    <a:pt x="238" y="502"/>
                  </a:lnTo>
                  <a:lnTo>
                    <a:pt x="225" y="501"/>
                  </a:lnTo>
                  <a:lnTo>
                    <a:pt x="213" y="500"/>
                  </a:lnTo>
                  <a:lnTo>
                    <a:pt x="200" y="497"/>
                  </a:lnTo>
                  <a:lnTo>
                    <a:pt x="188" y="495"/>
                  </a:lnTo>
                  <a:lnTo>
                    <a:pt x="176" y="491"/>
                  </a:lnTo>
                  <a:lnTo>
                    <a:pt x="165" y="486"/>
                  </a:lnTo>
                  <a:lnTo>
                    <a:pt x="153" y="482"/>
                  </a:lnTo>
                  <a:lnTo>
                    <a:pt x="141" y="477"/>
                  </a:lnTo>
                  <a:lnTo>
                    <a:pt x="131" y="471"/>
                  </a:lnTo>
                  <a:lnTo>
                    <a:pt x="120" y="465"/>
                  </a:lnTo>
                  <a:lnTo>
                    <a:pt x="110" y="459"/>
                  </a:lnTo>
                  <a:lnTo>
                    <a:pt x="100" y="452"/>
                  </a:lnTo>
                  <a:lnTo>
                    <a:pt x="91" y="444"/>
                  </a:lnTo>
                  <a:lnTo>
                    <a:pt x="82" y="437"/>
                  </a:lnTo>
                  <a:lnTo>
                    <a:pt x="73" y="428"/>
                  </a:lnTo>
                  <a:lnTo>
                    <a:pt x="65" y="420"/>
                  </a:lnTo>
                  <a:lnTo>
                    <a:pt x="57" y="411"/>
                  </a:lnTo>
                  <a:lnTo>
                    <a:pt x="49" y="401"/>
                  </a:lnTo>
                  <a:lnTo>
                    <a:pt x="43" y="391"/>
                  </a:lnTo>
                  <a:lnTo>
                    <a:pt x="36" y="381"/>
                  </a:lnTo>
                  <a:lnTo>
                    <a:pt x="30" y="371"/>
                  </a:lnTo>
                  <a:lnTo>
                    <a:pt x="25" y="360"/>
                  </a:lnTo>
                  <a:lnTo>
                    <a:pt x="20" y="349"/>
                  </a:lnTo>
                  <a:lnTo>
                    <a:pt x="15" y="337"/>
                  </a:lnTo>
                  <a:lnTo>
                    <a:pt x="11" y="326"/>
                  </a:lnTo>
                  <a:lnTo>
                    <a:pt x="8" y="314"/>
                  </a:lnTo>
                  <a:lnTo>
                    <a:pt x="5" y="302"/>
                  </a:lnTo>
                  <a:lnTo>
                    <a:pt x="3" y="290"/>
                  </a:lnTo>
                  <a:lnTo>
                    <a:pt x="1" y="277"/>
                  </a:lnTo>
                  <a:lnTo>
                    <a:pt x="0" y="264"/>
                  </a:lnTo>
                  <a:lnTo>
                    <a:pt x="0" y="252"/>
                  </a:lnTo>
                  <a:lnTo>
                    <a:pt x="0" y="239"/>
                  </a:lnTo>
                  <a:lnTo>
                    <a:pt x="1" y="226"/>
                  </a:lnTo>
                  <a:lnTo>
                    <a:pt x="3" y="214"/>
                  </a:lnTo>
                  <a:lnTo>
                    <a:pt x="5" y="200"/>
                  </a:lnTo>
                  <a:lnTo>
                    <a:pt x="8" y="188"/>
                  </a:lnTo>
                  <a:lnTo>
                    <a:pt x="11" y="176"/>
                  </a:lnTo>
                  <a:lnTo>
                    <a:pt x="15" y="165"/>
                  </a:lnTo>
                  <a:lnTo>
                    <a:pt x="20" y="153"/>
                  </a:lnTo>
                  <a:lnTo>
                    <a:pt x="25" y="142"/>
                  </a:lnTo>
                  <a:lnTo>
                    <a:pt x="30" y="131"/>
                  </a:lnTo>
                  <a:lnTo>
                    <a:pt x="36" y="121"/>
                  </a:lnTo>
                  <a:lnTo>
                    <a:pt x="43" y="111"/>
                  </a:lnTo>
                  <a:lnTo>
                    <a:pt x="49" y="101"/>
                  </a:lnTo>
                  <a:lnTo>
                    <a:pt x="57" y="92"/>
                  </a:lnTo>
                  <a:lnTo>
                    <a:pt x="65" y="82"/>
                  </a:lnTo>
                  <a:lnTo>
                    <a:pt x="73" y="74"/>
                  </a:lnTo>
                  <a:lnTo>
                    <a:pt x="82" y="65"/>
                  </a:lnTo>
                  <a:lnTo>
                    <a:pt x="91" y="58"/>
                  </a:lnTo>
                  <a:lnTo>
                    <a:pt x="100" y="50"/>
                  </a:lnTo>
                  <a:lnTo>
                    <a:pt x="110" y="43"/>
                  </a:lnTo>
                  <a:lnTo>
                    <a:pt x="120" y="37"/>
                  </a:lnTo>
                  <a:lnTo>
                    <a:pt x="131" y="31"/>
                  </a:lnTo>
                  <a:lnTo>
                    <a:pt x="141" y="25"/>
                  </a:lnTo>
                  <a:lnTo>
                    <a:pt x="153" y="20"/>
                  </a:lnTo>
                  <a:lnTo>
                    <a:pt x="165" y="16"/>
                  </a:lnTo>
                  <a:lnTo>
                    <a:pt x="176" y="12"/>
                  </a:lnTo>
                  <a:lnTo>
                    <a:pt x="188" y="8"/>
                  </a:lnTo>
                  <a:lnTo>
                    <a:pt x="200" y="6"/>
                  </a:lnTo>
                  <a:lnTo>
                    <a:pt x="213" y="3"/>
                  </a:lnTo>
                  <a:lnTo>
                    <a:pt x="225" y="2"/>
                  </a:lnTo>
                  <a:lnTo>
                    <a:pt x="238" y="1"/>
                  </a:lnTo>
                  <a:lnTo>
                    <a:pt x="251" y="0"/>
                  </a:lnTo>
                  <a:lnTo>
                    <a:pt x="754" y="0"/>
                  </a:lnTo>
                  <a:lnTo>
                    <a:pt x="767" y="1"/>
                  </a:lnTo>
                  <a:lnTo>
                    <a:pt x="779" y="2"/>
                  </a:lnTo>
                  <a:lnTo>
                    <a:pt x="792" y="3"/>
                  </a:lnTo>
                  <a:lnTo>
                    <a:pt x="804" y="6"/>
                  </a:lnTo>
                  <a:lnTo>
                    <a:pt x="816" y="8"/>
                  </a:lnTo>
                  <a:lnTo>
                    <a:pt x="828" y="12"/>
                  </a:lnTo>
                  <a:lnTo>
                    <a:pt x="840" y="16"/>
                  </a:lnTo>
                  <a:lnTo>
                    <a:pt x="851" y="20"/>
                  </a:lnTo>
                  <a:lnTo>
                    <a:pt x="863" y="25"/>
                  </a:lnTo>
                  <a:lnTo>
                    <a:pt x="874" y="31"/>
                  </a:lnTo>
                  <a:lnTo>
                    <a:pt x="884" y="37"/>
                  </a:lnTo>
                  <a:lnTo>
                    <a:pt x="894" y="43"/>
                  </a:lnTo>
                  <a:lnTo>
                    <a:pt x="904" y="50"/>
                  </a:lnTo>
                  <a:lnTo>
                    <a:pt x="914" y="58"/>
                  </a:lnTo>
                  <a:lnTo>
                    <a:pt x="923" y="65"/>
                  </a:lnTo>
                  <a:lnTo>
                    <a:pt x="932" y="74"/>
                  </a:lnTo>
                  <a:lnTo>
                    <a:pt x="940" y="82"/>
                  </a:lnTo>
                  <a:lnTo>
                    <a:pt x="948" y="92"/>
                  </a:lnTo>
                  <a:lnTo>
                    <a:pt x="955" y="101"/>
                  </a:lnTo>
                  <a:lnTo>
                    <a:pt x="962" y="111"/>
                  </a:lnTo>
                  <a:lnTo>
                    <a:pt x="969" y="121"/>
                  </a:lnTo>
                  <a:lnTo>
                    <a:pt x="975" y="131"/>
                  </a:lnTo>
                  <a:lnTo>
                    <a:pt x="980" y="142"/>
                  </a:lnTo>
                  <a:lnTo>
                    <a:pt x="985" y="153"/>
                  </a:lnTo>
                  <a:lnTo>
                    <a:pt x="990" y="165"/>
                  </a:lnTo>
                  <a:lnTo>
                    <a:pt x="994" y="176"/>
                  </a:lnTo>
                  <a:lnTo>
                    <a:pt x="997" y="188"/>
                  </a:lnTo>
                  <a:lnTo>
                    <a:pt x="1000" y="200"/>
                  </a:lnTo>
                  <a:lnTo>
                    <a:pt x="1002" y="214"/>
                  </a:lnTo>
                  <a:lnTo>
                    <a:pt x="1004" y="226"/>
                  </a:lnTo>
                  <a:lnTo>
                    <a:pt x="1005" y="239"/>
                  </a:lnTo>
                  <a:lnTo>
                    <a:pt x="1005" y="2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43" name="íS1idê">
              <a:extLst>
                <a:ext uri="{FF2B5EF4-FFF2-40B4-BE49-F238E27FC236}">
                  <a16:creationId xmlns:a16="http://schemas.microsoft.com/office/drawing/2014/main" id="{60171F36-3A6B-4F51-85DD-05DFC5BB1967}"/>
                </a:ext>
              </a:extLst>
            </p:cNvPr>
            <p:cNvSpPr/>
            <p:nvPr/>
          </p:nvSpPr>
          <p:spPr bwMode="auto">
            <a:xfrm>
              <a:off x="8197203" y="2640891"/>
              <a:ext cx="200484" cy="200483"/>
            </a:xfrm>
            <a:custGeom>
              <a:avLst/>
              <a:gdLst>
                <a:gd name="T0" fmla="*/ 11128 w 16095"/>
                <a:gd name="T1" fmla="*/ 11977 h 16095"/>
                <a:gd name="T2" fmla="*/ 11777 w 16095"/>
                <a:gd name="T3" fmla="*/ 9543 h 16095"/>
                <a:gd name="T4" fmla="*/ 13241 w 16095"/>
                <a:gd name="T5" fmla="*/ 8457 h 16095"/>
                <a:gd name="T6" fmla="*/ 13492 w 16095"/>
                <a:gd name="T7" fmla="*/ 6286 h 16095"/>
                <a:gd name="T8" fmla="*/ 12358 w 16095"/>
                <a:gd name="T9" fmla="*/ 4722 h 16095"/>
                <a:gd name="T10" fmla="*/ 10731 w 16095"/>
                <a:gd name="T11" fmla="*/ 2943 h 16095"/>
                <a:gd name="T12" fmla="*/ 12110 w 16095"/>
                <a:gd name="T13" fmla="*/ 1109 h 16095"/>
                <a:gd name="T14" fmla="*/ 14079 w 16095"/>
                <a:gd name="T15" fmla="*/ 2205 h 16095"/>
                <a:gd name="T16" fmla="*/ 15086 w 16095"/>
                <a:gd name="T17" fmla="*/ 6731 h 16095"/>
                <a:gd name="T18" fmla="*/ 14265 w 16095"/>
                <a:gd name="T19" fmla="*/ 11509 h 16095"/>
                <a:gd name="T20" fmla="*/ 6539 w 16095"/>
                <a:gd name="T21" fmla="*/ 8550 h 16095"/>
                <a:gd name="T22" fmla="*/ 5762 w 16095"/>
                <a:gd name="T23" fmla="*/ 8001 h 16095"/>
                <a:gd name="T24" fmla="*/ 5553 w 16095"/>
                <a:gd name="T25" fmla="*/ 6738 h 16095"/>
                <a:gd name="T26" fmla="*/ 6059 w 16095"/>
                <a:gd name="T27" fmla="*/ 5715 h 16095"/>
                <a:gd name="T28" fmla="*/ 7265 w 16095"/>
                <a:gd name="T29" fmla="*/ 5480 h 16095"/>
                <a:gd name="T30" fmla="*/ 8743 w 16095"/>
                <a:gd name="T31" fmla="*/ 4899 h 16095"/>
                <a:gd name="T32" fmla="*/ 9075 w 16095"/>
                <a:gd name="T33" fmla="*/ 6240 h 16095"/>
                <a:gd name="T34" fmla="*/ 9198 w 16095"/>
                <a:gd name="T35" fmla="*/ 9111 h 16095"/>
                <a:gd name="T36" fmla="*/ 8106 w 16095"/>
                <a:gd name="T37" fmla="*/ 8857 h 16095"/>
                <a:gd name="T38" fmla="*/ 6033 w 16095"/>
                <a:gd name="T39" fmla="*/ 15089 h 16095"/>
                <a:gd name="T40" fmla="*/ 3950 w 16095"/>
                <a:gd name="T41" fmla="*/ 10033 h 16095"/>
                <a:gd name="T42" fmla="*/ 4102 w 16095"/>
                <a:gd name="T43" fmla="*/ 9562 h 16095"/>
                <a:gd name="T44" fmla="*/ 5530 w 16095"/>
                <a:gd name="T45" fmla="*/ 13580 h 16095"/>
                <a:gd name="T46" fmla="*/ 5719 w 16095"/>
                <a:gd name="T47" fmla="*/ 14249 h 16095"/>
                <a:gd name="T48" fmla="*/ 1011 w 16095"/>
                <a:gd name="T49" fmla="*/ 6888 h 16095"/>
                <a:gd name="T50" fmla="*/ 1450 w 16095"/>
                <a:gd name="T51" fmla="*/ 5790 h 16095"/>
                <a:gd name="T52" fmla="*/ 5402 w 16095"/>
                <a:gd name="T53" fmla="*/ 5717 h 16095"/>
                <a:gd name="T54" fmla="*/ 5075 w 16095"/>
                <a:gd name="T55" fmla="*/ 6548 h 16095"/>
                <a:gd name="T56" fmla="*/ 5075 w 16095"/>
                <a:gd name="T57" fmla="*/ 7536 h 16095"/>
                <a:gd name="T58" fmla="*/ 5402 w 16095"/>
                <a:gd name="T59" fmla="*/ 8367 h 16095"/>
                <a:gd name="T60" fmla="*/ 1450 w 16095"/>
                <a:gd name="T61" fmla="*/ 8293 h 16095"/>
                <a:gd name="T62" fmla="*/ 1011 w 16095"/>
                <a:gd name="T63" fmla="*/ 7196 h 16095"/>
                <a:gd name="T64" fmla="*/ 10133 w 16095"/>
                <a:gd name="T65" fmla="*/ 5623 h 16095"/>
                <a:gd name="T66" fmla="*/ 12279 w 16095"/>
                <a:gd name="T67" fmla="*/ 5974 h 16095"/>
                <a:gd name="T68" fmla="*/ 12569 w 16095"/>
                <a:gd name="T69" fmla="*/ 7196 h 16095"/>
                <a:gd name="T70" fmla="*/ 12131 w 16095"/>
                <a:gd name="T71" fmla="*/ 8293 h 16095"/>
                <a:gd name="T72" fmla="*/ 10100 w 16095"/>
                <a:gd name="T73" fmla="*/ 8092 h 16095"/>
                <a:gd name="T74" fmla="*/ 12017 w 16095"/>
                <a:gd name="T75" fmla="*/ 72 h 16095"/>
                <a:gd name="T76" fmla="*/ 10628 w 16095"/>
                <a:gd name="T77" fmla="*/ 1060 h 16095"/>
                <a:gd name="T78" fmla="*/ 9332 w 16095"/>
                <a:gd name="T79" fmla="*/ 3046 h 16095"/>
                <a:gd name="T80" fmla="*/ 7289 w 16095"/>
                <a:gd name="T81" fmla="*/ 4450 h 16095"/>
                <a:gd name="T82" fmla="*/ 1045 w 16095"/>
                <a:gd name="T83" fmla="*/ 4826 h 16095"/>
                <a:gd name="T84" fmla="*/ 40 w 16095"/>
                <a:gd name="T85" fmla="*/ 6529 h 16095"/>
                <a:gd name="T86" fmla="*/ 454 w 16095"/>
                <a:gd name="T87" fmla="*/ 8650 h 16095"/>
                <a:gd name="T88" fmla="*/ 2012 w 16095"/>
                <a:gd name="T89" fmla="*/ 9556 h 16095"/>
                <a:gd name="T90" fmla="*/ 2785 w 16095"/>
                <a:gd name="T91" fmla="*/ 9924 h 16095"/>
                <a:gd name="T92" fmla="*/ 3026 w 16095"/>
                <a:gd name="T93" fmla="*/ 15242 h 16095"/>
                <a:gd name="T94" fmla="*/ 3500 w 16095"/>
                <a:gd name="T95" fmla="*/ 15949 h 16095"/>
                <a:gd name="T96" fmla="*/ 6332 w 16095"/>
                <a:gd name="T97" fmla="*/ 16050 h 16095"/>
                <a:gd name="T98" fmla="*/ 6960 w 16095"/>
                <a:gd name="T99" fmla="*/ 15480 h 16095"/>
                <a:gd name="T100" fmla="*/ 6942 w 16095"/>
                <a:gd name="T101" fmla="*/ 14220 h 16095"/>
                <a:gd name="T102" fmla="*/ 6548 w 16095"/>
                <a:gd name="T103" fmla="*/ 13658 h 16095"/>
                <a:gd name="T104" fmla="*/ 6615 w 16095"/>
                <a:gd name="T105" fmla="*/ 9807 h 16095"/>
                <a:gd name="T106" fmla="*/ 6860 w 16095"/>
                <a:gd name="T107" fmla="*/ 9606 h 16095"/>
                <a:gd name="T108" fmla="*/ 8713 w 16095"/>
                <a:gd name="T109" fmla="*/ 10411 h 16095"/>
                <a:gd name="T110" fmla="*/ 10205 w 16095"/>
                <a:gd name="T111" fmla="*/ 12386 h 16095"/>
                <a:gd name="T112" fmla="*/ 11427 w 16095"/>
                <a:gd name="T113" fmla="*/ 13755 h 16095"/>
                <a:gd name="T114" fmla="*/ 13576 w 16095"/>
                <a:gd name="T115" fmla="*/ 13838 h 16095"/>
                <a:gd name="T116" fmla="*/ 15810 w 16095"/>
                <a:gd name="T117" fmla="*/ 9925 h 16095"/>
                <a:gd name="T118" fmla="*/ 15810 w 16095"/>
                <a:gd name="T119" fmla="*/ 4159 h 16095"/>
                <a:gd name="T120" fmla="*/ 13576 w 16095"/>
                <a:gd name="T121" fmla="*/ 245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095" h="16095">
                  <a:moveTo>
                    <a:pt x="12574" y="13077"/>
                  </a:moveTo>
                  <a:lnTo>
                    <a:pt x="12480" y="13073"/>
                  </a:lnTo>
                  <a:lnTo>
                    <a:pt x="12386" y="13060"/>
                  </a:lnTo>
                  <a:lnTo>
                    <a:pt x="12293" y="13040"/>
                  </a:lnTo>
                  <a:lnTo>
                    <a:pt x="12201" y="13011"/>
                  </a:lnTo>
                  <a:lnTo>
                    <a:pt x="12110" y="12975"/>
                  </a:lnTo>
                  <a:lnTo>
                    <a:pt x="12021" y="12930"/>
                  </a:lnTo>
                  <a:lnTo>
                    <a:pt x="11932" y="12878"/>
                  </a:lnTo>
                  <a:lnTo>
                    <a:pt x="11845" y="12819"/>
                  </a:lnTo>
                  <a:lnTo>
                    <a:pt x="11759" y="12752"/>
                  </a:lnTo>
                  <a:lnTo>
                    <a:pt x="11675" y="12679"/>
                  </a:lnTo>
                  <a:lnTo>
                    <a:pt x="11591" y="12598"/>
                  </a:lnTo>
                  <a:lnTo>
                    <a:pt x="11510" y="12511"/>
                  </a:lnTo>
                  <a:lnTo>
                    <a:pt x="11430" y="12416"/>
                  </a:lnTo>
                  <a:lnTo>
                    <a:pt x="11352" y="12316"/>
                  </a:lnTo>
                  <a:lnTo>
                    <a:pt x="11276" y="12209"/>
                  </a:lnTo>
                  <a:lnTo>
                    <a:pt x="11201" y="12095"/>
                  </a:lnTo>
                  <a:lnTo>
                    <a:pt x="11128" y="11977"/>
                  </a:lnTo>
                  <a:lnTo>
                    <a:pt x="11056" y="11851"/>
                  </a:lnTo>
                  <a:lnTo>
                    <a:pt x="10988" y="11720"/>
                  </a:lnTo>
                  <a:lnTo>
                    <a:pt x="10920" y="11583"/>
                  </a:lnTo>
                  <a:lnTo>
                    <a:pt x="10855" y="11441"/>
                  </a:lnTo>
                  <a:lnTo>
                    <a:pt x="10792" y="11294"/>
                  </a:lnTo>
                  <a:lnTo>
                    <a:pt x="10731" y="11141"/>
                  </a:lnTo>
                  <a:lnTo>
                    <a:pt x="10672" y="10983"/>
                  </a:lnTo>
                  <a:lnTo>
                    <a:pt x="10616" y="10820"/>
                  </a:lnTo>
                  <a:lnTo>
                    <a:pt x="10561" y="10653"/>
                  </a:lnTo>
                  <a:lnTo>
                    <a:pt x="10510" y="10481"/>
                  </a:lnTo>
                  <a:lnTo>
                    <a:pt x="10461" y="10304"/>
                  </a:lnTo>
                  <a:lnTo>
                    <a:pt x="10414" y="10123"/>
                  </a:lnTo>
                  <a:lnTo>
                    <a:pt x="10370" y="9939"/>
                  </a:lnTo>
                  <a:lnTo>
                    <a:pt x="10329" y="9750"/>
                  </a:lnTo>
                  <a:lnTo>
                    <a:pt x="10291" y="9556"/>
                  </a:lnTo>
                  <a:lnTo>
                    <a:pt x="11568" y="9556"/>
                  </a:lnTo>
                  <a:lnTo>
                    <a:pt x="11673" y="9553"/>
                  </a:lnTo>
                  <a:lnTo>
                    <a:pt x="11777" y="9543"/>
                  </a:lnTo>
                  <a:lnTo>
                    <a:pt x="11878" y="9528"/>
                  </a:lnTo>
                  <a:lnTo>
                    <a:pt x="11979" y="9506"/>
                  </a:lnTo>
                  <a:lnTo>
                    <a:pt x="12076" y="9479"/>
                  </a:lnTo>
                  <a:lnTo>
                    <a:pt x="12173" y="9445"/>
                  </a:lnTo>
                  <a:lnTo>
                    <a:pt x="12266" y="9407"/>
                  </a:lnTo>
                  <a:lnTo>
                    <a:pt x="12358" y="9362"/>
                  </a:lnTo>
                  <a:lnTo>
                    <a:pt x="12447" y="9312"/>
                  </a:lnTo>
                  <a:lnTo>
                    <a:pt x="12535" y="9258"/>
                  </a:lnTo>
                  <a:lnTo>
                    <a:pt x="12618" y="9197"/>
                  </a:lnTo>
                  <a:lnTo>
                    <a:pt x="12700" y="9133"/>
                  </a:lnTo>
                  <a:lnTo>
                    <a:pt x="12779" y="9063"/>
                  </a:lnTo>
                  <a:lnTo>
                    <a:pt x="12855" y="8989"/>
                  </a:lnTo>
                  <a:lnTo>
                    <a:pt x="12927" y="8911"/>
                  </a:lnTo>
                  <a:lnTo>
                    <a:pt x="12997" y="8828"/>
                  </a:lnTo>
                  <a:lnTo>
                    <a:pt x="13063" y="8742"/>
                  </a:lnTo>
                  <a:lnTo>
                    <a:pt x="13126" y="8650"/>
                  </a:lnTo>
                  <a:lnTo>
                    <a:pt x="13186" y="8555"/>
                  </a:lnTo>
                  <a:lnTo>
                    <a:pt x="13241" y="8457"/>
                  </a:lnTo>
                  <a:lnTo>
                    <a:pt x="13292" y="8355"/>
                  </a:lnTo>
                  <a:lnTo>
                    <a:pt x="13341" y="8250"/>
                  </a:lnTo>
                  <a:lnTo>
                    <a:pt x="13385" y="8141"/>
                  </a:lnTo>
                  <a:lnTo>
                    <a:pt x="13424" y="8029"/>
                  </a:lnTo>
                  <a:lnTo>
                    <a:pt x="13460" y="7915"/>
                  </a:lnTo>
                  <a:lnTo>
                    <a:pt x="13492" y="7798"/>
                  </a:lnTo>
                  <a:lnTo>
                    <a:pt x="13518" y="7677"/>
                  </a:lnTo>
                  <a:lnTo>
                    <a:pt x="13540" y="7555"/>
                  </a:lnTo>
                  <a:lnTo>
                    <a:pt x="13557" y="7430"/>
                  </a:lnTo>
                  <a:lnTo>
                    <a:pt x="13570" y="7302"/>
                  </a:lnTo>
                  <a:lnTo>
                    <a:pt x="13577" y="7173"/>
                  </a:lnTo>
                  <a:lnTo>
                    <a:pt x="13580" y="7042"/>
                  </a:lnTo>
                  <a:lnTo>
                    <a:pt x="13577" y="6911"/>
                  </a:lnTo>
                  <a:lnTo>
                    <a:pt x="13570" y="6781"/>
                  </a:lnTo>
                  <a:lnTo>
                    <a:pt x="13557" y="6653"/>
                  </a:lnTo>
                  <a:lnTo>
                    <a:pt x="13540" y="6529"/>
                  </a:lnTo>
                  <a:lnTo>
                    <a:pt x="13518" y="6406"/>
                  </a:lnTo>
                  <a:lnTo>
                    <a:pt x="13492" y="6286"/>
                  </a:lnTo>
                  <a:lnTo>
                    <a:pt x="13460" y="6168"/>
                  </a:lnTo>
                  <a:lnTo>
                    <a:pt x="13424" y="6054"/>
                  </a:lnTo>
                  <a:lnTo>
                    <a:pt x="13385" y="5942"/>
                  </a:lnTo>
                  <a:lnTo>
                    <a:pt x="13341" y="5833"/>
                  </a:lnTo>
                  <a:lnTo>
                    <a:pt x="13292" y="5728"/>
                  </a:lnTo>
                  <a:lnTo>
                    <a:pt x="13241" y="5626"/>
                  </a:lnTo>
                  <a:lnTo>
                    <a:pt x="13186" y="5528"/>
                  </a:lnTo>
                  <a:lnTo>
                    <a:pt x="13126" y="5433"/>
                  </a:lnTo>
                  <a:lnTo>
                    <a:pt x="13063" y="5343"/>
                  </a:lnTo>
                  <a:lnTo>
                    <a:pt x="12997" y="5255"/>
                  </a:lnTo>
                  <a:lnTo>
                    <a:pt x="12927" y="5173"/>
                  </a:lnTo>
                  <a:lnTo>
                    <a:pt x="12855" y="5094"/>
                  </a:lnTo>
                  <a:lnTo>
                    <a:pt x="12779" y="5020"/>
                  </a:lnTo>
                  <a:lnTo>
                    <a:pt x="12700" y="4950"/>
                  </a:lnTo>
                  <a:lnTo>
                    <a:pt x="12618" y="4886"/>
                  </a:lnTo>
                  <a:lnTo>
                    <a:pt x="12535" y="4826"/>
                  </a:lnTo>
                  <a:lnTo>
                    <a:pt x="12447" y="4771"/>
                  </a:lnTo>
                  <a:lnTo>
                    <a:pt x="12358" y="4722"/>
                  </a:lnTo>
                  <a:lnTo>
                    <a:pt x="12266" y="4677"/>
                  </a:lnTo>
                  <a:lnTo>
                    <a:pt x="12173" y="4638"/>
                  </a:lnTo>
                  <a:lnTo>
                    <a:pt x="12076" y="4604"/>
                  </a:lnTo>
                  <a:lnTo>
                    <a:pt x="11979" y="4577"/>
                  </a:lnTo>
                  <a:lnTo>
                    <a:pt x="11878" y="4555"/>
                  </a:lnTo>
                  <a:lnTo>
                    <a:pt x="11777" y="4540"/>
                  </a:lnTo>
                  <a:lnTo>
                    <a:pt x="11673" y="4530"/>
                  </a:lnTo>
                  <a:lnTo>
                    <a:pt x="11568" y="4527"/>
                  </a:lnTo>
                  <a:lnTo>
                    <a:pt x="10291" y="4527"/>
                  </a:lnTo>
                  <a:lnTo>
                    <a:pt x="10329" y="4334"/>
                  </a:lnTo>
                  <a:lnTo>
                    <a:pt x="10370" y="4145"/>
                  </a:lnTo>
                  <a:lnTo>
                    <a:pt x="10414" y="3960"/>
                  </a:lnTo>
                  <a:lnTo>
                    <a:pt x="10461" y="3779"/>
                  </a:lnTo>
                  <a:lnTo>
                    <a:pt x="10510" y="3603"/>
                  </a:lnTo>
                  <a:lnTo>
                    <a:pt x="10561" y="3431"/>
                  </a:lnTo>
                  <a:lnTo>
                    <a:pt x="10616" y="3263"/>
                  </a:lnTo>
                  <a:lnTo>
                    <a:pt x="10672" y="3101"/>
                  </a:lnTo>
                  <a:lnTo>
                    <a:pt x="10731" y="2943"/>
                  </a:lnTo>
                  <a:lnTo>
                    <a:pt x="10792" y="2790"/>
                  </a:lnTo>
                  <a:lnTo>
                    <a:pt x="10855" y="2643"/>
                  </a:lnTo>
                  <a:lnTo>
                    <a:pt x="10920" y="2501"/>
                  </a:lnTo>
                  <a:lnTo>
                    <a:pt x="10988" y="2364"/>
                  </a:lnTo>
                  <a:lnTo>
                    <a:pt x="11056" y="2232"/>
                  </a:lnTo>
                  <a:lnTo>
                    <a:pt x="11128" y="2107"/>
                  </a:lnTo>
                  <a:lnTo>
                    <a:pt x="11201" y="1988"/>
                  </a:lnTo>
                  <a:lnTo>
                    <a:pt x="11276" y="1874"/>
                  </a:lnTo>
                  <a:lnTo>
                    <a:pt x="11352" y="1767"/>
                  </a:lnTo>
                  <a:lnTo>
                    <a:pt x="11430" y="1667"/>
                  </a:lnTo>
                  <a:lnTo>
                    <a:pt x="11510" y="1572"/>
                  </a:lnTo>
                  <a:lnTo>
                    <a:pt x="11591" y="1485"/>
                  </a:lnTo>
                  <a:lnTo>
                    <a:pt x="11675" y="1404"/>
                  </a:lnTo>
                  <a:lnTo>
                    <a:pt x="11759" y="1331"/>
                  </a:lnTo>
                  <a:lnTo>
                    <a:pt x="11845" y="1264"/>
                  </a:lnTo>
                  <a:lnTo>
                    <a:pt x="11932" y="1205"/>
                  </a:lnTo>
                  <a:lnTo>
                    <a:pt x="12021" y="1153"/>
                  </a:lnTo>
                  <a:lnTo>
                    <a:pt x="12110" y="1109"/>
                  </a:lnTo>
                  <a:lnTo>
                    <a:pt x="12201" y="1072"/>
                  </a:lnTo>
                  <a:lnTo>
                    <a:pt x="12293" y="1043"/>
                  </a:lnTo>
                  <a:lnTo>
                    <a:pt x="12386" y="1023"/>
                  </a:lnTo>
                  <a:lnTo>
                    <a:pt x="12480" y="1010"/>
                  </a:lnTo>
                  <a:lnTo>
                    <a:pt x="12574" y="1006"/>
                  </a:lnTo>
                  <a:lnTo>
                    <a:pt x="12704" y="1014"/>
                  </a:lnTo>
                  <a:lnTo>
                    <a:pt x="12832" y="1037"/>
                  </a:lnTo>
                  <a:lnTo>
                    <a:pt x="12957" y="1075"/>
                  </a:lnTo>
                  <a:lnTo>
                    <a:pt x="13081" y="1129"/>
                  </a:lnTo>
                  <a:lnTo>
                    <a:pt x="13203" y="1196"/>
                  </a:lnTo>
                  <a:lnTo>
                    <a:pt x="13323" y="1278"/>
                  </a:lnTo>
                  <a:lnTo>
                    <a:pt x="13439" y="1372"/>
                  </a:lnTo>
                  <a:lnTo>
                    <a:pt x="13553" y="1480"/>
                  </a:lnTo>
                  <a:lnTo>
                    <a:pt x="13665" y="1601"/>
                  </a:lnTo>
                  <a:lnTo>
                    <a:pt x="13773" y="1734"/>
                  </a:lnTo>
                  <a:lnTo>
                    <a:pt x="13878" y="1880"/>
                  </a:lnTo>
                  <a:lnTo>
                    <a:pt x="13981" y="2037"/>
                  </a:lnTo>
                  <a:lnTo>
                    <a:pt x="14079" y="2205"/>
                  </a:lnTo>
                  <a:lnTo>
                    <a:pt x="14174" y="2384"/>
                  </a:lnTo>
                  <a:lnTo>
                    <a:pt x="14265" y="2574"/>
                  </a:lnTo>
                  <a:lnTo>
                    <a:pt x="14353" y="2773"/>
                  </a:lnTo>
                  <a:lnTo>
                    <a:pt x="14436" y="2984"/>
                  </a:lnTo>
                  <a:lnTo>
                    <a:pt x="14515" y="3202"/>
                  </a:lnTo>
                  <a:lnTo>
                    <a:pt x="14589" y="3430"/>
                  </a:lnTo>
                  <a:lnTo>
                    <a:pt x="14660" y="3667"/>
                  </a:lnTo>
                  <a:lnTo>
                    <a:pt x="14725" y="3912"/>
                  </a:lnTo>
                  <a:lnTo>
                    <a:pt x="14785" y="4165"/>
                  </a:lnTo>
                  <a:lnTo>
                    <a:pt x="14841" y="4425"/>
                  </a:lnTo>
                  <a:lnTo>
                    <a:pt x="14892" y="4693"/>
                  </a:lnTo>
                  <a:lnTo>
                    <a:pt x="14936" y="4966"/>
                  </a:lnTo>
                  <a:lnTo>
                    <a:pt x="14976" y="5247"/>
                  </a:lnTo>
                  <a:lnTo>
                    <a:pt x="15010" y="5534"/>
                  </a:lnTo>
                  <a:lnTo>
                    <a:pt x="15038" y="5825"/>
                  </a:lnTo>
                  <a:lnTo>
                    <a:pt x="15060" y="6122"/>
                  </a:lnTo>
                  <a:lnTo>
                    <a:pt x="15076" y="6425"/>
                  </a:lnTo>
                  <a:lnTo>
                    <a:pt x="15086" y="6731"/>
                  </a:lnTo>
                  <a:lnTo>
                    <a:pt x="15089" y="7042"/>
                  </a:lnTo>
                  <a:lnTo>
                    <a:pt x="15086" y="7352"/>
                  </a:lnTo>
                  <a:lnTo>
                    <a:pt x="15076" y="7658"/>
                  </a:lnTo>
                  <a:lnTo>
                    <a:pt x="15060" y="7961"/>
                  </a:lnTo>
                  <a:lnTo>
                    <a:pt x="15038" y="8258"/>
                  </a:lnTo>
                  <a:lnTo>
                    <a:pt x="15010" y="8549"/>
                  </a:lnTo>
                  <a:lnTo>
                    <a:pt x="14976" y="8836"/>
                  </a:lnTo>
                  <a:lnTo>
                    <a:pt x="14936" y="9117"/>
                  </a:lnTo>
                  <a:lnTo>
                    <a:pt x="14892" y="9390"/>
                  </a:lnTo>
                  <a:lnTo>
                    <a:pt x="14841" y="9658"/>
                  </a:lnTo>
                  <a:lnTo>
                    <a:pt x="14785" y="9919"/>
                  </a:lnTo>
                  <a:lnTo>
                    <a:pt x="14725" y="10171"/>
                  </a:lnTo>
                  <a:lnTo>
                    <a:pt x="14660" y="10416"/>
                  </a:lnTo>
                  <a:lnTo>
                    <a:pt x="14589" y="10653"/>
                  </a:lnTo>
                  <a:lnTo>
                    <a:pt x="14515" y="10880"/>
                  </a:lnTo>
                  <a:lnTo>
                    <a:pt x="14436" y="11100"/>
                  </a:lnTo>
                  <a:lnTo>
                    <a:pt x="14353" y="11310"/>
                  </a:lnTo>
                  <a:lnTo>
                    <a:pt x="14265" y="11509"/>
                  </a:lnTo>
                  <a:lnTo>
                    <a:pt x="14174" y="11699"/>
                  </a:lnTo>
                  <a:lnTo>
                    <a:pt x="14079" y="11878"/>
                  </a:lnTo>
                  <a:lnTo>
                    <a:pt x="13981" y="12046"/>
                  </a:lnTo>
                  <a:lnTo>
                    <a:pt x="13878" y="12203"/>
                  </a:lnTo>
                  <a:lnTo>
                    <a:pt x="13773" y="12349"/>
                  </a:lnTo>
                  <a:lnTo>
                    <a:pt x="13665" y="12482"/>
                  </a:lnTo>
                  <a:lnTo>
                    <a:pt x="13553" y="12602"/>
                  </a:lnTo>
                  <a:lnTo>
                    <a:pt x="13439" y="12711"/>
                  </a:lnTo>
                  <a:lnTo>
                    <a:pt x="13323" y="12806"/>
                  </a:lnTo>
                  <a:lnTo>
                    <a:pt x="13203" y="12887"/>
                  </a:lnTo>
                  <a:lnTo>
                    <a:pt x="13081" y="12954"/>
                  </a:lnTo>
                  <a:lnTo>
                    <a:pt x="12957" y="13008"/>
                  </a:lnTo>
                  <a:lnTo>
                    <a:pt x="12832" y="13046"/>
                  </a:lnTo>
                  <a:lnTo>
                    <a:pt x="12704" y="13069"/>
                  </a:lnTo>
                  <a:lnTo>
                    <a:pt x="12574" y="13077"/>
                  </a:lnTo>
                  <a:close/>
                  <a:moveTo>
                    <a:pt x="6652" y="8557"/>
                  </a:moveTo>
                  <a:lnTo>
                    <a:pt x="6539" y="8557"/>
                  </a:lnTo>
                  <a:lnTo>
                    <a:pt x="6539" y="8550"/>
                  </a:lnTo>
                  <a:lnTo>
                    <a:pt x="6487" y="8548"/>
                  </a:lnTo>
                  <a:lnTo>
                    <a:pt x="6436" y="8542"/>
                  </a:lnTo>
                  <a:lnTo>
                    <a:pt x="6386" y="8533"/>
                  </a:lnTo>
                  <a:lnTo>
                    <a:pt x="6335" y="8520"/>
                  </a:lnTo>
                  <a:lnTo>
                    <a:pt x="6287" y="8503"/>
                  </a:lnTo>
                  <a:lnTo>
                    <a:pt x="6240" y="8483"/>
                  </a:lnTo>
                  <a:lnTo>
                    <a:pt x="6193" y="8459"/>
                  </a:lnTo>
                  <a:lnTo>
                    <a:pt x="6147" y="8432"/>
                  </a:lnTo>
                  <a:lnTo>
                    <a:pt x="6102" y="8402"/>
                  </a:lnTo>
                  <a:lnTo>
                    <a:pt x="6059" y="8368"/>
                  </a:lnTo>
                  <a:lnTo>
                    <a:pt x="6017" y="8332"/>
                  </a:lnTo>
                  <a:lnTo>
                    <a:pt x="5976" y="8293"/>
                  </a:lnTo>
                  <a:lnTo>
                    <a:pt x="5937" y="8251"/>
                  </a:lnTo>
                  <a:lnTo>
                    <a:pt x="5899" y="8206"/>
                  </a:lnTo>
                  <a:lnTo>
                    <a:pt x="5863" y="8158"/>
                  </a:lnTo>
                  <a:lnTo>
                    <a:pt x="5827" y="8109"/>
                  </a:lnTo>
                  <a:lnTo>
                    <a:pt x="5794" y="8057"/>
                  </a:lnTo>
                  <a:lnTo>
                    <a:pt x="5762" y="8001"/>
                  </a:lnTo>
                  <a:lnTo>
                    <a:pt x="5733" y="7945"/>
                  </a:lnTo>
                  <a:lnTo>
                    <a:pt x="5705" y="7886"/>
                  </a:lnTo>
                  <a:lnTo>
                    <a:pt x="5679" y="7824"/>
                  </a:lnTo>
                  <a:lnTo>
                    <a:pt x="5654" y="7761"/>
                  </a:lnTo>
                  <a:lnTo>
                    <a:pt x="5632" y="7696"/>
                  </a:lnTo>
                  <a:lnTo>
                    <a:pt x="5611" y="7629"/>
                  </a:lnTo>
                  <a:lnTo>
                    <a:pt x="5594" y="7561"/>
                  </a:lnTo>
                  <a:lnTo>
                    <a:pt x="5578" y="7490"/>
                  </a:lnTo>
                  <a:lnTo>
                    <a:pt x="5564" y="7419"/>
                  </a:lnTo>
                  <a:lnTo>
                    <a:pt x="5553" y="7345"/>
                  </a:lnTo>
                  <a:lnTo>
                    <a:pt x="5544" y="7272"/>
                  </a:lnTo>
                  <a:lnTo>
                    <a:pt x="5538" y="7196"/>
                  </a:lnTo>
                  <a:lnTo>
                    <a:pt x="5534" y="7119"/>
                  </a:lnTo>
                  <a:lnTo>
                    <a:pt x="5533" y="7042"/>
                  </a:lnTo>
                  <a:lnTo>
                    <a:pt x="5534" y="6964"/>
                  </a:lnTo>
                  <a:lnTo>
                    <a:pt x="5538" y="6888"/>
                  </a:lnTo>
                  <a:lnTo>
                    <a:pt x="5544" y="6812"/>
                  </a:lnTo>
                  <a:lnTo>
                    <a:pt x="5553" y="6738"/>
                  </a:lnTo>
                  <a:lnTo>
                    <a:pt x="5564" y="6664"/>
                  </a:lnTo>
                  <a:lnTo>
                    <a:pt x="5578" y="6593"/>
                  </a:lnTo>
                  <a:lnTo>
                    <a:pt x="5594" y="6522"/>
                  </a:lnTo>
                  <a:lnTo>
                    <a:pt x="5611" y="6454"/>
                  </a:lnTo>
                  <a:lnTo>
                    <a:pt x="5632" y="6388"/>
                  </a:lnTo>
                  <a:lnTo>
                    <a:pt x="5654" y="6322"/>
                  </a:lnTo>
                  <a:lnTo>
                    <a:pt x="5679" y="6259"/>
                  </a:lnTo>
                  <a:lnTo>
                    <a:pt x="5705" y="6199"/>
                  </a:lnTo>
                  <a:lnTo>
                    <a:pt x="5733" y="6139"/>
                  </a:lnTo>
                  <a:lnTo>
                    <a:pt x="5762" y="6082"/>
                  </a:lnTo>
                  <a:lnTo>
                    <a:pt x="5794" y="6028"/>
                  </a:lnTo>
                  <a:lnTo>
                    <a:pt x="5827" y="5974"/>
                  </a:lnTo>
                  <a:lnTo>
                    <a:pt x="5863" y="5925"/>
                  </a:lnTo>
                  <a:lnTo>
                    <a:pt x="5899" y="5878"/>
                  </a:lnTo>
                  <a:lnTo>
                    <a:pt x="5937" y="5832"/>
                  </a:lnTo>
                  <a:lnTo>
                    <a:pt x="5976" y="5790"/>
                  </a:lnTo>
                  <a:lnTo>
                    <a:pt x="6017" y="5751"/>
                  </a:lnTo>
                  <a:lnTo>
                    <a:pt x="6059" y="5715"/>
                  </a:lnTo>
                  <a:lnTo>
                    <a:pt x="6102" y="5682"/>
                  </a:lnTo>
                  <a:lnTo>
                    <a:pt x="6147" y="5651"/>
                  </a:lnTo>
                  <a:lnTo>
                    <a:pt x="6193" y="5624"/>
                  </a:lnTo>
                  <a:lnTo>
                    <a:pt x="6240" y="5600"/>
                  </a:lnTo>
                  <a:lnTo>
                    <a:pt x="6287" y="5580"/>
                  </a:lnTo>
                  <a:lnTo>
                    <a:pt x="6335" y="5563"/>
                  </a:lnTo>
                  <a:lnTo>
                    <a:pt x="6386" y="5550"/>
                  </a:lnTo>
                  <a:lnTo>
                    <a:pt x="6436" y="5541"/>
                  </a:lnTo>
                  <a:lnTo>
                    <a:pt x="6487" y="5535"/>
                  </a:lnTo>
                  <a:lnTo>
                    <a:pt x="6539" y="5533"/>
                  </a:lnTo>
                  <a:lnTo>
                    <a:pt x="6652" y="5533"/>
                  </a:lnTo>
                  <a:lnTo>
                    <a:pt x="6741" y="5532"/>
                  </a:lnTo>
                  <a:lnTo>
                    <a:pt x="6829" y="5529"/>
                  </a:lnTo>
                  <a:lnTo>
                    <a:pt x="6917" y="5523"/>
                  </a:lnTo>
                  <a:lnTo>
                    <a:pt x="7004" y="5516"/>
                  </a:lnTo>
                  <a:lnTo>
                    <a:pt x="7092" y="5505"/>
                  </a:lnTo>
                  <a:lnTo>
                    <a:pt x="7178" y="5493"/>
                  </a:lnTo>
                  <a:lnTo>
                    <a:pt x="7265" y="5480"/>
                  </a:lnTo>
                  <a:lnTo>
                    <a:pt x="7351" y="5464"/>
                  </a:lnTo>
                  <a:lnTo>
                    <a:pt x="7437" y="5446"/>
                  </a:lnTo>
                  <a:lnTo>
                    <a:pt x="7522" y="5426"/>
                  </a:lnTo>
                  <a:lnTo>
                    <a:pt x="7607" y="5405"/>
                  </a:lnTo>
                  <a:lnTo>
                    <a:pt x="7691" y="5381"/>
                  </a:lnTo>
                  <a:lnTo>
                    <a:pt x="7775" y="5355"/>
                  </a:lnTo>
                  <a:lnTo>
                    <a:pt x="7858" y="5327"/>
                  </a:lnTo>
                  <a:lnTo>
                    <a:pt x="7941" y="5297"/>
                  </a:lnTo>
                  <a:lnTo>
                    <a:pt x="8023" y="5266"/>
                  </a:lnTo>
                  <a:lnTo>
                    <a:pt x="8106" y="5232"/>
                  </a:lnTo>
                  <a:lnTo>
                    <a:pt x="8187" y="5197"/>
                  </a:lnTo>
                  <a:lnTo>
                    <a:pt x="8268" y="5159"/>
                  </a:lnTo>
                  <a:lnTo>
                    <a:pt x="8348" y="5121"/>
                  </a:lnTo>
                  <a:lnTo>
                    <a:pt x="8429" y="5080"/>
                  </a:lnTo>
                  <a:lnTo>
                    <a:pt x="8508" y="5038"/>
                  </a:lnTo>
                  <a:lnTo>
                    <a:pt x="8587" y="4993"/>
                  </a:lnTo>
                  <a:lnTo>
                    <a:pt x="8665" y="4947"/>
                  </a:lnTo>
                  <a:lnTo>
                    <a:pt x="8743" y="4899"/>
                  </a:lnTo>
                  <a:lnTo>
                    <a:pt x="8820" y="4850"/>
                  </a:lnTo>
                  <a:lnTo>
                    <a:pt x="8897" y="4798"/>
                  </a:lnTo>
                  <a:lnTo>
                    <a:pt x="8973" y="4745"/>
                  </a:lnTo>
                  <a:lnTo>
                    <a:pt x="9048" y="4691"/>
                  </a:lnTo>
                  <a:lnTo>
                    <a:pt x="9123" y="4634"/>
                  </a:lnTo>
                  <a:lnTo>
                    <a:pt x="9197" y="4577"/>
                  </a:lnTo>
                  <a:lnTo>
                    <a:pt x="9271" y="4518"/>
                  </a:lnTo>
                  <a:lnTo>
                    <a:pt x="9245" y="4670"/>
                  </a:lnTo>
                  <a:lnTo>
                    <a:pt x="9220" y="4823"/>
                  </a:lnTo>
                  <a:lnTo>
                    <a:pt x="9197" y="4977"/>
                  </a:lnTo>
                  <a:lnTo>
                    <a:pt x="9176" y="5133"/>
                  </a:lnTo>
                  <a:lnTo>
                    <a:pt x="9156" y="5289"/>
                  </a:lnTo>
                  <a:lnTo>
                    <a:pt x="9139" y="5446"/>
                  </a:lnTo>
                  <a:lnTo>
                    <a:pt x="9123" y="5604"/>
                  </a:lnTo>
                  <a:lnTo>
                    <a:pt x="9108" y="5762"/>
                  </a:lnTo>
                  <a:lnTo>
                    <a:pt x="9096" y="5921"/>
                  </a:lnTo>
                  <a:lnTo>
                    <a:pt x="9085" y="6080"/>
                  </a:lnTo>
                  <a:lnTo>
                    <a:pt x="9075" y="6240"/>
                  </a:lnTo>
                  <a:lnTo>
                    <a:pt x="9068" y="6400"/>
                  </a:lnTo>
                  <a:lnTo>
                    <a:pt x="9061" y="6560"/>
                  </a:lnTo>
                  <a:lnTo>
                    <a:pt x="9056" y="6721"/>
                  </a:lnTo>
                  <a:lnTo>
                    <a:pt x="9054" y="6881"/>
                  </a:lnTo>
                  <a:lnTo>
                    <a:pt x="9053" y="7042"/>
                  </a:lnTo>
                  <a:lnTo>
                    <a:pt x="9054" y="7203"/>
                  </a:lnTo>
                  <a:lnTo>
                    <a:pt x="9056" y="7363"/>
                  </a:lnTo>
                  <a:lnTo>
                    <a:pt x="9061" y="7524"/>
                  </a:lnTo>
                  <a:lnTo>
                    <a:pt x="9068" y="7685"/>
                  </a:lnTo>
                  <a:lnTo>
                    <a:pt x="9075" y="7846"/>
                  </a:lnTo>
                  <a:lnTo>
                    <a:pt x="9085" y="8006"/>
                  </a:lnTo>
                  <a:lnTo>
                    <a:pt x="9096" y="8166"/>
                  </a:lnTo>
                  <a:lnTo>
                    <a:pt x="9108" y="8325"/>
                  </a:lnTo>
                  <a:lnTo>
                    <a:pt x="9123" y="8484"/>
                  </a:lnTo>
                  <a:lnTo>
                    <a:pt x="9139" y="8642"/>
                  </a:lnTo>
                  <a:lnTo>
                    <a:pt x="9157" y="8799"/>
                  </a:lnTo>
                  <a:lnTo>
                    <a:pt x="9176" y="8956"/>
                  </a:lnTo>
                  <a:lnTo>
                    <a:pt x="9198" y="9111"/>
                  </a:lnTo>
                  <a:lnTo>
                    <a:pt x="9220" y="9266"/>
                  </a:lnTo>
                  <a:lnTo>
                    <a:pt x="9246" y="9420"/>
                  </a:lnTo>
                  <a:lnTo>
                    <a:pt x="9272" y="9571"/>
                  </a:lnTo>
                  <a:lnTo>
                    <a:pt x="9198" y="9512"/>
                  </a:lnTo>
                  <a:lnTo>
                    <a:pt x="9124" y="9455"/>
                  </a:lnTo>
                  <a:lnTo>
                    <a:pt x="9049" y="9398"/>
                  </a:lnTo>
                  <a:lnTo>
                    <a:pt x="8974" y="9344"/>
                  </a:lnTo>
                  <a:lnTo>
                    <a:pt x="8898" y="9291"/>
                  </a:lnTo>
                  <a:lnTo>
                    <a:pt x="8821" y="9240"/>
                  </a:lnTo>
                  <a:lnTo>
                    <a:pt x="8744" y="9190"/>
                  </a:lnTo>
                  <a:lnTo>
                    <a:pt x="8666" y="9142"/>
                  </a:lnTo>
                  <a:lnTo>
                    <a:pt x="8588" y="9097"/>
                  </a:lnTo>
                  <a:lnTo>
                    <a:pt x="8508" y="9051"/>
                  </a:lnTo>
                  <a:lnTo>
                    <a:pt x="8429" y="9009"/>
                  </a:lnTo>
                  <a:lnTo>
                    <a:pt x="8349" y="8968"/>
                  </a:lnTo>
                  <a:lnTo>
                    <a:pt x="8269" y="8930"/>
                  </a:lnTo>
                  <a:lnTo>
                    <a:pt x="8187" y="8892"/>
                  </a:lnTo>
                  <a:lnTo>
                    <a:pt x="8106" y="8857"/>
                  </a:lnTo>
                  <a:lnTo>
                    <a:pt x="8024" y="8823"/>
                  </a:lnTo>
                  <a:lnTo>
                    <a:pt x="7942" y="8792"/>
                  </a:lnTo>
                  <a:lnTo>
                    <a:pt x="7858" y="8762"/>
                  </a:lnTo>
                  <a:lnTo>
                    <a:pt x="7775" y="8735"/>
                  </a:lnTo>
                  <a:lnTo>
                    <a:pt x="7691" y="8708"/>
                  </a:lnTo>
                  <a:lnTo>
                    <a:pt x="7607" y="8684"/>
                  </a:lnTo>
                  <a:lnTo>
                    <a:pt x="7522" y="8662"/>
                  </a:lnTo>
                  <a:lnTo>
                    <a:pt x="7437" y="8643"/>
                  </a:lnTo>
                  <a:lnTo>
                    <a:pt x="7351" y="8625"/>
                  </a:lnTo>
                  <a:lnTo>
                    <a:pt x="7265" y="8609"/>
                  </a:lnTo>
                  <a:lnTo>
                    <a:pt x="7178" y="8595"/>
                  </a:lnTo>
                  <a:lnTo>
                    <a:pt x="7092" y="8584"/>
                  </a:lnTo>
                  <a:lnTo>
                    <a:pt x="7004" y="8574"/>
                  </a:lnTo>
                  <a:lnTo>
                    <a:pt x="6917" y="8567"/>
                  </a:lnTo>
                  <a:lnTo>
                    <a:pt x="6829" y="8561"/>
                  </a:lnTo>
                  <a:lnTo>
                    <a:pt x="6741" y="8558"/>
                  </a:lnTo>
                  <a:lnTo>
                    <a:pt x="6652" y="8557"/>
                  </a:lnTo>
                  <a:close/>
                  <a:moveTo>
                    <a:pt x="6033" y="15089"/>
                  </a:moveTo>
                  <a:lnTo>
                    <a:pt x="4021" y="15089"/>
                  </a:lnTo>
                  <a:lnTo>
                    <a:pt x="4021" y="10562"/>
                  </a:lnTo>
                  <a:lnTo>
                    <a:pt x="4021" y="10528"/>
                  </a:lnTo>
                  <a:lnTo>
                    <a:pt x="4020" y="10494"/>
                  </a:lnTo>
                  <a:lnTo>
                    <a:pt x="4018" y="10460"/>
                  </a:lnTo>
                  <a:lnTo>
                    <a:pt x="4016" y="10426"/>
                  </a:lnTo>
                  <a:lnTo>
                    <a:pt x="4014" y="10392"/>
                  </a:lnTo>
                  <a:lnTo>
                    <a:pt x="4011" y="10359"/>
                  </a:lnTo>
                  <a:lnTo>
                    <a:pt x="4007" y="10325"/>
                  </a:lnTo>
                  <a:lnTo>
                    <a:pt x="4003" y="10292"/>
                  </a:lnTo>
                  <a:lnTo>
                    <a:pt x="3998" y="10260"/>
                  </a:lnTo>
                  <a:lnTo>
                    <a:pt x="3993" y="10226"/>
                  </a:lnTo>
                  <a:lnTo>
                    <a:pt x="3987" y="10193"/>
                  </a:lnTo>
                  <a:lnTo>
                    <a:pt x="3980" y="10161"/>
                  </a:lnTo>
                  <a:lnTo>
                    <a:pt x="3973" y="10129"/>
                  </a:lnTo>
                  <a:lnTo>
                    <a:pt x="3966" y="10097"/>
                  </a:lnTo>
                  <a:lnTo>
                    <a:pt x="3958" y="10064"/>
                  </a:lnTo>
                  <a:lnTo>
                    <a:pt x="3950" y="10033"/>
                  </a:lnTo>
                  <a:lnTo>
                    <a:pt x="3941" y="10002"/>
                  </a:lnTo>
                  <a:lnTo>
                    <a:pt x="3932" y="9970"/>
                  </a:lnTo>
                  <a:lnTo>
                    <a:pt x="3922" y="9940"/>
                  </a:lnTo>
                  <a:lnTo>
                    <a:pt x="3912" y="9908"/>
                  </a:lnTo>
                  <a:lnTo>
                    <a:pt x="3901" y="9877"/>
                  </a:lnTo>
                  <a:lnTo>
                    <a:pt x="3890" y="9847"/>
                  </a:lnTo>
                  <a:lnTo>
                    <a:pt x="3878" y="9817"/>
                  </a:lnTo>
                  <a:lnTo>
                    <a:pt x="3866" y="9787"/>
                  </a:lnTo>
                  <a:lnTo>
                    <a:pt x="3853" y="9758"/>
                  </a:lnTo>
                  <a:lnTo>
                    <a:pt x="3840" y="9728"/>
                  </a:lnTo>
                  <a:lnTo>
                    <a:pt x="3826" y="9698"/>
                  </a:lnTo>
                  <a:lnTo>
                    <a:pt x="3811" y="9670"/>
                  </a:lnTo>
                  <a:lnTo>
                    <a:pt x="3797" y="9641"/>
                  </a:lnTo>
                  <a:lnTo>
                    <a:pt x="3782" y="9613"/>
                  </a:lnTo>
                  <a:lnTo>
                    <a:pt x="3766" y="9585"/>
                  </a:lnTo>
                  <a:lnTo>
                    <a:pt x="3750" y="9556"/>
                  </a:lnTo>
                  <a:lnTo>
                    <a:pt x="4102" y="9556"/>
                  </a:lnTo>
                  <a:lnTo>
                    <a:pt x="4102" y="9562"/>
                  </a:lnTo>
                  <a:lnTo>
                    <a:pt x="5615" y="9562"/>
                  </a:lnTo>
                  <a:lnTo>
                    <a:pt x="5605" y="9592"/>
                  </a:lnTo>
                  <a:lnTo>
                    <a:pt x="5596" y="9622"/>
                  </a:lnTo>
                  <a:lnTo>
                    <a:pt x="5587" y="9651"/>
                  </a:lnTo>
                  <a:lnTo>
                    <a:pt x="5579" y="9681"/>
                  </a:lnTo>
                  <a:lnTo>
                    <a:pt x="5572" y="9711"/>
                  </a:lnTo>
                  <a:lnTo>
                    <a:pt x="5565" y="9743"/>
                  </a:lnTo>
                  <a:lnTo>
                    <a:pt x="5558" y="9773"/>
                  </a:lnTo>
                  <a:lnTo>
                    <a:pt x="5552" y="9804"/>
                  </a:lnTo>
                  <a:lnTo>
                    <a:pt x="5547" y="9835"/>
                  </a:lnTo>
                  <a:lnTo>
                    <a:pt x="5543" y="9866"/>
                  </a:lnTo>
                  <a:lnTo>
                    <a:pt x="5539" y="9897"/>
                  </a:lnTo>
                  <a:lnTo>
                    <a:pt x="5536" y="9930"/>
                  </a:lnTo>
                  <a:lnTo>
                    <a:pt x="5533" y="9962"/>
                  </a:lnTo>
                  <a:lnTo>
                    <a:pt x="5531" y="9994"/>
                  </a:lnTo>
                  <a:lnTo>
                    <a:pt x="5530" y="10026"/>
                  </a:lnTo>
                  <a:lnTo>
                    <a:pt x="5530" y="10059"/>
                  </a:lnTo>
                  <a:lnTo>
                    <a:pt x="5530" y="13580"/>
                  </a:lnTo>
                  <a:lnTo>
                    <a:pt x="5531" y="13625"/>
                  </a:lnTo>
                  <a:lnTo>
                    <a:pt x="5533" y="13669"/>
                  </a:lnTo>
                  <a:lnTo>
                    <a:pt x="5537" y="13712"/>
                  </a:lnTo>
                  <a:lnTo>
                    <a:pt x="5542" y="13754"/>
                  </a:lnTo>
                  <a:lnTo>
                    <a:pt x="5548" y="13795"/>
                  </a:lnTo>
                  <a:lnTo>
                    <a:pt x="5556" y="13836"/>
                  </a:lnTo>
                  <a:lnTo>
                    <a:pt x="5565" y="13875"/>
                  </a:lnTo>
                  <a:lnTo>
                    <a:pt x="5575" y="13913"/>
                  </a:lnTo>
                  <a:lnTo>
                    <a:pt x="5585" y="13951"/>
                  </a:lnTo>
                  <a:lnTo>
                    <a:pt x="5597" y="13988"/>
                  </a:lnTo>
                  <a:lnTo>
                    <a:pt x="5610" y="14024"/>
                  </a:lnTo>
                  <a:lnTo>
                    <a:pt x="5624" y="14058"/>
                  </a:lnTo>
                  <a:lnTo>
                    <a:pt x="5638" y="14092"/>
                  </a:lnTo>
                  <a:lnTo>
                    <a:pt x="5653" y="14125"/>
                  </a:lnTo>
                  <a:lnTo>
                    <a:pt x="5669" y="14158"/>
                  </a:lnTo>
                  <a:lnTo>
                    <a:pt x="5686" y="14189"/>
                  </a:lnTo>
                  <a:lnTo>
                    <a:pt x="5702" y="14220"/>
                  </a:lnTo>
                  <a:lnTo>
                    <a:pt x="5719" y="14249"/>
                  </a:lnTo>
                  <a:lnTo>
                    <a:pt x="5737" y="14278"/>
                  </a:lnTo>
                  <a:lnTo>
                    <a:pt x="5754" y="14306"/>
                  </a:lnTo>
                  <a:lnTo>
                    <a:pt x="5772" y="14334"/>
                  </a:lnTo>
                  <a:lnTo>
                    <a:pt x="5790" y="14360"/>
                  </a:lnTo>
                  <a:lnTo>
                    <a:pt x="5808" y="14385"/>
                  </a:lnTo>
                  <a:lnTo>
                    <a:pt x="5826" y="14410"/>
                  </a:lnTo>
                  <a:lnTo>
                    <a:pt x="5863" y="14457"/>
                  </a:lnTo>
                  <a:lnTo>
                    <a:pt x="5897" y="14501"/>
                  </a:lnTo>
                  <a:lnTo>
                    <a:pt x="5931" y="14542"/>
                  </a:lnTo>
                  <a:lnTo>
                    <a:pt x="5962" y="14579"/>
                  </a:lnTo>
                  <a:lnTo>
                    <a:pt x="5979" y="14599"/>
                  </a:lnTo>
                  <a:lnTo>
                    <a:pt x="5997" y="14620"/>
                  </a:lnTo>
                  <a:lnTo>
                    <a:pt x="6016" y="14641"/>
                  </a:lnTo>
                  <a:lnTo>
                    <a:pt x="6033" y="14663"/>
                  </a:lnTo>
                  <a:lnTo>
                    <a:pt x="6033" y="15089"/>
                  </a:lnTo>
                  <a:close/>
                  <a:moveTo>
                    <a:pt x="1006" y="7042"/>
                  </a:moveTo>
                  <a:lnTo>
                    <a:pt x="1007" y="6964"/>
                  </a:lnTo>
                  <a:lnTo>
                    <a:pt x="1011" y="6888"/>
                  </a:lnTo>
                  <a:lnTo>
                    <a:pt x="1017" y="6812"/>
                  </a:lnTo>
                  <a:lnTo>
                    <a:pt x="1026" y="6738"/>
                  </a:lnTo>
                  <a:lnTo>
                    <a:pt x="1037" y="6664"/>
                  </a:lnTo>
                  <a:lnTo>
                    <a:pt x="1051" y="6593"/>
                  </a:lnTo>
                  <a:lnTo>
                    <a:pt x="1067" y="6522"/>
                  </a:lnTo>
                  <a:lnTo>
                    <a:pt x="1085" y="6454"/>
                  </a:lnTo>
                  <a:lnTo>
                    <a:pt x="1106" y="6388"/>
                  </a:lnTo>
                  <a:lnTo>
                    <a:pt x="1128" y="6322"/>
                  </a:lnTo>
                  <a:lnTo>
                    <a:pt x="1152" y="6259"/>
                  </a:lnTo>
                  <a:lnTo>
                    <a:pt x="1178" y="6199"/>
                  </a:lnTo>
                  <a:lnTo>
                    <a:pt x="1206" y="6139"/>
                  </a:lnTo>
                  <a:lnTo>
                    <a:pt x="1235" y="6082"/>
                  </a:lnTo>
                  <a:lnTo>
                    <a:pt x="1267" y="6028"/>
                  </a:lnTo>
                  <a:lnTo>
                    <a:pt x="1301" y="5974"/>
                  </a:lnTo>
                  <a:lnTo>
                    <a:pt x="1336" y="5925"/>
                  </a:lnTo>
                  <a:lnTo>
                    <a:pt x="1372" y="5878"/>
                  </a:lnTo>
                  <a:lnTo>
                    <a:pt x="1410" y="5832"/>
                  </a:lnTo>
                  <a:lnTo>
                    <a:pt x="1450" y="5790"/>
                  </a:lnTo>
                  <a:lnTo>
                    <a:pt x="1490" y="5751"/>
                  </a:lnTo>
                  <a:lnTo>
                    <a:pt x="1532" y="5715"/>
                  </a:lnTo>
                  <a:lnTo>
                    <a:pt x="1575" y="5682"/>
                  </a:lnTo>
                  <a:lnTo>
                    <a:pt x="1621" y="5651"/>
                  </a:lnTo>
                  <a:lnTo>
                    <a:pt x="1666" y="5624"/>
                  </a:lnTo>
                  <a:lnTo>
                    <a:pt x="1713" y="5600"/>
                  </a:lnTo>
                  <a:lnTo>
                    <a:pt x="1760" y="5580"/>
                  </a:lnTo>
                  <a:lnTo>
                    <a:pt x="1809" y="5563"/>
                  </a:lnTo>
                  <a:lnTo>
                    <a:pt x="1859" y="5550"/>
                  </a:lnTo>
                  <a:lnTo>
                    <a:pt x="1909" y="5541"/>
                  </a:lnTo>
                  <a:lnTo>
                    <a:pt x="1960" y="5535"/>
                  </a:lnTo>
                  <a:lnTo>
                    <a:pt x="2012" y="5533"/>
                  </a:lnTo>
                  <a:lnTo>
                    <a:pt x="5540" y="5533"/>
                  </a:lnTo>
                  <a:lnTo>
                    <a:pt x="5511" y="5568"/>
                  </a:lnTo>
                  <a:lnTo>
                    <a:pt x="5482" y="5603"/>
                  </a:lnTo>
                  <a:lnTo>
                    <a:pt x="5455" y="5640"/>
                  </a:lnTo>
                  <a:lnTo>
                    <a:pt x="5428" y="5678"/>
                  </a:lnTo>
                  <a:lnTo>
                    <a:pt x="5402" y="5717"/>
                  </a:lnTo>
                  <a:lnTo>
                    <a:pt x="5377" y="5756"/>
                  </a:lnTo>
                  <a:lnTo>
                    <a:pt x="5352" y="5796"/>
                  </a:lnTo>
                  <a:lnTo>
                    <a:pt x="5328" y="5837"/>
                  </a:lnTo>
                  <a:lnTo>
                    <a:pt x="5305" y="5880"/>
                  </a:lnTo>
                  <a:lnTo>
                    <a:pt x="5283" y="5922"/>
                  </a:lnTo>
                  <a:lnTo>
                    <a:pt x="5262" y="5966"/>
                  </a:lnTo>
                  <a:lnTo>
                    <a:pt x="5241" y="6010"/>
                  </a:lnTo>
                  <a:lnTo>
                    <a:pt x="5222" y="6056"/>
                  </a:lnTo>
                  <a:lnTo>
                    <a:pt x="5203" y="6102"/>
                  </a:lnTo>
                  <a:lnTo>
                    <a:pt x="5185" y="6148"/>
                  </a:lnTo>
                  <a:lnTo>
                    <a:pt x="5168" y="6196"/>
                  </a:lnTo>
                  <a:lnTo>
                    <a:pt x="5151" y="6244"/>
                  </a:lnTo>
                  <a:lnTo>
                    <a:pt x="5136" y="6293"/>
                  </a:lnTo>
                  <a:lnTo>
                    <a:pt x="5122" y="6342"/>
                  </a:lnTo>
                  <a:lnTo>
                    <a:pt x="5109" y="6393"/>
                  </a:lnTo>
                  <a:lnTo>
                    <a:pt x="5096" y="6444"/>
                  </a:lnTo>
                  <a:lnTo>
                    <a:pt x="5085" y="6495"/>
                  </a:lnTo>
                  <a:lnTo>
                    <a:pt x="5075" y="6548"/>
                  </a:lnTo>
                  <a:lnTo>
                    <a:pt x="5066" y="6600"/>
                  </a:lnTo>
                  <a:lnTo>
                    <a:pt x="5057" y="6653"/>
                  </a:lnTo>
                  <a:lnTo>
                    <a:pt x="5050" y="6708"/>
                  </a:lnTo>
                  <a:lnTo>
                    <a:pt x="5044" y="6762"/>
                  </a:lnTo>
                  <a:lnTo>
                    <a:pt x="5039" y="6816"/>
                  </a:lnTo>
                  <a:lnTo>
                    <a:pt x="5035" y="6873"/>
                  </a:lnTo>
                  <a:lnTo>
                    <a:pt x="5032" y="6928"/>
                  </a:lnTo>
                  <a:lnTo>
                    <a:pt x="5031" y="6984"/>
                  </a:lnTo>
                  <a:lnTo>
                    <a:pt x="5030" y="7042"/>
                  </a:lnTo>
                  <a:lnTo>
                    <a:pt x="5031" y="7099"/>
                  </a:lnTo>
                  <a:lnTo>
                    <a:pt x="5032" y="7155"/>
                  </a:lnTo>
                  <a:lnTo>
                    <a:pt x="5035" y="7212"/>
                  </a:lnTo>
                  <a:lnTo>
                    <a:pt x="5039" y="7267"/>
                  </a:lnTo>
                  <a:lnTo>
                    <a:pt x="5044" y="7322"/>
                  </a:lnTo>
                  <a:lnTo>
                    <a:pt x="5050" y="7377"/>
                  </a:lnTo>
                  <a:lnTo>
                    <a:pt x="5057" y="7431"/>
                  </a:lnTo>
                  <a:lnTo>
                    <a:pt x="5066" y="7484"/>
                  </a:lnTo>
                  <a:lnTo>
                    <a:pt x="5075" y="7536"/>
                  </a:lnTo>
                  <a:lnTo>
                    <a:pt x="5085" y="7589"/>
                  </a:lnTo>
                  <a:lnTo>
                    <a:pt x="5096" y="7640"/>
                  </a:lnTo>
                  <a:lnTo>
                    <a:pt x="5109" y="7691"/>
                  </a:lnTo>
                  <a:lnTo>
                    <a:pt x="5122" y="7742"/>
                  </a:lnTo>
                  <a:lnTo>
                    <a:pt x="5136" y="7791"/>
                  </a:lnTo>
                  <a:lnTo>
                    <a:pt x="5151" y="7840"/>
                  </a:lnTo>
                  <a:lnTo>
                    <a:pt x="5168" y="7888"/>
                  </a:lnTo>
                  <a:lnTo>
                    <a:pt x="5185" y="7936"/>
                  </a:lnTo>
                  <a:lnTo>
                    <a:pt x="5203" y="7982"/>
                  </a:lnTo>
                  <a:lnTo>
                    <a:pt x="5222" y="8028"/>
                  </a:lnTo>
                  <a:lnTo>
                    <a:pt x="5241" y="8074"/>
                  </a:lnTo>
                  <a:lnTo>
                    <a:pt x="5262" y="8118"/>
                  </a:lnTo>
                  <a:lnTo>
                    <a:pt x="5283" y="8161"/>
                  </a:lnTo>
                  <a:lnTo>
                    <a:pt x="5305" y="8204"/>
                  </a:lnTo>
                  <a:lnTo>
                    <a:pt x="5328" y="8247"/>
                  </a:lnTo>
                  <a:lnTo>
                    <a:pt x="5352" y="8288"/>
                  </a:lnTo>
                  <a:lnTo>
                    <a:pt x="5377" y="8328"/>
                  </a:lnTo>
                  <a:lnTo>
                    <a:pt x="5402" y="8367"/>
                  </a:lnTo>
                  <a:lnTo>
                    <a:pt x="5428" y="8406"/>
                  </a:lnTo>
                  <a:lnTo>
                    <a:pt x="5455" y="8443"/>
                  </a:lnTo>
                  <a:lnTo>
                    <a:pt x="5482" y="8480"/>
                  </a:lnTo>
                  <a:lnTo>
                    <a:pt x="5511" y="8515"/>
                  </a:lnTo>
                  <a:lnTo>
                    <a:pt x="5540" y="8550"/>
                  </a:lnTo>
                  <a:lnTo>
                    <a:pt x="2012" y="8550"/>
                  </a:lnTo>
                  <a:lnTo>
                    <a:pt x="1960" y="8548"/>
                  </a:lnTo>
                  <a:lnTo>
                    <a:pt x="1909" y="8542"/>
                  </a:lnTo>
                  <a:lnTo>
                    <a:pt x="1859" y="8533"/>
                  </a:lnTo>
                  <a:lnTo>
                    <a:pt x="1809" y="8520"/>
                  </a:lnTo>
                  <a:lnTo>
                    <a:pt x="1760" y="8503"/>
                  </a:lnTo>
                  <a:lnTo>
                    <a:pt x="1713" y="8483"/>
                  </a:lnTo>
                  <a:lnTo>
                    <a:pt x="1666" y="8459"/>
                  </a:lnTo>
                  <a:lnTo>
                    <a:pt x="1621" y="8432"/>
                  </a:lnTo>
                  <a:lnTo>
                    <a:pt x="1575" y="8402"/>
                  </a:lnTo>
                  <a:lnTo>
                    <a:pt x="1532" y="8368"/>
                  </a:lnTo>
                  <a:lnTo>
                    <a:pt x="1490" y="8332"/>
                  </a:lnTo>
                  <a:lnTo>
                    <a:pt x="1450" y="8293"/>
                  </a:lnTo>
                  <a:lnTo>
                    <a:pt x="1410" y="8251"/>
                  </a:lnTo>
                  <a:lnTo>
                    <a:pt x="1372" y="8206"/>
                  </a:lnTo>
                  <a:lnTo>
                    <a:pt x="1336" y="8158"/>
                  </a:lnTo>
                  <a:lnTo>
                    <a:pt x="1301" y="8109"/>
                  </a:lnTo>
                  <a:lnTo>
                    <a:pt x="1267" y="8057"/>
                  </a:lnTo>
                  <a:lnTo>
                    <a:pt x="1235" y="8001"/>
                  </a:lnTo>
                  <a:lnTo>
                    <a:pt x="1206" y="7945"/>
                  </a:lnTo>
                  <a:lnTo>
                    <a:pt x="1178" y="7886"/>
                  </a:lnTo>
                  <a:lnTo>
                    <a:pt x="1152" y="7824"/>
                  </a:lnTo>
                  <a:lnTo>
                    <a:pt x="1128" y="7761"/>
                  </a:lnTo>
                  <a:lnTo>
                    <a:pt x="1106" y="7696"/>
                  </a:lnTo>
                  <a:lnTo>
                    <a:pt x="1085" y="7629"/>
                  </a:lnTo>
                  <a:lnTo>
                    <a:pt x="1067" y="7561"/>
                  </a:lnTo>
                  <a:lnTo>
                    <a:pt x="1051" y="7490"/>
                  </a:lnTo>
                  <a:lnTo>
                    <a:pt x="1037" y="7419"/>
                  </a:lnTo>
                  <a:lnTo>
                    <a:pt x="1026" y="7345"/>
                  </a:lnTo>
                  <a:lnTo>
                    <a:pt x="1017" y="7272"/>
                  </a:lnTo>
                  <a:lnTo>
                    <a:pt x="1011" y="7196"/>
                  </a:lnTo>
                  <a:lnTo>
                    <a:pt x="1007" y="7119"/>
                  </a:lnTo>
                  <a:lnTo>
                    <a:pt x="1006" y="7042"/>
                  </a:lnTo>
                  <a:close/>
                  <a:moveTo>
                    <a:pt x="10059" y="7042"/>
                  </a:moveTo>
                  <a:lnTo>
                    <a:pt x="10059" y="6944"/>
                  </a:lnTo>
                  <a:lnTo>
                    <a:pt x="10060" y="6846"/>
                  </a:lnTo>
                  <a:lnTo>
                    <a:pt x="10062" y="6750"/>
                  </a:lnTo>
                  <a:lnTo>
                    <a:pt x="10064" y="6653"/>
                  </a:lnTo>
                  <a:lnTo>
                    <a:pt x="10068" y="6558"/>
                  </a:lnTo>
                  <a:lnTo>
                    <a:pt x="10071" y="6462"/>
                  </a:lnTo>
                  <a:lnTo>
                    <a:pt x="10076" y="6368"/>
                  </a:lnTo>
                  <a:lnTo>
                    <a:pt x="10082" y="6273"/>
                  </a:lnTo>
                  <a:lnTo>
                    <a:pt x="10087" y="6178"/>
                  </a:lnTo>
                  <a:lnTo>
                    <a:pt x="10093" y="6085"/>
                  </a:lnTo>
                  <a:lnTo>
                    <a:pt x="10100" y="5991"/>
                  </a:lnTo>
                  <a:lnTo>
                    <a:pt x="10107" y="5899"/>
                  </a:lnTo>
                  <a:lnTo>
                    <a:pt x="10115" y="5806"/>
                  </a:lnTo>
                  <a:lnTo>
                    <a:pt x="10124" y="5715"/>
                  </a:lnTo>
                  <a:lnTo>
                    <a:pt x="10133" y="5623"/>
                  </a:lnTo>
                  <a:lnTo>
                    <a:pt x="10142" y="5533"/>
                  </a:lnTo>
                  <a:lnTo>
                    <a:pt x="11568" y="5533"/>
                  </a:lnTo>
                  <a:lnTo>
                    <a:pt x="11620" y="5535"/>
                  </a:lnTo>
                  <a:lnTo>
                    <a:pt x="11671" y="5541"/>
                  </a:lnTo>
                  <a:lnTo>
                    <a:pt x="11721" y="5550"/>
                  </a:lnTo>
                  <a:lnTo>
                    <a:pt x="11770" y="5563"/>
                  </a:lnTo>
                  <a:lnTo>
                    <a:pt x="11820" y="5580"/>
                  </a:lnTo>
                  <a:lnTo>
                    <a:pt x="11867" y="5600"/>
                  </a:lnTo>
                  <a:lnTo>
                    <a:pt x="11914" y="5624"/>
                  </a:lnTo>
                  <a:lnTo>
                    <a:pt x="11960" y="5651"/>
                  </a:lnTo>
                  <a:lnTo>
                    <a:pt x="12004" y="5682"/>
                  </a:lnTo>
                  <a:lnTo>
                    <a:pt x="12047" y="5715"/>
                  </a:lnTo>
                  <a:lnTo>
                    <a:pt x="12089" y="5751"/>
                  </a:lnTo>
                  <a:lnTo>
                    <a:pt x="12131" y="5790"/>
                  </a:lnTo>
                  <a:lnTo>
                    <a:pt x="12170" y="5832"/>
                  </a:lnTo>
                  <a:lnTo>
                    <a:pt x="12208" y="5878"/>
                  </a:lnTo>
                  <a:lnTo>
                    <a:pt x="12244" y="5925"/>
                  </a:lnTo>
                  <a:lnTo>
                    <a:pt x="12279" y="5974"/>
                  </a:lnTo>
                  <a:lnTo>
                    <a:pt x="12313" y="6028"/>
                  </a:lnTo>
                  <a:lnTo>
                    <a:pt x="12344" y="6082"/>
                  </a:lnTo>
                  <a:lnTo>
                    <a:pt x="12374" y="6139"/>
                  </a:lnTo>
                  <a:lnTo>
                    <a:pt x="12402" y="6199"/>
                  </a:lnTo>
                  <a:lnTo>
                    <a:pt x="12428" y="6259"/>
                  </a:lnTo>
                  <a:lnTo>
                    <a:pt x="12453" y="6322"/>
                  </a:lnTo>
                  <a:lnTo>
                    <a:pt x="12475" y="6388"/>
                  </a:lnTo>
                  <a:lnTo>
                    <a:pt x="12495" y="6454"/>
                  </a:lnTo>
                  <a:lnTo>
                    <a:pt x="12513" y="6522"/>
                  </a:lnTo>
                  <a:lnTo>
                    <a:pt x="12529" y="6593"/>
                  </a:lnTo>
                  <a:lnTo>
                    <a:pt x="12542" y="6664"/>
                  </a:lnTo>
                  <a:lnTo>
                    <a:pt x="12554" y="6738"/>
                  </a:lnTo>
                  <a:lnTo>
                    <a:pt x="12562" y="6812"/>
                  </a:lnTo>
                  <a:lnTo>
                    <a:pt x="12569" y="6888"/>
                  </a:lnTo>
                  <a:lnTo>
                    <a:pt x="12573" y="6964"/>
                  </a:lnTo>
                  <a:lnTo>
                    <a:pt x="12574" y="7042"/>
                  </a:lnTo>
                  <a:lnTo>
                    <a:pt x="12573" y="7119"/>
                  </a:lnTo>
                  <a:lnTo>
                    <a:pt x="12569" y="7196"/>
                  </a:lnTo>
                  <a:lnTo>
                    <a:pt x="12562" y="7272"/>
                  </a:lnTo>
                  <a:lnTo>
                    <a:pt x="12554" y="7345"/>
                  </a:lnTo>
                  <a:lnTo>
                    <a:pt x="12542" y="7419"/>
                  </a:lnTo>
                  <a:lnTo>
                    <a:pt x="12529" y="7490"/>
                  </a:lnTo>
                  <a:lnTo>
                    <a:pt x="12513" y="7561"/>
                  </a:lnTo>
                  <a:lnTo>
                    <a:pt x="12495" y="7629"/>
                  </a:lnTo>
                  <a:lnTo>
                    <a:pt x="12475" y="7696"/>
                  </a:lnTo>
                  <a:lnTo>
                    <a:pt x="12453" y="7761"/>
                  </a:lnTo>
                  <a:lnTo>
                    <a:pt x="12428" y="7824"/>
                  </a:lnTo>
                  <a:lnTo>
                    <a:pt x="12402" y="7886"/>
                  </a:lnTo>
                  <a:lnTo>
                    <a:pt x="12374" y="7945"/>
                  </a:lnTo>
                  <a:lnTo>
                    <a:pt x="12344" y="8001"/>
                  </a:lnTo>
                  <a:lnTo>
                    <a:pt x="12313" y="8057"/>
                  </a:lnTo>
                  <a:lnTo>
                    <a:pt x="12279" y="8109"/>
                  </a:lnTo>
                  <a:lnTo>
                    <a:pt x="12244" y="8158"/>
                  </a:lnTo>
                  <a:lnTo>
                    <a:pt x="12208" y="8206"/>
                  </a:lnTo>
                  <a:lnTo>
                    <a:pt x="12170" y="8251"/>
                  </a:lnTo>
                  <a:lnTo>
                    <a:pt x="12131" y="8293"/>
                  </a:lnTo>
                  <a:lnTo>
                    <a:pt x="12089" y="8332"/>
                  </a:lnTo>
                  <a:lnTo>
                    <a:pt x="12047" y="8368"/>
                  </a:lnTo>
                  <a:lnTo>
                    <a:pt x="12004" y="8402"/>
                  </a:lnTo>
                  <a:lnTo>
                    <a:pt x="11960" y="8432"/>
                  </a:lnTo>
                  <a:lnTo>
                    <a:pt x="11914" y="8459"/>
                  </a:lnTo>
                  <a:lnTo>
                    <a:pt x="11867" y="8483"/>
                  </a:lnTo>
                  <a:lnTo>
                    <a:pt x="11820" y="8503"/>
                  </a:lnTo>
                  <a:lnTo>
                    <a:pt x="11770" y="8520"/>
                  </a:lnTo>
                  <a:lnTo>
                    <a:pt x="11721" y="8533"/>
                  </a:lnTo>
                  <a:lnTo>
                    <a:pt x="11671" y="8542"/>
                  </a:lnTo>
                  <a:lnTo>
                    <a:pt x="11620" y="8548"/>
                  </a:lnTo>
                  <a:lnTo>
                    <a:pt x="11568" y="8550"/>
                  </a:lnTo>
                  <a:lnTo>
                    <a:pt x="10142" y="8550"/>
                  </a:lnTo>
                  <a:lnTo>
                    <a:pt x="10133" y="8460"/>
                  </a:lnTo>
                  <a:lnTo>
                    <a:pt x="10124" y="8368"/>
                  </a:lnTo>
                  <a:lnTo>
                    <a:pt x="10115" y="8277"/>
                  </a:lnTo>
                  <a:lnTo>
                    <a:pt x="10107" y="8184"/>
                  </a:lnTo>
                  <a:lnTo>
                    <a:pt x="10100" y="8092"/>
                  </a:lnTo>
                  <a:lnTo>
                    <a:pt x="10093" y="7998"/>
                  </a:lnTo>
                  <a:lnTo>
                    <a:pt x="10087" y="7905"/>
                  </a:lnTo>
                  <a:lnTo>
                    <a:pt x="10082" y="7811"/>
                  </a:lnTo>
                  <a:lnTo>
                    <a:pt x="10076" y="7717"/>
                  </a:lnTo>
                  <a:lnTo>
                    <a:pt x="10071" y="7621"/>
                  </a:lnTo>
                  <a:lnTo>
                    <a:pt x="10068" y="7525"/>
                  </a:lnTo>
                  <a:lnTo>
                    <a:pt x="10064" y="7430"/>
                  </a:lnTo>
                  <a:lnTo>
                    <a:pt x="10062" y="7333"/>
                  </a:lnTo>
                  <a:lnTo>
                    <a:pt x="10060" y="7237"/>
                  </a:lnTo>
                  <a:lnTo>
                    <a:pt x="10059" y="7139"/>
                  </a:lnTo>
                  <a:lnTo>
                    <a:pt x="10059" y="7042"/>
                  </a:lnTo>
                  <a:close/>
                  <a:moveTo>
                    <a:pt x="12574" y="0"/>
                  </a:moveTo>
                  <a:lnTo>
                    <a:pt x="12478" y="2"/>
                  </a:lnTo>
                  <a:lnTo>
                    <a:pt x="12383" y="8"/>
                  </a:lnTo>
                  <a:lnTo>
                    <a:pt x="12290" y="18"/>
                  </a:lnTo>
                  <a:lnTo>
                    <a:pt x="12197" y="32"/>
                  </a:lnTo>
                  <a:lnTo>
                    <a:pt x="12106" y="50"/>
                  </a:lnTo>
                  <a:lnTo>
                    <a:pt x="12017" y="72"/>
                  </a:lnTo>
                  <a:lnTo>
                    <a:pt x="11928" y="99"/>
                  </a:lnTo>
                  <a:lnTo>
                    <a:pt x="11841" y="128"/>
                  </a:lnTo>
                  <a:lnTo>
                    <a:pt x="11755" y="161"/>
                  </a:lnTo>
                  <a:lnTo>
                    <a:pt x="11671" y="198"/>
                  </a:lnTo>
                  <a:lnTo>
                    <a:pt x="11588" y="238"/>
                  </a:lnTo>
                  <a:lnTo>
                    <a:pt x="11506" y="282"/>
                  </a:lnTo>
                  <a:lnTo>
                    <a:pt x="11425" y="329"/>
                  </a:lnTo>
                  <a:lnTo>
                    <a:pt x="11347" y="380"/>
                  </a:lnTo>
                  <a:lnTo>
                    <a:pt x="11269" y="435"/>
                  </a:lnTo>
                  <a:lnTo>
                    <a:pt x="11192" y="491"/>
                  </a:lnTo>
                  <a:lnTo>
                    <a:pt x="11117" y="552"/>
                  </a:lnTo>
                  <a:lnTo>
                    <a:pt x="11043" y="616"/>
                  </a:lnTo>
                  <a:lnTo>
                    <a:pt x="10971" y="682"/>
                  </a:lnTo>
                  <a:lnTo>
                    <a:pt x="10899" y="752"/>
                  </a:lnTo>
                  <a:lnTo>
                    <a:pt x="10829" y="825"/>
                  </a:lnTo>
                  <a:lnTo>
                    <a:pt x="10761" y="900"/>
                  </a:lnTo>
                  <a:lnTo>
                    <a:pt x="10693" y="979"/>
                  </a:lnTo>
                  <a:lnTo>
                    <a:pt x="10628" y="1060"/>
                  </a:lnTo>
                  <a:lnTo>
                    <a:pt x="10562" y="1144"/>
                  </a:lnTo>
                  <a:lnTo>
                    <a:pt x="10500" y="1230"/>
                  </a:lnTo>
                  <a:lnTo>
                    <a:pt x="10438" y="1320"/>
                  </a:lnTo>
                  <a:lnTo>
                    <a:pt x="10377" y="1412"/>
                  </a:lnTo>
                  <a:lnTo>
                    <a:pt x="10318" y="1506"/>
                  </a:lnTo>
                  <a:lnTo>
                    <a:pt x="10260" y="1602"/>
                  </a:lnTo>
                  <a:lnTo>
                    <a:pt x="10203" y="1702"/>
                  </a:lnTo>
                  <a:lnTo>
                    <a:pt x="10148" y="1804"/>
                  </a:lnTo>
                  <a:lnTo>
                    <a:pt x="10137" y="1798"/>
                  </a:lnTo>
                  <a:lnTo>
                    <a:pt x="10056" y="1952"/>
                  </a:lnTo>
                  <a:lnTo>
                    <a:pt x="9974" y="2101"/>
                  </a:lnTo>
                  <a:lnTo>
                    <a:pt x="9888" y="2247"/>
                  </a:lnTo>
                  <a:lnTo>
                    <a:pt x="9801" y="2390"/>
                  </a:lnTo>
                  <a:lnTo>
                    <a:pt x="9711" y="2529"/>
                  </a:lnTo>
                  <a:lnTo>
                    <a:pt x="9620" y="2665"/>
                  </a:lnTo>
                  <a:lnTo>
                    <a:pt x="9525" y="2796"/>
                  </a:lnTo>
                  <a:lnTo>
                    <a:pt x="9430" y="2923"/>
                  </a:lnTo>
                  <a:lnTo>
                    <a:pt x="9332" y="3046"/>
                  </a:lnTo>
                  <a:lnTo>
                    <a:pt x="9231" y="3165"/>
                  </a:lnTo>
                  <a:lnTo>
                    <a:pt x="9130" y="3279"/>
                  </a:lnTo>
                  <a:lnTo>
                    <a:pt x="9026" y="3389"/>
                  </a:lnTo>
                  <a:lnTo>
                    <a:pt x="8921" y="3495"/>
                  </a:lnTo>
                  <a:lnTo>
                    <a:pt x="8814" y="3595"/>
                  </a:lnTo>
                  <a:lnTo>
                    <a:pt x="8705" y="3692"/>
                  </a:lnTo>
                  <a:lnTo>
                    <a:pt x="8595" y="3783"/>
                  </a:lnTo>
                  <a:lnTo>
                    <a:pt x="8483" y="3870"/>
                  </a:lnTo>
                  <a:lnTo>
                    <a:pt x="8369" y="3951"/>
                  </a:lnTo>
                  <a:lnTo>
                    <a:pt x="8255" y="4029"/>
                  </a:lnTo>
                  <a:lnTo>
                    <a:pt x="8138" y="4100"/>
                  </a:lnTo>
                  <a:lnTo>
                    <a:pt x="8020" y="4167"/>
                  </a:lnTo>
                  <a:lnTo>
                    <a:pt x="7902" y="4227"/>
                  </a:lnTo>
                  <a:lnTo>
                    <a:pt x="7781" y="4283"/>
                  </a:lnTo>
                  <a:lnTo>
                    <a:pt x="7659" y="4334"/>
                  </a:lnTo>
                  <a:lnTo>
                    <a:pt x="7537" y="4378"/>
                  </a:lnTo>
                  <a:lnTo>
                    <a:pt x="7414" y="4417"/>
                  </a:lnTo>
                  <a:lnTo>
                    <a:pt x="7289" y="4450"/>
                  </a:lnTo>
                  <a:lnTo>
                    <a:pt x="7163" y="4477"/>
                  </a:lnTo>
                  <a:lnTo>
                    <a:pt x="7037" y="4499"/>
                  </a:lnTo>
                  <a:lnTo>
                    <a:pt x="6909" y="4515"/>
                  </a:lnTo>
                  <a:lnTo>
                    <a:pt x="6781" y="4524"/>
                  </a:lnTo>
                  <a:lnTo>
                    <a:pt x="6652" y="4527"/>
                  </a:lnTo>
                  <a:lnTo>
                    <a:pt x="6318" y="4527"/>
                  </a:lnTo>
                  <a:lnTo>
                    <a:pt x="4102" y="4527"/>
                  </a:lnTo>
                  <a:lnTo>
                    <a:pt x="2012" y="4527"/>
                  </a:lnTo>
                  <a:lnTo>
                    <a:pt x="1907" y="4530"/>
                  </a:lnTo>
                  <a:lnTo>
                    <a:pt x="1804" y="4540"/>
                  </a:lnTo>
                  <a:lnTo>
                    <a:pt x="1701" y="4555"/>
                  </a:lnTo>
                  <a:lnTo>
                    <a:pt x="1601" y="4577"/>
                  </a:lnTo>
                  <a:lnTo>
                    <a:pt x="1503" y="4604"/>
                  </a:lnTo>
                  <a:lnTo>
                    <a:pt x="1407" y="4638"/>
                  </a:lnTo>
                  <a:lnTo>
                    <a:pt x="1313" y="4677"/>
                  </a:lnTo>
                  <a:lnTo>
                    <a:pt x="1221" y="4722"/>
                  </a:lnTo>
                  <a:lnTo>
                    <a:pt x="1132" y="4771"/>
                  </a:lnTo>
                  <a:lnTo>
                    <a:pt x="1045" y="4826"/>
                  </a:lnTo>
                  <a:lnTo>
                    <a:pt x="961" y="4886"/>
                  </a:lnTo>
                  <a:lnTo>
                    <a:pt x="879" y="4950"/>
                  </a:lnTo>
                  <a:lnTo>
                    <a:pt x="801" y="5020"/>
                  </a:lnTo>
                  <a:lnTo>
                    <a:pt x="725" y="5094"/>
                  </a:lnTo>
                  <a:lnTo>
                    <a:pt x="652" y="5173"/>
                  </a:lnTo>
                  <a:lnTo>
                    <a:pt x="582" y="5255"/>
                  </a:lnTo>
                  <a:lnTo>
                    <a:pt x="516" y="5343"/>
                  </a:lnTo>
                  <a:lnTo>
                    <a:pt x="454" y="5433"/>
                  </a:lnTo>
                  <a:lnTo>
                    <a:pt x="394" y="5528"/>
                  </a:lnTo>
                  <a:lnTo>
                    <a:pt x="339" y="5626"/>
                  </a:lnTo>
                  <a:lnTo>
                    <a:pt x="288" y="5728"/>
                  </a:lnTo>
                  <a:lnTo>
                    <a:pt x="239" y="5833"/>
                  </a:lnTo>
                  <a:lnTo>
                    <a:pt x="195" y="5942"/>
                  </a:lnTo>
                  <a:lnTo>
                    <a:pt x="156" y="6054"/>
                  </a:lnTo>
                  <a:lnTo>
                    <a:pt x="120" y="6168"/>
                  </a:lnTo>
                  <a:lnTo>
                    <a:pt x="89" y="6286"/>
                  </a:lnTo>
                  <a:lnTo>
                    <a:pt x="62" y="6406"/>
                  </a:lnTo>
                  <a:lnTo>
                    <a:pt x="40" y="6529"/>
                  </a:lnTo>
                  <a:lnTo>
                    <a:pt x="23" y="6653"/>
                  </a:lnTo>
                  <a:lnTo>
                    <a:pt x="10" y="6781"/>
                  </a:lnTo>
                  <a:lnTo>
                    <a:pt x="3" y="6911"/>
                  </a:lnTo>
                  <a:lnTo>
                    <a:pt x="0" y="7042"/>
                  </a:lnTo>
                  <a:lnTo>
                    <a:pt x="3" y="7173"/>
                  </a:lnTo>
                  <a:lnTo>
                    <a:pt x="10" y="7302"/>
                  </a:lnTo>
                  <a:lnTo>
                    <a:pt x="23" y="7430"/>
                  </a:lnTo>
                  <a:lnTo>
                    <a:pt x="40" y="7555"/>
                  </a:lnTo>
                  <a:lnTo>
                    <a:pt x="62" y="7677"/>
                  </a:lnTo>
                  <a:lnTo>
                    <a:pt x="89" y="7798"/>
                  </a:lnTo>
                  <a:lnTo>
                    <a:pt x="120" y="7915"/>
                  </a:lnTo>
                  <a:lnTo>
                    <a:pt x="156" y="8029"/>
                  </a:lnTo>
                  <a:lnTo>
                    <a:pt x="195" y="8141"/>
                  </a:lnTo>
                  <a:lnTo>
                    <a:pt x="239" y="8250"/>
                  </a:lnTo>
                  <a:lnTo>
                    <a:pt x="288" y="8355"/>
                  </a:lnTo>
                  <a:lnTo>
                    <a:pt x="339" y="8457"/>
                  </a:lnTo>
                  <a:lnTo>
                    <a:pt x="394" y="8555"/>
                  </a:lnTo>
                  <a:lnTo>
                    <a:pt x="454" y="8650"/>
                  </a:lnTo>
                  <a:lnTo>
                    <a:pt x="516" y="8742"/>
                  </a:lnTo>
                  <a:lnTo>
                    <a:pt x="582" y="8828"/>
                  </a:lnTo>
                  <a:lnTo>
                    <a:pt x="652" y="8911"/>
                  </a:lnTo>
                  <a:lnTo>
                    <a:pt x="725" y="8989"/>
                  </a:lnTo>
                  <a:lnTo>
                    <a:pt x="801" y="9063"/>
                  </a:lnTo>
                  <a:lnTo>
                    <a:pt x="879" y="9133"/>
                  </a:lnTo>
                  <a:lnTo>
                    <a:pt x="961" y="9197"/>
                  </a:lnTo>
                  <a:lnTo>
                    <a:pt x="1045" y="9258"/>
                  </a:lnTo>
                  <a:lnTo>
                    <a:pt x="1132" y="9312"/>
                  </a:lnTo>
                  <a:lnTo>
                    <a:pt x="1221" y="9362"/>
                  </a:lnTo>
                  <a:lnTo>
                    <a:pt x="1313" y="9407"/>
                  </a:lnTo>
                  <a:lnTo>
                    <a:pt x="1407" y="9445"/>
                  </a:lnTo>
                  <a:lnTo>
                    <a:pt x="1503" y="9479"/>
                  </a:lnTo>
                  <a:lnTo>
                    <a:pt x="1601" y="9506"/>
                  </a:lnTo>
                  <a:lnTo>
                    <a:pt x="1701" y="9528"/>
                  </a:lnTo>
                  <a:lnTo>
                    <a:pt x="1804" y="9543"/>
                  </a:lnTo>
                  <a:lnTo>
                    <a:pt x="1907" y="9553"/>
                  </a:lnTo>
                  <a:lnTo>
                    <a:pt x="2012" y="9556"/>
                  </a:lnTo>
                  <a:lnTo>
                    <a:pt x="2063" y="9557"/>
                  </a:lnTo>
                  <a:lnTo>
                    <a:pt x="2114" y="9561"/>
                  </a:lnTo>
                  <a:lnTo>
                    <a:pt x="2165" y="9568"/>
                  </a:lnTo>
                  <a:lnTo>
                    <a:pt x="2214" y="9578"/>
                  </a:lnTo>
                  <a:lnTo>
                    <a:pt x="2262" y="9589"/>
                  </a:lnTo>
                  <a:lnTo>
                    <a:pt x="2311" y="9603"/>
                  </a:lnTo>
                  <a:lnTo>
                    <a:pt x="2357" y="9618"/>
                  </a:lnTo>
                  <a:lnTo>
                    <a:pt x="2402" y="9636"/>
                  </a:lnTo>
                  <a:lnTo>
                    <a:pt x="2446" y="9656"/>
                  </a:lnTo>
                  <a:lnTo>
                    <a:pt x="2490" y="9679"/>
                  </a:lnTo>
                  <a:lnTo>
                    <a:pt x="2532" y="9703"/>
                  </a:lnTo>
                  <a:lnTo>
                    <a:pt x="2573" y="9729"/>
                  </a:lnTo>
                  <a:lnTo>
                    <a:pt x="2612" y="9758"/>
                  </a:lnTo>
                  <a:lnTo>
                    <a:pt x="2650" y="9787"/>
                  </a:lnTo>
                  <a:lnTo>
                    <a:pt x="2686" y="9819"/>
                  </a:lnTo>
                  <a:lnTo>
                    <a:pt x="2721" y="9852"/>
                  </a:lnTo>
                  <a:lnTo>
                    <a:pt x="2754" y="9886"/>
                  </a:lnTo>
                  <a:lnTo>
                    <a:pt x="2785" y="9924"/>
                  </a:lnTo>
                  <a:lnTo>
                    <a:pt x="2816" y="9961"/>
                  </a:lnTo>
                  <a:lnTo>
                    <a:pt x="2844" y="10000"/>
                  </a:lnTo>
                  <a:lnTo>
                    <a:pt x="2870" y="10041"/>
                  </a:lnTo>
                  <a:lnTo>
                    <a:pt x="2894" y="10084"/>
                  </a:lnTo>
                  <a:lnTo>
                    <a:pt x="2916" y="10127"/>
                  </a:lnTo>
                  <a:lnTo>
                    <a:pt x="2936" y="10171"/>
                  </a:lnTo>
                  <a:lnTo>
                    <a:pt x="2953" y="10216"/>
                  </a:lnTo>
                  <a:lnTo>
                    <a:pt x="2970" y="10264"/>
                  </a:lnTo>
                  <a:lnTo>
                    <a:pt x="2984" y="10311"/>
                  </a:lnTo>
                  <a:lnTo>
                    <a:pt x="2995" y="10360"/>
                  </a:lnTo>
                  <a:lnTo>
                    <a:pt x="3003" y="10409"/>
                  </a:lnTo>
                  <a:lnTo>
                    <a:pt x="3010" y="10460"/>
                  </a:lnTo>
                  <a:lnTo>
                    <a:pt x="3014" y="10510"/>
                  </a:lnTo>
                  <a:lnTo>
                    <a:pt x="3015" y="10562"/>
                  </a:lnTo>
                  <a:lnTo>
                    <a:pt x="3015" y="15089"/>
                  </a:lnTo>
                  <a:lnTo>
                    <a:pt x="3016" y="15140"/>
                  </a:lnTo>
                  <a:lnTo>
                    <a:pt x="3020" y="15192"/>
                  </a:lnTo>
                  <a:lnTo>
                    <a:pt x="3026" y="15242"/>
                  </a:lnTo>
                  <a:lnTo>
                    <a:pt x="3035" y="15292"/>
                  </a:lnTo>
                  <a:lnTo>
                    <a:pt x="3046" y="15341"/>
                  </a:lnTo>
                  <a:lnTo>
                    <a:pt x="3060" y="15388"/>
                  </a:lnTo>
                  <a:lnTo>
                    <a:pt x="3076" y="15435"/>
                  </a:lnTo>
                  <a:lnTo>
                    <a:pt x="3094" y="15480"/>
                  </a:lnTo>
                  <a:lnTo>
                    <a:pt x="3114" y="15526"/>
                  </a:lnTo>
                  <a:lnTo>
                    <a:pt x="3137" y="15569"/>
                  </a:lnTo>
                  <a:lnTo>
                    <a:pt x="3161" y="15611"/>
                  </a:lnTo>
                  <a:lnTo>
                    <a:pt x="3187" y="15651"/>
                  </a:lnTo>
                  <a:lnTo>
                    <a:pt x="3215" y="15691"/>
                  </a:lnTo>
                  <a:lnTo>
                    <a:pt x="3245" y="15729"/>
                  </a:lnTo>
                  <a:lnTo>
                    <a:pt x="3276" y="15765"/>
                  </a:lnTo>
                  <a:lnTo>
                    <a:pt x="3310" y="15800"/>
                  </a:lnTo>
                  <a:lnTo>
                    <a:pt x="3345" y="15833"/>
                  </a:lnTo>
                  <a:lnTo>
                    <a:pt x="3381" y="15866"/>
                  </a:lnTo>
                  <a:lnTo>
                    <a:pt x="3419" y="15895"/>
                  </a:lnTo>
                  <a:lnTo>
                    <a:pt x="3458" y="15923"/>
                  </a:lnTo>
                  <a:lnTo>
                    <a:pt x="3500" y="15949"/>
                  </a:lnTo>
                  <a:lnTo>
                    <a:pt x="3542" y="15973"/>
                  </a:lnTo>
                  <a:lnTo>
                    <a:pt x="3585" y="15995"/>
                  </a:lnTo>
                  <a:lnTo>
                    <a:pt x="3629" y="16016"/>
                  </a:lnTo>
                  <a:lnTo>
                    <a:pt x="3675" y="16034"/>
                  </a:lnTo>
                  <a:lnTo>
                    <a:pt x="3722" y="16050"/>
                  </a:lnTo>
                  <a:lnTo>
                    <a:pt x="3769" y="16064"/>
                  </a:lnTo>
                  <a:lnTo>
                    <a:pt x="3819" y="16075"/>
                  </a:lnTo>
                  <a:lnTo>
                    <a:pt x="3868" y="16083"/>
                  </a:lnTo>
                  <a:lnTo>
                    <a:pt x="3918" y="16090"/>
                  </a:lnTo>
                  <a:lnTo>
                    <a:pt x="3969" y="16094"/>
                  </a:lnTo>
                  <a:lnTo>
                    <a:pt x="4021" y="16095"/>
                  </a:lnTo>
                  <a:lnTo>
                    <a:pt x="6033" y="16095"/>
                  </a:lnTo>
                  <a:lnTo>
                    <a:pt x="6085" y="16094"/>
                  </a:lnTo>
                  <a:lnTo>
                    <a:pt x="6135" y="16090"/>
                  </a:lnTo>
                  <a:lnTo>
                    <a:pt x="6186" y="16083"/>
                  </a:lnTo>
                  <a:lnTo>
                    <a:pt x="6236" y="16075"/>
                  </a:lnTo>
                  <a:lnTo>
                    <a:pt x="6284" y="16064"/>
                  </a:lnTo>
                  <a:lnTo>
                    <a:pt x="6332" y="16050"/>
                  </a:lnTo>
                  <a:lnTo>
                    <a:pt x="6379" y="16034"/>
                  </a:lnTo>
                  <a:lnTo>
                    <a:pt x="6425" y="16016"/>
                  </a:lnTo>
                  <a:lnTo>
                    <a:pt x="6469" y="15995"/>
                  </a:lnTo>
                  <a:lnTo>
                    <a:pt x="6512" y="15973"/>
                  </a:lnTo>
                  <a:lnTo>
                    <a:pt x="6555" y="15949"/>
                  </a:lnTo>
                  <a:lnTo>
                    <a:pt x="6595" y="15923"/>
                  </a:lnTo>
                  <a:lnTo>
                    <a:pt x="6635" y="15895"/>
                  </a:lnTo>
                  <a:lnTo>
                    <a:pt x="6672" y="15866"/>
                  </a:lnTo>
                  <a:lnTo>
                    <a:pt x="6710" y="15833"/>
                  </a:lnTo>
                  <a:lnTo>
                    <a:pt x="6744" y="15800"/>
                  </a:lnTo>
                  <a:lnTo>
                    <a:pt x="6778" y="15765"/>
                  </a:lnTo>
                  <a:lnTo>
                    <a:pt x="6809" y="15729"/>
                  </a:lnTo>
                  <a:lnTo>
                    <a:pt x="6839" y="15691"/>
                  </a:lnTo>
                  <a:lnTo>
                    <a:pt x="6867" y="15651"/>
                  </a:lnTo>
                  <a:lnTo>
                    <a:pt x="6893" y="15611"/>
                  </a:lnTo>
                  <a:lnTo>
                    <a:pt x="6917" y="15569"/>
                  </a:lnTo>
                  <a:lnTo>
                    <a:pt x="6940" y="15526"/>
                  </a:lnTo>
                  <a:lnTo>
                    <a:pt x="6960" y="15480"/>
                  </a:lnTo>
                  <a:lnTo>
                    <a:pt x="6977" y="15435"/>
                  </a:lnTo>
                  <a:lnTo>
                    <a:pt x="6993" y="15388"/>
                  </a:lnTo>
                  <a:lnTo>
                    <a:pt x="7007" y="15341"/>
                  </a:lnTo>
                  <a:lnTo>
                    <a:pt x="7018" y="15292"/>
                  </a:lnTo>
                  <a:lnTo>
                    <a:pt x="7027" y="15242"/>
                  </a:lnTo>
                  <a:lnTo>
                    <a:pt x="7034" y="15192"/>
                  </a:lnTo>
                  <a:lnTo>
                    <a:pt x="7038" y="15140"/>
                  </a:lnTo>
                  <a:lnTo>
                    <a:pt x="7039" y="15089"/>
                  </a:lnTo>
                  <a:lnTo>
                    <a:pt x="7039" y="14586"/>
                  </a:lnTo>
                  <a:lnTo>
                    <a:pt x="7038" y="14540"/>
                  </a:lnTo>
                  <a:lnTo>
                    <a:pt x="7033" y="14495"/>
                  </a:lnTo>
                  <a:lnTo>
                    <a:pt x="7026" y="14451"/>
                  </a:lnTo>
                  <a:lnTo>
                    <a:pt x="7017" y="14410"/>
                  </a:lnTo>
                  <a:lnTo>
                    <a:pt x="7005" y="14370"/>
                  </a:lnTo>
                  <a:lnTo>
                    <a:pt x="6992" y="14331"/>
                  </a:lnTo>
                  <a:lnTo>
                    <a:pt x="6977" y="14292"/>
                  </a:lnTo>
                  <a:lnTo>
                    <a:pt x="6960" y="14256"/>
                  </a:lnTo>
                  <a:lnTo>
                    <a:pt x="6942" y="14220"/>
                  </a:lnTo>
                  <a:lnTo>
                    <a:pt x="6922" y="14186"/>
                  </a:lnTo>
                  <a:lnTo>
                    <a:pt x="6901" y="14153"/>
                  </a:lnTo>
                  <a:lnTo>
                    <a:pt x="6880" y="14120"/>
                  </a:lnTo>
                  <a:lnTo>
                    <a:pt x="6857" y="14088"/>
                  </a:lnTo>
                  <a:lnTo>
                    <a:pt x="6834" y="14058"/>
                  </a:lnTo>
                  <a:lnTo>
                    <a:pt x="6810" y="14028"/>
                  </a:lnTo>
                  <a:lnTo>
                    <a:pt x="6787" y="13999"/>
                  </a:lnTo>
                  <a:lnTo>
                    <a:pt x="6740" y="13942"/>
                  </a:lnTo>
                  <a:lnTo>
                    <a:pt x="6695" y="13888"/>
                  </a:lnTo>
                  <a:lnTo>
                    <a:pt x="6673" y="13862"/>
                  </a:lnTo>
                  <a:lnTo>
                    <a:pt x="6652" y="13836"/>
                  </a:lnTo>
                  <a:lnTo>
                    <a:pt x="6632" y="13810"/>
                  </a:lnTo>
                  <a:lnTo>
                    <a:pt x="6614" y="13784"/>
                  </a:lnTo>
                  <a:lnTo>
                    <a:pt x="6597" y="13758"/>
                  </a:lnTo>
                  <a:lnTo>
                    <a:pt x="6582" y="13733"/>
                  </a:lnTo>
                  <a:lnTo>
                    <a:pt x="6569" y="13708"/>
                  </a:lnTo>
                  <a:lnTo>
                    <a:pt x="6558" y="13683"/>
                  </a:lnTo>
                  <a:lnTo>
                    <a:pt x="6548" y="13658"/>
                  </a:lnTo>
                  <a:lnTo>
                    <a:pt x="6542" y="13631"/>
                  </a:lnTo>
                  <a:lnTo>
                    <a:pt x="6537" y="13606"/>
                  </a:lnTo>
                  <a:lnTo>
                    <a:pt x="6536" y="13580"/>
                  </a:lnTo>
                  <a:lnTo>
                    <a:pt x="6536" y="10059"/>
                  </a:lnTo>
                  <a:lnTo>
                    <a:pt x="6537" y="10051"/>
                  </a:lnTo>
                  <a:lnTo>
                    <a:pt x="6540" y="10043"/>
                  </a:lnTo>
                  <a:lnTo>
                    <a:pt x="6543" y="10036"/>
                  </a:lnTo>
                  <a:lnTo>
                    <a:pt x="6545" y="10028"/>
                  </a:lnTo>
                  <a:lnTo>
                    <a:pt x="6547" y="10001"/>
                  </a:lnTo>
                  <a:lnTo>
                    <a:pt x="6551" y="9975"/>
                  </a:lnTo>
                  <a:lnTo>
                    <a:pt x="6556" y="9950"/>
                  </a:lnTo>
                  <a:lnTo>
                    <a:pt x="6563" y="9925"/>
                  </a:lnTo>
                  <a:lnTo>
                    <a:pt x="6571" y="9899"/>
                  </a:lnTo>
                  <a:lnTo>
                    <a:pt x="6580" y="9875"/>
                  </a:lnTo>
                  <a:lnTo>
                    <a:pt x="6590" y="9852"/>
                  </a:lnTo>
                  <a:lnTo>
                    <a:pt x="6601" y="9829"/>
                  </a:lnTo>
                  <a:lnTo>
                    <a:pt x="6608" y="9818"/>
                  </a:lnTo>
                  <a:lnTo>
                    <a:pt x="6615" y="9807"/>
                  </a:lnTo>
                  <a:lnTo>
                    <a:pt x="6623" y="9796"/>
                  </a:lnTo>
                  <a:lnTo>
                    <a:pt x="6631" y="9785"/>
                  </a:lnTo>
                  <a:lnTo>
                    <a:pt x="6646" y="9764"/>
                  </a:lnTo>
                  <a:lnTo>
                    <a:pt x="6663" y="9743"/>
                  </a:lnTo>
                  <a:lnTo>
                    <a:pt x="6680" y="9722"/>
                  </a:lnTo>
                  <a:lnTo>
                    <a:pt x="6699" y="9703"/>
                  </a:lnTo>
                  <a:lnTo>
                    <a:pt x="6719" y="9685"/>
                  </a:lnTo>
                  <a:lnTo>
                    <a:pt x="6739" y="9669"/>
                  </a:lnTo>
                  <a:lnTo>
                    <a:pt x="6760" y="9653"/>
                  </a:lnTo>
                  <a:lnTo>
                    <a:pt x="6783" y="9638"/>
                  </a:lnTo>
                  <a:lnTo>
                    <a:pt x="6787" y="9634"/>
                  </a:lnTo>
                  <a:lnTo>
                    <a:pt x="6790" y="9631"/>
                  </a:lnTo>
                  <a:lnTo>
                    <a:pt x="6793" y="9630"/>
                  </a:lnTo>
                  <a:lnTo>
                    <a:pt x="6796" y="9629"/>
                  </a:lnTo>
                  <a:lnTo>
                    <a:pt x="6811" y="9622"/>
                  </a:lnTo>
                  <a:lnTo>
                    <a:pt x="6827" y="9615"/>
                  </a:lnTo>
                  <a:lnTo>
                    <a:pt x="6844" y="9610"/>
                  </a:lnTo>
                  <a:lnTo>
                    <a:pt x="6860" y="9606"/>
                  </a:lnTo>
                  <a:lnTo>
                    <a:pt x="6895" y="9598"/>
                  </a:lnTo>
                  <a:lnTo>
                    <a:pt x="6929" y="9589"/>
                  </a:lnTo>
                  <a:lnTo>
                    <a:pt x="7048" y="9604"/>
                  </a:lnTo>
                  <a:lnTo>
                    <a:pt x="7166" y="9624"/>
                  </a:lnTo>
                  <a:lnTo>
                    <a:pt x="7283" y="9650"/>
                  </a:lnTo>
                  <a:lnTo>
                    <a:pt x="7400" y="9680"/>
                  </a:lnTo>
                  <a:lnTo>
                    <a:pt x="7514" y="9715"/>
                  </a:lnTo>
                  <a:lnTo>
                    <a:pt x="7629" y="9756"/>
                  </a:lnTo>
                  <a:lnTo>
                    <a:pt x="7743" y="9801"/>
                  </a:lnTo>
                  <a:lnTo>
                    <a:pt x="7855" y="9851"/>
                  </a:lnTo>
                  <a:lnTo>
                    <a:pt x="7967" y="9905"/>
                  </a:lnTo>
                  <a:lnTo>
                    <a:pt x="8077" y="9964"/>
                  </a:lnTo>
                  <a:lnTo>
                    <a:pt x="8186" y="10028"/>
                  </a:lnTo>
                  <a:lnTo>
                    <a:pt x="8294" y="10096"/>
                  </a:lnTo>
                  <a:lnTo>
                    <a:pt x="8401" y="10169"/>
                  </a:lnTo>
                  <a:lnTo>
                    <a:pt x="8506" y="10245"/>
                  </a:lnTo>
                  <a:lnTo>
                    <a:pt x="8611" y="10327"/>
                  </a:lnTo>
                  <a:lnTo>
                    <a:pt x="8713" y="10411"/>
                  </a:lnTo>
                  <a:lnTo>
                    <a:pt x="8815" y="10501"/>
                  </a:lnTo>
                  <a:lnTo>
                    <a:pt x="8915" y="10595"/>
                  </a:lnTo>
                  <a:lnTo>
                    <a:pt x="9013" y="10692"/>
                  </a:lnTo>
                  <a:lnTo>
                    <a:pt x="9110" y="10794"/>
                  </a:lnTo>
                  <a:lnTo>
                    <a:pt x="9205" y="10898"/>
                  </a:lnTo>
                  <a:lnTo>
                    <a:pt x="9299" y="11008"/>
                  </a:lnTo>
                  <a:lnTo>
                    <a:pt x="9391" y="11121"/>
                  </a:lnTo>
                  <a:lnTo>
                    <a:pt x="9481" y="11237"/>
                  </a:lnTo>
                  <a:lnTo>
                    <a:pt x="9570" y="11357"/>
                  </a:lnTo>
                  <a:lnTo>
                    <a:pt x="9657" y="11481"/>
                  </a:lnTo>
                  <a:lnTo>
                    <a:pt x="9741" y="11608"/>
                  </a:lnTo>
                  <a:lnTo>
                    <a:pt x="9825" y="11737"/>
                  </a:lnTo>
                  <a:lnTo>
                    <a:pt x="9905" y="11871"/>
                  </a:lnTo>
                  <a:lnTo>
                    <a:pt x="9985" y="12008"/>
                  </a:lnTo>
                  <a:lnTo>
                    <a:pt x="10061" y="12149"/>
                  </a:lnTo>
                  <a:lnTo>
                    <a:pt x="10137" y="12292"/>
                  </a:lnTo>
                  <a:lnTo>
                    <a:pt x="10150" y="12286"/>
                  </a:lnTo>
                  <a:lnTo>
                    <a:pt x="10205" y="12386"/>
                  </a:lnTo>
                  <a:lnTo>
                    <a:pt x="10262" y="12486"/>
                  </a:lnTo>
                  <a:lnTo>
                    <a:pt x="10320" y="12581"/>
                  </a:lnTo>
                  <a:lnTo>
                    <a:pt x="10379" y="12676"/>
                  </a:lnTo>
                  <a:lnTo>
                    <a:pt x="10440" y="12767"/>
                  </a:lnTo>
                  <a:lnTo>
                    <a:pt x="10502" y="12856"/>
                  </a:lnTo>
                  <a:lnTo>
                    <a:pt x="10565" y="12942"/>
                  </a:lnTo>
                  <a:lnTo>
                    <a:pt x="10630" y="13026"/>
                  </a:lnTo>
                  <a:lnTo>
                    <a:pt x="10696" y="13107"/>
                  </a:lnTo>
                  <a:lnTo>
                    <a:pt x="10763" y="13186"/>
                  </a:lnTo>
                  <a:lnTo>
                    <a:pt x="10832" y="13261"/>
                  </a:lnTo>
                  <a:lnTo>
                    <a:pt x="10901" y="13334"/>
                  </a:lnTo>
                  <a:lnTo>
                    <a:pt x="10973" y="13403"/>
                  </a:lnTo>
                  <a:lnTo>
                    <a:pt x="11045" y="13470"/>
                  </a:lnTo>
                  <a:lnTo>
                    <a:pt x="11119" y="13533"/>
                  </a:lnTo>
                  <a:lnTo>
                    <a:pt x="11194" y="13593"/>
                  </a:lnTo>
                  <a:lnTo>
                    <a:pt x="11271" y="13651"/>
                  </a:lnTo>
                  <a:lnTo>
                    <a:pt x="11348" y="13704"/>
                  </a:lnTo>
                  <a:lnTo>
                    <a:pt x="11427" y="13755"/>
                  </a:lnTo>
                  <a:lnTo>
                    <a:pt x="11508" y="13801"/>
                  </a:lnTo>
                  <a:lnTo>
                    <a:pt x="11589" y="13846"/>
                  </a:lnTo>
                  <a:lnTo>
                    <a:pt x="11672" y="13886"/>
                  </a:lnTo>
                  <a:lnTo>
                    <a:pt x="11756" y="13922"/>
                  </a:lnTo>
                  <a:lnTo>
                    <a:pt x="11842" y="13955"/>
                  </a:lnTo>
                  <a:lnTo>
                    <a:pt x="11929" y="13986"/>
                  </a:lnTo>
                  <a:lnTo>
                    <a:pt x="12017" y="14011"/>
                  </a:lnTo>
                  <a:lnTo>
                    <a:pt x="12106" y="14033"/>
                  </a:lnTo>
                  <a:lnTo>
                    <a:pt x="12198" y="14051"/>
                  </a:lnTo>
                  <a:lnTo>
                    <a:pt x="12290" y="14065"/>
                  </a:lnTo>
                  <a:lnTo>
                    <a:pt x="12383" y="14075"/>
                  </a:lnTo>
                  <a:lnTo>
                    <a:pt x="12478" y="14081"/>
                  </a:lnTo>
                  <a:lnTo>
                    <a:pt x="12574" y="14083"/>
                  </a:lnTo>
                  <a:lnTo>
                    <a:pt x="12787" y="14073"/>
                  </a:lnTo>
                  <a:lnTo>
                    <a:pt x="12995" y="14043"/>
                  </a:lnTo>
                  <a:lnTo>
                    <a:pt x="13195" y="13993"/>
                  </a:lnTo>
                  <a:lnTo>
                    <a:pt x="13389" y="13924"/>
                  </a:lnTo>
                  <a:lnTo>
                    <a:pt x="13576" y="13838"/>
                  </a:lnTo>
                  <a:lnTo>
                    <a:pt x="13757" y="13733"/>
                  </a:lnTo>
                  <a:lnTo>
                    <a:pt x="13932" y="13612"/>
                  </a:lnTo>
                  <a:lnTo>
                    <a:pt x="14099" y="13475"/>
                  </a:lnTo>
                  <a:lnTo>
                    <a:pt x="14260" y="13323"/>
                  </a:lnTo>
                  <a:lnTo>
                    <a:pt x="14415" y="13155"/>
                  </a:lnTo>
                  <a:lnTo>
                    <a:pt x="14563" y="12973"/>
                  </a:lnTo>
                  <a:lnTo>
                    <a:pt x="14704" y="12777"/>
                  </a:lnTo>
                  <a:lnTo>
                    <a:pt x="14839" y="12569"/>
                  </a:lnTo>
                  <a:lnTo>
                    <a:pt x="14966" y="12349"/>
                  </a:lnTo>
                  <a:lnTo>
                    <a:pt x="15087" y="12118"/>
                  </a:lnTo>
                  <a:lnTo>
                    <a:pt x="15202" y="11874"/>
                  </a:lnTo>
                  <a:lnTo>
                    <a:pt x="15309" y="11622"/>
                  </a:lnTo>
                  <a:lnTo>
                    <a:pt x="15410" y="11359"/>
                  </a:lnTo>
                  <a:lnTo>
                    <a:pt x="15504" y="11087"/>
                  </a:lnTo>
                  <a:lnTo>
                    <a:pt x="15590" y="10807"/>
                  </a:lnTo>
                  <a:lnTo>
                    <a:pt x="15670" y="10520"/>
                  </a:lnTo>
                  <a:lnTo>
                    <a:pt x="15744" y="10225"/>
                  </a:lnTo>
                  <a:lnTo>
                    <a:pt x="15810" y="9925"/>
                  </a:lnTo>
                  <a:lnTo>
                    <a:pt x="15870" y="9618"/>
                  </a:lnTo>
                  <a:lnTo>
                    <a:pt x="15923" y="9307"/>
                  </a:lnTo>
                  <a:lnTo>
                    <a:pt x="15968" y="8991"/>
                  </a:lnTo>
                  <a:lnTo>
                    <a:pt x="16006" y="8671"/>
                  </a:lnTo>
                  <a:lnTo>
                    <a:pt x="16039" y="8349"/>
                  </a:lnTo>
                  <a:lnTo>
                    <a:pt x="16063" y="8024"/>
                  </a:lnTo>
                  <a:lnTo>
                    <a:pt x="16081" y="7697"/>
                  </a:lnTo>
                  <a:lnTo>
                    <a:pt x="16091" y="7369"/>
                  </a:lnTo>
                  <a:lnTo>
                    <a:pt x="16095" y="7042"/>
                  </a:lnTo>
                  <a:lnTo>
                    <a:pt x="16091" y="6714"/>
                  </a:lnTo>
                  <a:lnTo>
                    <a:pt x="16081" y="6386"/>
                  </a:lnTo>
                  <a:lnTo>
                    <a:pt x="16063" y="6060"/>
                  </a:lnTo>
                  <a:lnTo>
                    <a:pt x="16039" y="5735"/>
                  </a:lnTo>
                  <a:lnTo>
                    <a:pt x="16006" y="5412"/>
                  </a:lnTo>
                  <a:lnTo>
                    <a:pt x="15968" y="5092"/>
                  </a:lnTo>
                  <a:lnTo>
                    <a:pt x="15923" y="4776"/>
                  </a:lnTo>
                  <a:lnTo>
                    <a:pt x="15870" y="4465"/>
                  </a:lnTo>
                  <a:lnTo>
                    <a:pt x="15810" y="4159"/>
                  </a:lnTo>
                  <a:lnTo>
                    <a:pt x="15744" y="3858"/>
                  </a:lnTo>
                  <a:lnTo>
                    <a:pt x="15670" y="3563"/>
                  </a:lnTo>
                  <a:lnTo>
                    <a:pt x="15590" y="3276"/>
                  </a:lnTo>
                  <a:lnTo>
                    <a:pt x="15504" y="2996"/>
                  </a:lnTo>
                  <a:lnTo>
                    <a:pt x="15410" y="2724"/>
                  </a:lnTo>
                  <a:lnTo>
                    <a:pt x="15309" y="2462"/>
                  </a:lnTo>
                  <a:lnTo>
                    <a:pt x="15202" y="2209"/>
                  </a:lnTo>
                  <a:lnTo>
                    <a:pt x="15087" y="1966"/>
                  </a:lnTo>
                  <a:lnTo>
                    <a:pt x="14966" y="1734"/>
                  </a:lnTo>
                  <a:lnTo>
                    <a:pt x="14839" y="1514"/>
                  </a:lnTo>
                  <a:lnTo>
                    <a:pt x="14704" y="1306"/>
                  </a:lnTo>
                  <a:lnTo>
                    <a:pt x="14563" y="1111"/>
                  </a:lnTo>
                  <a:lnTo>
                    <a:pt x="14415" y="928"/>
                  </a:lnTo>
                  <a:lnTo>
                    <a:pt x="14260" y="760"/>
                  </a:lnTo>
                  <a:lnTo>
                    <a:pt x="14099" y="609"/>
                  </a:lnTo>
                  <a:lnTo>
                    <a:pt x="13932" y="471"/>
                  </a:lnTo>
                  <a:lnTo>
                    <a:pt x="13757" y="350"/>
                  </a:lnTo>
                  <a:lnTo>
                    <a:pt x="13576" y="245"/>
                  </a:lnTo>
                  <a:lnTo>
                    <a:pt x="13389" y="159"/>
                  </a:lnTo>
                  <a:lnTo>
                    <a:pt x="13195" y="91"/>
                  </a:lnTo>
                  <a:lnTo>
                    <a:pt x="12995" y="40"/>
                  </a:lnTo>
                  <a:lnTo>
                    <a:pt x="12787" y="10"/>
                  </a:lnTo>
                  <a:lnTo>
                    <a:pt x="1257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44" name="íṡlîďê">
              <a:extLst>
                <a:ext uri="{FF2B5EF4-FFF2-40B4-BE49-F238E27FC236}">
                  <a16:creationId xmlns:a16="http://schemas.microsoft.com/office/drawing/2014/main" id="{5109D0EE-E438-4F4F-BBBB-C536CCCBDE62}"/>
                </a:ext>
              </a:extLst>
            </p:cNvPr>
            <p:cNvSpPr/>
            <p:nvPr/>
          </p:nvSpPr>
          <p:spPr bwMode="auto">
            <a:xfrm>
              <a:off x="8279204" y="2368522"/>
              <a:ext cx="231062" cy="231062"/>
            </a:xfrm>
            <a:custGeom>
              <a:avLst/>
              <a:gdLst>
                <a:gd name="T0" fmla="*/ 15044 w 16095"/>
                <a:gd name="T1" fmla="*/ 14382 h 16095"/>
                <a:gd name="T2" fmla="*/ 14889 w 16095"/>
                <a:gd name="T3" fmla="*/ 14685 h 16095"/>
                <a:gd name="T4" fmla="*/ 14645 w 16095"/>
                <a:gd name="T5" fmla="*/ 14917 h 16095"/>
                <a:gd name="T6" fmla="*/ 14335 w 16095"/>
                <a:gd name="T7" fmla="*/ 15057 h 16095"/>
                <a:gd name="T8" fmla="*/ 1961 w 16095"/>
                <a:gd name="T9" fmla="*/ 15088 h 16095"/>
                <a:gd name="T10" fmla="*/ 1621 w 16095"/>
                <a:gd name="T11" fmla="*/ 15010 h 16095"/>
                <a:gd name="T12" fmla="*/ 1336 w 16095"/>
                <a:gd name="T13" fmla="*/ 14828 h 16095"/>
                <a:gd name="T14" fmla="*/ 1128 w 16095"/>
                <a:gd name="T15" fmla="*/ 14562 h 16095"/>
                <a:gd name="T16" fmla="*/ 1017 w 16095"/>
                <a:gd name="T17" fmla="*/ 14236 h 16095"/>
                <a:gd name="T18" fmla="*/ 1012 w 16095"/>
                <a:gd name="T19" fmla="*/ 3947 h 16095"/>
                <a:gd name="T20" fmla="*/ 1066 w 16095"/>
                <a:gd name="T21" fmla="*/ 3784 h 16095"/>
                <a:gd name="T22" fmla="*/ 1171 w 16095"/>
                <a:gd name="T23" fmla="*/ 3652 h 16095"/>
                <a:gd name="T24" fmla="*/ 1313 w 16095"/>
                <a:gd name="T25" fmla="*/ 3560 h 16095"/>
                <a:gd name="T26" fmla="*/ 1483 w 16095"/>
                <a:gd name="T27" fmla="*/ 3522 h 16095"/>
                <a:gd name="T28" fmla="*/ 2022 w 16095"/>
                <a:gd name="T29" fmla="*/ 13682 h 16095"/>
                <a:gd name="T30" fmla="*/ 2084 w 16095"/>
                <a:gd name="T31" fmla="*/ 13841 h 16095"/>
                <a:gd name="T32" fmla="*/ 2195 w 16095"/>
                <a:gd name="T33" fmla="*/ 13968 h 16095"/>
                <a:gd name="T34" fmla="*/ 2342 w 16095"/>
                <a:gd name="T35" fmla="*/ 14053 h 16095"/>
                <a:gd name="T36" fmla="*/ 2515 w 16095"/>
                <a:gd name="T37" fmla="*/ 14083 h 16095"/>
                <a:gd name="T38" fmla="*/ 2688 w 16095"/>
                <a:gd name="T39" fmla="*/ 14053 h 16095"/>
                <a:gd name="T40" fmla="*/ 2835 w 16095"/>
                <a:gd name="T41" fmla="*/ 13968 h 16095"/>
                <a:gd name="T42" fmla="*/ 2945 w 16095"/>
                <a:gd name="T43" fmla="*/ 13841 h 16095"/>
                <a:gd name="T44" fmla="*/ 3008 w 16095"/>
                <a:gd name="T45" fmla="*/ 13682 h 16095"/>
                <a:gd name="T46" fmla="*/ 3021 w 16095"/>
                <a:gd name="T47" fmla="*/ 1458 h 16095"/>
                <a:gd name="T48" fmla="*/ 3067 w 16095"/>
                <a:gd name="T49" fmla="*/ 1291 h 16095"/>
                <a:gd name="T50" fmla="*/ 3166 w 16095"/>
                <a:gd name="T51" fmla="*/ 1154 h 16095"/>
                <a:gd name="T52" fmla="*/ 3302 w 16095"/>
                <a:gd name="T53" fmla="*/ 1055 h 16095"/>
                <a:gd name="T54" fmla="*/ 3469 w 16095"/>
                <a:gd name="T55" fmla="*/ 1009 h 16095"/>
                <a:gd name="T56" fmla="*/ 14688 w 16095"/>
                <a:gd name="T57" fmla="*/ 1016 h 16095"/>
                <a:gd name="T58" fmla="*/ 14847 w 16095"/>
                <a:gd name="T59" fmla="*/ 1079 h 16095"/>
                <a:gd name="T60" fmla="*/ 14974 w 16095"/>
                <a:gd name="T61" fmla="*/ 1189 h 16095"/>
                <a:gd name="T62" fmla="*/ 15059 w 16095"/>
                <a:gd name="T63" fmla="*/ 1336 h 16095"/>
                <a:gd name="T64" fmla="*/ 15089 w 16095"/>
                <a:gd name="T65" fmla="*/ 1509 h 16095"/>
                <a:gd name="T66" fmla="*/ 3217 w 16095"/>
                <a:gd name="T67" fmla="*/ 30 h 16095"/>
                <a:gd name="T68" fmla="*/ 2738 w 16095"/>
                <a:gd name="T69" fmla="*/ 218 h 16095"/>
                <a:gd name="T70" fmla="*/ 2356 w 16095"/>
                <a:gd name="T71" fmla="*/ 549 h 16095"/>
                <a:gd name="T72" fmla="*/ 2103 w 16095"/>
                <a:gd name="T73" fmla="*/ 990 h 16095"/>
                <a:gd name="T74" fmla="*/ 2012 w 16095"/>
                <a:gd name="T75" fmla="*/ 1509 h 16095"/>
                <a:gd name="T76" fmla="*/ 1132 w 16095"/>
                <a:gd name="T77" fmla="*/ 2562 h 16095"/>
                <a:gd name="T78" fmla="*/ 665 w 16095"/>
                <a:gd name="T79" fmla="*/ 2772 h 16095"/>
                <a:gd name="T80" fmla="*/ 300 w 16095"/>
                <a:gd name="T81" fmla="*/ 3120 h 16095"/>
                <a:gd name="T82" fmla="*/ 67 w 16095"/>
                <a:gd name="T83" fmla="*/ 3575 h 16095"/>
                <a:gd name="T84" fmla="*/ 0 w 16095"/>
                <a:gd name="T85" fmla="*/ 14083 h 16095"/>
                <a:gd name="T86" fmla="*/ 122 w 16095"/>
                <a:gd name="T87" fmla="*/ 14775 h 16095"/>
                <a:gd name="T88" fmla="*/ 460 w 16095"/>
                <a:gd name="T89" fmla="*/ 15363 h 16095"/>
                <a:gd name="T90" fmla="*/ 969 w 16095"/>
                <a:gd name="T91" fmla="*/ 15803 h 16095"/>
                <a:gd name="T92" fmla="*/ 1606 w 16095"/>
                <a:gd name="T93" fmla="*/ 16054 h 16095"/>
                <a:gd name="T94" fmla="*/ 14289 w 16095"/>
                <a:gd name="T95" fmla="*/ 16085 h 16095"/>
                <a:gd name="T96" fmla="*/ 14955 w 16095"/>
                <a:gd name="T97" fmla="*/ 15897 h 16095"/>
                <a:gd name="T98" fmla="*/ 15506 w 16095"/>
                <a:gd name="T99" fmla="*/ 15506 h 16095"/>
                <a:gd name="T100" fmla="*/ 15897 w 16095"/>
                <a:gd name="T101" fmla="*/ 14955 h 16095"/>
                <a:gd name="T102" fmla="*/ 16085 w 16095"/>
                <a:gd name="T103" fmla="*/ 14289 h 16095"/>
                <a:gd name="T104" fmla="*/ 16065 w 16095"/>
                <a:gd name="T105" fmla="*/ 1204 h 16095"/>
                <a:gd name="T106" fmla="*/ 15877 w 16095"/>
                <a:gd name="T107" fmla="*/ 726 h 16095"/>
                <a:gd name="T108" fmla="*/ 15546 w 16095"/>
                <a:gd name="T109" fmla="*/ 344 h 16095"/>
                <a:gd name="T110" fmla="*/ 15105 w 16095"/>
                <a:gd name="T111" fmla="*/ 92 h 16095"/>
                <a:gd name="T112" fmla="*/ 14586 w 16095"/>
                <a:gd name="T113" fmla="*/ 0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6095">
                  <a:moveTo>
                    <a:pt x="15089" y="14083"/>
                  </a:moveTo>
                  <a:lnTo>
                    <a:pt x="15088" y="14134"/>
                  </a:lnTo>
                  <a:lnTo>
                    <a:pt x="15084" y="14186"/>
                  </a:lnTo>
                  <a:lnTo>
                    <a:pt x="15077" y="14236"/>
                  </a:lnTo>
                  <a:lnTo>
                    <a:pt x="15069" y="14285"/>
                  </a:lnTo>
                  <a:lnTo>
                    <a:pt x="15057" y="14334"/>
                  </a:lnTo>
                  <a:lnTo>
                    <a:pt x="15044" y="14382"/>
                  </a:lnTo>
                  <a:lnTo>
                    <a:pt x="15028" y="14428"/>
                  </a:lnTo>
                  <a:lnTo>
                    <a:pt x="15010" y="14474"/>
                  </a:lnTo>
                  <a:lnTo>
                    <a:pt x="14989" y="14519"/>
                  </a:lnTo>
                  <a:lnTo>
                    <a:pt x="14967" y="14562"/>
                  </a:lnTo>
                  <a:lnTo>
                    <a:pt x="14943" y="14604"/>
                  </a:lnTo>
                  <a:lnTo>
                    <a:pt x="14917" y="14645"/>
                  </a:lnTo>
                  <a:lnTo>
                    <a:pt x="14889" y="14685"/>
                  </a:lnTo>
                  <a:lnTo>
                    <a:pt x="14859" y="14723"/>
                  </a:lnTo>
                  <a:lnTo>
                    <a:pt x="14828" y="14759"/>
                  </a:lnTo>
                  <a:lnTo>
                    <a:pt x="14794" y="14794"/>
                  </a:lnTo>
                  <a:lnTo>
                    <a:pt x="14759" y="14828"/>
                  </a:lnTo>
                  <a:lnTo>
                    <a:pt x="14723" y="14859"/>
                  </a:lnTo>
                  <a:lnTo>
                    <a:pt x="14685" y="14889"/>
                  </a:lnTo>
                  <a:lnTo>
                    <a:pt x="14645" y="14917"/>
                  </a:lnTo>
                  <a:lnTo>
                    <a:pt x="14604" y="14943"/>
                  </a:lnTo>
                  <a:lnTo>
                    <a:pt x="14562" y="14967"/>
                  </a:lnTo>
                  <a:lnTo>
                    <a:pt x="14519" y="14989"/>
                  </a:lnTo>
                  <a:lnTo>
                    <a:pt x="14474" y="15010"/>
                  </a:lnTo>
                  <a:lnTo>
                    <a:pt x="14429" y="15028"/>
                  </a:lnTo>
                  <a:lnTo>
                    <a:pt x="14382" y="15044"/>
                  </a:lnTo>
                  <a:lnTo>
                    <a:pt x="14335" y="15057"/>
                  </a:lnTo>
                  <a:lnTo>
                    <a:pt x="14285" y="15069"/>
                  </a:lnTo>
                  <a:lnTo>
                    <a:pt x="14236" y="15077"/>
                  </a:lnTo>
                  <a:lnTo>
                    <a:pt x="14186" y="15084"/>
                  </a:lnTo>
                  <a:lnTo>
                    <a:pt x="14134" y="15088"/>
                  </a:lnTo>
                  <a:lnTo>
                    <a:pt x="14083" y="15089"/>
                  </a:lnTo>
                  <a:lnTo>
                    <a:pt x="2012" y="15089"/>
                  </a:lnTo>
                  <a:lnTo>
                    <a:pt x="1961" y="15088"/>
                  </a:lnTo>
                  <a:lnTo>
                    <a:pt x="1909" y="15084"/>
                  </a:lnTo>
                  <a:lnTo>
                    <a:pt x="1859" y="15077"/>
                  </a:lnTo>
                  <a:lnTo>
                    <a:pt x="1810" y="15069"/>
                  </a:lnTo>
                  <a:lnTo>
                    <a:pt x="1760" y="15057"/>
                  </a:lnTo>
                  <a:lnTo>
                    <a:pt x="1713" y="15044"/>
                  </a:lnTo>
                  <a:lnTo>
                    <a:pt x="1666" y="15028"/>
                  </a:lnTo>
                  <a:lnTo>
                    <a:pt x="1621" y="15010"/>
                  </a:lnTo>
                  <a:lnTo>
                    <a:pt x="1576" y="14989"/>
                  </a:lnTo>
                  <a:lnTo>
                    <a:pt x="1533" y="14967"/>
                  </a:lnTo>
                  <a:lnTo>
                    <a:pt x="1491" y="14943"/>
                  </a:lnTo>
                  <a:lnTo>
                    <a:pt x="1450" y="14917"/>
                  </a:lnTo>
                  <a:lnTo>
                    <a:pt x="1410" y="14889"/>
                  </a:lnTo>
                  <a:lnTo>
                    <a:pt x="1372" y="14859"/>
                  </a:lnTo>
                  <a:lnTo>
                    <a:pt x="1336" y="14828"/>
                  </a:lnTo>
                  <a:lnTo>
                    <a:pt x="1301" y="14794"/>
                  </a:lnTo>
                  <a:lnTo>
                    <a:pt x="1267" y="14759"/>
                  </a:lnTo>
                  <a:lnTo>
                    <a:pt x="1236" y="14723"/>
                  </a:lnTo>
                  <a:lnTo>
                    <a:pt x="1206" y="14685"/>
                  </a:lnTo>
                  <a:lnTo>
                    <a:pt x="1178" y="14645"/>
                  </a:lnTo>
                  <a:lnTo>
                    <a:pt x="1152" y="14604"/>
                  </a:lnTo>
                  <a:lnTo>
                    <a:pt x="1128" y="14562"/>
                  </a:lnTo>
                  <a:lnTo>
                    <a:pt x="1106" y="14519"/>
                  </a:lnTo>
                  <a:lnTo>
                    <a:pt x="1085" y="14474"/>
                  </a:lnTo>
                  <a:lnTo>
                    <a:pt x="1067" y="14428"/>
                  </a:lnTo>
                  <a:lnTo>
                    <a:pt x="1051" y="14382"/>
                  </a:lnTo>
                  <a:lnTo>
                    <a:pt x="1037" y="14334"/>
                  </a:lnTo>
                  <a:lnTo>
                    <a:pt x="1026" y="14285"/>
                  </a:lnTo>
                  <a:lnTo>
                    <a:pt x="1017" y="14236"/>
                  </a:lnTo>
                  <a:lnTo>
                    <a:pt x="1011" y="14186"/>
                  </a:lnTo>
                  <a:lnTo>
                    <a:pt x="1007" y="14134"/>
                  </a:lnTo>
                  <a:lnTo>
                    <a:pt x="1006" y="14083"/>
                  </a:lnTo>
                  <a:lnTo>
                    <a:pt x="1006" y="4024"/>
                  </a:lnTo>
                  <a:lnTo>
                    <a:pt x="1007" y="3998"/>
                  </a:lnTo>
                  <a:lnTo>
                    <a:pt x="1009" y="3972"/>
                  </a:lnTo>
                  <a:lnTo>
                    <a:pt x="1012" y="3947"/>
                  </a:lnTo>
                  <a:lnTo>
                    <a:pt x="1016" y="3922"/>
                  </a:lnTo>
                  <a:lnTo>
                    <a:pt x="1022" y="3898"/>
                  </a:lnTo>
                  <a:lnTo>
                    <a:pt x="1028" y="3874"/>
                  </a:lnTo>
                  <a:lnTo>
                    <a:pt x="1036" y="3851"/>
                  </a:lnTo>
                  <a:lnTo>
                    <a:pt x="1045" y="3828"/>
                  </a:lnTo>
                  <a:lnTo>
                    <a:pt x="1055" y="3805"/>
                  </a:lnTo>
                  <a:lnTo>
                    <a:pt x="1066" y="3784"/>
                  </a:lnTo>
                  <a:lnTo>
                    <a:pt x="1078" y="3763"/>
                  </a:lnTo>
                  <a:lnTo>
                    <a:pt x="1091" y="3743"/>
                  </a:lnTo>
                  <a:lnTo>
                    <a:pt x="1106" y="3723"/>
                  </a:lnTo>
                  <a:lnTo>
                    <a:pt x="1121" y="3704"/>
                  </a:lnTo>
                  <a:lnTo>
                    <a:pt x="1137" y="3686"/>
                  </a:lnTo>
                  <a:lnTo>
                    <a:pt x="1153" y="3669"/>
                  </a:lnTo>
                  <a:lnTo>
                    <a:pt x="1171" y="3652"/>
                  </a:lnTo>
                  <a:lnTo>
                    <a:pt x="1189" y="3635"/>
                  </a:lnTo>
                  <a:lnTo>
                    <a:pt x="1208" y="3620"/>
                  </a:lnTo>
                  <a:lnTo>
                    <a:pt x="1227" y="3606"/>
                  </a:lnTo>
                  <a:lnTo>
                    <a:pt x="1248" y="3593"/>
                  </a:lnTo>
                  <a:lnTo>
                    <a:pt x="1269" y="3581"/>
                  </a:lnTo>
                  <a:lnTo>
                    <a:pt x="1291" y="3570"/>
                  </a:lnTo>
                  <a:lnTo>
                    <a:pt x="1313" y="3560"/>
                  </a:lnTo>
                  <a:lnTo>
                    <a:pt x="1336" y="3551"/>
                  </a:lnTo>
                  <a:lnTo>
                    <a:pt x="1359" y="3544"/>
                  </a:lnTo>
                  <a:lnTo>
                    <a:pt x="1383" y="3537"/>
                  </a:lnTo>
                  <a:lnTo>
                    <a:pt x="1407" y="3531"/>
                  </a:lnTo>
                  <a:lnTo>
                    <a:pt x="1432" y="3527"/>
                  </a:lnTo>
                  <a:lnTo>
                    <a:pt x="1458" y="3524"/>
                  </a:lnTo>
                  <a:lnTo>
                    <a:pt x="1483" y="3522"/>
                  </a:lnTo>
                  <a:lnTo>
                    <a:pt x="1509" y="3521"/>
                  </a:lnTo>
                  <a:lnTo>
                    <a:pt x="2012" y="3521"/>
                  </a:lnTo>
                  <a:lnTo>
                    <a:pt x="2012" y="13580"/>
                  </a:lnTo>
                  <a:lnTo>
                    <a:pt x="2013" y="13606"/>
                  </a:lnTo>
                  <a:lnTo>
                    <a:pt x="2015" y="13631"/>
                  </a:lnTo>
                  <a:lnTo>
                    <a:pt x="2018" y="13657"/>
                  </a:lnTo>
                  <a:lnTo>
                    <a:pt x="2022" y="13682"/>
                  </a:lnTo>
                  <a:lnTo>
                    <a:pt x="2028" y="13706"/>
                  </a:lnTo>
                  <a:lnTo>
                    <a:pt x="2034" y="13730"/>
                  </a:lnTo>
                  <a:lnTo>
                    <a:pt x="2042" y="13753"/>
                  </a:lnTo>
                  <a:lnTo>
                    <a:pt x="2051" y="13776"/>
                  </a:lnTo>
                  <a:lnTo>
                    <a:pt x="2061" y="13798"/>
                  </a:lnTo>
                  <a:lnTo>
                    <a:pt x="2072" y="13821"/>
                  </a:lnTo>
                  <a:lnTo>
                    <a:pt x="2084" y="13841"/>
                  </a:lnTo>
                  <a:lnTo>
                    <a:pt x="2097" y="13862"/>
                  </a:lnTo>
                  <a:lnTo>
                    <a:pt x="2111" y="13881"/>
                  </a:lnTo>
                  <a:lnTo>
                    <a:pt x="2127" y="13900"/>
                  </a:lnTo>
                  <a:lnTo>
                    <a:pt x="2143" y="13918"/>
                  </a:lnTo>
                  <a:lnTo>
                    <a:pt x="2159" y="13936"/>
                  </a:lnTo>
                  <a:lnTo>
                    <a:pt x="2177" y="13952"/>
                  </a:lnTo>
                  <a:lnTo>
                    <a:pt x="2195" y="13968"/>
                  </a:lnTo>
                  <a:lnTo>
                    <a:pt x="2214" y="13984"/>
                  </a:lnTo>
                  <a:lnTo>
                    <a:pt x="2233" y="13998"/>
                  </a:lnTo>
                  <a:lnTo>
                    <a:pt x="2254" y="14011"/>
                  </a:lnTo>
                  <a:lnTo>
                    <a:pt x="2275" y="14023"/>
                  </a:lnTo>
                  <a:lnTo>
                    <a:pt x="2297" y="14034"/>
                  </a:lnTo>
                  <a:lnTo>
                    <a:pt x="2319" y="14044"/>
                  </a:lnTo>
                  <a:lnTo>
                    <a:pt x="2342" y="14053"/>
                  </a:lnTo>
                  <a:lnTo>
                    <a:pt x="2365" y="14061"/>
                  </a:lnTo>
                  <a:lnTo>
                    <a:pt x="2389" y="14067"/>
                  </a:lnTo>
                  <a:lnTo>
                    <a:pt x="2413" y="14073"/>
                  </a:lnTo>
                  <a:lnTo>
                    <a:pt x="2438" y="14077"/>
                  </a:lnTo>
                  <a:lnTo>
                    <a:pt x="2464" y="14080"/>
                  </a:lnTo>
                  <a:lnTo>
                    <a:pt x="2489" y="14082"/>
                  </a:lnTo>
                  <a:lnTo>
                    <a:pt x="2515" y="14083"/>
                  </a:lnTo>
                  <a:lnTo>
                    <a:pt x="2541" y="14082"/>
                  </a:lnTo>
                  <a:lnTo>
                    <a:pt x="2566" y="14080"/>
                  </a:lnTo>
                  <a:lnTo>
                    <a:pt x="2591" y="14077"/>
                  </a:lnTo>
                  <a:lnTo>
                    <a:pt x="2616" y="14073"/>
                  </a:lnTo>
                  <a:lnTo>
                    <a:pt x="2641" y="14067"/>
                  </a:lnTo>
                  <a:lnTo>
                    <a:pt x="2665" y="14061"/>
                  </a:lnTo>
                  <a:lnTo>
                    <a:pt x="2688" y="14053"/>
                  </a:lnTo>
                  <a:lnTo>
                    <a:pt x="2711" y="14044"/>
                  </a:lnTo>
                  <a:lnTo>
                    <a:pt x="2733" y="14034"/>
                  </a:lnTo>
                  <a:lnTo>
                    <a:pt x="2755" y="14023"/>
                  </a:lnTo>
                  <a:lnTo>
                    <a:pt x="2775" y="14011"/>
                  </a:lnTo>
                  <a:lnTo>
                    <a:pt x="2797" y="13998"/>
                  </a:lnTo>
                  <a:lnTo>
                    <a:pt x="2816" y="13984"/>
                  </a:lnTo>
                  <a:lnTo>
                    <a:pt x="2835" y="13968"/>
                  </a:lnTo>
                  <a:lnTo>
                    <a:pt x="2853" y="13952"/>
                  </a:lnTo>
                  <a:lnTo>
                    <a:pt x="2871" y="13936"/>
                  </a:lnTo>
                  <a:lnTo>
                    <a:pt x="2887" y="13918"/>
                  </a:lnTo>
                  <a:lnTo>
                    <a:pt x="2903" y="13900"/>
                  </a:lnTo>
                  <a:lnTo>
                    <a:pt x="2918" y="13881"/>
                  </a:lnTo>
                  <a:lnTo>
                    <a:pt x="2932" y="13862"/>
                  </a:lnTo>
                  <a:lnTo>
                    <a:pt x="2945" y="13841"/>
                  </a:lnTo>
                  <a:lnTo>
                    <a:pt x="2957" y="13821"/>
                  </a:lnTo>
                  <a:lnTo>
                    <a:pt x="2969" y="13798"/>
                  </a:lnTo>
                  <a:lnTo>
                    <a:pt x="2979" y="13776"/>
                  </a:lnTo>
                  <a:lnTo>
                    <a:pt x="2988" y="13753"/>
                  </a:lnTo>
                  <a:lnTo>
                    <a:pt x="2996" y="13730"/>
                  </a:lnTo>
                  <a:lnTo>
                    <a:pt x="3002" y="13706"/>
                  </a:lnTo>
                  <a:lnTo>
                    <a:pt x="3008" y="13682"/>
                  </a:lnTo>
                  <a:lnTo>
                    <a:pt x="3012" y="13657"/>
                  </a:lnTo>
                  <a:lnTo>
                    <a:pt x="3015" y="13631"/>
                  </a:lnTo>
                  <a:lnTo>
                    <a:pt x="3017" y="13606"/>
                  </a:lnTo>
                  <a:lnTo>
                    <a:pt x="3018" y="13580"/>
                  </a:lnTo>
                  <a:lnTo>
                    <a:pt x="3018" y="1509"/>
                  </a:lnTo>
                  <a:lnTo>
                    <a:pt x="3019" y="1483"/>
                  </a:lnTo>
                  <a:lnTo>
                    <a:pt x="3021" y="1458"/>
                  </a:lnTo>
                  <a:lnTo>
                    <a:pt x="3024" y="1432"/>
                  </a:lnTo>
                  <a:lnTo>
                    <a:pt x="3028" y="1407"/>
                  </a:lnTo>
                  <a:lnTo>
                    <a:pt x="3034" y="1383"/>
                  </a:lnTo>
                  <a:lnTo>
                    <a:pt x="3041" y="1359"/>
                  </a:lnTo>
                  <a:lnTo>
                    <a:pt x="3048" y="1336"/>
                  </a:lnTo>
                  <a:lnTo>
                    <a:pt x="3057" y="1313"/>
                  </a:lnTo>
                  <a:lnTo>
                    <a:pt x="3067" y="1291"/>
                  </a:lnTo>
                  <a:lnTo>
                    <a:pt x="3078" y="1269"/>
                  </a:lnTo>
                  <a:lnTo>
                    <a:pt x="3090" y="1248"/>
                  </a:lnTo>
                  <a:lnTo>
                    <a:pt x="3103" y="1227"/>
                  </a:lnTo>
                  <a:lnTo>
                    <a:pt x="3117" y="1208"/>
                  </a:lnTo>
                  <a:lnTo>
                    <a:pt x="3132" y="1189"/>
                  </a:lnTo>
                  <a:lnTo>
                    <a:pt x="3149" y="1171"/>
                  </a:lnTo>
                  <a:lnTo>
                    <a:pt x="3166" y="1154"/>
                  </a:lnTo>
                  <a:lnTo>
                    <a:pt x="3183" y="1137"/>
                  </a:lnTo>
                  <a:lnTo>
                    <a:pt x="3201" y="1121"/>
                  </a:lnTo>
                  <a:lnTo>
                    <a:pt x="3220" y="1106"/>
                  </a:lnTo>
                  <a:lnTo>
                    <a:pt x="3240" y="1092"/>
                  </a:lnTo>
                  <a:lnTo>
                    <a:pt x="3260" y="1079"/>
                  </a:lnTo>
                  <a:lnTo>
                    <a:pt x="3281" y="1066"/>
                  </a:lnTo>
                  <a:lnTo>
                    <a:pt x="3302" y="1055"/>
                  </a:lnTo>
                  <a:lnTo>
                    <a:pt x="3325" y="1045"/>
                  </a:lnTo>
                  <a:lnTo>
                    <a:pt x="3348" y="1036"/>
                  </a:lnTo>
                  <a:lnTo>
                    <a:pt x="3371" y="1029"/>
                  </a:lnTo>
                  <a:lnTo>
                    <a:pt x="3395" y="1022"/>
                  </a:lnTo>
                  <a:lnTo>
                    <a:pt x="3419" y="1016"/>
                  </a:lnTo>
                  <a:lnTo>
                    <a:pt x="3444" y="1012"/>
                  </a:lnTo>
                  <a:lnTo>
                    <a:pt x="3469" y="1009"/>
                  </a:lnTo>
                  <a:lnTo>
                    <a:pt x="3495" y="1007"/>
                  </a:lnTo>
                  <a:lnTo>
                    <a:pt x="3521" y="1006"/>
                  </a:lnTo>
                  <a:lnTo>
                    <a:pt x="14586" y="1006"/>
                  </a:lnTo>
                  <a:lnTo>
                    <a:pt x="14612" y="1007"/>
                  </a:lnTo>
                  <a:lnTo>
                    <a:pt x="14637" y="1009"/>
                  </a:lnTo>
                  <a:lnTo>
                    <a:pt x="14663" y="1012"/>
                  </a:lnTo>
                  <a:lnTo>
                    <a:pt x="14688" y="1016"/>
                  </a:lnTo>
                  <a:lnTo>
                    <a:pt x="14712" y="1022"/>
                  </a:lnTo>
                  <a:lnTo>
                    <a:pt x="14736" y="1029"/>
                  </a:lnTo>
                  <a:lnTo>
                    <a:pt x="14759" y="1036"/>
                  </a:lnTo>
                  <a:lnTo>
                    <a:pt x="14782" y="1045"/>
                  </a:lnTo>
                  <a:lnTo>
                    <a:pt x="14804" y="1055"/>
                  </a:lnTo>
                  <a:lnTo>
                    <a:pt x="14826" y="1066"/>
                  </a:lnTo>
                  <a:lnTo>
                    <a:pt x="14847" y="1079"/>
                  </a:lnTo>
                  <a:lnTo>
                    <a:pt x="14867" y="1092"/>
                  </a:lnTo>
                  <a:lnTo>
                    <a:pt x="14887" y="1106"/>
                  </a:lnTo>
                  <a:lnTo>
                    <a:pt x="14906" y="1121"/>
                  </a:lnTo>
                  <a:lnTo>
                    <a:pt x="14924" y="1137"/>
                  </a:lnTo>
                  <a:lnTo>
                    <a:pt x="14942" y="1154"/>
                  </a:lnTo>
                  <a:lnTo>
                    <a:pt x="14958" y="1171"/>
                  </a:lnTo>
                  <a:lnTo>
                    <a:pt x="14974" y="1189"/>
                  </a:lnTo>
                  <a:lnTo>
                    <a:pt x="14989" y="1208"/>
                  </a:lnTo>
                  <a:lnTo>
                    <a:pt x="15004" y="1227"/>
                  </a:lnTo>
                  <a:lnTo>
                    <a:pt x="15017" y="1248"/>
                  </a:lnTo>
                  <a:lnTo>
                    <a:pt x="15029" y="1269"/>
                  </a:lnTo>
                  <a:lnTo>
                    <a:pt x="15040" y="1291"/>
                  </a:lnTo>
                  <a:lnTo>
                    <a:pt x="15050" y="1313"/>
                  </a:lnTo>
                  <a:lnTo>
                    <a:pt x="15059" y="1336"/>
                  </a:lnTo>
                  <a:lnTo>
                    <a:pt x="15066" y="1359"/>
                  </a:lnTo>
                  <a:lnTo>
                    <a:pt x="15073" y="1383"/>
                  </a:lnTo>
                  <a:lnTo>
                    <a:pt x="15079" y="1407"/>
                  </a:lnTo>
                  <a:lnTo>
                    <a:pt x="15083" y="1432"/>
                  </a:lnTo>
                  <a:lnTo>
                    <a:pt x="15086" y="1458"/>
                  </a:lnTo>
                  <a:lnTo>
                    <a:pt x="15088" y="1483"/>
                  </a:lnTo>
                  <a:lnTo>
                    <a:pt x="15089" y="1509"/>
                  </a:lnTo>
                  <a:lnTo>
                    <a:pt x="15089" y="14083"/>
                  </a:lnTo>
                  <a:close/>
                  <a:moveTo>
                    <a:pt x="14586" y="0"/>
                  </a:moveTo>
                  <a:lnTo>
                    <a:pt x="3521" y="0"/>
                  </a:lnTo>
                  <a:lnTo>
                    <a:pt x="3443" y="2"/>
                  </a:lnTo>
                  <a:lnTo>
                    <a:pt x="3367" y="8"/>
                  </a:lnTo>
                  <a:lnTo>
                    <a:pt x="3291" y="17"/>
                  </a:lnTo>
                  <a:lnTo>
                    <a:pt x="3217" y="30"/>
                  </a:lnTo>
                  <a:lnTo>
                    <a:pt x="3144" y="47"/>
                  </a:lnTo>
                  <a:lnTo>
                    <a:pt x="3072" y="67"/>
                  </a:lnTo>
                  <a:lnTo>
                    <a:pt x="3002" y="92"/>
                  </a:lnTo>
                  <a:lnTo>
                    <a:pt x="2933" y="119"/>
                  </a:lnTo>
                  <a:lnTo>
                    <a:pt x="2867" y="149"/>
                  </a:lnTo>
                  <a:lnTo>
                    <a:pt x="2802" y="182"/>
                  </a:lnTo>
                  <a:lnTo>
                    <a:pt x="2738" y="218"/>
                  </a:lnTo>
                  <a:lnTo>
                    <a:pt x="2677" y="258"/>
                  </a:lnTo>
                  <a:lnTo>
                    <a:pt x="2617" y="300"/>
                  </a:lnTo>
                  <a:lnTo>
                    <a:pt x="2561" y="344"/>
                  </a:lnTo>
                  <a:lnTo>
                    <a:pt x="2506" y="391"/>
                  </a:lnTo>
                  <a:lnTo>
                    <a:pt x="2453" y="442"/>
                  </a:lnTo>
                  <a:lnTo>
                    <a:pt x="2404" y="494"/>
                  </a:lnTo>
                  <a:lnTo>
                    <a:pt x="2356" y="549"/>
                  </a:lnTo>
                  <a:lnTo>
                    <a:pt x="2312" y="606"/>
                  </a:lnTo>
                  <a:lnTo>
                    <a:pt x="2269" y="665"/>
                  </a:lnTo>
                  <a:lnTo>
                    <a:pt x="2230" y="726"/>
                  </a:lnTo>
                  <a:lnTo>
                    <a:pt x="2194" y="790"/>
                  </a:lnTo>
                  <a:lnTo>
                    <a:pt x="2161" y="854"/>
                  </a:lnTo>
                  <a:lnTo>
                    <a:pt x="2131" y="921"/>
                  </a:lnTo>
                  <a:lnTo>
                    <a:pt x="2103" y="990"/>
                  </a:lnTo>
                  <a:lnTo>
                    <a:pt x="2079" y="1060"/>
                  </a:lnTo>
                  <a:lnTo>
                    <a:pt x="2059" y="1132"/>
                  </a:lnTo>
                  <a:lnTo>
                    <a:pt x="2042" y="1204"/>
                  </a:lnTo>
                  <a:lnTo>
                    <a:pt x="2029" y="1279"/>
                  </a:lnTo>
                  <a:lnTo>
                    <a:pt x="2020" y="1354"/>
                  </a:lnTo>
                  <a:lnTo>
                    <a:pt x="2014" y="1431"/>
                  </a:lnTo>
                  <a:lnTo>
                    <a:pt x="2012" y="1509"/>
                  </a:lnTo>
                  <a:lnTo>
                    <a:pt x="2012" y="2515"/>
                  </a:lnTo>
                  <a:lnTo>
                    <a:pt x="1509" y="2515"/>
                  </a:lnTo>
                  <a:lnTo>
                    <a:pt x="1431" y="2517"/>
                  </a:lnTo>
                  <a:lnTo>
                    <a:pt x="1355" y="2523"/>
                  </a:lnTo>
                  <a:lnTo>
                    <a:pt x="1280" y="2532"/>
                  </a:lnTo>
                  <a:lnTo>
                    <a:pt x="1205" y="2545"/>
                  </a:lnTo>
                  <a:lnTo>
                    <a:pt x="1132" y="2562"/>
                  </a:lnTo>
                  <a:lnTo>
                    <a:pt x="1060" y="2582"/>
                  </a:lnTo>
                  <a:lnTo>
                    <a:pt x="990" y="2606"/>
                  </a:lnTo>
                  <a:lnTo>
                    <a:pt x="921" y="2634"/>
                  </a:lnTo>
                  <a:lnTo>
                    <a:pt x="855" y="2664"/>
                  </a:lnTo>
                  <a:lnTo>
                    <a:pt x="790" y="2697"/>
                  </a:lnTo>
                  <a:lnTo>
                    <a:pt x="726" y="2733"/>
                  </a:lnTo>
                  <a:lnTo>
                    <a:pt x="665" y="2772"/>
                  </a:lnTo>
                  <a:lnTo>
                    <a:pt x="607" y="2815"/>
                  </a:lnTo>
                  <a:lnTo>
                    <a:pt x="549" y="2859"/>
                  </a:lnTo>
                  <a:lnTo>
                    <a:pt x="494" y="2907"/>
                  </a:lnTo>
                  <a:lnTo>
                    <a:pt x="442" y="2956"/>
                  </a:lnTo>
                  <a:lnTo>
                    <a:pt x="392" y="3009"/>
                  </a:lnTo>
                  <a:lnTo>
                    <a:pt x="345" y="3064"/>
                  </a:lnTo>
                  <a:lnTo>
                    <a:pt x="300" y="3120"/>
                  </a:lnTo>
                  <a:lnTo>
                    <a:pt x="258" y="3180"/>
                  </a:lnTo>
                  <a:lnTo>
                    <a:pt x="218" y="3241"/>
                  </a:lnTo>
                  <a:lnTo>
                    <a:pt x="182" y="3305"/>
                  </a:lnTo>
                  <a:lnTo>
                    <a:pt x="149" y="3369"/>
                  </a:lnTo>
                  <a:lnTo>
                    <a:pt x="119" y="3436"/>
                  </a:lnTo>
                  <a:lnTo>
                    <a:pt x="92" y="3505"/>
                  </a:lnTo>
                  <a:lnTo>
                    <a:pt x="67" y="3575"/>
                  </a:lnTo>
                  <a:lnTo>
                    <a:pt x="47" y="3647"/>
                  </a:lnTo>
                  <a:lnTo>
                    <a:pt x="30" y="3720"/>
                  </a:lnTo>
                  <a:lnTo>
                    <a:pt x="17" y="3793"/>
                  </a:lnTo>
                  <a:lnTo>
                    <a:pt x="8" y="3869"/>
                  </a:lnTo>
                  <a:lnTo>
                    <a:pt x="2" y="3946"/>
                  </a:lnTo>
                  <a:lnTo>
                    <a:pt x="0" y="4024"/>
                  </a:lnTo>
                  <a:lnTo>
                    <a:pt x="0" y="14083"/>
                  </a:lnTo>
                  <a:lnTo>
                    <a:pt x="3" y="14187"/>
                  </a:lnTo>
                  <a:lnTo>
                    <a:pt x="10" y="14289"/>
                  </a:lnTo>
                  <a:lnTo>
                    <a:pt x="23" y="14390"/>
                  </a:lnTo>
                  <a:lnTo>
                    <a:pt x="41" y="14489"/>
                  </a:lnTo>
                  <a:lnTo>
                    <a:pt x="63" y="14586"/>
                  </a:lnTo>
                  <a:lnTo>
                    <a:pt x="91" y="14682"/>
                  </a:lnTo>
                  <a:lnTo>
                    <a:pt x="122" y="14775"/>
                  </a:lnTo>
                  <a:lnTo>
                    <a:pt x="158" y="14867"/>
                  </a:lnTo>
                  <a:lnTo>
                    <a:pt x="198" y="14955"/>
                  </a:lnTo>
                  <a:lnTo>
                    <a:pt x="242" y="15042"/>
                  </a:lnTo>
                  <a:lnTo>
                    <a:pt x="292" y="15126"/>
                  </a:lnTo>
                  <a:lnTo>
                    <a:pt x="344" y="15208"/>
                  </a:lnTo>
                  <a:lnTo>
                    <a:pt x="399" y="15287"/>
                  </a:lnTo>
                  <a:lnTo>
                    <a:pt x="460" y="15363"/>
                  </a:lnTo>
                  <a:lnTo>
                    <a:pt x="523" y="15436"/>
                  </a:lnTo>
                  <a:lnTo>
                    <a:pt x="589" y="15506"/>
                  </a:lnTo>
                  <a:lnTo>
                    <a:pt x="659" y="15572"/>
                  </a:lnTo>
                  <a:lnTo>
                    <a:pt x="732" y="15635"/>
                  </a:lnTo>
                  <a:lnTo>
                    <a:pt x="808" y="15696"/>
                  </a:lnTo>
                  <a:lnTo>
                    <a:pt x="887" y="15751"/>
                  </a:lnTo>
                  <a:lnTo>
                    <a:pt x="969" y="15803"/>
                  </a:lnTo>
                  <a:lnTo>
                    <a:pt x="1053" y="15853"/>
                  </a:lnTo>
                  <a:lnTo>
                    <a:pt x="1140" y="15897"/>
                  </a:lnTo>
                  <a:lnTo>
                    <a:pt x="1228" y="15937"/>
                  </a:lnTo>
                  <a:lnTo>
                    <a:pt x="1320" y="15973"/>
                  </a:lnTo>
                  <a:lnTo>
                    <a:pt x="1413" y="16004"/>
                  </a:lnTo>
                  <a:lnTo>
                    <a:pt x="1509" y="16032"/>
                  </a:lnTo>
                  <a:lnTo>
                    <a:pt x="1606" y="16054"/>
                  </a:lnTo>
                  <a:lnTo>
                    <a:pt x="1705" y="16072"/>
                  </a:lnTo>
                  <a:lnTo>
                    <a:pt x="1806" y="16085"/>
                  </a:lnTo>
                  <a:lnTo>
                    <a:pt x="1908" y="16092"/>
                  </a:lnTo>
                  <a:lnTo>
                    <a:pt x="2012" y="16095"/>
                  </a:lnTo>
                  <a:lnTo>
                    <a:pt x="14083" y="16095"/>
                  </a:lnTo>
                  <a:lnTo>
                    <a:pt x="14187" y="16092"/>
                  </a:lnTo>
                  <a:lnTo>
                    <a:pt x="14289" y="16085"/>
                  </a:lnTo>
                  <a:lnTo>
                    <a:pt x="14390" y="16072"/>
                  </a:lnTo>
                  <a:lnTo>
                    <a:pt x="14489" y="16054"/>
                  </a:lnTo>
                  <a:lnTo>
                    <a:pt x="14586" y="16032"/>
                  </a:lnTo>
                  <a:lnTo>
                    <a:pt x="14682" y="16004"/>
                  </a:lnTo>
                  <a:lnTo>
                    <a:pt x="14775" y="15973"/>
                  </a:lnTo>
                  <a:lnTo>
                    <a:pt x="14867" y="15937"/>
                  </a:lnTo>
                  <a:lnTo>
                    <a:pt x="14955" y="15897"/>
                  </a:lnTo>
                  <a:lnTo>
                    <a:pt x="15042" y="15853"/>
                  </a:lnTo>
                  <a:lnTo>
                    <a:pt x="15126" y="15803"/>
                  </a:lnTo>
                  <a:lnTo>
                    <a:pt x="15208" y="15751"/>
                  </a:lnTo>
                  <a:lnTo>
                    <a:pt x="15287" y="15696"/>
                  </a:lnTo>
                  <a:lnTo>
                    <a:pt x="15363" y="15635"/>
                  </a:lnTo>
                  <a:lnTo>
                    <a:pt x="15436" y="15572"/>
                  </a:lnTo>
                  <a:lnTo>
                    <a:pt x="15506" y="15506"/>
                  </a:lnTo>
                  <a:lnTo>
                    <a:pt x="15572" y="15436"/>
                  </a:lnTo>
                  <a:lnTo>
                    <a:pt x="15635" y="15363"/>
                  </a:lnTo>
                  <a:lnTo>
                    <a:pt x="15696" y="15287"/>
                  </a:lnTo>
                  <a:lnTo>
                    <a:pt x="15751" y="15208"/>
                  </a:lnTo>
                  <a:lnTo>
                    <a:pt x="15803" y="15126"/>
                  </a:lnTo>
                  <a:lnTo>
                    <a:pt x="15853" y="15042"/>
                  </a:lnTo>
                  <a:lnTo>
                    <a:pt x="15897" y="14955"/>
                  </a:lnTo>
                  <a:lnTo>
                    <a:pt x="15937" y="14867"/>
                  </a:lnTo>
                  <a:lnTo>
                    <a:pt x="15973" y="14775"/>
                  </a:lnTo>
                  <a:lnTo>
                    <a:pt x="16004" y="14682"/>
                  </a:lnTo>
                  <a:lnTo>
                    <a:pt x="16032" y="14586"/>
                  </a:lnTo>
                  <a:lnTo>
                    <a:pt x="16054" y="14489"/>
                  </a:lnTo>
                  <a:lnTo>
                    <a:pt x="16072" y="14390"/>
                  </a:lnTo>
                  <a:lnTo>
                    <a:pt x="16085" y="14289"/>
                  </a:lnTo>
                  <a:lnTo>
                    <a:pt x="16092" y="14187"/>
                  </a:lnTo>
                  <a:lnTo>
                    <a:pt x="16095" y="14083"/>
                  </a:lnTo>
                  <a:lnTo>
                    <a:pt x="16095" y="1509"/>
                  </a:lnTo>
                  <a:lnTo>
                    <a:pt x="16093" y="1431"/>
                  </a:lnTo>
                  <a:lnTo>
                    <a:pt x="16087" y="1354"/>
                  </a:lnTo>
                  <a:lnTo>
                    <a:pt x="16078" y="1279"/>
                  </a:lnTo>
                  <a:lnTo>
                    <a:pt x="16065" y="1204"/>
                  </a:lnTo>
                  <a:lnTo>
                    <a:pt x="16048" y="1132"/>
                  </a:lnTo>
                  <a:lnTo>
                    <a:pt x="16028" y="1060"/>
                  </a:lnTo>
                  <a:lnTo>
                    <a:pt x="16003" y="990"/>
                  </a:lnTo>
                  <a:lnTo>
                    <a:pt x="15976" y="921"/>
                  </a:lnTo>
                  <a:lnTo>
                    <a:pt x="15946" y="854"/>
                  </a:lnTo>
                  <a:lnTo>
                    <a:pt x="15913" y="790"/>
                  </a:lnTo>
                  <a:lnTo>
                    <a:pt x="15877" y="726"/>
                  </a:lnTo>
                  <a:lnTo>
                    <a:pt x="15837" y="665"/>
                  </a:lnTo>
                  <a:lnTo>
                    <a:pt x="15795" y="606"/>
                  </a:lnTo>
                  <a:lnTo>
                    <a:pt x="15750" y="549"/>
                  </a:lnTo>
                  <a:lnTo>
                    <a:pt x="15703" y="494"/>
                  </a:lnTo>
                  <a:lnTo>
                    <a:pt x="15653" y="442"/>
                  </a:lnTo>
                  <a:lnTo>
                    <a:pt x="15601" y="391"/>
                  </a:lnTo>
                  <a:lnTo>
                    <a:pt x="15546" y="344"/>
                  </a:lnTo>
                  <a:lnTo>
                    <a:pt x="15488" y="300"/>
                  </a:lnTo>
                  <a:lnTo>
                    <a:pt x="15430" y="258"/>
                  </a:lnTo>
                  <a:lnTo>
                    <a:pt x="15369" y="218"/>
                  </a:lnTo>
                  <a:lnTo>
                    <a:pt x="15305" y="182"/>
                  </a:lnTo>
                  <a:lnTo>
                    <a:pt x="15240" y="149"/>
                  </a:lnTo>
                  <a:lnTo>
                    <a:pt x="15174" y="119"/>
                  </a:lnTo>
                  <a:lnTo>
                    <a:pt x="15105" y="92"/>
                  </a:lnTo>
                  <a:lnTo>
                    <a:pt x="15035" y="67"/>
                  </a:lnTo>
                  <a:lnTo>
                    <a:pt x="14963" y="47"/>
                  </a:lnTo>
                  <a:lnTo>
                    <a:pt x="14890" y="30"/>
                  </a:lnTo>
                  <a:lnTo>
                    <a:pt x="14815" y="17"/>
                  </a:lnTo>
                  <a:lnTo>
                    <a:pt x="14740" y="8"/>
                  </a:lnTo>
                  <a:lnTo>
                    <a:pt x="14664" y="2"/>
                  </a:lnTo>
                  <a:lnTo>
                    <a:pt x="1458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45" name="ïṣliḑe">
              <a:extLst>
                <a:ext uri="{FF2B5EF4-FFF2-40B4-BE49-F238E27FC236}">
                  <a16:creationId xmlns:a16="http://schemas.microsoft.com/office/drawing/2014/main" id="{375E9627-0B4A-492D-80E7-86CE8BA1A58D}"/>
                </a:ext>
              </a:extLst>
            </p:cNvPr>
            <p:cNvSpPr/>
            <p:nvPr/>
          </p:nvSpPr>
          <p:spPr bwMode="auto">
            <a:xfrm>
              <a:off x="8416248" y="2455104"/>
              <a:ext cx="65335" cy="7436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1 h 503"/>
                <a:gd name="T8" fmla="*/ 4427 w 4527"/>
                <a:gd name="T9" fmla="*/ 452 h 503"/>
                <a:gd name="T10" fmla="*/ 4454 w 4527"/>
                <a:gd name="T11" fmla="*/ 428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1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0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1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89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1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5 h 503"/>
                <a:gd name="T80" fmla="*/ 154 w 4527"/>
                <a:gd name="T81" fmla="*/ 482 h 503"/>
                <a:gd name="T82" fmla="*/ 190 w 4527"/>
                <a:gd name="T83" fmla="*/ 495 h 503"/>
                <a:gd name="T84" fmla="*/ 227 w 4527"/>
                <a:gd name="T85" fmla="*/ 50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1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1"/>
                  </a:lnTo>
                  <a:lnTo>
                    <a:pt x="4362" y="488"/>
                  </a:lnTo>
                  <a:lnTo>
                    <a:pt x="4374" y="482"/>
                  </a:lnTo>
                  <a:lnTo>
                    <a:pt x="4385" y="477"/>
                  </a:lnTo>
                  <a:lnTo>
                    <a:pt x="4396" y="471"/>
                  </a:lnTo>
                  <a:lnTo>
                    <a:pt x="4406" y="465"/>
                  </a:lnTo>
                  <a:lnTo>
                    <a:pt x="4416" y="459"/>
                  </a:lnTo>
                  <a:lnTo>
                    <a:pt x="4427" y="452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8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1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3"/>
                  </a:lnTo>
                  <a:lnTo>
                    <a:pt x="4522" y="301"/>
                  </a:lnTo>
                  <a:lnTo>
                    <a:pt x="4525" y="289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1"/>
                  </a:lnTo>
                  <a:lnTo>
                    <a:pt x="4497" y="131"/>
                  </a:lnTo>
                  <a:lnTo>
                    <a:pt x="4491" y="120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0"/>
                  </a:lnTo>
                  <a:lnTo>
                    <a:pt x="32" y="131"/>
                  </a:lnTo>
                  <a:lnTo>
                    <a:pt x="26" y="141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89"/>
                  </a:lnTo>
                  <a:lnTo>
                    <a:pt x="6" y="301"/>
                  </a:lnTo>
                  <a:lnTo>
                    <a:pt x="8" y="313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1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8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2"/>
                  </a:lnTo>
                  <a:lnTo>
                    <a:pt x="112" y="459"/>
                  </a:lnTo>
                  <a:lnTo>
                    <a:pt x="122" y="465"/>
                  </a:lnTo>
                  <a:lnTo>
                    <a:pt x="132" y="471"/>
                  </a:lnTo>
                  <a:lnTo>
                    <a:pt x="143" y="477"/>
                  </a:lnTo>
                  <a:lnTo>
                    <a:pt x="154" y="482"/>
                  </a:lnTo>
                  <a:lnTo>
                    <a:pt x="166" y="488"/>
                  </a:lnTo>
                  <a:lnTo>
                    <a:pt x="177" y="491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1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46" name="íṣľíďê">
              <a:extLst>
                <a:ext uri="{FF2B5EF4-FFF2-40B4-BE49-F238E27FC236}">
                  <a16:creationId xmlns:a16="http://schemas.microsoft.com/office/drawing/2014/main" id="{C559CE72-F82B-4448-B5CE-0786F3837B20}"/>
                </a:ext>
              </a:extLst>
            </p:cNvPr>
            <p:cNvSpPr/>
            <p:nvPr/>
          </p:nvSpPr>
          <p:spPr bwMode="auto">
            <a:xfrm>
              <a:off x="8416248" y="2433326"/>
              <a:ext cx="65335" cy="7436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3 h 503"/>
                <a:gd name="T8" fmla="*/ 4427 w 4527"/>
                <a:gd name="T9" fmla="*/ 452 h 503"/>
                <a:gd name="T10" fmla="*/ 4454 w 4527"/>
                <a:gd name="T11" fmla="*/ 429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2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0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2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89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2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6 h 503"/>
                <a:gd name="T80" fmla="*/ 154 w 4527"/>
                <a:gd name="T81" fmla="*/ 483 h 503"/>
                <a:gd name="T82" fmla="*/ 190 w 4527"/>
                <a:gd name="T83" fmla="*/ 495 h 503"/>
                <a:gd name="T84" fmla="*/ 227 w 4527"/>
                <a:gd name="T85" fmla="*/ 50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1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1"/>
                  </a:lnTo>
                  <a:lnTo>
                    <a:pt x="4362" y="488"/>
                  </a:lnTo>
                  <a:lnTo>
                    <a:pt x="4374" y="483"/>
                  </a:lnTo>
                  <a:lnTo>
                    <a:pt x="4385" y="478"/>
                  </a:lnTo>
                  <a:lnTo>
                    <a:pt x="4396" y="473"/>
                  </a:lnTo>
                  <a:lnTo>
                    <a:pt x="4406" y="466"/>
                  </a:lnTo>
                  <a:lnTo>
                    <a:pt x="4416" y="459"/>
                  </a:lnTo>
                  <a:lnTo>
                    <a:pt x="4427" y="452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9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2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4"/>
                  </a:lnTo>
                  <a:lnTo>
                    <a:pt x="4522" y="302"/>
                  </a:lnTo>
                  <a:lnTo>
                    <a:pt x="4525" y="289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2"/>
                  </a:lnTo>
                  <a:lnTo>
                    <a:pt x="4497" y="132"/>
                  </a:lnTo>
                  <a:lnTo>
                    <a:pt x="4491" y="120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0"/>
                  </a:lnTo>
                  <a:lnTo>
                    <a:pt x="32" y="132"/>
                  </a:lnTo>
                  <a:lnTo>
                    <a:pt x="26" y="142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89"/>
                  </a:lnTo>
                  <a:lnTo>
                    <a:pt x="6" y="302"/>
                  </a:lnTo>
                  <a:lnTo>
                    <a:pt x="8" y="314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2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9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2"/>
                  </a:lnTo>
                  <a:lnTo>
                    <a:pt x="112" y="459"/>
                  </a:lnTo>
                  <a:lnTo>
                    <a:pt x="122" y="466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6" y="488"/>
                  </a:lnTo>
                  <a:lnTo>
                    <a:pt x="177" y="491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1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47" name="îSḷîḍé">
              <a:extLst>
                <a:ext uri="{FF2B5EF4-FFF2-40B4-BE49-F238E27FC236}">
                  <a16:creationId xmlns:a16="http://schemas.microsoft.com/office/drawing/2014/main" id="{18AB97EE-A53C-4741-AD76-99E4059D8293}"/>
                </a:ext>
              </a:extLst>
            </p:cNvPr>
            <p:cNvSpPr/>
            <p:nvPr/>
          </p:nvSpPr>
          <p:spPr bwMode="auto">
            <a:xfrm>
              <a:off x="8416248" y="2412078"/>
              <a:ext cx="65335" cy="6905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3 h 503"/>
                <a:gd name="T8" fmla="*/ 4427 w 4527"/>
                <a:gd name="T9" fmla="*/ 453 h 503"/>
                <a:gd name="T10" fmla="*/ 4454 w 4527"/>
                <a:gd name="T11" fmla="*/ 428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2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1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2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90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2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7 h 503"/>
                <a:gd name="T80" fmla="*/ 154 w 4527"/>
                <a:gd name="T81" fmla="*/ 483 h 503"/>
                <a:gd name="T82" fmla="*/ 190 w 4527"/>
                <a:gd name="T83" fmla="*/ 495 h 503"/>
                <a:gd name="T84" fmla="*/ 227 w 4527"/>
                <a:gd name="T85" fmla="*/ 50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2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2"/>
                  </a:lnTo>
                  <a:lnTo>
                    <a:pt x="4362" y="488"/>
                  </a:lnTo>
                  <a:lnTo>
                    <a:pt x="4374" y="483"/>
                  </a:lnTo>
                  <a:lnTo>
                    <a:pt x="4385" y="478"/>
                  </a:lnTo>
                  <a:lnTo>
                    <a:pt x="4396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8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2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4"/>
                  </a:lnTo>
                  <a:lnTo>
                    <a:pt x="4522" y="302"/>
                  </a:lnTo>
                  <a:lnTo>
                    <a:pt x="4525" y="290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2"/>
                  </a:lnTo>
                  <a:lnTo>
                    <a:pt x="4497" y="132"/>
                  </a:lnTo>
                  <a:lnTo>
                    <a:pt x="4491" y="121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1"/>
                  </a:lnTo>
                  <a:lnTo>
                    <a:pt x="32" y="132"/>
                  </a:lnTo>
                  <a:lnTo>
                    <a:pt x="26" y="142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90"/>
                  </a:lnTo>
                  <a:lnTo>
                    <a:pt x="6" y="302"/>
                  </a:lnTo>
                  <a:lnTo>
                    <a:pt x="8" y="314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2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8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3"/>
                  </a:lnTo>
                  <a:lnTo>
                    <a:pt x="112" y="460"/>
                  </a:lnTo>
                  <a:lnTo>
                    <a:pt x="122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6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48" name="ïsḻíďe">
              <a:extLst>
                <a:ext uri="{FF2B5EF4-FFF2-40B4-BE49-F238E27FC236}">
                  <a16:creationId xmlns:a16="http://schemas.microsoft.com/office/drawing/2014/main" id="{3285E2B9-14DF-49B5-A22C-A7BE58EBB110}"/>
                </a:ext>
              </a:extLst>
            </p:cNvPr>
            <p:cNvSpPr/>
            <p:nvPr/>
          </p:nvSpPr>
          <p:spPr bwMode="auto">
            <a:xfrm>
              <a:off x="8337102" y="2563464"/>
              <a:ext cx="64804" cy="7436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0 h 503"/>
                <a:gd name="T8" fmla="*/ 100 w 4526"/>
                <a:gd name="T9" fmla="*/ 50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1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50 h 503"/>
                <a:gd name="T28" fmla="*/ 36 w 4526"/>
                <a:gd name="T29" fmla="*/ 382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2 h 503"/>
                <a:gd name="T58" fmla="*/ 4501 w 4526"/>
                <a:gd name="T59" fmla="*/ 361 h 503"/>
                <a:gd name="T60" fmla="*/ 4515 w 4526"/>
                <a:gd name="T61" fmla="*/ 327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3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6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3"/>
                  </a:lnTo>
                  <a:lnTo>
                    <a:pt x="100" y="50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7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4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4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2"/>
                  </a:lnTo>
                  <a:lnTo>
                    <a:pt x="4490" y="382"/>
                  </a:lnTo>
                  <a:lnTo>
                    <a:pt x="4496" y="371"/>
                  </a:lnTo>
                  <a:lnTo>
                    <a:pt x="4501" y="361"/>
                  </a:lnTo>
                  <a:lnTo>
                    <a:pt x="4506" y="350"/>
                  </a:lnTo>
                  <a:lnTo>
                    <a:pt x="4511" y="338"/>
                  </a:lnTo>
                  <a:lnTo>
                    <a:pt x="4515" y="327"/>
                  </a:lnTo>
                  <a:lnTo>
                    <a:pt x="4518" y="315"/>
                  </a:lnTo>
                  <a:lnTo>
                    <a:pt x="4521" y="303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3"/>
                  </a:lnTo>
                  <a:lnTo>
                    <a:pt x="4521" y="201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0"/>
                  </a:lnTo>
                  <a:lnTo>
                    <a:pt x="4416" y="43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49" name="îSľide">
              <a:extLst>
                <a:ext uri="{FF2B5EF4-FFF2-40B4-BE49-F238E27FC236}">
                  <a16:creationId xmlns:a16="http://schemas.microsoft.com/office/drawing/2014/main" id="{426948E7-B4C2-470A-AA0E-ACF7E8C51189}"/>
                </a:ext>
              </a:extLst>
            </p:cNvPr>
            <p:cNvSpPr/>
            <p:nvPr/>
          </p:nvSpPr>
          <p:spPr bwMode="auto">
            <a:xfrm>
              <a:off x="8337102" y="2541686"/>
              <a:ext cx="64804" cy="7436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0 h 503"/>
                <a:gd name="T8" fmla="*/ 100 w 4526"/>
                <a:gd name="T9" fmla="*/ 51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1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49 h 503"/>
                <a:gd name="T28" fmla="*/ 36 w 4526"/>
                <a:gd name="T29" fmla="*/ 383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3 h 503"/>
                <a:gd name="T58" fmla="*/ 4501 w 4526"/>
                <a:gd name="T59" fmla="*/ 361 h 503"/>
                <a:gd name="T60" fmla="*/ 4515 w 4526"/>
                <a:gd name="T61" fmla="*/ 326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4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6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3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3"/>
                  </a:lnTo>
                  <a:lnTo>
                    <a:pt x="4490" y="383"/>
                  </a:lnTo>
                  <a:lnTo>
                    <a:pt x="4496" y="371"/>
                  </a:lnTo>
                  <a:lnTo>
                    <a:pt x="4501" y="361"/>
                  </a:lnTo>
                  <a:lnTo>
                    <a:pt x="4506" y="349"/>
                  </a:lnTo>
                  <a:lnTo>
                    <a:pt x="4511" y="338"/>
                  </a:lnTo>
                  <a:lnTo>
                    <a:pt x="4515" y="326"/>
                  </a:lnTo>
                  <a:lnTo>
                    <a:pt x="4518" y="315"/>
                  </a:lnTo>
                  <a:lnTo>
                    <a:pt x="4521" y="302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4"/>
                  </a:lnTo>
                  <a:lnTo>
                    <a:pt x="4521" y="201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1"/>
                  </a:lnTo>
                  <a:lnTo>
                    <a:pt x="4416" y="44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50" name="ïSḻídê">
              <a:extLst>
                <a:ext uri="{FF2B5EF4-FFF2-40B4-BE49-F238E27FC236}">
                  <a16:creationId xmlns:a16="http://schemas.microsoft.com/office/drawing/2014/main" id="{37DDF254-127A-4C28-ADC0-E7B49ED38767}"/>
                </a:ext>
              </a:extLst>
            </p:cNvPr>
            <p:cNvSpPr/>
            <p:nvPr/>
          </p:nvSpPr>
          <p:spPr bwMode="auto">
            <a:xfrm>
              <a:off x="8337102" y="2520439"/>
              <a:ext cx="64804" cy="6905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1 h 503"/>
                <a:gd name="T8" fmla="*/ 100 w 4526"/>
                <a:gd name="T9" fmla="*/ 51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2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50 h 503"/>
                <a:gd name="T28" fmla="*/ 36 w 4526"/>
                <a:gd name="T29" fmla="*/ 383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3 h 503"/>
                <a:gd name="T58" fmla="*/ 4501 w 4526"/>
                <a:gd name="T59" fmla="*/ 361 h 503"/>
                <a:gd name="T60" fmla="*/ 4515 w 4526"/>
                <a:gd name="T61" fmla="*/ 326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4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7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0" y="37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1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3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3"/>
                  </a:lnTo>
                  <a:lnTo>
                    <a:pt x="4490" y="383"/>
                  </a:lnTo>
                  <a:lnTo>
                    <a:pt x="4496" y="372"/>
                  </a:lnTo>
                  <a:lnTo>
                    <a:pt x="4501" y="361"/>
                  </a:lnTo>
                  <a:lnTo>
                    <a:pt x="4506" y="350"/>
                  </a:lnTo>
                  <a:lnTo>
                    <a:pt x="4511" y="338"/>
                  </a:lnTo>
                  <a:lnTo>
                    <a:pt x="4515" y="326"/>
                  </a:lnTo>
                  <a:lnTo>
                    <a:pt x="4518" y="315"/>
                  </a:lnTo>
                  <a:lnTo>
                    <a:pt x="4521" y="302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4"/>
                  </a:lnTo>
                  <a:lnTo>
                    <a:pt x="4521" y="202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1"/>
                  </a:lnTo>
                  <a:lnTo>
                    <a:pt x="4416" y="44"/>
                  </a:lnTo>
                  <a:lnTo>
                    <a:pt x="4406" y="37"/>
                  </a:lnTo>
                  <a:lnTo>
                    <a:pt x="4395" y="31"/>
                  </a:lnTo>
                  <a:lnTo>
                    <a:pt x="4384" y="26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51" name="iṥľíḍè">
              <a:extLst>
                <a:ext uri="{FF2B5EF4-FFF2-40B4-BE49-F238E27FC236}">
                  <a16:creationId xmlns:a16="http://schemas.microsoft.com/office/drawing/2014/main" id="{06A494C3-C7D2-4E59-9766-B9C897AA59EB}"/>
                </a:ext>
              </a:extLst>
            </p:cNvPr>
            <p:cNvSpPr/>
            <p:nvPr/>
          </p:nvSpPr>
          <p:spPr bwMode="auto">
            <a:xfrm>
              <a:off x="8416248" y="2563464"/>
              <a:ext cx="65335" cy="7436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0 h 503"/>
                <a:gd name="T8" fmla="*/ 102 w 4527"/>
                <a:gd name="T9" fmla="*/ 50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1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50 h 503"/>
                <a:gd name="T28" fmla="*/ 37 w 4527"/>
                <a:gd name="T29" fmla="*/ 382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2 h 503"/>
                <a:gd name="T58" fmla="*/ 4502 w 4527"/>
                <a:gd name="T59" fmla="*/ 361 h 503"/>
                <a:gd name="T60" fmla="*/ 4516 w 4527"/>
                <a:gd name="T61" fmla="*/ 327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3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6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3"/>
                  </a:lnTo>
                  <a:lnTo>
                    <a:pt x="102" y="50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7"/>
                  </a:lnTo>
                  <a:lnTo>
                    <a:pt x="15" y="338"/>
                  </a:lnTo>
                  <a:lnTo>
                    <a:pt x="21" y="350"/>
                  </a:lnTo>
                  <a:lnTo>
                    <a:pt x="26" y="361"/>
                  </a:lnTo>
                  <a:lnTo>
                    <a:pt x="31" y="371"/>
                  </a:lnTo>
                  <a:lnTo>
                    <a:pt x="37" y="382"/>
                  </a:lnTo>
                  <a:lnTo>
                    <a:pt x="44" y="392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4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4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2"/>
                  </a:lnTo>
                  <a:lnTo>
                    <a:pt x="4491" y="382"/>
                  </a:lnTo>
                  <a:lnTo>
                    <a:pt x="4497" y="371"/>
                  </a:lnTo>
                  <a:lnTo>
                    <a:pt x="4502" y="361"/>
                  </a:lnTo>
                  <a:lnTo>
                    <a:pt x="4507" y="350"/>
                  </a:lnTo>
                  <a:lnTo>
                    <a:pt x="4512" y="338"/>
                  </a:lnTo>
                  <a:lnTo>
                    <a:pt x="4516" y="327"/>
                  </a:lnTo>
                  <a:lnTo>
                    <a:pt x="4519" y="315"/>
                  </a:lnTo>
                  <a:lnTo>
                    <a:pt x="4522" y="303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3"/>
                  </a:lnTo>
                  <a:lnTo>
                    <a:pt x="4522" y="201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0"/>
                  </a:lnTo>
                  <a:lnTo>
                    <a:pt x="4416" y="43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52" name="îS1iḍe">
              <a:extLst>
                <a:ext uri="{FF2B5EF4-FFF2-40B4-BE49-F238E27FC236}">
                  <a16:creationId xmlns:a16="http://schemas.microsoft.com/office/drawing/2014/main" id="{57ADD0B2-91FA-4AF9-BD59-93E8FD0582BA}"/>
                </a:ext>
              </a:extLst>
            </p:cNvPr>
            <p:cNvSpPr/>
            <p:nvPr/>
          </p:nvSpPr>
          <p:spPr bwMode="auto">
            <a:xfrm>
              <a:off x="8416248" y="2541686"/>
              <a:ext cx="65335" cy="7436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0 h 503"/>
                <a:gd name="T8" fmla="*/ 102 w 4527"/>
                <a:gd name="T9" fmla="*/ 51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1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49 h 503"/>
                <a:gd name="T28" fmla="*/ 37 w 4527"/>
                <a:gd name="T29" fmla="*/ 383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3 h 503"/>
                <a:gd name="T58" fmla="*/ 4502 w 4527"/>
                <a:gd name="T59" fmla="*/ 361 h 503"/>
                <a:gd name="T60" fmla="*/ 4516 w 4527"/>
                <a:gd name="T61" fmla="*/ 326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4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6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4"/>
                  </a:lnTo>
                  <a:lnTo>
                    <a:pt x="102" y="51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1" y="349"/>
                  </a:lnTo>
                  <a:lnTo>
                    <a:pt x="26" y="361"/>
                  </a:lnTo>
                  <a:lnTo>
                    <a:pt x="31" y="371"/>
                  </a:lnTo>
                  <a:lnTo>
                    <a:pt x="37" y="383"/>
                  </a:lnTo>
                  <a:lnTo>
                    <a:pt x="44" y="393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3"/>
                  </a:lnTo>
                  <a:lnTo>
                    <a:pt x="4491" y="383"/>
                  </a:lnTo>
                  <a:lnTo>
                    <a:pt x="4497" y="371"/>
                  </a:lnTo>
                  <a:lnTo>
                    <a:pt x="4502" y="361"/>
                  </a:lnTo>
                  <a:lnTo>
                    <a:pt x="4507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19" y="315"/>
                  </a:lnTo>
                  <a:lnTo>
                    <a:pt x="4522" y="302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4"/>
                  </a:lnTo>
                  <a:lnTo>
                    <a:pt x="4522" y="201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1"/>
                  </a:lnTo>
                  <a:lnTo>
                    <a:pt x="4416" y="44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53" name="iṣḻîďê">
              <a:extLst>
                <a:ext uri="{FF2B5EF4-FFF2-40B4-BE49-F238E27FC236}">
                  <a16:creationId xmlns:a16="http://schemas.microsoft.com/office/drawing/2014/main" id="{29B37BF0-4B8E-41F7-B2F6-16CEAD875153}"/>
                </a:ext>
              </a:extLst>
            </p:cNvPr>
            <p:cNvSpPr/>
            <p:nvPr/>
          </p:nvSpPr>
          <p:spPr bwMode="auto">
            <a:xfrm>
              <a:off x="8416248" y="2520439"/>
              <a:ext cx="65335" cy="6905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1 h 503"/>
                <a:gd name="T8" fmla="*/ 102 w 4527"/>
                <a:gd name="T9" fmla="*/ 51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2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50 h 503"/>
                <a:gd name="T28" fmla="*/ 37 w 4527"/>
                <a:gd name="T29" fmla="*/ 383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3 h 503"/>
                <a:gd name="T58" fmla="*/ 4502 w 4527"/>
                <a:gd name="T59" fmla="*/ 361 h 503"/>
                <a:gd name="T60" fmla="*/ 4516 w 4527"/>
                <a:gd name="T61" fmla="*/ 326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4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7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1" y="37"/>
                  </a:lnTo>
                  <a:lnTo>
                    <a:pt x="111" y="44"/>
                  </a:lnTo>
                  <a:lnTo>
                    <a:pt x="102" y="51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1" y="350"/>
                  </a:lnTo>
                  <a:lnTo>
                    <a:pt x="26" y="361"/>
                  </a:lnTo>
                  <a:lnTo>
                    <a:pt x="31" y="372"/>
                  </a:lnTo>
                  <a:lnTo>
                    <a:pt x="37" y="383"/>
                  </a:lnTo>
                  <a:lnTo>
                    <a:pt x="44" y="393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3"/>
                  </a:lnTo>
                  <a:lnTo>
                    <a:pt x="4491" y="383"/>
                  </a:lnTo>
                  <a:lnTo>
                    <a:pt x="4497" y="372"/>
                  </a:lnTo>
                  <a:lnTo>
                    <a:pt x="4502" y="361"/>
                  </a:lnTo>
                  <a:lnTo>
                    <a:pt x="4507" y="350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19" y="315"/>
                  </a:lnTo>
                  <a:lnTo>
                    <a:pt x="4522" y="302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4"/>
                  </a:lnTo>
                  <a:lnTo>
                    <a:pt x="4522" y="202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1"/>
                  </a:lnTo>
                  <a:lnTo>
                    <a:pt x="4416" y="44"/>
                  </a:lnTo>
                  <a:lnTo>
                    <a:pt x="4406" y="37"/>
                  </a:lnTo>
                  <a:lnTo>
                    <a:pt x="4395" y="31"/>
                  </a:lnTo>
                  <a:lnTo>
                    <a:pt x="4384" y="26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54" name="ïṥḷiḍé">
              <a:extLst>
                <a:ext uri="{FF2B5EF4-FFF2-40B4-BE49-F238E27FC236}">
                  <a16:creationId xmlns:a16="http://schemas.microsoft.com/office/drawing/2014/main" id="{05B61AE6-D88A-46EF-A278-4D1E2F5BA7E8}"/>
                </a:ext>
              </a:extLst>
            </p:cNvPr>
            <p:cNvSpPr/>
            <p:nvPr/>
          </p:nvSpPr>
          <p:spPr bwMode="auto">
            <a:xfrm>
              <a:off x="8337102" y="2476882"/>
              <a:ext cx="144480" cy="7436"/>
            </a:xfrm>
            <a:custGeom>
              <a:avLst/>
              <a:gdLst>
                <a:gd name="T0" fmla="*/ 238 w 10059"/>
                <a:gd name="T1" fmla="*/ 1 h 503"/>
                <a:gd name="T2" fmla="*/ 201 w 10059"/>
                <a:gd name="T3" fmla="*/ 5 h 503"/>
                <a:gd name="T4" fmla="*/ 165 w 10059"/>
                <a:gd name="T5" fmla="*/ 15 h 503"/>
                <a:gd name="T6" fmla="*/ 132 w 10059"/>
                <a:gd name="T7" fmla="*/ 30 h 503"/>
                <a:gd name="T8" fmla="*/ 100 w 10059"/>
                <a:gd name="T9" fmla="*/ 50 h 503"/>
                <a:gd name="T10" fmla="*/ 73 w 10059"/>
                <a:gd name="T11" fmla="*/ 73 h 503"/>
                <a:gd name="T12" fmla="*/ 50 w 10059"/>
                <a:gd name="T13" fmla="*/ 101 h 503"/>
                <a:gd name="T14" fmla="*/ 30 w 10059"/>
                <a:gd name="T15" fmla="*/ 131 h 503"/>
                <a:gd name="T16" fmla="*/ 15 w 10059"/>
                <a:gd name="T17" fmla="*/ 165 h 503"/>
                <a:gd name="T18" fmla="*/ 5 w 10059"/>
                <a:gd name="T19" fmla="*/ 201 h 503"/>
                <a:gd name="T20" fmla="*/ 0 w 10059"/>
                <a:gd name="T21" fmla="*/ 238 h 503"/>
                <a:gd name="T22" fmla="*/ 1 w 10059"/>
                <a:gd name="T23" fmla="*/ 277 h 503"/>
                <a:gd name="T24" fmla="*/ 8 w 10059"/>
                <a:gd name="T25" fmla="*/ 314 h 503"/>
                <a:gd name="T26" fmla="*/ 20 w 10059"/>
                <a:gd name="T27" fmla="*/ 349 h 503"/>
                <a:gd name="T28" fmla="*/ 36 w 10059"/>
                <a:gd name="T29" fmla="*/ 382 h 503"/>
                <a:gd name="T30" fmla="*/ 57 w 10059"/>
                <a:gd name="T31" fmla="*/ 411 h 503"/>
                <a:gd name="T32" fmla="*/ 82 w 10059"/>
                <a:gd name="T33" fmla="*/ 437 h 503"/>
                <a:gd name="T34" fmla="*/ 110 w 10059"/>
                <a:gd name="T35" fmla="*/ 460 h 503"/>
                <a:gd name="T36" fmla="*/ 143 w 10059"/>
                <a:gd name="T37" fmla="*/ 478 h 503"/>
                <a:gd name="T38" fmla="*/ 177 w 10059"/>
                <a:gd name="T39" fmla="*/ 491 h 503"/>
                <a:gd name="T40" fmla="*/ 213 w 10059"/>
                <a:gd name="T41" fmla="*/ 499 h 503"/>
                <a:gd name="T42" fmla="*/ 251 w 10059"/>
                <a:gd name="T43" fmla="*/ 503 h 503"/>
                <a:gd name="T44" fmla="*/ 9834 w 10059"/>
                <a:gd name="T45" fmla="*/ 502 h 503"/>
                <a:gd name="T46" fmla="*/ 9870 w 10059"/>
                <a:gd name="T47" fmla="*/ 494 h 503"/>
                <a:gd name="T48" fmla="*/ 9905 w 10059"/>
                <a:gd name="T49" fmla="*/ 483 h 503"/>
                <a:gd name="T50" fmla="*/ 9938 w 10059"/>
                <a:gd name="T51" fmla="*/ 466 h 503"/>
                <a:gd name="T52" fmla="*/ 9968 w 10059"/>
                <a:gd name="T53" fmla="*/ 445 h 503"/>
                <a:gd name="T54" fmla="*/ 9994 w 10059"/>
                <a:gd name="T55" fmla="*/ 420 h 503"/>
                <a:gd name="T56" fmla="*/ 10016 w 10059"/>
                <a:gd name="T57" fmla="*/ 392 h 503"/>
                <a:gd name="T58" fmla="*/ 10034 w 10059"/>
                <a:gd name="T59" fmla="*/ 361 h 503"/>
                <a:gd name="T60" fmla="*/ 10048 w 10059"/>
                <a:gd name="T61" fmla="*/ 326 h 503"/>
                <a:gd name="T62" fmla="*/ 10056 w 10059"/>
                <a:gd name="T63" fmla="*/ 289 h 503"/>
                <a:gd name="T64" fmla="*/ 10059 w 10059"/>
                <a:gd name="T65" fmla="*/ 251 h 503"/>
                <a:gd name="T66" fmla="*/ 10056 w 10059"/>
                <a:gd name="T67" fmla="*/ 213 h 503"/>
                <a:gd name="T68" fmla="*/ 10048 w 10059"/>
                <a:gd name="T69" fmla="*/ 177 h 503"/>
                <a:gd name="T70" fmla="*/ 10034 w 10059"/>
                <a:gd name="T71" fmla="*/ 142 h 503"/>
                <a:gd name="T72" fmla="*/ 10016 w 10059"/>
                <a:gd name="T73" fmla="*/ 110 h 503"/>
                <a:gd name="T74" fmla="*/ 9994 w 10059"/>
                <a:gd name="T75" fmla="*/ 82 h 503"/>
                <a:gd name="T76" fmla="*/ 9968 w 10059"/>
                <a:gd name="T77" fmla="*/ 57 h 503"/>
                <a:gd name="T78" fmla="*/ 9938 w 10059"/>
                <a:gd name="T79" fmla="*/ 36 h 503"/>
                <a:gd name="T80" fmla="*/ 9905 w 10059"/>
                <a:gd name="T81" fmla="*/ 20 h 503"/>
                <a:gd name="T82" fmla="*/ 9870 w 10059"/>
                <a:gd name="T83" fmla="*/ 8 h 503"/>
                <a:gd name="T84" fmla="*/ 9834 w 10059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59" h="503">
                  <a:moveTo>
                    <a:pt x="9808" y="0"/>
                  </a:moveTo>
                  <a:lnTo>
                    <a:pt x="251" y="0"/>
                  </a:lnTo>
                  <a:lnTo>
                    <a:pt x="238" y="1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3"/>
                  </a:lnTo>
                  <a:lnTo>
                    <a:pt x="100" y="50"/>
                  </a:lnTo>
                  <a:lnTo>
                    <a:pt x="91" y="57"/>
                  </a:lnTo>
                  <a:lnTo>
                    <a:pt x="82" y="65"/>
                  </a:lnTo>
                  <a:lnTo>
                    <a:pt x="73" y="73"/>
                  </a:lnTo>
                  <a:lnTo>
                    <a:pt x="65" y="82"/>
                  </a:lnTo>
                  <a:lnTo>
                    <a:pt x="57" y="91"/>
                  </a:lnTo>
                  <a:lnTo>
                    <a:pt x="50" y="101"/>
                  </a:lnTo>
                  <a:lnTo>
                    <a:pt x="43" y="110"/>
                  </a:lnTo>
                  <a:lnTo>
                    <a:pt x="36" y="121"/>
                  </a:lnTo>
                  <a:lnTo>
                    <a:pt x="30" y="131"/>
                  </a:lnTo>
                  <a:lnTo>
                    <a:pt x="25" y="142"/>
                  </a:lnTo>
                  <a:lnTo>
                    <a:pt x="20" y="153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6"/>
                  </a:lnTo>
                  <a:lnTo>
                    <a:pt x="0" y="238"/>
                  </a:lnTo>
                  <a:lnTo>
                    <a:pt x="0" y="251"/>
                  </a:lnTo>
                  <a:lnTo>
                    <a:pt x="0" y="264"/>
                  </a:lnTo>
                  <a:lnTo>
                    <a:pt x="1" y="277"/>
                  </a:lnTo>
                  <a:lnTo>
                    <a:pt x="3" y="289"/>
                  </a:lnTo>
                  <a:lnTo>
                    <a:pt x="5" y="302"/>
                  </a:lnTo>
                  <a:lnTo>
                    <a:pt x="8" y="314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2"/>
                  </a:lnTo>
                  <a:lnTo>
                    <a:pt x="57" y="411"/>
                  </a:lnTo>
                  <a:lnTo>
                    <a:pt x="65" y="420"/>
                  </a:lnTo>
                  <a:lnTo>
                    <a:pt x="73" y="429"/>
                  </a:lnTo>
                  <a:lnTo>
                    <a:pt x="82" y="437"/>
                  </a:lnTo>
                  <a:lnTo>
                    <a:pt x="91" y="445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6"/>
                  </a:lnTo>
                  <a:lnTo>
                    <a:pt x="132" y="472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7"/>
                  </a:lnTo>
                  <a:lnTo>
                    <a:pt x="177" y="491"/>
                  </a:lnTo>
                  <a:lnTo>
                    <a:pt x="189" y="494"/>
                  </a:lnTo>
                  <a:lnTo>
                    <a:pt x="201" y="497"/>
                  </a:lnTo>
                  <a:lnTo>
                    <a:pt x="213" y="499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9808" y="503"/>
                  </a:lnTo>
                  <a:lnTo>
                    <a:pt x="9821" y="503"/>
                  </a:lnTo>
                  <a:lnTo>
                    <a:pt x="9834" y="502"/>
                  </a:lnTo>
                  <a:lnTo>
                    <a:pt x="9846" y="499"/>
                  </a:lnTo>
                  <a:lnTo>
                    <a:pt x="9858" y="497"/>
                  </a:lnTo>
                  <a:lnTo>
                    <a:pt x="9870" y="494"/>
                  </a:lnTo>
                  <a:lnTo>
                    <a:pt x="9882" y="491"/>
                  </a:lnTo>
                  <a:lnTo>
                    <a:pt x="9894" y="487"/>
                  </a:lnTo>
                  <a:lnTo>
                    <a:pt x="9905" y="483"/>
                  </a:lnTo>
                  <a:lnTo>
                    <a:pt x="9916" y="478"/>
                  </a:lnTo>
                  <a:lnTo>
                    <a:pt x="9927" y="472"/>
                  </a:lnTo>
                  <a:lnTo>
                    <a:pt x="9938" y="466"/>
                  </a:lnTo>
                  <a:lnTo>
                    <a:pt x="9948" y="460"/>
                  </a:lnTo>
                  <a:lnTo>
                    <a:pt x="9959" y="453"/>
                  </a:lnTo>
                  <a:lnTo>
                    <a:pt x="9968" y="445"/>
                  </a:lnTo>
                  <a:lnTo>
                    <a:pt x="9977" y="437"/>
                  </a:lnTo>
                  <a:lnTo>
                    <a:pt x="9986" y="429"/>
                  </a:lnTo>
                  <a:lnTo>
                    <a:pt x="9994" y="420"/>
                  </a:lnTo>
                  <a:lnTo>
                    <a:pt x="10002" y="411"/>
                  </a:lnTo>
                  <a:lnTo>
                    <a:pt x="10009" y="402"/>
                  </a:lnTo>
                  <a:lnTo>
                    <a:pt x="10016" y="392"/>
                  </a:lnTo>
                  <a:lnTo>
                    <a:pt x="10023" y="382"/>
                  </a:lnTo>
                  <a:lnTo>
                    <a:pt x="10029" y="371"/>
                  </a:lnTo>
                  <a:lnTo>
                    <a:pt x="10034" y="361"/>
                  </a:lnTo>
                  <a:lnTo>
                    <a:pt x="10039" y="349"/>
                  </a:lnTo>
                  <a:lnTo>
                    <a:pt x="10044" y="338"/>
                  </a:lnTo>
                  <a:lnTo>
                    <a:pt x="10048" y="326"/>
                  </a:lnTo>
                  <a:lnTo>
                    <a:pt x="10051" y="314"/>
                  </a:lnTo>
                  <a:lnTo>
                    <a:pt x="10054" y="302"/>
                  </a:lnTo>
                  <a:lnTo>
                    <a:pt x="10056" y="289"/>
                  </a:lnTo>
                  <a:lnTo>
                    <a:pt x="10058" y="277"/>
                  </a:lnTo>
                  <a:lnTo>
                    <a:pt x="10059" y="264"/>
                  </a:lnTo>
                  <a:lnTo>
                    <a:pt x="10059" y="251"/>
                  </a:lnTo>
                  <a:lnTo>
                    <a:pt x="10059" y="238"/>
                  </a:lnTo>
                  <a:lnTo>
                    <a:pt x="10058" y="226"/>
                  </a:lnTo>
                  <a:lnTo>
                    <a:pt x="10056" y="213"/>
                  </a:lnTo>
                  <a:lnTo>
                    <a:pt x="10054" y="201"/>
                  </a:lnTo>
                  <a:lnTo>
                    <a:pt x="10051" y="189"/>
                  </a:lnTo>
                  <a:lnTo>
                    <a:pt x="10048" y="177"/>
                  </a:lnTo>
                  <a:lnTo>
                    <a:pt x="10044" y="165"/>
                  </a:lnTo>
                  <a:lnTo>
                    <a:pt x="10039" y="153"/>
                  </a:lnTo>
                  <a:lnTo>
                    <a:pt x="10034" y="142"/>
                  </a:lnTo>
                  <a:lnTo>
                    <a:pt x="10029" y="131"/>
                  </a:lnTo>
                  <a:lnTo>
                    <a:pt x="10023" y="121"/>
                  </a:lnTo>
                  <a:lnTo>
                    <a:pt x="10016" y="110"/>
                  </a:lnTo>
                  <a:lnTo>
                    <a:pt x="10009" y="101"/>
                  </a:lnTo>
                  <a:lnTo>
                    <a:pt x="10002" y="91"/>
                  </a:lnTo>
                  <a:lnTo>
                    <a:pt x="9994" y="82"/>
                  </a:lnTo>
                  <a:lnTo>
                    <a:pt x="9986" y="73"/>
                  </a:lnTo>
                  <a:lnTo>
                    <a:pt x="9977" y="65"/>
                  </a:lnTo>
                  <a:lnTo>
                    <a:pt x="9968" y="57"/>
                  </a:lnTo>
                  <a:lnTo>
                    <a:pt x="9959" y="50"/>
                  </a:lnTo>
                  <a:lnTo>
                    <a:pt x="9948" y="43"/>
                  </a:lnTo>
                  <a:lnTo>
                    <a:pt x="9938" y="36"/>
                  </a:lnTo>
                  <a:lnTo>
                    <a:pt x="9927" y="30"/>
                  </a:lnTo>
                  <a:lnTo>
                    <a:pt x="9916" y="25"/>
                  </a:lnTo>
                  <a:lnTo>
                    <a:pt x="9905" y="20"/>
                  </a:lnTo>
                  <a:lnTo>
                    <a:pt x="9894" y="15"/>
                  </a:lnTo>
                  <a:lnTo>
                    <a:pt x="9882" y="11"/>
                  </a:lnTo>
                  <a:lnTo>
                    <a:pt x="9870" y="8"/>
                  </a:lnTo>
                  <a:lnTo>
                    <a:pt x="9858" y="5"/>
                  </a:lnTo>
                  <a:lnTo>
                    <a:pt x="9846" y="3"/>
                  </a:lnTo>
                  <a:lnTo>
                    <a:pt x="9834" y="1"/>
                  </a:lnTo>
                  <a:lnTo>
                    <a:pt x="9821" y="1"/>
                  </a:lnTo>
                  <a:lnTo>
                    <a:pt x="980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55" name="îsļiḍê">
              <a:extLst>
                <a:ext uri="{FF2B5EF4-FFF2-40B4-BE49-F238E27FC236}">
                  <a16:creationId xmlns:a16="http://schemas.microsoft.com/office/drawing/2014/main" id="{BE23FC33-E801-4D94-9296-C28309944AC5}"/>
                </a:ext>
              </a:extLst>
            </p:cNvPr>
            <p:cNvSpPr/>
            <p:nvPr/>
          </p:nvSpPr>
          <p:spPr bwMode="auto">
            <a:xfrm>
              <a:off x="8337102" y="2498660"/>
              <a:ext cx="144480" cy="6905"/>
            </a:xfrm>
            <a:custGeom>
              <a:avLst/>
              <a:gdLst>
                <a:gd name="T0" fmla="*/ 238 w 10059"/>
                <a:gd name="T1" fmla="*/ 0 h 503"/>
                <a:gd name="T2" fmla="*/ 201 w 10059"/>
                <a:gd name="T3" fmla="*/ 5 h 503"/>
                <a:gd name="T4" fmla="*/ 165 w 10059"/>
                <a:gd name="T5" fmla="*/ 16 h 503"/>
                <a:gd name="T6" fmla="*/ 132 w 10059"/>
                <a:gd name="T7" fmla="*/ 31 h 503"/>
                <a:gd name="T8" fmla="*/ 100 w 10059"/>
                <a:gd name="T9" fmla="*/ 51 h 503"/>
                <a:gd name="T10" fmla="*/ 73 w 10059"/>
                <a:gd name="T11" fmla="*/ 74 h 503"/>
                <a:gd name="T12" fmla="*/ 50 w 10059"/>
                <a:gd name="T13" fmla="*/ 102 h 503"/>
                <a:gd name="T14" fmla="*/ 30 w 10059"/>
                <a:gd name="T15" fmla="*/ 132 h 503"/>
                <a:gd name="T16" fmla="*/ 15 w 10059"/>
                <a:gd name="T17" fmla="*/ 165 h 503"/>
                <a:gd name="T18" fmla="*/ 5 w 10059"/>
                <a:gd name="T19" fmla="*/ 202 h 503"/>
                <a:gd name="T20" fmla="*/ 0 w 10059"/>
                <a:gd name="T21" fmla="*/ 239 h 503"/>
                <a:gd name="T22" fmla="*/ 1 w 10059"/>
                <a:gd name="T23" fmla="*/ 278 h 503"/>
                <a:gd name="T24" fmla="*/ 8 w 10059"/>
                <a:gd name="T25" fmla="*/ 315 h 503"/>
                <a:gd name="T26" fmla="*/ 20 w 10059"/>
                <a:gd name="T27" fmla="*/ 350 h 503"/>
                <a:gd name="T28" fmla="*/ 36 w 10059"/>
                <a:gd name="T29" fmla="*/ 383 h 503"/>
                <a:gd name="T30" fmla="*/ 57 w 10059"/>
                <a:gd name="T31" fmla="*/ 412 h 503"/>
                <a:gd name="T32" fmla="*/ 82 w 10059"/>
                <a:gd name="T33" fmla="*/ 438 h 503"/>
                <a:gd name="T34" fmla="*/ 110 w 10059"/>
                <a:gd name="T35" fmla="*/ 460 h 503"/>
                <a:gd name="T36" fmla="*/ 143 w 10059"/>
                <a:gd name="T37" fmla="*/ 478 h 503"/>
                <a:gd name="T38" fmla="*/ 177 w 10059"/>
                <a:gd name="T39" fmla="*/ 492 h 503"/>
                <a:gd name="T40" fmla="*/ 213 w 10059"/>
                <a:gd name="T41" fmla="*/ 500 h 503"/>
                <a:gd name="T42" fmla="*/ 251 w 10059"/>
                <a:gd name="T43" fmla="*/ 503 h 503"/>
                <a:gd name="T44" fmla="*/ 9834 w 10059"/>
                <a:gd name="T45" fmla="*/ 502 h 503"/>
                <a:gd name="T46" fmla="*/ 9870 w 10059"/>
                <a:gd name="T47" fmla="*/ 495 h 503"/>
                <a:gd name="T48" fmla="*/ 9905 w 10059"/>
                <a:gd name="T49" fmla="*/ 483 h 503"/>
                <a:gd name="T50" fmla="*/ 9938 w 10059"/>
                <a:gd name="T51" fmla="*/ 467 h 503"/>
                <a:gd name="T52" fmla="*/ 9968 w 10059"/>
                <a:gd name="T53" fmla="*/ 446 h 503"/>
                <a:gd name="T54" fmla="*/ 9994 w 10059"/>
                <a:gd name="T55" fmla="*/ 421 h 503"/>
                <a:gd name="T56" fmla="*/ 10016 w 10059"/>
                <a:gd name="T57" fmla="*/ 393 h 503"/>
                <a:gd name="T58" fmla="*/ 10034 w 10059"/>
                <a:gd name="T59" fmla="*/ 362 h 503"/>
                <a:gd name="T60" fmla="*/ 10048 w 10059"/>
                <a:gd name="T61" fmla="*/ 326 h 503"/>
                <a:gd name="T62" fmla="*/ 10056 w 10059"/>
                <a:gd name="T63" fmla="*/ 290 h 503"/>
                <a:gd name="T64" fmla="*/ 10059 w 10059"/>
                <a:gd name="T65" fmla="*/ 252 h 503"/>
                <a:gd name="T66" fmla="*/ 10056 w 10059"/>
                <a:gd name="T67" fmla="*/ 214 h 503"/>
                <a:gd name="T68" fmla="*/ 10048 w 10059"/>
                <a:gd name="T69" fmla="*/ 177 h 503"/>
                <a:gd name="T70" fmla="*/ 10034 w 10059"/>
                <a:gd name="T71" fmla="*/ 143 h 503"/>
                <a:gd name="T72" fmla="*/ 10016 w 10059"/>
                <a:gd name="T73" fmla="*/ 112 h 503"/>
                <a:gd name="T74" fmla="*/ 9994 w 10059"/>
                <a:gd name="T75" fmla="*/ 83 h 503"/>
                <a:gd name="T76" fmla="*/ 9968 w 10059"/>
                <a:gd name="T77" fmla="*/ 58 h 503"/>
                <a:gd name="T78" fmla="*/ 9938 w 10059"/>
                <a:gd name="T79" fmla="*/ 37 h 503"/>
                <a:gd name="T80" fmla="*/ 9905 w 10059"/>
                <a:gd name="T81" fmla="*/ 21 h 503"/>
                <a:gd name="T82" fmla="*/ 9870 w 10059"/>
                <a:gd name="T83" fmla="*/ 8 h 503"/>
                <a:gd name="T84" fmla="*/ 9834 w 10059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59" h="503">
                  <a:moveTo>
                    <a:pt x="9808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2"/>
                  </a:lnTo>
                  <a:lnTo>
                    <a:pt x="165" y="16"/>
                  </a:lnTo>
                  <a:lnTo>
                    <a:pt x="154" y="21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0" y="37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2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90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2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4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9808" y="503"/>
                  </a:lnTo>
                  <a:lnTo>
                    <a:pt x="9821" y="503"/>
                  </a:lnTo>
                  <a:lnTo>
                    <a:pt x="9834" y="502"/>
                  </a:lnTo>
                  <a:lnTo>
                    <a:pt x="9846" y="500"/>
                  </a:lnTo>
                  <a:lnTo>
                    <a:pt x="9858" y="498"/>
                  </a:lnTo>
                  <a:lnTo>
                    <a:pt x="9870" y="495"/>
                  </a:lnTo>
                  <a:lnTo>
                    <a:pt x="9882" y="492"/>
                  </a:lnTo>
                  <a:lnTo>
                    <a:pt x="9894" y="488"/>
                  </a:lnTo>
                  <a:lnTo>
                    <a:pt x="9905" y="483"/>
                  </a:lnTo>
                  <a:lnTo>
                    <a:pt x="9916" y="478"/>
                  </a:lnTo>
                  <a:lnTo>
                    <a:pt x="9927" y="473"/>
                  </a:lnTo>
                  <a:lnTo>
                    <a:pt x="9938" y="467"/>
                  </a:lnTo>
                  <a:lnTo>
                    <a:pt x="9948" y="460"/>
                  </a:lnTo>
                  <a:lnTo>
                    <a:pt x="9959" y="454"/>
                  </a:lnTo>
                  <a:lnTo>
                    <a:pt x="9968" y="446"/>
                  </a:lnTo>
                  <a:lnTo>
                    <a:pt x="9977" y="438"/>
                  </a:lnTo>
                  <a:lnTo>
                    <a:pt x="9986" y="430"/>
                  </a:lnTo>
                  <a:lnTo>
                    <a:pt x="9994" y="421"/>
                  </a:lnTo>
                  <a:lnTo>
                    <a:pt x="10002" y="412"/>
                  </a:lnTo>
                  <a:lnTo>
                    <a:pt x="10009" y="403"/>
                  </a:lnTo>
                  <a:lnTo>
                    <a:pt x="10016" y="393"/>
                  </a:lnTo>
                  <a:lnTo>
                    <a:pt x="10023" y="383"/>
                  </a:lnTo>
                  <a:lnTo>
                    <a:pt x="10029" y="372"/>
                  </a:lnTo>
                  <a:lnTo>
                    <a:pt x="10034" y="362"/>
                  </a:lnTo>
                  <a:lnTo>
                    <a:pt x="10039" y="350"/>
                  </a:lnTo>
                  <a:lnTo>
                    <a:pt x="10044" y="338"/>
                  </a:lnTo>
                  <a:lnTo>
                    <a:pt x="10048" y="326"/>
                  </a:lnTo>
                  <a:lnTo>
                    <a:pt x="10051" y="315"/>
                  </a:lnTo>
                  <a:lnTo>
                    <a:pt x="10054" y="302"/>
                  </a:lnTo>
                  <a:lnTo>
                    <a:pt x="10056" y="290"/>
                  </a:lnTo>
                  <a:lnTo>
                    <a:pt x="10058" y="278"/>
                  </a:lnTo>
                  <a:lnTo>
                    <a:pt x="10059" y="265"/>
                  </a:lnTo>
                  <a:lnTo>
                    <a:pt x="10059" y="252"/>
                  </a:lnTo>
                  <a:lnTo>
                    <a:pt x="10059" y="239"/>
                  </a:lnTo>
                  <a:lnTo>
                    <a:pt x="10058" y="227"/>
                  </a:lnTo>
                  <a:lnTo>
                    <a:pt x="10056" y="214"/>
                  </a:lnTo>
                  <a:lnTo>
                    <a:pt x="10054" y="202"/>
                  </a:lnTo>
                  <a:lnTo>
                    <a:pt x="10051" y="190"/>
                  </a:lnTo>
                  <a:lnTo>
                    <a:pt x="10048" y="177"/>
                  </a:lnTo>
                  <a:lnTo>
                    <a:pt x="10044" y="165"/>
                  </a:lnTo>
                  <a:lnTo>
                    <a:pt x="10039" y="154"/>
                  </a:lnTo>
                  <a:lnTo>
                    <a:pt x="10034" y="143"/>
                  </a:lnTo>
                  <a:lnTo>
                    <a:pt x="10029" y="132"/>
                  </a:lnTo>
                  <a:lnTo>
                    <a:pt x="10023" y="122"/>
                  </a:lnTo>
                  <a:lnTo>
                    <a:pt x="10016" y="112"/>
                  </a:lnTo>
                  <a:lnTo>
                    <a:pt x="10009" y="102"/>
                  </a:lnTo>
                  <a:lnTo>
                    <a:pt x="10002" y="92"/>
                  </a:lnTo>
                  <a:lnTo>
                    <a:pt x="9994" y="83"/>
                  </a:lnTo>
                  <a:lnTo>
                    <a:pt x="9986" y="74"/>
                  </a:lnTo>
                  <a:lnTo>
                    <a:pt x="9977" y="66"/>
                  </a:lnTo>
                  <a:lnTo>
                    <a:pt x="9968" y="58"/>
                  </a:lnTo>
                  <a:lnTo>
                    <a:pt x="9959" y="51"/>
                  </a:lnTo>
                  <a:lnTo>
                    <a:pt x="9948" y="44"/>
                  </a:lnTo>
                  <a:lnTo>
                    <a:pt x="9938" y="37"/>
                  </a:lnTo>
                  <a:lnTo>
                    <a:pt x="9927" y="31"/>
                  </a:lnTo>
                  <a:lnTo>
                    <a:pt x="9916" y="26"/>
                  </a:lnTo>
                  <a:lnTo>
                    <a:pt x="9905" y="21"/>
                  </a:lnTo>
                  <a:lnTo>
                    <a:pt x="9894" y="16"/>
                  </a:lnTo>
                  <a:lnTo>
                    <a:pt x="9882" y="12"/>
                  </a:lnTo>
                  <a:lnTo>
                    <a:pt x="9870" y="8"/>
                  </a:lnTo>
                  <a:lnTo>
                    <a:pt x="9858" y="5"/>
                  </a:lnTo>
                  <a:lnTo>
                    <a:pt x="9846" y="3"/>
                  </a:lnTo>
                  <a:lnTo>
                    <a:pt x="9834" y="1"/>
                  </a:lnTo>
                  <a:lnTo>
                    <a:pt x="9821" y="0"/>
                  </a:lnTo>
                  <a:lnTo>
                    <a:pt x="980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56" name="iṡḻïḓê">
              <a:extLst>
                <a:ext uri="{FF2B5EF4-FFF2-40B4-BE49-F238E27FC236}">
                  <a16:creationId xmlns:a16="http://schemas.microsoft.com/office/drawing/2014/main" id="{ED1CFC2F-7145-4945-BEB6-3EF6EDF24182}"/>
                </a:ext>
              </a:extLst>
            </p:cNvPr>
            <p:cNvSpPr/>
            <p:nvPr/>
          </p:nvSpPr>
          <p:spPr bwMode="auto">
            <a:xfrm>
              <a:off x="8337102" y="2397206"/>
              <a:ext cx="64804" cy="65335"/>
            </a:xfrm>
            <a:custGeom>
              <a:avLst/>
              <a:gdLst>
                <a:gd name="T0" fmla="*/ 3521 w 4526"/>
                <a:gd name="T1" fmla="*/ 3519 h 4525"/>
                <a:gd name="T2" fmla="*/ 503 w 4526"/>
                <a:gd name="T3" fmla="*/ 4525 h 4525"/>
                <a:gd name="T4" fmla="*/ 4075 w 4526"/>
                <a:gd name="T5" fmla="*/ 4522 h 4525"/>
                <a:gd name="T6" fmla="*/ 4149 w 4526"/>
                <a:gd name="T7" fmla="*/ 4508 h 4525"/>
                <a:gd name="T8" fmla="*/ 4220 w 4526"/>
                <a:gd name="T9" fmla="*/ 4485 h 4525"/>
                <a:gd name="T10" fmla="*/ 4284 w 4526"/>
                <a:gd name="T11" fmla="*/ 4452 h 4525"/>
                <a:gd name="T12" fmla="*/ 4343 w 4526"/>
                <a:gd name="T13" fmla="*/ 4410 h 4525"/>
                <a:gd name="T14" fmla="*/ 4396 w 4526"/>
                <a:gd name="T15" fmla="*/ 4360 h 4525"/>
                <a:gd name="T16" fmla="*/ 4441 w 4526"/>
                <a:gd name="T17" fmla="*/ 4302 h 4525"/>
                <a:gd name="T18" fmla="*/ 4477 w 4526"/>
                <a:gd name="T19" fmla="*/ 4240 h 4525"/>
                <a:gd name="T20" fmla="*/ 4504 w 4526"/>
                <a:gd name="T21" fmla="*/ 4172 h 4525"/>
                <a:gd name="T22" fmla="*/ 4520 w 4526"/>
                <a:gd name="T23" fmla="*/ 4098 h 4525"/>
                <a:gd name="T24" fmla="*/ 4526 w 4526"/>
                <a:gd name="T25" fmla="*/ 4022 h 4525"/>
                <a:gd name="T26" fmla="*/ 4523 w 4526"/>
                <a:gd name="T27" fmla="*/ 452 h 4525"/>
                <a:gd name="T28" fmla="*/ 4510 w 4526"/>
                <a:gd name="T29" fmla="*/ 377 h 4525"/>
                <a:gd name="T30" fmla="*/ 4487 w 4526"/>
                <a:gd name="T31" fmla="*/ 308 h 4525"/>
                <a:gd name="T32" fmla="*/ 4454 w 4526"/>
                <a:gd name="T33" fmla="*/ 242 h 4525"/>
                <a:gd name="T34" fmla="*/ 4412 w 4526"/>
                <a:gd name="T35" fmla="*/ 183 h 4525"/>
                <a:gd name="T36" fmla="*/ 4361 w 4526"/>
                <a:gd name="T37" fmla="*/ 131 h 4525"/>
                <a:gd name="T38" fmla="*/ 4305 w 4526"/>
                <a:gd name="T39" fmla="*/ 85 h 4525"/>
                <a:gd name="T40" fmla="*/ 4242 w 4526"/>
                <a:gd name="T41" fmla="*/ 49 h 4525"/>
                <a:gd name="T42" fmla="*/ 4173 w 4526"/>
                <a:gd name="T43" fmla="*/ 22 h 4525"/>
                <a:gd name="T44" fmla="*/ 4100 w 4526"/>
                <a:gd name="T45" fmla="*/ 6 h 4525"/>
                <a:gd name="T46" fmla="*/ 4024 w 4526"/>
                <a:gd name="T47" fmla="*/ 0 h 4525"/>
                <a:gd name="T48" fmla="*/ 451 w 4526"/>
                <a:gd name="T49" fmla="*/ 3 h 4525"/>
                <a:gd name="T50" fmla="*/ 377 w 4526"/>
                <a:gd name="T51" fmla="*/ 16 h 4525"/>
                <a:gd name="T52" fmla="*/ 307 w 4526"/>
                <a:gd name="T53" fmla="*/ 39 h 4525"/>
                <a:gd name="T54" fmla="*/ 242 w 4526"/>
                <a:gd name="T55" fmla="*/ 72 h 4525"/>
                <a:gd name="T56" fmla="*/ 183 w 4526"/>
                <a:gd name="T57" fmla="*/ 115 h 4525"/>
                <a:gd name="T58" fmla="*/ 131 w 4526"/>
                <a:gd name="T59" fmla="*/ 165 h 4525"/>
                <a:gd name="T60" fmla="*/ 85 w 4526"/>
                <a:gd name="T61" fmla="*/ 222 h 4525"/>
                <a:gd name="T62" fmla="*/ 49 w 4526"/>
                <a:gd name="T63" fmla="*/ 285 h 4525"/>
                <a:gd name="T64" fmla="*/ 22 w 4526"/>
                <a:gd name="T65" fmla="*/ 353 h 4525"/>
                <a:gd name="T66" fmla="*/ 6 w 4526"/>
                <a:gd name="T67" fmla="*/ 426 h 4525"/>
                <a:gd name="T68" fmla="*/ 0 w 4526"/>
                <a:gd name="T69" fmla="*/ 503 h 4525"/>
                <a:gd name="T70" fmla="*/ 3 w 4526"/>
                <a:gd name="T71" fmla="*/ 4073 h 4525"/>
                <a:gd name="T72" fmla="*/ 16 w 4526"/>
                <a:gd name="T73" fmla="*/ 4147 h 4525"/>
                <a:gd name="T74" fmla="*/ 39 w 4526"/>
                <a:gd name="T75" fmla="*/ 4218 h 4525"/>
                <a:gd name="T76" fmla="*/ 72 w 4526"/>
                <a:gd name="T77" fmla="*/ 4282 h 4525"/>
                <a:gd name="T78" fmla="*/ 114 w 4526"/>
                <a:gd name="T79" fmla="*/ 4342 h 4525"/>
                <a:gd name="T80" fmla="*/ 165 w 4526"/>
                <a:gd name="T81" fmla="*/ 4394 h 4525"/>
                <a:gd name="T82" fmla="*/ 221 w 4526"/>
                <a:gd name="T83" fmla="*/ 4439 h 4525"/>
                <a:gd name="T84" fmla="*/ 284 w 4526"/>
                <a:gd name="T85" fmla="*/ 4475 h 4525"/>
                <a:gd name="T86" fmla="*/ 353 w 4526"/>
                <a:gd name="T87" fmla="*/ 4501 h 4525"/>
                <a:gd name="T88" fmla="*/ 426 w 4526"/>
                <a:gd name="T89" fmla="*/ 4519 h 4525"/>
                <a:gd name="T90" fmla="*/ 503 w 4526"/>
                <a:gd name="T91" fmla="*/ 4525 h 4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526" h="4525">
                  <a:moveTo>
                    <a:pt x="1006" y="1004"/>
                  </a:moveTo>
                  <a:lnTo>
                    <a:pt x="3521" y="1004"/>
                  </a:lnTo>
                  <a:lnTo>
                    <a:pt x="3521" y="3519"/>
                  </a:lnTo>
                  <a:lnTo>
                    <a:pt x="1006" y="3519"/>
                  </a:lnTo>
                  <a:lnTo>
                    <a:pt x="1006" y="1004"/>
                  </a:lnTo>
                  <a:close/>
                  <a:moveTo>
                    <a:pt x="503" y="4525"/>
                  </a:moveTo>
                  <a:lnTo>
                    <a:pt x="4024" y="4525"/>
                  </a:lnTo>
                  <a:lnTo>
                    <a:pt x="4050" y="4524"/>
                  </a:lnTo>
                  <a:lnTo>
                    <a:pt x="4075" y="4522"/>
                  </a:lnTo>
                  <a:lnTo>
                    <a:pt x="4100" y="4519"/>
                  </a:lnTo>
                  <a:lnTo>
                    <a:pt x="4125" y="4515"/>
                  </a:lnTo>
                  <a:lnTo>
                    <a:pt x="4149" y="4508"/>
                  </a:lnTo>
                  <a:lnTo>
                    <a:pt x="4173" y="4501"/>
                  </a:lnTo>
                  <a:lnTo>
                    <a:pt x="4197" y="4494"/>
                  </a:lnTo>
                  <a:lnTo>
                    <a:pt x="4220" y="4485"/>
                  </a:lnTo>
                  <a:lnTo>
                    <a:pt x="4242" y="4475"/>
                  </a:lnTo>
                  <a:lnTo>
                    <a:pt x="4263" y="4464"/>
                  </a:lnTo>
                  <a:lnTo>
                    <a:pt x="4284" y="4452"/>
                  </a:lnTo>
                  <a:lnTo>
                    <a:pt x="4305" y="4439"/>
                  </a:lnTo>
                  <a:lnTo>
                    <a:pt x="4324" y="4425"/>
                  </a:lnTo>
                  <a:lnTo>
                    <a:pt x="4343" y="4410"/>
                  </a:lnTo>
                  <a:lnTo>
                    <a:pt x="4361" y="4394"/>
                  </a:lnTo>
                  <a:lnTo>
                    <a:pt x="4380" y="4378"/>
                  </a:lnTo>
                  <a:lnTo>
                    <a:pt x="4396" y="4360"/>
                  </a:lnTo>
                  <a:lnTo>
                    <a:pt x="4412" y="4342"/>
                  </a:lnTo>
                  <a:lnTo>
                    <a:pt x="4427" y="4322"/>
                  </a:lnTo>
                  <a:lnTo>
                    <a:pt x="4441" y="4302"/>
                  </a:lnTo>
                  <a:lnTo>
                    <a:pt x="4454" y="4282"/>
                  </a:lnTo>
                  <a:lnTo>
                    <a:pt x="4466" y="4261"/>
                  </a:lnTo>
                  <a:lnTo>
                    <a:pt x="4477" y="4240"/>
                  </a:lnTo>
                  <a:lnTo>
                    <a:pt x="4487" y="4218"/>
                  </a:lnTo>
                  <a:lnTo>
                    <a:pt x="4496" y="4195"/>
                  </a:lnTo>
                  <a:lnTo>
                    <a:pt x="4504" y="4172"/>
                  </a:lnTo>
                  <a:lnTo>
                    <a:pt x="4510" y="4147"/>
                  </a:lnTo>
                  <a:lnTo>
                    <a:pt x="4516" y="4123"/>
                  </a:lnTo>
                  <a:lnTo>
                    <a:pt x="4520" y="4098"/>
                  </a:lnTo>
                  <a:lnTo>
                    <a:pt x="4523" y="4073"/>
                  </a:lnTo>
                  <a:lnTo>
                    <a:pt x="4525" y="4048"/>
                  </a:lnTo>
                  <a:lnTo>
                    <a:pt x="4526" y="4022"/>
                  </a:lnTo>
                  <a:lnTo>
                    <a:pt x="4526" y="503"/>
                  </a:lnTo>
                  <a:lnTo>
                    <a:pt x="4525" y="477"/>
                  </a:lnTo>
                  <a:lnTo>
                    <a:pt x="4523" y="452"/>
                  </a:lnTo>
                  <a:lnTo>
                    <a:pt x="4520" y="426"/>
                  </a:lnTo>
                  <a:lnTo>
                    <a:pt x="4516" y="401"/>
                  </a:lnTo>
                  <a:lnTo>
                    <a:pt x="4510" y="377"/>
                  </a:lnTo>
                  <a:lnTo>
                    <a:pt x="4504" y="353"/>
                  </a:lnTo>
                  <a:lnTo>
                    <a:pt x="4496" y="330"/>
                  </a:lnTo>
                  <a:lnTo>
                    <a:pt x="4487" y="308"/>
                  </a:lnTo>
                  <a:lnTo>
                    <a:pt x="4477" y="285"/>
                  </a:lnTo>
                  <a:lnTo>
                    <a:pt x="4466" y="263"/>
                  </a:lnTo>
                  <a:lnTo>
                    <a:pt x="4454" y="242"/>
                  </a:lnTo>
                  <a:lnTo>
                    <a:pt x="4441" y="222"/>
                  </a:lnTo>
                  <a:lnTo>
                    <a:pt x="4427" y="202"/>
                  </a:lnTo>
                  <a:lnTo>
                    <a:pt x="4412" y="183"/>
                  </a:lnTo>
                  <a:lnTo>
                    <a:pt x="4396" y="165"/>
                  </a:lnTo>
                  <a:lnTo>
                    <a:pt x="4380" y="148"/>
                  </a:lnTo>
                  <a:lnTo>
                    <a:pt x="4361" y="131"/>
                  </a:lnTo>
                  <a:lnTo>
                    <a:pt x="4343" y="115"/>
                  </a:lnTo>
                  <a:lnTo>
                    <a:pt x="4324" y="99"/>
                  </a:lnTo>
                  <a:lnTo>
                    <a:pt x="4305" y="85"/>
                  </a:lnTo>
                  <a:lnTo>
                    <a:pt x="4284" y="72"/>
                  </a:lnTo>
                  <a:lnTo>
                    <a:pt x="4263" y="60"/>
                  </a:lnTo>
                  <a:lnTo>
                    <a:pt x="4242" y="49"/>
                  </a:lnTo>
                  <a:lnTo>
                    <a:pt x="4220" y="39"/>
                  </a:lnTo>
                  <a:lnTo>
                    <a:pt x="4197" y="30"/>
                  </a:lnTo>
                  <a:lnTo>
                    <a:pt x="4173" y="22"/>
                  </a:lnTo>
                  <a:lnTo>
                    <a:pt x="4149" y="16"/>
                  </a:lnTo>
                  <a:lnTo>
                    <a:pt x="4125" y="10"/>
                  </a:lnTo>
                  <a:lnTo>
                    <a:pt x="4100" y="6"/>
                  </a:lnTo>
                  <a:lnTo>
                    <a:pt x="4075" y="3"/>
                  </a:lnTo>
                  <a:lnTo>
                    <a:pt x="4050" y="1"/>
                  </a:lnTo>
                  <a:lnTo>
                    <a:pt x="4024" y="0"/>
                  </a:lnTo>
                  <a:lnTo>
                    <a:pt x="503" y="0"/>
                  </a:lnTo>
                  <a:lnTo>
                    <a:pt x="477" y="1"/>
                  </a:lnTo>
                  <a:lnTo>
                    <a:pt x="451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4" y="49"/>
                  </a:lnTo>
                  <a:lnTo>
                    <a:pt x="262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8"/>
                  </a:lnTo>
                  <a:lnTo>
                    <a:pt x="131" y="165"/>
                  </a:lnTo>
                  <a:lnTo>
                    <a:pt x="114" y="183"/>
                  </a:lnTo>
                  <a:lnTo>
                    <a:pt x="99" y="202"/>
                  </a:lnTo>
                  <a:lnTo>
                    <a:pt x="85" y="222"/>
                  </a:lnTo>
                  <a:lnTo>
                    <a:pt x="72" y="242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8"/>
                  </a:lnTo>
                  <a:lnTo>
                    <a:pt x="30" y="330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0" y="4022"/>
                  </a:lnTo>
                  <a:lnTo>
                    <a:pt x="1" y="4048"/>
                  </a:lnTo>
                  <a:lnTo>
                    <a:pt x="3" y="4073"/>
                  </a:lnTo>
                  <a:lnTo>
                    <a:pt x="6" y="4098"/>
                  </a:lnTo>
                  <a:lnTo>
                    <a:pt x="10" y="4123"/>
                  </a:lnTo>
                  <a:lnTo>
                    <a:pt x="16" y="4147"/>
                  </a:lnTo>
                  <a:lnTo>
                    <a:pt x="22" y="4172"/>
                  </a:lnTo>
                  <a:lnTo>
                    <a:pt x="30" y="4195"/>
                  </a:lnTo>
                  <a:lnTo>
                    <a:pt x="39" y="4218"/>
                  </a:lnTo>
                  <a:lnTo>
                    <a:pt x="49" y="4240"/>
                  </a:lnTo>
                  <a:lnTo>
                    <a:pt x="60" y="4261"/>
                  </a:lnTo>
                  <a:lnTo>
                    <a:pt x="72" y="4282"/>
                  </a:lnTo>
                  <a:lnTo>
                    <a:pt x="85" y="4302"/>
                  </a:lnTo>
                  <a:lnTo>
                    <a:pt x="99" y="4322"/>
                  </a:lnTo>
                  <a:lnTo>
                    <a:pt x="114" y="4342"/>
                  </a:lnTo>
                  <a:lnTo>
                    <a:pt x="131" y="4360"/>
                  </a:lnTo>
                  <a:lnTo>
                    <a:pt x="147" y="4378"/>
                  </a:lnTo>
                  <a:lnTo>
                    <a:pt x="165" y="4394"/>
                  </a:lnTo>
                  <a:lnTo>
                    <a:pt x="183" y="4410"/>
                  </a:lnTo>
                  <a:lnTo>
                    <a:pt x="202" y="4425"/>
                  </a:lnTo>
                  <a:lnTo>
                    <a:pt x="221" y="4439"/>
                  </a:lnTo>
                  <a:lnTo>
                    <a:pt x="242" y="4452"/>
                  </a:lnTo>
                  <a:lnTo>
                    <a:pt x="262" y="4464"/>
                  </a:lnTo>
                  <a:lnTo>
                    <a:pt x="284" y="4475"/>
                  </a:lnTo>
                  <a:lnTo>
                    <a:pt x="307" y="4485"/>
                  </a:lnTo>
                  <a:lnTo>
                    <a:pt x="330" y="4494"/>
                  </a:lnTo>
                  <a:lnTo>
                    <a:pt x="353" y="4501"/>
                  </a:lnTo>
                  <a:lnTo>
                    <a:pt x="377" y="4508"/>
                  </a:lnTo>
                  <a:lnTo>
                    <a:pt x="401" y="4515"/>
                  </a:lnTo>
                  <a:lnTo>
                    <a:pt x="426" y="4519"/>
                  </a:lnTo>
                  <a:lnTo>
                    <a:pt x="451" y="4522"/>
                  </a:lnTo>
                  <a:lnTo>
                    <a:pt x="477" y="4524"/>
                  </a:lnTo>
                  <a:lnTo>
                    <a:pt x="503" y="45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57" name="iṩḷîḓê">
              <a:extLst>
                <a:ext uri="{FF2B5EF4-FFF2-40B4-BE49-F238E27FC236}">
                  <a16:creationId xmlns:a16="http://schemas.microsoft.com/office/drawing/2014/main" id="{7923E032-0A0A-4FB1-B29C-018EEB61CA3B}"/>
                </a:ext>
              </a:extLst>
            </p:cNvPr>
            <p:cNvSpPr/>
            <p:nvPr/>
          </p:nvSpPr>
          <p:spPr bwMode="auto">
            <a:xfrm>
              <a:off x="7972072" y="2367656"/>
              <a:ext cx="238394" cy="347625"/>
            </a:xfrm>
            <a:custGeom>
              <a:avLst/>
              <a:gdLst>
                <a:gd name="T0" fmla="*/ 9581 w 11062"/>
                <a:gd name="T1" fmla="*/ 13339 h 16132"/>
                <a:gd name="T2" fmla="*/ 8775 w 11062"/>
                <a:gd name="T3" fmla="*/ 14325 h 16132"/>
                <a:gd name="T4" fmla="*/ 6999 w 11062"/>
                <a:gd name="T5" fmla="*/ 14980 h 16132"/>
                <a:gd name="T6" fmla="*/ 4346 w 11062"/>
                <a:gd name="T7" fmla="*/ 15077 h 16132"/>
                <a:gd name="T8" fmla="*/ 2649 w 11062"/>
                <a:gd name="T9" fmla="*/ 14454 h 16132"/>
                <a:gd name="T10" fmla="*/ 1519 w 11062"/>
                <a:gd name="T11" fmla="*/ 13302 h 16132"/>
                <a:gd name="T12" fmla="*/ 1023 w 11062"/>
                <a:gd name="T13" fmla="*/ 11870 h 16132"/>
                <a:gd name="T14" fmla="*/ 1038 w 11062"/>
                <a:gd name="T15" fmla="*/ 10686 h 16132"/>
                <a:gd name="T16" fmla="*/ 1161 w 11062"/>
                <a:gd name="T17" fmla="*/ 9659 h 16132"/>
                <a:gd name="T18" fmla="*/ 1368 w 11062"/>
                <a:gd name="T19" fmla="*/ 8565 h 16132"/>
                <a:gd name="T20" fmla="*/ 1751 w 11062"/>
                <a:gd name="T21" fmla="*/ 6782 h 16132"/>
                <a:gd name="T22" fmla="*/ 1969 w 11062"/>
                <a:gd name="T23" fmla="*/ 5444 h 16132"/>
                <a:gd name="T24" fmla="*/ 2066 w 11062"/>
                <a:gd name="T25" fmla="*/ 3973 h 16132"/>
                <a:gd name="T26" fmla="*/ 2442 w 11062"/>
                <a:gd name="T27" fmla="*/ 3510 h 16132"/>
                <a:gd name="T28" fmla="*/ 3378 w 11062"/>
                <a:gd name="T29" fmla="*/ 5418 h 16132"/>
                <a:gd name="T30" fmla="*/ 3921 w 11062"/>
                <a:gd name="T31" fmla="*/ 7026 h 16132"/>
                <a:gd name="T32" fmla="*/ 4134 w 11062"/>
                <a:gd name="T33" fmla="*/ 7893 h 16132"/>
                <a:gd name="T34" fmla="*/ 4981 w 11062"/>
                <a:gd name="T35" fmla="*/ 6640 h 16132"/>
                <a:gd name="T36" fmla="*/ 5652 w 11062"/>
                <a:gd name="T37" fmla="*/ 5541 h 16132"/>
                <a:gd name="T38" fmla="*/ 6048 w 11062"/>
                <a:gd name="T39" fmla="*/ 5124 h 16132"/>
                <a:gd name="T40" fmla="*/ 6276 w 11062"/>
                <a:gd name="T41" fmla="*/ 6127 h 16132"/>
                <a:gd name="T42" fmla="*/ 6449 w 11062"/>
                <a:gd name="T43" fmla="*/ 7550 h 16132"/>
                <a:gd name="T44" fmla="*/ 6532 w 11062"/>
                <a:gd name="T45" fmla="*/ 9200 h 16132"/>
                <a:gd name="T46" fmla="*/ 6940 w 11062"/>
                <a:gd name="T47" fmla="*/ 9209 h 16132"/>
                <a:gd name="T48" fmla="*/ 7692 w 11062"/>
                <a:gd name="T49" fmla="*/ 8420 h 16132"/>
                <a:gd name="T50" fmla="*/ 8583 w 11062"/>
                <a:gd name="T51" fmla="*/ 7268 h 16132"/>
                <a:gd name="T52" fmla="*/ 9393 w 11062"/>
                <a:gd name="T53" fmla="*/ 7890 h 16132"/>
                <a:gd name="T54" fmla="*/ 9897 w 11062"/>
                <a:gd name="T55" fmla="*/ 9499 h 16132"/>
                <a:gd name="T56" fmla="*/ 10055 w 11062"/>
                <a:gd name="T57" fmla="*/ 11059 h 16132"/>
                <a:gd name="T58" fmla="*/ 8546 w 11062"/>
                <a:gd name="T59" fmla="*/ 4537 h 16132"/>
                <a:gd name="T60" fmla="*/ 8332 w 11062"/>
                <a:gd name="T61" fmla="*/ 5604 h 16132"/>
                <a:gd name="T62" fmla="*/ 7919 w 11062"/>
                <a:gd name="T63" fmla="*/ 6448 h 16132"/>
                <a:gd name="T64" fmla="*/ 7572 w 11062"/>
                <a:gd name="T65" fmla="*/ 6944 h 16132"/>
                <a:gd name="T66" fmla="*/ 7322 w 11062"/>
                <a:gd name="T67" fmla="*/ 5677 h 16132"/>
                <a:gd name="T68" fmla="*/ 6610 w 11062"/>
                <a:gd name="T69" fmla="*/ 3988 h 16132"/>
                <a:gd name="T70" fmla="*/ 5839 w 11062"/>
                <a:gd name="T71" fmla="*/ 2871 h 16132"/>
                <a:gd name="T72" fmla="*/ 5524 w 11062"/>
                <a:gd name="T73" fmla="*/ 2624 h 16132"/>
                <a:gd name="T74" fmla="*/ 5435 w 11062"/>
                <a:gd name="T75" fmla="*/ 3254 h 16132"/>
                <a:gd name="T76" fmla="*/ 5137 w 11062"/>
                <a:gd name="T77" fmla="*/ 4285 h 16132"/>
                <a:gd name="T78" fmla="*/ 4503 w 11062"/>
                <a:gd name="T79" fmla="*/ 5519 h 16132"/>
                <a:gd name="T80" fmla="*/ 3295 w 11062"/>
                <a:gd name="T81" fmla="*/ 2924 h 16132"/>
                <a:gd name="T82" fmla="*/ 1805 w 11062"/>
                <a:gd name="T83" fmla="*/ 1110 h 16132"/>
                <a:gd name="T84" fmla="*/ 701 w 11062"/>
                <a:gd name="T85" fmla="*/ 145 h 16132"/>
                <a:gd name="T86" fmla="*/ 1011 w 11062"/>
                <a:gd name="T87" fmla="*/ 2771 h 16132"/>
                <a:gd name="T88" fmla="*/ 870 w 11062"/>
                <a:gd name="T89" fmla="*/ 6014 h 16132"/>
                <a:gd name="T90" fmla="*/ 290 w 11062"/>
                <a:gd name="T91" fmla="*/ 8820 h 16132"/>
                <a:gd name="T92" fmla="*/ 6 w 11062"/>
                <a:gd name="T93" fmla="*/ 11760 h 16132"/>
                <a:gd name="T94" fmla="*/ 554 w 11062"/>
                <a:gd name="T95" fmla="*/ 13649 h 16132"/>
                <a:gd name="T96" fmla="*/ 1906 w 11062"/>
                <a:gd name="T97" fmla="*/ 15167 h 16132"/>
                <a:gd name="T98" fmla="*/ 3939 w 11062"/>
                <a:gd name="T99" fmla="*/ 16031 h 16132"/>
                <a:gd name="T100" fmla="*/ 6884 w 11062"/>
                <a:gd name="T101" fmla="*/ 16016 h 16132"/>
                <a:gd name="T102" fmla="*/ 9121 w 11062"/>
                <a:gd name="T103" fmla="*/ 15301 h 16132"/>
                <a:gd name="T104" fmla="*/ 10305 w 11062"/>
                <a:gd name="T105" fmla="*/ 14100 h 16132"/>
                <a:gd name="T106" fmla="*/ 10866 w 11062"/>
                <a:gd name="T107" fmla="*/ 12606 h 16132"/>
                <a:gd name="T108" fmla="*/ 11039 w 11062"/>
                <a:gd name="T109" fmla="*/ 10358 h 16132"/>
                <a:gd name="T110" fmla="*/ 10527 w 11062"/>
                <a:gd name="T111" fmla="*/ 8031 h 16132"/>
                <a:gd name="T112" fmla="*/ 9405 w 11062"/>
                <a:gd name="T113" fmla="*/ 5745 h 16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062" h="16132">
                  <a:moveTo>
                    <a:pt x="9891" y="12362"/>
                  </a:moveTo>
                  <a:lnTo>
                    <a:pt x="9860" y="12483"/>
                  </a:lnTo>
                  <a:lnTo>
                    <a:pt x="9829" y="12606"/>
                  </a:lnTo>
                  <a:lnTo>
                    <a:pt x="9795" y="12729"/>
                  </a:lnTo>
                  <a:lnTo>
                    <a:pt x="9760" y="12852"/>
                  </a:lnTo>
                  <a:lnTo>
                    <a:pt x="9722" y="12975"/>
                  </a:lnTo>
                  <a:lnTo>
                    <a:pt x="9680" y="13097"/>
                  </a:lnTo>
                  <a:lnTo>
                    <a:pt x="9634" y="13219"/>
                  </a:lnTo>
                  <a:lnTo>
                    <a:pt x="9581" y="13339"/>
                  </a:lnTo>
                  <a:lnTo>
                    <a:pt x="9524" y="13458"/>
                  </a:lnTo>
                  <a:lnTo>
                    <a:pt x="9461" y="13576"/>
                  </a:lnTo>
                  <a:lnTo>
                    <a:pt x="9389" y="13691"/>
                  </a:lnTo>
                  <a:lnTo>
                    <a:pt x="9311" y="13805"/>
                  </a:lnTo>
                  <a:lnTo>
                    <a:pt x="9223" y="13915"/>
                  </a:lnTo>
                  <a:lnTo>
                    <a:pt x="9127" y="14023"/>
                  </a:lnTo>
                  <a:lnTo>
                    <a:pt x="9020" y="14128"/>
                  </a:lnTo>
                  <a:lnTo>
                    <a:pt x="8904" y="14228"/>
                  </a:lnTo>
                  <a:lnTo>
                    <a:pt x="8775" y="14325"/>
                  </a:lnTo>
                  <a:lnTo>
                    <a:pt x="8635" y="14419"/>
                  </a:lnTo>
                  <a:lnTo>
                    <a:pt x="8482" y="14508"/>
                  </a:lnTo>
                  <a:lnTo>
                    <a:pt x="8316" y="14591"/>
                  </a:lnTo>
                  <a:lnTo>
                    <a:pt x="8136" y="14670"/>
                  </a:lnTo>
                  <a:lnTo>
                    <a:pt x="7941" y="14744"/>
                  </a:lnTo>
                  <a:lnTo>
                    <a:pt x="7730" y="14812"/>
                  </a:lnTo>
                  <a:lnTo>
                    <a:pt x="7503" y="14875"/>
                  </a:lnTo>
                  <a:lnTo>
                    <a:pt x="7260" y="14930"/>
                  </a:lnTo>
                  <a:lnTo>
                    <a:pt x="6999" y="14980"/>
                  </a:lnTo>
                  <a:lnTo>
                    <a:pt x="6719" y="15023"/>
                  </a:lnTo>
                  <a:lnTo>
                    <a:pt x="6422" y="15058"/>
                  </a:lnTo>
                  <a:lnTo>
                    <a:pt x="6104" y="15086"/>
                  </a:lnTo>
                  <a:lnTo>
                    <a:pt x="5766" y="15107"/>
                  </a:lnTo>
                  <a:lnTo>
                    <a:pt x="5407" y="15120"/>
                  </a:lnTo>
                  <a:lnTo>
                    <a:pt x="5027" y="15124"/>
                  </a:lnTo>
                  <a:lnTo>
                    <a:pt x="4794" y="15119"/>
                  </a:lnTo>
                  <a:lnTo>
                    <a:pt x="4567" y="15103"/>
                  </a:lnTo>
                  <a:lnTo>
                    <a:pt x="4346" y="15077"/>
                  </a:lnTo>
                  <a:lnTo>
                    <a:pt x="4132" y="15042"/>
                  </a:lnTo>
                  <a:lnTo>
                    <a:pt x="3924" y="14998"/>
                  </a:lnTo>
                  <a:lnTo>
                    <a:pt x="3722" y="14944"/>
                  </a:lnTo>
                  <a:lnTo>
                    <a:pt x="3525" y="14882"/>
                  </a:lnTo>
                  <a:lnTo>
                    <a:pt x="3336" y="14811"/>
                  </a:lnTo>
                  <a:lnTo>
                    <a:pt x="3155" y="14734"/>
                  </a:lnTo>
                  <a:lnTo>
                    <a:pt x="2979" y="14648"/>
                  </a:lnTo>
                  <a:lnTo>
                    <a:pt x="2811" y="14554"/>
                  </a:lnTo>
                  <a:lnTo>
                    <a:pt x="2649" y="14454"/>
                  </a:lnTo>
                  <a:lnTo>
                    <a:pt x="2494" y="14347"/>
                  </a:lnTo>
                  <a:lnTo>
                    <a:pt x="2346" y="14235"/>
                  </a:lnTo>
                  <a:lnTo>
                    <a:pt x="2206" y="14117"/>
                  </a:lnTo>
                  <a:lnTo>
                    <a:pt x="2073" y="13992"/>
                  </a:lnTo>
                  <a:lnTo>
                    <a:pt x="1946" y="13863"/>
                  </a:lnTo>
                  <a:lnTo>
                    <a:pt x="1829" y="13729"/>
                  </a:lnTo>
                  <a:lnTo>
                    <a:pt x="1718" y="13590"/>
                  </a:lnTo>
                  <a:lnTo>
                    <a:pt x="1614" y="13448"/>
                  </a:lnTo>
                  <a:lnTo>
                    <a:pt x="1519" y="13302"/>
                  </a:lnTo>
                  <a:lnTo>
                    <a:pt x="1432" y="13152"/>
                  </a:lnTo>
                  <a:lnTo>
                    <a:pt x="1352" y="12998"/>
                  </a:lnTo>
                  <a:lnTo>
                    <a:pt x="1280" y="12843"/>
                  </a:lnTo>
                  <a:lnTo>
                    <a:pt x="1216" y="12685"/>
                  </a:lnTo>
                  <a:lnTo>
                    <a:pt x="1161" y="12524"/>
                  </a:lnTo>
                  <a:lnTo>
                    <a:pt x="1114" y="12363"/>
                  </a:lnTo>
                  <a:lnTo>
                    <a:pt x="1076" y="12200"/>
                  </a:lnTo>
                  <a:lnTo>
                    <a:pt x="1045" y="12035"/>
                  </a:lnTo>
                  <a:lnTo>
                    <a:pt x="1023" y="11870"/>
                  </a:lnTo>
                  <a:lnTo>
                    <a:pt x="1010" y="11706"/>
                  </a:lnTo>
                  <a:lnTo>
                    <a:pt x="1006" y="11540"/>
                  </a:lnTo>
                  <a:lnTo>
                    <a:pt x="1006" y="11414"/>
                  </a:lnTo>
                  <a:lnTo>
                    <a:pt x="1008" y="11289"/>
                  </a:lnTo>
                  <a:lnTo>
                    <a:pt x="1012" y="11166"/>
                  </a:lnTo>
                  <a:lnTo>
                    <a:pt x="1017" y="11044"/>
                  </a:lnTo>
                  <a:lnTo>
                    <a:pt x="1023" y="10924"/>
                  </a:lnTo>
                  <a:lnTo>
                    <a:pt x="1030" y="10804"/>
                  </a:lnTo>
                  <a:lnTo>
                    <a:pt x="1038" y="10686"/>
                  </a:lnTo>
                  <a:lnTo>
                    <a:pt x="1048" y="10568"/>
                  </a:lnTo>
                  <a:lnTo>
                    <a:pt x="1059" y="10453"/>
                  </a:lnTo>
                  <a:lnTo>
                    <a:pt x="1071" y="10337"/>
                  </a:lnTo>
                  <a:lnTo>
                    <a:pt x="1084" y="10222"/>
                  </a:lnTo>
                  <a:lnTo>
                    <a:pt x="1097" y="10108"/>
                  </a:lnTo>
                  <a:lnTo>
                    <a:pt x="1112" y="9995"/>
                  </a:lnTo>
                  <a:lnTo>
                    <a:pt x="1128" y="9883"/>
                  </a:lnTo>
                  <a:lnTo>
                    <a:pt x="1144" y="9771"/>
                  </a:lnTo>
                  <a:lnTo>
                    <a:pt x="1161" y="9659"/>
                  </a:lnTo>
                  <a:lnTo>
                    <a:pt x="1179" y="9548"/>
                  </a:lnTo>
                  <a:lnTo>
                    <a:pt x="1197" y="9438"/>
                  </a:lnTo>
                  <a:lnTo>
                    <a:pt x="1217" y="9328"/>
                  </a:lnTo>
                  <a:lnTo>
                    <a:pt x="1237" y="9218"/>
                  </a:lnTo>
                  <a:lnTo>
                    <a:pt x="1258" y="9110"/>
                  </a:lnTo>
                  <a:lnTo>
                    <a:pt x="1279" y="9001"/>
                  </a:lnTo>
                  <a:lnTo>
                    <a:pt x="1301" y="8892"/>
                  </a:lnTo>
                  <a:lnTo>
                    <a:pt x="1322" y="8783"/>
                  </a:lnTo>
                  <a:lnTo>
                    <a:pt x="1368" y="8565"/>
                  </a:lnTo>
                  <a:lnTo>
                    <a:pt x="1414" y="8348"/>
                  </a:lnTo>
                  <a:lnTo>
                    <a:pt x="1463" y="8130"/>
                  </a:lnTo>
                  <a:lnTo>
                    <a:pt x="1511" y="7911"/>
                  </a:lnTo>
                  <a:lnTo>
                    <a:pt x="1572" y="7631"/>
                  </a:lnTo>
                  <a:lnTo>
                    <a:pt x="1634" y="7351"/>
                  </a:lnTo>
                  <a:lnTo>
                    <a:pt x="1664" y="7210"/>
                  </a:lnTo>
                  <a:lnTo>
                    <a:pt x="1694" y="7068"/>
                  </a:lnTo>
                  <a:lnTo>
                    <a:pt x="1723" y="6926"/>
                  </a:lnTo>
                  <a:lnTo>
                    <a:pt x="1751" y="6782"/>
                  </a:lnTo>
                  <a:lnTo>
                    <a:pt x="1779" y="6638"/>
                  </a:lnTo>
                  <a:lnTo>
                    <a:pt x="1806" y="6493"/>
                  </a:lnTo>
                  <a:lnTo>
                    <a:pt x="1834" y="6347"/>
                  </a:lnTo>
                  <a:lnTo>
                    <a:pt x="1859" y="6200"/>
                  </a:lnTo>
                  <a:lnTo>
                    <a:pt x="1883" y="6051"/>
                  </a:lnTo>
                  <a:lnTo>
                    <a:pt x="1907" y="5901"/>
                  </a:lnTo>
                  <a:lnTo>
                    <a:pt x="1929" y="5750"/>
                  </a:lnTo>
                  <a:lnTo>
                    <a:pt x="1949" y="5598"/>
                  </a:lnTo>
                  <a:lnTo>
                    <a:pt x="1969" y="5444"/>
                  </a:lnTo>
                  <a:lnTo>
                    <a:pt x="1987" y="5287"/>
                  </a:lnTo>
                  <a:lnTo>
                    <a:pt x="2004" y="5130"/>
                  </a:lnTo>
                  <a:lnTo>
                    <a:pt x="2018" y="4971"/>
                  </a:lnTo>
                  <a:lnTo>
                    <a:pt x="2031" y="4809"/>
                  </a:lnTo>
                  <a:lnTo>
                    <a:pt x="2042" y="4646"/>
                  </a:lnTo>
                  <a:lnTo>
                    <a:pt x="2051" y="4482"/>
                  </a:lnTo>
                  <a:lnTo>
                    <a:pt x="2059" y="4314"/>
                  </a:lnTo>
                  <a:lnTo>
                    <a:pt x="2064" y="4145"/>
                  </a:lnTo>
                  <a:lnTo>
                    <a:pt x="2066" y="3973"/>
                  </a:lnTo>
                  <a:lnTo>
                    <a:pt x="2067" y="3798"/>
                  </a:lnTo>
                  <a:lnTo>
                    <a:pt x="2065" y="3622"/>
                  </a:lnTo>
                  <a:lnTo>
                    <a:pt x="2061" y="3443"/>
                  </a:lnTo>
                  <a:lnTo>
                    <a:pt x="2054" y="3261"/>
                  </a:lnTo>
                  <a:lnTo>
                    <a:pt x="2044" y="3076"/>
                  </a:lnTo>
                  <a:lnTo>
                    <a:pt x="2032" y="2890"/>
                  </a:lnTo>
                  <a:lnTo>
                    <a:pt x="2174" y="3093"/>
                  </a:lnTo>
                  <a:lnTo>
                    <a:pt x="2311" y="3300"/>
                  </a:lnTo>
                  <a:lnTo>
                    <a:pt x="2442" y="3510"/>
                  </a:lnTo>
                  <a:lnTo>
                    <a:pt x="2567" y="3722"/>
                  </a:lnTo>
                  <a:lnTo>
                    <a:pt x="2687" y="3935"/>
                  </a:lnTo>
                  <a:lnTo>
                    <a:pt x="2802" y="4150"/>
                  </a:lnTo>
                  <a:lnTo>
                    <a:pt x="2910" y="4365"/>
                  </a:lnTo>
                  <a:lnTo>
                    <a:pt x="3014" y="4578"/>
                  </a:lnTo>
                  <a:lnTo>
                    <a:pt x="3112" y="4792"/>
                  </a:lnTo>
                  <a:lnTo>
                    <a:pt x="3206" y="5003"/>
                  </a:lnTo>
                  <a:lnTo>
                    <a:pt x="3294" y="5213"/>
                  </a:lnTo>
                  <a:lnTo>
                    <a:pt x="3378" y="5418"/>
                  </a:lnTo>
                  <a:lnTo>
                    <a:pt x="3457" y="5620"/>
                  </a:lnTo>
                  <a:lnTo>
                    <a:pt x="3531" y="5818"/>
                  </a:lnTo>
                  <a:lnTo>
                    <a:pt x="3600" y="6011"/>
                  </a:lnTo>
                  <a:lnTo>
                    <a:pt x="3664" y="6198"/>
                  </a:lnTo>
                  <a:lnTo>
                    <a:pt x="3725" y="6379"/>
                  </a:lnTo>
                  <a:lnTo>
                    <a:pt x="3780" y="6553"/>
                  </a:lnTo>
                  <a:lnTo>
                    <a:pt x="3831" y="6719"/>
                  </a:lnTo>
                  <a:lnTo>
                    <a:pt x="3877" y="6877"/>
                  </a:lnTo>
                  <a:lnTo>
                    <a:pt x="3921" y="7026"/>
                  </a:lnTo>
                  <a:lnTo>
                    <a:pt x="3959" y="7166"/>
                  </a:lnTo>
                  <a:lnTo>
                    <a:pt x="3993" y="7295"/>
                  </a:lnTo>
                  <a:lnTo>
                    <a:pt x="4023" y="7414"/>
                  </a:lnTo>
                  <a:lnTo>
                    <a:pt x="4050" y="7521"/>
                  </a:lnTo>
                  <a:lnTo>
                    <a:pt x="4072" y="7615"/>
                  </a:lnTo>
                  <a:lnTo>
                    <a:pt x="4091" y="7697"/>
                  </a:lnTo>
                  <a:lnTo>
                    <a:pt x="4108" y="7766"/>
                  </a:lnTo>
                  <a:lnTo>
                    <a:pt x="4128" y="7860"/>
                  </a:lnTo>
                  <a:lnTo>
                    <a:pt x="4134" y="7893"/>
                  </a:lnTo>
                  <a:lnTo>
                    <a:pt x="4150" y="7869"/>
                  </a:lnTo>
                  <a:lnTo>
                    <a:pt x="4197" y="7804"/>
                  </a:lnTo>
                  <a:lnTo>
                    <a:pt x="4269" y="7699"/>
                  </a:lnTo>
                  <a:lnTo>
                    <a:pt x="4366" y="7560"/>
                  </a:lnTo>
                  <a:lnTo>
                    <a:pt x="4480" y="7392"/>
                  </a:lnTo>
                  <a:lnTo>
                    <a:pt x="4611" y="7200"/>
                  </a:lnTo>
                  <a:lnTo>
                    <a:pt x="4753" y="6987"/>
                  </a:lnTo>
                  <a:lnTo>
                    <a:pt x="4904" y="6758"/>
                  </a:lnTo>
                  <a:lnTo>
                    <a:pt x="4981" y="6640"/>
                  </a:lnTo>
                  <a:lnTo>
                    <a:pt x="5059" y="6519"/>
                  </a:lnTo>
                  <a:lnTo>
                    <a:pt x="5137" y="6396"/>
                  </a:lnTo>
                  <a:lnTo>
                    <a:pt x="5215" y="6273"/>
                  </a:lnTo>
                  <a:lnTo>
                    <a:pt x="5292" y="6149"/>
                  </a:lnTo>
                  <a:lnTo>
                    <a:pt x="5368" y="6025"/>
                  </a:lnTo>
                  <a:lnTo>
                    <a:pt x="5443" y="5901"/>
                  </a:lnTo>
                  <a:lnTo>
                    <a:pt x="5515" y="5779"/>
                  </a:lnTo>
                  <a:lnTo>
                    <a:pt x="5585" y="5659"/>
                  </a:lnTo>
                  <a:lnTo>
                    <a:pt x="5652" y="5541"/>
                  </a:lnTo>
                  <a:lnTo>
                    <a:pt x="5715" y="5426"/>
                  </a:lnTo>
                  <a:lnTo>
                    <a:pt x="5774" y="5315"/>
                  </a:lnTo>
                  <a:lnTo>
                    <a:pt x="5830" y="5208"/>
                  </a:lnTo>
                  <a:lnTo>
                    <a:pt x="5880" y="5106"/>
                  </a:lnTo>
                  <a:lnTo>
                    <a:pt x="5925" y="5008"/>
                  </a:lnTo>
                  <a:lnTo>
                    <a:pt x="5964" y="4916"/>
                  </a:lnTo>
                  <a:lnTo>
                    <a:pt x="5992" y="4978"/>
                  </a:lnTo>
                  <a:lnTo>
                    <a:pt x="6020" y="5046"/>
                  </a:lnTo>
                  <a:lnTo>
                    <a:pt x="6048" y="5124"/>
                  </a:lnTo>
                  <a:lnTo>
                    <a:pt x="6075" y="5209"/>
                  </a:lnTo>
                  <a:lnTo>
                    <a:pt x="6101" y="5300"/>
                  </a:lnTo>
                  <a:lnTo>
                    <a:pt x="6128" y="5399"/>
                  </a:lnTo>
                  <a:lnTo>
                    <a:pt x="6153" y="5505"/>
                  </a:lnTo>
                  <a:lnTo>
                    <a:pt x="6179" y="5617"/>
                  </a:lnTo>
                  <a:lnTo>
                    <a:pt x="6205" y="5736"/>
                  </a:lnTo>
                  <a:lnTo>
                    <a:pt x="6229" y="5861"/>
                  </a:lnTo>
                  <a:lnTo>
                    <a:pt x="6253" y="5991"/>
                  </a:lnTo>
                  <a:lnTo>
                    <a:pt x="6276" y="6127"/>
                  </a:lnTo>
                  <a:lnTo>
                    <a:pt x="6298" y="6267"/>
                  </a:lnTo>
                  <a:lnTo>
                    <a:pt x="6320" y="6413"/>
                  </a:lnTo>
                  <a:lnTo>
                    <a:pt x="6341" y="6564"/>
                  </a:lnTo>
                  <a:lnTo>
                    <a:pt x="6361" y="6719"/>
                  </a:lnTo>
                  <a:lnTo>
                    <a:pt x="6380" y="6878"/>
                  </a:lnTo>
                  <a:lnTo>
                    <a:pt x="6400" y="7041"/>
                  </a:lnTo>
                  <a:lnTo>
                    <a:pt x="6417" y="7208"/>
                  </a:lnTo>
                  <a:lnTo>
                    <a:pt x="6433" y="7377"/>
                  </a:lnTo>
                  <a:lnTo>
                    <a:pt x="6449" y="7550"/>
                  </a:lnTo>
                  <a:lnTo>
                    <a:pt x="6463" y="7726"/>
                  </a:lnTo>
                  <a:lnTo>
                    <a:pt x="6476" y="7904"/>
                  </a:lnTo>
                  <a:lnTo>
                    <a:pt x="6488" y="8085"/>
                  </a:lnTo>
                  <a:lnTo>
                    <a:pt x="6498" y="8268"/>
                  </a:lnTo>
                  <a:lnTo>
                    <a:pt x="6508" y="8451"/>
                  </a:lnTo>
                  <a:lnTo>
                    <a:pt x="6516" y="8637"/>
                  </a:lnTo>
                  <a:lnTo>
                    <a:pt x="6523" y="8824"/>
                  </a:lnTo>
                  <a:lnTo>
                    <a:pt x="6528" y="9012"/>
                  </a:lnTo>
                  <a:lnTo>
                    <a:pt x="6532" y="9200"/>
                  </a:lnTo>
                  <a:lnTo>
                    <a:pt x="6534" y="9390"/>
                  </a:lnTo>
                  <a:lnTo>
                    <a:pt x="6535" y="9578"/>
                  </a:lnTo>
                  <a:lnTo>
                    <a:pt x="6550" y="9565"/>
                  </a:lnTo>
                  <a:lnTo>
                    <a:pt x="6595" y="9528"/>
                  </a:lnTo>
                  <a:lnTo>
                    <a:pt x="6665" y="9465"/>
                  </a:lnTo>
                  <a:lnTo>
                    <a:pt x="6759" y="9380"/>
                  </a:lnTo>
                  <a:lnTo>
                    <a:pt x="6815" y="9329"/>
                  </a:lnTo>
                  <a:lnTo>
                    <a:pt x="6875" y="9272"/>
                  </a:lnTo>
                  <a:lnTo>
                    <a:pt x="6940" y="9209"/>
                  </a:lnTo>
                  <a:lnTo>
                    <a:pt x="7011" y="9142"/>
                  </a:lnTo>
                  <a:lnTo>
                    <a:pt x="7084" y="9069"/>
                  </a:lnTo>
                  <a:lnTo>
                    <a:pt x="7162" y="8991"/>
                  </a:lnTo>
                  <a:lnTo>
                    <a:pt x="7243" y="8908"/>
                  </a:lnTo>
                  <a:lnTo>
                    <a:pt x="7327" y="8819"/>
                  </a:lnTo>
                  <a:lnTo>
                    <a:pt x="7415" y="8726"/>
                  </a:lnTo>
                  <a:lnTo>
                    <a:pt x="7505" y="8629"/>
                  </a:lnTo>
                  <a:lnTo>
                    <a:pt x="7598" y="8527"/>
                  </a:lnTo>
                  <a:lnTo>
                    <a:pt x="7692" y="8420"/>
                  </a:lnTo>
                  <a:lnTo>
                    <a:pt x="7789" y="8308"/>
                  </a:lnTo>
                  <a:lnTo>
                    <a:pt x="7886" y="8192"/>
                  </a:lnTo>
                  <a:lnTo>
                    <a:pt x="7985" y="8072"/>
                  </a:lnTo>
                  <a:lnTo>
                    <a:pt x="8084" y="7948"/>
                  </a:lnTo>
                  <a:lnTo>
                    <a:pt x="8184" y="7820"/>
                  </a:lnTo>
                  <a:lnTo>
                    <a:pt x="8284" y="7688"/>
                  </a:lnTo>
                  <a:lnTo>
                    <a:pt x="8384" y="7552"/>
                  </a:lnTo>
                  <a:lnTo>
                    <a:pt x="8483" y="7412"/>
                  </a:lnTo>
                  <a:lnTo>
                    <a:pt x="8583" y="7268"/>
                  </a:lnTo>
                  <a:lnTo>
                    <a:pt x="8681" y="7121"/>
                  </a:lnTo>
                  <a:lnTo>
                    <a:pt x="8777" y="6971"/>
                  </a:lnTo>
                  <a:lnTo>
                    <a:pt x="8872" y="6817"/>
                  </a:lnTo>
                  <a:lnTo>
                    <a:pt x="8969" y="6995"/>
                  </a:lnTo>
                  <a:lnTo>
                    <a:pt x="9062" y="7174"/>
                  </a:lnTo>
                  <a:lnTo>
                    <a:pt x="9150" y="7352"/>
                  </a:lnTo>
                  <a:lnTo>
                    <a:pt x="9235" y="7532"/>
                  </a:lnTo>
                  <a:lnTo>
                    <a:pt x="9316" y="7710"/>
                  </a:lnTo>
                  <a:lnTo>
                    <a:pt x="9393" y="7890"/>
                  </a:lnTo>
                  <a:lnTo>
                    <a:pt x="9466" y="8069"/>
                  </a:lnTo>
                  <a:lnTo>
                    <a:pt x="9534" y="8248"/>
                  </a:lnTo>
                  <a:lnTo>
                    <a:pt x="9598" y="8428"/>
                  </a:lnTo>
                  <a:lnTo>
                    <a:pt x="9659" y="8607"/>
                  </a:lnTo>
                  <a:lnTo>
                    <a:pt x="9715" y="8787"/>
                  </a:lnTo>
                  <a:lnTo>
                    <a:pt x="9767" y="8965"/>
                  </a:lnTo>
                  <a:lnTo>
                    <a:pt x="9814" y="9144"/>
                  </a:lnTo>
                  <a:lnTo>
                    <a:pt x="9858" y="9321"/>
                  </a:lnTo>
                  <a:lnTo>
                    <a:pt x="9897" y="9499"/>
                  </a:lnTo>
                  <a:lnTo>
                    <a:pt x="9932" y="9675"/>
                  </a:lnTo>
                  <a:lnTo>
                    <a:pt x="9963" y="9852"/>
                  </a:lnTo>
                  <a:lnTo>
                    <a:pt x="9989" y="10027"/>
                  </a:lnTo>
                  <a:lnTo>
                    <a:pt x="10011" y="10201"/>
                  </a:lnTo>
                  <a:lnTo>
                    <a:pt x="10029" y="10375"/>
                  </a:lnTo>
                  <a:lnTo>
                    <a:pt x="10042" y="10547"/>
                  </a:lnTo>
                  <a:lnTo>
                    <a:pt x="10051" y="10720"/>
                  </a:lnTo>
                  <a:lnTo>
                    <a:pt x="10055" y="10890"/>
                  </a:lnTo>
                  <a:lnTo>
                    <a:pt x="10055" y="11059"/>
                  </a:lnTo>
                  <a:lnTo>
                    <a:pt x="10051" y="11227"/>
                  </a:lnTo>
                  <a:lnTo>
                    <a:pt x="10042" y="11394"/>
                  </a:lnTo>
                  <a:lnTo>
                    <a:pt x="10028" y="11559"/>
                  </a:lnTo>
                  <a:lnTo>
                    <a:pt x="10009" y="11723"/>
                  </a:lnTo>
                  <a:lnTo>
                    <a:pt x="9986" y="11885"/>
                  </a:lnTo>
                  <a:lnTo>
                    <a:pt x="9959" y="12046"/>
                  </a:lnTo>
                  <a:lnTo>
                    <a:pt x="9927" y="12205"/>
                  </a:lnTo>
                  <a:lnTo>
                    <a:pt x="9891" y="12362"/>
                  </a:lnTo>
                  <a:close/>
                  <a:moveTo>
                    <a:pt x="8546" y="4537"/>
                  </a:moveTo>
                  <a:lnTo>
                    <a:pt x="8540" y="4663"/>
                  </a:lnTo>
                  <a:lnTo>
                    <a:pt x="8529" y="4787"/>
                  </a:lnTo>
                  <a:lnTo>
                    <a:pt x="8513" y="4910"/>
                  </a:lnTo>
                  <a:lnTo>
                    <a:pt x="8492" y="5031"/>
                  </a:lnTo>
                  <a:lnTo>
                    <a:pt x="8467" y="5150"/>
                  </a:lnTo>
                  <a:lnTo>
                    <a:pt x="8438" y="5267"/>
                  </a:lnTo>
                  <a:lnTo>
                    <a:pt x="8406" y="5382"/>
                  </a:lnTo>
                  <a:lnTo>
                    <a:pt x="8370" y="5494"/>
                  </a:lnTo>
                  <a:lnTo>
                    <a:pt x="8332" y="5604"/>
                  </a:lnTo>
                  <a:lnTo>
                    <a:pt x="8290" y="5712"/>
                  </a:lnTo>
                  <a:lnTo>
                    <a:pt x="8247" y="5816"/>
                  </a:lnTo>
                  <a:lnTo>
                    <a:pt x="8203" y="5916"/>
                  </a:lnTo>
                  <a:lnTo>
                    <a:pt x="8157" y="6014"/>
                  </a:lnTo>
                  <a:lnTo>
                    <a:pt x="8110" y="6108"/>
                  </a:lnTo>
                  <a:lnTo>
                    <a:pt x="8061" y="6199"/>
                  </a:lnTo>
                  <a:lnTo>
                    <a:pt x="8014" y="6286"/>
                  </a:lnTo>
                  <a:lnTo>
                    <a:pt x="7966" y="6369"/>
                  </a:lnTo>
                  <a:lnTo>
                    <a:pt x="7919" y="6448"/>
                  </a:lnTo>
                  <a:lnTo>
                    <a:pt x="7871" y="6522"/>
                  </a:lnTo>
                  <a:lnTo>
                    <a:pt x="7826" y="6593"/>
                  </a:lnTo>
                  <a:lnTo>
                    <a:pt x="7782" y="6658"/>
                  </a:lnTo>
                  <a:lnTo>
                    <a:pt x="7741" y="6719"/>
                  </a:lnTo>
                  <a:lnTo>
                    <a:pt x="7700" y="6774"/>
                  </a:lnTo>
                  <a:lnTo>
                    <a:pt x="7663" y="6825"/>
                  </a:lnTo>
                  <a:lnTo>
                    <a:pt x="7629" y="6870"/>
                  </a:lnTo>
                  <a:lnTo>
                    <a:pt x="7599" y="6911"/>
                  </a:lnTo>
                  <a:lnTo>
                    <a:pt x="7572" y="6944"/>
                  </a:lnTo>
                  <a:lnTo>
                    <a:pt x="7549" y="6972"/>
                  </a:lnTo>
                  <a:lnTo>
                    <a:pt x="7516" y="7011"/>
                  </a:lnTo>
                  <a:lnTo>
                    <a:pt x="7505" y="7024"/>
                  </a:lnTo>
                  <a:lnTo>
                    <a:pt x="7499" y="6791"/>
                  </a:lnTo>
                  <a:lnTo>
                    <a:pt x="7483" y="6560"/>
                  </a:lnTo>
                  <a:lnTo>
                    <a:pt x="7456" y="6334"/>
                  </a:lnTo>
                  <a:lnTo>
                    <a:pt x="7420" y="6110"/>
                  </a:lnTo>
                  <a:lnTo>
                    <a:pt x="7376" y="5891"/>
                  </a:lnTo>
                  <a:lnTo>
                    <a:pt x="7322" y="5677"/>
                  </a:lnTo>
                  <a:lnTo>
                    <a:pt x="7263" y="5468"/>
                  </a:lnTo>
                  <a:lnTo>
                    <a:pt x="7197" y="5262"/>
                  </a:lnTo>
                  <a:lnTo>
                    <a:pt x="7124" y="5062"/>
                  </a:lnTo>
                  <a:lnTo>
                    <a:pt x="7047" y="4868"/>
                  </a:lnTo>
                  <a:lnTo>
                    <a:pt x="6966" y="4679"/>
                  </a:lnTo>
                  <a:lnTo>
                    <a:pt x="6880" y="4497"/>
                  </a:lnTo>
                  <a:lnTo>
                    <a:pt x="6792" y="4320"/>
                  </a:lnTo>
                  <a:lnTo>
                    <a:pt x="6702" y="4151"/>
                  </a:lnTo>
                  <a:lnTo>
                    <a:pt x="6610" y="3988"/>
                  </a:lnTo>
                  <a:lnTo>
                    <a:pt x="6517" y="3832"/>
                  </a:lnTo>
                  <a:lnTo>
                    <a:pt x="6425" y="3683"/>
                  </a:lnTo>
                  <a:lnTo>
                    <a:pt x="6333" y="3542"/>
                  </a:lnTo>
                  <a:lnTo>
                    <a:pt x="6243" y="3409"/>
                  </a:lnTo>
                  <a:lnTo>
                    <a:pt x="6154" y="3284"/>
                  </a:lnTo>
                  <a:lnTo>
                    <a:pt x="6070" y="3168"/>
                  </a:lnTo>
                  <a:lnTo>
                    <a:pt x="5987" y="3060"/>
                  </a:lnTo>
                  <a:lnTo>
                    <a:pt x="5911" y="2961"/>
                  </a:lnTo>
                  <a:lnTo>
                    <a:pt x="5839" y="2871"/>
                  </a:lnTo>
                  <a:lnTo>
                    <a:pt x="5772" y="2792"/>
                  </a:lnTo>
                  <a:lnTo>
                    <a:pt x="5712" y="2721"/>
                  </a:lnTo>
                  <a:lnTo>
                    <a:pt x="5660" y="2661"/>
                  </a:lnTo>
                  <a:lnTo>
                    <a:pt x="5614" y="2611"/>
                  </a:lnTo>
                  <a:lnTo>
                    <a:pt x="5552" y="2544"/>
                  </a:lnTo>
                  <a:lnTo>
                    <a:pt x="5530" y="2521"/>
                  </a:lnTo>
                  <a:lnTo>
                    <a:pt x="5529" y="2538"/>
                  </a:lnTo>
                  <a:lnTo>
                    <a:pt x="5527" y="2588"/>
                  </a:lnTo>
                  <a:lnTo>
                    <a:pt x="5524" y="2624"/>
                  </a:lnTo>
                  <a:lnTo>
                    <a:pt x="5521" y="2669"/>
                  </a:lnTo>
                  <a:lnTo>
                    <a:pt x="5516" y="2719"/>
                  </a:lnTo>
                  <a:lnTo>
                    <a:pt x="5510" y="2778"/>
                  </a:lnTo>
                  <a:lnTo>
                    <a:pt x="5503" y="2842"/>
                  </a:lnTo>
                  <a:lnTo>
                    <a:pt x="5493" y="2913"/>
                  </a:lnTo>
                  <a:lnTo>
                    <a:pt x="5482" y="2989"/>
                  </a:lnTo>
                  <a:lnTo>
                    <a:pt x="5469" y="3072"/>
                  </a:lnTo>
                  <a:lnTo>
                    <a:pt x="5453" y="3161"/>
                  </a:lnTo>
                  <a:lnTo>
                    <a:pt x="5435" y="3254"/>
                  </a:lnTo>
                  <a:lnTo>
                    <a:pt x="5414" y="3352"/>
                  </a:lnTo>
                  <a:lnTo>
                    <a:pt x="5391" y="3455"/>
                  </a:lnTo>
                  <a:lnTo>
                    <a:pt x="5365" y="3563"/>
                  </a:lnTo>
                  <a:lnTo>
                    <a:pt x="5336" y="3674"/>
                  </a:lnTo>
                  <a:lnTo>
                    <a:pt x="5304" y="3790"/>
                  </a:lnTo>
                  <a:lnTo>
                    <a:pt x="5268" y="3909"/>
                  </a:lnTo>
                  <a:lnTo>
                    <a:pt x="5227" y="4031"/>
                  </a:lnTo>
                  <a:lnTo>
                    <a:pt x="5184" y="4156"/>
                  </a:lnTo>
                  <a:lnTo>
                    <a:pt x="5137" y="4285"/>
                  </a:lnTo>
                  <a:lnTo>
                    <a:pt x="5086" y="4415"/>
                  </a:lnTo>
                  <a:lnTo>
                    <a:pt x="5029" y="4548"/>
                  </a:lnTo>
                  <a:lnTo>
                    <a:pt x="4969" y="4683"/>
                  </a:lnTo>
                  <a:lnTo>
                    <a:pt x="4904" y="4819"/>
                  </a:lnTo>
                  <a:lnTo>
                    <a:pt x="4834" y="4958"/>
                  </a:lnTo>
                  <a:lnTo>
                    <a:pt x="4759" y="5097"/>
                  </a:lnTo>
                  <a:lnTo>
                    <a:pt x="4680" y="5237"/>
                  </a:lnTo>
                  <a:lnTo>
                    <a:pt x="4594" y="5378"/>
                  </a:lnTo>
                  <a:lnTo>
                    <a:pt x="4503" y="5519"/>
                  </a:lnTo>
                  <a:lnTo>
                    <a:pt x="4403" y="5195"/>
                  </a:lnTo>
                  <a:lnTo>
                    <a:pt x="4293" y="4878"/>
                  </a:lnTo>
                  <a:lnTo>
                    <a:pt x="4173" y="4571"/>
                  </a:lnTo>
                  <a:lnTo>
                    <a:pt x="4043" y="4274"/>
                  </a:lnTo>
                  <a:lnTo>
                    <a:pt x="3906" y="3985"/>
                  </a:lnTo>
                  <a:lnTo>
                    <a:pt x="3762" y="3705"/>
                  </a:lnTo>
                  <a:lnTo>
                    <a:pt x="3611" y="3435"/>
                  </a:lnTo>
                  <a:lnTo>
                    <a:pt x="3455" y="3175"/>
                  </a:lnTo>
                  <a:lnTo>
                    <a:pt x="3295" y="2924"/>
                  </a:lnTo>
                  <a:lnTo>
                    <a:pt x="3131" y="2683"/>
                  </a:lnTo>
                  <a:lnTo>
                    <a:pt x="2965" y="2451"/>
                  </a:lnTo>
                  <a:lnTo>
                    <a:pt x="2797" y="2229"/>
                  </a:lnTo>
                  <a:lnTo>
                    <a:pt x="2628" y="2018"/>
                  </a:lnTo>
                  <a:lnTo>
                    <a:pt x="2459" y="1816"/>
                  </a:lnTo>
                  <a:lnTo>
                    <a:pt x="2292" y="1624"/>
                  </a:lnTo>
                  <a:lnTo>
                    <a:pt x="2126" y="1443"/>
                  </a:lnTo>
                  <a:lnTo>
                    <a:pt x="1964" y="1271"/>
                  </a:lnTo>
                  <a:lnTo>
                    <a:pt x="1805" y="1110"/>
                  </a:lnTo>
                  <a:lnTo>
                    <a:pt x="1651" y="960"/>
                  </a:lnTo>
                  <a:lnTo>
                    <a:pt x="1503" y="820"/>
                  </a:lnTo>
                  <a:lnTo>
                    <a:pt x="1361" y="691"/>
                  </a:lnTo>
                  <a:lnTo>
                    <a:pt x="1227" y="573"/>
                  </a:lnTo>
                  <a:lnTo>
                    <a:pt x="1102" y="465"/>
                  </a:lnTo>
                  <a:lnTo>
                    <a:pt x="985" y="368"/>
                  </a:lnTo>
                  <a:lnTo>
                    <a:pt x="879" y="283"/>
                  </a:lnTo>
                  <a:lnTo>
                    <a:pt x="784" y="209"/>
                  </a:lnTo>
                  <a:lnTo>
                    <a:pt x="701" y="145"/>
                  </a:lnTo>
                  <a:lnTo>
                    <a:pt x="631" y="93"/>
                  </a:lnTo>
                  <a:lnTo>
                    <a:pt x="534" y="23"/>
                  </a:lnTo>
                  <a:lnTo>
                    <a:pt x="501" y="0"/>
                  </a:lnTo>
                  <a:lnTo>
                    <a:pt x="630" y="507"/>
                  </a:lnTo>
                  <a:lnTo>
                    <a:pt x="742" y="995"/>
                  </a:lnTo>
                  <a:lnTo>
                    <a:pt x="834" y="1464"/>
                  </a:lnTo>
                  <a:lnTo>
                    <a:pt x="910" y="1916"/>
                  </a:lnTo>
                  <a:lnTo>
                    <a:pt x="968" y="2351"/>
                  </a:lnTo>
                  <a:lnTo>
                    <a:pt x="1011" y="2771"/>
                  </a:lnTo>
                  <a:lnTo>
                    <a:pt x="1040" y="3176"/>
                  </a:lnTo>
                  <a:lnTo>
                    <a:pt x="1056" y="3567"/>
                  </a:lnTo>
                  <a:lnTo>
                    <a:pt x="1059" y="3946"/>
                  </a:lnTo>
                  <a:lnTo>
                    <a:pt x="1050" y="4313"/>
                  </a:lnTo>
                  <a:lnTo>
                    <a:pt x="1030" y="4671"/>
                  </a:lnTo>
                  <a:lnTo>
                    <a:pt x="1001" y="5018"/>
                  </a:lnTo>
                  <a:lnTo>
                    <a:pt x="965" y="5358"/>
                  </a:lnTo>
                  <a:lnTo>
                    <a:pt x="920" y="5690"/>
                  </a:lnTo>
                  <a:lnTo>
                    <a:pt x="870" y="6014"/>
                  </a:lnTo>
                  <a:lnTo>
                    <a:pt x="813" y="6335"/>
                  </a:lnTo>
                  <a:lnTo>
                    <a:pt x="753" y="6650"/>
                  </a:lnTo>
                  <a:lnTo>
                    <a:pt x="689" y="6962"/>
                  </a:lnTo>
                  <a:lnTo>
                    <a:pt x="622" y="7271"/>
                  </a:lnTo>
                  <a:lnTo>
                    <a:pt x="554" y="7580"/>
                  </a:lnTo>
                  <a:lnTo>
                    <a:pt x="486" y="7888"/>
                  </a:lnTo>
                  <a:lnTo>
                    <a:pt x="418" y="8197"/>
                  </a:lnTo>
                  <a:lnTo>
                    <a:pt x="353" y="8507"/>
                  </a:lnTo>
                  <a:lnTo>
                    <a:pt x="290" y="8820"/>
                  </a:lnTo>
                  <a:lnTo>
                    <a:pt x="229" y="9137"/>
                  </a:lnTo>
                  <a:lnTo>
                    <a:pt x="175" y="9457"/>
                  </a:lnTo>
                  <a:lnTo>
                    <a:pt x="126" y="9784"/>
                  </a:lnTo>
                  <a:lnTo>
                    <a:pt x="83" y="10118"/>
                  </a:lnTo>
                  <a:lnTo>
                    <a:pt x="48" y="10460"/>
                  </a:lnTo>
                  <a:lnTo>
                    <a:pt x="22" y="10809"/>
                  </a:lnTo>
                  <a:lnTo>
                    <a:pt x="6" y="11169"/>
                  </a:lnTo>
                  <a:lnTo>
                    <a:pt x="0" y="11540"/>
                  </a:lnTo>
                  <a:lnTo>
                    <a:pt x="6" y="11760"/>
                  </a:lnTo>
                  <a:lnTo>
                    <a:pt x="23" y="11980"/>
                  </a:lnTo>
                  <a:lnTo>
                    <a:pt x="51" y="12198"/>
                  </a:lnTo>
                  <a:lnTo>
                    <a:pt x="91" y="12414"/>
                  </a:lnTo>
                  <a:lnTo>
                    <a:pt x="142" y="12627"/>
                  </a:lnTo>
                  <a:lnTo>
                    <a:pt x="203" y="12838"/>
                  </a:lnTo>
                  <a:lnTo>
                    <a:pt x="275" y="13047"/>
                  </a:lnTo>
                  <a:lnTo>
                    <a:pt x="358" y="13251"/>
                  </a:lnTo>
                  <a:lnTo>
                    <a:pt x="450" y="13452"/>
                  </a:lnTo>
                  <a:lnTo>
                    <a:pt x="554" y="13649"/>
                  </a:lnTo>
                  <a:lnTo>
                    <a:pt x="666" y="13841"/>
                  </a:lnTo>
                  <a:lnTo>
                    <a:pt x="789" y="14028"/>
                  </a:lnTo>
                  <a:lnTo>
                    <a:pt x="922" y="14210"/>
                  </a:lnTo>
                  <a:lnTo>
                    <a:pt x="1063" y="14386"/>
                  </a:lnTo>
                  <a:lnTo>
                    <a:pt x="1213" y="14556"/>
                  </a:lnTo>
                  <a:lnTo>
                    <a:pt x="1374" y="14719"/>
                  </a:lnTo>
                  <a:lnTo>
                    <a:pt x="1542" y="14876"/>
                  </a:lnTo>
                  <a:lnTo>
                    <a:pt x="1720" y="15025"/>
                  </a:lnTo>
                  <a:lnTo>
                    <a:pt x="1906" y="15167"/>
                  </a:lnTo>
                  <a:lnTo>
                    <a:pt x="2101" y="15300"/>
                  </a:lnTo>
                  <a:lnTo>
                    <a:pt x="2303" y="15425"/>
                  </a:lnTo>
                  <a:lnTo>
                    <a:pt x="2514" y="15541"/>
                  </a:lnTo>
                  <a:lnTo>
                    <a:pt x="2733" y="15648"/>
                  </a:lnTo>
                  <a:lnTo>
                    <a:pt x="2960" y="15746"/>
                  </a:lnTo>
                  <a:lnTo>
                    <a:pt x="3193" y="15834"/>
                  </a:lnTo>
                  <a:lnTo>
                    <a:pt x="3434" y="15910"/>
                  </a:lnTo>
                  <a:lnTo>
                    <a:pt x="3683" y="15977"/>
                  </a:lnTo>
                  <a:lnTo>
                    <a:pt x="3939" y="16031"/>
                  </a:lnTo>
                  <a:lnTo>
                    <a:pt x="4201" y="16075"/>
                  </a:lnTo>
                  <a:lnTo>
                    <a:pt x="4469" y="16107"/>
                  </a:lnTo>
                  <a:lnTo>
                    <a:pt x="4745" y="16126"/>
                  </a:lnTo>
                  <a:lnTo>
                    <a:pt x="5027" y="16132"/>
                  </a:lnTo>
                  <a:lnTo>
                    <a:pt x="5439" y="16127"/>
                  </a:lnTo>
                  <a:lnTo>
                    <a:pt x="5830" y="16113"/>
                  </a:lnTo>
                  <a:lnTo>
                    <a:pt x="6201" y="16090"/>
                  </a:lnTo>
                  <a:lnTo>
                    <a:pt x="6551" y="16057"/>
                  </a:lnTo>
                  <a:lnTo>
                    <a:pt x="6884" y="16016"/>
                  </a:lnTo>
                  <a:lnTo>
                    <a:pt x="7198" y="15967"/>
                  </a:lnTo>
                  <a:lnTo>
                    <a:pt x="7494" y="15909"/>
                  </a:lnTo>
                  <a:lnTo>
                    <a:pt x="7774" y="15844"/>
                  </a:lnTo>
                  <a:lnTo>
                    <a:pt x="8036" y="15771"/>
                  </a:lnTo>
                  <a:lnTo>
                    <a:pt x="8282" y="15690"/>
                  </a:lnTo>
                  <a:lnTo>
                    <a:pt x="8514" y="15603"/>
                  </a:lnTo>
                  <a:lnTo>
                    <a:pt x="8731" y="15509"/>
                  </a:lnTo>
                  <a:lnTo>
                    <a:pt x="8933" y="15408"/>
                  </a:lnTo>
                  <a:lnTo>
                    <a:pt x="9121" y="15301"/>
                  </a:lnTo>
                  <a:lnTo>
                    <a:pt x="9297" y="15188"/>
                  </a:lnTo>
                  <a:lnTo>
                    <a:pt x="9461" y="15069"/>
                  </a:lnTo>
                  <a:lnTo>
                    <a:pt x="9611" y="14945"/>
                  </a:lnTo>
                  <a:lnTo>
                    <a:pt x="9752" y="14816"/>
                  </a:lnTo>
                  <a:lnTo>
                    <a:pt x="9882" y="14681"/>
                  </a:lnTo>
                  <a:lnTo>
                    <a:pt x="10001" y="14543"/>
                  </a:lnTo>
                  <a:lnTo>
                    <a:pt x="10111" y="14399"/>
                  </a:lnTo>
                  <a:lnTo>
                    <a:pt x="10213" y="14252"/>
                  </a:lnTo>
                  <a:lnTo>
                    <a:pt x="10305" y="14100"/>
                  </a:lnTo>
                  <a:lnTo>
                    <a:pt x="10390" y="13945"/>
                  </a:lnTo>
                  <a:lnTo>
                    <a:pt x="10468" y="13787"/>
                  </a:lnTo>
                  <a:lnTo>
                    <a:pt x="10540" y="13625"/>
                  </a:lnTo>
                  <a:lnTo>
                    <a:pt x="10606" y="13461"/>
                  </a:lnTo>
                  <a:lnTo>
                    <a:pt x="10666" y="13294"/>
                  </a:lnTo>
                  <a:lnTo>
                    <a:pt x="10721" y="13124"/>
                  </a:lnTo>
                  <a:lnTo>
                    <a:pt x="10772" y="12954"/>
                  </a:lnTo>
                  <a:lnTo>
                    <a:pt x="10821" y="12781"/>
                  </a:lnTo>
                  <a:lnTo>
                    <a:pt x="10866" y="12606"/>
                  </a:lnTo>
                  <a:lnTo>
                    <a:pt x="10921" y="12364"/>
                  </a:lnTo>
                  <a:lnTo>
                    <a:pt x="10967" y="12119"/>
                  </a:lnTo>
                  <a:lnTo>
                    <a:pt x="11004" y="11873"/>
                  </a:lnTo>
                  <a:lnTo>
                    <a:pt x="11032" y="11624"/>
                  </a:lnTo>
                  <a:lnTo>
                    <a:pt x="11051" y="11374"/>
                  </a:lnTo>
                  <a:lnTo>
                    <a:pt x="11061" y="11122"/>
                  </a:lnTo>
                  <a:lnTo>
                    <a:pt x="11062" y="10868"/>
                  </a:lnTo>
                  <a:lnTo>
                    <a:pt x="11055" y="10614"/>
                  </a:lnTo>
                  <a:lnTo>
                    <a:pt x="11039" y="10358"/>
                  </a:lnTo>
                  <a:lnTo>
                    <a:pt x="11015" y="10101"/>
                  </a:lnTo>
                  <a:lnTo>
                    <a:pt x="10982" y="9843"/>
                  </a:lnTo>
                  <a:lnTo>
                    <a:pt x="10941" y="9584"/>
                  </a:lnTo>
                  <a:lnTo>
                    <a:pt x="10892" y="9325"/>
                  </a:lnTo>
                  <a:lnTo>
                    <a:pt x="10835" y="9066"/>
                  </a:lnTo>
                  <a:lnTo>
                    <a:pt x="10769" y="8807"/>
                  </a:lnTo>
                  <a:lnTo>
                    <a:pt x="10696" y="8548"/>
                  </a:lnTo>
                  <a:lnTo>
                    <a:pt x="10616" y="8289"/>
                  </a:lnTo>
                  <a:lnTo>
                    <a:pt x="10527" y="8031"/>
                  </a:lnTo>
                  <a:lnTo>
                    <a:pt x="10432" y="7772"/>
                  </a:lnTo>
                  <a:lnTo>
                    <a:pt x="10328" y="7514"/>
                  </a:lnTo>
                  <a:lnTo>
                    <a:pt x="10218" y="7257"/>
                  </a:lnTo>
                  <a:lnTo>
                    <a:pt x="10100" y="7002"/>
                  </a:lnTo>
                  <a:lnTo>
                    <a:pt x="9974" y="6747"/>
                  </a:lnTo>
                  <a:lnTo>
                    <a:pt x="9843" y="6494"/>
                  </a:lnTo>
                  <a:lnTo>
                    <a:pt x="9704" y="6243"/>
                  </a:lnTo>
                  <a:lnTo>
                    <a:pt x="9558" y="5993"/>
                  </a:lnTo>
                  <a:lnTo>
                    <a:pt x="9405" y="5745"/>
                  </a:lnTo>
                  <a:lnTo>
                    <a:pt x="9246" y="5498"/>
                  </a:lnTo>
                  <a:lnTo>
                    <a:pt x="9081" y="5254"/>
                  </a:lnTo>
                  <a:lnTo>
                    <a:pt x="8909" y="5013"/>
                  </a:lnTo>
                  <a:lnTo>
                    <a:pt x="8730" y="4774"/>
                  </a:lnTo>
                  <a:lnTo>
                    <a:pt x="8546" y="45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58" name="iṣļídè">
              <a:extLst>
                <a:ext uri="{FF2B5EF4-FFF2-40B4-BE49-F238E27FC236}">
                  <a16:creationId xmlns:a16="http://schemas.microsoft.com/office/drawing/2014/main" id="{FC4EA6FB-A4AF-448E-8A71-CC9FDA5FE7D7}"/>
                </a:ext>
              </a:extLst>
            </p:cNvPr>
            <p:cNvSpPr/>
            <p:nvPr/>
          </p:nvSpPr>
          <p:spPr bwMode="auto">
            <a:xfrm>
              <a:off x="8011140" y="2515955"/>
              <a:ext cx="153880" cy="124380"/>
            </a:xfrm>
            <a:custGeom>
              <a:avLst/>
              <a:gdLst>
                <a:gd name="T0" fmla="*/ 6161 w 7135"/>
                <a:gd name="T1" fmla="*/ 2475 h 5775"/>
                <a:gd name="T2" fmla="*/ 5762 w 7135"/>
                <a:gd name="T3" fmla="*/ 2876 h 5775"/>
                <a:gd name="T4" fmla="*/ 5263 w 7135"/>
                <a:gd name="T5" fmla="*/ 3283 h 5775"/>
                <a:gd name="T6" fmla="*/ 4610 w 7135"/>
                <a:gd name="T7" fmla="*/ 3704 h 5775"/>
                <a:gd name="T8" fmla="*/ 4041 w 7135"/>
                <a:gd name="T9" fmla="*/ 3621 h 5775"/>
                <a:gd name="T10" fmla="*/ 3918 w 7135"/>
                <a:gd name="T11" fmla="*/ 3141 h 5775"/>
                <a:gd name="T12" fmla="*/ 3836 w 7135"/>
                <a:gd name="T13" fmla="*/ 2666 h 5775"/>
                <a:gd name="T14" fmla="*/ 3788 w 7135"/>
                <a:gd name="T15" fmla="*/ 2122 h 5775"/>
                <a:gd name="T16" fmla="*/ 2970 w 7135"/>
                <a:gd name="T17" fmla="*/ 2186 h 5775"/>
                <a:gd name="T18" fmla="*/ 2646 w 7135"/>
                <a:gd name="T19" fmla="*/ 2694 h 5775"/>
                <a:gd name="T20" fmla="*/ 2288 w 7135"/>
                <a:gd name="T21" fmla="*/ 3226 h 5775"/>
                <a:gd name="T22" fmla="*/ 1744 w 7135"/>
                <a:gd name="T23" fmla="*/ 2191 h 5775"/>
                <a:gd name="T24" fmla="*/ 1302 w 7135"/>
                <a:gd name="T25" fmla="*/ 1101 h 5775"/>
                <a:gd name="T26" fmla="*/ 523 w 7135"/>
                <a:gd name="T27" fmla="*/ 1126 h 5775"/>
                <a:gd name="T28" fmla="*/ 322 w 7135"/>
                <a:gd name="T29" fmla="*/ 1803 h 5775"/>
                <a:gd name="T30" fmla="*/ 155 w 7135"/>
                <a:gd name="T31" fmla="*/ 2614 h 5775"/>
                <a:gd name="T32" fmla="*/ 42 w 7135"/>
                <a:gd name="T33" fmla="*/ 3654 h 5775"/>
                <a:gd name="T34" fmla="*/ 0 w 7135"/>
                <a:gd name="T35" fmla="*/ 5018 h 5775"/>
                <a:gd name="T36" fmla="*/ 15 w 7135"/>
                <a:gd name="T37" fmla="*/ 5105 h 5775"/>
                <a:gd name="T38" fmla="*/ 57 w 7135"/>
                <a:gd name="T39" fmla="*/ 5179 h 5775"/>
                <a:gd name="T40" fmla="*/ 120 w 7135"/>
                <a:gd name="T41" fmla="*/ 5234 h 5775"/>
                <a:gd name="T42" fmla="*/ 201 w 7135"/>
                <a:gd name="T43" fmla="*/ 5265 h 5775"/>
                <a:gd name="T44" fmla="*/ 289 w 7135"/>
                <a:gd name="T45" fmla="*/ 5267 h 5775"/>
                <a:gd name="T46" fmla="*/ 370 w 7135"/>
                <a:gd name="T47" fmla="*/ 5240 h 5775"/>
                <a:gd name="T48" fmla="*/ 437 w 7135"/>
                <a:gd name="T49" fmla="*/ 5188 h 5775"/>
                <a:gd name="T50" fmla="*/ 482 w 7135"/>
                <a:gd name="T51" fmla="*/ 5117 h 5775"/>
                <a:gd name="T52" fmla="*/ 502 w 7135"/>
                <a:gd name="T53" fmla="*/ 5032 h 5775"/>
                <a:gd name="T54" fmla="*/ 520 w 7135"/>
                <a:gd name="T55" fmla="*/ 4087 h 5775"/>
                <a:gd name="T56" fmla="*/ 584 w 7135"/>
                <a:gd name="T57" fmla="*/ 3203 h 5775"/>
                <a:gd name="T58" fmla="*/ 685 w 7135"/>
                <a:gd name="T59" fmla="*/ 2490 h 5775"/>
                <a:gd name="T60" fmla="*/ 816 w 7135"/>
                <a:gd name="T61" fmla="*/ 1897 h 5775"/>
                <a:gd name="T62" fmla="*/ 1026 w 7135"/>
                <a:gd name="T63" fmla="*/ 1774 h 5775"/>
                <a:gd name="T64" fmla="*/ 1436 w 7135"/>
                <a:gd name="T65" fmla="*/ 2753 h 5775"/>
                <a:gd name="T66" fmla="*/ 1949 w 7135"/>
                <a:gd name="T67" fmla="*/ 3914 h 5775"/>
                <a:gd name="T68" fmla="*/ 2728 w 7135"/>
                <a:gd name="T69" fmla="*/ 3474 h 5775"/>
                <a:gd name="T70" fmla="*/ 3116 w 7135"/>
                <a:gd name="T71" fmla="*/ 2895 h 5775"/>
                <a:gd name="T72" fmla="*/ 3343 w 7135"/>
                <a:gd name="T73" fmla="*/ 2782 h 5775"/>
                <a:gd name="T74" fmla="*/ 3419 w 7135"/>
                <a:gd name="T75" fmla="*/ 3221 h 5775"/>
                <a:gd name="T76" fmla="*/ 3595 w 7135"/>
                <a:gd name="T77" fmla="*/ 3883 h 5775"/>
                <a:gd name="T78" fmla="*/ 4108 w 7135"/>
                <a:gd name="T79" fmla="*/ 4532 h 5775"/>
                <a:gd name="T80" fmla="*/ 4902 w 7135"/>
                <a:gd name="T81" fmla="*/ 4116 h 5775"/>
                <a:gd name="T82" fmla="*/ 5527 w 7135"/>
                <a:gd name="T83" fmla="*/ 3714 h 5775"/>
                <a:gd name="T84" fmla="*/ 6017 w 7135"/>
                <a:gd name="T85" fmla="*/ 3324 h 5775"/>
                <a:gd name="T86" fmla="*/ 6411 w 7135"/>
                <a:gd name="T87" fmla="*/ 2943 h 5775"/>
                <a:gd name="T88" fmla="*/ 6624 w 7135"/>
                <a:gd name="T89" fmla="*/ 2997 h 5775"/>
                <a:gd name="T90" fmla="*/ 6623 w 7135"/>
                <a:gd name="T91" fmla="*/ 3626 h 5775"/>
                <a:gd name="T92" fmla="*/ 6567 w 7135"/>
                <a:gd name="T93" fmla="*/ 4245 h 5775"/>
                <a:gd name="T94" fmla="*/ 6457 w 7135"/>
                <a:gd name="T95" fmla="*/ 4831 h 5775"/>
                <a:gd name="T96" fmla="*/ 6297 w 7135"/>
                <a:gd name="T97" fmla="*/ 5360 h 5775"/>
                <a:gd name="T98" fmla="*/ 6251 w 7135"/>
                <a:gd name="T99" fmla="*/ 5502 h 5775"/>
                <a:gd name="T100" fmla="*/ 6259 w 7135"/>
                <a:gd name="T101" fmla="*/ 5587 h 5775"/>
                <a:gd name="T102" fmla="*/ 6295 w 7135"/>
                <a:gd name="T103" fmla="*/ 5664 h 5775"/>
                <a:gd name="T104" fmla="*/ 6353 w 7135"/>
                <a:gd name="T105" fmla="*/ 5726 h 5775"/>
                <a:gd name="T106" fmla="*/ 6431 w 7135"/>
                <a:gd name="T107" fmla="*/ 5765 h 5775"/>
                <a:gd name="T108" fmla="*/ 6522 w 7135"/>
                <a:gd name="T109" fmla="*/ 5775 h 5775"/>
                <a:gd name="T110" fmla="*/ 6641 w 7135"/>
                <a:gd name="T111" fmla="*/ 5733 h 5775"/>
                <a:gd name="T112" fmla="*/ 6728 w 7135"/>
                <a:gd name="T113" fmla="*/ 5635 h 5775"/>
                <a:gd name="T114" fmla="*/ 6926 w 7135"/>
                <a:gd name="T115" fmla="*/ 5033 h 5775"/>
                <a:gd name="T116" fmla="*/ 7072 w 7135"/>
                <a:gd name="T117" fmla="*/ 4273 h 5775"/>
                <a:gd name="T118" fmla="*/ 7134 w 7135"/>
                <a:gd name="T119" fmla="*/ 3469 h 5775"/>
                <a:gd name="T120" fmla="*/ 7108 w 7135"/>
                <a:gd name="T121" fmla="*/ 2658 h 5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135" h="5775">
                  <a:moveTo>
                    <a:pt x="6940" y="1575"/>
                  </a:moveTo>
                  <a:lnTo>
                    <a:pt x="6513" y="2072"/>
                  </a:lnTo>
                  <a:lnTo>
                    <a:pt x="6413" y="2188"/>
                  </a:lnTo>
                  <a:lnTo>
                    <a:pt x="6314" y="2303"/>
                  </a:lnTo>
                  <a:lnTo>
                    <a:pt x="6263" y="2361"/>
                  </a:lnTo>
                  <a:lnTo>
                    <a:pt x="6212" y="2418"/>
                  </a:lnTo>
                  <a:lnTo>
                    <a:pt x="6161" y="2475"/>
                  </a:lnTo>
                  <a:lnTo>
                    <a:pt x="6108" y="2532"/>
                  </a:lnTo>
                  <a:lnTo>
                    <a:pt x="6053" y="2590"/>
                  </a:lnTo>
                  <a:lnTo>
                    <a:pt x="5999" y="2647"/>
                  </a:lnTo>
                  <a:lnTo>
                    <a:pt x="5942" y="2704"/>
                  </a:lnTo>
                  <a:lnTo>
                    <a:pt x="5883" y="2761"/>
                  </a:lnTo>
                  <a:lnTo>
                    <a:pt x="5824" y="2818"/>
                  </a:lnTo>
                  <a:lnTo>
                    <a:pt x="5762" y="2876"/>
                  </a:lnTo>
                  <a:lnTo>
                    <a:pt x="5698" y="2933"/>
                  </a:lnTo>
                  <a:lnTo>
                    <a:pt x="5632" y="2992"/>
                  </a:lnTo>
                  <a:lnTo>
                    <a:pt x="5564" y="3049"/>
                  </a:lnTo>
                  <a:lnTo>
                    <a:pt x="5492" y="3108"/>
                  </a:lnTo>
                  <a:lnTo>
                    <a:pt x="5419" y="3166"/>
                  </a:lnTo>
                  <a:lnTo>
                    <a:pt x="5343" y="3225"/>
                  </a:lnTo>
                  <a:lnTo>
                    <a:pt x="5263" y="3283"/>
                  </a:lnTo>
                  <a:lnTo>
                    <a:pt x="5181" y="3343"/>
                  </a:lnTo>
                  <a:lnTo>
                    <a:pt x="5094" y="3402"/>
                  </a:lnTo>
                  <a:lnTo>
                    <a:pt x="5005" y="3462"/>
                  </a:lnTo>
                  <a:lnTo>
                    <a:pt x="4912" y="3521"/>
                  </a:lnTo>
                  <a:lnTo>
                    <a:pt x="4815" y="3582"/>
                  </a:lnTo>
                  <a:lnTo>
                    <a:pt x="4714" y="3642"/>
                  </a:lnTo>
                  <a:lnTo>
                    <a:pt x="4610" y="3704"/>
                  </a:lnTo>
                  <a:lnTo>
                    <a:pt x="4500" y="3765"/>
                  </a:lnTo>
                  <a:lnTo>
                    <a:pt x="4387" y="3828"/>
                  </a:lnTo>
                  <a:lnTo>
                    <a:pt x="4268" y="3890"/>
                  </a:lnTo>
                  <a:lnTo>
                    <a:pt x="4145" y="3953"/>
                  </a:lnTo>
                  <a:lnTo>
                    <a:pt x="4110" y="3844"/>
                  </a:lnTo>
                  <a:lnTo>
                    <a:pt x="4075" y="3734"/>
                  </a:lnTo>
                  <a:lnTo>
                    <a:pt x="4041" y="3621"/>
                  </a:lnTo>
                  <a:lnTo>
                    <a:pt x="4008" y="3506"/>
                  </a:lnTo>
                  <a:lnTo>
                    <a:pt x="3991" y="3448"/>
                  </a:lnTo>
                  <a:lnTo>
                    <a:pt x="3976" y="3388"/>
                  </a:lnTo>
                  <a:lnTo>
                    <a:pt x="3961" y="3328"/>
                  </a:lnTo>
                  <a:lnTo>
                    <a:pt x="3946" y="3266"/>
                  </a:lnTo>
                  <a:lnTo>
                    <a:pt x="3931" y="3204"/>
                  </a:lnTo>
                  <a:lnTo>
                    <a:pt x="3918" y="3141"/>
                  </a:lnTo>
                  <a:lnTo>
                    <a:pt x="3904" y="3077"/>
                  </a:lnTo>
                  <a:lnTo>
                    <a:pt x="3891" y="3011"/>
                  </a:lnTo>
                  <a:lnTo>
                    <a:pt x="3879" y="2944"/>
                  </a:lnTo>
                  <a:lnTo>
                    <a:pt x="3867" y="2877"/>
                  </a:lnTo>
                  <a:lnTo>
                    <a:pt x="3856" y="2807"/>
                  </a:lnTo>
                  <a:lnTo>
                    <a:pt x="3846" y="2738"/>
                  </a:lnTo>
                  <a:lnTo>
                    <a:pt x="3836" y="2666"/>
                  </a:lnTo>
                  <a:lnTo>
                    <a:pt x="3827" y="2593"/>
                  </a:lnTo>
                  <a:lnTo>
                    <a:pt x="3819" y="2518"/>
                  </a:lnTo>
                  <a:lnTo>
                    <a:pt x="3811" y="2442"/>
                  </a:lnTo>
                  <a:lnTo>
                    <a:pt x="3803" y="2365"/>
                  </a:lnTo>
                  <a:lnTo>
                    <a:pt x="3797" y="2285"/>
                  </a:lnTo>
                  <a:lnTo>
                    <a:pt x="3792" y="2204"/>
                  </a:lnTo>
                  <a:lnTo>
                    <a:pt x="3788" y="2122"/>
                  </a:lnTo>
                  <a:lnTo>
                    <a:pt x="3785" y="2038"/>
                  </a:lnTo>
                  <a:lnTo>
                    <a:pt x="3782" y="1951"/>
                  </a:lnTo>
                  <a:lnTo>
                    <a:pt x="3781" y="1864"/>
                  </a:lnTo>
                  <a:lnTo>
                    <a:pt x="3780" y="1774"/>
                  </a:lnTo>
                  <a:lnTo>
                    <a:pt x="3780" y="912"/>
                  </a:lnTo>
                  <a:lnTo>
                    <a:pt x="3017" y="2111"/>
                  </a:lnTo>
                  <a:lnTo>
                    <a:pt x="2970" y="2186"/>
                  </a:lnTo>
                  <a:lnTo>
                    <a:pt x="2923" y="2261"/>
                  </a:lnTo>
                  <a:lnTo>
                    <a:pt x="2877" y="2334"/>
                  </a:lnTo>
                  <a:lnTo>
                    <a:pt x="2830" y="2407"/>
                  </a:lnTo>
                  <a:lnTo>
                    <a:pt x="2785" y="2479"/>
                  </a:lnTo>
                  <a:lnTo>
                    <a:pt x="2739" y="2550"/>
                  </a:lnTo>
                  <a:lnTo>
                    <a:pt x="2693" y="2622"/>
                  </a:lnTo>
                  <a:lnTo>
                    <a:pt x="2646" y="2694"/>
                  </a:lnTo>
                  <a:lnTo>
                    <a:pt x="2599" y="2766"/>
                  </a:lnTo>
                  <a:lnTo>
                    <a:pt x="2551" y="2840"/>
                  </a:lnTo>
                  <a:lnTo>
                    <a:pt x="2502" y="2913"/>
                  </a:lnTo>
                  <a:lnTo>
                    <a:pt x="2450" y="2989"/>
                  </a:lnTo>
                  <a:lnTo>
                    <a:pt x="2398" y="3066"/>
                  </a:lnTo>
                  <a:lnTo>
                    <a:pt x="2344" y="3145"/>
                  </a:lnTo>
                  <a:lnTo>
                    <a:pt x="2288" y="3226"/>
                  </a:lnTo>
                  <a:lnTo>
                    <a:pt x="2229" y="3308"/>
                  </a:lnTo>
                  <a:lnTo>
                    <a:pt x="2141" y="3108"/>
                  </a:lnTo>
                  <a:lnTo>
                    <a:pt x="2055" y="2913"/>
                  </a:lnTo>
                  <a:lnTo>
                    <a:pt x="1973" y="2724"/>
                  </a:lnTo>
                  <a:lnTo>
                    <a:pt x="1893" y="2541"/>
                  </a:lnTo>
                  <a:lnTo>
                    <a:pt x="1817" y="2364"/>
                  </a:lnTo>
                  <a:lnTo>
                    <a:pt x="1744" y="2191"/>
                  </a:lnTo>
                  <a:lnTo>
                    <a:pt x="1672" y="2023"/>
                  </a:lnTo>
                  <a:lnTo>
                    <a:pt x="1605" y="1861"/>
                  </a:lnTo>
                  <a:lnTo>
                    <a:pt x="1540" y="1701"/>
                  </a:lnTo>
                  <a:lnTo>
                    <a:pt x="1476" y="1546"/>
                  </a:lnTo>
                  <a:lnTo>
                    <a:pt x="1416" y="1395"/>
                  </a:lnTo>
                  <a:lnTo>
                    <a:pt x="1358" y="1247"/>
                  </a:lnTo>
                  <a:lnTo>
                    <a:pt x="1302" y="1101"/>
                  </a:lnTo>
                  <a:lnTo>
                    <a:pt x="1249" y="959"/>
                  </a:lnTo>
                  <a:lnTo>
                    <a:pt x="1197" y="819"/>
                  </a:lnTo>
                  <a:lnTo>
                    <a:pt x="1148" y="681"/>
                  </a:lnTo>
                  <a:lnTo>
                    <a:pt x="907" y="0"/>
                  </a:lnTo>
                  <a:lnTo>
                    <a:pt x="646" y="762"/>
                  </a:lnTo>
                  <a:lnTo>
                    <a:pt x="584" y="943"/>
                  </a:lnTo>
                  <a:lnTo>
                    <a:pt x="523" y="1126"/>
                  </a:lnTo>
                  <a:lnTo>
                    <a:pt x="493" y="1217"/>
                  </a:lnTo>
                  <a:lnTo>
                    <a:pt x="463" y="1311"/>
                  </a:lnTo>
                  <a:lnTo>
                    <a:pt x="434" y="1406"/>
                  </a:lnTo>
                  <a:lnTo>
                    <a:pt x="405" y="1502"/>
                  </a:lnTo>
                  <a:lnTo>
                    <a:pt x="377" y="1599"/>
                  </a:lnTo>
                  <a:lnTo>
                    <a:pt x="348" y="1700"/>
                  </a:lnTo>
                  <a:lnTo>
                    <a:pt x="322" y="1803"/>
                  </a:lnTo>
                  <a:lnTo>
                    <a:pt x="295" y="1908"/>
                  </a:lnTo>
                  <a:lnTo>
                    <a:pt x="270" y="2017"/>
                  </a:lnTo>
                  <a:lnTo>
                    <a:pt x="245" y="2129"/>
                  </a:lnTo>
                  <a:lnTo>
                    <a:pt x="221" y="2244"/>
                  </a:lnTo>
                  <a:lnTo>
                    <a:pt x="199" y="2363"/>
                  </a:lnTo>
                  <a:lnTo>
                    <a:pt x="176" y="2487"/>
                  </a:lnTo>
                  <a:lnTo>
                    <a:pt x="155" y="2614"/>
                  </a:lnTo>
                  <a:lnTo>
                    <a:pt x="135" y="2747"/>
                  </a:lnTo>
                  <a:lnTo>
                    <a:pt x="116" y="2884"/>
                  </a:lnTo>
                  <a:lnTo>
                    <a:pt x="99" y="3026"/>
                  </a:lnTo>
                  <a:lnTo>
                    <a:pt x="83" y="3174"/>
                  </a:lnTo>
                  <a:lnTo>
                    <a:pt x="68" y="3329"/>
                  </a:lnTo>
                  <a:lnTo>
                    <a:pt x="54" y="3488"/>
                  </a:lnTo>
                  <a:lnTo>
                    <a:pt x="42" y="3654"/>
                  </a:lnTo>
                  <a:lnTo>
                    <a:pt x="31" y="3828"/>
                  </a:lnTo>
                  <a:lnTo>
                    <a:pt x="22" y="4007"/>
                  </a:lnTo>
                  <a:lnTo>
                    <a:pt x="14" y="4194"/>
                  </a:lnTo>
                  <a:lnTo>
                    <a:pt x="8" y="4388"/>
                  </a:lnTo>
                  <a:lnTo>
                    <a:pt x="4" y="4590"/>
                  </a:lnTo>
                  <a:lnTo>
                    <a:pt x="1" y="4801"/>
                  </a:lnTo>
                  <a:lnTo>
                    <a:pt x="0" y="5018"/>
                  </a:lnTo>
                  <a:lnTo>
                    <a:pt x="0" y="5032"/>
                  </a:lnTo>
                  <a:lnTo>
                    <a:pt x="1" y="5045"/>
                  </a:lnTo>
                  <a:lnTo>
                    <a:pt x="3" y="5057"/>
                  </a:lnTo>
                  <a:lnTo>
                    <a:pt x="5" y="5070"/>
                  </a:lnTo>
                  <a:lnTo>
                    <a:pt x="8" y="5082"/>
                  </a:lnTo>
                  <a:lnTo>
                    <a:pt x="11" y="5094"/>
                  </a:lnTo>
                  <a:lnTo>
                    <a:pt x="15" y="5105"/>
                  </a:lnTo>
                  <a:lnTo>
                    <a:pt x="20" y="5117"/>
                  </a:lnTo>
                  <a:lnTo>
                    <a:pt x="25" y="5128"/>
                  </a:lnTo>
                  <a:lnTo>
                    <a:pt x="30" y="5138"/>
                  </a:lnTo>
                  <a:lnTo>
                    <a:pt x="36" y="5150"/>
                  </a:lnTo>
                  <a:lnTo>
                    <a:pt x="43" y="5160"/>
                  </a:lnTo>
                  <a:lnTo>
                    <a:pt x="50" y="5170"/>
                  </a:lnTo>
                  <a:lnTo>
                    <a:pt x="57" y="5179"/>
                  </a:lnTo>
                  <a:lnTo>
                    <a:pt x="65" y="5188"/>
                  </a:lnTo>
                  <a:lnTo>
                    <a:pt x="73" y="5197"/>
                  </a:lnTo>
                  <a:lnTo>
                    <a:pt x="82" y="5205"/>
                  </a:lnTo>
                  <a:lnTo>
                    <a:pt x="91" y="5213"/>
                  </a:lnTo>
                  <a:lnTo>
                    <a:pt x="100" y="5221"/>
                  </a:lnTo>
                  <a:lnTo>
                    <a:pt x="110" y="5228"/>
                  </a:lnTo>
                  <a:lnTo>
                    <a:pt x="120" y="5234"/>
                  </a:lnTo>
                  <a:lnTo>
                    <a:pt x="131" y="5240"/>
                  </a:lnTo>
                  <a:lnTo>
                    <a:pt x="141" y="5246"/>
                  </a:lnTo>
                  <a:lnTo>
                    <a:pt x="152" y="5251"/>
                  </a:lnTo>
                  <a:lnTo>
                    <a:pt x="164" y="5255"/>
                  </a:lnTo>
                  <a:lnTo>
                    <a:pt x="176" y="5259"/>
                  </a:lnTo>
                  <a:lnTo>
                    <a:pt x="188" y="5262"/>
                  </a:lnTo>
                  <a:lnTo>
                    <a:pt x="201" y="5265"/>
                  </a:lnTo>
                  <a:lnTo>
                    <a:pt x="213" y="5267"/>
                  </a:lnTo>
                  <a:lnTo>
                    <a:pt x="225" y="5270"/>
                  </a:lnTo>
                  <a:lnTo>
                    <a:pt x="238" y="5271"/>
                  </a:lnTo>
                  <a:lnTo>
                    <a:pt x="251" y="5271"/>
                  </a:lnTo>
                  <a:lnTo>
                    <a:pt x="264" y="5271"/>
                  </a:lnTo>
                  <a:lnTo>
                    <a:pt x="277" y="5270"/>
                  </a:lnTo>
                  <a:lnTo>
                    <a:pt x="289" y="5267"/>
                  </a:lnTo>
                  <a:lnTo>
                    <a:pt x="301" y="5265"/>
                  </a:lnTo>
                  <a:lnTo>
                    <a:pt x="313" y="5262"/>
                  </a:lnTo>
                  <a:lnTo>
                    <a:pt x="325" y="5259"/>
                  </a:lnTo>
                  <a:lnTo>
                    <a:pt x="337" y="5255"/>
                  </a:lnTo>
                  <a:lnTo>
                    <a:pt x="348" y="5251"/>
                  </a:lnTo>
                  <a:lnTo>
                    <a:pt x="359" y="5246"/>
                  </a:lnTo>
                  <a:lnTo>
                    <a:pt x="370" y="5240"/>
                  </a:lnTo>
                  <a:lnTo>
                    <a:pt x="382" y="5234"/>
                  </a:lnTo>
                  <a:lnTo>
                    <a:pt x="392" y="5228"/>
                  </a:lnTo>
                  <a:lnTo>
                    <a:pt x="402" y="5221"/>
                  </a:lnTo>
                  <a:lnTo>
                    <a:pt x="411" y="5213"/>
                  </a:lnTo>
                  <a:lnTo>
                    <a:pt x="420" y="5205"/>
                  </a:lnTo>
                  <a:lnTo>
                    <a:pt x="429" y="5197"/>
                  </a:lnTo>
                  <a:lnTo>
                    <a:pt x="437" y="5188"/>
                  </a:lnTo>
                  <a:lnTo>
                    <a:pt x="445" y="5179"/>
                  </a:lnTo>
                  <a:lnTo>
                    <a:pt x="452" y="5170"/>
                  </a:lnTo>
                  <a:lnTo>
                    <a:pt x="459" y="5160"/>
                  </a:lnTo>
                  <a:lnTo>
                    <a:pt x="466" y="5150"/>
                  </a:lnTo>
                  <a:lnTo>
                    <a:pt x="472" y="5138"/>
                  </a:lnTo>
                  <a:lnTo>
                    <a:pt x="477" y="5128"/>
                  </a:lnTo>
                  <a:lnTo>
                    <a:pt x="482" y="5117"/>
                  </a:lnTo>
                  <a:lnTo>
                    <a:pt x="487" y="5105"/>
                  </a:lnTo>
                  <a:lnTo>
                    <a:pt x="491" y="5094"/>
                  </a:lnTo>
                  <a:lnTo>
                    <a:pt x="494" y="5082"/>
                  </a:lnTo>
                  <a:lnTo>
                    <a:pt x="497" y="5070"/>
                  </a:lnTo>
                  <a:lnTo>
                    <a:pt x="499" y="5057"/>
                  </a:lnTo>
                  <a:lnTo>
                    <a:pt x="501" y="5045"/>
                  </a:lnTo>
                  <a:lnTo>
                    <a:pt x="502" y="5032"/>
                  </a:lnTo>
                  <a:lnTo>
                    <a:pt x="502" y="5018"/>
                  </a:lnTo>
                  <a:lnTo>
                    <a:pt x="503" y="4851"/>
                  </a:lnTo>
                  <a:lnTo>
                    <a:pt x="504" y="4688"/>
                  </a:lnTo>
                  <a:lnTo>
                    <a:pt x="507" y="4530"/>
                  </a:lnTo>
                  <a:lnTo>
                    <a:pt x="510" y="4378"/>
                  </a:lnTo>
                  <a:lnTo>
                    <a:pt x="515" y="4230"/>
                  </a:lnTo>
                  <a:lnTo>
                    <a:pt x="520" y="4087"/>
                  </a:lnTo>
                  <a:lnTo>
                    <a:pt x="527" y="3949"/>
                  </a:lnTo>
                  <a:lnTo>
                    <a:pt x="534" y="3814"/>
                  </a:lnTo>
                  <a:lnTo>
                    <a:pt x="542" y="3684"/>
                  </a:lnTo>
                  <a:lnTo>
                    <a:pt x="551" y="3557"/>
                  </a:lnTo>
                  <a:lnTo>
                    <a:pt x="562" y="3435"/>
                  </a:lnTo>
                  <a:lnTo>
                    <a:pt x="573" y="3318"/>
                  </a:lnTo>
                  <a:lnTo>
                    <a:pt x="584" y="3203"/>
                  </a:lnTo>
                  <a:lnTo>
                    <a:pt x="596" y="3092"/>
                  </a:lnTo>
                  <a:lnTo>
                    <a:pt x="609" y="2984"/>
                  </a:lnTo>
                  <a:lnTo>
                    <a:pt x="623" y="2879"/>
                  </a:lnTo>
                  <a:lnTo>
                    <a:pt x="637" y="2777"/>
                  </a:lnTo>
                  <a:lnTo>
                    <a:pt x="653" y="2678"/>
                  </a:lnTo>
                  <a:lnTo>
                    <a:pt x="668" y="2583"/>
                  </a:lnTo>
                  <a:lnTo>
                    <a:pt x="685" y="2490"/>
                  </a:lnTo>
                  <a:lnTo>
                    <a:pt x="702" y="2398"/>
                  </a:lnTo>
                  <a:lnTo>
                    <a:pt x="719" y="2310"/>
                  </a:lnTo>
                  <a:lnTo>
                    <a:pt x="737" y="2224"/>
                  </a:lnTo>
                  <a:lnTo>
                    <a:pt x="757" y="2139"/>
                  </a:lnTo>
                  <a:lnTo>
                    <a:pt x="776" y="2056"/>
                  </a:lnTo>
                  <a:lnTo>
                    <a:pt x="796" y="1976"/>
                  </a:lnTo>
                  <a:lnTo>
                    <a:pt x="816" y="1897"/>
                  </a:lnTo>
                  <a:lnTo>
                    <a:pt x="837" y="1819"/>
                  </a:lnTo>
                  <a:lnTo>
                    <a:pt x="858" y="1743"/>
                  </a:lnTo>
                  <a:lnTo>
                    <a:pt x="880" y="1667"/>
                  </a:lnTo>
                  <a:lnTo>
                    <a:pt x="902" y="1593"/>
                  </a:lnTo>
                  <a:lnTo>
                    <a:pt x="924" y="1520"/>
                  </a:lnTo>
                  <a:lnTo>
                    <a:pt x="975" y="1646"/>
                  </a:lnTo>
                  <a:lnTo>
                    <a:pt x="1026" y="1774"/>
                  </a:lnTo>
                  <a:lnTo>
                    <a:pt x="1079" y="1905"/>
                  </a:lnTo>
                  <a:lnTo>
                    <a:pt x="1134" y="2038"/>
                  </a:lnTo>
                  <a:lnTo>
                    <a:pt x="1191" y="2175"/>
                  </a:lnTo>
                  <a:lnTo>
                    <a:pt x="1249" y="2314"/>
                  </a:lnTo>
                  <a:lnTo>
                    <a:pt x="1309" y="2456"/>
                  </a:lnTo>
                  <a:lnTo>
                    <a:pt x="1372" y="2603"/>
                  </a:lnTo>
                  <a:lnTo>
                    <a:pt x="1436" y="2753"/>
                  </a:lnTo>
                  <a:lnTo>
                    <a:pt x="1503" y="2906"/>
                  </a:lnTo>
                  <a:lnTo>
                    <a:pt x="1572" y="3063"/>
                  </a:lnTo>
                  <a:lnTo>
                    <a:pt x="1642" y="3225"/>
                  </a:lnTo>
                  <a:lnTo>
                    <a:pt x="1716" y="3390"/>
                  </a:lnTo>
                  <a:lnTo>
                    <a:pt x="1791" y="3561"/>
                  </a:lnTo>
                  <a:lnTo>
                    <a:pt x="1868" y="3735"/>
                  </a:lnTo>
                  <a:lnTo>
                    <a:pt x="1949" y="3914"/>
                  </a:lnTo>
                  <a:lnTo>
                    <a:pt x="2126" y="4310"/>
                  </a:lnTo>
                  <a:lnTo>
                    <a:pt x="2381" y="3960"/>
                  </a:lnTo>
                  <a:lnTo>
                    <a:pt x="2456" y="3856"/>
                  </a:lnTo>
                  <a:lnTo>
                    <a:pt x="2530" y="3755"/>
                  </a:lnTo>
                  <a:lnTo>
                    <a:pt x="2599" y="3658"/>
                  </a:lnTo>
                  <a:lnTo>
                    <a:pt x="2665" y="3565"/>
                  </a:lnTo>
                  <a:lnTo>
                    <a:pt x="2728" y="3474"/>
                  </a:lnTo>
                  <a:lnTo>
                    <a:pt x="2789" y="3386"/>
                  </a:lnTo>
                  <a:lnTo>
                    <a:pt x="2847" y="3300"/>
                  </a:lnTo>
                  <a:lnTo>
                    <a:pt x="2904" y="3217"/>
                  </a:lnTo>
                  <a:lnTo>
                    <a:pt x="2959" y="3135"/>
                  </a:lnTo>
                  <a:lnTo>
                    <a:pt x="3012" y="3054"/>
                  </a:lnTo>
                  <a:lnTo>
                    <a:pt x="3065" y="2974"/>
                  </a:lnTo>
                  <a:lnTo>
                    <a:pt x="3116" y="2895"/>
                  </a:lnTo>
                  <a:lnTo>
                    <a:pt x="3166" y="2816"/>
                  </a:lnTo>
                  <a:lnTo>
                    <a:pt x="3216" y="2737"/>
                  </a:lnTo>
                  <a:lnTo>
                    <a:pt x="3268" y="2657"/>
                  </a:lnTo>
                  <a:lnTo>
                    <a:pt x="3318" y="2577"/>
                  </a:lnTo>
                  <a:lnTo>
                    <a:pt x="3326" y="2647"/>
                  </a:lnTo>
                  <a:lnTo>
                    <a:pt x="3334" y="2715"/>
                  </a:lnTo>
                  <a:lnTo>
                    <a:pt x="3343" y="2782"/>
                  </a:lnTo>
                  <a:lnTo>
                    <a:pt x="3353" y="2848"/>
                  </a:lnTo>
                  <a:lnTo>
                    <a:pt x="3362" y="2912"/>
                  </a:lnTo>
                  <a:lnTo>
                    <a:pt x="3373" y="2976"/>
                  </a:lnTo>
                  <a:lnTo>
                    <a:pt x="3384" y="3038"/>
                  </a:lnTo>
                  <a:lnTo>
                    <a:pt x="3395" y="3101"/>
                  </a:lnTo>
                  <a:lnTo>
                    <a:pt x="3407" y="3161"/>
                  </a:lnTo>
                  <a:lnTo>
                    <a:pt x="3419" y="3221"/>
                  </a:lnTo>
                  <a:lnTo>
                    <a:pt x="3433" y="3280"/>
                  </a:lnTo>
                  <a:lnTo>
                    <a:pt x="3446" y="3339"/>
                  </a:lnTo>
                  <a:lnTo>
                    <a:pt x="3474" y="3453"/>
                  </a:lnTo>
                  <a:lnTo>
                    <a:pt x="3502" y="3564"/>
                  </a:lnTo>
                  <a:lnTo>
                    <a:pt x="3532" y="3672"/>
                  </a:lnTo>
                  <a:lnTo>
                    <a:pt x="3563" y="3778"/>
                  </a:lnTo>
                  <a:lnTo>
                    <a:pt x="3595" y="3883"/>
                  </a:lnTo>
                  <a:lnTo>
                    <a:pt x="3628" y="3986"/>
                  </a:lnTo>
                  <a:lnTo>
                    <a:pt x="3661" y="4088"/>
                  </a:lnTo>
                  <a:lnTo>
                    <a:pt x="3695" y="4188"/>
                  </a:lnTo>
                  <a:lnTo>
                    <a:pt x="3729" y="4287"/>
                  </a:lnTo>
                  <a:lnTo>
                    <a:pt x="3763" y="4387"/>
                  </a:lnTo>
                  <a:lnTo>
                    <a:pt x="3854" y="4653"/>
                  </a:lnTo>
                  <a:lnTo>
                    <a:pt x="4108" y="4532"/>
                  </a:lnTo>
                  <a:lnTo>
                    <a:pt x="4234" y="4472"/>
                  </a:lnTo>
                  <a:lnTo>
                    <a:pt x="4354" y="4412"/>
                  </a:lnTo>
                  <a:lnTo>
                    <a:pt x="4472" y="4352"/>
                  </a:lnTo>
                  <a:lnTo>
                    <a:pt x="4585" y="4293"/>
                  </a:lnTo>
                  <a:lnTo>
                    <a:pt x="4694" y="4233"/>
                  </a:lnTo>
                  <a:lnTo>
                    <a:pt x="4801" y="4175"/>
                  </a:lnTo>
                  <a:lnTo>
                    <a:pt x="4902" y="4116"/>
                  </a:lnTo>
                  <a:lnTo>
                    <a:pt x="5001" y="4058"/>
                  </a:lnTo>
                  <a:lnTo>
                    <a:pt x="5096" y="4000"/>
                  </a:lnTo>
                  <a:lnTo>
                    <a:pt x="5189" y="3942"/>
                  </a:lnTo>
                  <a:lnTo>
                    <a:pt x="5277" y="3884"/>
                  </a:lnTo>
                  <a:lnTo>
                    <a:pt x="5364" y="3828"/>
                  </a:lnTo>
                  <a:lnTo>
                    <a:pt x="5446" y="3770"/>
                  </a:lnTo>
                  <a:lnTo>
                    <a:pt x="5527" y="3714"/>
                  </a:lnTo>
                  <a:lnTo>
                    <a:pt x="5604" y="3657"/>
                  </a:lnTo>
                  <a:lnTo>
                    <a:pt x="5678" y="3601"/>
                  </a:lnTo>
                  <a:lnTo>
                    <a:pt x="5751" y="3545"/>
                  </a:lnTo>
                  <a:lnTo>
                    <a:pt x="5820" y="3489"/>
                  </a:lnTo>
                  <a:lnTo>
                    <a:pt x="5888" y="3433"/>
                  </a:lnTo>
                  <a:lnTo>
                    <a:pt x="5954" y="3379"/>
                  </a:lnTo>
                  <a:lnTo>
                    <a:pt x="6017" y="3324"/>
                  </a:lnTo>
                  <a:lnTo>
                    <a:pt x="6078" y="3269"/>
                  </a:lnTo>
                  <a:lnTo>
                    <a:pt x="6138" y="3214"/>
                  </a:lnTo>
                  <a:lnTo>
                    <a:pt x="6195" y="3159"/>
                  </a:lnTo>
                  <a:lnTo>
                    <a:pt x="6251" y="3106"/>
                  </a:lnTo>
                  <a:lnTo>
                    <a:pt x="6307" y="3051"/>
                  </a:lnTo>
                  <a:lnTo>
                    <a:pt x="6360" y="2998"/>
                  </a:lnTo>
                  <a:lnTo>
                    <a:pt x="6411" y="2943"/>
                  </a:lnTo>
                  <a:lnTo>
                    <a:pt x="6462" y="2890"/>
                  </a:lnTo>
                  <a:lnTo>
                    <a:pt x="6512" y="2837"/>
                  </a:lnTo>
                  <a:lnTo>
                    <a:pt x="6560" y="2783"/>
                  </a:lnTo>
                  <a:lnTo>
                    <a:pt x="6608" y="2731"/>
                  </a:lnTo>
                  <a:lnTo>
                    <a:pt x="6615" y="2818"/>
                  </a:lnTo>
                  <a:lnTo>
                    <a:pt x="6620" y="2907"/>
                  </a:lnTo>
                  <a:lnTo>
                    <a:pt x="6624" y="2997"/>
                  </a:lnTo>
                  <a:lnTo>
                    <a:pt x="6628" y="3087"/>
                  </a:lnTo>
                  <a:lnTo>
                    <a:pt x="6630" y="3176"/>
                  </a:lnTo>
                  <a:lnTo>
                    <a:pt x="6631" y="3266"/>
                  </a:lnTo>
                  <a:lnTo>
                    <a:pt x="6630" y="3356"/>
                  </a:lnTo>
                  <a:lnTo>
                    <a:pt x="6629" y="3446"/>
                  </a:lnTo>
                  <a:lnTo>
                    <a:pt x="6627" y="3535"/>
                  </a:lnTo>
                  <a:lnTo>
                    <a:pt x="6623" y="3626"/>
                  </a:lnTo>
                  <a:lnTo>
                    <a:pt x="6618" y="3715"/>
                  </a:lnTo>
                  <a:lnTo>
                    <a:pt x="6612" y="3805"/>
                  </a:lnTo>
                  <a:lnTo>
                    <a:pt x="6605" y="3893"/>
                  </a:lnTo>
                  <a:lnTo>
                    <a:pt x="6597" y="3982"/>
                  </a:lnTo>
                  <a:lnTo>
                    <a:pt x="6588" y="4071"/>
                  </a:lnTo>
                  <a:lnTo>
                    <a:pt x="6578" y="4158"/>
                  </a:lnTo>
                  <a:lnTo>
                    <a:pt x="6567" y="4245"/>
                  </a:lnTo>
                  <a:lnTo>
                    <a:pt x="6554" y="4332"/>
                  </a:lnTo>
                  <a:lnTo>
                    <a:pt x="6541" y="4418"/>
                  </a:lnTo>
                  <a:lnTo>
                    <a:pt x="6526" y="4502"/>
                  </a:lnTo>
                  <a:lnTo>
                    <a:pt x="6511" y="4586"/>
                  </a:lnTo>
                  <a:lnTo>
                    <a:pt x="6494" y="4669"/>
                  </a:lnTo>
                  <a:lnTo>
                    <a:pt x="6476" y="4750"/>
                  </a:lnTo>
                  <a:lnTo>
                    <a:pt x="6457" y="4831"/>
                  </a:lnTo>
                  <a:lnTo>
                    <a:pt x="6437" y="4911"/>
                  </a:lnTo>
                  <a:lnTo>
                    <a:pt x="6416" y="4989"/>
                  </a:lnTo>
                  <a:lnTo>
                    <a:pt x="6394" y="5067"/>
                  </a:lnTo>
                  <a:lnTo>
                    <a:pt x="6371" y="5142"/>
                  </a:lnTo>
                  <a:lnTo>
                    <a:pt x="6347" y="5216"/>
                  </a:lnTo>
                  <a:lnTo>
                    <a:pt x="6322" y="5289"/>
                  </a:lnTo>
                  <a:lnTo>
                    <a:pt x="6297" y="5360"/>
                  </a:lnTo>
                  <a:lnTo>
                    <a:pt x="6269" y="5429"/>
                  </a:lnTo>
                  <a:lnTo>
                    <a:pt x="6264" y="5441"/>
                  </a:lnTo>
                  <a:lnTo>
                    <a:pt x="6260" y="5453"/>
                  </a:lnTo>
                  <a:lnTo>
                    <a:pt x="6257" y="5466"/>
                  </a:lnTo>
                  <a:lnTo>
                    <a:pt x="6255" y="5478"/>
                  </a:lnTo>
                  <a:lnTo>
                    <a:pt x="6253" y="5490"/>
                  </a:lnTo>
                  <a:lnTo>
                    <a:pt x="6251" y="5502"/>
                  </a:lnTo>
                  <a:lnTo>
                    <a:pt x="6251" y="5515"/>
                  </a:lnTo>
                  <a:lnTo>
                    <a:pt x="6251" y="5528"/>
                  </a:lnTo>
                  <a:lnTo>
                    <a:pt x="6251" y="5540"/>
                  </a:lnTo>
                  <a:lnTo>
                    <a:pt x="6252" y="5552"/>
                  </a:lnTo>
                  <a:lnTo>
                    <a:pt x="6254" y="5564"/>
                  </a:lnTo>
                  <a:lnTo>
                    <a:pt x="6256" y="5575"/>
                  </a:lnTo>
                  <a:lnTo>
                    <a:pt x="6259" y="5587"/>
                  </a:lnTo>
                  <a:lnTo>
                    <a:pt x="6263" y="5599"/>
                  </a:lnTo>
                  <a:lnTo>
                    <a:pt x="6266" y="5610"/>
                  </a:lnTo>
                  <a:lnTo>
                    <a:pt x="6271" y="5621"/>
                  </a:lnTo>
                  <a:lnTo>
                    <a:pt x="6276" y="5632"/>
                  </a:lnTo>
                  <a:lnTo>
                    <a:pt x="6281" y="5644"/>
                  </a:lnTo>
                  <a:lnTo>
                    <a:pt x="6288" y="5654"/>
                  </a:lnTo>
                  <a:lnTo>
                    <a:pt x="6295" y="5664"/>
                  </a:lnTo>
                  <a:lnTo>
                    <a:pt x="6302" y="5674"/>
                  </a:lnTo>
                  <a:lnTo>
                    <a:pt x="6309" y="5683"/>
                  </a:lnTo>
                  <a:lnTo>
                    <a:pt x="6317" y="5693"/>
                  </a:lnTo>
                  <a:lnTo>
                    <a:pt x="6326" y="5702"/>
                  </a:lnTo>
                  <a:lnTo>
                    <a:pt x="6334" y="5710"/>
                  </a:lnTo>
                  <a:lnTo>
                    <a:pt x="6344" y="5718"/>
                  </a:lnTo>
                  <a:lnTo>
                    <a:pt x="6353" y="5726"/>
                  </a:lnTo>
                  <a:lnTo>
                    <a:pt x="6364" y="5733"/>
                  </a:lnTo>
                  <a:lnTo>
                    <a:pt x="6374" y="5739"/>
                  </a:lnTo>
                  <a:lnTo>
                    <a:pt x="6385" y="5745"/>
                  </a:lnTo>
                  <a:lnTo>
                    <a:pt x="6396" y="5751"/>
                  </a:lnTo>
                  <a:lnTo>
                    <a:pt x="6408" y="5756"/>
                  </a:lnTo>
                  <a:lnTo>
                    <a:pt x="6420" y="5761"/>
                  </a:lnTo>
                  <a:lnTo>
                    <a:pt x="6431" y="5765"/>
                  </a:lnTo>
                  <a:lnTo>
                    <a:pt x="6443" y="5768"/>
                  </a:lnTo>
                  <a:lnTo>
                    <a:pt x="6455" y="5771"/>
                  </a:lnTo>
                  <a:lnTo>
                    <a:pt x="6467" y="5773"/>
                  </a:lnTo>
                  <a:lnTo>
                    <a:pt x="6480" y="5774"/>
                  </a:lnTo>
                  <a:lnTo>
                    <a:pt x="6491" y="5775"/>
                  </a:lnTo>
                  <a:lnTo>
                    <a:pt x="6503" y="5775"/>
                  </a:lnTo>
                  <a:lnTo>
                    <a:pt x="6522" y="5775"/>
                  </a:lnTo>
                  <a:lnTo>
                    <a:pt x="6540" y="5773"/>
                  </a:lnTo>
                  <a:lnTo>
                    <a:pt x="6558" y="5769"/>
                  </a:lnTo>
                  <a:lnTo>
                    <a:pt x="6576" y="5765"/>
                  </a:lnTo>
                  <a:lnTo>
                    <a:pt x="6593" y="5759"/>
                  </a:lnTo>
                  <a:lnTo>
                    <a:pt x="6610" y="5750"/>
                  </a:lnTo>
                  <a:lnTo>
                    <a:pt x="6626" y="5742"/>
                  </a:lnTo>
                  <a:lnTo>
                    <a:pt x="6641" y="5733"/>
                  </a:lnTo>
                  <a:lnTo>
                    <a:pt x="6656" y="5722"/>
                  </a:lnTo>
                  <a:lnTo>
                    <a:pt x="6671" y="5710"/>
                  </a:lnTo>
                  <a:lnTo>
                    <a:pt x="6685" y="5697"/>
                  </a:lnTo>
                  <a:lnTo>
                    <a:pt x="6697" y="5683"/>
                  </a:lnTo>
                  <a:lnTo>
                    <a:pt x="6708" y="5668"/>
                  </a:lnTo>
                  <a:lnTo>
                    <a:pt x="6719" y="5652"/>
                  </a:lnTo>
                  <a:lnTo>
                    <a:pt x="6728" y="5635"/>
                  </a:lnTo>
                  <a:lnTo>
                    <a:pt x="6736" y="5617"/>
                  </a:lnTo>
                  <a:lnTo>
                    <a:pt x="6771" y="5525"/>
                  </a:lnTo>
                  <a:lnTo>
                    <a:pt x="6805" y="5431"/>
                  </a:lnTo>
                  <a:lnTo>
                    <a:pt x="6838" y="5334"/>
                  </a:lnTo>
                  <a:lnTo>
                    <a:pt x="6869" y="5235"/>
                  </a:lnTo>
                  <a:lnTo>
                    <a:pt x="6898" y="5134"/>
                  </a:lnTo>
                  <a:lnTo>
                    <a:pt x="6926" y="5033"/>
                  </a:lnTo>
                  <a:lnTo>
                    <a:pt x="6952" y="4928"/>
                  </a:lnTo>
                  <a:lnTo>
                    <a:pt x="6976" y="4822"/>
                  </a:lnTo>
                  <a:lnTo>
                    <a:pt x="6998" y="4715"/>
                  </a:lnTo>
                  <a:lnTo>
                    <a:pt x="7019" y="4606"/>
                  </a:lnTo>
                  <a:lnTo>
                    <a:pt x="7038" y="4496"/>
                  </a:lnTo>
                  <a:lnTo>
                    <a:pt x="7057" y="4385"/>
                  </a:lnTo>
                  <a:lnTo>
                    <a:pt x="7072" y="4273"/>
                  </a:lnTo>
                  <a:lnTo>
                    <a:pt x="7086" y="4160"/>
                  </a:lnTo>
                  <a:lnTo>
                    <a:pt x="7099" y="4046"/>
                  </a:lnTo>
                  <a:lnTo>
                    <a:pt x="7109" y="3932"/>
                  </a:lnTo>
                  <a:lnTo>
                    <a:pt x="7118" y="3817"/>
                  </a:lnTo>
                  <a:lnTo>
                    <a:pt x="7125" y="3701"/>
                  </a:lnTo>
                  <a:lnTo>
                    <a:pt x="7130" y="3585"/>
                  </a:lnTo>
                  <a:lnTo>
                    <a:pt x="7134" y="3469"/>
                  </a:lnTo>
                  <a:lnTo>
                    <a:pt x="7135" y="3353"/>
                  </a:lnTo>
                  <a:lnTo>
                    <a:pt x="7135" y="3236"/>
                  </a:lnTo>
                  <a:lnTo>
                    <a:pt x="7133" y="3120"/>
                  </a:lnTo>
                  <a:lnTo>
                    <a:pt x="7130" y="3004"/>
                  </a:lnTo>
                  <a:lnTo>
                    <a:pt x="7124" y="2888"/>
                  </a:lnTo>
                  <a:lnTo>
                    <a:pt x="7117" y="2773"/>
                  </a:lnTo>
                  <a:lnTo>
                    <a:pt x="7108" y="2658"/>
                  </a:lnTo>
                  <a:lnTo>
                    <a:pt x="7097" y="2544"/>
                  </a:lnTo>
                  <a:lnTo>
                    <a:pt x="7084" y="2430"/>
                  </a:lnTo>
                  <a:lnTo>
                    <a:pt x="7069" y="2318"/>
                  </a:lnTo>
                  <a:lnTo>
                    <a:pt x="7052" y="2207"/>
                  </a:lnTo>
                  <a:lnTo>
                    <a:pt x="7033" y="2097"/>
                  </a:lnTo>
                  <a:lnTo>
                    <a:pt x="6940" y="15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59" name="iśliḍè">
              <a:extLst>
                <a:ext uri="{FF2B5EF4-FFF2-40B4-BE49-F238E27FC236}">
                  <a16:creationId xmlns:a16="http://schemas.microsoft.com/office/drawing/2014/main" id="{E6C7606D-640C-48A4-A64C-28AFB5AF2906}"/>
                </a:ext>
              </a:extLst>
            </p:cNvPr>
            <p:cNvSpPr/>
            <p:nvPr/>
          </p:nvSpPr>
          <p:spPr bwMode="auto">
            <a:xfrm>
              <a:off x="9865371" y="883005"/>
              <a:ext cx="464950" cy="466054"/>
            </a:xfrm>
            <a:custGeom>
              <a:avLst/>
              <a:gdLst>
                <a:gd name="T0" fmla="*/ 11438 w 16419"/>
                <a:gd name="T1" fmla="*/ 11992 h 16036"/>
                <a:gd name="T2" fmla="*/ 12051 w 16419"/>
                <a:gd name="T3" fmla="*/ 9611 h 16036"/>
                <a:gd name="T4" fmla="*/ 15080 w 16419"/>
                <a:gd name="T5" fmla="*/ 9931 h 16036"/>
                <a:gd name="T6" fmla="*/ 13248 w 16419"/>
                <a:gd name="T7" fmla="*/ 12967 h 16036"/>
                <a:gd name="T8" fmla="*/ 4590 w 16419"/>
                <a:gd name="T9" fmla="*/ 10655 h 16036"/>
                <a:gd name="T10" fmla="*/ 4429 w 16419"/>
                <a:gd name="T11" fmla="*/ 12231 h 16036"/>
                <a:gd name="T12" fmla="*/ 2147 w 16419"/>
                <a:gd name="T13" fmla="*/ 11712 h 16036"/>
                <a:gd name="T14" fmla="*/ 1073 w 16419"/>
                <a:gd name="T15" fmla="*/ 8277 h 16036"/>
                <a:gd name="T16" fmla="*/ 4139 w 16419"/>
                <a:gd name="T17" fmla="*/ 4183 h 16036"/>
                <a:gd name="T18" fmla="*/ 4533 w 16419"/>
                <a:gd name="T19" fmla="*/ 5582 h 16036"/>
                <a:gd name="T20" fmla="*/ 1073 w 16419"/>
                <a:gd name="T21" fmla="*/ 7759 h 16036"/>
                <a:gd name="T22" fmla="*/ 1997 w 16419"/>
                <a:gd name="T23" fmla="*/ 4578 h 16036"/>
                <a:gd name="T24" fmla="*/ 9313 w 16419"/>
                <a:gd name="T25" fmla="*/ 5095 h 16036"/>
                <a:gd name="T26" fmla="*/ 11066 w 16419"/>
                <a:gd name="T27" fmla="*/ 4695 h 16036"/>
                <a:gd name="T28" fmla="*/ 11565 w 16419"/>
                <a:gd name="T29" fmla="*/ 6759 h 16036"/>
                <a:gd name="T30" fmla="*/ 10152 w 16419"/>
                <a:gd name="T31" fmla="*/ 11598 h 16036"/>
                <a:gd name="T32" fmla="*/ 8474 w 16419"/>
                <a:gd name="T33" fmla="*/ 11394 h 16036"/>
                <a:gd name="T34" fmla="*/ 11313 w 16419"/>
                <a:gd name="T35" fmla="*/ 10543 h 16036"/>
                <a:gd name="T36" fmla="*/ 12142 w 16419"/>
                <a:gd name="T37" fmla="*/ 12889 h 16036"/>
                <a:gd name="T38" fmla="*/ 11354 w 16419"/>
                <a:gd name="T39" fmla="*/ 14282 h 16036"/>
                <a:gd name="T40" fmla="*/ 9710 w 16419"/>
                <a:gd name="T41" fmla="*/ 14564 h 16036"/>
                <a:gd name="T42" fmla="*/ 10935 w 16419"/>
                <a:gd name="T43" fmla="*/ 12871 h 16036"/>
                <a:gd name="T44" fmla="*/ 9524 w 16419"/>
                <a:gd name="T45" fmla="*/ 12005 h 16036"/>
                <a:gd name="T46" fmla="*/ 10393 w 16419"/>
                <a:gd name="T47" fmla="*/ 12757 h 16036"/>
                <a:gd name="T48" fmla="*/ 8904 w 16419"/>
                <a:gd name="T49" fmla="*/ 14636 h 16036"/>
                <a:gd name="T50" fmla="*/ 5284 w 16419"/>
                <a:gd name="T51" fmla="*/ 14382 h 16036"/>
                <a:gd name="T52" fmla="*/ 4071 w 16419"/>
                <a:gd name="T53" fmla="*/ 13005 h 16036"/>
                <a:gd name="T54" fmla="*/ 5783 w 16419"/>
                <a:gd name="T55" fmla="*/ 13367 h 16036"/>
                <a:gd name="T56" fmla="*/ 7945 w 16419"/>
                <a:gd name="T57" fmla="*/ 8277 h 16036"/>
                <a:gd name="T58" fmla="*/ 6342 w 16419"/>
                <a:gd name="T59" fmla="*/ 11582 h 16036"/>
                <a:gd name="T60" fmla="*/ 5136 w 16419"/>
                <a:gd name="T61" fmla="*/ 10650 h 16036"/>
                <a:gd name="T62" fmla="*/ 7945 w 16419"/>
                <a:gd name="T63" fmla="*/ 8277 h 16036"/>
                <a:gd name="T64" fmla="*/ 7024 w 16419"/>
                <a:gd name="T65" fmla="*/ 5084 h 16036"/>
                <a:gd name="T66" fmla="*/ 4843 w 16419"/>
                <a:gd name="T67" fmla="*/ 6857 h 16036"/>
                <a:gd name="T68" fmla="*/ 5321 w 16419"/>
                <a:gd name="T69" fmla="*/ 4784 h 16036"/>
                <a:gd name="T70" fmla="*/ 3667 w 16419"/>
                <a:gd name="T71" fmla="*/ 3305 h 16036"/>
                <a:gd name="T72" fmla="*/ 5215 w 16419"/>
                <a:gd name="T73" fmla="*/ 1684 h 16036"/>
                <a:gd name="T74" fmla="*/ 6448 w 16419"/>
                <a:gd name="T75" fmla="*/ 1771 h 16036"/>
                <a:gd name="T76" fmla="*/ 5148 w 16419"/>
                <a:gd name="T77" fmla="*/ 3833 h 16036"/>
                <a:gd name="T78" fmla="*/ 6569 w 16419"/>
                <a:gd name="T79" fmla="*/ 4486 h 16036"/>
                <a:gd name="T80" fmla="*/ 6014 w 16419"/>
                <a:gd name="T81" fmla="*/ 3301 h 16036"/>
                <a:gd name="T82" fmla="*/ 7732 w 16419"/>
                <a:gd name="T83" fmla="*/ 1205 h 16036"/>
                <a:gd name="T84" fmla="*/ 11565 w 16419"/>
                <a:gd name="T85" fmla="*/ 1859 h 16036"/>
                <a:gd name="T86" fmla="*/ 12421 w 16419"/>
                <a:gd name="T87" fmla="*/ 3513 h 16036"/>
                <a:gd name="T88" fmla="*/ 11123 w 16419"/>
                <a:gd name="T89" fmla="*/ 3527 h 16036"/>
                <a:gd name="T90" fmla="*/ 9758 w 16419"/>
                <a:gd name="T91" fmla="*/ 1525 h 16036"/>
                <a:gd name="T92" fmla="*/ 9852 w 16419"/>
                <a:gd name="T93" fmla="*/ 2463 h 16036"/>
                <a:gd name="T94" fmla="*/ 10437 w 16419"/>
                <a:gd name="T95" fmla="*/ 4348 h 16036"/>
                <a:gd name="T96" fmla="*/ 8786 w 16419"/>
                <a:gd name="T97" fmla="*/ 4626 h 16036"/>
                <a:gd name="T98" fmla="*/ 6848 w 16419"/>
                <a:gd name="T99" fmla="*/ 13930 h 16036"/>
                <a:gd name="T100" fmla="*/ 6020 w 16419"/>
                <a:gd name="T101" fmla="*/ 12187 h 16036"/>
                <a:gd name="T102" fmla="*/ 7521 w 16419"/>
                <a:gd name="T103" fmla="*/ 11934 h 16036"/>
                <a:gd name="T104" fmla="*/ 12063 w 16419"/>
                <a:gd name="T105" fmla="*/ 6494 h 16036"/>
                <a:gd name="T106" fmla="*/ 11695 w 16419"/>
                <a:gd name="T107" fmla="*/ 4461 h 16036"/>
                <a:gd name="T108" fmla="*/ 13078 w 16419"/>
                <a:gd name="T109" fmla="*/ 3710 h 16036"/>
                <a:gd name="T110" fmla="*/ 14700 w 16419"/>
                <a:gd name="T111" fmla="*/ 5106 h 16036"/>
                <a:gd name="T112" fmla="*/ 6960 w 16419"/>
                <a:gd name="T113" fmla="*/ 92 h 16036"/>
                <a:gd name="T114" fmla="*/ 498 w 16419"/>
                <a:gd name="T115" fmla="*/ 5261 h 16036"/>
                <a:gd name="T116" fmla="*/ 2132 w 16419"/>
                <a:gd name="T117" fmla="*/ 13409 h 16036"/>
                <a:gd name="T118" fmla="*/ 10261 w 16419"/>
                <a:gd name="T119" fmla="*/ 15783 h 16036"/>
                <a:gd name="T120" fmla="*/ 16160 w 16419"/>
                <a:gd name="T121" fmla="*/ 10021 h 16036"/>
                <a:gd name="T122" fmla="*/ 13729 w 16419"/>
                <a:gd name="T123" fmla="*/ 2083 h 160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419" h="16036">
                  <a:moveTo>
                    <a:pt x="13248" y="12967"/>
                  </a:moveTo>
                  <a:lnTo>
                    <a:pt x="13139" y="12892"/>
                  </a:lnTo>
                  <a:lnTo>
                    <a:pt x="13030" y="12819"/>
                  </a:lnTo>
                  <a:lnTo>
                    <a:pt x="12919" y="12748"/>
                  </a:lnTo>
                  <a:lnTo>
                    <a:pt x="12807" y="12676"/>
                  </a:lnTo>
                  <a:lnTo>
                    <a:pt x="12693" y="12608"/>
                  </a:lnTo>
                  <a:lnTo>
                    <a:pt x="12579" y="12541"/>
                  </a:lnTo>
                  <a:lnTo>
                    <a:pt x="12463" y="12476"/>
                  </a:lnTo>
                  <a:lnTo>
                    <a:pt x="12347" y="12413"/>
                  </a:lnTo>
                  <a:lnTo>
                    <a:pt x="12229" y="12351"/>
                  </a:lnTo>
                  <a:lnTo>
                    <a:pt x="12110" y="12291"/>
                  </a:lnTo>
                  <a:lnTo>
                    <a:pt x="12051" y="12261"/>
                  </a:lnTo>
                  <a:lnTo>
                    <a:pt x="11990" y="12231"/>
                  </a:lnTo>
                  <a:lnTo>
                    <a:pt x="11930" y="12203"/>
                  </a:lnTo>
                  <a:lnTo>
                    <a:pt x="11869" y="12175"/>
                  </a:lnTo>
                  <a:lnTo>
                    <a:pt x="11808" y="12147"/>
                  </a:lnTo>
                  <a:lnTo>
                    <a:pt x="11747" y="12120"/>
                  </a:lnTo>
                  <a:lnTo>
                    <a:pt x="11686" y="12094"/>
                  </a:lnTo>
                  <a:lnTo>
                    <a:pt x="11625" y="12068"/>
                  </a:lnTo>
                  <a:lnTo>
                    <a:pt x="11562" y="12042"/>
                  </a:lnTo>
                  <a:lnTo>
                    <a:pt x="11499" y="12017"/>
                  </a:lnTo>
                  <a:lnTo>
                    <a:pt x="11438" y="11992"/>
                  </a:lnTo>
                  <a:lnTo>
                    <a:pt x="11374" y="11968"/>
                  </a:lnTo>
                  <a:lnTo>
                    <a:pt x="11419" y="11863"/>
                  </a:lnTo>
                  <a:lnTo>
                    <a:pt x="11463" y="11756"/>
                  </a:lnTo>
                  <a:lnTo>
                    <a:pt x="11505" y="11649"/>
                  </a:lnTo>
                  <a:lnTo>
                    <a:pt x="11546" y="11541"/>
                  </a:lnTo>
                  <a:lnTo>
                    <a:pt x="11585" y="11433"/>
                  </a:lnTo>
                  <a:lnTo>
                    <a:pt x="11624" y="11323"/>
                  </a:lnTo>
                  <a:lnTo>
                    <a:pt x="11661" y="11214"/>
                  </a:lnTo>
                  <a:lnTo>
                    <a:pt x="11696" y="11104"/>
                  </a:lnTo>
                  <a:lnTo>
                    <a:pt x="11731" y="10993"/>
                  </a:lnTo>
                  <a:lnTo>
                    <a:pt x="11765" y="10880"/>
                  </a:lnTo>
                  <a:lnTo>
                    <a:pt x="11798" y="10768"/>
                  </a:lnTo>
                  <a:lnTo>
                    <a:pt x="11829" y="10655"/>
                  </a:lnTo>
                  <a:lnTo>
                    <a:pt x="11859" y="10542"/>
                  </a:lnTo>
                  <a:lnTo>
                    <a:pt x="11887" y="10427"/>
                  </a:lnTo>
                  <a:lnTo>
                    <a:pt x="11914" y="10312"/>
                  </a:lnTo>
                  <a:lnTo>
                    <a:pt x="11941" y="10197"/>
                  </a:lnTo>
                  <a:lnTo>
                    <a:pt x="11965" y="10081"/>
                  </a:lnTo>
                  <a:lnTo>
                    <a:pt x="11988" y="9964"/>
                  </a:lnTo>
                  <a:lnTo>
                    <a:pt x="12010" y="9847"/>
                  </a:lnTo>
                  <a:lnTo>
                    <a:pt x="12031" y="9729"/>
                  </a:lnTo>
                  <a:lnTo>
                    <a:pt x="12051" y="9611"/>
                  </a:lnTo>
                  <a:lnTo>
                    <a:pt x="12068" y="9492"/>
                  </a:lnTo>
                  <a:lnTo>
                    <a:pt x="12084" y="9373"/>
                  </a:lnTo>
                  <a:lnTo>
                    <a:pt x="12100" y="9253"/>
                  </a:lnTo>
                  <a:lnTo>
                    <a:pt x="12113" y="9133"/>
                  </a:lnTo>
                  <a:lnTo>
                    <a:pt x="12126" y="9011"/>
                  </a:lnTo>
                  <a:lnTo>
                    <a:pt x="12137" y="8890"/>
                  </a:lnTo>
                  <a:lnTo>
                    <a:pt x="12147" y="8769"/>
                  </a:lnTo>
                  <a:lnTo>
                    <a:pt x="12155" y="8646"/>
                  </a:lnTo>
                  <a:lnTo>
                    <a:pt x="12161" y="8523"/>
                  </a:lnTo>
                  <a:lnTo>
                    <a:pt x="12166" y="8400"/>
                  </a:lnTo>
                  <a:lnTo>
                    <a:pt x="12171" y="8277"/>
                  </a:lnTo>
                  <a:lnTo>
                    <a:pt x="15347" y="8277"/>
                  </a:lnTo>
                  <a:lnTo>
                    <a:pt x="15337" y="8448"/>
                  </a:lnTo>
                  <a:lnTo>
                    <a:pt x="15325" y="8617"/>
                  </a:lnTo>
                  <a:lnTo>
                    <a:pt x="15309" y="8786"/>
                  </a:lnTo>
                  <a:lnTo>
                    <a:pt x="15287" y="8954"/>
                  </a:lnTo>
                  <a:lnTo>
                    <a:pt x="15262" y="9119"/>
                  </a:lnTo>
                  <a:lnTo>
                    <a:pt x="15234" y="9285"/>
                  </a:lnTo>
                  <a:lnTo>
                    <a:pt x="15201" y="9449"/>
                  </a:lnTo>
                  <a:lnTo>
                    <a:pt x="15164" y="9612"/>
                  </a:lnTo>
                  <a:lnTo>
                    <a:pt x="15124" y="9772"/>
                  </a:lnTo>
                  <a:lnTo>
                    <a:pt x="15080" y="9931"/>
                  </a:lnTo>
                  <a:lnTo>
                    <a:pt x="15032" y="10090"/>
                  </a:lnTo>
                  <a:lnTo>
                    <a:pt x="14980" y="10246"/>
                  </a:lnTo>
                  <a:lnTo>
                    <a:pt x="14925" y="10400"/>
                  </a:lnTo>
                  <a:lnTo>
                    <a:pt x="14866" y="10554"/>
                  </a:lnTo>
                  <a:lnTo>
                    <a:pt x="14804" y="10705"/>
                  </a:lnTo>
                  <a:lnTo>
                    <a:pt x="14738" y="10854"/>
                  </a:lnTo>
                  <a:lnTo>
                    <a:pt x="14668" y="11002"/>
                  </a:lnTo>
                  <a:lnTo>
                    <a:pt x="14596" y="11148"/>
                  </a:lnTo>
                  <a:lnTo>
                    <a:pt x="14521" y="11292"/>
                  </a:lnTo>
                  <a:lnTo>
                    <a:pt x="14441" y="11434"/>
                  </a:lnTo>
                  <a:lnTo>
                    <a:pt x="14358" y="11574"/>
                  </a:lnTo>
                  <a:lnTo>
                    <a:pt x="14272" y="11712"/>
                  </a:lnTo>
                  <a:lnTo>
                    <a:pt x="14183" y="11848"/>
                  </a:lnTo>
                  <a:lnTo>
                    <a:pt x="14092" y="11981"/>
                  </a:lnTo>
                  <a:lnTo>
                    <a:pt x="13996" y="12113"/>
                  </a:lnTo>
                  <a:lnTo>
                    <a:pt x="13898" y="12241"/>
                  </a:lnTo>
                  <a:lnTo>
                    <a:pt x="13797" y="12369"/>
                  </a:lnTo>
                  <a:lnTo>
                    <a:pt x="13693" y="12493"/>
                  </a:lnTo>
                  <a:lnTo>
                    <a:pt x="13586" y="12615"/>
                  </a:lnTo>
                  <a:lnTo>
                    <a:pt x="13476" y="12735"/>
                  </a:lnTo>
                  <a:lnTo>
                    <a:pt x="13364" y="12852"/>
                  </a:lnTo>
                  <a:lnTo>
                    <a:pt x="13248" y="12967"/>
                  </a:lnTo>
                  <a:close/>
                  <a:moveTo>
                    <a:pt x="1073" y="8277"/>
                  </a:moveTo>
                  <a:lnTo>
                    <a:pt x="4248" y="8277"/>
                  </a:lnTo>
                  <a:lnTo>
                    <a:pt x="4253" y="8400"/>
                  </a:lnTo>
                  <a:lnTo>
                    <a:pt x="4258" y="8523"/>
                  </a:lnTo>
                  <a:lnTo>
                    <a:pt x="4265" y="8646"/>
                  </a:lnTo>
                  <a:lnTo>
                    <a:pt x="4273" y="8769"/>
                  </a:lnTo>
                  <a:lnTo>
                    <a:pt x="4282" y="8890"/>
                  </a:lnTo>
                  <a:lnTo>
                    <a:pt x="4294" y="9011"/>
                  </a:lnTo>
                  <a:lnTo>
                    <a:pt x="4306" y="9133"/>
                  </a:lnTo>
                  <a:lnTo>
                    <a:pt x="4319" y="9253"/>
                  </a:lnTo>
                  <a:lnTo>
                    <a:pt x="4335" y="9373"/>
                  </a:lnTo>
                  <a:lnTo>
                    <a:pt x="4351" y="9492"/>
                  </a:lnTo>
                  <a:lnTo>
                    <a:pt x="4370" y="9611"/>
                  </a:lnTo>
                  <a:lnTo>
                    <a:pt x="4388" y="9729"/>
                  </a:lnTo>
                  <a:lnTo>
                    <a:pt x="4410" y="9847"/>
                  </a:lnTo>
                  <a:lnTo>
                    <a:pt x="4431" y="9964"/>
                  </a:lnTo>
                  <a:lnTo>
                    <a:pt x="4455" y="10081"/>
                  </a:lnTo>
                  <a:lnTo>
                    <a:pt x="4479" y="10197"/>
                  </a:lnTo>
                  <a:lnTo>
                    <a:pt x="4505" y="10312"/>
                  </a:lnTo>
                  <a:lnTo>
                    <a:pt x="4533" y="10427"/>
                  </a:lnTo>
                  <a:lnTo>
                    <a:pt x="4560" y="10542"/>
                  </a:lnTo>
                  <a:lnTo>
                    <a:pt x="4590" y="10655"/>
                  </a:lnTo>
                  <a:lnTo>
                    <a:pt x="4622" y="10768"/>
                  </a:lnTo>
                  <a:lnTo>
                    <a:pt x="4654" y="10880"/>
                  </a:lnTo>
                  <a:lnTo>
                    <a:pt x="4688" y="10993"/>
                  </a:lnTo>
                  <a:lnTo>
                    <a:pt x="4723" y="11104"/>
                  </a:lnTo>
                  <a:lnTo>
                    <a:pt x="4758" y="11214"/>
                  </a:lnTo>
                  <a:lnTo>
                    <a:pt x="4795" y="11323"/>
                  </a:lnTo>
                  <a:lnTo>
                    <a:pt x="4834" y="11433"/>
                  </a:lnTo>
                  <a:lnTo>
                    <a:pt x="4874" y="11541"/>
                  </a:lnTo>
                  <a:lnTo>
                    <a:pt x="4915" y="11649"/>
                  </a:lnTo>
                  <a:lnTo>
                    <a:pt x="4958" y="11756"/>
                  </a:lnTo>
                  <a:lnTo>
                    <a:pt x="5001" y="11863"/>
                  </a:lnTo>
                  <a:lnTo>
                    <a:pt x="5045" y="11968"/>
                  </a:lnTo>
                  <a:lnTo>
                    <a:pt x="4982" y="11992"/>
                  </a:lnTo>
                  <a:lnTo>
                    <a:pt x="4920" y="12017"/>
                  </a:lnTo>
                  <a:lnTo>
                    <a:pt x="4857" y="12042"/>
                  </a:lnTo>
                  <a:lnTo>
                    <a:pt x="4795" y="12068"/>
                  </a:lnTo>
                  <a:lnTo>
                    <a:pt x="4734" y="12094"/>
                  </a:lnTo>
                  <a:lnTo>
                    <a:pt x="4672" y="12120"/>
                  </a:lnTo>
                  <a:lnTo>
                    <a:pt x="4611" y="12147"/>
                  </a:lnTo>
                  <a:lnTo>
                    <a:pt x="4550" y="12175"/>
                  </a:lnTo>
                  <a:lnTo>
                    <a:pt x="4490" y="12203"/>
                  </a:lnTo>
                  <a:lnTo>
                    <a:pt x="4429" y="12231"/>
                  </a:lnTo>
                  <a:lnTo>
                    <a:pt x="4370" y="12261"/>
                  </a:lnTo>
                  <a:lnTo>
                    <a:pt x="4309" y="12291"/>
                  </a:lnTo>
                  <a:lnTo>
                    <a:pt x="4191" y="12351"/>
                  </a:lnTo>
                  <a:lnTo>
                    <a:pt x="4073" y="12413"/>
                  </a:lnTo>
                  <a:lnTo>
                    <a:pt x="3956" y="12476"/>
                  </a:lnTo>
                  <a:lnTo>
                    <a:pt x="3841" y="12541"/>
                  </a:lnTo>
                  <a:lnTo>
                    <a:pt x="3726" y="12608"/>
                  </a:lnTo>
                  <a:lnTo>
                    <a:pt x="3613" y="12676"/>
                  </a:lnTo>
                  <a:lnTo>
                    <a:pt x="3501" y="12748"/>
                  </a:lnTo>
                  <a:lnTo>
                    <a:pt x="3389" y="12819"/>
                  </a:lnTo>
                  <a:lnTo>
                    <a:pt x="3280" y="12892"/>
                  </a:lnTo>
                  <a:lnTo>
                    <a:pt x="3171" y="12967"/>
                  </a:lnTo>
                  <a:lnTo>
                    <a:pt x="3056" y="12852"/>
                  </a:lnTo>
                  <a:lnTo>
                    <a:pt x="2943" y="12735"/>
                  </a:lnTo>
                  <a:lnTo>
                    <a:pt x="2833" y="12615"/>
                  </a:lnTo>
                  <a:lnTo>
                    <a:pt x="2727" y="12493"/>
                  </a:lnTo>
                  <a:lnTo>
                    <a:pt x="2623" y="12369"/>
                  </a:lnTo>
                  <a:lnTo>
                    <a:pt x="2521" y="12241"/>
                  </a:lnTo>
                  <a:lnTo>
                    <a:pt x="2423" y="12113"/>
                  </a:lnTo>
                  <a:lnTo>
                    <a:pt x="2328" y="11981"/>
                  </a:lnTo>
                  <a:lnTo>
                    <a:pt x="2236" y="11848"/>
                  </a:lnTo>
                  <a:lnTo>
                    <a:pt x="2147" y="11712"/>
                  </a:lnTo>
                  <a:lnTo>
                    <a:pt x="2062" y="11574"/>
                  </a:lnTo>
                  <a:lnTo>
                    <a:pt x="1978" y="11434"/>
                  </a:lnTo>
                  <a:lnTo>
                    <a:pt x="1899" y="11292"/>
                  </a:lnTo>
                  <a:lnTo>
                    <a:pt x="1824" y="11148"/>
                  </a:lnTo>
                  <a:lnTo>
                    <a:pt x="1751" y="11002"/>
                  </a:lnTo>
                  <a:lnTo>
                    <a:pt x="1682" y="10854"/>
                  </a:lnTo>
                  <a:lnTo>
                    <a:pt x="1615" y="10705"/>
                  </a:lnTo>
                  <a:lnTo>
                    <a:pt x="1554" y="10554"/>
                  </a:lnTo>
                  <a:lnTo>
                    <a:pt x="1494" y="10400"/>
                  </a:lnTo>
                  <a:lnTo>
                    <a:pt x="1440" y="10246"/>
                  </a:lnTo>
                  <a:lnTo>
                    <a:pt x="1387" y="10090"/>
                  </a:lnTo>
                  <a:lnTo>
                    <a:pt x="1340" y="9931"/>
                  </a:lnTo>
                  <a:lnTo>
                    <a:pt x="1296" y="9772"/>
                  </a:lnTo>
                  <a:lnTo>
                    <a:pt x="1255" y="9612"/>
                  </a:lnTo>
                  <a:lnTo>
                    <a:pt x="1219" y="9449"/>
                  </a:lnTo>
                  <a:lnTo>
                    <a:pt x="1186" y="9285"/>
                  </a:lnTo>
                  <a:lnTo>
                    <a:pt x="1158" y="9119"/>
                  </a:lnTo>
                  <a:lnTo>
                    <a:pt x="1132" y="8954"/>
                  </a:lnTo>
                  <a:lnTo>
                    <a:pt x="1111" y="8786"/>
                  </a:lnTo>
                  <a:lnTo>
                    <a:pt x="1095" y="8617"/>
                  </a:lnTo>
                  <a:lnTo>
                    <a:pt x="1082" y="8448"/>
                  </a:lnTo>
                  <a:lnTo>
                    <a:pt x="1073" y="8277"/>
                  </a:lnTo>
                  <a:close/>
                  <a:moveTo>
                    <a:pt x="2878" y="3381"/>
                  </a:moveTo>
                  <a:lnTo>
                    <a:pt x="2935" y="3423"/>
                  </a:lnTo>
                  <a:lnTo>
                    <a:pt x="2992" y="3466"/>
                  </a:lnTo>
                  <a:lnTo>
                    <a:pt x="3050" y="3507"/>
                  </a:lnTo>
                  <a:lnTo>
                    <a:pt x="3107" y="3549"/>
                  </a:lnTo>
                  <a:lnTo>
                    <a:pt x="3165" y="3590"/>
                  </a:lnTo>
                  <a:lnTo>
                    <a:pt x="3223" y="3630"/>
                  </a:lnTo>
                  <a:lnTo>
                    <a:pt x="3282" y="3670"/>
                  </a:lnTo>
                  <a:lnTo>
                    <a:pt x="3341" y="3710"/>
                  </a:lnTo>
                  <a:lnTo>
                    <a:pt x="3401" y="3749"/>
                  </a:lnTo>
                  <a:lnTo>
                    <a:pt x="3460" y="3789"/>
                  </a:lnTo>
                  <a:lnTo>
                    <a:pt x="3521" y="3827"/>
                  </a:lnTo>
                  <a:lnTo>
                    <a:pt x="3581" y="3865"/>
                  </a:lnTo>
                  <a:lnTo>
                    <a:pt x="3642" y="3902"/>
                  </a:lnTo>
                  <a:lnTo>
                    <a:pt x="3702" y="3939"/>
                  </a:lnTo>
                  <a:lnTo>
                    <a:pt x="3764" y="3975"/>
                  </a:lnTo>
                  <a:lnTo>
                    <a:pt x="3826" y="4011"/>
                  </a:lnTo>
                  <a:lnTo>
                    <a:pt x="3887" y="4046"/>
                  </a:lnTo>
                  <a:lnTo>
                    <a:pt x="3950" y="4081"/>
                  </a:lnTo>
                  <a:lnTo>
                    <a:pt x="4012" y="4116"/>
                  </a:lnTo>
                  <a:lnTo>
                    <a:pt x="4076" y="4150"/>
                  </a:lnTo>
                  <a:lnTo>
                    <a:pt x="4139" y="4183"/>
                  </a:lnTo>
                  <a:lnTo>
                    <a:pt x="4202" y="4216"/>
                  </a:lnTo>
                  <a:lnTo>
                    <a:pt x="4267" y="4249"/>
                  </a:lnTo>
                  <a:lnTo>
                    <a:pt x="4331" y="4281"/>
                  </a:lnTo>
                  <a:lnTo>
                    <a:pt x="4395" y="4312"/>
                  </a:lnTo>
                  <a:lnTo>
                    <a:pt x="4461" y="4343"/>
                  </a:lnTo>
                  <a:lnTo>
                    <a:pt x="4525" y="4374"/>
                  </a:lnTo>
                  <a:lnTo>
                    <a:pt x="4591" y="4403"/>
                  </a:lnTo>
                  <a:lnTo>
                    <a:pt x="4657" y="4432"/>
                  </a:lnTo>
                  <a:lnTo>
                    <a:pt x="4724" y="4461"/>
                  </a:lnTo>
                  <a:lnTo>
                    <a:pt x="4789" y="4489"/>
                  </a:lnTo>
                  <a:lnTo>
                    <a:pt x="4856" y="4517"/>
                  </a:lnTo>
                  <a:lnTo>
                    <a:pt x="4822" y="4611"/>
                  </a:lnTo>
                  <a:lnTo>
                    <a:pt x="4789" y="4706"/>
                  </a:lnTo>
                  <a:lnTo>
                    <a:pt x="4756" y="4801"/>
                  </a:lnTo>
                  <a:lnTo>
                    <a:pt x="4726" y="4897"/>
                  </a:lnTo>
                  <a:lnTo>
                    <a:pt x="4695" y="4993"/>
                  </a:lnTo>
                  <a:lnTo>
                    <a:pt x="4665" y="5090"/>
                  </a:lnTo>
                  <a:lnTo>
                    <a:pt x="4637" y="5188"/>
                  </a:lnTo>
                  <a:lnTo>
                    <a:pt x="4610" y="5285"/>
                  </a:lnTo>
                  <a:lnTo>
                    <a:pt x="4583" y="5383"/>
                  </a:lnTo>
                  <a:lnTo>
                    <a:pt x="4557" y="5482"/>
                  </a:lnTo>
                  <a:lnTo>
                    <a:pt x="4533" y="5582"/>
                  </a:lnTo>
                  <a:lnTo>
                    <a:pt x="4509" y="5681"/>
                  </a:lnTo>
                  <a:lnTo>
                    <a:pt x="4486" y="5781"/>
                  </a:lnTo>
                  <a:lnTo>
                    <a:pt x="4465" y="5881"/>
                  </a:lnTo>
                  <a:lnTo>
                    <a:pt x="4444" y="5982"/>
                  </a:lnTo>
                  <a:lnTo>
                    <a:pt x="4425" y="6084"/>
                  </a:lnTo>
                  <a:lnTo>
                    <a:pt x="4406" y="6186"/>
                  </a:lnTo>
                  <a:lnTo>
                    <a:pt x="4388" y="6288"/>
                  </a:lnTo>
                  <a:lnTo>
                    <a:pt x="4372" y="6391"/>
                  </a:lnTo>
                  <a:lnTo>
                    <a:pt x="4356" y="6494"/>
                  </a:lnTo>
                  <a:lnTo>
                    <a:pt x="4342" y="6598"/>
                  </a:lnTo>
                  <a:lnTo>
                    <a:pt x="4328" y="6701"/>
                  </a:lnTo>
                  <a:lnTo>
                    <a:pt x="4315" y="6805"/>
                  </a:lnTo>
                  <a:lnTo>
                    <a:pt x="4304" y="6911"/>
                  </a:lnTo>
                  <a:lnTo>
                    <a:pt x="4294" y="7015"/>
                  </a:lnTo>
                  <a:lnTo>
                    <a:pt x="4284" y="7120"/>
                  </a:lnTo>
                  <a:lnTo>
                    <a:pt x="4275" y="7226"/>
                  </a:lnTo>
                  <a:lnTo>
                    <a:pt x="4268" y="7332"/>
                  </a:lnTo>
                  <a:lnTo>
                    <a:pt x="4262" y="7439"/>
                  </a:lnTo>
                  <a:lnTo>
                    <a:pt x="4257" y="7545"/>
                  </a:lnTo>
                  <a:lnTo>
                    <a:pt x="4253" y="7652"/>
                  </a:lnTo>
                  <a:lnTo>
                    <a:pt x="4248" y="7759"/>
                  </a:lnTo>
                  <a:lnTo>
                    <a:pt x="1073" y="7759"/>
                  </a:lnTo>
                  <a:lnTo>
                    <a:pt x="1081" y="7602"/>
                  </a:lnTo>
                  <a:lnTo>
                    <a:pt x="1092" y="7446"/>
                  </a:lnTo>
                  <a:lnTo>
                    <a:pt x="1107" y="7291"/>
                  </a:lnTo>
                  <a:lnTo>
                    <a:pt x="1125" y="7137"/>
                  </a:lnTo>
                  <a:lnTo>
                    <a:pt x="1146" y="6984"/>
                  </a:lnTo>
                  <a:lnTo>
                    <a:pt x="1171" y="6832"/>
                  </a:lnTo>
                  <a:lnTo>
                    <a:pt x="1200" y="6681"/>
                  </a:lnTo>
                  <a:lnTo>
                    <a:pt x="1231" y="6532"/>
                  </a:lnTo>
                  <a:lnTo>
                    <a:pt x="1265" y="6383"/>
                  </a:lnTo>
                  <a:lnTo>
                    <a:pt x="1304" y="6236"/>
                  </a:lnTo>
                  <a:lnTo>
                    <a:pt x="1345" y="6090"/>
                  </a:lnTo>
                  <a:lnTo>
                    <a:pt x="1389" y="5945"/>
                  </a:lnTo>
                  <a:lnTo>
                    <a:pt x="1437" y="5802"/>
                  </a:lnTo>
                  <a:lnTo>
                    <a:pt x="1487" y="5660"/>
                  </a:lnTo>
                  <a:lnTo>
                    <a:pt x="1540" y="5519"/>
                  </a:lnTo>
                  <a:lnTo>
                    <a:pt x="1597" y="5380"/>
                  </a:lnTo>
                  <a:lnTo>
                    <a:pt x="1656" y="5243"/>
                  </a:lnTo>
                  <a:lnTo>
                    <a:pt x="1719" y="5106"/>
                  </a:lnTo>
                  <a:lnTo>
                    <a:pt x="1785" y="4972"/>
                  </a:lnTo>
                  <a:lnTo>
                    <a:pt x="1852" y="4839"/>
                  </a:lnTo>
                  <a:lnTo>
                    <a:pt x="1923" y="4708"/>
                  </a:lnTo>
                  <a:lnTo>
                    <a:pt x="1997" y="4578"/>
                  </a:lnTo>
                  <a:lnTo>
                    <a:pt x="2074" y="4450"/>
                  </a:lnTo>
                  <a:lnTo>
                    <a:pt x="2153" y="4324"/>
                  </a:lnTo>
                  <a:lnTo>
                    <a:pt x="2234" y="4199"/>
                  </a:lnTo>
                  <a:lnTo>
                    <a:pt x="2319" y="4076"/>
                  </a:lnTo>
                  <a:lnTo>
                    <a:pt x="2405" y="3956"/>
                  </a:lnTo>
                  <a:lnTo>
                    <a:pt x="2496" y="3837"/>
                  </a:lnTo>
                  <a:lnTo>
                    <a:pt x="2587" y="3719"/>
                  </a:lnTo>
                  <a:lnTo>
                    <a:pt x="2681" y="3605"/>
                  </a:lnTo>
                  <a:lnTo>
                    <a:pt x="2779" y="3492"/>
                  </a:lnTo>
                  <a:lnTo>
                    <a:pt x="2878" y="3381"/>
                  </a:lnTo>
                  <a:close/>
                  <a:moveTo>
                    <a:pt x="8474" y="7759"/>
                  </a:moveTo>
                  <a:lnTo>
                    <a:pt x="8474" y="5160"/>
                  </a:lnTo>
                  <a:lnTo>
                    <a:pt x="8559" y="5157"/>
                  </a:lnTo>
                  <a:lnTo>
                    <a:pt x="8644" y="5153"/>
                  </a:lnTo>
                  <a:lnTo>
                    <a:pt x="8728" y="5149"/>
                  </a:lnTo>
                  <a:lnTo>
                    <a:pt x="8812" y="5143"/>
                  </a:lnTo>
                  <a:lnTo>
                    <a:pt x="8896" y="5137"/>
                  </a:lnTo>
                  <a:lnTo>
                    <a:pt x="8980" y="5131"/>
                  </a:lnTo>
                  <a:lnTo>
                    <a:pt x="9063" y="5122"/>
                  </a:lnTo>
                  <a:lnTo>
                    <a:pt x="9146" y="5114"/>
                  </a:lnTo>
                  <a:lnTo>
                    <a:pt x="9230" y="5105"/>
                  </a:lnTo>
                  <a:lnTo>
                    <a:pt x="9313" y="5095"/>
                  </a:lnTo>
                  <a:lnTo>
                    <a:pt x="9395" y="5084"/>
                  </a:lnTo>
                  <a:lnTo>
                    <a:pt x="9477" y="5073"/>
                  </a:lnTo>
                  <a:lnTo>
                    <a:pt x="9559" y="5061"/>
                  </a:lnTo>
                  <a:lnTo>
                    <a:pt x="9641" y="5048"/>
                  </a:lnTo>
                  <a:lnTo>
                    <a:pt x="9723" y="5035"/>
                  </a:lnTo>
                  <a:lnTo>
                    <a:pt x="9804" y="5020"/>
                  </a:lnTo>
                  <a:lnTo>
                    <a:pt x="9885" y="5005"/>
                  </a:lnTo>
                  <a:lnTo>
                    <a:pt x="9965" y="4990"/>
                  </a:lnTo>
                  <a:lnTo>
                    <a:pt x="10046" y="4973"/>
                  </a:lnTo>
                  <a:lnTo>
                    <a:pt x="10126" y="4956"/>
                  </a:lnTo>
                  <a:lnTo>
                    <a:pt x="10206" y="4938"/>
                  </a:lnTo>
                  <a:lnTo>
                    <a:pt x="10287" y="4920"/>
                  </a:lnTo>
                  <a:lnTo>
                    <a:pt x="10366" y="4900"/>
                  </a:lnTo>
                  <a:lnTo>
                    <a:pt x="10445" y="4880"/>
                  </a:lnTo>
                  <a:lnTo>
                    <a:pt x="10524" y="4860"/>
                  </a:lnTo>
                  <a:lnTo>
                    <a:pt x="10602" y="4838"/>
                  </a:lnTo>
                  <a:lnTo>
                    <a:pt x="10681" y="4816"/>
                  </a:lnTo>
                  <a:lnTo>
                    <a:pt x="10759" y="4793"/>
                  </a:lnTo>
                  <a:lnTo>
                    <a:pt x="10836" y="4770"/>
                  </a:lnTo>
                  <a:lnTo>
                    <a:pt x="10914" y="4746"/>
                  </a:lnTo>
                  <a:lnTo>
                    <a:pt x="10990" y="4721"/>
                  </a:lnTo>
                  <a:lnTo>
                    <a:pt x="11066" y="4695"/>
                  </a:lnTo>
                  <a:lnTo>
                    <a:pt x="11099" y="4784"/>
                  </a:lnTo>
                  <a:lnTo>
                    <a:pt x="11130" y="4873"/>
                  </a:lnTo>
                  <a:lnTo>
                    <a:pt x="11161" y="4963"/>
                  </a:lnTo>
                  <a:lnTo>
                    <a:pt x="11191" y="5053"/>
                  </a:lnTo>
                  <a:lnTo>
                    <a:pt x="11219" y="5145"/>
                  </a:lnTo>
                  <a:lnTo>
                    <a:pt x="11247" y="5236"/>
                  </a:lnTo>
                  <a:lnTo>
                    <a:pt x="11274" y="5328"/>
                  </a:lnTo>
                  <a:lnTo>
                    <a:pt x="11299" y="5420"/>
                  </a:lnTo>
                  <a:lnTo>
                    <a:pt x="11325" y="5513"/>
                  </a:lnTo>
                  <a:lnTo>
                    <a:pt x="11349" y="5607"/>
                  </a:lnTo>
                  <a:lnTo>
                    <a:pt x="11372" y="5701"/>
                  </a:lnTo>
                  <a:lnTo>
                    <a:pt x="11395" y="5795"/>
                  </a:lnTo>
                  <a:lnTo>
                    <a:pt x="11415" y="5889"/>
                  </a:lnTo>
                  <a:lnTo>
                    <a:pt x="11436" y="5984"/>
                  </a:lnTo>
                  <a:lnTo>
                    <a:pt x="11455" y="6080"/>
                  </a:lnTo>
                  <a:lnTo>
                    <a:pt x="11474" y="6176"/>
                  </a:lnTo>
                  <a:lnTo>
                    <a:pt x="11491" y="6272"/>
                  </a:lnTo>
                  <a:lnTo>
                    <a:pt x="11509" y="6368"/>
                  </a:lnTo>
                  <a:lnTo>
                    <a:pt x="11524" y="6466"/>
                  </a:lnTo>
                  <a:lnTo>
                    <a:pt x="11538" y="6563"/>
                  </a:lnTo>
                  <a:lnTo>
                    <a:pt x="11553" y="6661"/>
                  </a:lnTo>
                  <a:lnTo>
                    <a:pt x="11565" y="6759"/>
                  </a:lnTo>
                  <a:lnTo>
                    <a:pt x="11577" y="6857"/>
                  </a:lnTo>
                  <a:lnTo>
                    <a:pt x="11589" y="6957"/>
                  </a:lnTo>
                  <a:lnTo>
                    <a:pt x="11598" y="7056"/>
                  </a:lnTo>
                  <a:lnTo>
                    <a:pt x="11607" y="7155"/>
                  </a:lnTo>
                  <a:lnTo>
                    <a:pt x="11615" y="7255"/>
                  </a:lnTo>
                  <a:lnTo>
                    <a:pt x="11623" y="7356"/>
                  </a:lnTo>
                  <a:lnTo>
                    <a:pt x="11629" y="7456"/>
                  </a:lnTo>
                  <a:lnTo>
                    <a:pt x="11634" y="7557"/>
                  </a:lnTo>
                  <a:lnTo>
                    <a:pt x="11638" y="7658"/>
                  </a:lnTo>
                  <a:lnTo>
                    <a:pt x="11641" y="7759"/>
                  </a:lnTo>
                  <a:lnTo>
                    <a:pt x="8474" y="7759"/>
                  </a:lnTo>
                  <a:close/>
                  <a:moveTo>
                    <a:pt x="10879" y="11791"/>
                  </a:moveTo>
                  <a:lnTo>
                    <a:pt x="10807" y="11768"/>
                  </a:lnTo>
                  <a:lnTo>
                    <a:pt x="10735" y="11747"/>
                  </a:lnTo>
                  <a:lnTo>
                    <a:pt x="10663" y="11726"/>
                  </a:lnTo>
                  <a:lnTo>
                    <a:pt x="10590" y="11706"/>
                  </a:lnTo>
                  <a:lnTo>
                    <a:pt x="10518" y="11686"/>
                  </a:lnTo>
                  <a:lnTo>
                    <a:pt x="10446" y="11667"/>
                  </a:lnTo>
                  <a:lnTo>
                    <a:pt x="10373" y="11649"/>
                  </a:lnTo>
                  <a:lnTo>
                    <a:pt x="10299" y="11631"/>
                  </a:lnTo>
                  <a:lnTo>
                    <a:pt x="10226" y="11614"/>
                  </a:lnTo>
                  <a:lnTo>
                    <a:pt x="10152" y="11598"/>
                  </a:lnTo>
                  <a:lnTo>
                    <a:pt x="10078" y="11582"/>
                  </a:lnTo>
                  <a:lnTo>
                    <a:pt x="10003" y="11566"/>
                  </a:lnTo>
                  <a:lnTo>
                    <a:pt x="9929" y="11552"/>
                  </a:lnTo>
                  <a:lnTo>
                    <a:pt x="9854" y="11538"/>
                  </a:lnTo>
                  <a:lnTo>
                    <a:pt x="9780" y="11525"/>
                  </a:lnTo>
                  <a:lnTo>
                    <a:pt x="9704" y="11512"/>
                  </a:lnTo>
                  <a:lnTo>
                    <a:pt x="9629" y="11500"/>
                  </a:lnTo>
                  <a:lnTo>
                    <a:pt x="9553" y="11488"/>
                  </a:lnTo>
                  <a:lnTo>
                    <a:pt x="9477" y="11477"/>
                  </a:lnTo>
                  <a:lnTo>
                    <a:pt x="9401" y="11467"/>
                  </a:lnTo>
                  <a:lnTo>
                    <a:pt x="9325" y="11458"/>
                  </a:lnTo>
                  <a:lnTo>
                    <a:pt x="9249" y="11449"/>
                  </a:lnTo>
                  <a:lnTo>
                    <a:pt x="9172" y="11440"/>
                  </a:lnTo>
                  <a:lnTo>
                    <a:pt x="9095" y="11433"/>
                  </a:lnTo>
                  <a:lnTo>
                    <a:pt x="9018" y="11425"/>
                  </a:lnTo>
                  <a:lnTo>
                    <a:pt x="8941" y="11419"/>
                  </a:lnTo>
                  <a:lnTo>
                    <a:pt x="8864" y="11413"/>
                  </a:lnTo>
                  <a:lnTo>
                    <a:pt x="8786" y="11408"/>
                  </a:lnTo>
                  <a:lnTo>
                    <a:pt x="8708" y="11404"/>
                  </a:lnTo>
                  <a:lnTo>
                    <a:pt x="8630" y="11400"/>
                  </a:lnTo>
                  <a:lnTo>
                    <a:pt x="8552" y="11396"/>
                  </a:lnTo>
                  <a:lnTo>
                    <a:pt x="8474" y="11394"/>
                  </a:lnTo>
                  <a:lnTo>
                    <a:pt x="8474" y="8277"/>
                  </a:lnTo>
                  <a:lnTo>
                    <a:pt x="11641" y="8277"/>
                  </a:lnTo>
                  <a:lnTo>
                    <a:pt x="11637" y="8394"/>
                  </a:lnTo>
                  <a:lnTo>
                    <a:pt x="11632" y="8512"/>
                  </a:lnTo>
                  <a:lnTo>
                    <a:pt x="11626" y="8628"/>
                  </a:lnTo>
                  <a:lnTo>
                    <a:pt x="11617" y="8746"/>
                  </a:lnTo>
                  <a:lnTo>
                    <a:pt x="11608" y="8862"/>
                  </a:lnTo>
                  <a:lnTo>
                    <a:pt x="11598" y="8977"/>
                  </a:lnTo>
                  <a:lnTo>
                    <a:pt x="11586" y="9092"/>
                  </a:lnTo>
                  <a:lnTo>
                    <a:pt x="11572" y="9207"/>
                  </a:lnTo>
                  <a:lnTo>
                    <a:pt x="11558" y="9321"/>
                  </a:lnTo>
                  <a:lnTo>
                    <a:pt x="11542" y="9435"/>
                  </a:lnTo>
                  <a:lnTo>
                    <a:pt x="11525" y="9548"/>
                  </a:lnTo>
                  <a:lnTo>
                    <a:pt x="11506" y="9661"/>
                  </a:lnTo>
                  <a:lnTo>
                    <a:pt x="11486" y="9773"/>
                  </a:lnTo>
                  <a:lnTo>
                    <a:pt x="11466" y="9884"/>
                  </a:lnTo>
                  <a:lnTo>
                    <a:pt x="11443" y="9995"/>
                  </a:lnTo>
                  <a:lnTo>
                    <a:pt x="11419" y="10106"/>
                  </a:lnTo>
                  <a:lnTo>
                    <a:pt x="11395" y="10216"/>
                  </a:lnTo>
                  <a:lnTo>
                    <a:pt x="11368" y="10325"/>
                  </a:lnTo>
                  <a:lnTo>
                    <a:pt x="11341" y="10434"/>
                  </a:lnTo>
                  <a:lnTo>
                    <a:pt x="11313" y="10543"/>
                  </a:lnTo>
                  <a:lnTo>
                    <a:pt x="11283" y="10650"/>
                  </a:lnTo>
                  <a:lnTo>
                    <a:pt x="11252" y="10757"/>
                  </a:lnTo>
                  <a:lnTo>
                    <a:pt x="11220" y="10863"/>
                  </a:lnTo>
                  <a:lnTo>
                    <a:pt x="11186" y="10969"/>
                  </a:lnTo>
                  <a:lnTo>
                    <a:pt x="11152" y="11074"/>
                  </a:lnTo>
                  <a:lnTo>
                    <a:pt x="11117" y="11178"/>
                  </a:lnTo>
                  <a:lnTo>
                    <a:pt x="11080" y="11282"/>
                  </a:lnTo>
                  <a:lnTo>
                    <a:pt x="11042" y="11386"/>
                  </a:lnTo>
                  <a:lnTo>
                    <a:pt x="11003" y="11488"/>
                  </a:lnTo>
                  <a:lnTo>
                    <a:pt x="10962" y="11590"/>
                  </a:lnTo>
                  <a:lnTo>
                    <a:pt x="10921" y="11690"/>
                  </a:lnTo>
                  <a:lnTo>
                    <a:pt x="10879" y="11791"/>
                  </a:lnTo>
                  <a:close/>
                  <a:moveTo>
                    <a:pt x="11162" y="12440"/>
                  </a:moveTo>
                  <a:lnTo>
                    <a:pt x="11275" y="12484"/>
                  </a:lnTo>
                  <a:lnTo>
                    <a:pt x="11387" y="12529"/>
                  </a:lnTo>
                  <a:lnTo>
                    <a:pt x="11497" y="12575"/>
                  </a:lnTo>
                  <a:lnTo>
                    <a:pt x="11606" y="12624"/>
                  </a:lnTo>
                  <a:lnTo>
                    <a:pt x="11715" y="12674"/>
                  </a:lnTo>
                  <a:lnTo>
                    <a:pt x="11824" y="12726"/>
                  </a:lnTo>
                  <a:lnTo>
                    <a:pt x="11930" y="12779"/>
                  </a:lnTo>
                  <a:lnTo>
                    <a:pt x="12036" y="12833"/>
                  </a:lnTo>
                  <a:lnTo>
                    <a:pt x="12142" y="12889"/>
                  </a:lnTo>
                  <a:lnTo>
                    <a:pt x="12245" y="12946"/>
                  </a:lnTo>
                  <a:lnTo>
                    <a:pt x="12349" y="13005"/>
                  </a:lnTo>
                  <a:lnTo>
                    <a:pt x="12451" y="13065"/>
                  </a:lnTo>
                  <a:lnTo>
                    <a:pt x="12552" y="13127"/>
                  </a:lnTo>
                  <a:lnTo>
                    <a:pt x="12653" y="13191"/>
                  </a:lnTo>
                  <a:lnTo>
                    <a:pt x="12751" y="13255"/>
                  </a:lnTo>
                  <a:lnTo>
                    <a:pt x="12850" y="13320"/>
                  </a:lnTo>
                  <a:lnTo>
                    <a:pt x="12759" y="13395"/>
                  </a:lnTo>
                  <a:lnTo>
                    <a:pt x="12666" y="13469"/>
                  </a:lnTo>
                  <a:lnTo>
                    <a:pt x="12573" y="13540"/>
                  </a:lnTo>
                  <a:lnTo>
                    <a:pt x="12477" y="13612"/>
                  </a:lnTo>
                  <a:lnTo>
                    <a:pt x="12381" y="13681"/>
                  </a:lnTo>
                  <a:lnTo>
                    <a:pt x="12283" y="13748"/>
                  </a:lnTo>
                  <a:lnTo>
                    <a:pt x="12185" y="13814"/>
                  </a:lnTo>
                  <a:lnTo>
                    <a:pt x="12084" y="13878"/>
                  </a:lnTo>
                  <a:lnTo>
                    <a:pt x="11984" y="13940"/>
                  </a:lnTo>
                  <a:lnTo>
                    <a:pt x="11881" y="14001"/>
                  </a:lnTo>
                  <a:lnTo>
                    <a:pt x="11779" y="14062"/>
                  </a:lnTo>
                  <a:lnTo>
                    <a:pt x="11674" y="14119"/>
                  </a:lnTo>
                  <a:lnTo>
                    <a:pt x="11568" y="14175"/>
                  </a:lnTo>
                  <a:lnTo>
                    <a:pt x="11461" y="14229"/>
                  </a:lnTo>
                  <a:lnTo>
                    <a:pt x="11354" y="14282"/>
                  </a:lnTo>
                  <a:lnTo>
                    <a:pt x="11245" y="14333"/>
                  </a:lnTo>
                  <a:lnTo>
                    <a:pt x="11136" y="14382"/>
                  </a:lnTo>
                  <a:lnTo>
                    <a:pt x="11025" y="14429"/>
                  </a:lnTo>
                  <a:lnTo>
                    <a:pt x="10914" y="14475"/>
                  </a:lnTo>
                  <a:lnTo>
                    <a:pt x="10802" y="14519"/>
                  </a:lnTo>
                  <a:lnTo>
                    <a:pt x="10688" y="14561"/>
                  </a:lnTo>
                  <a:lnTo>
                    <a:pt x="10573" y="14601"/>
                  </a:lnTo>
                  <a:lnTo>
                    <a:pt x="10458" y="14639"/>
                  </a:lnTo>
                  <a:lnTo>
                    <a:pt x="10342" y="14676"/>
                  </a:lnTo>
                  <a:lnTo>
                    <a:pt x="10225" y="14710"/>
                  </a:lnTo>
                  <a:lnTo>
                    <a:pt x="10107" y="14743"/>
                  </a:lnTo>
                  <a:lnTo>
                    <a:pt x="9989" y="14774"/>
                  </a:lnTo>
                  <a:lnTo>
                    <a:pt x="9869" y="14802"/>
                  </a:lnTo>
                  <a:lnTo>
                    <a:pt x="9749" y="14829"/>
                  </a:lnTo>
                  <a:lnTo>
                    <a:pt x="9628" y="14854"/>
                  </a:lnTo>
                  <a:lnTo>
                    <a:pt x="9507" y="14877"/>
                  </a:lnTo>
                  <a:lnTo>
                    <a:pt x="9383" y="14898"/>
                  </a:lnTo>
                  <a:lnTo>
                    <a:pt x="9450" y="14833"/>
                  </a:lnTo>
                  <a:lnTo>
                    <a:pt x="9516" y="14767"/>
                  </a:lnTo>
                  <a:lnTo>
                    <a:pt x="9582" y="14700"/>
                  </a:lnTo>
                  <a:lnTo>
                    <a:pt x="9645" y="14633"/>
                  </a:lnTo>
                  <a:lnTo>
                    <a:pt x="9710" y="14564"/>
                  </a:lnTo>
                  <a:lnTo>
                    <a:pt x="9772" y="14495"/>
                  </a:lnTo>
                  <a:lnTo>
                    <a:pt x="9835" y="14424"/>
                  </a:lnTo>
                  <a:lnTo>
                    <a:pt x="9897" y="14354"/>
                  </a:lnTo>
                  <a:lnTo>
                    <a:pt x="9958" y="14282"/>
                  </a:lnTo>
                  <a:lnTo>
                    <a:pt x="10019" y="14210"/>
                  </a:lnTo>
                  <a:lnTo>
                    <a:pt x="10078" y="14137"/>
                  </a:lnTo>
                  <a:lnTo>
                    <a:pt x="10138" y="14064"/>
                  </a:lnTo>
                  <a:lnTo>
                    <a:pt x="10195" y="13988"/>
                  </a:lnTo>
                  <a:lnTo>
                    <a:pt x="10254" y="13913"/>
                  </a:lnTo>
                  <a:lnTo>
                    <a:pt x="10310" y="13837"/>
                  </a:lnTo>
                  <a:lnTo>
                    <a:pt x="10367" y="13761"/>
                  </a:lnTo>
                  <a:lnTo>
                    <a:pt x="10422" y="13684"/>
                  </a:lnTo>
                  <a:lnTo>
                    <a:pt x="10476" y="13606"/>
                  </a:lnTo>
                  <a:lnTo>
                    <a:pt x="10531" y="13526"/>
                  </a:lnTo>
                  <a:lnTo>
                    <a:pt x="10584" y="13447"/>
                  </a:lnTo>
                  <a:lnTo>
                    <a:pt x="10636" y="13367"/>
                  </a:lnTo>
                  <a:lnTo>
                    <a:pt x="10688" y="13286"/>
                  </a:lnTo>
                  <a:lnTo>
                    <a:pt x="10739" y="13204"/>
                  </a:lnTo>
                  <a:lnTo>
                    <a:pt x="10789" y="13121"/>
                  </a:lnTo>
                  <a:lnTo>
                    <a:pt x="10839" y="13039"/>
                  </a:lnTo>
                  <a:lnTo>
                    <a:pt x="10888" y="12955"/>
                  </a:lnTo>
                  <a:lnTo>
                    <a:pt x="10935" y="12871"/>
                  </a:lnTo>
                  <a:lnTo>
                    <a:pt x="10982" y="12786"/>
                  </a:lnTo>
                  <a:lnTo>
                    <a:pt x="11028" y="12701"/>
                  </a:lnTo>
                  <a:lnTo>
                    <a:pt x="11074" y="12614"/>
                  </a:lnTo>
                  <a:lnTo>
                    <a:pt x="11119" y="12528"/>
                  </a:lnTo>
                  <a:lnTo>
                    <a:pt x="11162" y="12440"/>
                  </a:lnTo>
                  <a:close/>
                  <a:moveTo>
                    <a:pt x="8474" y="14988"/>
                  </a:moveTo>
                  <a:lnTo>
                    <a:pt x="8474" y="11911"/>
                  </a:lnTo>
                  <a:lnTo>
                    <a:pt x="8545" y="11913"/>
                  </a:lnTo>
                  <a:lnTo>
                    <a:pt x="8616" y="11916"/>
                  </a:lnTo>
                  <a:lnTo>
                    <a:pt x="8687" y="11920"/>
                  </a:lnTo>
                  <a:lnTo>
                    <a:pt x="8757" y="11924"/>
                  </a:lnTo>
                  <a:lnTo>
                    <a:pt x="8828" y="11929"/>
                  </a:lnTo>
                  <a:lnTo>
                    <a:pt x="8899" y="11934"/>
                  </a:lnTo>
                  <a:lnTo>
                    <a:pt x="8969" y="11940"/>
                  </a:lnTo>
                  <a:lnTo>
                    <a:pt x="9039" y="11946"/>
                  </a:lnTo>
                  <a:lnTo>
                    <a:pt x="9108" y="11953"/>
                  </a:lnTo>
                  <a:lnTo>
                    <a:pt x="9178" y="11960"/>
                  </a:lnTo>
                  <a:lnTo>
                    <a:pt x="9248" y="11968"/>
                  </a:lnTo>
                  <a:lnTo>
                    <a:pt x="9317" y="11976"/>
                  </a:lnTo>
                  <a:lnTo>
                    <a:pt x="9387" y="11986"/>
                  </a:lnTo>
                  <a:lnTo>
                    <a:pt x="9455" y="11995"/>
                  </a:lnTo>
                  <a:lnTo>
                    <a:pt x="9524" y="12005"/>
                  </a:lnTo>
                  <a:lnTo>
                    <a:pt x="9593" y="12016"/>
                  </a:lnTo>
                  <a:lnTo>
                    <a:pt x="9661" y="12027"/>
                  </a:lnTo>
                  <a:lnTo>
                    <a:pt x="9729" y="12039"/>
                  </a:lnTo>
                  <a:lnTo>
                    <a:pt x="9797" y="12051"/>
                  </a:lnTo>
                  <a:lnTo>
                    <a:pt x="9865" y="12064"/>
                  </a:lnTo>
                  <a:lnTo>
                    <a:pt x="9932" y="12077"/>
                  </a:lnTo>
                  <a:lnTo>
                    <a:pt x="10000" y="12091"/>
                  </a:lnTo>
                  <a:lnTo>
                    <a:pt x="10067" y="12106"/>
                  </a:lnTo>
                  <a:lnTo>
                    <a:pt x="10134" y="12121"/>
                  </a:lnTo>
                  <a:lnTo>
                    <a:pt x="10200" y="12136"/>
                  </a:lnTo>
                  <a:lnTo>
                    <a:pt x="10267" y="12153"/>
                  </a:lnTo>
                  <a:lnTo>
                    <a:pt x="10334" y="12169"/>
                  </a:lnTo>
                  <a:lnTo>
                    <a:pt x="10399" y="12187"/>
                  </a:lnTo>
                  <a:lnTo>
                    <a:pt x="10465" y="12204"/>
                  </a:lnTo>
                  <a:lnTo>
                    <a:pt x="10531" y="12223"/>
                  </a:lnTo>
                  <a:lnTo>
                    <a:pt x="10596" y="12242"/>
                  </a:lnTo>
                  <a:lnTo>
                    <a:pt x="10661" y="12262"/>
                  </a:lnTo>
                  <a:lnTo>
                    <a:pt x="10610" y="12363"/>
                  </a:lnTo>
                  <a:lnTo>
                    <a:pt x="10557" y="12462"/>
                  </a:lnTo>
                  <a:lnTo>
                    <a:pt x="10504" y="12561"/>
                  </a:lnTo>
                  <a:lnTo>
                    <a:pt x="10450" y="12659"/>
                  </a:lnTo>
                  <a:lnTo>
                    <a:pt x="10393" y="12757"/>
                  </a:lnTo>
                  <a:lnTo>
                    <a:pt x="10337" y="12853"/>
                  </a:lnTo>
                  <a:lnTo>
                    <a:pt x="10279" y="12948"/>
                  </a:lnTo>
                  <a:lnTo>
                    <a:pt x="10220" y="13042"/>
                  </a:lnTo>
                  <a:lnTo>
                    <a:pt x="10159" y="13135"/>
                  </a:lnTo>
                  <a:lnTo>
                    <a:pt x="10099" y="13228"/>
                  </a:lnTo>
                  <a:lnTo>
                    <a:pt x="10036" y="13319"/>
                  </a:lnTo>
                  <a:lnTo>
                    <a:pt x="9972" y="13410"/>
                  </a:lnTo>
                  <a:lnTo>
                    <a:pt x="9909" y="13499"/>
                  </a:lnTo>
                  <a:lnTo>
                    <a:pt x="9843" y="13588"/>
                  </a:lnTo>
                  <a:lnTo>
                    <a:pt x="9776" y="13675"/>
                  </a:lnTo>
                  <a:lnTo>
                    <a:pt x="9710" y="13761"/>
                  </a:lnTo>
                  <a:lnTo>
                    <a:pt x="9641" y="13846"/>
                  </a:lnTo>
                  <a:lnTo>
                    <a:pt x="9571" y="13930"/>
                  </a:lnTo>
                  <a:lnTo>
                    <a:pt x="9501" y="14012"/>
                  </a:lnTo>
                  <a:lnTo>
                    <a:pt x="9430" y="14095"/>
                  </a:lnTo>
                  <a:lnTo>
                    <a:pt x="9358" y="14175"/>
                  </a:lnTo>
                  <a:lnTo>
                    <a:pt x="9284" y="14255"/>
                  </a:lnTo>
                  <a:lnTo>
                    <a:pt x="9210" y="14333"/>
                  </a:lnTo>
                  <a:lnTo>
                    <a:pt x="9135" y="14410"/>
                  </a:lnTo>
                  <a:lnTo>
                    <a:pt x="9059" y="14487"/>
                  </a:lnTo>
                  <a:lnTo>
                    <a:pt x="8982" y="14562"/>
                  </a:lnTo>
                  <a:lnTo>
                    <a:pt x="8904" y="14636"/>
                  </a:lnTo>
                  <a:lnTo>
                    <a:pt x="8825" y="14708"/>
                  </a:lnTo>
                  <a:lnTo>
                    <a:pt x="8746" y="14779"/>
                  </a:lnTo>
                  <a:lnTo>
                    <a:pt x="8666" y="14850"/>
                  </a:lnTo>
                  <a:lnTo>
                    <a:pt x="8584" y="14918"/>
                  </a:lnTo>
                  <a:lnTo>
                    <a:pt x="8502" y="14987"/>
                  </a:lnTo>
                  <a:lnTo>
                    <a:pt x="8474" y="14988"/>
                  </a:lnTo>
                  <a:close/>
                  <a:moveTo>
                    <a:pt x="7036" y="14898"/>
                  </a:moveTo>
                  <a:lnTo>
                    <a:pt x="6913" y="14877"/>
                  </a:lnTo>
                  <a:lnTo>
                    <a:pt x="6791" y="14854"/>
                  </a:lnTo>
                  <a:lnTo>
                    <a:pt x="6670" y="14829"/>
                  </a:lnTo>
                  <a:lnTo>
                    <a:pt x="6550" y="14802"/>
                  </a:lnTo>
                  <a:lnTo>
                    <a:pt x="6431" y="14774"/>
                  </a:lnTo>
                  <a:lnTo>
                    <a:pt x="6312" y="14743"/>
                  </a:lnTo>
                  <a:lnTo>
                    <a:pt x="6194" y="14710"/>
                  </a:lnTo>
                  <a:lnTo>
                    <a:pt x="6077" y="14676"/>
                  </a:lnTo>
                  <a:lnTo>
                    <a:pt x="5961" y="14639"/>
                  </a:lnTo>
                  <a:lnTo>
                    <a:pt x="5846" y="14601"/>
                  </a:lnTo>
                  <a:lnTo>
                    <a:pt x="5731" y="14561"/>
                  </a:lnTo>
                  <a:lnTo>
                    <a:pt x="5618" y="14519"/>
                  </a:lnTo>
                  <a:lnTo>
                    <a:pt x="5505" y="14475"/>
                  </a:lnTo>
                  <a:lnTo>
                    <a:pt x="5395" y="14429"/>
                  </a:lnTo>
                  <a:lnTo>
                    <a:pt x="5284" y="14382"/>
                  </a:lnTo>
                  <a:lnTo>
                    <a:pt x="5174" y="14333"/>
                  </a:lnTo>
                  <a:lnTo>
                    <a:pt x="5065" y="14282"/>
                  </a:lnTo>
                  <a:lnTo>
                    <a:pt x="4958" y="14229"/>
                  </a:lnTo>
                  <a:lnTo>
                    <a:pt x="4851" y="14175"/>
                  </a:lnTo>
                  <a:lnTo>
                    <a:pt x="4746" y="14119"/>
                  </a:lnTo>
                  <a:lnTo>
                    <a:pt x="4641" y="14062"/>
                  </a:lnTo>
                  <a:lnTo>
                    <a:pt x="4538" y="14001"/>
                  </a:lnTo>
                  <a:lnTo>
                    <a:pt x="4436" y="13940"/>
                  </a:lnTo>
                  <a:lnTo>
                    <a:pt x="4335" y="13878"/>
                  </a:lnTo>
                  <a:lnTo>
                    <a:pt x="4235" y="13814"/>
                  </a:lnTo>
                  <a:lnTo>
                    <a:pt x="4137" y="13748"/>
                  </a:lnTo>
                  <a:lnTo>
                    <a:pt x="4038" y="13681"/>
                  </a:lnTo>
                  <a:lnTo>
                    <a:pt x="3943" y="13612"/>
                  </a:lnTo>
                  <a:lnTo>
                    <a:pt x="3847" y="13540"/>
                  </a:lnTo>
                  <a:lnTo>
                    <a:pt x="3753" y="13469"/>
                  </a:lnTo>
                  <a:lnTo>
                    <a:pt x="3660" y="13395"/>
                  </a:lnTo>
                  <a:lnTo>
                    <a:pt x="3569" y="13320"/>
                  </a:lnTo>
                  <a:lnTo>
                    <a:pt x="3668" y="13255"/>
                  </a:lnTo>
                  <a:lnTo>
                    <a:pt x="3767" y="13191"/>
                  </a:lnTo>
                  <a:lnTo>
                    <a:pt x="3867" y="13127"/>
                  </a:lnTo>
                  <a:lnTo>
                    <a:pt x="3968" y="13065"/>
                  </a:lnTo>
                  <a:lnTo>
                    <a:pt x="4071" y="13005"/>
                  </a:lnTo>
                  <a:lnTo>
                    <a:pt x="4174" y="12946"/>
                  </a:lnTo>
                  <a:lnTo>
                    <a:pt x="4278" y="12889"/>
                  </a:lnTo>
                  <a:lnTo>
                    <a:pt x="4383" y="12833"/>
                  </a:lnTo>
                  <a:lnTo>
                    <a:pt x="4489" y="12779"/>
                  </a:lnTo>
                  <a:lnTo>
                    <a:pt x="4596" y="12726"/>
                  </a:lnTo>
                  <a:lnTo>
                    <a:pt x="4704" y="12674"/>
                  </a:lnTo>
                  <a:lnTo>
                    <a:pt x="4813" y="12624"/>
                  </a:lnTo>
                  <a:lnTo>
                    <a:pt x="4923" y="12575"/>
                  </a:lnTo>
                  <a:lnTo>
                    <a:pt x="5033" y="12529"/>
                  </a:lnTo>
                  <a:lnTo>
                    <a:pt x="5144" y="12484"/>
                  </a:lnTo>
                  <a:lnTo>
                    <a:pt x="5257" y="12440"/>
                  </a:lnTo>
                  <a:lnTo>
                    <a:pt x="5301" y="12528"/>
                  </a:lnTo>
                  <a:lnTo>
                    <a:pt x="5345" y="12614"/>
                  </a:lnTo>
                  <a:lnTo>
                    <a:pt x="5391" y="12701"/>
                  </a:lnTo>
                  <a:lnTo>
                    <a:pt x="5437" y="12786"/>
                  </a:lnTo>
                  <a:lnTo>
                    <a:pt x="5484" y="12871"/>
                  </a:lnTo>
                  <a:lnTo>
                    <a:pt x="5532" y="12955"/>
                  </a:lnTo>
                  <a:lnTo>
                    <a:pt x="5580" y="13039"/>
                  </a:lnTo>
                  <a:lnTo>
                    <a:pt x="5630" y="13121"/>
                  </a:lnTo>
                  <a:lnTo>
                    <a:pt x="5680" y="13204"/>
                  </a:lnTo>
                  <a:lnTo>
                    <a:pt x="5731" y="13286"/>
                  </a:lnTo>
                  <a:lnTo>
                    <a:pt x="5783" y="13367"/>
                  </a:lnTo>
                  <a:lnTo>
                    <a:pt x="5835" y="13447"/>
                  </a:lnTo>
                  <a:lnTo>
                    <a:pt x="5888" y="13526"/>
                  </a:lnTo>
                  <a:lnTo>
                    <a:pt x="5943" y="13606"/>
                  </a:lnTo>
                  <a:lnTo>
                    <a:pt x="5997" y="13684"/>
                  </a:lnTo>
                  <a:lnTo>
                    <a:pt x="6052" y="13761"/>
                  </a:lnTo>
                  <a:lnTo>
                    <a:pt x="6109" y="13837"/>
                  </a:lnTo>
                  <a:lnTo>
                    <a:pt x="6166" y="13913"/>
                  </a:lnTo>
                  <a:lnTo>
                    <a:pt x="6224" y="13988"/>
                  </a:lnTo>
                  <a:lnTo>
                    <a:pt x="6282" y="14064"/>
                  </a:lnTo>
                  <a:lnTo>
                    <a:pt x="6341" y="14137"/>
                  </a:lnTo>
                  <a:lnTo>
                    <a:pt x="6400" y="14210"/>
                  </a:lnTo>
                  <a:lnTo>
                    <a:pt x="6461" y="14282"/>
                  </a:lnTo>
                  <a:lnTo>
                    <a:pt x="6522" y="14354"/>
                  </a:lnTo>
                  <a:lnTo>
                    <a:pt x="6584" y="14424"/>
                  </a:lnTo>
                  <a:lnTo>
                    <a:pt x="6647" y="14495"/>
                  </a:lnTo>
                  <a:lnTo>
                    <a:pt x="6710" y="14564"/>
                  </a:lnTo>
                  <a:lnTo>
                    <a:pt x="6774" y="14633"/>
                  </a:lnTo>
                  <a:lnTo>
                    <a:pt x="6839" y="14700"/>
                  </a:lnTo>
                  <a:lnTo>
                    <a:pt x="6903" y="14767"/>
                  </a:lnTo>
                  <a:lnTo>
                    <a:pt x="6969" y="14833"/>
                  </a:lnTo>
                  <a:lnTo>
                    <a:pt x="7036" y="14898"/>
                  </a:lnTo>
                  <a:close/>
                  <a:moveTo>
                    <a:pt x="7945" y="8277"/>
                  </a:moveTo>
                  <a:lnTo>
                    <a:pt x="7945" y="11394"/>
                  </a:lnTo>
                  <a:lnTo>
                    <a:pt x="7867" y="11396"/>
                  </a:lnTo>
                  <a:lnTo>
                    <a:pt x="7789" y="11400"/>
                  </a:lnTo>
                  <a:lnTo>
                    <a:pt x="7711" y="11404"/>
                  </a:lnTo>
                  <a:lnTo>
                    <a:pt x="7633" y="11408"/>
                  </a:lnTo>
                  <a:lnTo>
                    <a:pt x="7555" y="11413"/>
                  </a:lnTo>
                  <a:lnTo>
                    <a:pt x="7478" y="11419"/>
                  </a:lnTo>
                  <a:lnTo>
                    <a:pt x="7401" y="11425"/>
                  </a:lnTo>
                  <a:lnTo>
                    <a:pt x="7324" y="11433"/>
                  </a:lnTo>
                  <a:lnTo>
                    <a:pt x="7247" y="11440"/>
                  </a:lnTo>
                  <a:lnTo>
                    <a:pt x="7170" y="11449"/>
                  </a:lnTo>
                  <a:lnTo>
                    <a:pt x="7094" y="11458"/>
                  </a:lnTo>
                  <a:lnTo>
                    <a:pt x="7018" y="11467"/>
                  </a:lnTo>
                  <a:lnTo>
                    <a:pt x="6942" y="11477"/>
                  </a:lnTo>
                  <a:lnTo>
                    <a:pt x="6866" y="11488"/>
                  </a:lnTo>
                  <a:lnTo>
                    <a:pt x="6790" y="11500"/>
                  </a:lnTo>
                  <a:lnTo>
                    <a:pt x="6715" y="11512"/>
                  </a:lnTo>
                  <a:lnTo>
                    <a:pt x="6640" y="11525"/>
                  </a:lnTo>
                  <a:lnTo>
                    <a:pt x="6565" y="11538"/>
                  </a:lnTo>
                  <a:lnTo>
                    <a:pt x="6491" y="11552"/>
                  </a:lnTo>
                  <a:lnTo>
                    <a:pt x="6416" y="11566"/>
                  </a:lnTo>
                  <a:lnTo>
                    <a:pt x="6342" y="11582"/>
                  </a:lnTo>
                  <a:lnTo>
                    <a:pt x="6268" y="11598"/>
                  </a:lnTo>
                  <a:lnTo>
                    <a:pt x="6194" y="11614"/>
                  </a:lnTo>
                  <a:lnTo>
                    <a:pt x="6120" y="11631"/>
                  </a:lnTo>
                  <a:lnTo>
                    <a:pt x="6047" y="11649"/>
                  </a:lnTo>
                  <a:lnTo>
                    <a:pt x="5973" y="11667"/>
                  </a:lnTo>
                  <a:lnTo>
                    <a:pt x="5901" y="11686"/>
                  </a:lnTo>
                  <a:lnTo>
                    <a:pt x="5829" y="11706"/>
                  </a:lnTo>
                  <a:lnTo>
                    <a:pt x="5756" y="11726"/>
                  </a:lnTo>
                  <a:lnTo>
                    <a:pt x="5684" y="11747"/>
                  </a:lnTo>
                  <a:lnTo>
                    <a:pt x="5612" y="11768"/>
                  </a:lnTo>
                  <a:lnTo>
                    <a:pt x="5540" y="11791"/>
                  </a:lnTo>
                  <a:lnTo>
                    <a:pt x="5498" y="11690"/>
                  </a:lnTo>
                  <a:lnTo>
                    <a:pt x="5457" y="11590"/>
                  </a:lnTo>
                  <a:lnTo>
                    <a:pt x="5417" y="11488"/>
                  </a:lnTo>
                  <a:lnTo>
                    <a:pt x="5377" y="11386"/>
                  </a:lnTo>
                  <a:lnTo>
                    <a:pt x="5339" y="11282"/>
                  </a:lnTo>
                  <a:lnTo>
                    <a:pt x="5303" y="11178"/>
                  </a:lnTo>
                  <a:lnTo>
                    <a:pt x="5267" y="11074"/>
                  </a:lnTo>
                  <a:lnTo>
                    <a:pt x="5233" y="10969"/>
                  </a:lnTo>
                  <a:lnTo>
                    <a:pt x="5200" y="10863"/>
                  </a:lnTo>
                  <a:lnTo>
                    <a:pt x="5167" y="10757"/>
                  </a:lnTo>
                  <a:lnTo>
                    <a:pt x="5136" y="10650"/>
                  </a:lnTo>
                  <a:lnTo>
                    <a:pt x="5106" y="10543"/>
                  </a:lnTo>
                  <a:lnTo>
                    <a:pt x="5079" y="10434"/>
                  </a:lnTo>
                  <a:lnTo>
                    <a:pt x="5051" y="10325"/>
                  </a:lnTo>
                  <a:lnTo>
                    <a:pt x="5025" y="10216"/>
                  </a:lnTo>
                  <a:lnTo>
                    <a:pt x="5000" y="10106"/>
                  </a:lnTo>
                  <a:lnTo>
                    <a:pt x="4976" y="9995"/>
                  </a:lnTo>
                  <a:lnTo>
                    <a:pt x="4954" y="9884"/>
                  </a:lnTo>
                  <a:lnTo>
                    <a:pt x="4933" y="9773"/>
                  </a:lnTo>
                  <a:lnTo>
                    <a:pt x="4913" y="9661"/>
                  </a:lnTo>
                  <a:lnTo>
                    <a:pt x="4895" y="9548"/>
                  </a:lnTo>
                  <a:lnTo>
                    <a:pt x="4877" y="9435"/>
                  </a:lnTo>
                  <a:lnTo>
                    <a:pt x="4861" y="9321"/>
                  </a:lnTo>
                  <a:lnTo>
                    <a:pt x="4847" y="9207"/>
                  </a:lnTo>
                  <a:lnTo>
                    <a:pt x="4833" y="9092"/>
                  </a:lnTo>
                  <a:lnTo>
                    <a:pt x="4822" y="8977"/>
                  </a:lnTo>
                  <a:lnTo>
                    <a:pt x="4811" y="8862"/>
                  </a:lnTo>
                  <a:lnTo>
                    <a:pt x="4802" y="8746"/>
                  </a:lnTo>
                  <a:lnTo>
                    <a:pt x="4794" y="8628"/>
                  </a:lnTo>
                  <a:lnTo>
                    <a:pt x="4787" y="8512"/>
                  </a:lnTo>
                  <a:lnTo>
                    <a:pt x="4782" y="8394"/>
                  </a:lnTo>
                  <a:lnTo>
                    <a:pt x="4779" y="8277"/>
                  </a:lnTo>
                  <a:lnTo>
                    <a:pt x="7945" y="8277"/>
                  </a:lnTo>
                  <a:close/>
                  <a:moveTo>
                    <a:pt x="5353" y="4695"/>
                  </a:moveTo>
                  <a:lnTo>
                    <a:pt x="5430" y="4721"/>
                  </a:lnTo>
                  <a:lnTo>
                    <a:pt x="5507" y="4746"/>
                  </a:lnTo>
                  <a:lnTo>
                    <a:pt x="5583" y="4770"/>
                  </a:lnTo>
                  <a:lnTo>
                    <a:pt x="5661" y="4793"/>
                  </a:lnTo>
                  <a:lnTo>
                    <a:pt x="5739" y="4816"/>
                  </a:lnTo>
                  <a:lnTo>
                    <a:pt x="5817" y="4838"/>
                  </a:lnTo>
                  <a:lnTo>
                    <a:pt x="5896" y="4860"/>
                  </a:lnTo>
                  <a:lnTo>
                    <a:pt x="5974" y="4880"/>
                  </a:lnTo>
                  <a:lnTo>
                    <a:pt x="6053" y="4900"/>
                  </a:lnTo>
                  <a:lnTo>
                    <a:pt x="6134" y="4920"/>
                  </a:lnTo>
                  <a:lnTo>
                    <a:pt x="6213" y="4938"/>
                  </a:lnTo>
                  <a:lnTo>
                    <a:pt x="6293" y="4956"/>
                  </a:lnTo>
                  <a:lnTo>
                    <a:pt x="6373" y="4973"/>
                  </a:lnTo>
                  <a:lnTo>
                    <a:pt x="6454" y="4990"/>
                  </a:lnTo>
                  <a:lnTo>
                    <a:pt x="6535" y="5005"/>
                  </a:lnTo>
                  <a:lnTo>
                    <a:pt x="6615" y="5020"/>
                  </a:lnTo>
                  <a:lnTo>
                    <a:pt x="6697" y="5035"/>
                  </a:lnTo>
                  <a:lnTo>
                    <a:pt x="6778" y="5048"/>
                  </a:lnTo>
                  <a:lnTo>
                    <a:pt x="6860" y="5061"/>
                  </a:lnTo>
                  <a:lnTo>
                    <a:pt x="6942" y="5073"/>
                  </a:lnTo>
                  <a:lnTo>
                    <a:pt x="7024" y="5084"/>
                  </a:lnTo>
                  <a:lnTo>
                    <a:pt x="7106" y="5095"/>
                  </a:lnTo>
                  <a:lnTo>
                    <a:pt x="7189" y="5105"/>
                  </a:lnTo>
                  <a:lnTo>
                    <a:pt x="7273" y="5114"/>
                  </a:lnTo>
                  <a:lnTo>
                    <a:pt x="7356" y="5122"/>
                  </a:lnTo>
                  <a:lnTo>
                    <a:pt x="7439" y="5131"/>
                  </a:lnTo>
                  <a:lnTo>
                    <a:pt x="7523" y="5137"/>
                  </a:lnTo>
                  <a:lnTo>
                    <a:pt x="7607" y="5143"/>
                  </a:lnTo>
                  <a:lnTo>
                    <a:pt x="7691" y="5149"/>
                  </a:lnTo>
                  <a:lnTo>
                    <a:pt x="7775" y="5153"/>
                  </a:lnTo>
                  <a:lnTo>
                    <a:pt x="7860" y="5157"/>
                  </a:lnTo>
                  <a:lnTo>
                    <a:pt x="7945" y="5160"/>
                  </a:lnTo>
                  <a:lnTo>
                    <a:pt x="7945" y="7759"/>
                  </a:lnTo>
                  <a:lnTo>
                    <a:pt x="4779" y="7759"/>
                  </a:lnTo>
                  <a:lnTo>
                    <a:pt x="4782" y="7658"/>
                  </a:lnTo>
                  <a:lnTo>
                    <a:pt x="4786" y="7557"/>
                  </a:lnTo>
                  <a:lnTo>
                    <a:pt x="4791" y="7456"/>
                  </a:lnTo>
                  <a:lnTo>
                    <a:pt x="4797" y="7356"/>
                  </a:lnTo>
                  <a:lnTo>
                    <a:pt x="4805" y="7255"/>
                  </a:lnTo>
                  <a:lnTo>
                    <a:pt x="4812" y="7155"/>
                  </a:lnTo>
                  <a:lnTo>
                    <a:pt x="4821" y="7056"/>
                  </a:lnTo>
                  <a:lnTo>
                    <a:pt x="4831" y="6957"/>
                  </a:lnTo>
                  <a:lnTo>
                    <a:pt x="4843" y="6857"/>
                  </a:lnTo>
                  <a:lnTo>
                    <a:pt x="4854" y="6759"/>
                  </a:lnTo>
                  <a:lnTo>
                    <a:pt x="4867" y="6661"/>
                  </a:lnTo>
                  <a:lnTo>
                    <a:pt x="4881" y="6563"/>
                  </a:lnTo>
                  <a:lnTo>
                    <a:pt x="4896" y="6466"/>
                  </a:lnTo>
                  <a:lnTo>
                    <a:pt x="4911" y="6368"/>
                  </a:lnTo>
                  <a:lnTo>
                    <a:pt x="4928" y="6272"/>
                  </a:lnTo>
                  <a:lnTo>
                    <a:pt x="4945" y="6176"/>
                  </a:lnTo>
                  <a:lnTo>
                    <a:pt x="4964" y="6080"/>
                  </a:lnTo>
                  <a:lnTo>
                    <a:pt x="4983" y="5984"/>
                  </a:lnTo>
                  <a:lnTo>
                    <a:pt x="5004" y="5889"/>
                  </a:lnTo>
                  <a:lnTo>
                    <a:pt x="5025" y="5795"/>
                  </a:lnTo>
                  <a:lnTo>
                    <a:pt x="5048" y="5701"/>
                  </a:lnTo>
                  <a:lnTo>
                    <a:pt x="5070" y="5607"/>
                  </a:lnTo>
                  <a:lnTo>
                    <a:pt x="5095" y="5513"/>
                  </a:lnTo>
                  <a:lnTo>
                    <a:pt x="5120" y="5420"/>
                  </a:lnTo>
                  <a:lnTo>
                    <a:pt x="5145" y="5328"/>
                  </a:lnTo>
                  <a:lnTo>
                    <a:pt x="5172" y="5236"/>
                  </a:lnTo>
                  <a:lnTo>
                    <a:pt x="5201" y="5145"/>
                  </a:lnTo>
                  <a:lnTo>
                    <a:pt x="5228" y="5053"/>
                  </a:lnTo>
                  <a:lnTo>
                    <a:pt x="5258" y="4963"/>
                  </a:lnTo>
                  <a:lnTo>
                    <a:pt x="5289" y="4873"/>
                  </a:lnTo>
                  <a:lnTo>
                    <a:pt x="5321" y="4784"/>
                  </a:lnTo>
                  <a:lnTo>
                    <a:pt x="5353" y="4695"/>
                  </a:lnTo>
                  <a:close/>
                  <a:moveTo>
                    <a:pt x="5056" y="4040"/>
                  </a:moveTo>
                  <a:lnTo>
                    <a:pt x="4994" y="4015"/>
                  </a:lnTo>
                  <a:lnTo>
                    <a:pt x="4934" y="3989"/>
                  </a:lnTo>
                  <a:lnTo>
                    <a:pt x="4873" y="3963"/>
                  </a:lnTo>
                  <a:lnTo>
                    <a:pt x="4813" y="3936"/>
                  </a:lnTo>
                  <a:lnTo>
                    <a:pt x="4753" y="3909"/>
                  </a:lnTo>
                  <a:lnTo>
                    <a:pt x="4693" y="3882"/>
                  </a:lnTo>
                  <a:lnTo>
                    <a:pt x="4633" y="3854"/>
                  </a:lnTo>
                  <a:lnTo>
                    <a:pt x="4575" y="3825"/>
                  </a:lnTo>
                  <a:lnTo>
                    <a:pt x="4515" y="3796"/>
                  </a:lnTo>
                  <a:lnTo>
                    <a:pt x="4457" y="3766"/>
                  </a:lnTo>
                  <a:lnTo>
                    <a:pt x="4398" y="3736"/>
                  </a:lnTo>
                  <a:lnTo>
                    <a:pt x="4341" y="3705"/>
                  </a:lnTo>
                  <a:lnTo>
                    <a:pt x="4282" y="3674"/>
                  </a:lnTo>
                  <a:lnTo>
                    <a:pt x="4225" y="3643"/>
                  </a:lnTo>
                  <a:lnTo>
                    <a:pt x="4168" y="3611"/>
                  </a:lnTo>
                  <a:lnTo>
                    <a:pt x="4111" y="3579"/>
                  </a:lnTo>
                  <a:lnTo>
                    <a:pt x="3998" y="3513"/>
                  </a:lnTo>
                  <a:lnTo>
                    <a:pt x="3886" y="3446"/>
                  </a:lnTo>
                  <a:lnTo>
                    <a:pt x="3776" y="3377"/>
                  </a:lnTo>
                  <a:lnTo>
                    <a:pt x="3667" y="3305"/>
                  </a:lnTo>
                  <a:lnTo>
                    <a:pt x="3559" y="3233"/>
                  </a:lnTo>
                  <a:lnTo>
                    <a:pt x="3451" y="3159"/>
                  </a:lnTo>
                  <a:lnTo>
                    <a:pt x="3345" y="3084"/>
                  </a:lnTo>
                  <a:lnTo>
                    <a:pt x="3241" y="3007"/>
                  </a:lnTo>
                  <a:lnTo>
                    <a:pt x="3337" y="2917"/>
                  </a:lnTo>
                  <a:lnTo>
                    <a:pt x="3436" y="2829"/>
                  </a:lnTo>
                  <a:lnTo>
                    <a:pt x="3535" y="2743"/>
                  </a:lnTo>
                  <a:lnTo>
                    <a:pt x="3637" y="2659"/>
                  </a:lnTo>
                  <a:lnTo>
                    <a:pt x="3740" y="2576"/>
                  </a:lnTo>
                  <a:lnTo>
                    <a:pt x="3845" y="2496"/>
                  </a:lnTo>
                  <a:lnTo>
                    <a:pt x="3951" y="2417"/>
                  </a:lnTo>
                  <a:lnTo>
                    <a:pt x="4059" y="2340"/>
                  </a:lnTo>
                  <a:lnTo>
                    <a:pt x="4168" y="2266"/>
                  </a:lnTo>
                  <a:lnTo>
                    <a:pt x="4279" y="2193"/>
                  </a:lnTo>
                  <a:lnTo>
                    <a:pt x="4391" y="2122"/>
                  </a:lnTo>
                  <a:lnTo>
                    <a:pt x="4505" y="2054"/>
                  </a:lnTo>
                  <a:lnTo>
                    <a:pt x="4620" y="1986"/>
                  </a:lnTo>
                  <a:lnTo>
                    <a:pt x="4736" y="1921"/>
                  </a:lnTo>
                  <a:lnTo>
                    <a:pt x="4854" y="1859"/>
                  </a:lnTo>
                  <a:lnTo>
                    <a:pt x="4973" y="1799"/>
                  </a:lnTo>
                  <a:lnTo>
                    <a:pt x="5093" y="1740"/>
                  </a:lnTo>
                  <a:lnTo>
                    <a:pt x="5215" y="1684"/>
                  </a:lnTo>
                  <a:lnTo>
                    <a:pt x="5338" y="1630"/>
                  </a:lnTo>
                  <a:lnTo>
                    <a:pt x="5461" y="1579"/>
                  </a:lnTo>
                  <a:lnTo>
                    <a:pt x="5587" y="1528"/>
                  </a:lnTo>
                  <a:lnTo>
                    <a:pt x="5714" y="1481"/>
                  </a:lnTo>
                  <a:lnTo>
                    <a:pt x="5841" y="1436"/>
                  </a:lnTo>
                  <a:lnTo>
                    <a:pt x="5969" y="1393"/>
                  </a:lnTo>
                  <a:lnTo>
                    <a:pt x="6100" y="1353"/>
                  </a:lnTo>
                  <a:lnTo>
                    <a:pt x="6230" y="1315"/>
                  </a:lnTo>
                  <a:lnTo>
                    <a:pt x="6362" y="1279"/>
                  </a:lnTo>
                  <a:lnTo>
                    <a:pt x="6495" y="1246"/>
                  </a:lnTo>
                  <a:lnTo>
                    <a:pt x="6628" y="1215"/>
                  </a:lnTo>
                  <a:lnTo>
                    <a:pt x="6764" y="1187"/>
                  </a:lnTo>
                  <a:lnTo>
                    <a:pt x="6899" y="1161"/>
                  </a:lnTo>
                  <a:lnTo>
                    <a:pt x="7036" y="1137"/>
                  </a:lnTo>
                  <a:lnTo>
                    <a:pt x="6960" y="1213"/>
                  </a:lnTo>
                  <a:lnTo>
                    <a:pt x="6884" y="1289"/>
                  </a:lnTo>
                  <a:lnTo>
                    <a:pt x="6809" y="1367"/>
                  </a:lnTo>
                  <a:lnTo>
                    <a:pt x="6735" y="1446"/>
                  </a:lnTo>
                  <a:lnTo>
                    <a:pt x="6662" y="1525"/>
                  </a:lnTo>
                  <a:lnTo>
                    <a:pt x="6589" y="1607"/>
                  </a:lnTo>
                  <a:lnTo>
                    <a:pt x="6518" y="1689"/>
                  </a:lnTo>
                  <a:lnTo>
                    <a:pt x="6448" y="1771"/>
                  </a:lnTo>
                  <a:lnTo>
                    <a:pt x="6379" y="1855"/>
                  </a:lnTo>
                  <a:lnTo>
                    <a:pt x="6310" y="1940"/>
                  </a:lnTo>
                  <a:lnTo>
                    <a:pt x="6242" y="2027"/>
                  </a:lnTo>
                  <a:lnTo>
                    <a:pt x="6176" y="2113"/>
                  </a:lnTo>
                  <a:lnTo>
                    <a:pt x="6110" y="2201"/>
                  </a:lnTo>
                  <a:lnTo>
                    <a:pt x="6045" y="2290"/>
                  </a:lnTo>
                  <a:lnTo>
                    <a:pt x="5982" y="2379"/>
                  </a:lnTo>
                  <a:lnTo>
                    <a:pt x="5919" y="2471"/>
                  </a:lnTo>
                  <a:lnTo>
                    <a:pt x="5857" y="2562"/>
                  </a:lnTo>
                  <a:lnTo>
                    <a:pt x="5797" y="2654"/>
                  </a:lnTo>
                  <a:lnTo>
                    <a:pt x="5736" y="2748"/>
                  </a:lnTo>
                  <a:lnTo>
                    <a:pt x="5678" y="2842"/>
                  </a:lnTo>
                  <a:lnTo>
                    <a:pt x="5620" y="2938"/>
                  </a:lnTo>
                  <a:lnTo>
                    <a:pt x="5564" y="3034"/>
                  </a:lnTo>
                  <a:lnTo>
                    <a:pt x="5508" y="3130"/>
                  </a:lnTo>
                  <a:lnTo>
                    <a:pt x="5453" y="3228"/>
                  </a:lnTo>
                  <a:lnTo>
                    <a:pt x="5400" y="3326"/>
                  </a:lnTo>
                  <a:lnTo>
                    <a:pt x="5347" y="3427"/>
                  </a:lnTo>
                  <a:lnTo>
                    <a:pt x="5296" y="3527"/>
                  </a:lnTo>
                  <a:lnTo>
                    <a:pt x="5246" y="3628"/>
                  </a:lnTo>
                  <a:lnTo>
                    <a:pt x="5197" y="3729"/>
                  </a:lnTo>
                  <a:lnTo>
                    <a:pt x="5148" y="3833"/>
                  </a:lnTo>
                  <a:lnTo>
                    <a:pt x="5102" y="3936"/>
                  </a:lnTo>
                  <a:lnTo>
                    <a:pt x="5056" y="4040"/>
                  </a:lnTo>
                  <a:close/>
                  <a:moveTo>
                    <a:pt x="7945" y="1047"/>
                  </a:moveTo>
                  <a:lnTo>
                    <a:pt x="7945" y="4642"/>
                  </a:lnTo>
                  <a:lnTo>
                    <a:pt x="7867" y="4639"/>
                  </a:lnTo>
                  <a:lnTo>
                    <a:pt x="7789" y="4635"/>
                  </a:lnTo>
                  <a:lnTo>
                    <a:pt x="7711" y="4631"/>
                  </a:lnTo>
                  <a:lnTo>
                    <a:pt x="7633" y="4626"/>
                  </a:lnTo>
                  <a:lnTo>
                    <a:pt x="7556" y="4621"/>
                  </a:lnTo>
                  <a:lnTo>
                    <a:pt x="7478" y="4614"/>
                  </a:lnTo>
                  <a:lnTo>
                    <a:pt x="7401" y="4607"/>
                  </a:lnTo>
                  <a:lnTo>
                    <a:pt x="7325" y="4600"/>
                  </a:lnTo>
                  <a:lnTo>
                    <a:pt x="7248" y="4591"/>
                  </a:lnTo>
                  <a:lnTo>
                    <a:pt x="7172" y="4582"/>
                  </a:lnTo>
                  <a:lnTo>
                    <a:pt x="7095" y="4573"/>
                  </a:lnTo>
                  <a:lnTo>
                    <a:pt x="7020" y="4562"/>
                  </a:lnTo>
                  <a:lnTo>
                    <a:pt x="6944" y="4551"/>
                  </a:lnTo>
                  <a:lnTo>
                    <a:pt x="6868" y="4540"/>
                  </a:lnTo>
                  <a:lnTo>
                    <a:pt x="6793" y="4527"/>
                  </a:lnTo>
                  <a:lnTo>
                    <a:pt x="6718" y="4514"/>
                  </a:lnTo>
                  <a:lnTo>
                    <a:pt x="6644" y="4501"/>
                  </a:lnTo>
                  <a:lnTo>
                    <a:pt x="6569" y="4486"/>
                  </a:lnTo>
                  <a:lnTo>
                    <a:pt x="6495" y="4471"/>
                  </a:lnTo>
                  <a:lnTo>
                    <a:pt x="6421" y="4456"/>
                  </a:lnTo>
                  <a:lnTo>
                    <a:pt x="6347" y="4439"/>
                  </a:lnTo>
                  <a:lnTo>
                    <a:pt x="6273" y="4423"/>
                  </a:lnTo>
                  <a:lnTo>
                    <a:pt x="6200" y="4405"/>
                  </a:lnTo>
                  <a:lnTo>
                    <a:pt x="6127" y="4387"/>
                  </a:lnTo>
                  <a:lnTo>
                    <a:pt x="6055" y="4368"/>
                  </a:lnTo>
                  <a:lnTo>
                    <a:pt x="5982" y="4348"/>
                  </a:lnTo>
                  <a:lnTo>
                    <a:pt x="5910" y="4328"/>
                  </a:lnTo>
                  <a:lnTo>
                    <a:pt x="5838" y="4308"/>
                  </a:lnTo>
                  <a:lnTo>
                    <a:pt x="5766" y="4286"/>
                  </a:lnTo>
                  <a:lnTo>
                    <a:pt x="5694" y="4264"/>
                  </a:lnTo>
                  <a:lnTo>
                    <a:pt x="5624" y="4242"/>
                  </a:lnTo>
                  <a:lnTo>
                    <a:pt x="5553" y="4217"/>
                  </a:lnTo>
                  <a:lnTo>
                    <a:pt x="5605" y="4099"/>
                  </a:lnTo>
                  <a:lnTo>
                    <a:pt x="5658" y="3982"/>
                  </a:lnTo>
                  <a:lnTo>
                    <a:pt x="5714" y="3866"/>
                  </a:lnTo>
                  <a:lnTo>
                    <a:pt x="5771" y="3750"/>
                  </a:lnTo>
                  <a:lnTo>
                    <a:pt x="5830" y="3637"/>
                  </a:lnTo>
                  <a:lnTo>
                    <a:pt x="5889" y="3524"/>
                  </a:lnTo>
                  <a:lnTo>
                    <a:pt x="5951" y="3412"/>
                  </a:lnTo>
                  <a:lnTo>
                    <a:pt x="6014" y="3301"/>
                  </a:lnTo>
                  <a:lnTo>
                    <a:pt x="6078" y="3192"/>
                  </a:lnTo>
                  <a:lnTo>
                    <a:pt x="6144" y="3084"/>
                  </a:lnTo>
                  <a:lnTo>
                    <a:pt x="6212" y="2978"/>
                  </a:lnTo>
                  <a:lnTo>
                    <a:pt x="6279" y="2871"/>
                  </a:lnTo>
                  <a:lnTo>
                    <a:pt x="6349" y="2767"/>
                  </a:lnTo>
                  <a:lnTo>
                    <a:pt x="6421" y="2664"/>
                  </a:lnTo>
                  <a:lnTo>
                    <a:pt x="6494" y="2563"/>
                  </a:lnTo>
                  <a:lnTo>
                    <a:pt x="6568" y="2463"/>
                  </a:lnTo>
                  <a:lnTo>
                    <a:pt x="6643" y="2363"/>
                  </a:lnTo>
                  <a:lnTo>
                    <a:pt x="6718" y="2265"/>
                  </a:lnTo>
                  <a:lnTo>
                    <a:pt x="6796" y="2169"/>
                  </a:lnTo>
                  <a:lnTo>
                    <a:pt x="6875" y="2074"/>
                  </a:lnTo>
                  <a:lnTo>
                    <a:pt x="6955" y="1980"/>
                  </a:lnTo>
                  <a:lnTo>
                    <a:pt x="7038" y="1888"/>
                  </a:lnTo>
                  <a:lnTo>
                    <a:pt x="7121" y="1798"/>
                  </a:lnTo>
                  <a:lnTo>
                    <a:pt x="7204" y="1709"/>
                  </a:lnTo>
                  <a:lnTo>
                    <a:pt x="7289" y="1621"/>
                  </a:lnTo>
                  <a:lnTo>
                    <a:pt x="7375" y="1534"/>
                  </a:lnTo>
                  <a:lnTo>
                    <a:pt x="7463" y="1449"/>
                  </a:lnTo>
                  <a:lnTo>
                    <a:pt x="7552" y="1366"/>
                  </a:lnTo>
                  <a:lnTo>
                    <a:pt x="7642" y="1285"/>
                  </a:lnTo>
                  <a:lnTo>
                    <a:pt x="7732" y="1205"/>
                  </a:lnTo>
                  <a:lnTo>
                    <a:pt x="7825" y="1126"/>
                  </a:lnTo>
                  <a:lnTo>
                    <a:pt x="7918" y="1049"/>
                  </a:lnTo>
                  <a:lnTo>
                    <a:pt x="7931" y="1048"/>
                  </a:lnTo>
                  <a:lnTo>
                    <a:pt x="7945" y="1047"/>
                  </a:lnTo>
                  <a:close/>
                  <a:moveTo>
                    <a:pt x="9383" y="1137"/>
                  </a:moveTo>
                  <a:lnTo>
                    <a:pt x="9520" y="1161"/>
                  </a:lnTo>
                  <a:lnTo>
                    <a:pt x="9656" y="1187"/>
                  </a:lnTo>
                  <a:lnTo>
                    <a:pt x="9791" y="1215"/>
                  </a:lnTo>
                  <a:lnTo>
                    <a:pt x="9924" y="1246"/>
                  </a:lnTo>
                  <a:lnTo>
                    <a:pt x="10058" y="1279"/>
                  </a:lnTo>
                  <a:lnTo>
                    <a:pt x="10189" y="1315"/>
                  </a:lnTo>
                  <a:lnTo>
                    <a:pt x="10320" y="1353"/>
                  </a:lnTo>
                  <a:lnTo>
                    <a:pt x="10450" y="1393"/>
                  </a:lnTo>
                  <a:lnTo>
                    <a:pt x="10578" y="1436"/>
                  </a:lnTo>
                  <a:lnTo>
                    <a:pt x="10706" y="1481"/>
                  </a:lnTo>
                  <a:lnTo>
                    <a:pt x="10832" y="1528"/>
                  </a:lnTo>
                  <a:lnTo>
                    <a:pt x="10958" y="1579"/>
                  </a:lnTo>
                  <a:lnTo>
                    <a:pt x="11082" y="1630"/>
                  </a:lnTo>
                  <a:lnTo>
                    <a:pt x="11205" y="1684"/>
                  </a:lnTo>
                  <a:lnTo>
                    <a:pt x="11326" y="1740"/>
                  </a:lnTo>
                  <a:lnTo>
                    <a:pt x="11446" y="1799"/>
                  </a:lnTo>
                  <a:lnTo>
                    <a:pt x="11565" y="1859"/>
                  </a:lnTo>
                  <a:lnTo>
                    <a:pt x="11683" y="1921"/>
                  </a:lnTo>
                  <a:lnTo>
                    <a:pt x="11799" y="1986"/>
                  </a:lnTo>
                  <a:lnTo>
                    <a:pt x="11914" y="2054"/>
                  </a:lnTo>
                  <a:lnTo>
                    <a:pt x="12028" y="2122"/>
                  </a:lnTo>
                  <a:lnTo>
                    <a:pt x="12140" y="2193"/>
                  </a:lnTo>
                  <a:lnTo>
                    <a:pt x="12251" y="2266"/>
                  </a:lnTo>
                  <a:lnTo>
                    <a:pt x="12360" y="2340"/>
                  </a:lnTo>
                  <a:lnTo>
                    <a:pt x="12468" y="2417"/>
                  </a:lnTo>
                  <a:lnTo>
                    <a:pt x="12574" y="2496"/>
                  </a:lnTo>
                  <a:lnTo>
                    <a:pt x="12679" y="2576"/>
                  </a:lnTo>
                  <a:lnTo>
                    <a:pt x="12782" y="2659"/>
                  </a:lnTo>
                  <a:lnTo>
                    <a:pt x="12884" y="2743"/>
                  </a:lnTo>
                  <a:lnTo>
                    <a:pt x="12983" y="2829"/>
                  </a:lnTo>
                  <a:lnTo>
                    <a:pt x="13082" y="2917"/>
                  </a:lnTo>
                  <a:lnTo>
                    <a:pt x="13178" y="3007"/>
                  </a:lnTo>
                  <a:lnTo>
                    <a:pt x="13074" y="3084"/>
                  </a:lnTo>
                  <a:lnTo>
                    <a:pt x="12968" y="3159"/>
                  </a:lnTo>
                  <a:lnTo>
                    <a:pt x="12861" y="3233"/>
                  </a:lnTo>
                  <a:lnTo>
                    <a:pt x="12752" y="3305"/>
                  </a:lnTo>
                  <a:lnTo>
                    <a:pt x="12644" y="3377"/>
                  </a:lnTo>
                  <a:lnTo>
                    <a:pt x="12533" y="3446"/>
                  </a:lnTo>
                  <a:lnTo>
                    <a:pt x="12421" y="3513"/>
                  </a:lnTo>
                  <a:lnTo>
                    <a:pt x="12308" y="3579"/>
                  </a:lnTo>
                  <a:lnTo>
                    <a:pt x="12252" y="3611"/>
                  </a:lnTo>
                  <a:lnTo>
                    <a:pt x="12194" y="3643"/>
                  </a:lnTo>
                  <a:lnTo>
                    <a:pt x="12137" y="3674"/>
                  </a:lnTo>
                  <a:lnTo>
                    <a:pt x="12078" y="3705"/>
                  </a:lnTo>
                  <a:lnTo>
                    <a:pt x="12021" y="3736"/>
                  </a:lnTo>
                  <a:lnTo>
                    <a:pt x="11962" y="3766"/>
                  </a:lnTo>
                  <a:lnTo>
                    <a:pt x="11904" y="3796"/>
                  </a:lnTo>
                  <a:lnTo>
                    <a:pt x="11844" y="3825"/>
                  </a:lnTo>
                  <a:lnTo>
                    <a:pt x="11786" y="3854"/>
                  </a:lnTo>
                  <a:lnTo>
                    <a:pt x="11726" y="3882"/>
                  </a:lnTo>
                  <a:lnTo>
                    <a:pt x="11667" y="3909"/>
                  </a:lnTo>
                  <a:lnTo>
                    <a:pt x="11606" y="3936"/>
                  </a:lnTo>
                  <a:lnTo>
                    <a:pt x="11546" y="3963"/>
                  </a:lnTo>
                  <a:lnTo>
                    <a:pt x="11485" y="3989"/>
                  </a:lnTo>
                  <a:lnTo>
                    <a:pt x="11425" y="4015"/>
                  </a:lnTo>
                  <a:lnTo>
                    <a:pt x="11363" y="4040"/>
                  </a:lnTo>
                  <a:lnTo>
                    <a:pt x="11317" y="3936"/>
                  </a:lnTo>
                  <a:lnTo>
                    <a:pt x="11271" y="3833"/>
                  </a:lnTo>
                  <a:lnTo>
                    <a:pt x="11222" y="3729"/>
                  </a:lnTo>
                  <a:lnTo>
                    <a:pt x="11173" y="3628"/>
                  </a:lnTo>
                  <a:lnTo>
                    <a:pt x="11123" y="3527"/>
                  </a:lnTo>
                  <a:lnTo>
                    <a:pt x="11072" y="3427"/>
                  </a:lnTo>
                  <a:lnTo>
                    <a:pt x="11019" y="3326"/>
                  </a:lnTo>
                  <a:lnTo>
                    <a:pt x="10966" y="3228"/>
                  </a:lnTo>
                  <a:lnTo>
                    <a:pt x="10911" y="3130"/>
                  </a:lnTo>
                  <a:lnTo>
                    <a:pt x="10855" y="3034"/>
                  </a:lnTo>
                  <a:lnTo>
                    <a:pt x="10799" y="2938"/>
                  </a:lnTo>
                  <a:lnTo>
                    <a:pt x="10741" y="2842"/>
                  </a:lnTo>
                  <a:lnTo>
                    <a:pt x="10683" y="2748"/>
                  </a:lnTo>
                  <a:lnTo>
                    <a:pt x="10623" y="2654"/>
                  </a:lnTo>
                  <a:lnTo>
                    <a:pt x="10562" y="2562"/>
                  </a:lnTo>
                  <a:lnTo>
                    <a:pt x="10500" y="2471"/>
                  </a:lnTo>
                  <a:lnTo>
                    <a:pt x="10437" y="2379"/>
                  </a:lnTo>
                  <a:lnTo>
                    <a:pt x="10374" y="2290"/>
                  </a:lnTo>
                  <a:lnTo>
                    <a:pt x="10309" y="2201"/>
                  </a:lnTo>
                  <a:lnTo>
                    <a:pt x="10243" y="2113"/>
                  </a:lnTo>
                  <a:lnTo>
                    <a:pt x="10177" y="2027"/>
                  </a:lnTo>
                  <a:lnTo>
                    <a:pt x="10109" y="1940"/>
                  </a:lnTo>
                  <a:lnTo>
                    <a:pt x="10041" y="1855"/>
                  </a:lnTo>
                  <a:lnTo>
                    <a:pt x="9971" y="1771"/>
                  </a:lnTo>
                  <a:lnTo>
                    <a:pt x="9901" y="1689"/>
                  </a:lnTo>
                  <a:lnTo>
                    <a:pt x="9830" y="1607"/>
                  </a:lnTo>
                  <a:lnTo>
                    <a:pt x="9758" y="1525"/>
                  </a:lnTo>
                  <a:lnTo>
                    <a:pt x="9685" y="1446"/>
                  </a:lnTo>
                  <a:lnTo>
                    <a:pt x="9610" y="1367"/>
                  </a:lnTo>
                  <a:lnTo>
                    <a:pt x="9536" y="1289"/>
                  </a:lnTo>
                  <a:lnTo>
                    <a:pt x="9460" y="1213"/>
                  </a:lnTo>
                  <a:lnTo>
                    <a:pt x="9383" y="1137"/>
                  </a:lnTo>
                  <a:close/>
                  <a:moveTo>
                    <a:pt x="8502" y="1049"/>
                  </a:moveTo>
                  <a:lnTo>
                    <a:pt x="8595" y="1126"/>
                  </a:lnTo>
                  <a:lnTo>
                    <a:pt x="8687" y="1205"/>
                  </a:lnTo>
                  <a:lnTo>
                    <a:pt x="8778" y="1285"/>
                  </a:lnTo>
                  <a:lnTo>
                    <a:pt x="8867" y="1366"/>
                  </a:lnTo>
                  <a:lnTo>
                    <a:pt x="8957" y="1449"/>
                  </a:lnTo>
                  <a:lnTo>
                    <a:pt x="9044" y="1534"/>
                  </a:lnTo>
                  <a:lnTo>
                    <a:pt x="9130" y="1621"/>
                  </a:lnTo>
                  <a:lnTo>
                    <a:pt x="9215" y="1709"/>
                  </a:lnTo>
                  <a:lnTo>
                    <a:pt x="9299" y="1798"/>
                  </a:lnTo>
                  <a:lnTo>
                    <a:pt x="9382" y="1888"/>
                  </a:lnTo>
                  <a:lnTo>
                    <a:pt x="9464" y="1980"/>
                  </a:lnTo>
                  <a:lnTo>
                    <a:pt x="9544" y="2074"/>
                  </a:lnTo>
                  <a:lnTo>
                    <a:pt x="9623" y="2169"/>
                  </a:lnTo>
                  <a:lnTo>
                    <a:pt x="9701" y="2265"/>
                  </a:lnTo>
                  <a:lnTo>
                    <a:pt x="9778" y="2363"/>
                  </a:lnTo>
                  <a:lnTo>
                    <a:pt x="9852" y="2463"/>
                  </a:lnTo>
                  <a:lnTo>
                    <a:pt x="9926" y="2563"/>
                  </a:lnTo>
                  <a:lnTo>
                    <a:pt x="9999" y="2664"/>
                  </a:lnTo>
                  <a:lnTo>
                    <a:pt x="10070" y="2767"/>
                  </a:lnTo>
                  <a:lnTo>
                    <a:pt x="10140" y="2871"/>
                  </a:lnTo>
                  <a:lnTo>
                    <a:pt x="10209" y="2978"/>
                  </a:lnTo>
                  <a:lnTo>
                    <a:pt x="10275" y="3084"/>
                  </a:lnTo>
                  <a:lnTo>
                    <a:pt x="10341" y="3192"/>
                  </a:lnTo>
                  <a:lnTo>
                    <a:pt x="10406" y="3301"/>
                  </a:lnTo>
                  <a:lnTo>
                    <a:pt x="10468" y="3412"/>
                  </a:lnTo>
                  <a:lnTo>
                    <a:pt x="10530" y="3524"/>
                  </a:lnTo>
                  <a:lnTo>
                    <a:pt x="10589" y="3637"/>
                  </a:lnTo>
                  <a:lnTo>
                    <a:pt x="10648" y="3750"/>
                  </a:lnTo>
                  <a:lnTo>
                    <a:pt x="10705" y="3866"/>
                  </a:lnTo>
                  <a:lnTo>
                    <a:pt x="10761" y="3982"/>
                  </a:lnTo>
                  <a:lnTo>
                    <a:pt x="10815" y="4099"/>
                  </a:lnTo>
                  <a:lnTo>
                    <a:pt x="10867" y="4217"/>
                  </a:lnTo>
                  <a:lnTo>
                    <a:pt x="10797" y="4242"/>
                  </a:lnTo>
                  <a:lnTo>
                    <a:pt x="10725" y="4264"/>
                  </a:lnTo>
                  <a:lnTo>
                    <a:pt x="10654" y="4286"/>
                  </a:lnTo>
                  <a:lnTo>
                    <a:pt x="10582" y="4308"/>
                  </a:lnTo>
                  <a:lnTo>
                    <a:pt x="10510" y="4328"/>
                  </a:lnTo>
                  <a:lnTo>
                    <a:pt x="10437" y="4348"/>
                  </a:lnTo>
                  <a:lnTo>
                    <a:pt x="10366" y="4368"/>
                  </a:lnTo>
                  <a:lnTo>
                    <a:pt x="10293" y="4387"/>
                  </a:lnTo>
                  <a:lnTo>
                    <a:pt x="10219" y="4405"/>
                  </a:lnTo>
                  <a:lnTo>
                    <a:pt x="10146" y="4423"/>
                  </a:lnTo>
                  <a:lnTo>
                    <a:pt x="10072" y="4439"/>
                  </a:lnTo>
                  <a:lnTo>
                    <a:pt x="9998" y="4456"/>
                  </a:lnTo>
                  <a:lnTo>
                    <a:pt x="9924" y="4471"/>
                  </a:lnTo>
                  <a:lnTo>
                    <a:pt x="9850" y="4486"/>
                  </a:lnTo>
                  <a:lnTo>
                    <a:pt x="9775" y="4501"/>
                  </a:lnTo>
                  <a:lnTo>
                    <a:pt x="9701" y="4514"/>
                  </a:lnTo>
                  <a:lnTo>
                    <a:pt x="9626" y="4527"/>
                  </a:lnTo>
                  <a:lnTo>
                    <a:pt x="9551" y="4540"/>
                  </a:lnTo>
                  <a:lnTo>
                    <a:pt x="9475" y="4551"/>
                  </a:lnTo>
                  <a:lnTo>
                    <a:pt x="9400" y="4562"/>
                  </a:lnTo>
                  <a:lnTo>
                    <a:pt x="9324" y="4573"/>
                  </a:lnTo>
                  <a:lnTo>
                    <a:pt x="9247" y="4582"/>
                  </a:lnTo>
                  <a:lnTo>
                    <a:pt x="9171" y="4591"/>
                  </a:lnTo>
                  <a:lnTo>
                    <a:pt x="9094" y="4600"/>
                  </a:lnTo>
                  <a:lnTo>
                    <a:pt x="9018" y="4607"/>
                  </a:lnTo>
                  <a:lnTo>
                    <a:pt x="8940" y="4614"/>
                  </a:lnTo>
                  <a:lnTo>
                    <a:pt x="8863" y="4621"/>
                  </a:lnTo>
                  <a:lnTo>
                    <a:pt x="8786" y="4626"/>
                  </a:lnTo>
                  <a:lnTo>
                    <a:pt x="8708" y="4631"/>
                  </a:lnTo>
                  <a:lnTo>
                    <a:pt x="8630" y="4635"/>
                  </a:lnTo>
                  <a:lnTo>
                    <a:pt x="8552" y="4639"/>
                  </a:lnTo>
                  <a:lnTo>
                    <a:pt x="8474" y="4642"/>
                  </a:lnTo>
                  <a:lnTo>
                    <a:pt x="8474" y="1047"/>
                  </a:lnTo>
                  <a:lnTo>
                    <a:pt x="8489" y="1048"/>
                  </a:lnTo>
                  <a:lnTo>
                    <a:pt x="8502" y="1049"/>
                  </a:lnTo>
                  <a:close/>
                  <a:moveTo>
                    <a:pt x="7917" y="14987"/>
                  </a:moveTo>
                  <a:lnTo>
                    <a:pt x="7835" y="14918"/>
                  </a:lnTo>
                  <a:lnTo>
                    <a:pt x="7754" y="14850"/>
                  </a:lnTo>
                  <a:lnTo>
                    <a:pt x="7673" y="14779"/>
                  </a:lnTo>
                  <a:lnTo>
                    <a:pt x="7594" y="14708"/>
                  </a:lnTo>
                  <a:lnTo>
                    <a:pt x="7515" y="14636"/>
                  </a:lnTo>
                  <a:lnTo>
                    <a:pt x="7437" y="14562"/>
                  </a:lnTo>
                  <a:lnTo>
                    <a:pt x="7360" y="14487"/>
                  </a:lnTo>
                  <a:lnTo>
                    <a:pt x="7284" y="14410"/>
                  </a:lnTo>
                  <a:lnTo>
                    <a:pt x="7209" y="14333"/>
                  </a:lnTo>
                  <a:lnTo>
                    <a:pt x="7135" y="14255"/>
                  </a:lnTo>
                  <a:lnTo>
                    <a:pt x="7061" y="14175"/>
                  </a:lnTo>
                  <a:lnTo>
                    <a:pt x="6989" y="14095"/>
                  </a:lnTo>
                  <a:lnTo>
                    <a:pt x="6919" y="14012"/>
                  </a:lnTo>
                  <a:lnTo>
                    <a:pt x="6848" y="13930"/>
                  </a:lnTo>
                  <a:lnTo>
                    <a:pt x="6778" y="13846"/>
                  </a:lnTo>
                  <a:lnTo>
                    <a:pt x="6710" y="13761"/>
                  </a:lnTo>
                  <a:lnTo>
                    <a:pt x="6643" y="13675"/>
                  </a:lnTo>
                  <a:lnTo>
                    <a:pt x="6576" y="13588"/>
                  </a:lnTo>
                  <a:lnTo>
                    <a:pt x="6511" y="13499"/>
                  </a:lnTo>
                  <a:lnTo>
                    <a:pt x="6447" y="13410"/>
                  </a:lnTo>
                  <a:lnTo>
                    <a:pt x="6383" y="13319"/>
                  </a:lnTo>
                  <a:lnTo>
                    <a:pt x="6321" y="13228"/>
                  </a:lnTo>
                  <a:lnTo>
                    <a:pt x="6260" y="13135"/>
                  </a:lnTo>
                  <a:lnTo>
                    <a:pt x="6199" y="13042"/>
                  </a:lnTo>
                  <a:lnTo>
                    <a:pt x="6141" y="12948"/>
                  </a:lnTo>
                  <a:lnTo>
                    <a:pt x="6082" y="12853"/>
                  </a:lnTo>
                  <a:lnTo>
                    <a:pt x="6026" y="12757"/>
                  </a:lnTo>
                  <a:lnTo>
                    <a:pt x="5969" y="12659"/>
                  </a:lnTo>
                  <a:lnTo>
                    <a:pt x="5915" y="12561"/>
                  </a:lnTo>
                  <a:lnTo>
                    <a:pt x="5862" y="12462"/>
                  </a:lnTo>
                  <a:lnTo>
                    <a:pt x="5809" y="12363"/>
                  </a:lnTo>
                  <a:lnTo>
                    <a:pt x="5758" y="12262"/>
                  </a:lnTo>
                  <a:lnTo>
                    <a:pt x="5823" y="12242"/>
                  </a:lnTo>
                  <a:lnTo>
                    <a:pt x="5888" y="12223"/>
                  </a:lnTo>
                  <a:lnTo>
                    <a:pt x="5954" y="12204"/>
                  </a:lnTo>
                  <a:lnTo>
                    <a:pt x="6020" y="12187"/>
                  </a:lnTo>
                  <a:lnTo>
                    <a:pt x="6086" y="12169"/>
                  </a:lnTo>
                  <a:lnTo>
                    <a:pt x="6152" y="12153"/>
                  </a:lnTo>
                  <a:lnTo>
                    <a:pt x="6219" y="12136"/>
                  </a:lnTo>
                  <a:lnTo>
                    <a:pt x="6285" y="12121"/>
                  </a:lnTo>
                  <a:lnTo>
                    <a:pt x="6352" y="12106"/>
                  </a:lnTo>
                  <a:lnTo>
                    <a:pt x="6420" y="12091"/>
                  </a:lnTo>
                  <a:lnTo>
                    <a:pt x="6487" y="12077"/>
                  </a:lnTo>
                  <a:lnTo>
                    <a:pt x="6554" y="12064"/>
                  </a:lnTo>
                  <a:lnTo>
                    <a:pt x="6622" y="12051"/>
                  </a:lnTo>
                  <a:lnTo>
                    <a:pt x="6691" y="12039"/>
                  </a:lnTo>
                  <a:lnTo>
                    <a:pt x="6758" y="12027"/>
                  </a:lnTo>
                  <a:lnTo>
                    <a:pt x="6827" y="12016"/>
                  </a:lnTo>
                  <a:lnTo>
                    <a:pt x="6895" y="12005"/>
                  </a:lnTo>
                  <a:lnTo>
                    <a:pt x="6964" y="11995"/>
                  </a:lnTo>
                  <a:lnTo>
                    <a:pt x="7033" y="11986"/>
                  </a:lnTo>
                  <a:lnTo>
                    <a:pt x="7102" y="11976"/>
                  </a:lnTo>
                  <a:lnTo>
                    <a:pt x="7171" y="11968"/>
                  </a:lnTo>
                  <a:lnTo>
                    <a:pt x="7241" y="11960"/>
                  </a:lnTo>
                  <a:lnTo>
                    <a:pt x="7311" y="11953"/>
                  </a:lnTo>
                  <a:lnTo>
                    <a:pt x="7380" y="11946"/>
                  </a:lnTo>
                  <a:lnTo>
                    <a:pt x="7450" y="11940"/>
                  </a:lnTo>
                  <a:lnTo>
                    <a:pt x="7521" y="11934"/>
                  </a:lnTo>
                  <a:lnTo>
                    <a:pt x="7591" y="11929"/>
                  </a:lnTo>
                  <a:lnTo>
                    <a:pt x="7662" y="11924"/>
                  </a:lnTo>
                  <a:lnTo>
                    <a:pt x="7732" y="11920"/>
                  </a:lnTo>
                  <a:lnTo>
                    <a:pt x="7803" y="11916"/>
                  </a:lnTo>
                  <a:lnTo>
                    <a:pt x="7874" y="11913"/>
                  </a:lnTo>
                  <a:lnTo>
                    <a:pt x="7945" y="11911"/>
                  </a:lnTo>
                  <a:lnTo>
                    <a:pt x="7945" y="14988"/>
                  </a:lnTo>
                  <a:lnTo>
                    <a:pt x="7917" y="14987"/>
                  </a:lnTo>
                  <a:close/>
                  <a:moveTo>
                    <a:pt x="15347" y="7759"/>
                  </a:moveTo>
                  <a:lnTo>
                    <a:pt x="12171" y="7759"/>
                  </a:lnTo>
                  <a:lnTo>
                    <a:pt x="12168" y="7652"/>
                  </a:lnTo>
                  <a:lnTo>
                    <a:pt x="12163" y="7545"/>
                  </a:lnTo>
                  <a:lnTo>
                    <a:pt x="12157" y="7439"/>
                  </a:lnTo>
                  <a:lnTo>
                    <a:pt x="12151" y="7332"/>
                  </a:lnTo>
                  <a:lnTo>
                    <a:pt x="12144" y="7226"/>
                  </a:lnTo>
                  <a:lnTo>
                    <a:pt x="12136" y="7120"/>
                  </a:lnTo>
                  <a:lnTo>
                    <a:pt x="12126" y="7015"/>
                  </a:lnTo>
                  <a:lnTo>
                    <a:pt x="12115" y="6911"/>
                  </a:lnTo>
                  <a:lnTo>
                    <a:pt x="12104" y="6805"/>
                  </a:lnTo>
                  <a:lnTo>
                    <a:pt x="12092" y="6701"/>
                  </a:lnTo>
                  <a:lnTo>
                    <a:pt x="12078" y="6598"/>
                  </a:lnTo>
                  <a:lnTo>
                    <a:pt x="12063" y="6494"/>
                  </a:lnTo>
                  <a:lnTo>
                    <a:pt x="12047" y="6391"/>
                  </a:lnTo>
                  <a:lnTo>
                    <a:pt x="12031" y="6288"/>
                  </a:lnTo>
                  <a:lnTo>
                    <a:pt x="12014" y="6186"/>
                  </a:lnTo>
                  <a:lnTo>
                    <a:pt x="11995" y="6084"/>
                  </a:lnTo>
                  <a:lnTo>
                    <a:pt x="11976" y="5982"/>
                  </a:lnTo>
                  <a:lnTo>
                    <a:pt x="11954" y="5881"/>
                  </a:lnTo>
                  <a:lnTo>
                    <a:pt x="11933" y="5781"/>
                  </a:lnTo>
                  <a:lnTo>
                    <a:pt x="11910" y="5681"/>
                  </a:lnTo>
                  <a:lnTo>
                    <a:pt x="11886" y="5582"/>
                  </a:lnTo>
                  <a:lnTo>
                    <a:pt x="11862" y="5482"/>
                  </a:lnTo>
                  <a:lnTo>
                    <a:pt x="11836" y="5383"/>
                  </a:lnTo>
                  <a:lnTo>
                    <a:pt x="11810" y="5285"/>
                  </a:lnTo>
                  <a:lnTo>
                    <a:pt x="11783" y="5188"/>
                  </a:lnTo>
                  <a:lnTo>
                    <a:pt x="11754" y="5090"/>
                  </a:lnTo>
                  <a:lnTo>
                    <a:pt x="11724" y="4993"/>
                  </a:lnTo>
                  <a:lnTo>
                    <a:pt x="11694" y="4897"/>
                  </a:lnTo>
                  <a:lnTo>
                    <a:pt x="11663" y="4801"/>
                  </a:lnTo>
                  <a:lnTo>
                    <a:pt x="11630" y="4706"/>
                  </a:lnTo>
                  <a:lnTo>
                    <a:pt x="11597" y="4611"/>
                  </a:lnTo>
                  <a:lnTo>
                    <a:pt x="11563" y="4517"/>
                  </a:lnTo>
                  <a:lnTo>
                    <a:pt x="11630" y="4489"/>
                  </a:lnTo>
                  <a:lnTo>
                    <a:pt x="11695" y="4461"/>
                  </a:lnTo>
                  <a:lnTo>
                    <a:pt x="11762" y="4432"/>
                  </a:lnTo>
                  <a:lnTo>
                    <a:pt x="11828" y="4403"/>
                  </a:lnTo>
                  <a:lnTo>
                    <a:pt x="11894" y="4374"/>
                  </a:lnTo>
                  <a:lnTo>
                    <a:pt x="11959" y="4343"/>
                  </a:lnTo>
                  <a:lnTo>
                    <a:pt x="12024" y="4312"/>
                  </a:lnTo>
                  <a:lnTo>
                    <a:pt x="12088" y="4281"/>
                  </a:lnTo>
                  <a:lnTo>
                    <a:pt x="12153" y="4249"/>
                  </a:lnTo>
                  <a:lnTo>
                    <a:pt x="12217" y="4216"/>
                  </a:lnTo>
                  <a:lnTo>
                    <a:pt x="12280" y="4183"/>
                  </a:lnTo>
                  <a:lnTo>
                    <a:pt x="12344" y="4150"/>
                  </a:lnTo>
                  <a:lnTo>
                    <a:pt x="12407" y="4116"/>
                  </a:lnTo>
                  <a:lnTo>
                    <a:pt x="12469" y="4081"/>
                  </a:lnTo>
                  <a:lnTo>
                    <a:pt x="12532" y="4046"/>
                  </a:lnTo>
                  <a:lnTo>
                    <a:pt x="12593" y="4011"/>
                  </a:lnTo>
                  <a:lnTo>
                    <a:pt x="12655" y="3975"/>
                  </a:lnTo>
                  <a:lnTo>
                    <a:pt x="12717" y="3939"/>
                  </a:lnTo>
                  <a:lnTo>
                    <a:pt x="12778" y="3902"/>
                  </a:lnTo>
                  <a:lnTo>
                    <a:pt x="12839" y="3865"/>
                  </a:lnTo>
                  <a:lnTo>
                    <a:pt x="12899" y="3827"/>
                  </a:lnTo>
                  <a:lnTo>
                    <a:pt x="12959" y="3789"/>
                  </a:lnTo>
                  <a:lnTo>
                    <a:pt x="13019" y="3749"/>
                  </a:lnTo>
                  <a:lnTo>
                    <a:pt x="13078" y="3710"/>
                  </a:lnTo>
                  <a:lnTo>
                    <a:pt x="13137" y="3670"/>
                  </a:lnTo>
                  <a:lnTo>
                    <a:pt x="13196" y="3630"/>
                  </a:lnTo>
                  <a:lnTo>
                    <a:pt x="13254" y="3590"/>
                  </a:lnTo>
                  <a:lnTo>
                    <a:pt x="13313" y="3549"/>
                  </a:lnTo>
                  <a:lnTo>
                    <a:pt x="13370" y="3507"/>
                  </a:lnTo>
                  <a:lnTo>
                    <a:pt x="13428" y="3466"/>
                  </a:lnTo>
                  <a:lnTo>
                    <a:pt x="13485" y="3423"/>
                  </a:lnTo>
                  <a:lnTo>
                    <a:pt x="13542" y="3381"/>
                  </a:lnTo>
                  <a:lnTo>
                    <a:pt x="13641" y="3492"/>
                  </a:lnTo>
                  <a:lnTo>
                    <a:pt x="13738" y="3605"/>
                  </a:lnTo>
                  <a:lnTo>
                    <a:pt x="13832" y="3719"/>
                  </a:lnTo>
                  <a:lnTo>
                    <a:pt x="13924" y="3837"/>
                  </a:lnTo>
                  <a:lnTo>
                    <a:pt x="14014" y="3956"/>
                  </a:lnTo>
                  <a:lnTo>
                    <a:pt x="14101" y="4076"/>
                  </a:lnTo>
                  <a:lnTo>
                    <a:pt x="14185" y="4199"/>
                  </a:lnTo>
                  <a:lnTo>
                    <a:pt x="14266" y="4324"/>
                  </a:lnTo>
                  <a:lnTo>
                    <a:pt x="14346" y="4450"/>
                  </a:lnTo>
                  <a:lnTo>
                    <a:pt x="14422" y="4578"/>
                  </a:lnTo>
                  <a:lnTo>
                    <a:pt x="14496" y="4708"/>
                  </a:lnTo>
                  <a:lnTo>
                    <a:pt x="14567" y="4839"/>
                  </a:lnTo>
                  <a:lnTo>
                    <a:pt x="14634" y="4972"/>
                  </a:lnTo>
                  <a:lnTo>
                    <a:pt x="14700" y="5106"/>
                  </a:lnTo>
                  <a:lnTo>
                    <a:pt x="14763" y="5243"/>
                  </a:lnTo>
                  <a:lnTo>
                    <a:pt x="14822" y="5380"/>
                  </a:lnTo>
                  <a:lnTo>
                    <a:pt x="14879" y="5519"/>
                  </a:lnTo>
                  <a:lnTo>
                    <a:pt x="14932" y="5660"/>
                  </a:lnTo>
                  <a:lnTo>
                    <a:pt x="14982" y="5802"/>
                  </a:lnTo>
                  <a:lnTo>
                    <a:pt x="15031" y="5945"/>
                  </a:lnTo>
                  <a:lnTo>
                    <a:pt x="15075" y="6090"/>
                  </a:lnTo>
                  <a:lnTo>
                    <a:pt x="15116" y="6236"/>
                  </a:lnTo>
                  <a:lnTo>
                    <a:pt x="15154" y="6383"/>
                  </a:lnTo>
                  <a:lnTo>
                    <a:pt x="15189" y="6532"/>
                  </a:lnTo>
                  <a:lnTo>
                    <a:pt x="15220" y="6681"/>
                  </a:lnTo>
                  <a:lnTo>
                    <a:pt x="15248" y="6832"/>
                  </a:lnTo>
                  <a:lnTo>
                    <a:pt x="15273" y="6984"/>
                  </a:lnTo>
                  <a:lnTo>
                    <a:pt x="15294" y="7137"/>
                  </a:lnTo>
                  <a:lnTo>
                    <a:pt x="15313" y="7291"/>
                  </a:lnTo>
                  <a:lnTo>
                    <a:pt x="15327" y="7446"/>
                  </a:lnTo>
                  <a:lnTo>
                    <a:pt x="15338" y="7602"/>
                  </a:lnTo>
                  <a:lnTo>
                    <a:pt x="15347" y="7759"/>
                  </a:lnTo>
                  <a:close/>
                  <a:moveTo>
                    <a:pt x="8210" y="0"/>
                  </a:moveTo>
                  <a:lnTo>
                    <a:pt x="7787" y="10"/>
                  </a:lnTo>
                  <a:lnTo>
                    <a:pt x="7370" y="41"/>
                  </a:lnTo>
                  <a:lnTo>
                    <a:pt x="6960" y="92"/>
                  </a:lnTo>
                  <a:lnTo>
                    <a:pt x="6555" y="162"/>
                  </a:lnTo>
                  <a:lnTo>
                    <a:pt x="6158" y="253"/>
                  </a:lnTo>
                  <a:lnTo>
                    <a:pt x="5768" y="361"/>
                  </a:lnTo>
                  <a:lnTo>
                    <a:pt x="5386" y="486"/>
                  </a:lnTo>
                  <a:lnTo>
                    <a:pt x="5014" y="630"/>
                  </a:lnTo>
                  <a:lnTo>
                    <a:pt x="4651" y="791"/>
                  </a:lnTo>
                  <a:lnTo>
                    <a:pt x="4297" y="967"/>
                  </a:lnTo>
                  <a:lnTo>
                    <a:pt x="3953" y="1161"/>
                  </a:lnTo>
                  <a:lnTo>
                    <a:pt x="3619" y="1369"/>
                  </a:lnTo>
                  <a:lnTo>
                    <a:pt x="3298" y="1593"/>
                  </a:lnTo>
                  <a:lnTo>
                    <a:pt x="2987" y="1831"/>
                  </a:lnTo>
                  <a:lnTo>
                    <a:pt x="2690" y="2083"/>
                  </a:lnTo>
                  <a:lnTo>
                    <a:pt x="2404" y="2348"/>
                  </a:lnTo>
                  <a:lnTo>
                    <a:pt x="2132" y="2627"/>
                  </a:lnTo>
                  <a:lnTo>
                    <a:pt x="1875" y="2918"/>
                  </a:lnTo>
                  <a:lnTo>
                    <a:pt x="1631" y="3220"/>
                  </a:lnTo>
                  <a:lnTo>
                    <a:pt x="1402" y="3535"/>
                  </a:lnTo>
                  <a:lnTo>
                    <a:pt x="1188" y="3861"/>
                  </a:lnTo>
                  <a:lnTo>
                    <a:pt x="991" y="4195"/>
                  </a:lnTo>
                  <a:lnTo>
                    <a:pt x="810" y="4541"/>
                  </a:lnTo>
                  <a:lnTo>
                    <a:pt x="645" y="4897"/>
                  </a:lnTo>
                  <a:lnTo>
                    <a:pt x="498" y="5261"/>
                  </a:lnTo>
                  <a:lnTo>
                    <a:pt x="369" y="5634"/>
                  </a:lnTo>
                  <a:lnTo>
                    <a:pt x="259" y="6014"/>
                  </a:lnTo>
                  <a:lnTo>
                    <a:pt x="167" y="6402"/>
                  </a:lnTo>
                  <a:lnTo>
                    <a:pt x="94" y="6797"/>
                  </a:lnTo>
                  <a:lnTo>
                    <a:pt x="42" y="7198"/>
                  </a:lnTo>
                  <a:lnTo>
                    <a:pt x="10" y="7605"/>
                  </a:lnTo>
                  <a:lnTo>
                    <a:pt x="0" y="8018"/>
                  </a:lnTo>
                  <a:lnTo>
                    <a:pt x="10" y="8431"/>
                  </a:lnTo>
                  <a:lnTo>
                    <a:pt x="42" y="8838"/>
                  </a:lnTo>
                  <a:lnTo>
                    <a:pt x="94" y="9239"/>
                  </a:lnTo>
                  <a:lnTo>
                    <a:pt x="167" y="9634"/>
                  </a:lnTo>
                  <a:lnTo>
                    <a:pt x="259" y="10021"/>
                  </a:lnTo>
                  <a:lnTo>
                    <a:pt x="369" y="10402"/>
                  </a:lnTo>
                  <a:lnTo>
                    <a:pt x="498" y="10774"/>
                  </a:lnTo>
                  <a:lnTo>
                    <a:pt x="645" y="11139"/>
                  </a:lnTo>
                  <a:lnTo>
                    <a:pt x="810" y="11494"/>
                  </a:lnTo>
                  <a:lnTo>
                    <a:pt x="991" y="11840"/>
                  </a:lnTo>
                  <a:lnTo>
                    <a:pt x="1188" y="12175"/>
                  </a:lnTo>
                  <a:lnTo>
                    <a:pt x="1402" y="12501"/>
                  </a:lnTo>
                  <a:lnTo>
                    <a:pt x="1631" y="12815"/>
                  </a:lnTo>
                  <a:lnTo>
                    <a:pt x="1875" y="13118"/>
                  </a:lnTo>
                  <a:lnTo>
                    <a:pt x="2132" y="13409"/>
                  </a:lnTo>
                  <a:lnTo>
                    <a:pt x="2404" y="13688"/>
                  </a:lnTo>
                  <a:lnTo>
                    <a:pt x="2690" y="13953"/>
                  </a:lnTo>
                  <a:lnTo>
                    <a:pt x="2987" y="14205"/>
                  </a:lnTo>
                  <a:lnTo>
                    <a:pt x="3298" y="14443"/>
                  </a:lnTo>
                  <a:lnTo>
                    <a:pt x="3619" y="14667"/>
                  </a:lnTo>
                  <a:lnTo>
                    <a:pt x="3953" y="14875"/>
                  </a:lnTo>
                  <a:lnTo>
                    <a:pt x="4297" y="15068"/>
                  </a:lnTo>
                  <a:lnTo>
                    <a:pt x="4651" y="15245"/>
                  </a:lnTo>
                  <a:lnTo>
                    <a:pt x="5014" y="15406"/>
                  </a:lnTo>
                  <a:lnTo>
                    <a:pt x="5386" y="15550"/>
                  </a:lnTo>
                  <a:lnTo>
                    <a:pt x="5768" y="15675"/>
                  </a:lnTo>
                  <a:lnTo>
                    <a:pt x="6158" y="15783"/>
                  </a:lnTo>
                  <a:lnTo>
                    <a:pt x="6555" y="15873"/>
                  </a:lnTo>
                  <a:lnTo>
                    <a:pt x="6960" y="15944"/>
                  </a:lnTo>
                  <a:lnTo>
                    <a:pt x="7370" y="15995"/>
                  </a:lnTo>
                  <a:lnTo>
                    <a:pt x="7787" y="16026"/>
                  </a:lnTo>
                  <a:lnTo>
                    <a:pt x="8210" y="16036"/>
                  </a:lnTo>
                  <a:lnTo>
                    <a:pt x="8632" y="16026"/>
                  </a:lnTo>
                  <a:lnTo>
                    <a:pt x="9049" y="15995"/>
                  </a:lnTo>
                  <a:lnTo>
                    <a:pt x="9459" y="15944"/>
                  </a:lnTo>
                  <a:lnTo>
                    <a:pt x="9864" y="15873"/>
                  </a:lnTo>
                  <a:lnTo>
                    <a:pt x="10261" y="15783"/>
                  </a:lnTo>
                  <a:lnTo>
                    <a:pt x="10651" y="15675"/>
                  </a:lnTo>
                  <a:lnTo>
                    <a:pt x="11033" y="15550"/>
                  </a:lnTo>
                  <a:lnTo>
                    <a:pt x="11405" y="15406"/>
                  </a:lnTo>
                  <a:lnTo>
                    <a:pt x="11768" y="15245"/>
                  </a:lnTo>
                  <a:lnTo>
                    <a:pt x="12122" y="15068"/>
                  </a:lnTo>
                  <a:lnTo>
                    <a:pt x="12466" y="14875"/>
                  </a:lnTo>
                  <a:lnTo>
                    <a:pt x="12800" y="14667"/>
                  </a:lnTo>
                  <a:lnTo>
                    <a:pt x="13122" y="14443"/>
                  </a:lnTo>
                  <a:lnTo>
                    <a:pt x="13432" y="14205"/>
                  </a:lnTo>
                  <a:lnTo>
                    <a:pt x="13729" y="13953"/>
                  </a:lnTo>
                  <a:lnTo>
                    <a:pt x="14015" y="13688"/>
                  </a:lnTo>
                  <a:lnTo>
                    <a:pt x="14287" y="13409"/>
                  </a:lnTo>
                  <a:lnTo>
                    <a:pt x="14544" y="13118"/>
                  </a:lnTo>
                  <a:lnTo>
                    <a:pt x="14788" y="12815"/>
                  </a:lnTo>
                  <a:lnTo>
                    <a:pt x="15017" y="12501"/>
                  </a:lnTo>
                  <a:lnTo>
                    <a:pt x="15231" y="12175"/>
                  </a:lnTo>
                  <a:lnTo>
                    <a:pt x="15428" y="11840"/>
                  </a:lnTo>
                  <a:lnTo>
                    <a:pt x="15609" y="11494"/>
                  </a:lnTo>
                  <a:lnTo>
                    <a:pt x="15774" y="11139"/>
                  </a:lnTo>
                  <a:lnTo>
                    <a:pt x="15921" y="10774"/>
                  </a:lnTo>
                  <a:lnTo>
                    <a:pt x="16050" y="10402"/>
                  </a:lnTo>
                  <a:lnTo>
                    <a:pt x="16160" y="10021"/>
                  </a:lnTo>
                  <a:lnTo>
                    <a:pt x="16253" y="9634"/>
                  </a:lnTo>
                  <a:lnTo>
                    <a:pt x="16325" y="9239"/>
                  </a:lnTo>
                  <a:lnTo>
                    <a:pt x="16377" y="8838"/>
                  </a:lnTo>
                  <a:lnTo>
                    <a:pt x="16409" y="8431"/>
                  </a:lnTo>
                  <a:lnTo>
                    <a:pt x="16419" y="8018"/>
                  </a:lnTo>
                  <a:lnTo>
                    <a:pt x="16409" y="7605"/>
                  </a:lnTo>
                  <a:lnTo>
                    <a:pt x="16377" y="7198"/>
                  </a:lnTo>
                  <a:lnTo>
                    <a:pt x="16325" y="6797"/>
                  </a:lnTo>
                  <a:lnTo>
                    <a:pt x="16253" y="6402"/>
                  </a:lnTo>
                  <a:lnTo>
                    <a:pt x="16160" y="6014"/>
                  </a:lnTo>
                  <a:lnTo>
                    <a:pt x="16050" y="5634"/>
                  </a:lnTo>
                  <a:lnTo>
                    <a:pt x="15921" y="5261"/>
                  </a:lnTo>
                  <a:lnTo>
                    <a:pt x="15774" y="4897"/>
                  </a:lnTo>
                  <a:lnTo>
                    <a:pt x="15609" y="4541"/>
                  </a:lnTo>
                  <a:lnTo>
                    <a:pt x="15428" y="4195"/>
                  </a:lnTo>
                  <a:lnTo>
                    <a:pt x="15231" y="3861"/>
                  </a:lnTo>
                  <a:lnTo>
                    <a:pt x="15017" y="3535"/>
                  </a:lnTo>
                  <a:lnTo>
                    <a:pt x="14788" y="3220"/>
                  </a:lnTo>
                  <a:lnTo>
                    <a:pt x="14544" y="2918"/>
                  </a:lnTo>
                  <a:lnTo>
                    <a:pt x="14287" y="2627"/>
                  </a:lnTo>
                  <a:lnTo>
                    <a:pt x="14015" y="2348"/>
                  </a:lnTo>
                  <a:lnTo>
                    <a:pt x="13729" y="2083"/>
                  </a:lnTo>
                  <a:lnTo>
                    <a:pt x="13432" y="1831"/>
                  </a:lnTo>
                  <a:lnTo>
                    <a:pt x="13122" y="1593"/>
                  </a:lnTo>
                  <a:lnTo>
                    <a:pt x="12800" y="1369"/>
                  </a:lnTo>
                  <a:lnTo>
                    <a:pt x="12466" y="1161"/>
                  </a:lnTo>
                  <a:lnTo>
                    <a:pt x="12122" y="967"/>
                  </a:lnTo>
                  <a:lnTo>
                    <a:pt x="11768" y="791"/>
                  </a:lnTo>
                  <a:lnTo>
                    <a:pt x="11405" y="630"/>
                  </a:lnTo>
                  <a:lnTo>
                    <a:pt x="11033" y="486"/>
                  </a:lnTo>
                  <a:lnTo>
                    <a:pt x="10651" y="361"/>
                  </a:lnTo>
                  <a:lnTo>
                    <a:pt x="10261" y="253"/>
                  </a:lnTo>
                  <a:lnTo>
                    <a:pt x="9864" y="162"/>
                  </a:lnTo>
                  <a:lnTo>
                    <a:pt x="9459" y="92"/>
                  </a:lnTo>
                  <a:lnTo>
                    <a:pt x="9049" y="41"/>
                  </a:lnTo>
                  <a:lnTo>
                    <a:pt x="8632" y="10"/>
                  </a:lnTo>
                  <a:lnTo>
                    <a:pt x="821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60" name="işlïḓè">
              <a:extLst>
                <a:ext uri="{FF2B5EF4-FFF2-40B4-BE49-F238E27FC236}">
                  <a16:creationId xmlns:a16="http://schemas.microsoft.com/office/drawing/2014/main" id="{D0F88A41-2613-42FD-A0C7-78EEB84CA39E}"/>
                </a:ext>
              </a:extLst>
            </p:cNvPr>
            <p:cNvSpPr/>
            <p:nvPr/>
          </p:nvSpPr>
          <p:spPr bwMode="auto">
            <a:xfrm>
              <a:off x="10078620" y="1470466"/>
              <a:ext cx="236122" cy="151900"/>
            </a:xfrm>
            <a:custGeom>
              <a:avLst/>
              <a:gdLst>
                <a:gd name="T0" fmla="*/ 4713 w 5797"/>
                <a:gd name="T1" fmla="*/ 41 h 3756"/>
                <a:gd name="T2" fmla="*/ 3661 w 5797"/>
                <a:gd name="T3" fmla="*/ 216 h 3756"/>
                <a:gd name="T4" fmla="*/ 2695 w 5797"/>
                <a:gd name="T5" fmla="*/ 516 h 3756"/>
                <a:gd name="T6" fmla="*/ 1839 w 5797"/>
                <a:gd name="T7" fmla="*/ 924 h 3756"/>
                <a:gd name="T8" fmla="*/ 1118 w 5797"/>
                <a:gd name="T9" fmla="*/ 1423 h 3756"/>
                <a:gd name="T10" fmla="*/ 556 w 5797"/>
                <a:gd name="T11" fmla="*/ 2001 h 3756"/>
                <a:gd name="T12" fmla="*/ 178 w 5797"/>
                <a:gd name="T13" fmla="*/ 2641 h 3756"/>
                <a:gd name="T14" fmla="*/ 7 w 5797"/>
                <a:gd name="T15" fmla="*/ 3329 h 3756"/>
                <a:gd name="T16" fmla="*/ 3 w 5797"/>
                <a:gd name="T17" fmla="*/ 3544 h 3756"/>
                <a:gd name="T18" fmla="*/ 15 w 5797"/>
                <a:gd name="T19" fmla="*/ 3592 h 3756"/>
                <a:gd name="T20" fmla="*/ 36 w 5797"/>
                <a:gd name="T21" fmla="*/ 3636 h 3756"/>
                <a:gd name="T22" fmla="*/ 65 w 5797"/>
                <a:gd name="T23" fmla="*/ 3674 h 3756"/>
                <a:gd name="T24" fmla="*/ 100 w 5797"/>
                <a:gd name="T25" fmla="*/ 3706 h 3756"/>
                <a:gd name="T26" fmla="*/ 143 w 5797"/>
                <a:gd name="T27" fmla="*/ 3731 h 3756"/>
                <a:gd name="T28" fmla="*/ 189 w 5797"/>
                <a:gd name="T29" fmla="*/ 3748 h 3756"/>
                <a:gd name="T30" fmla="*/ 239 w 5797"/>
                <a:gd name="T31" fmla="*/ 3756 h 3756"/>
                <a:gd name="T32" fmla="*/ 290 w 5797"/>
                <a:gd name="T33" fmla="*/ 3753 h 3756"/>
                <a:gd name="T34" fmla="*/ 338 w 5797"/>
                <a:gd name="T35" fmla="*/ 3741 h 3756"/>
                <a:gd name="T36" fmla="*/ 383 w 5797"/>
                <a:gd name="T37" fmla="*/ 3720 h 3756"/>
                <a:gd name="T38" fmla="*/ 421 w 5797"/>
                <a:gd name="T39" fmla="*/ 3691 h 3756"/>
                <a:gd name="T40" fmla="*/ 453 w 5797"/>
                <a:gd name="T41" fmla="*/ 3655 h 3756"/>
                <a:gd name="T42" fmla="*/ 479 w 5797"/>
                <a:gd name="T43" fmla="*/ 3614 h 3756"/>
                <a:gd name="T44" fmla="*/ 496 w 5797"/>
                <a:gd name="T45" fmla="*/ 3568 h 3756"/>
                <a:gd name="T46" fmla="*/ 504 w 5797"/>
                <a:gd name="T47" fmla="*/ 3519 h 3756"/>
                <a:gd name="T48" fmla="*/ 564 w 5797"/>
                <a:gd name="T49" fmla="*/ 3062 h 3756"/>
                <a:gd name="T50" fmla="*/ 820 w 5797"/>
                <a:gd name="T51" fmla="*/ 2496 h 3756"/>
                <a:gd name="T52" fmla="*/ 1257 w 5797"/>
                <a:gd name="T53" fmla="*/ 1973 h 3756"/>
                <a:gd name="T54" fmla="*/ 1848 w 5797"/>
                <a:gd name="T55" fmla="*/ 1509 h 3756"/>
                <a:gd name="T56" fmla="*/ 2572 w 5797"/>
                <a:gd name="T57" fmla="*/ 1115 h 3756"/>
                <a:gd name="T58" fmla="*/ 3402 w 5797"/>
                <a:gd name="T59" fmla="*/ 807 h 3756"/>
                <a:gd name="T60" fmla="*/ 4318 w 5797"/>
                <a:gd name="T61" fmla="*/ 599 h 3756"/>
                <a:gd name="T62" fmla="*/ 5294 w 5797"/>
                <a:gd name="T63" fmla="*/ 505 h 3756"/>
                <a:gd name="T64" fmla="*/ 5583 w 5797"/>
                <a:gd name="T65" fmla="*/ 498 h 3756"/>
                <a:gd name="T66" fmla="*/ 5632 w 5797"/>
                <a:gd name="T67" fmla="*/ 486 h 3756"/>
                <a:gd name="T68" fmla="*/ 5676 w 5797"/>
                <a:gd name="T69" fmla="*/ 465 h 3756"/>
                <a:gd name="T70" fmla="*/ 5714 w 5797"/>
                <a:gd name="T71" fmla="*/ 436 h 3756"/>
                <a:gd name="T72" fmla="*/ 5747 w 5797"/>
                <a:gd name="T73" fmla="*/ 401 h 3756"/>
                <a:gd name="T74" fmla="*/ 5772 w 5797"/>
                <a:gd name="T75" fmla="*/ 359 h 3756"/>
                <a:gd name="T76" fmla="*/ 5789 w 5797"/>
                <a:gd name="T77" fmla="*/ 313 h 3756"/>
                <a:gd name="T78" fmla="*/ 5797 w 5797"/>
                <a:gd name="T79" fmla="*/ 264 h 3756"/>
                <a:gd name="T80" fmla="*/ 5794 w 5797"/>
                <a:gd name="T81" fmla="*/ 212 h 3756"/>
                <a:gd name="T82" fmla="*/ 5782 w 5797"/>
                <a:gd name="T83" fmla="*/ 164 h 3756"/>
                <a:gd name="T84" fmla="*/ 5761 w 5797"/>
                <a:gd name="T85" fmla="*/ 120 h 3756"/>
                <a:gd name="T86" fmla="*/ 5732 w 5797"/>
                <a:gd name="T87" fmla="*/ 82 h 3756"/>
                <a:gd name="T88" fmla="*/ 5696 w 5797"/>
                <a:gd name="T89" fmla="*/ 50 h 3756"/>
                <a:gd name="T90" fmla="*/ 5654 w 5797"/>
                <a:gd name="T91" fmla="*/ 25 h 3756"/>
                <a:gd name="T92" fmla="*/ 5609 w 5797"/>
                <a:gd name="T93" fmla="*/ 8 h 3756"/>
                <a:gd name="T94" fmla="*/ 5558 w 5797"/>
                <a:gd name="T95" fmla="*/ 0 h 3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797" h="3756">
                  <a:moveTo>
                    <a:pt x="5545" y="0"/>
                  </a:moveTo>
                  <a:lnTo>
                    <a:pt x="5265" y="5"/>
                  </a:lnTo>
                  <a:lnTo>
                    <a:pt x="4987" y="18"/>
                  </a:lnTo>
                  <a:lnTo>
                    <a:pt x="4713" y="41"/>
                  </a:lnTo>
                  <a:lnTo>
                    <a:pt x="4444" y="73"/>
                  </a:lnTo>
                  <a:lnTo>
                    <a:pt x="4178" y="112"/>
                  </a:lnTo>
                  <a:lnTo>
                    <a:pt x="3917" y="160"/>
                  </a:lnTo>
                  <a:lnTo>
                    <a:pt x="3661" y="216"/>
                  </a:lnTo>
                  <a:lnTo>
                    <a:pt x="3411" y="281"/>
                  </a:lnTo>
                  <a:lnTo>
                    <a:pt x="3166" y="352"/>
                  </a:lnTo>
                  <a:lnTo>
                    <a:pt x="2927" y="431"/>
                  </a:lnTo>
                  <a:lnTo>
                    <a:pt x="2695" y="516"/>
                  </a:lnTo>
                  <a:lnTo>
                    <a:pt x="2470" y="608"/>
                  </a:lnTo>
                  <a:lnTo>
                    <a:pt x="2251" y="707"/>
                  </a:lnTo>
                  <a:lnTo>
                    <a:pt x="2041" y="812"/>
                  </a:lnTo>
                  <a:lnTo>
                    <a:pt x="1839" y="924"/>
                  </a:lnTo>
                  <a:lnTo>
                    <a:pt x="1645" y="1041"/>
                  </a:lnTo>
                  <a:lnTo>
                    <a:pt x="1460" y="1163"/>
                  </a:lnTo>
                  <a:lnTo>
                    <a:pt x="1284" y="1291"/>
                  </a:lnTo>
                  <a:lnTo>
                    <a:pt x="1118" y="1423"/>
                  </a:lnTo>
                  <a:lnTo>
                    <a:pt x="961" y="1562"/>
                  </a:lnTo>
                  <a:lnTo>
                    <a:pt x="815" y="1704"/>
                  </a:lnTo>
                  <a:lnTo>
                    <a:pt x="680" y="1851"/>
                  </a:lnTo>
                  <a:lnTo>
                    <a:pt x="556" y="2001"/>
                  </a:lnTo>
                  <a:lnTo>
                    <a:pt x="443" y="2157"/>
                  </a:lnTo>
                  <a:lnTo>
                    <a:pt x="342" y="2315"/>
                  </a:lnTo>
                  <a:lnTo>
                    <a:pt x="254" y="2477"/>
                  </a:lnTo>
                  <a:lnTo>
                    <a:pt x="178" y="2641"/>
                  </a:lnTo>
                  <a:lnTo>
                    <a:pt x="115" y="2810"/>
                  </a:lnTo>
                  <a:lnTo>
                    <a:pt x="65" y="2980"/>
                  </a:lnTo>
                  <a:lnTo>
                    <a:pt x="29" y="3153"/>
                  </a:lnTo>
                  <a:lnTo>
                    <a:pt x="7" y="3329"/>
                  </a:lnTo>
                  <a:lnTo>
                    <a:pt x="0" y="3506"/>
                  </a:lnTo>
                  <a:lnTo>
                    <a:pt x="0" y="3519"/>
                  </a:lnTo>
                  <a:lnTo>
                    <a:pt x="1" y="3531"/>
                  </a:lnTo>
                  <a:lnTo>
                    <a:pt x="3" y="3544"/>
                  </a:lnTo>
                  <a:lnTo>
                    <a:pt x="5" y="3556"/>
                  </a:lnTo>
                  <a:lnTo>
                    <a:pt x="8" y="3568"/>
                  </a:lnTo>
                  <a:lnTo>
                    <a:pt x="11" y="3580"/>
                  </a:lnTo>
                  <a:lnTo>
                    <a:pt x="15" y="3592"/>
                  </a:lnTo>
                  <a:lnTo>
                    <a:pt x="20" y="3603"/>
                  </a:lnTo>
                  <a:lnTo>
                    <a:pt x="25" y="3614"/>
                  </a:lnTo>
                  <a:lnTo>
                    <a:pt x="30" y="3625"/>
                  </a:lnTo>
                  <a:lnTo>
                    <a:pt x="36" y="3636"/>
                  </a:lnTo>
                  <a:lnTo>
                    <a:pt x="43" y="3646"/>
                  </a:lnTo>
                  <a:lnTo>
                    <a:pt x="50" y="3655"/>
                  </a:lnTo>
                  <a:lnTo>
                    <a:pt x="57" y="3665"/>
                  </a:lnTo>
                  <a:lnTo>
                    <a:pt x="65" y="3674"/>
                  </a:lnTo>
                  <a:lnTo>
                    <a:pt x="73" y="3683"/>
                  </a:lnTo>
                  <a:lnTo>
                    <a:pt x="82" y="3691"/>
                  </a:lnTo>
                  <a:lnTo>
                    <a:pt x="91" y="3699"/>
                  </a:lnTo>
                  <a:lnTo>
                    <a:pt x="100" y="3706"/>
                  </a:lnTo>
                  <a:lnTo>
                    <a:pt x="111" y="3713"/>
                  </a:lnTo>
                  <a:lnTo>
                    <a:pt x="121" y="3720"/>
                  </a:lnTo>
                  <a:lnTo>
                    <a:pt x="132" y="3726"/>
                  </a:lnTo>
                  <a:lnTo>
                    <a:pt x="143" y="3731"/>
                  </a:lnTo>
                  <a:lnTo>
                    <a:pt x="154" y="3736"/>
                  </a:lnTo>
                  <a:lnTo>
                    <a:pt x="165" y="3741"/>
                  </a:lnTo>
                  <a:lnTo>
                    <a:pt x="177" y="3745"/>
                  </a:lnTo>
                  <a:lnTo>
                    <a:pt x="189" y="3748"/>
                  </a:lnTo>
                  <a:lnTo>
                    <a:pt x="201" y="3751"/>
                  </a:lnTo>
                  <a:lnTo>
                    <a:pt x="213" y="3753"/>
                  </a:lnTo>
                  <a:lnTo>
                    <a:pt x="226" y="3755"/>
                  </a:lnTo>
                  <a:lnTo>
                    <a:pt x="239" y="3756"/>
                  </a:lnTo>
                  <a:lnTo>
                    <a:pt x="252" y="3756"/>
                  </a:lnTo>
                  <a:lnTo>
                    <a:pt x="265" y="3756"/>
                  </a:lnTo>
                  <a:lnTo>
                    <a:pt x="278" y="3755"/>
                  </a:lnTo>
                  <a:lnTo>
                    <a:pt x="290" y="3753"/>
                  </a:lnTo>
                  <a:lnTo>
                    <a:pt x="302" y="3751"/>
                  </a:lnTo>
                  <a:lnTo>
                    <a:pt x="315" y="3748"/>
                  </a:lnTo>
                  <a:lnTo>
                    <a:pt x="326" y="3745"/>
                  </a:lnTo>
                  <a:lnTo>
                    <a:pt x="338" y="3741"/>
                  </a:lnTo>
                  <a:lnTo>
                    <a:pt x="349" y="3736"/>
                  </a:lnTo>
                  <a:lnTo>
                    <a:pt x="361" y="3731"/>
                  </a:lnTo>
                  <a:lnTo>
                    <a:pt x="372" y="3726"/>
                  </a:lnTo>
                  <a:lnTo>
                    <a:pt x="383" y="3720"/>
                  </a:lnTo>
                  <a:lnTo>
                    <a:pt x="393" y="3713"/>
                  </a:lnTo>
                  <a:lnTo>
                    <a:pt x="403" y="3706"/>
                  </a:lnTo>
                  <a:lnTo>
                    <a:pt x="412" y="3699"/>
                  </a:lnTo>
                  <a:lnTo>
                    <a:pt x="421" y="3691"/>
                  </a:lnTo>
                  <a:lnTo>
                    <a:pt x="430" y="3683"/>
                  </a:lnTo>
                  <a:lnTo>
                    <a:pt x="438" y="3674"/>
                  </a:lnTo>
                  <a:lnTo>
                    <a:pt x="446" y="3665"/>
                  </a:lnTo>
                  <a:lnTo>
                    <a:pt x="453" y="3655"/>
                  </a:lnTo>
                  <a:lnTo>
                    <a:pt x="460" y="3646"/>
                  </a:lnTo>
                  <a:lnTo>
                    <a:pt x="467" y="3636"/>
                  </a:lnTo>
                  <a:lnTo>
                    <a:pt x="474" y="3625"/>
                  </a:lnTo>
                  <a:lnTo>
                    <a:pt x="479" y="3614"/>
                  </a:lnTo>
                  <a:lnTo>
                    <a:pt x="484" y="3603"/>
                  </a:lnTo>
                  <a:lnTo>
                    <a:pt x="489" y="3592"/>
                  </a:lnTo>
                  <a:lnTo>
                    <a:pt x="493" y="3580"/>
                  </a:lnTo>
                  <a:lnTo>
                    <a:pt x="496" y="3568"/>
                  </a:lnTo>
                  <a:lnTo>
                    <a:pt x="499" y="3556"/>
                  </a:lnTo>
                  <a:lnTo>
                    <a:pt x="501" y="3544"/>
                  </a:lnTo>
                  <a:lnTo>
                    <a:pt x="503" y="3531"/>
                  </a:lnTo>
                  <a:lnTo>
                    <a:pt x="504" y="3519"/>
                  </a:lnTo>
                  <a:lnTo>
                    <a:pt x="504" y="3506"/>
                  </a:lnTo>
                  <a:lnTo>
                    <a:pt x="511" y="3357"/>
                  </a:lnTo>
                  <a:lnTo>
                    <a:pt x="531" y="3208"/>
                  </a:lnTo>
                  <a:lnTo>
                    <a:pt x="564" y="3062"/>
                  </a:lnTo>
                  <a:lnTo>
                    <a:pt x="611" y="2917"/>
                  </a:lnTo>
                  <a:lnTo>
                    <a:pt x="669" y="2775"/>
                  </a:lnTo>
                  <a:lnTo>
                    <a:pt x="739" y="2634"/>
                  </a:lnTo>
                  <a:lnTo>
                    <a:pt x="820" y="2496"/>
                  </a:lnTo>
                  <a:lnTo>
                    <a:pt x="914" y="2361"/>
                  </a:lnTo>
                  <a:lnTo>
                    <a:pt x="1018" y="2229"/>
                  </a:lnTo>
                  <a:lnTo>
                    <a:pt x="1132" y="2100"/>
                  </a:lnTo>
                  <a:lnTo>
                    <a:pt x="1257" y="1973"/>
                  </a:lnTo>
                  <a:lnTo>
                    <a:pt x="1391" y="1851"/>
                  </a:lnTo>
                  <a:lnTo>
                    <a:pt x="1534" y="1733"/>
                  </a:lnTo>
                  <a:lnTo>
                    <a:pt x="1686" y="1619"/>
                  </a:lnTo>
                  <a:lnTo>
                    <a:pt x="1848" y="1509"/>
                  </a:lnTo>
                  <a:lnTo>
                    <a:pt x="2017" y="1403"/>
                  </a:lnTo>
                  <a:lnTo>
                    <a:pt x="2195" y="1302"/>
                  </a:lnTo>
                  <a:lnTo>
                    <a:pt x="2379" y="1206"/>
                  </a:lnTo>
                  <a:lnTo>
                    <a:pt x="2572" y="1115"/>
                  </a:lnTo>
                  <a:lnTo>
                    <a:pt x="2769" y="1030"/>
                  </a:lnTo>
                  <a:lnTo>
                    <a:pt x="2975" y="950"/>
                  </a:lnTo>
                  <a:lnTo>
                    <a:pt x="3186" y="876"/>
                  </a:lnTo>
                  <a:lnTo>
                    <a:pt x="3402" y="807"/>
                  </a:lnTo>
                  <a:lnTo>
                    <a:pt x="3624" y="745"/>
                  </a:lnTo>
                  <a:lnTo>
                    <a:pt x="3851" y="690"/>
                  </a:lnTo>
                  <a:lnTo>
                    <a:pt x="4083" y="641"/>
                  </a:lnTo>
                  <a:lnTo>
                    <a:pt x="4318" y="599"/>
                  </a:lnTo>
                  <a:lnTo>
                    <a:pt x="4557" y="564"/>
                  </a:lnTo>
                  <a:lnTo>
                    <a:pt x="4800" y="537"/>
                  </a:lnTo>
                  <a:lnTo>
                    <a:pt x="5046" y="517"/>
                  </a:lnTo>
                  <a:lnTo>
                    <a:pt x="5294" y="505"/>
                  </a:lnTo>
                  <a:lnTo>
                    <a:pt x="5545" y="501"/>
                  </a:lnTo>
                  <a:lnTo>
                    <a:pt x="5558" y="501"/>
                  </a:lnTo>
                  <a:lnTo>
                    <a:pt x="5571" y="500"/>
                  </a:lnTo>
                  <a:lnTo>
                    <a:pt x="5583" y="498"/>
                  </a:lnTo>
                  <a:lnTo>
                    <a:pt x="5595" y="496"/>
                  </a:lnTo>
                  <a:lnTo>
                    <a:pt x="5609" y="493"/>
                  </a:lnTo>
                  <a:lnTo>
                    <a:pt x="5620" y="490"/>
                  </a:lnTo>
                  <a:lnTo>
                    <a:pt x="5632" y="486"/>
                  </a:lnTo>
                  <a:lnTo>
                    <a:pt x="5643" y="481"/>
                  </a:lnTo>
                  <a:lnTo>
                    <a:pt x="5654" y="476"/>
                  </a:lnTo>
                  <a:lnTo>
                    <a:pt x="5665" y="471"/>
                  </a:lnTo>
                  <a:lnTo>
                    <a:pt x="5676" y="465"/>
                  </a:lnTo>
                  <a:lnTo>
                    <a:pt x="5686" y="458"/>
                  </a:lnTo>
                  <a:lnTo>
                    <a:pt x="5696" y="451"/>
                  </a:lnTo>
                  <a:lnTo>
                    <a:pt x="5705" y="444"/>
                  </a:lnTo>
                  <a:lnTo>
                    <a:pt x="5714" y="436"/>
                  </a:lnTo>
                  <a:lnTo>
                    <a:pt x="5723" y="428"/>
                  </a:lnTo>
                  <a:lnTo>
                    <a:pt x="5732" y="419"/>
                  </a:lnTo>
                  <a:lnTo>
                    <a:pt x="5740" y="410"/>
                  </a:lnTo>
                  <a:lnTo>
                    <a:pt x="5747" y="401"/>
                  </a:lnTo>
                  <a:lnTo>
                    <a:pt x="5754" y="391"/>
                  </a:lnTo>
                  <a:lnTo>
                    <a:pt x="5761" y="381"/>
                  </a:lnTo>
                  <a:lnTo>
                    <a:pt x="5767" y="370"/>
                  </a:lnTo>
                  <a:lnTo>
                    <a:pt x="5772" y="359"/>
                  </a:lnTo>
                  <a:lnTo>
                    <a:pt x="5777" y="348"/>
                  </a:lnTo>
                  <a:lnTo>
                    <a:pt x="5782" y="337"/>
                  </a:lnTo>
                  <a:lnTo>
                    <a:pt x="5786" y="325"/>
                  </a:lnTo>
                  <a:lnTo>
                    <a:pt x="5789" y="313"/>
                  </a:lnTo>
                  <a:lnTo>
                    <a:pt x="5792" y="301"/>
                  </a:lnTo>
                  <a:lnTo>
                    <a:pt x="5794" y="289"/>
                  </a:lnTo>
                  <a:lnTo>
                    <a:pt x="5796" y="277"/>
                  </a:lnTo>
                  <a:lnTo>
                    <a:pt x="5797" y="264"/>
                  </a:lnTo>
                  <a:lnTo>
                    <a:pt x="5797" y="251"/>
                  </a:lnTo>
                  <a:lnTo>
                    <a:pt x="5797" y="237"/>
                  </a:lnTo>
                  <a:lnTo>
                    <a:pt x="5796" y="225"/>
                  </a:lnTo>
                  <a:lnTo>
                    <a:pt x="5794" y="212"/>
                  </a:lnTo>
                  <a:lnTo>
                    <a:pt x="5792" y="200"/>
                  </a:lnTo>
                  <a:lnTo>
                    <a:pt x="5789" y="188"/>
                  </a:lnTo>
                  <a:lnTo>
                    <a:pt x="5786" y="176"/>
                  </a:lnTo>
                  <a:lnTo>
                    <a:pt x="5782" y="164"/>
                  </a:lnTo>
                  <a:lnTo>
                    <a:pt x="5777" y="153"/>
                  </a:lnTo>
                  <a:lnTo>
                    <a:pt x="5772" y="142"/>
                  </a:lnTo>
                  <a:lnTo>
                    <a:pt x="5767" y="131"/>
                  </a:lnTo>
                  <a:lnTo>
                    <a:pt x="5761" y="120"/>
                  </a:lnTo>
                  <a:lnTo>
                    <a:pt x="5754" y="110"/>
                  </a:lnTo>
                  <a:lnTo>
                    <a:pt x="5747" y="100"/>
                  </a:lnTo>
                  <a:lnTo>
                    <a:pt x="5740" y="91"/>
                  </a:lnTo>
                  <a:lnTo>
                    <a:pt x="5732" y="82"/>
                  </a:lnTo>
                  <a:lnTo>
                    <a:pt x="5723" y="73"/>
                  </a:lnTo>
                  <a:lnTo>
                    <a:pt x="5714" y="65"/>
                  </a:lnTo>
                  <a:lnTo>
                    <a:pt x="5705" y="57"/>
                  </a:lnTo>
                  <a:lnTo>
                    <a:pt x="5696" y="50"/>
                  </a:lnTo>
                  <a:lnTo>
                    <a:pt x="5686" y="43"/>
                  </a:lnTo>
                  <a:lnTo>
                    <a:pt x="5676" y="36"/>
                  </a:lnTo>
                  <a:lnTo>
                    <a:pt x="5665" y="30"/>
                  </a:lnTo>
                  <a:lnTo>
                    <a:pt x="5654" y="25"/>
                  </a:lnTo>
                  <a:lnTo>
                    <a:pt x="5643" y="20"/>
                  </a:lnTo>
                  <a:lnTo>
                    <a:pt x="5632" y="15"/>
                  </a:lnTo>
                  <a:lnTo>
                    <a:pt x="5620" y="11"/>
                  </a:lnTo>
                  <a:lnTo>
                    <a:pt x="5609" y="8"/>
                  </a:lnTo>
                  <a:lnTo>
                    <a:pt x="5595" y="5"/>
                  </a:lnTo>
                  <a:lnTo>
                    <a:pt x="5583" y="3"/>
                  </a:lnTo>
                  <a:lnTo>
                    <a:pt x="5571" y="1"/>
                  </a:lnTo>
                  <a:lnTo>
                    <a:pt x="5558" y="0"/>
                  </a:lnTo>
                  <a:lnTo>
                    <a:pt x="55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61" name="îṡļíďe">
              <a:extLst>
                <a:ext uri="{FF2B5EF4-FFF2-40B4-BE49-F238E27FC236}">
                  <a16:creationId xmlns:a16="http://schemas.microsoft.com/office/drawing/2014/main" id="{A7455319-B676-4CD2-B25A-4FF08BC4AF69}"/>
                </a:ext>
              </a:extLst>
            </p:cNvPr>
            <p:cNvSpPr/>
            <p:nvPr/>
          </p:nvSpPr>
          <p:spPr bwMode="auto">
            <a:xfrm>
              <a:off x="9976351" y="1368197"/>
              <a:ext cx="655727" cy="570000"/>
            </a:xfrm>
            <a:custGeom>
              <a:avLst/>
              <a:gdLst>
                <a:gd name="T0" fmla="*/ 7365 w 16132"/>
                <a:gd name="T1" fmla="*/ 10992 h 14023"/>
                <a:gd name="T2" fmla="*/ 6620 w 16132"/>
                <a:gd name="T3" fmla="*/ 10910 h 14023"/>
                <a:gd name="T4" fmla="*/ 6344 w 16132"/>
                <a:gd name="T5" fmla="*/ 10917 h 14023"/>
                <a:gd name="T6" fmla="*/ 6106 w 16132"/>
                <a:gd name="T7" fmla="*/ 10988 h 14023"/>
                <a:gd name="T8" fmla="*/ 5892 w 16132"/>
                <a:gd name="T9" fmla="*/ 11114 h 14023"/>
                <a:gd name="T10" fmla="*/ 5710 w 16132"/>
                <a:gd name="T11" fmla="*/ 11296 h 14023"/>
                <a:gd name="T12" fmla="*/ 5336 w 16132"/>
                <a:gd name="T13" fmla="*/ 11674 h 14023"/>
                <a:gd name="T14" fmla="*/ 4873 w 16132"/>
                <a:gd name="T15" fmla="*/ 12065 h 14023"/>
                <a:gd name="T16" fmla="*/ 4310 w 16132"/>
                <a:gd name="T17" fmla="*/ 12459 h 14023"/>
                <a:gd name="T18" fmla="*/ 4388 w 16132"/>
                <a:gd name="T19" fmla="*/ 11971 h 14023"/>
                <a:gd name="T20" fmla="*/ 4488 w 16132"/>
                <a:gd name="T21" fmla="*/ 11553 h 14023"/>
                <a:gd name="T22" fmla="*/ 4535 w 16132"/>
                <a:gd name="T23" fmla="*/ 11121 h 14023"/>
                <a:gd name="T24" fmla="*/ 4531 w 16132"/>
                <a:gd name="T25" fmla="*/ 10842 h 14023"/>
                <a:gd name="T26" fmla="*/ 4442 w 16132"/>
                <a:gd name="T27" fmla="*/ 10547 h 14023"/>
                <a:gd name="T28" fmla="*/ 4269 w 16132"/>
                <a:gd name="T29" fmla="*/ 10296 h 14023"/>
                <a:gd name="T30" fmla="*/ 4023 w 16132"/>
                <a:gd name="T31" fmla="*/ 10106 h 14023"/>
                <a:gd name="T32" fmla="*/ 2737 w 16132"/>
                <a:gd name="T33" fmla="*/ 9277 h 14023"/>
                <a:gd name="T34" fmla="*/ 1706 w 16132"/>
                <a:gd name="T35" fmla="*/ 8163 h 14023"/>
                <a:gd name="T36" fmla="*/ 1123 w 16132"/>
                <a:gd name="T37" fmla="*/ 6901 h 14023"/>
                <a:gd name="T38" fmla="*/ 1090 w 16132"/>
                <a:gd name="T39" fmla="*/ 5248 h 14023"/>
                <a:gd name="T40" fmla="*/ 2215 w 16132"/>
                <a:gd name="T41" fmla="*/ 3211 h 14023"/>
                <a:gd name="T42" fmla="*/ 4409 w 16132"/>
                <a:gd name="T43" fmla="*/ 1728 h 14023"/>
                <a:gd name="T44" fmla="*/ 7345 w 16132"/>
                <a:gd name="T45" fmla="*/ 1028 h 14023"/>
                <a:gd name="T46" fmla="*/ 10490 w 16132"/>
                <a:gd name="T47" fmla="*/ 1306 h 14023"/>
                <a:gd name="T48" fmla="*/ 13054 w 16132"/>
                <a:gd name="T49" fmla="*/ 2470 h 14023"/>
                <a:gd name="T50" fmla="*/ 14695 w 16132"/>
                <a:gd name="T51" fmla="*/ 4290 h 14023"/>
                <a:gd name="T52" fmla="*/ 15087 w 16132"/>
                <a:gd name="T53" fmla="*/ 6521 h 14023"/>
                <a:gd name="T54" fmla="*/ 14100 w 16132"/>
                <a:gd name="T55" fmla="*/ 8605 h 14023"/>
                <a:gd name="T56" fmla="*/ 12009 w 16132"/>
                <a:gd name="T57" fmla="*/ 10162 h 14023"/>
                <a:gd name="T58" fmla="*/ 9140 w 16132"/>
                <a:gd name="T59" fmla="*/ 10960 h 14023"/>
                <a:gd name="T60" fmla="*/ 6051 w 16132"/>
                <a:gd name="T61" fmla="*/ 189 h 14023"/>
                <a:gd name="T62" fmla="*/ 2935 w 16132"/>
                <a:gd name="T63" fmla="*/ 1372 h 14023"/>
                <a:gd name="T64" fmla="*/ 796 w 16132"/>
                <a:gd name="T65" fmla="*/ 3405 h 14023"/>
                <a:gd name="T66" fmla="*/ 0 w 16132"/>
                <a:gd name="T67" fmla="*/ 6010 h 14023"/>
                <a:gd name="T68" fmla="*/ 318 w 16132"/>
                <a:gd name="T69" fmla="*/ 7685 h 14023"/>
                <a:gd name="T70" fmla="*/ 1211 w 16132"/>
                <a:gd name="T71" fmla="*/ 9177 h 14023"/>
                <a:gd name="T72" fmla="*/ 2590 w 16132"/>
                <a:gd name="T73" fmla="*/ 10421 h 14023"/>
                <a:gd name="T74" fmla="*/ 3529 w 16132"/>
                <a:gd name="T75" fmla="*/ 11018 h 14023"/>
                <a:gd name="T76" fmla="*/ 3392 w 16132"/>
                <a:gd name="T77" fmla="*/ 11780 h 14023"/>
                <a:gd name="T78" fmla="*/ 3075 w 16132"/>
                <a:gd name="T79" fmla="*/ 12505 h 14023"/>
                <a:gd name="T80" fmla="*/ 2616 w 16132"/>
                <a:gd name="T81" fmla="*/ 13290 h 14023"/>
                <a:gd name="T82" fmla="*/ 2522 w 16132"/>
                <a:gd name="T83" fmla="*/ 13545 h 14023"/>
                <a:gd name="T84" fmla="*/ 2556 w 16132"/>
                <a:gd name="T85" fmla="*/ 13746 h 14023"/>
                <a:gd name="T86" fmla="*/ 2670 w 16132"/>
                <a:gd name="T87" fmla="*/ 13905 h 14023"/>
                <a:gd name="T88" fmla="*/ 2841 w 16132"/>
                <a:gd name="T89" fmla="*/ 14003 h 14023"/>
                <a:gd name="T90" fmla="*/ 3078 w 16132"/>
                <a:gd name="T91" fmla="*/ 14016 h 14023"/>
                <a:gd name="T92" fmla="*/ 3690 w 16132"/>
                <a:gd name="T93" fmla="*/ 13870 h 14023"/>
                <a:gd name="T94" fmla="*/ 4910 w 16132"/>
                <a:gd name="T95" fmla="*/ 13267 h 14023"/>
                <a:gd name="T96" fmla="*/ 5885 w 16132"/>
                <a:gd name="T97" fmla="*/ 12528 h 14023"/>
                <a:gd name="T98" fmla="*/ 6475 w 16132"/>
                <a:gd name="T99" fmla="*/ 11947 h 14023"/>
                <a:gd name="T100" fmla="*/ 7278 w 16132"/>
                <a:gd name="T101" fmla="*/ 11990 h 14023"/>
                <a:gd name="T102" fmla="*/ 8481 w 16132"/>
                <a:gd name="T103" fmla="*/ 12012 h 14023"/>
                <a:gd name="T104" fmla="*/ 11910 w 16132"/>
                <a:gd name="T105" fmla="*/ 11295 h 14023"/>
                <a:gd name="T106" fmla="*/ 14530 w 16132"/>
                <a:gd name="T107" fmla="*/ 9606 h 14023"/>
                <a:gd name="T108" fmla="*/ 15968 w 16132"/>
                <a:gd name="T109" fmla="*/ 7221 h 14023"/>
                <a:gd name="T110" fmla="*/ 15878 w 16132"/>
                <a:gd name="T111" fmla="*/ 4508 h 14023"/>
                <a:gd name="T112" fmla="*/ 14290 w 16132"/>
                <a:gd name="T113" fmla="*/ 2188 h 14023"/>
                <a:gd name="T114" fmla="*/ 11563 w 16132"/>
                <a:gd name="T115" fmla="*/ 593 h 14023"/>
                <a:gd name="T116" fmla="*/ 8066 w 16132"/>
                <a:gd name="T117" fmla="*/ 0 h 14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132" h="14023">
                  <a:moveTo>
                    <a:pt x="8066" y="11018"/>
                  </a:moveTo>
                  <a:lnTo>
                    <a:pt x="7979" y="11018"/>
                  </a:lnTo>
                  <a:lnTo>
                    <a:pt x="7893" y="11016"/>
                  </a:lnTo>
                  <a:lnTo>
                    <a:pt x="7805" y="11014"/>
                  </a:lnTo>
                  <a:lnTo>
                    <a:pt x="7717" y="11012"/>
                  </a:lnTo>
                  <a:lnTo>
                    <a:pt x="7629" y="11008"/>
                  </a:lnTo>
                  <a:lnTo>
                    <a:pt x="7542" y="11003"/>
                  </a:lnTo>
                  <a:lnTo>
                    <a:pt x="7454" y="10998"/>
                  </a:lnTo>
                  <a:lnTo>
                    <a:pt x="7365" y="10992"/>
                  </a:lnTo>
                  <a:lnTo>
                    <a:pt x="7278" y="10985"/>
                  </a:lnTo>
                  <a:lnTo>
                    <a:pt x="7189" y="10978"/>
                  </a:lnTo>
                  <a:lnTo>
                    <a:pt x="7100" y="10969"/>
                  </a:lnTo>
                  <a:lnTo>
                    <a:pt x="7011" y="10960"/>
                  </a:lnTo>
                  <a:lnTo>
                    <a:pt x="6923" y="10950"/>
                  </a:lnTo>
                  <a:lnTo>
                    <a:pt x="6834" y="10939"/>
                  </a:lnTo>
                  <a:lnTo>
                    <a:pt x="6745" y="10927"/>
                  </a:lnTo>
                  <a:lnTo>
                    <a:pt x="6656" y="10914"/>
                  </a:lnTo>
                  <a:lnTo>
                    <a:pt x="6620" y="10910"/>
                  </a:lnTo>
                  <a:lnTo>
                    <a:pt x="6583" y="10906"/>
                  </a:lnTo>
                  <a:lnTo>
                    <a:pt x="6547" y="10904"/>
                  </a:lnTo>
                  <a:lnTo>
                    <a:pt x="6510" y="10903"/>
                  </a:lnTo>
                  <a:lnTo>
                    <a:pt x="6482" y="10904"/>
                  </a:lnTo>
                  <a:lnTo>
                    <a:pt x="6455" y="10905"/>
                  </a:lnTo>
                  <a:lnTo>
                    <a:pt x="6427" y="10907"/>
                  </a:lnTo>
                  <a:lnTo>
                    <a:pt x="6398" y="10910"/>
                  </a:lnTo>
                  <a:lnTo>
                    <a:pt x="6371" y="10913"/>
                  </a:lnTo>
                  <a:lnTo>
                    <a:pt x="6344" y="10917"/>
                  </a:lnTo>
                  <a:lnTo>
                    <a:pt x="6317" y="10922"/>
                  </a:lnTo>
                  <a:lnTo>
                    <a:pt x="6289" y="10928"/>
                  </a:lnTo>
                  <a:lnTo>
                    <a:pt x="6262" y="10934"/>
                  </a:lnTo>
                  <a:lnTo>
                    <a:pt x="6236" y="10941"/>
                  </a:lnTo>
                  <a:lnTo>
                    <a:pt x="6210" y="10949"/>
                  </a:lnTo>
                  <a:lnTo>
                    <a:pt x="6183" y="10958"/>
                  </a:lnTo>
                  <a:lnTo>
                    <a:pt x="6157" y="10967"/>
                  </a:lnTo>
                  <a:lnTo>
                    <a:pt x="6131" y="10977"/>
                  </a:lnTo>
                  <a:lnTo>
                    <a:pt x="6106" y="10988"/>
                  </a:lnTo>
                  <a:lnTo>
                    <a:pt x="6081" y="10999"/>
                  </a:lnTo>
                  <a:lnTo>
                    <a:pt x="6056" y="11011"/>
                  </a:lnTo>
                  <a:lnTo>
                    <a:pt x="6031" y="11024"/>
                  </a:lnTo>
                  <a:lnTo>
                    <a:pt x="6007" y="11037"/>
                  </a:lnTo>
                  <a:lnTo>
                    <a:pt x="5983" y="11051"/>
                  </a:lnTo>
                  <a:lnTo>
                    <a:pt x="5960" y="11066"/>
                  </a:lnTo>
                  <a:lnTo>
                    <a:pt x="5937" y="11081"/>
                  </a:lnTo>
                  <a:lnTo>
                    <a:pt x="5914" y="11097"/>
                  </a:lnTo>
                  <a:lnTo>
                    <a:pt x="5892" y="11114"/>
                  </a:lnTo>
                  <a:lnTo>
                    <a:pt x="5870" y="11131"/>
                  </a:lnTo>
                  <a:lnTo>
                    <a:pt x="5849" y="11149"/>
                  </a:lnTo>
                  <a:lnTo>
                    <a:pt x="5828" y="11167"/>
                  </a:lnTo>
                  <a:lnTo>
                    <a:pt x="5808" y="11187"/>
                  </a:lnTo>
                  <a:lnTo>
                    <a:pt x="5787" y="11206"/>
                  </a:lnTo>
                  <a:lnTo>
                    <a:pt x="5768" y="11227"/>
                  </a:lnTo>
                  <a:lnTo>
                    <a:pt x="5749" y="11248"/>
                  </a:lnTo>
                  <a:lnTo>
                    <a:pt x="5731" y="11269"/>
                  </a:lnTo>
                  <a:lnTo>
                    <a:pt x="5710" y="11296"/>
                  </a:lnTo>
                  <a:lnTo>
                    <a:pt x="5686" y="11323"/>
                  </a:lnTo>
                  <a:lnTo>
                    <a:pt x="5660" y="11352"/>
                  </a:lnTo>
                  <a:lnTo>
                    <a:pt x="5632" y="11382"/>
                  </a:lnTo>
                  <a:lnTo>
                    <a:pt x="5570" y="11448"/>
                  </a:lnTo>
                  <a:lnTo>
                    <a:pt x="5499" y="11518"/>
                  </a:lnTo>
                  <a:lnTo>
                    <a:pt x="5461" y="11556"/>
                  </a:lnTo>
                  <a:lnTo>
                    <a:pt x="5420" y="11594"/>
                  </a:lnTo>
                  <a:lnTo>
                    <a:pt x="5379" y="11633"/>
                  </a:lnTo>
                  <a:lnTo>
                    <a:pt x="5336" y="11674"/>
                  </a:lnTo>
                  <a:lnTo>
                    <a:pt x="5290" y="11715"/>
                  </a:lnTo>
                  <a:lnTo>
                    <a:pt x="5243" y="11757"/>
                  </a:lnTo>
                  <a:lnTo>
                    <a:pt x="5195" y="11799"/>
                  </a:lnTo>
                  <a:lnTo>
                    <a:pt x="5145" y="11842"/>
                  </a:lnTo>
                  <a:lnTo>
                    <a:pt x="5093" y="11886"/>
                  </a:lnTo>
                  <a:lnTo>
                    <a:pt x="5040" y="11931"/>
                  </a:lnTo>
                  <a:lnTo>
                    <a:pt x="4986" y="11975"/>
                  </a:lnTo>
                  <a:lnTo>
                    <a:pt x="4930" y="12020"/>
                  </a:lnTo>
                  <a:lnTo>
                    <a:pt x="4873" y="12065"/>
                  </a:lnTo>
                  <a:lnTo>
                    <a:pt x="4814" y="12109"/>
                  </a:lnTo>
                  <a:lnTo>
                    <a:pt x="4755" y="12154"/>
                  </a:lnTo>
                  <a:lnTo>
                    <a:pt x="4694" y="12199"/>
                  </a:lnTo>
                  <a:lnTo>
                    <a:pt x="4633" y="12243"/>
                  </a:lnTo>
                  <a:lnTo>
                    <a:pt x="4570" y="12287"/>
                  </a:lnTo>
                  <a:lnTo>
                    <a:pt x="4507" y="12331"/>
                  </a:lnTo>
                  <a:lnTo>
                    <a:pt x="4442" y="12374"/>
                  </a:lnTo>
                  <a:lnTo>
                    <a:pt x="4377" y="12417"/>
                  </a:lnTo>
                  <a:lnTo>
                    <a:pt x="4310" y="12459"/>
                  </a:lnTo>
                  <a:lnTo>
                    <a:pt x="4244" y="12501"/>
                  </a:lnTo>
                  <a:lnTo>
                    <a:pt x="4176" y="12542"/>
                  </a:lnTo>
                  <a:lnTo>
                    <a:pt x="4212" y="12456"/>
                  </a:lnTo>
                  <a:lnTo>
                    <a:pt x="4248" y="12371"/>
                  </a:lnTo>
                  <a:lnTo>
                    <a:pt x="4281" y="12284"/>
                  </a:lnTo>
                  <a:lnTo>
                    <a:pt x="4313" y="12196"/>
                  </a:lnTo>
                  <a:lnTo>
                    <a:pt x="4345" y="12107"/>
                  </a:lnTo>
                  <a:lnTo>
                    <a:pt x="4374" y="12017"/>
                  </a:lnTo>
                  <a:lnTo>
                    <a:pt x="4388" y="11971"/>
                  </a:lnTo>
                  <a:lnTo>
                    <a:pt x="4401" y="11926"/>
                  </a:lnTo>
                  <a:lnTo>
                    <a:pt x="4414" y="11879"/>
                  </a:lnTo>
                  <a:lnTo>
                    <a:pt x="4426" y="11833"/>
                  </a:lnTo>
                  <a:lnTo>
                    <a:pt x="4438" y="11787"/>
                  </a:lnTo>
                  <a:lnTo>
                    <a:pt x="4449" y="11740"/>
                  </a:lnTo>
                  <a:lnTo>
                    <a:pt x="4459" y="11694"/>
                  </a:lnTo>
                  <a:lnTo>
                    <a:pt x="4470" y="11647"/>
                  </a:lnTo>
                  <a:lnTo>
                    <a:pt x="4480" y="11600"/>
                  </a:lnTo>
                  <a:lnTo>
                    <a:pt x="4488" y="11553"/>
                  </a:lnTo>
                  <a:lnTo>
                    <a:pt x="4496" y="11506"/>
                  </a:lnTo>
                  <a:lnTo>
                    <a:pt x="4504" y="11458"/>
                  </a:lnTo>
                  <a:lnTo>
                    <a:pt x="4510" y="11411"/>
                  </a:lnTo>
                  <a:lnTo>
                    <a:pt x="4516" y="11363"/>
                  </a:lnTo>
                  <a:lnTo>
                    <a:pt x="4522" y="11315"/>
                  </a:lnTo>
                  <a:lnTo>
                    <a:pt x="4526" y="11266"/>
                  </a:lnTo>
                  <a:lnTo>
                    <a:pt x="4530" y="11218"/>
                  </a:lnTo>
                  <a:lnTo>
                    <a:pt x="4533" y="11170"/>
                  </a:lnTo>
                  <a:lnTo>
                    <a:pt x="4535" y="11121"/>
                  </a:lnTo>
                  <a:lnTo>
                    <a:pt x="4537" y="11073"/>
                  </a:lnTo>
                  <a:lnTo>
                    <a:pt x="4538" y="11049"/>
                  </a:lnTo>
                  <a:lnTo>
                    <a:pt x="4540" y="11025"/>
                  </a:lnTo>
                  <a:lnTo>
                    <a:pt x="4541" y="11002"/>
                  </a:lnTo>
                  <a:lnTo>
                    <a:pt x="4541" y="10981"/>
                  </a:lnTo>
                  <a:lnTo>
                    <a:pt x="4540" y="10946"/>
                  </a:lnTo>
                  <a:lnTo>
                    <a:pt x="4539" y="10911"/>
                  </a:lnTo>
                  <a:lnTo>
                    <a:pt x="4536" y="10876"/>
                  </a:lnTo>
                  <a:lnTo>
                    <a:pt x="4531" y="10842"/>
                  </a:lnTo>
                  <a:lnTo>
                    <a:pt x="4526" y="10808"/>
                  </a:lnTo>
                  <a:lnTo>
                    <a:pt x="4519" y="10774"/>
                  </a:lnTo>
                  <a:lnTo>
                    <a:pt x="4512" y="10741"/>
                  </a:lnTo>
                  <a:lnTo>
                    <a:pt x="4503" y="10707"/>
                  </a:lnTo>
                  <a:lnTo>
                    <a:pt x="4493" y="10675"/>
                  </a:lnTo>
                  <a:lnTo>
                    <a:pt x="4482" y="10641"/>
                  </a:lnTo>
                  <a:lnTo>
                    <a:pt x="4470" y="10610"/>
                  </a:lnTo>
                  <a:lnTo>
                    <a:pt x="4456" y="10578"/>
                  </a:lnTo>
                  <a:lnTo>
                    <a:pt x="4442" y="10547"/>
                  </a:lnTo>
                  <a:lnTo>
                    <a:pt x="4426" y="10517"/>
                  </a:lnTo>
                  <a:lnTo>
                    <a:pt x="4410" y="10487"/>
                  </a:lnTo>
                  <a:lnTo>
                    <a:pt x="4393" y="10458"/>
                  </a:lnTo>
                  <a:lnTo>
                    <a:pt x="4375" y="10429"/>
                  </a:lnTo>
                  <a:lnTo>
                    <a:pt x="4356" y="10401"/>
                  </a:lnTo>
                  <a:lnTo>
                    <a:pt x="4334" y="10374"/>
                  </a:lnTo>
                  <a:lnTo>
                    <a:pt x="4313" y="10347"/>
                  </a:lnTo>
                  <a:lnTo>
                    <a:pt x="4291" y="10321"/>
                  </a:lnTo>
                  <a:lnTo>
                    <a:pt x="4269" y="10296"/>
                  </a:lnTo>
                  <a:lnTo>
                    <a:pt x="4245" y="10271"/>
                  </a:lnTo>
                  <a:lnTo>
                    <a:pt x="4220" y="10248"/>
                  </a:lnTo>
                  <a:lnTo>
                    <a:pt x="4194" y="10225"/>
                  </a:lnTo>
                  <a:lnTo>
                    <a:pt x="4168" y="10203"/>
                  </a:lnTo>
                  <a:lnTo>
                    <a:pt x="4140" y="10182"/>
                  </a:lnTo>
                  <a:lnTo>
                    <a:pt x="4112" y="10161"/>
                  </a:lnTo>
                  <a:lnTo>
                    <a:pt x="4083" y="10142"/>
                  </a:lnTo>
                  <a:lnTo>
                    <a:pt x="4053" y="10123"/>
                  </a:lnTo>
                  <a:lnTo>
                    <a:pt x="4023" y="10106"/>
                  </a:lnTo>
                  <a:lnTo>
                    <a:pt x="3992" y="10089"/>
                  </a:lnTo>
                  <a:lnTo>
                    <a:pt x="3819" y="9998"/>
                  </a:lnTo>
                  <a:lnTo>
                    <a:pt x="3650" y="9904"/>
                  </a:lnTo>
                  <a:lnTo>
                    <a:pt x="3487" y="9807"/>
                  </a:lnTo>
                  <a:lnTo>
                    <a:pt x="3327" y="9707"/>
                  </a:lnTo>
                  <a:lnTo>
                    <a:pt x="3173" y="9604"/>
                  </a:lnTo>
                  <a:lnTo>
                    <a:pt x="3023" y="9499"/>
                  </a:lnTo>
                  <a:lnTo>
                    <a:pt x="2878" y="9389"/>
                  </a:lnTo>
                  <a:lnTo>
                    <a:pt x="2737" y="9277"/>
                  </a:lnTo>
                  <a:lnTo>
                    <a:pt x="2602" y="9163"/>
                  </a:lnTo>
                  <a:lnTo>
                    <a:pt x="2472" y="9046"/>
                  </a:lnTo>
                  <a:lnTo>
                    <a:pt x="2346" y="8927"/>
                  </a:lnTo>
                  <a:lnTo>
                    <a:pt x="2226" y="8805"/>
                  </a:lnTo>
                  <a:lnTo>
                    <a:pt x="2112" y="8681"/>
                  </a:lnTo>
                  <a:lnTo>
                    <a:pt x="2002" y="8555"/>
                  </a:lnTo>
                  <a:lnTo>
                    <a:pt x="1899" y="8427"/>
                  </a:lnTo>
                  <a:lnTo>
                    <a:pt x="1800" y="8297"/>
                  </a:lnTo>
                  <a:lnTo>
                    <a:pt x="1706" y="8163"/>
                  </a:lnTo>
                  <a:lnTo>
                    <a:pt x="1618" y="8030"/>
                  </a:lnTo>
                  <a:lnTo>
                    <a:pt x="1537" y="7894"/>
                  </a:lnTo>
                  <a:lnTo>
                    <a:pt x="1460" y="7757"/>
                  </a:lnTo>
                  <a:lnTo>
                    <a:pt x="1388" y="7617"/>
                  </a:lnTo>
                  <a:lnTo>
                    <a:pt x="1324" y="7476"/>
                  </a:lnTo>
                  <a:lnTo>
                    <a:pt x="1264" y="7335"/>
                  </a:lnTo>
                  <a:lnTo>
                    <a:pt x="1212" y="7192"/>
                  </a:lnTo>
                  <a:lnTo>
                    <a:pt x="1165" y="7047"/>
                  </a:lnTo>
                  <a:lnTo>
                    <a:pt x="1123" y="6901"/>
                  </a:lnTo>
                  <a:lnTo>
                    <a:pt x="1089" y="6755"/>
                  </a:lnTo>
                  <a:lnTo>
                    <a:pt x="1060" y="6608"/>
                  </a:lnTo>
                  <a:lnTo>
                    <a:pt x="1037" y="6459"/>
                  </a:lnTo>
                  <a:lnTo>
                    <a:pt x="1021" y="6309"/>
                  </a:lnTo>
                  <a:lnTo>
                    <a:pt x="1011" y="6160"/>
                  </a:lnTo>
                  <a:lnTo>
                    <a:pt x="1008" y="6010"/>
                  </a:lnTo>
                  <a:lnTo>
                    <a:pt x="1017" y="5752"/>
                  </a:lnTo>
                  <a:lnTo>
                    <a:pt x="1045" y="5498"/>
                  </a:lnTo>
                  <a:lnTo>
                    <a:pt x="1090" y="5248"/>
                  </a:lnTo>
                  <a:lnTo>
                    <a:pt x="1151" y="5002"/>
                  </a:lnTo>
                  <a:lnTo>
                    <a:pt x="1231" y="4760"/>
                  </a:lnTo>
                  <a:lnTo>
                    <a:pt x="1326" y="4522"/>
                  </a:lnTo>
                  <a:lnTo>
                    <a:pt x="1437" y="4290"/>
                  </a:lnTo>
                  <a:lnTo>
                    <a:pt x="1564" y="4063"/>
                  </a:lnTo>
                  <a:lnTo>
                    <a:pt x="1705" y="3840"/>
                  </a:lnTo>
                  <a:lnTo>
                    <a:pt x="1861" y="3625"/>
                  </a:lnTo>
                  <a:lnTo>
                    <a:pt x="2032" y="3415"/>
                  </a:lnTo>
                  <a:lnTo>
                    <a:pt x="2215" y="3211"/>
                  </a:lnTo>
                  <a:lnTo>
                    <a:pt x="2412" y="3015"/>
                  </a:lnTo>
                  <a:lnTo>
                    <a:pt x="2621" y="2826"/>
                  </a:lnTo>
                  <a:lnTo>
                    <a:pt x="2844" y="2644"/>
                  </a:lnTo>
                  <a:lnTo>
                    <a:pt x="3078" y="2470"/>
                  </a:lnTo>
                  <a:lnTo>
                    <a:pt x="3323" y="2304"/>
                  </a:lnTo>
                  <a:lnTo>
                    <a:pt x="3579" y="2147"/>
                  </a:lnTo>
                  <a:lnTo>
                    <a:pt x="3845" y="1998"/>
                  </a:lnTo>
                  <a:lnTo>
                    <a:pt x="4123" y="1858"/>
                  </a:lnTo>
                  <a:lnTo>
                    <a:pt x="4409" y="1728"/>
                  </a:lnTo>
                  <a:lnTo>
                    <a:pt x="4704" y="1607"/>
                  </a:lnTo>
                  <a:lnTo>
                    <a:pt x="5009" y="1496"/>
                  </a:lnTo>
                  <a:lnTo>
                    <a:pt x="5322" y="1395"/>
                  </a:lnTo>
                  <a:lnTo>
                    <a:pt x="5642" y="1306"/>
                  </a:lnTo>
                  <a:lnTo>
                    <a:pt x="5970" y="1227"/>
                  </a:lnTo>
                  <a:lnTo>
                    <a:pt x="6305" y="1160"/>
                  </a:lnTo>
                  <a:lnTo>
                    <a:pt x="6645" y="1104"/>
                  </a:lnTo>
                  <a:lnTo>
                    <a:pt x="6992" y="1060"/>
                  </a:lnTo>
                  <a:lnTo>
                    <a:pt x="7345" y="1028"/>
                  </a:lnTo>
                  <a:lnTo>
                    <a:pt x="7703" y="1008"/>
                  </a:lnTo>
                  <a:lnTo>
                    <a:pt x="8066" y="1002"/>
                  </a:lnTo>
                  <a:lnTo>
                    <a:pt x="8429" y="1008"/>
                  </a:lnTo>
                  <a:lnTo>
                    <a:pt x="8787" y="1028"/>
                  </a:lnTo>
                  <a:lnTo>
                    <a:pt x="9140" y="1060"/>
                  </a:lnTo>
                  <a:lnTo>
                    <a:pt x="9487" y="1104"/>
                  </a:lnTo>
                  <a:lnTo>
                    <a:pt x="9827" y="1160"/>
                  </a:lnTo>
                  <a:lnTo>
                    <a:pt x="10162" y="1227"/>
                  </a:lnTo>
                  <a:lnTo>
                    <a:pt x="10490" y="1306"/>
                  </a:lnTo>
                  <a:lnTo>
                    <a:pt x="10810" y="1395"/>
                  </a:lnTo>
                  <a:lnTo>
                    <a:pt x="11123" y="1496"/>
                  </a:lnTo>
                  <a:lnTo>
                    <a:pt x="11428" y="1607"/>
                  </a:lnTo>
                  <a:lnTo>
                    <a:pt x="11723" y="1728"/>
                  </a:lnTo>
                  <a:lnTo>
                    <a:pt x="12009" y="1858"/>
                  </a:lnTo>
                  <a:lnTo>
                    <a:pt x="12287" y="1998"/>
                  </a:lnTo>
                  <a:lnTo>
                    <a:pt x="12553" y="2147"/>
                  </a:lnTo>
                  <a:lnTo>
                    <a:pt x="12809" y="2304"/>
                  </a:lnTo>
                  <a:lnTo>
                    <a:pt x="13054" y="2470"/>
                  </a:lnTo>
                  <a:lnTo>
                    <a:pt x="13288" y="2644"/>
                  </a:lnTo>
                  <a:lnTo>
                    <a:pt x="13511" y="2826"/>
                  </a:lnTo>
                  <a:lnTo>
                    <a:pt x="13720" y="3015"/>
                  </a:lnTo>
                  <a:lnTo>
                    <a:pt x="13917" y="3211"/>
                  </a:lnTo>
                  <a:lnTo>
                    <a:pt x="14100" y="3415"/>
                  </a:lnTo>
                  <a:lnTo>
                    <a:pt x="14271" y="3625"/>
                  </a:lnTo>
                  <a:lnTo>
                    <a:pt x="14427" y="3840"/>
                  </a:lnTo>
                  <a:lnTo>
                    <a:pt x="14568" y="4063"/>
                  </a:lnTo>
                  <a:lnTo>
                    <a:pt x="14695" y="4290"/>
                  </a:lnTo>
                  <a:lnTo>
                    <a:pt x="14806" y="4522"/>
                  </a:lnTo>
                  <a:lnTo>
                    <a:pt x="14901" y="4760"/>
                  </a:lnTo>
                  <a:lnTo>
                    <a:pt x="14981" y="5002"/>
                  </a:lnTo>
                  <a:lnTo>
                    <a:pt x="15042" y="5248"/>
                  </a:lnTo>
                  <a:lnTo>
                    <a:pt x="15087" y="5498"/>
                  </a:lnTo>
                  <a:lnTo>
                    <a:pt x="15115" y="5752"/>
                  </a:lnTo>
                  <a:lnTo>
                    <a:pt x="15124" y="6010"/>
                  </a:lnTo>
                  <a:lnTo>
                    <a:pt x="15115" y="6267"/>
                  </a:lnTo>
                  <a:lnTo>
                    <a:pt x="15087" y="6521"/>
                  </a:lnTo>
                  <a:lnTo>
                    <a:pt x="15042" y="6771"/>
                  </a:lnTo>
                  <a:lnTo>
                    <a:pt x="14981" y="7018"/>
                  </a:lnTo>
                  <a:lnTo>
                    <a:pt x="14901" y="7260"/>
                  </a:lnTo>
                  <a:lnTo>
                    <a:pt x="14806" y="7497"/>
                  </a:lnTo>
                  <a:lnTo>
                    <a:pt x="14695" y="7730"/>
                  </a:lnTo>
                  <a:lnTo>
                    <a:pt x="14568" y="7957"/>
                  </a:lnTo>
                  <a:lnTo>
                    <a:pt x="14427" y="8179"/>
                  </a:lnTo>
                  <a:lnTo>
                    <a:pt x="14271" y="8395"/>
                  </a:lnTo>
                  <a:lnTo>
                    <a:pt x="14100" y="8605"/>
                  </a:lnTo>
                  <a:lnTo>
                    <a:pt x="13917" y="8807"/>
                  </a:lnTo>
                  <a:lnTo>
                    <a:pt x="13720" y="9005"/>
                  </a:lnTo>
                  <a:lnTo>
                    <a:pt x="13511" y="9194"/>
                  </a:lnTo>
                  <a:lnTo>
                    <a:pt x="13288" y="9375"/>
                  </a:lnTo>
                  <a:lnTo>
                    <a:pt x="13054" y="9550"/>
                  </a:lnTo>
                  <a:lnTo>
                    <a:pt x="12809" y="9715"/>
                  </a:lnTo>
                  <a:lnTo>
                    <a:pt x="12553" y="9873"/>
                  </a:lnTo>
                  <a:lnTo>
                    <a:pt x="12287" y="10021"/>
                  </a:lnTo>
                  <a:lnTo>
                    <a:pt x="12009" y="10162"/>
                  </a:lnTo>
                  <a:lnTo>
                    <a:pt x="11723" y="10292"/>
                  </a:lnTo>
                  <a:lnTo>
                    <a:pt x="11428" y="10413"/>
                  </a:lnTo>
                  <a:lnTo>
                    <a:pt x="11123" y="10523"/>
                  </a:lnTo>
                  <a:lnTo>
                    <a:pt x="10810" y="10623"/>
                  </a:lnTo>
                  <a:lnTo>
                    <a:pt x="10490" y="10714"/>
                  </a:lnTo>
                  <a:lnTo>
                    <a:pt x="10162" y="10793"/>
                  </a:lnTo>
                  <a:lnTo>
                    <a:pt x="9827" y="10860"/>
                  </a:lnTo>
                  <a:lnTo>
                    <a:pt x="9487" y="10916"/>
                  </a:lnTo>
                  <a:lnTo>
                    <a:pt x="9140" y="10960"/>
                  </a:lnTo>
                  <a:lnTo>
                    <a:pt x="8787" y="10992"/>
                  </a:lnTo>
                  <a:lnTo>
                    <a:pt x="8429" y="11011"/>
                  </a:lnTo>
                  <a:lnTo>
                    <a:pt x="8066" y="11018"/>
                  </a:lnTo>
                  <a:close/>
                  <a:moveTo>
                    <a:pt x="8066" y="0"/>
                  </a:moveTo>
                  <a:lnTo>
                    <a:pt x="7651" y="8"/>
                  </a:lnTo>
                  <a:lnTo>
                    <a:pt x="7241" y="31"/>
                  </a:lnTo>
                  <a:lnTo>
                    <a:pt x="6838" y="69"/>
                  </a:lnTo>
                  <a:lnTo>
                    <a:pt x="6441" y="122"/>
                  </a:lnTo>
                  <a:lnTo>
                    <a:pt x="6051" y="189"/>
                  </a:lnTo>
                  <a:lnTo>
                    <a:pt x="5667" y="270"/>
                  </a:lnTo>
                  <a:lnTo>
                    <a:pt x="5292" y="365"/>
                  </a:lnTo>
                  <a:lnTo>
                    <a:pt x="4926" y="473"/>
                  </a:lnTo>
                  <a:lnTo>
                    <a:pt x="4569" y="593"/>
                  </a:lnTo>
                  <a:lnTo>
                    <a:pt x="4222" y="725"/>
                  </a:lnTo>
                  <a:lnTo>
                    <a:pt x="3884" y="870"/>
                  </a:lnTo>
                  <a:lnTo>
                    <a:pt x="3556" y="1027"/>
                  </a:lnTo>
                  <a:lnTo>
                    <a:pt x="3240" y="1194"/>
                  </a:lnTo>
                  <a:lnTo>
                    <a:pt x="2935" y="1372"/>
                  </a:lnTo>
                  <a:lnTo>
                    <a:pt x="2643" y="1562"/>
                  </a:lnTo>
                  <a:lnTo>
                    <a:pt x="2362" y="1760"/>
                  </a:lnTo>
                  <a:lnTo>
                    <a:pt x="2095" y="1969"/>
                  </a:lnTo>
                  <a:lnTo>
                    <a:pt x="1842" y="2188"/>
                  </a:lnTo>
                  <a:lnTo>
                    <a:pt x="1602" y="2414"/>
                  </a:lnTo>
                  <a:lnTo>
                    <a:pt x="1377" y="2649"/>
                  </a:lnTo>
                  <a:lnTo>
                    <a:pt x="1168" y="2894"/>
                  </a:lnTo>
                  <a:lnTo>
                    <a:pt x="974" y="3145"/>
                  </a:lnTo>
                  <a:lnTo>
                    <a:pt x="796" y="3405"/>
                  </a:lnTo>
                  <a:lnTo>
                    <a:pt x="634" y="3671"/>
                  </a:lnTo>
                  <a:lnTo>
                    <a:pt x="489" y="3943"/>
                  </a:lnTo>
                  <a:lnTo>
                    <a:pt x="363" y="4223"/>
                  </a:lnTo>
                  <a:lnTo>
                    <a:pt x="254" y="4508"/>
                  </a:lnTo>
                  <a:lnTo>
                    <a:pt x="163" y="4799"/>
                  </a:lnTo>
                  <a:lnTo>
                    <a:pt x="93" y="5094"/>
                  </a:lnTo>
                  <a:lnTo>
                    <a:pt x="41" y="5396"/>
                  </a:lnTo>
                  <a:lnTo>
                    <a:pt x="10" y="5700"/>
                  </a:lnTo>
                  <a:lnTo>
                    <a:pt x="0" y="6010"/>
                  </a:lnTo>
                  <a:lnTo>
                    <a:pt x="4" y="6203"/>
                  </a:lnTo>
                  <a:lnTo>
                    <a:pt x="16" y="6394"/>
                  </a:lnTo>
                  <a:lnTo>
                    <a:pt x="36" y="6584"/>
                  </a:lnTo>
                  <a:lnTo>
                    <a:pt x="65" y="6772"/>
                  </a:lnTo>
                  <a:lnTo>
                    <a:pt x="100" y="6958"/>
                  </a:lnTo>
                  <a:lnTo>
                    <a:pt x="143" y="7144"/>
                  </a:lnTo>
                  <a:lnTo>
                    <a:pt x="195" y="7326"/>
                  </a:lnTo>
                  <a:lnTo>
                    <a:pt x="252" y="7506"/>
                  </a:lnTo>
                  <a:lnTo>
                    <a:pt x="318" y="7685"/>
                  </a:lnTo>
                  <a:lnTo>
                    <a:pt x="390" y="7861"/>
                  </a:lnTo>
                  <a:lnTo>
                    <a:pt x="470" y="8034"/>
                  </a:lnTo>
                  <a:lnTo>
                    <a:pt x="556" y="8205"/>
                  </a:lnTo>
                  <a:lnTo>
                    <a:pt x="648" y="8375"/>
                  </a:lnTo>
                  <a:lnTo>
                    <a:pt x="748" y="8541"/>
                  </a:lnTo>
                  <a:lnTo>
                    <a:pt x="855" y="8704"/>
                  </a:lnTo>
                  <a:lnTo>
                    <a:pt x="967" y="8865"/>
                  </a:lnTo>
                  <a:lnTo>
                    <a:pt x="1086" y="9023"/>
                  </a:lnTo>
                  <a:lnTo>
                    <a:pt x="1211" y="9177"/>
                  </a:lnTo>
                  <a:lnTo>
                    <a:pt x="1341" y="9329"/>
                  </a:lnTo>
                  <a:lnTo>
                    <a:pt x="1478" y="9478"/>
                  </a:lnTo>
                  <a:lnTo>
                    <a:pt x="1620" y="9623"/>
                  </a:lnTo>
                  <a:lnTo>
                    <a:pt x="1768" y="9765"/>
                  </a:lnTo>
                  <a:lnTo>
                    <a:pt x="1923" y="9903"/>
                  </a:lnTo>
                  <a:lnTo>
                    <a:pt x="2081" y="10038"/>
                  </a:lnTo>
                  <a:lnTo>
                    <a:pt x="2245" y="10170"/>
                  </a:lnTo>
                  <a:lnTo>
                    <a:pt x="2415" y="10298"/>
                  </a:lnTo>
                  <a:lnTo>
                    <a:pt x="2590" y="10421"/>
                  </a:lnTo>
                  <a:lnTo>
                    <a:pt x="2769" y="10541"/>
                  </a:lnTo>
                  <a:lnTo>
                    <a:pt x="2953" y="10657"/>
                  </a:lnTo>
                  <a:lnTo>
                    <a:pt x="3142" y="10770"/>
                  </a:lnTo>
                  <a:lnTo>
                    <a:pt x="3335" y="10878"/>
                  </a:lnTo>
                  <a:lnTo>
                    <a:pt x="3533" y="10981"/>
                  </a:lnTo>
                  <a:lnTo>
                    <a:pt x="3532" y="10990"/>
                  </a:lnTo>
                  <a:lnTo>
                    <a:pt x="3531" y="10999"/>
                  </a:lnTo>
                  <a:lnTo>
                    <a:pt x="3530" y="11008"/>
                  </a:lnTo>
                  <a:lnTo>
                    <a:pt x="3529" y="11018"/>
                  </a:lnTo>
                  <a:lnTo>
                    <a:pt x="3527" y="11102"/>
                  </a:lnTo>
                  <a:lnTo>
                    <a:pt x="3521" y="11187"/>
                  </a:lnTo>
                  <a:lnTo>
                    <a:pt x="3512" y="11271"/>
                  </a:lnTo>
                  <a:lnTo>
                    <a:pt x="3500" y="11357"/>
                  </a:lnTo>
                  <a:lnTo>
                    <a:pt x="3484" y="11442"/>
                  </a:lnTo>
                  <a:lnTo>
                    <a:pt x="3464" y="11527"/>
                  </a:lnTo>
                  <a:lnTo>
                    <a:pt x="3443" y="11612"/>
                  </a:lnTo>
                  <a:lnTo>
                    <a:pt x="3419" y="11696"/>
                  </a:lnTo>
                  <a:lnTo>
                    <a:pt x="3392" y="11780"/>
                  </a:lnTo>
                  <a:lnTo>
                    <a:pt x="3364" y="11863"/>
                  </a:lnTo>
                  <a:lnTo>
                    <a:pt x="3332" y="11947"/>
                  </a:lnTo>
                  <a:lnTo>
                    <a:pt x="3300" y="12030"/>
                  </a:lnTo>
                  <a:lnTo>
                    <a:pt x="3266" y="12111"/>
                  </a:lnTo>
                  <a:lnTo>
                    <a:pt x="3229" y="12192"/>
                  </a:lnTo>
                  <a:lnTo>
                    <a:pt x="3192" y="12271"/>
                  </a:lnTo>
                  <a:lnTo>
                    <a:pt x="3155" y="12350"/>
                  </a:lnTo>
                  <a:lnTo>
                    <a:pt x="3115" y="12428"/>
                  </a:lnTo>
                  <a:lnTo>
                    <a:pt x="3075" y="12505"/>
                  </a:lnTo>
                  <a:lnTo>
                    <a:pt x="3036" y="12580"/>
                  </a:lnTo>
                  <a:lnTo>
                    <a:pt x="2995" y="12653"/>
                  </a:lnTo>
                  <a:lnTo>
                    <a:pt x="2954" y="12726"/>
                  </a:lnTo>
                  <a:lnTo>
                    <a:pt x="2914" y="12796"/>
                  </a:lnTo>
                  <a:lnTo>
                    <a:pt x="2874" y="12864"/>
                  </a:lnTo>
                  <a:lnTo>
                    <a:pt x="2834" y="12931"/>
                  </a:lnTo>
                  <a:lnTo>
                    <a:pt x="2757" y="13059"/>
                  </a:lnTo>
                  <a:lnTo>
                    <a:pt x="2684" y="13180"/>
                  </a:lnTo>
                  <a:lnTo>
                    <a:pt x="2616" y="13290"/>
                  </a:lnTo>
                  <a:lnTo>
                    <a:pt x="2557" y="13390"/>
                  </a:lnTo>
                  <a:lnTo>
                    <a:pt x="2558" y="13390"/>
                  </a:lnTo>
                  <a:lnTo>
                    <a:pt x="2550" y="13411"/>
                  </a:lnTo>
                  <a:lnTo>
                    <a:pt x="2542" y="13432"/>
                  </a:lnTo>
                  <a:lnTo>
                    <a:pt x="2536" y="13454"/>
                  </a:lnTo>
                  <a:lnTo>
                    <a:pt x="2531" y="13476"/>
                  </a:lnTo>
                  <a:lnTo>
                    <a:pt x="2527" y="13499"/>
                  </a:lnTo>
                  <a:lnTo>
                    <a:pt x="2523" y="13522"/>
                  </a:lnTo>
                  <a:lnTo>
                    <a:pt x="2522" y="13545"/>
                  </a:lnTo>
                  <a:lnTo>
                    <a:pt x="2521" y="13569"/>
                  </a:lnTo>
                  <a:lnTo>
                    <a:pt x="2522" y="13592"/>
                  </a:lnTo>
                  <a:lnTo>
                    <a:pt x="2523" y="13615"/>
                  </a:lnTo>
                  <a:lnTo>
                    <a:pt x="2526" y="13638"/>
                  </a:lnTo>
                  <a:lnTo>
                    <a:pt x="2530" y="13660"/>
                  </a:lnTo>
                  <a:lnTo>
                    <a:pt x="2535" y="13682"/>
                  </a:lnTo>
                  <a:lnTo>
                    <a:pt x="2541" y="13704"/>
                  </a:lnTo>
                  <a:lnTo>
                    <a:pt x="2548" y="13726"/>
                  </a:lnTo>
                  <a:lnTo>
                    <a:pt x="2556" y="13746"/>
                  </a:lnTo>
                  <a:lnTo>
                    <a:pt x="2566" y="13766"/>
                  </a:lnTo>
                  <a:lnTo>
                    <a:pt x="2576" y="13786"/>
                  </a:lnTo>
                  <a:lnTo>
                    <a:pt x="2586" y="13805"/>
                  </a:lnTo>
                  <a:lnTo>
                    <a:pt x="2598" y="13823"/>
                  </a:lnTo>
                  <a:lnTo>
                    <a:pt x="2611" y="13841"/>
                  </a:lnTo>
                  <a:lnTo>
                    <a:pt x="2624" y="13858"/>
                  </a:lnTo>
                  <a:lnTo>
                    <a:pt x="2640" y="13875"/>
                  </a:lnTo>
                  <a:lnTo>
                    <a:pt x="2655" y="13890"/>
                  </a:lnTo>
                  <a:lnTo>
                    <a:pt x="2670" y="13905"/>
                  </a:lnTo>
                  <a:lnTo>
                    <a:pt x="2687" y="13920"/>
                  </a:lnTo>
                  <a:lnTo>
                    <a:pt x="2704" y="13933"/>
                  </a:lnTo>
                  <a:lnTo>
                    <a:pt x="2722" y="13946"/>
                  </a:lnTo>
                  <a:lnTo>
                    <a:pt x="2740" y="13958"/>
                  </a:lnTo>
                  <a:lnTo>
                    <a:pt x="2760" y="13968"/>
                  </a:lnTo>
                  <a:lnTo>
                    <a:pt x="2779" y="13978"/>
                  </a:lnTo>
                  <a:lnTo>
                    <a:pt x="2800" y="13987"/>
                  </a:lnTo>
                  <a:lnTo>
                    <a:pt x="2820" y="13996"/>
                  </a:lnTo>
                  <a:lnTo>
                    <a:pt x="2841" y="14003"/>
                  </a:lnTo>
                  <a:lnTo>
                    <a:pt x="2863" y="14009"/>
                  </a:lnTo>
                  <a:lnTo>
                    <a:pt x="2886" y="14014"/>
                  </a:lnTo>
                  <a:lnTo>
                    <a:pt x="2908" y="14018"/>
                  </a:lnTo>
                  <a:lnTo>
                    <a:pt x="2931" y="14021"/>
                  </a:lnTo>
                  <a:lnTo>
                    <a:pt x="2954" y="14022"/>
                  </a:lnTo>
                  <a:lnTo>
                    <a:pt x="2977" y="14023"/>
                  </a:lnTo>
                  <a:lnTo>
                    <a:pt x="3018" y="14021"/>
                  </a:lnTo>
                  <a:lnTo>
                    <a:pt x="3060" y="14017"/>
                  </a:lnTo>
                  <a:lnTo>
                    <a:pt x="3078" y="14016"/>
                  </a:lnTo>
                  <a:lnTo>
                    <a:pt x="3093" y="14015"/>
                  </a:lnTo>
                  <a:lnTo>
                    <a:pt x="3099" y="14015"/>
                  </a:lnTo>
                  <a:lnTo>
                    <a:pt x="3103" y="14015"/>
                  </a:lnTo>
                  <a:lnTo>
                    <a:pt x="3105" y="14016"/>
                  </a:lnTo>
                  <a:lnTo>
                    <a:pt x="3106" y="14016"/>
                  </a:lnTo>
                  <a:lnTo>
                    <a:pt x="3254" y="13989"/>
                  </a:lnTo>
                  <a:lnTo>
                    <a:pt x="3400" y="13955"/>
                  </a:lnTo>
                  <a:lnTo>
                    <a:pt x="3546" y="13915"/>
                  </a:lnTo>
                  <a:lnTo>
                    <a:pt x="3690" y="13870"/>
                  </a:lnTo>
                  <a:lnTo>
                    <a:pt x="3833" y="13819"/>
                  </a:lnTo>
                  <a:lnTo>
                    <a:pt x="3976" y="13763"/>
                  </a:lnTo>
                  <a:lnTo>
                    <a:pt x="4116" y="13701"/>
                  </a:lnTo>
                  <a:lnTo>
                    <a:pt x="4254" y="13637"/>
                  </a:lnTo>
                  <a:lnTo>
                    <a:pt x="4390" y="13569"/>
                  </a:lnTo>
                  <a:lnTo>
                    <a:pt x="4524" y="13497"/>
                  </a:lnTo>
                  <a:lnTo>
                    <a:pt x="4656" y="13423"/>
                  </a:lnTo>
                  <a:lnTo>
                    <a:pt x="4784" y="13346"/>
                  </a:lnTo>
                  <a:lnTo>
                    <a:pt x="4910" y="13267"/>
                  </a:lnTo>
                  <a:lnTo>
                    <a:pt x="5033" y="13186"/>
                  </a:lnTo>
                  <a:lnTo>
                    <a:pt x="5153" y="13104"/>
                  </a:lnTo>
                  <a:lnTo>
                    <a:pt x="5269" y="13021"/>
                  </a:lnTo>
                  <a:lnTo>
                    <a:pt x="5382" y="12938"/>
                  </a:lnTo>
                  <a:lnTo>
                    <a:pt x="5491" y="12854"/>
                  </a:lnTo>
                  <a:lnTo>
                    <a:pt x="5596" y="12771"/>
                  </a:lnTo>
                  <a:lnTo>
                    <a:pt x="5697" y="12689"/>
                  </a:lnTo>
                  <a:lnTo>
                    <a:pt x="5793" y="12608"/>
                  </a:lnTo>
                  <a:lnTo>
                    <a:pt x="5885" y="12528"/>
                  </a:lnTo>
                  <a:lnTo>
                    <a:pt x="5972" y="12450"/>
                  </a:lnTo>
                  <a:lnTo>
                    <a:pt x="6055" y="12375"/>
                  </a:lnTo>
                  <a:lnTo>
                    <a:pt x="6131" y="12302"/>
                  </a:lnTo>
                  <a:lnTo>
                    <a:pt x="6203" y="12233"/>
                  </a:lnTo>
                  <a:lnTo>
                    <a:pt x="6269" y="12167"/>
                  </a:lnTo>
                  <a:lnTo>
                    <a:pt x="6330" y="12105"/>
                  </a:lnTo>
                  <a:lnTo>
                    <a:pt x="6384" y="12048"/>
                  </a:lnTo>
                  <a:lnTo>
                    <a:pt x="6433" y="11995"/>
                  </a:lnTo>
                  <a:lnTo>
                    <a:pt x="6475" y="11947"/>
                  </a:lnTo>
                  <a:lnTo>
                    <a:pt x="6510" y="11906"/>
                  </a:lnTo>
                  <a:lnTo>
                    <a:pt x="6605" y="11919"/>
                  </a:lnTo>
                  <a:lnTo>
                    <a:pt x="6700" y="11932"/>
                  </a:lnTo>
                  <a:lnTo>
                    <a:pt x="6796" y="11943"/>
                  </a:lnTo>
                  <a:lnTo>
                    <a:pt x="6891" y="11954"/>
                  </a:lnTo>
                  <a:lnTo>
                    <a:pt x="6987" y="11965"/>
                  </a:lnTo>
                  <a:lnTo>
                    <a:pt x="7083" y="11974"/>
                  </a:lnTo>
                  <a:lnTo>
                    <a:pt x="7180" y="11983"/>
                  </a:lnTo>
                  <a:lnTo>
                    <a:pt x="7278" y="11990"/>
                  </a:lnTo>
                  <a:lnTo>
                    <a:pt x="7374" y="11997"/>
                  </a:lnTo>
                  <a:lnTo>
                    <a:pt x="7472" y="12003"/>
                  </a:lnTo>
                  <a:lnTo>
                    <a:pt x="7571" y="12008"/>
                  </a:lnTo>
                  <a:lnTo>
                    <a:pt x="7669" y="12012"/>
                  </a:lnTo>
                  <a:lnTo>
                    <a:pt x="7768" y="12016"/>
                  </a:lnTo>
                  <a:lnTo>
                    <a:pt x="7867" y="12018"/>
                  </a:lnTo>
                  <a:lnTo>
                    <a:pt x="7966" y="12019"/>
                  </a:lnTo>
                  <a:lnTo>
                    <a:pt x="8066" y="12020"/>
                  </a:lnTo>
                  <a:lnTo>
                    <a:pt x="8481" y="12012"/>
                  </a:lnTo>
                  <a:lnTo>
                    <a:pt x="8891" y="11989"/>
                  </a:lnTo>
                  <a:lnTo>
                    <a:pt x="9294" y="11951"/>
                  </a:lnTo>
                  <a:lnTo>
                    <a:pt x="9691" y="11898"/>
                  </a:lnTo>
                  <a:lnTo>
                    <a:pt x="10081" y="11830"/>
                  </a:lnTo>
                  <a:lnTo>
                    <a:pt x="10465" y="11749"/>
                  </a:lnTo>
                  <a:lnTo>
                    <a:pt x="10840" y="11655"/>
                  </a:lnTo>
                  <a:lnTo>
                    <a:pt x="11206" y="11547"/>
                  </a:lnTo>
                  <a:lnTo>
                    <a:pt x="11563" y="11427"/>
                  </a:lnTo>
                  <a:lnTo>
                    <a:pt x="11910" y="11295"/>
                  </a:lnTo>
                  <a:lnTo>
                    <a:pt x="12248" y="11149"/>
                  </a:lnTo>
                  <a:lnTo>
                    <a:pt x="12576" y="10993"/>
                  </a:lnTo>
                  <a:lnTo>
                    <a:pt x="12891" y="10826"/>
                  </a:lnTo>
                  <a:lnTo>
                    <a:pt x="13197" y="10647"/>
                  </a:lnTo>
                  <a:lnTo>
                    <a:pt x="13489" y="10458"/>
                  </a:lnTo>
                  <a:lnTo>
                    <a:pt x="13770" y="10260"/>
                  </a:lnTo>
                  <a:lnTo>
                    <a:pt x="14037" y="10050"/>
                  </a:lnTo>
                  <a:lnTo>
                    <a:pt x="14290" y="9832"/>
                  </a:lnTo>
                  <a:lnTo>
                    <a:pt x="14530" y="9606"/>
                  </a:lnTo>
                  <a:lnTo>
                    <a:pt x="14755" y="9370"/>
                  </a:lnTo>
                  <a:lnTo>
                    <a:pt x="14964" y="9126"/>
                  </a:lnTo>
                  <a:lnTo>
                    <a:pt x="15158" y="8875"/>
                  </a:lnTo>
                  <a:lnTo>
                    <a:pt x="15336" y="8615"/>
                  </a:lnTo>
                  <a:lnTo>
                    <a:pt x="15498" y="8349"/>
                  </a:lnTo>
                  <a:lnTo>
                    <a:pt x="15643" y="8076"/>
                  </a:lnTo>
                  <a:lnTo>
                    <a:pt x="15769" y="7797"/>
                  </a:lnTo>
                  <a:lnTo>
                    <a:pt x="15878" y="7511"/>
                  </a:lnTo>
                  <a:lnTo>
                    <a:pt x="15968" y="7221"/>
                  </a:lnTo>
                  <a:lnTo>
                    <a:pt x="16039" y="6925"/>
                  </a:lnTo>
                  <a:lnTo>
                    <a:pt x="16091" y="6624"/>
                  </a:lnTo>
                  <a:lnTo>
                    <a:pt x="16122" y="6319"/>
                  </a:lnTo>
                  <a:lnTo>
                    <a:pt x="16132" y="6010"/>
                  </a:lnTo>
                  <a:lnTo>
                    <a:pt x="16122" y="5700"/>
                  </a:lnTo>
                  <a:lnTo>
                    <a:pt x="16091" y="5396"/>
                  </a:lnTo>
                  <a:lnTo>
                    <a:pt x="16039" y="5094"/>
                  </a:lnTo>
                  <a:lnTo>
                    <a:pt x="15968" y="4799"/>
                  </a:lnTo>
                  <a:lnTo>
                    <a:pt x="15878" y="4508"/>
                  </a:lnTo>
                  <a:lnTo>
                    <a:pt x="15769" y="4223"/>
                  </a:lnTo>
                  <a:lnTo>
                    <a:pt x="15643" y="3943"/>
                  </a:lnTo>
                  <a:lnTo>
                    <a:pt x="15498" y="3671"/>
                  </a:lnTo>
                  <a:lnTo>
                    <a:pt x="15336" y="3405"/>
                  </a:lnTo>
                  <a:lnTo>
                    <a:pt x="15158" y="3145"/>
                  </a:lnTo>
                  <a:lnTo>
                    <a:pt x="14964" y="2894"/>
                  </a:lnTo>
                  <a:lnTo>
                    <a:pt x="14755" y="2649"/>
                  </a:lnTo>
                  <a:lnTo>
                    <a:pt x="14530" y="2414"/>
                  </a:lnTo>
                  <a:lnTo>
                    <a:pt x="14290" y="2188"/>
                  </a:lnTo>
                  <a:lnTo>
                    <a:pt x="14037" y="1969"/>
                  </a:lnTo>
                  <a:lnTo>
                    <a:pt x="13770" y="1760"/>
                  </a:lnTo>
                  <a:lnTo>
                    <a:pt x="13489" y="1562"/>
                  </a:lnTo>
                  <a:lnTo>
                    <a:pt x="13197" y="1372"/>
                  </a:lnTo>
                  <a:lnTo>
                    <a:pt x="12891" y="1194"/>
                  </a:lnTo>
                  <a:lnTo>
                    <a:pt x="12576" y="1027"/>
                  </a:lnTo>
                  <a:lnTo>
                    <a:pt x="12248" y="870"/>
                  </a:lnTo>
                  <a:lnTo>
                    <a:pt x="11910" y="725"/>
                  </a:lnTo>
                  <a:lnTo>
                    <a:pt x="11563" y="593"/>
                  </a:lnTo>
                  <a:lnTo>
                    <a:pt x="11206" y="473"/>
                  </a:lnTo>
                  <a:lnTo>
                    <a:pt x="10840" y="365"/>
                  </a:lnTo>
                  <a:lnTo>
                    <a:pt x="10465" y="270"/>
                  </a:lnTo>
                  <a:lnTo>
                    <a:pt x="10081" y="189"/>
                  </a:lnTo>
                  <a:lnTo>
                    <a:pt x="9691" y="122"/>
                  </a:lnTo>
                  <a:lnTo>
                    <a:pt x="9294" y="69"/>
                  </a:lnTo>
                  <a:lnTo>
                    <a:pt x="8891" y="31"/>
                  </a:lnTo>
                  <a:lnTo>
                    <a:pt x="8481" y="8"/>
                  </a:lnTo>
                  <a:lnTo>
                    <a:pt x="80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62" name="i$ḻiḍè">
              <a:extLst>
                <a:ext uri="{FF2B5EF4-FFF2-40B4-BE49-F238E27FC236}">
                  <a16:creationId xmlns:a16="http://schemas.microsoft.com/office/drawing/2014/main" id="{8C2E8046-D966-49D3-815D-7CF3A4FB6393}"/>
                </a:ext>
              </a:extLst>
            </p:cNvPr>
            <p:cNvSpPr/>
            <p:nvPr/>
          </p:nvSpPr>
          <p:spPr bwMode="auto">
            <a:xfrm>
              <a:off x="9232257" y="1507758"/>
              <a:ext cx="131262" cy="131262"/>
            </a:xfrm>
            <a:custGeom>
              <a:avLst/>
              <a:gdLst>
                <a:gd name="T0" fmla="*/ 3521 w 6031"/>
                <a:gd name="T1" fmla="*/ 553 h 6022"/>
                <a:gd name="T2" fmla="*/ 4104 w 6031"/>
                <a:gd name="T3" fmla="*/ 750 h 6022"/>
                <a:gd name="T4" fmla="*/ 4613 w 6031"/>
                <a:gd name="T5" fmla="*/ 1076 h 6022"/>
                <a:gd name="T6" fmla="*/ 5029 w 6031"/>
                <a:gd name="T7" fmla="*/ 1511 h 6022"/>
                <a:gd name="T8" fmla="*/ 5330 w 6031"/>
                <a:gd name="T9" fmla="*/ 2036 h 6022"/>
                <a:gd name="T10" fmla="*/ 5499 w 6031"/>
                <a:gd name="T11" fmla="*/ 2630 h 6022"/>
                <a:gd name="T12" fmla="*/ 5515 w 6031"/>
                <a:gd name="T13" fmla="*/ 3268 h 6022"/>
                <a:gd name="T14" fmla="*/ 5375 w 6031"/>
                <a:gd name="T15" fmla="*/ 3873 h 6022"/>
                <a:gd name="T16" fmla="*/ 5098 w 6031"/>
                <a:gd name="T17" fmla="*/ 4413 h 6022"/>
                <a:gd name="T18" fmla="*/ 4704 w 6031"/>
                <a:gd name="T19" fmla="*/ 4868 h 6022"/>
                <a:gd name="T20" fmla="*/ 4213 w 6031"/>
                <a:gd name="T21" fmla="*/ 5217 h 6022"/>
                <a:gd name="T22" fmla="*/ 3643 w 6031"/>
                <a:gd name="T23" fmla="*/ 5441 h 6022"/>
                <a:gd name="T24" fmla="*/ 3016 w 6031"/>
                <a:gd name="T25" fmla="*/ 5520 h 6022"/>
                <a:gd name="T26" fmla="*/ 2388 w 6031"/>
                <a:gd name="T27" fmla="*/ 5441 h 6022"/>
                <a:gd name="T28" fmla="*/ 1818 w 6031"/>
                <a:gd name="T29" fmla="*/ 5217 h 6022"/>
                <a:gd name="T30" fmla="*/ 1327 w 6031"/>
                <a:gd name="T31" fmla="*/ 4868 h 6022"/>
                <a:gd name="T32" fmla="*/ 932 w 6031"/>
                <a:gd name="T33" fmla="*/ 4413 h 6022"/>
                <a:gd name="T34" fmla="*/ 656 w 6031"/>
                <a:gd name="T35" fmla="*/ 3873 h 6022"/>
                <a:gd name="T36" fmla="*/ 516 w 6031"/>
                <a:gd name="T37" fmla="*/ 3268 h 6022"/>
                <a:gd name="T38" fmla="*/ 532 w 6031"/>
                <a:gd name="T39" fmla="*/ 2630 h 6022"/>
                <a:gd name="T40" fmla="*/ 701 w 6031"/>
                <a:gd name="T41" fmla="*/ 2036 h 6022"/>
                <a:gd name="T42" fmla="*/ 1002 w 6031"/>
                <a:gd name="T43" fmla="*/ 1511 h 6022"/>
                <a:gd name="T44" fmla="*/ 1417 w 6031"/>
                <a:gd name="T45" fmla="*/ 1076 h 6022"/>
                <a:gd name="T46" fmla="*/ 1927 w 6031"/>
                <a:gd name="T47" fmla="*/ 750 h 6022"/>
                <a:gd name="T48" fmla="*/ 2510 w 6031"/>
                <a:gd name="T49" fmla="*/ 553 h 6022"/>
                <a:gd name="T50" fmla="*/ 3016 w 6031"/>
                <a:gd name="T51" fmla="*/ 6022 h 6022"/>
                <a:gd name="T52" fmla="*/ 3768 w 6031"/>
                <a:gd name="T53" fmla="*/ 5928 h 6022"/>
                <a:gd name="T54" fmla="*/ 4452 w 6031"/>
                <a:gd name="T55" fmla="*/ 5659 h 6022"/>
                <a:gd name="T56" fmla="*/ 5042 w 6031"/>
                <a:gd name="T57" fmla="*/ 5239 h 6022"/>
                <a:gd name="T58" fmla="*/ 5515 w 6031"/>
                <a:gd name="T59" fmla="*/ 4693 h 6022"/>
                <a:gd name="T60" fmla="*/ 5848 w 6031"/>
                <a:gd name="T61" fmla="*/ 4046 h 6022"/>
                <a:gd name="T62" fmla="*/ 6015 w 6031"/>
                <a:gd name="T63" fmla="*/ 3318 h 6022"/>
                <a:gd name="T64" fmla="*/ 5996 w 6031"/>
                <a:gd name="T65" fmla="*/ 2554 h 6022"/>
                <a:gd name="T66" fmla="*/ 5794 w 6031"/>
                <a:gd name="T67" fmla="*/ 1840 h 6022"/>
                <a:gd name="T68" fmla="*/ 5431 w 6031"/>
                <a:gd name="T69" fmla="*/ 1211 h 6022"/>
                <a:gd name="T70" fmla="*/ 4932 w 6031"/>
                <a:gd name="T71" fmla="*/ 689 h 6022"/>
                <a:gd name="T72" fmla="*/ 4322 w 6031"/>
                <a:gd name="T73" fmla="*/ 297 h 6022"/>
                <a:gd name="T74" fmla="*/ 3623 w 6031"/>
                <a:gd name="T75" fmla="*/ 62 h 6022"/>
                <a:gd name="T76" fmla="*/ 2861 w 6031"/>
                <a:gd name="T77" fmla="*/ 4 h 6022"/>
                <a:gd name="T78" fmla="*/ 2120 w 6031"/>
                <a:gd name="T79" fmla="*/ 136 h 6022"/>
                <a:gd name="T80" fmla="*/ 1453 w 6031"/>
                <a:gd name="T81" fmla="*/ 437 h 6022"/>
                <a:gd name="T82" fmla="*/ 884 w 6031"/>
                <a:gd name="T83" fmla="*/ 884 h 6022"/>
                <a:gd name="T84" fmla="*/ 437 w 6031"/>
                <a:gd name="T85" fmla="*/ 1452 h 6022"/>
                <a:gd name="T86" fmla="*/ 136 w 6031"/>
                <a:gd name="T87" fmla="*/ 2117 h 6022"/>
                <a:gd name="T88" fmla="*/ 4 w 6031"/>
                <a:gd name="T89" fmla="*/ 2857 h 6022"/>
                <a:gd name="T90" fmla="*/ 62 w 6031"/>
                <a:gd name="T91" fmla="*/ 3617 h 6022"/>
                <a:gd name="T92" fmla="*/ 298 w 6031"/>
                <a:gd name="T93" fmla="*/ 4316 h 6022"/>
                <a:gd name="T94" fmla="*/ 690 w 6031"/>
                <a:gd name="T95" fmla="*/ 4925 h 6022"/>
                <a:gd name="T96" fmla="*/ 1212 w 6031"/>
                <a:gd name="T97" fmla="*/ 5424 h 6022"/>
                <a:gd name="T98" fmla="*/ 1843 w 6031"/>
                <a:gd name="T99" fmla="*/ 5785 h 6022"/>
                <a:gd name="T100" fmla="*/ 2557 w 6031"/>
                <a:gd name="T101" fmla="*/ 5988 h 6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31" h="6022">
                  <a:moveTo>
                    <a:pt x="3016" y="502"/>
                  </a:moveTo>
                  <a:lnTo>
                    <a:pt x="3144" y="505"/>
                  </a:lnTo>
                  <a:lnTo>
                    <a:pt x="3272" y="515"/>
                  </a:lnTo>
                  <a:lnTo>
                    <a:pt x="3397" y="531"/>
                  </a:lnTo>
                  <a:lnTo>
                    <a:pt x="3521" y="553"/>
                  </a:lnTo>
                  <a:lnTo>
                    <a:pt x="3643" y="582"/>
                  </a:lnTo>
                  <a:lnTo>
                    <a:pt x="3762" y="616"/>
                  </a:lnTo>
                  <a:lnTo>
                    <a:pt x="3879" y="655"/>
                  </a:lnTo>
                  <a:lnTo>
                    <a:pt x="3992" y="700"/>
                  </a:lnTo>
                  <a:lnTo>
                    <a:pt x="4104" y="750"/>
                  </a:lnTo>
                  <a:lnTo>
                    <a:pt x="4213" y="805"/>
                  </a:lnTo>
                  <a:lnTo>
                    <a:pt x="4318" y="866"/>
                  </a:lnTo>
                  <a:lnTo>
                    <a:pt x="4420" y="932"/>
                  </a:lnTo>
                  <a:lnTo>
                    <a:pt x="4518" y="1001"/>
                  </a:lnTo>
                  <a:lnTo>
                    <a:pt x="4613" y="1076"/>
                  </a:lnTo>
                  <a:lnTo>
                    <a:pt x="4704" y="1155"/>
                  </a:lnTo>
                  <a:lnTo>
                    <a:pt x="4791" y="1238"/>
                  </a:lnTo>
                  <a:lnTo>
                    <a:pt x="4875" y="1325"/>
                  </a:lnTo>
                  <a:lnTo>
                    <a:pt x="4954" y="1417"/>
                  </a:lnTo>
                  <a:lnTo>
                    <a:pt x="5029" y="1511"/>
                  </a:lnTo>
                  <a:lnTo>
                    <a:pt x="5098" y="1609"/>
                  </a:lnTo>
                  <a:lnTo>
                    <a:pt x="5164" y="1712"/>
                  </a:lnTo>
                  <a:lnTo>
                    <a:pt x="5225" y="1816"/>
                  </a:lnTo>
                  <a:lnTo>
                    <a:pt x="5280" y="1924"/>
                  </a:lnTo>
                  <a:lnTo>
                    <a:pt x="5330" y="2036"/>
                  </a:lnTo>
                  <a:lnTo>
                    <a:pt x="5375" y="2149"/>
                  </a:lnTo>
                  <a:lnTo>
                    <a:pt x="5415" y="2266"/>
                  </a:lnTo>
                  <a:lnTo>
                    <a:pt x="5449" y="2385"/>
                  </a:lnTo>
                  <a:lnTo>
                    <a:pt x="5477" y="2506"/>
                  </a:lnTo>
                  <a:lnTo>
                    <a:pt x="5499" y="2630"/>
                  </a:lnTo>
                  <a:lnTo>
                    <a:pt x="5515" y="2755"/>
                  </a:lnTo>
                  <a:lnTo>
                    <a:pt x="5525" y="2883"/>
                  </a:lnTo>
                  <a:lnTo>
                    <a:pt x="5528" y="3011"/>
                  </a:lnTo>
                  <a:lnTo>
                    <a:pt x="5525" y="3141"/>
                  </a:lnTo>
                  <a:lnTo>
                    <a:pt x="5515" y="3268"/>
                  </a:lnTo>
                  <a:lnTo>
                    <a:pt x="5499" y="3394"/>
                  </a:lnTo>
                  <a:lnTo>
                    <a:pt x="5477" y="3517"/>
                  </a:lnTo>
                  <a:lnTo>
                    <a:pt x="5449" y="3638"/>
                  </a:lnTo>
                  <a:lnTo>
                    <a:pt x="5415" y="3757"/>
                  </a:lnTo>
                  <a:lnTo>
                    <a:pt x="5375" y="3873"/>
                  </a:lnTo>
                  <a:lnTo>
                    <a:pt x="5330" y="3988"/>
                  </a:lnTo>
                  <a:lnTo>
                    <a:pt x="5280" y="4098"/>
                  </a:lnTo>
                  <a:lnTo>
                    <a:pt x="5225" y="4207"/>
                  </a:lnTo>
                  <a:lnTo>
                    <a:pt x="5164" y="4312"/>
                  </a:lnTo>
                  <a:lnTo>
                    <a:pt x="5098" y="4413"/>
                  </a:lnTo>
                  <a:lnTo>
                    <a:pt x="5029" y="4512"/>
                  </a:lnTo>
                  <a:lnTo>
                    <a:pt x="4954" y="4607"/>
                  </a:lnTo>
                  <a:lnTo>
                    <a:pt x="4875" y="4697"/>
                  </a:lnTo>
                  <a:lnTo>
                    <a:pt x="4791" y="4785"/>
                  </a:lnTo>
                  <a:lnTo>
                    <a:pt x="4704" y="4868"/>
                  </a:lnTo>
                  <a:lnTo>
                    <a:pt x="4613" y="4947"/>
                  </a:lnTo>
                  <a:lnTo>
                    <a:pt x="4518" y="5022"/>
                  </a:lnTo>
                  <a:lnTo>
                    <a:pt x="4420" y="5092"/>
                  </a:lnTo>
                  <a:lnTo>
                    <a:pt x="4318" y="5157"/>
                  </a:lnTo>
                  <a:lnTo>
                    <a:pt x="4213" y="5217"/>
                  </a:lnTo>
                  <a:lnTo>
                    <a:pt x="4104" y="5272"/>
                  </a:lnTo>
                  <a:lnTo>
                    <a:pt x="3992" y="5324"/>
                  </a:lnTo>
                  <a:lnTo>
                    <a:pt x="3879" y="5368"/>
                  </a:lnTo>
                  <a:lnTo>
                    <a:pt x="3762" y="5408"/>
                  </a:lnTo>
                  <a:lnTo>
                    <a:pt x="3643" y="5441"/>
                  </a:lnTo>
                  <a:lnTo>
                    <a:pt x="3521" y="5469"/>
                  </a:lnTo>
                  <a:lnTo>
                    <a:pt x="3397" y="5491"/>
                  </a:lnTo>
                  <a:lnTo>
                    <a:pt x="3272" y="5507"/>
                  </a:lnTo>
                  <a:lnTo>
                    <a:pt x="3144" y="5517"/>
                  </a:lnTo>
                  <a:lnTo>
                    <a:pt x="3016" y="5520"/>
                  </a:lnTo>
                  <a:lnTo>
                    <a:pt x="2886" y="5517"/>
                  </a:lnTo>
                  <a:lnTo>
                    <a:pt x="2759" y="5507"/>
                  </a:lnTo>
                  <a:lnTo>
                    <a:pt x="2634" y="5491"/>
                  </a:lnTo>
                  <a:lnTo>
                    <a:pt x="2510" y="5469"/>
                  </a:lnTo>
                  <a:lnTo>
                    <a:pt x="2388" y="5441"/>
                  </a:lnTo>
                  <a:lnTo>
                    <a:pt x="2269" y="5408"/>
                  </a:lnTo>
                  <a:lnTo>
                    <a:pt x="2152" y="5368"/>
                  </a:lnTo>
                  <a:lnTo>
                    <a:pt x="2039" y="5324"/>
                  </a:lnTo>
                  <a:lnTo>
                    <a:pt x="1927" y="5272"/>
                  </a:lnTo>
                  <a:lnTo>
                    <a:pt x="1818" y="5217"/>
                  </a:lnTo>
                  <a:lnTo>
                    <a:pt x="1713" y="5157"/>
                  </a:lnTo>
                  <a:lnTo>
                    <a:pt x="1611" y="5092"/>
                  </a:lnTo>
                  <a:lnTo>
                    <a:pt x="1513" y="5022"/>
                  </a:lnTo>
                  <a:lnTo>
                    <a:pt x="1417" y="4947"/>
                  </a:lnTo>
                  <a:lnTo>
                    <a:pt x="1327" y="4868"/>
                  </a:lnTo>
                  <a:lnTo>
                    <a:pt x="1240" y="4785"/>
                  </a:lnTo>
                  <a:lnTo>
                    <a:pt x="1156" y="4697"/>
                  </a:lnTo>
                  <a:lnTo>
                    <a:pt x="1077" y="4607"/>
                  </a:lnTo>
                  <a:lnTo>
                    <a:pt x="1002" y="4512"/>
                  </a:lnTo>
                  <a:lnTo>
                    <a:pt x="932" y="4413"/>
                  </a:lnTo>
                  <a:lnTo>
                    <a:pt x="867" y="4312"/>
                  </a:lnTo>
                  <a:lnTo>
                    <a:pt x="806" y="4207"/>
                  </a:lnTo>
                  <a:lnTo>
                    <a:pt x="751" y="4098"/>
                  </a:lnTo>
                  <a:lnTo>
                    <a:pt x="701" y="3988"/>
                  </a:lnTo>
                  <a:lnTo>
                    <a:pt x="656" y="3873"/>
                  </a:lnTo>
                  <a:lnTo>
                    <a:pt x="615" y="3757"/>
                  </a:lnTo>
                  <a:lnTo>
                    <a:pt x="582" y="3638"/>
                  </a:lnTo>
                  <a:lnTo>
                    <a:pt x="554" y="3517"/>
                  </a:lnTo>
                  <a:lnTo>
                    <a:pt x="532" y="3394"/>
                  </a:lnTo>
                  <a:lnTo>
                    <a:pt x="516" y="3268"/>
                  </a:lnTo>
                  <a:lnTo>
                    <a:pt x="506" y="3141"/>
                  </a:lnTo>
                  <a:lnTo>
                    <a:pt x="503" y="3011"/>
                  </a:lnTo>
                  <a:lnTo>
                    <a:pt x="506" y="2883"/>
                  </a:lnTo>
                  <a:lnTo>
                    <a:pt x="516" y="2755"/>
                  </a:lnTo>
                  <a:lnTo>
                    <a:pt x="532" y="2630"/>
                  </a:lnTo>
                  <a:lnTo>
                    <a:pt x="554" y="2506"/>
                  </a:lnTo>
                  <a:lnTo>
                    <a:pt x="582" y="2385"/>
                  </a:lnTo>
                  <a:lnTo>
                    <a:pt x="615" y="2266"/>
                  </a:lnTo>
                  <a:lnTo>
                    <a:pt x="656" y="2149"/>
                  </a:lnTo>
                  <a:lnTo>
                    <a:pt x="701" y="2036"/>
                  </a:lnTo>
                  <a:lnTo>
                    <a:pt x="751" y="1924"/>
                  </a:lnTo>
                  <a:lnTo>
                    <a:pt x="806" y="1816"/>
                  </a:lnTo>
                  <a:lnTo>
                    <a:pt x="867" y="1712"/>
                  </a:lnTo>
                  <a:lnTo>
                    <a:pt x="932" y="1609"/>
                  </a:lnTo>
                  <a:lnTo>
                    <a:pt x="1002" y="1511"/>
                  </a:lnTo>
                  <a:lnTo>
                    <a:pt x="1077" y="1417"/>
                  </a:lnTo>
                  <a:lnTo>
                    <a:pt x="1156" y="1325"/>
                  </a:lnTo>
                  <a:lnTo>
                    <a:pt x="1240" y="1238"/>
                  </a:lnTo>
                  <a:lnTo>
                    <a:pt x="1327" y="1155"/>
                  </a:lnTo>
                  <a:lnTo>
                    <a:pt x="1417" y="1076"/>
                  </a:lnTo>
                  <a:lnTo>
                    <a:pt x="1513" y="1001"/>
                  </a:lnTo>
                  <a:lnTo>
                    <a:pt x="1611" y="932"/>
                  </a:lnTo>
                  <a:lnTo>
                    <a:pt x="1713" y="866"/>
                  </a:lnTo>
                  <a:lnTo>
                    <a:pt x="1818" y="805"/>
                  </a:lnTo>
                  <a:lnTo>
                    <a:pt x="1927" y="750"/>
                  </a:lnTo>
                  <a:lnTo>
                    <a:pt x="2039" y="700"/>
                  </a:lnTo>
                  <a:lnTo>
                    <a:pt x="2152" y="655"/>
                  </a:lnTo>
                  <a:lnTo>
                    <a:pt x="2269" y="616"/>
                  </a:lnTo>
                  <a:lnTo>
                    <a:pt x="2388" y="582"/>
                  </a:lnTo>
                  <a:lnTo>
                    <a:pt x="2510" y="553"/>
                  </a:lnTo>
                  <a:lnTo>
                    <a:pt x="2634" y="531"/>
                  </a:lnTo>
                  <a:lnTo>
                    <a:pt x="2759" y="515"/>
                  </a:lnTo>
                  <a:lnTo>
                    <a:pt x="2886" y="505"/>
                  </a:lnTo>
                  <a:lnTo>
                    <a:pt x="3016" y="502"/>
                  </a:lnTo>
                  <a:close/>
                  <a:moveTo>
                    <a:pt x="3016" y="6022"/>
                  </a:moveTo>
                  <a:lnTo>
                    <a:pt x="3170" y="6018"/>
                  </a:lnTo>
                  <a:lnTo>
                    <a:pt x="3323" y="6007"/>
                  </a:lnTo>
                  <a:lnTo>
                    <a:pt x="3474" y="5988"/>
                  </a:lnTo>
                  <a:lnTo>
                    <a:pt x="3623" y="5961"/>
                  </a:lnTo>
                  <a:lnTo>
                    <a:pt x="3768" y="5928"/>
                  </a:lnTo>
                  <a:lnTo>
                    <a:pt x="3911" y="5887"/>
                  </a:lnTo>
                  <a:lnTo>
                    <a:pt x="4052" y="5840"/>
                  </a:lnTo>
                  <a:lnTo>
                    <a:pt x="4188" y="5785"/>
                  </a:lnTo>
                  <a:lnTo>
                    <a:pt x="4322" y="5725"/>
                  </a:lnTo>
                  <a:lnTo>
                    <a:pt x="4452" y="5659"/>
                  </a:lnTo>
                  <a:lnTo>
                    <a:pt x="4577" y="5586"/>
                  </a:lnTo>
                  <a:lnTo>
                    <a:pt x="4700" y="5507"/>
                  </a:lnTo>
                  <a:lnTo>
                    <a:pt x="4819" y="5424"/>
                  </a:lnTo>
                  <a:lnTo>
                    <a:pt x="4932" y="5334"/>
                  </a:lnTo>
                  <a:lnTo>
                    <a:pt x="5042" y="5239"/>
                  </a:lnTo>
                  <a:lnTo>
                    <a:pt x="5146" y="5140"/>
                  </a:lnTo>
                  <a:lnTo>
                    <a:pt x="5247" y="5035"/>
                  </a:lnTo>
                  <a:lnTo>
                    <a:pt x="5341" y="4925"/>
                  </a:lnTo>
                  <a:lnTo>
                    <a:pt x="5431" y="4812"/>
                  </a:lnTo>
                  <a:lnTo>
                    <a:pt x="5515" y="4693"/>
                  </a:lnTo>
                  <a:lnTo>
                    <a:pt x="5594" y="4572"/>
                  </a:lnTo>
                  <a:lnTo>
                    <a:pt x="5666" y="4445"/>
                  </a:lnTo>
                  <a:lnTo>
                    <a:pt x="5733" y="4316"/>
                  </a:lnTo>
                  <a:lnTo>
                    <a:pt x="5794" y="4183"/>
                  </a:lnTo>
                  <a:lnTo>
                    <a:pt x="5848" y="4046"/>
                  </a:lnTo>
                  <a:lnTo>
                    <a:pt x="5895" y="3906"/>
                  </a:lnTo>
                  <a:lnTo>
                    <a:pt x="5935" y="3763"/>
                  </a:lnTo>
                  <a:lnTo>
                    <a:pt x="5969" y="3617"/>
                  </a:lnTo>
                  <a:lnTo>
                    <a:pt x="5996" y="3469"/>
                  </a:lnTo>
                  <a:lnTo>
                    <a:pt x="6015" y="3318"/>
                  </a:lnTo>
                  <a:lnTo>
                    <a:pt x="6027" y="3166"/>
                  </a:lnTo>
                  <a:lnTo>
                    <a:pt x="6031" y="3011"/>
                  </a:lnTo>
                  <a:lnTo>
                    <a:pt x="6027" y="2857"/>
                  </a:lnTo>
                  <a:lnTo>
                    <a:pt x="6015" y="2704"/>
                  </a:lnTo>
                  <a:lnTo>
                    <a:pt x="5996" y="2554"/>
                  </a:lnTo>
                  <a:lnTo>
                    <a:pt x="5969" y="2405"/>
                  </a:lnTo>
                  <a:lnTo>
                    <a:pt x="5935" y="2260"/>
                  </a:lnTo>
                  <a:lnTo>
                    <a:pt x="5895" y="2117"/>
                  </a:lnTo>
                  <a:lnTo>
                    <a:pt x="5848" y="1978"/>
                  </a:lnTo>
                  <a:lnTo>
                    <a:pt x="5794" y="1840"/>
                  </a:lnTo>
                  <a:lnTo>
                    <a:pt x="5733" y="1708"/>
                  </a:lnTo>
                  <a:lnTo>
                    <a:pt x="5666" y="1577"/>
                  </a:lnTo>
                  <a:lnTo>
                    <a:pt x="5594" y="1452"/>
                  </a:lnTo>
                  <a:lnTo>
                    <a:pt x="5515" y="1329"/>
                  </a:lnTo>
                  <a:lnTo>
                    <a:pt x="5431" y="1211"/>
                  </a:lnTo>
                  <a:lnTo>
                    <a:pt x="5341" y="1097"/>
                  </a:lnTo>
                  <a:lnTo>
                    <a:pt x="5247" y="988"/>
                  </a:lnTo>
                  <a:lnTo>
                    <a:pt x="5146" y="884"/>
                  </a:lnTo>
                  <a:lnTo>
                    <a:pt x="5042" y="783"/>
                  </a:lnTo>
                  <a:lnTo>
                    <a:pt x="4932" y="689"/>
                  </a:lnTo>
                  <a:lnTo>
                    <a:pt x="4819" y="600"/>
                  </a:lnTo>
                  <a:lnTo>
                    <a:pt x="4700" y="515"/>
                  </a:lnTo>
                  <a:lnTo>
                    <a:pt x="4577" y="437"/>
                  </a:lnTo>
                  <a:lnTo>
                    <a:pt x="4452" y="365"/>
                  </a:lnTo>
                  <a:lnTo>
                    <a:pt x="4322" y="297"/>
                  </a:lnTo>
                  <a:lnTo>
                    <a:pt x="4188" y="237"/>
                  </a:lnTo>
                  <a:lnTo>
                    <a:pt x="4052" y="183"/>
                  </a:lnTo>
                  <a:lnTo>
                    <a:pt x="3911" y="136"/>
                  </a:lnTo>
                  <a:lnTo>
                    <a:pt x="3768" y="96"/>
                  </a:lnTo>
                  <a:lnTo>
                    <a:pt x="3623" y="62"/>
                  </a:lnTo>
                  <a:lnTo>
                    <a:pt x="3474" y="36"/>
                  </a:lnTo>
                  <a:lnTo>
                    <a:pt x="3323" y="16"/>
                  </a:lnTo>
                  <a:lnTo>
                    <a:pt x="3170" y="4"/>
                  </a:lnTo>
                  <a:lnTo>
                    <a:pt x="3016" y="0"/>
                  </a:lnTo>
                  <a:lnTo>
                    <a:pt x="2861" y="4"/>
                  </a:lnTo>
                  <a:lnTo>
                    <a:pt x="2708" y="16"/>
                  </a:lnTo>
                  <a:lnTo>
                    <a:pt x="2557" y="36"/>
                  </a:lnTo>
                  <a:lnTo>
                    <a:pt x="2408" y="62"/>
                  </a:lnTo>
                  <a:lnTo>
                    <a:pt x="2263" y="96"/>
                  </a:lnTo>
                  <a:lnTo>
                    <a:pt x="2120" y="136"/>
                  </a:lnTo>
                  <a:lnTo>
                    <a:pt x="1979" y="183"/>
                  </a:lnTo>
                  <a:lnTo>
                    <a:pt x="1843" y="237"/>
                  </a:lnTo>
                  <a:lnTo>
                    <a:pt x="1709" y="297"/>
                  </a:lnTo>
                  <a:lnTo>
                    <a:pt x="1579" y="365"/>
                  </a:lnTo>
                  <a:lnTo>
                    <a:pt x="1453" y="437"/>
                  </a:lnTo>
                  <a:lnTo>
                    <a:pt x="1331" y="515"/>
                  </a:lnTo>
                  <a:lnTo>
                    <a:pt x="1212" y="600"/>
                  </a:lnTo>
                  <a:lnTo>
                    <a:pt x="1099" y="689"/>
                  </a:lnTo>
                  <a:lnTo>
                    <a:pt x="989" y="783"/>
                  </a:lnTo>
                  <a:lnTo>
                    <a:pt x="884" y="884"/>
                  </a:lnTo>
                  <a:lnTo>
                    <a:pt x="784" y="988"/>
                  </a:lnTo>
                  <a:lnTo>
                    <a:pt x="690" y="1097"/>
                  </a:lnTo>
                  <a:lnTo>
                    <a:pt x="600" y="1211"/>
                  </a:lnTo>
                  <a:lnTo>
                    <a:pt x="516" y="1329"/>
                  </a:lnTo>
                  <a:lnTo>
                    <a:pt x="437" y="1452"/>
                  </a:lnTo>
                  <a:lnTo>
                    <a:pt x="364" y="1577"/>
                  </a:lnTo>
                  <a:lnTo>
                    <a:pt x="298" y="1708"/>
                  </a:lnTo>
                  <a:lnTo>
                    <a:pt x="237" y="1840"/>
                  </a:lnTo>
                  <a:lnTo>
                    <a:pt x="183" y="1978"/>
                  </a:lnTo>
                  <a:lnTo>
                    <a:pt x="136" y="2117"/>
                  </a:lnTo>
                  <a:lnTo>
                    <a:pt x="95" y="2260"/>
                  </a:lnTo>
                  <a:lnTo>
                    <a:pt x="62" y="2405"/>
                  </a:lnTo>
                  <a:lnTo>
                    <a:pt x="35" y="2554"/>
                  </a:lnTo>
                  <a:lnTo>
                    <a:pt x="15" y="2704"/>
                  </a:lnTo>
                  <a:lnTo>
                    <a:pt x="4" y="2857"/>
                  </a:lnTo>
                  <a:lnTo>
                    <a:pt x="0" y="3011"/>
                  </a:lnTo>
                  <a:lnTo>
                    <a:pt x="4" y="3166"/>
                  </a:lnTo>
                  <a:lnTo>
                    <a:pt x="15" y="3318"/>
                  </a:lnTo>
                  <a:lnTo>
                    <a:pt x="35" y="3469"/>
                  </a:lnTo>
                  <a:lnTo>
                    <a:pt x="62" y="3617"/>
                  </a:lnTo>
                  <a:lnTo>
                    <a:pt x="95" y="3763"/>
                  </a:lnTo>
                  <a:lnTo>
                    <a:pt x="136" y="3906"/>
                  </a:lnTo>
                  <a:lnTo>
                    <a:pt x="183" y="4046"/>
                  </a:lnTo>
                  <a:lnTo>
                    <a:pt x="237" y="4183"/>
                  </a:lnTo>
                  <a:lnTo>
                    <a:pt x="298" y="4316"/>
                  </a:lnTo>
                  <a:lnTo>
                    <a:pt x="364" y="4445"/>
                  </a:lnTo>
                  <a:lnTo>
                    <a:pt x="437" y="4572"/>
                  </a:lnTo>
                  <a:lnTo>
                    <a:pt x="516" y="4693"/>
                  </a:lnTo>
                  <a:lnTo>
                    <a:pt x="600" y="4812"/>
                  </a:lnTo>
                  <a:lnTo>
                    <a:pt x="690" y="4925"/>
                  </a:lnTo>
                  <a:lnTo>
                    <a:pt x="784" y="5035"/>
                  </a:lnTo>
                  <a:lnTo>
                    <a:pt x="884" y="5140"/>
                  </a:lnTo>
                  <a:lnTo>
                    <a:pt x="989" y="5239"/>
                  </a:lnTo>
                  <a:lnTo>
                    <a:pt x="1099" y="5334"/>
                  </a:lnTo>
                  <a:lnTo>
                    <a:pt x="1212" y="5424"/>
                  </a:lnTo>
                  <a:lnTo>
                    <a:pt x="1331" y="5507"/>
                  </a:lnTo>
                  <a:lnTo>
                    <a:pt x="1453" y="5586"/>
                  </a:lnTo>
                  <a:lnTo>
                    <a:pt x="1579" y="5659"/>
                  </a:lnTo>
                  <a:lnTo>
                    <a:pt x="1709" y="5725"/>
                  </a:lnTo>
                  <a:lnTo>
                    <a:pt x="1843" y="5785"/>
                  </a:lnTo>
                  <a:lnTo>
                    <a:pt x="1979" y="5840"/>
                  </a:lnTo>
                  <a:lnTo>
                    <a:pt x="2120" y="5887"/>
                  </a:lnTo>
                  <a:lnTo>
                    <a:pt x="2263" y="5928"/>
                  </a:lnTo>
                  <a:lnTo>
                    <a:pt x="2408" y="5961"/>
                  </a:lnTo>
                  <a:lnTo>
                    <a:pt x="2557" y="5988"/>
                  </a:lnTo>
                  <a:lnTo>
                    <a:pt x="2708" y="6007"/>
                  </a:lnTo>
                  <a:lnTo>
                    <a:pt x="2861" y="6018"/>
                  </a:lnTo>
                  <a:lnTo>
                    <a:pt x="3016" y="60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63" name="iśḷïďé">
              <a:extLst>
                <a:ext uri="{FF2B5EF4-FFF2-40B4-BE49-F238E27FC236}">
                  <a16:creationId xmlns:a16="http://schemas.microsoft.com/office/drawing/2014/main" id="{4240F6F6-5E95-4D56-A054-7C0BCFC0BA95}"/>
                </a:ext>
              </a:extLst>
            </p:cNvPr>
            <p:cNvSpPr/>
            <p:nvPr/>
          </p:nvSpPr>
          <p:spPr bwMode="auto">
            <a:xfrm>
              <a:off x="9166223" y="1444946"/>
              <a:ext cx="262524" cy="349494"/>
            </a:xfrm>
            <a:custGeom>
              <a:avLst/>
              <a:gdLst>
                <a:gd name="T0" fmla="*/ 6018 w 12062"/>
                <a:gd name="T1" fmla="*/ 15039 h 16058"/>
                <a:gd name="T2" fmla="*/ 5780 w 12062"/>
                <a:gd name="T3" fmla="*/ 14775 h 16058"/>
                <a:gd name="T4" fmla="*/ 4611 w 12062"/>
                <a:gd name="T5" fmla="*/ 13399 h 16058"/>
                <a:gd name="T6" fmla="*/ 3378 w 12062"/>
                <a:gd name="T7" fmla="*/ 11797 h 16058"/>
                <a:gd name="T8" fmla="*/ 2251 w 12062"/>
                <a:gd name="T9" fmla="*/ 10038 h 16058"/>
                <a:gd name="T10" fmla="*/ 1406 w 12062"/>
                <a:gd name="T11" fmla="*/ 8193 h 16058"/>
                <a:gd name="T12" fmla="*/ 1014 w 12062"/>
                <a:gd name="T13" fmla="*/ 6330 h 16058"/>
                <a:gd name="T14" fmla="*/ 1164 w 12062"/>
                <a:gd name="T15" fmla="*/ 4770 h 16058"/>
                <a:gd name="T16" fmla="*/ 1734 w 12062"/>
                <a:gd name="T17" fmla="*/ 3422 h 16058"/>
                <a:gd name="T18" fmla="*/ 2653 w 12062"/>
                <a:gd name="T19" fmla="*/ 2309 h 16058"/>
                <a:gd name="T20" fmla="*/ 3854 w 12062"/>
                <a:gd name="T21" fmla="*/ 1499 h 16058"/>
                <a:gd name="T22" fmla="*/ 5267 w 12062"/>
                <a:gd name="T23" fmla="*/ 1062 h 16058"/>
                <a:gd name="T24" fmla="*/ 6795 w 12062"/>
                <a:gd name="T25" fmla="*/ 1062 h 16058"/>
                <a:gd name="T26" fmla="*/ 8208 w 12062"/>
                <a:gd name="T27" fmla="*/ 1499 h 16058"/>
                <a:gd name="T28" fmla="*/ 9409 w 12062"/>
                <a:gd name="T29" fmla="*/ 2309 h 16058"/>
                <a:gd name="T30" fmla="*/ 10328 w 12062"/>
                <a:gd name="T31" fmla="*/ 3422 h 16058"/>
                <a:gd name="T32" fmla="*/ 10898 w 12062"/>
                <a:gd name="T33" fmla="*/ 4770 h 16058"/>
                <a:gd name="T34" fmla="*/ 11048 w 12062"/>
                <a:gd name="T35" fmla="*/ 6330 h 16058"/>
                <a:gd name="T36" fmla="*/ 10656 w 12062"/>
                <a:gd name="T37" fmla="*/ 8193 h 16058"/>
                <a:gd name="T38" fmla="*/ 9810 w 12062"/>
                <a:gd name="T39" fmla="*/ 10039 h 16058"/>
                <a:gd name="T40" fmla="*/ 8681 w 12062"/>
                <a:gd name="T41" fmla="*/ 11801 h 16058"/>
                <a:gd name="T42" fmla="*/ 7443 w 12062"/>
                <a:gd name="T43" fmla="*/ 13407 h 16058"/>
                <a:gd name="T44" fmla="*/ 6267 w 12062"/>
                <a:gd name="T45" fmla="*/ 14791 h 16058"/>
                <a:gd name="T46" fmla="*/ 4817 w 12062"/>
                <a:gd name="T47" fmla="*/ 121 h 16058"/>
                <a:gd name="T48" fmla="*/ 3159 w 12062"/>
                <a:gd name="T49" fmla="*/ 722 h 16058"/>
                <a:gd name="T50" fmla="*/ 1768 w 12062"/>
                <a:gd name="T51" fmla="*/ 1753 h 16058"/>
                <a:gd name="T52" fmla="*/ 729 w 12062"/>
                <a:gd name="T53" fmla="*/ 3139 h 16058"/>
                <a:gd name="T54" fmla="*/ 123 w 12062"/>
                <a:gd name="T55" fmla="*/ 4801 h 16058"/>
                <a:gd name="T56" fmla="*/ 34 w 12062"/>
                <a:gd name="T57" fmla="*/ 6682 h 16058"/>
                <a:gd name="T58" fmla="*/ 506 w 12062"/>
                <a:gd name="T59" fmla="*/ 8654 h 16058"/>
                <a:gd name="T60" fmla="*/ 1411 w 12062"/>
                <a:gd name="T61" fmla="*/ 10583 h 16058"/>
                <a:gd name="T62" fmla="*/ 2598 w 12062"/>
                <a:gd name="T63" fmla="*/ 12423 h 16058"/>
                <a:gd name="T64" fmla="*/ 3917 w 12062"/>
                <a:gd name="T65" fmla="*/ 14129 h 16058"/>
                <a:gd name="T66" fmla="*/ 5214 w 12062"/>
                <a:gd name="T67" fmla="*/ 15655 h 16058"/>
                <a:gd name="T68" fmla="*/ 5355 w 12062"/>
                <a:gd name="T69" fmla="*/ 15786 h 16058"/>
                <a:gd name="T70" fmla="*/ 5509 w 12062"/>
                <a:gd name="T71" fmla="*/ 15897 h 16058"/>
                <a:gd name="T72" fmla="*/ 5705 w 12062"/>
                <a:gd name="T73" fmla="*/ 15997 h 16058"/>
                <a:gd name="T74" fmla="*/ 5931 w 12062"/>
                <a:gd name="T75" fmla="*/ 16054 h 16058"/>
                <a:gd name="T76" fmla="*/ 6170 w 12062"/>
                <a:gd name="T77" fmla="*/ 16048 h 16058"/>
                <a:gd name="T78" fmla="*/ 6392 w 12062"/>
                <a:gd name="T79" fmla="*/ 15982 h 16058"/>
                <a:gd name="T80" fmla="*/ 6581 w 12062"/>
                <a:gd name="T81" fmla="*/ 15878 h 16058"/>
                <a:gd name="T82" fmla="*/ 6747 w 12062"/>
                <a:gd name="T83" fmla="*/ 15752 h 16058"/>
                <a:gd name="T84" fmla="*/ 7056 w 12062"/>
                <a:gd name="T85" fmla="*/ 15415 h 16058"/>
                <a:gd name="T86" fmla="*/ 8368 w 12062"/>
                <a:gd name="T87" fmla="*/ 13856 h 16058"/>
                <a:gd name="T88" fmla="*/ 9675 w 12062"/>
                <a:gd name="T89" fmla="*/ 12125 h 16058"/>
                <a:gd name="T90" fmla="*/ 10826 w 12062"/>
                <a:gd name="T91" fmla="*/ 10267 h 16058"/>
                <a:gd name="T92" fmla="*/ 11669 w 12062"/>
                <a:gd name="T93" fmla="*/ 8328 h 16058"/>
                <a:gd name="T94" fmla="*/ 12053 w 12062"/>
                <a:gd name="T95" fmla="*/ 6352 h 16058"/>
                <a:gd name="T96" fmla="*/ 11872 w 12062"/>
                <a:gd name="T97" fmla="*/ 4508 h 16058"/>
                <a:gd name="T98" fmla="*/ 11188 w 12062"/>
                <a:gd name="T99" fmla="*/ 2887 h 16058"/>
                <a:gd name="T100" fmla="*/ 10084 w 12062"/>
                <a:gd name="T101" fmla="*/ 1555 h 16058"/>
                <a:gd name="T102" fmla="*/ 8644 w 12062"/>
                <a:gd name="T103" fmla="*/ 589 h 16058"/>
                <a:gd name="T104" fmla="*/ 6948 w 12062"/>
                <a:gd name="T105" fmla="*/ 68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062" h="16058">
                  <a:moveTo>
                    <a:pt x="6090" y="14996"/>
                  </a:moveTo>
                  <a:lnTo>
                    <a:pt x="6078" y="15005"/>
                  </a:lnTo>
                  <a:lnTo>
                    <a:pt x="6062" y="15018"/>
                  </a:lnTo>
                  <a:lnTo>
                    <a:pt x="6042" y="15032"/>
                  </a:lnTo>
                  <a:lnTo>
                    <a:pt x="6021" y="15045"/>
                  </a:lnTo>
                  <a:lnTo>
                    <a:pt x="6018" y="15039"/>
                  </a:lnTo>
                  <a:lnTo>
                    <a:pt x="6012" y="15032"/>
                  </a:lnTo>
                  <a:lnTo>
                    <a:pt x="6004" y="15024"/>
                  </a:lnTo>
                  <a:lnTo>
                    <a:pt x="5995" y="15015"/>
                  </a:lnTo>
                  <a:lnTo>
                    <a:pt x="5975" y="14996"/>
                  </a:lnTo>
                  <a:lnTo>
                    <a:pt x="5956" y="14978"/>
                  </a:lnTo>
                  <a:lnTo>
                    <a:pt x="5780" y="14775"/>
                  </a:lnTo>
                  <a:lnTo>
                    <a:pt x="5597" y="14565"/>
                  </a:lnTo>
                  <a:lnTo>
                    <a:pt x="5408" y="14346"/>
                  </a:lnTo>
                  <a:lnTo>
                    <a:pt x="5215" y="14120"/>
                  </a:lnTo>
                  <a:lnTo>
                    <a:pt x="5017" y="13886"/>
                  </a:lnTo>
                  <a:lnTo>
                    <a:pt x="4815" y="13646"/>
                  </a:lnTo>
                  <a:lnTo>
                    <a:pt x="4611" y="13399"/>
                  </a:lnTo>
                  <a:lnTo>
                    <a:pt x="4406" y="13145"/>
                  </a:lnTo>
                  <a:lnTo>
                    <a:pt x="4199" y="12887"/>
                  </a:lnTo>
                  <a:lnTo>
                    <a:pt x="3992" y="12622"/>
                  </a:lnTo>
                  <a:lnTo>
                    <a:pt x="3785" y="12352"/>
                  </a:lnTo>
                  <a:lnTo>
                    <a:pt x="3580" y="12077"/>
                  </a:lnTo>
                  <a:lnTo>
                    <a:pt x="3378" y="11797"/>
                  </a:lnTo>
                  <a:lnTo>
                    <a:pt x="3178" y="11513"/>
                  </a:lnTo>
                  <a:lnTo>
                    <a:pt x="2982" y="11225"/>
                  </a:lnTo>
                  <a:lnTo>
                    <a:pt x="2790" y="10932"/>
                  </a:lnTo>
                  <a:lnTo>
                    <a:pt x="2604" y="10637"/>
                  </a:lnTo>
                  <a:lnTo>
                    <a:pt x="2424" y="10339"/>
                  </a:lnTo>
                  <a:lnTo>
                    <a:pt x="2251" y="10038"/>
                  </a:lnTo>
                  <a:lnTo>
                    <a:pt x="2087" y="9734"/>
                  </a:lnTo>
                  <a:lnTo>
                    <a:pt x="1930" y="9429"/>
                  </a:lnTo>
                  <a:lnTo>
                    <a:pt x="1782" y="9122"/>
                  </a:lnTo>
                  <a:lnTo>
                    <a:pt x="1645" y="8813"/>
                  </a:lnTo>
                  <a:lnTo>
                    <a:pt x="1520" y="8504"/>
                  </a:lnTo>
                  <a:lnTo>
                    <a:pt x="1406" y="8193"/>
                  </a:lnTo>
                  <a:lnTo>
                    <a:pt x="1305" y="7881"/>
                  </a:lnTo>
                  <a:lnTo>
                    <a:pt x="1216" y="7570"/>
                  </a:lnTo>
                  <a:lnTo>
                    <a:pt x="1142" y="7259"/>
                  </a:lnTo>
                  <a:lnTo>
                    <a:pt x="1083" y="6948"/>
                  </a:lnTo>
                  <a:lnTo>
                    <a:pt x="1040" y="6639"/>
                  </a:lnTo>
                  <a:lnTo>
                    <a:pt x="1014" y="6330"/>
                  </a:lnTo>
                  <a:lnTo>
                    <a:pt x="1005" y="6023"/>
                  </a:lnTo>
                  <a:lnTo>
                    <a:pt x="1011" y="5765"/>
                  </a:lnTo>
                  <a:lnTo>
                    <a:pt x="1031" y="5510"/>
                  </a:lnTo>
                  <a:lnTo>
                    <a:pt x="1063" y="5259"/>
                  </a:lnTo>
                  <a:lnTo>
                    <a:pt x="1108" y="5012"/>
                  </a:lnTo>
                  <a:lnTo>
                    <a:pt x="1164" y="4770"/>
                  </a:lnTo>
                  <a:lnTo>
                    <a:pt x="1231" y="4532"/>
                  </a:lnTo>
                  <a:lnTo>
                    <a:pt x="1311" y="4299"/>
                  </a:lnTo>
                  <a:lnTo>
                    <a:pt x="1401" y="4071"/>
                  </a:lnTo>
                  <a:lnTo>
                    <a:pt x="1502" y="3849"/>
                  </a:lnTo>
                  <a:lnTo>
                    <a:pt x="1612" y="3632"/>
                  </a:lnTo>
                  <a:lnTo>
                    <a:pt x="1734" y="3422"/>
                  </a:lnTo>
                  <a:lnTo>
                    <a:pt x="1864" y="3219"/>
                  </a:lnTo>
                  <a:lnTo>
                    <a:pt x="2005" y="3022"/>
                  </a:lnTo>
                  <a:lnTo>
                    <a:pt x="2154" y="2832"/>
                  </a:lnTo>
                  <a:lnTo>
                    <a:pt x="2313" y="2650"/>
                  </a:lnTo>
                  <a:lnTo>
                    <a:pt x="2479" y="2475"/>
                  </a:lnTo>
                  <a:lnTo>
                    <a:pt x="2653" y="2309"/>
                  </a:lnTo>
                  <a:lnTo>
                    <a:pt x="2836" y="2151"/>
                  </a:lnTo>
                  <a:lnTo>
                    <a:pt x="3026" y="2002"/>
                  </a:lnTo>
                  <a:lnTo>
                    <a:pt x="3223" y="1862"/>
                  </a:lnTo>
                  <a:lnTo>
                    <a:pt x="3427" y="1731"/>
                  </a:lnTo>
                  <a:lnTo>
                    <a:pt x="3637" y="1610"/>
                  </a:lnTo>
                  <a:lnTo>
                    <a:pt x="3854" y="1499"/>
                  </a:lnTo>
                  <a:lnTo>
                    <a:pt x="4077" y="1399"/>
                  </a:lnTo>
                  <a:lnTo>
                    <a:pt x="4305" y="1309"/>
                  </a:lnTo>
                  <a:lnTo>
                    <a:pt x="4538" y="1229"/>
                  </a:lnTo>
                  <a:lnTo>
                    <a:pt x="4776" y="1162"/>
                  </a:lnTo>
                  <a:lnTo>
                    <a:pt x="5019" y="1106"/>
                  </a:lnTo>
                  <a:lnTo>
                    <a:pt x="5267" y="1062"/>
                  </a:lnTo>
                  <a:lnTo>
                    <a:pt x="5518" y="1030"/>
                  </a:lnTo>
                  <a:lnTo>
                    <a:pt x="5773" y="1010"/>
                  </a:lnTo>
                  <a:lnTo>
                    <a:pt x="6032" y="1004"/>
                  </a:lnTo>
                  <a:lnTo>
                    <a:pt x="6289" y="1010"/>
                  </a:lnTo>
                  <a:lnTo>
                    <a:pt x="6544" y="1030"/>
                  </a:lnTo>
                  <a:lnTo>
                    <a:pt x="6795" y="1062"/>
                  </a:lnTo>
                  <a:lnTo>
                    <a:pt x="7043" y="1106"/>
                  </a:lnTo>
                  <a:lnTo>
                    <a:pt x="7286" y="1162"/>
                  </a:lnTo>
                  <a:lnTo>
                    <a:pt x="7524" y="1229"/>
                  </a:lnTo>
                  <a:lnTo>
                    <a:pt x="7757" y="1309"/>
                  </a:lnTo>
                  <a:lnTo>
                    <a:pt x="7985" y="1399"/>
                  </a:lnTo>
                  <a:lnTo>
                    <a:pt x="8208" y="1499"/>
                  </a:lnTo>
                  <a:lnTo>
                    <a:pt x="8425" y="1610"/>
                  </a:lnTo>
                  <a:lnTo>
                    <a:pt x="8635" y="1731"/>
                  </a:lnTo>
                  <a:lnTo>
                    <a:pt x="8839" y="1862"/>
                  </a:lnTo>
                  <a:lnTo>
                    <a:pt x="9036" y="2002"/>
                  </a:lnTo>
                  <a:lnTo>
                    <a:pt x="9226" y="2151"/>
                  </a:lnTo>
                  <a:lnTo>
                    <a:pt x="9409" y="2309"/>
                  </a:lnTo>
                  <a:lnTo>
                    <a:pt x="9583" y="2475"/>
                  </a:lnTo>
                  <a:lnTo>
                    <a:pt x="9749" y="2650"/>
                  </a:lnTo>
                  <a:lnTo>
                    <a:pt x="9908" y="2832"/>
                  </a:lnTo>
                  <a:lnTo>
                    <a:pt x="10057" y="3022"/>
                  </a:lnTo>
                  <a:lnTo>
                    <a:pt x="10198" y="3219"/>
                  </a:lnTo>
                  <a:lnTo>
                    <a:pt x="10328" y="3422"/>
                  </a:lnTo>
                  <a:lnTo>
                    <a:pt x="10450" y="3632"/>
                  </a:lnTo>
                  <a:lnTo>
                    <a:pt x="10560" y="3849"/>
                  </a:lnTo>
                  <a:lnTo>
                    <a:pt x="10661" y="4071"/>
                  </a:lnTo>
                  <a:lnTo>
                    <a:pt x="10751" y="4299"/>
                  </a:lnTo>
                  <a:lnTo>
                    <a:pt x="10831" y="4532"/>
                  </a:lnTo>
                  <a:lnTo>
                    <a:pt x="10898" y="4770"/>
                  </a:lnTo>
                  <a:lnTo>
                    <a:pt x="10954" y="5012"/>
                  </a:lnTo>
                  <a:lnTo>
                    <a:pt x="10999" y="5259"/>
                  </a:lnTo>
                  <a:lnTo>
                    <a:pt x="11031" y="5510"/>
                  </a:lnTo>
                  <a:lnTo>
                    <a:pt x="11051" y="5765"/>
                  </a:lnTo>
                  <a:lnTo>
                    <a:pt x="11057" y="6023"/>
                  </a:lnTo>
                  <a:lnTo>
                    <a:pt x="11048" y="6330"/>
                  </a:lnTo>
                  <a:lnTo>
                    <a:pt x="11022" y="6639"/>
                  </a:lnTo>
                  <a:lnTo>
                    <a:pt x="10979" y="6948"/>
                  </a:lnTo>
                  <a:lnTo>
                    <a:pt x="10920" y="7259"/>
                  </a:lnTo>
                  <a:lnTo>
                    <a:pt x="10846" y="7570"/>
                  </a:lnTo>
                  <a:lnTo>
                    <a:pt x="10757" y="7881"/>
                  </a:lnTo>
                  <a:lnTo>
                    <a:pt x="10656" y="8193"/>
                  </a:lnTo>
                  <a:lnTo>
                    <a:pt x="10542" y="8504"/>
                  </a:lnTo>
                  <a:lnTo>
                    <a:pt x="10416" y="8814"/>
                  </a:lnTo>
                  <a:lnTo>
                    <a:pt x="10279" y="9122"/>
                  </a:lnTo>
                  <a:lnTo>
                    <a:pt x="10132" y="9430"/>
                  </a:lnTo>
                  <a:lnTo>
                    <a:pt x="9975" y="9735"/>
                  </a:lnTo>
                  <a:lnTo>
                    <a:pt x="9810" y="10039"/>
                  </a:lnTo>
                  <a:lnTo>
                    <a:pt x="9637" y="10340"/>
                  </a:lnTo>
                  <a:lnTo>
                    <a:pt x="9457" y="10639"/>
                  </a:lnTo>
                  <a:lnTo>
                    <a:pt x="9270" y="10934"/>
                  </a:lnTo>
                  <a:lnTo>
                    <a:pt x="9078" y="11227"/>
                  </a:lnTo>
                  <a:lnTo>
                    <a:pt x="8882" y="11516"/>
                  </a:lnTo>
                  <a:lnTo>
                    <a:pt x="8681" y="11801"/>
                  </a:lnTo>
                  <a:lnTo>
                    <a:pt x="8478" y="12081"/>
                  </a:lnTo>
                  <a:lnTo>
                    <a:pt x="8272" y="12357"/>
                  </a:lnTo>
                  <a:lnTo>
                    <a:pt x="8065" y="12628"/>
                  </a:lnTo>
                  <a:lnTo>
                    <a:pt x="7857" y="12893"/>
                  </a:lnTo>
                  <a:lnTo>
                    <a:pt x="7650" y="13154"/>
                  </a:lnTo>
                  <a:lnTo>
                    <a:pt x="7443" y="13407"/>
                  </a:lnTo>
                  <a:lnTo>
                    <a:pt x="7238" y="13655"/>
                  </a:lnTo>
                  <a:lnTo>
                    <a:pt x="7036" y="13897"/>
                  </a:lnTo>
                  <a:lnTo>
                    <a:pt x="6837" y="14132"/>
                  </a:lnTo>
                  <a:lnTo>
                    <a:pt x="6642" y="14359"/>
                  </a:lnTo>
                  <a:lnTo>
                    <a:pt x="6452" y="14579"/>
                  </a:lnTo>
                  <a:lnTo>
                    <a:pt x="6267" y="14791"/>
                  </a:lnTo>
                  <a:lnTo>
                    <a:pt x="6090" y="14996"/>
                  </a:lnTo>
                  <a:close/>
                  <a:moveTo>
                    <a:pt x="6032" y="0"/>
                  </a:moveTo>
                  <a:lnTo>
                    <a:pt x="5721" y="8"/>
                  </a:lnTo>
                  <a:lnTo>
                    <a:pt x="5415" y="31"/>
                  </a:lnTo>
                  <a:lnTo>
                    <a:pt x="5114" y="68"/>
                  </a:lnTo>
                  <a:lnTo>
                    <a:pt x="4817" y="121"/>
                  </a:lnTo>
                  <a:lnTo>
                    <a:pt x="4526" y="188"/>
                  </a:lnTo>
                  <a:lnTo>
                    <a:pt x="4239" y="268"/>
                  </a:lnTo>
                  <a:lnTo>
                    <a:pt x="3959" y="362"/>
                  </a:lnTo>
                  <a:lnTo>
                    <a:pt x="3686" y="470"/>
                  </a:lnTo>
                  <a:lnTo>
                    <a:pt x="3418" y="589"/>
                  </a:lnTo>
                  <a:lnTo>
                    <a:pt x="3159" y="722"/>
                  </a:lnTo>
                  <a:lnTo>
                    <a:pt x="2906" y="865"/>
                  </a:lnTo>
                  <a:lnTo>
                    <a:pt x="2661" y="1021"/>
                  </a:lnTo>
                  <a:lnTo>
                    <a:pt x="2424" y="1188"/>
                  </a:lnTo>
                  <a:lnTo>
                    <a:pt x="2197" y="1366"/>
                  </a:lnTo>
                  <a:lnTo>
                    <a:pt x="1978" y="1555"/>
                  </a:lnTo>
                  <a:lnTo>
                    <a:pt x="1768" y="1753"/>
                  </a:lnTo>
                  <a:lnTo>
                    <a:pt x="1569" y="1962"/>
                  </a:lnTo>
                  <a:lnTo>
                    <a:pt x="1379" y="2180"/>
                  </a:lnTo>
                  <a:lnTo>
                    <a:pt x="1200" y="2407"/>
                  </a:lnTo>
                  <a:lnTo>
                    <a:pt x="1031" y="2643"/>
                  </a:lnTo>
                  <a:lnTo>
                    <a:pt x="874" y="2887"/>
                  </a:lnTo>
                  <a:lnTo>
                    <a:pt x="729" y="3139"/>
                  </a:lnTo>
                  <a:lnTo>
                    <a:pt x="596" y="3399"/>
                  </a:lnTo>
                  <a:lnTo>
                    <a:pt x="474" y="3666"/>
                  </a:lnTo>
                  <a:lnTo>
                    <a:pt x="367" y="3940"/>
                  </a:lnTo>
                  <a:lnTo>
                    <a:pt x="271" y="4221"/>
                  </a:lnTo>
                  <a:lnTo>
                    <a:pt x="190" y="4508"/>
                  </a:lnTo>
                  <a:lnTo>
                    <a:pt x="123" y="4801"/>
                  </a:lnTo>
                  <a:lnTo>
                    <a:pt x="69" y="5099"/>
                  </a:lnTo>
                  <a:lnTo>
                    <a:pt x="31" y="5403"/>
                  </a:lnTo>
                  <a:lnTo>
                    <a:pt x="8" y="5711"/>
                  </a:lnTo>
                  <a:lnTo>
                    <a:pt x="0" y="6023"/>
                  </a:lnTo>
                  <a:lnTo>
                    <a:pt x="9" y="6352"/>
                  </a:lnTo>
                  <a:lnTo>
                    <a:pt x="34" y="6682"/>
                  </a:lnTo>
                  <a:lnTo>
                    <a:pt x="76" y="7012"/>
                  </a:lnTo>
                  <a:lnTo>
                    <a:pt x="134" y="7342"/>
                  </a:lnTo>
                  <a:lnTo>
                    <a:pt x="206" y="7671"/>
                  </a:lnTo>
                  <a:lnTo>
                    <a:pt x="292" y="8000"/>
                  </a:lnTo>
                  <a:lnTo>
                    <a:pt x="393" y="8328"/>
                  </a:lnTo>
                  <a:lnTo>
                    <a:pt x="506" y="8654"/>
                  </a:lnTo>
                  <a:lnTo>
                    <a:pt x="630" y="8980"/>
                  </a:lnTo>
                  <a:lnTo>
                    <a:pt x="767" y="9305"/>
                  </a:lnTo>
                  <a:lnTo>
                    <a:pt x="914" y="9628"/>
                  </a:lnTo>
                  <a:lnTo>
                    <a:pt x="1070" y="9948"/>
                  </a:lnTo>
                  <a:lnTo>
                    <a:pt x="1236" y="10267"/>
                  </a:lnTo>
                  <a:lnTo>
                    <a:pt x="1411" y="10583"/>
                  </a:lnTo>
                  <a:lnTo>
                    <a:pt x="1593" y="10897"/>
                  </a:lnTo>
                  <a:lnTo>
                    <a:pt x="1783" y="11208"/>
                  </a:lnTo>
                  <a:lnTo>
                    <a:pt x="1979" y="11518"/>
                  </a:lnTo>
                  <a:lnTo>
                    <a:pt x="2180" y="11823"/>
                  </a:lnTo>
                  <a:lnTo>
                    <a:pt x="2387" y="12125"/>
                  </a:lnTo>
                  <a:lnTo>
                    <a:pt x="2598" y="12423"/>
                  </a:lnTo>
                  <a:lnTo>
                    <a:pt x="2813" y="12718"/>
                  </a:lnTo>
                  <a:lnTo>
                    <a:pt x="3030" y="13009"/>
                  </a:lnTo>
                  <a:lnTo>
                    <a:pt x="3250" y="13296"/>
                  </a:lnTo>
                  <a:lnTo>
                    <a:pt x="3473" y="13578"/>
                  </a:lnTo>
                  <a:lnTo>
                    <a:pt x="3695" y="13856"/>
                  </a:lnTo>
                  <a:lnTo>
                    <a:pt x="3917" y="14129"/>
                  </a:lnTo>
                  <a:lnTo>
                    <a:pt x="4139" y="14397"/>
                  </a:lnTo>
                  <a:lnTo>
                    <a:pt x="4359" y="14659"/>
                  </a:lnTo>
                  <a:lnTo>
                    <a:pt x="4577" y="14917"/>
                  </a:lnTo>
                  <a:lnTo>
                    <a:pt x="4793" y="15169"/>
                  </a:lnTo>
                  <a:lnTo>
                    <a:pt x="5006" y="15415"/>
                  </a:lnTo>
                  <a:lnTo>
                    <a:pt x="5214" y="15655"/>
                  </a:lnTo>
                  <a:lnTo>
                    <a:pt x="5219" y="15661"/>
                  </a:lnTo>
                  <a:lnTo>
                    <a:pt x="5233" y="15675"/>
                  </a:lnTo>
                  <a:lnTo>
                    <a:pt x="5254" y="15695"/>
                  </a:lnTo>
                  <a:lnTo>
                    <a:pt x="5281" y="15722"/>
                  </a:lnTo>
                  <a:lnTo>
                    <a:pt x="5315" y="15752"/>
                  </a:lnTo>
                  <a:lnTo>
                    <a:pt x="5355" y="15786"/>
                  </a:lnTo>
                  <a:lnTo>
                    <a:pt x="5377" y="15804"/>
                  </a:lnTo>
                  <a:lnTo>
                    <a:pt x="5401" y="15822"/>
                  </a:lnTo>
                  <a:lnTo>
                    <a:pt x="5426" y="15841"/>
                  </a:lnTo>
                  <a:lnTo>
                    <a:pt x="5453" y="15860"/>
                  </a:lnTo>
                  <a:lnTo>
                    <a:pt x="5480" y="15878"/>
                  </a:lnTo>
                  <a:lnTo>
                    <a:pt x="5509" y="15897"/>
                  </a:lnTo>
                  <a:lnTo>
                    <a:pt x="5539" y="15915"/>
                  </a:lnTo>
                  <a:lnTo>
                    <a:pt x="5570" y="15933"/>
                  </a:lnTo>
                  <a:lnTo>
                    <a:pt x="5602" y="15950"/>
                  </a:lnTo>
                  <a:lnTo>
                    <a:pt x="5635" y="15967"/>
                  </a:lnTo>
                  <a:lnTo>
                    <a:pt x="5670" y="15982"/>
                  </a:lnTo>
                  <a:lnTo>
                    <a:pt x="5705" y="15997"/>
                  </a:lnTo>
                  <a:lnTo>
                    <a:pt x="5740" y="16010"/>
                  </a:lnTo>
                  <a:lnTo>
                    <a:pt x="5777" y="16022"/>
                  </a:lnTo>
                  <a:lnTo>
                    <a:pt x="5814" y="16032"/>
                  </a:lnTo>
                  <a:lnTo>
                    <a:pt x="5853" y="16041"/>
                  </a:lnTo>
                  <a:lnTo>
                    <a:pt x="5892" y="16048"/>
                  </a:lnTo>
                  <a:lnTo>
                    <a:pt x="5931" y="16054"/>
                  </a:lnTo>
                  <a:lnTo>
                    <a:pt x="5971" y="16057"/>
                  </a:lnTo>
                  <a:lnTo>
                    <a:pt x="6011" y="16058"/>
                  </a:lnTo>
                  <a:lnTo>
                    <a:pt x="6051" y="16058"/>
                  </a:lnTo>
                  <a:lnTo>
                    <a:pt x="6091" y="16057"/>
                  </a:lnTo>
                  <a:lnTo>
                    <a:pt x="6131" y="16054"/>
                  </a:lnTo>
                  <a:lnTo>
                    <a:pt x="6170" y="16048"/>
                  </a:lnTo>
                  <a:lnTo>
                    <a:pt x="6209" y="16041"/>
                  </a:lnTo>
                  <a:lnTo>
                    <a:pt x="6248" y="16032"/>
                  </a:lnTo>
                  <a:lnTo>
                    <a:pt x="6285" y="16022"/>
                  </a:lnTo>
                  <a:lnTo>
                    <a:pt x="6322" y="16010"/>
                  </a:lnTo>
                  <a:lnTo>
                    <a:pt x="6357" y="15997"/>
                  </a:lnTo>
                  <a:lnTo>
                    <a:pt x="6392" y="15982"/>
                  </a:lnTo>
                  <a:lnTo>
                    <a:pt x="6427" y="15967"/>
                  </a:lnTo>
                  <a:lnTo>
                    <a:pt x="6460" y="15950"/>
                  </a:lnTo>
                  <a:lnTo>
                    <a:pt x="6492" y="15933"/>
                  </a:lnTo>
                  <a:lnTo>
                    <a:pt x="6523" y="15915"/>
                  </a:lnTo>
                  <a:lnTo>
                    <a:pt x="6553" y="15897"/>
                  </a:lnTo>
                  <a:lnTo>
                    <a:pt x="6581" y="15878"/>
                  </a:lnTo>
                  <a:lnTo>
                    <a:pt x="6609" y="15860"/>
                  </a:lnTo>
                  <a:lnTo>
                    <a:pt x="6636" y="15841"/>
                  </a:lnTo>
                  <a:lnTo>
                    <a:pt x="6661" y="15822"/>
                  </a:lnTo>
                  <a:lnTo>
                    <a:pt x="6684" y="15804"/>
                  </a:lnTo>
                  <a:lnTo>
                    <a:pt x="6707" y="15786"/>
                  </a:lnTo>
                  <a:lnTo>
                    <a:pt x="6747" y="15752"/>
                  </a:lnTo>
                  <a:lnTo>
                    <a:pt x="6780" y="15722"/>
                  </a:lnTo>
                  <a:lnTo>
                    <a:pt x="6808" y="15695"/>
                  </a:lnTo>
                  <a:lnTo>
                    <a:pt x="6829" y="15675"/>
                  </a:lnTo>
                  <a:lnTo>
                    <a:pt x="6842" y="15661"/>
                  </a:lnTo>
                  <a:lnTo>
                    <a:pt x="6848" y="15655"/>
                  </a:lnTo>
                  <a:lnTo>
                    <a:pt x="7056" y="15415"/>
                  </a:lnTo>
                  <a:lnTo>
                    <a:pt x="7269" y="15169"/>
                  </a:lnTo>
                  <a:lnTo>
                    <a:pt x="7485" y="14917"/>
                  </a:lnTo>
                  <a:lnTo>
                    <a:pt x="7703" y="14659"/>
                  </a:lnTo>
                  <a:lnTo>
                    <a:pt x="7924" y="14397"/>
                  </a:lnTo>
                  <a:lnTo>
                    <a:pt x="8145" y="14129"/>
                  </a:lnTo>
                  <a:lnTo>
                    <a:pt x="8368" y="13856"/>
                  </a:lnTo>
                  <a:lnTo>
                    <a:pt x="8590" y="13578"/>
                  </a:lnTo>
                  <a:lnTo>
                    <a:pt x="8812" y="13296"/>
                  </a:lnTo>
                  <a:lnTo>
                    <a:pt x="9032" y="13009"/>
                  </a:lnTo>
                  <a:lnTo>
                    <a:pt x="9249" y="12718"/>
                  </a:lnTo>
                  <a:lnTo>
                    <a:pt x="9464" y="12423"/>
                  </a:lnTo>
                  <a:lnTo>
                    <a:pt x="9675" y="12125"/>
                  </a:lnTo>
                  <a:lnTo>
                    <a:pt x="9882" y="11823"/>
                  </a:lnTo>
                  <a:lnTo>
                    <a:pt x="10084" y="11518"/>
                  </a:lnTo>
                  <a:lnTo>
                    <a:pt x="10280" y="11208"/>
                  </a:lnTo>
                  <a:lnTo>
                    <a:pt x="10469" y="10897"/>
                  </a:lnTo>
                  <a:lnTo>
                    <a:pt x="10652" y="10583"/>
                  </a:lnTo>
                  <a:lnTo>
                    <a:pt x="10826" y="10267"/>
                  </a:lnTo>
                  <a:lnTo>
                    <a:pt x="10992" y="9948"/>
                  </a:lnTo>
                  <a:lnTo>
                    <a:pt x="11148" y="9628"/>
                  </a:lnTo>
                  <a:lnTo>
                    <a:pt x="11295" y="9305"/>
                  </a:lnTo>
                  <a:lnTo>
                    <a:pt x="11432" y="8980"/>
                  </a:lnTo>
                  <a:lnTo>
                    <a:pt x="11556" y="8654"/>
                  </a:lnTo>
                  <a:lnTo>
                    <a:pt x="11669" y="8328"/>
                  </a:lnTo>
                  <a:lnTo>
                    <a:pt x="11770" y="8000"/>
                  </a:lnTo>
                  <a:lnTo>
                    <a:pt x="11856" y="7671"/>
                  </a:lnTo>
                  <a:lnTo>
                    <a:pt x="11928" y="7342"/>
                  </a:lnTo>
                  <a:lnTo>
                    <a:pt x="11986" y="7012"/>
                  </a:lnTo>
                  <a:lnTo>
                    <a:pt x="12028" y="6682"/>
                  </a:lnTo>
                  <a:lnTo>
                    <a:pt x="12053" y="6352"/>
                  </a:lnTo>
                  <a:lnTo>
                    <a:pt x="12062" y="6023"/>
                  </a:lnTo>
                  <a:lnTo>
                    <a:pt x="12054" y="5711"/>
                  </a:lnTo>
                  <a:lnTo>
                    <a:pt x="12031" y="5403"/>
                  </a:lnTo>
                  <a:lnTo>
                    <a:pt x="11993" y="5099"/>
                  </a:lnTo>
                  <a:lnTo>
                    <a:pt x="11939" y="4801"/>
                  </a:lnTo>
                  <a:lnTo>
                    <a:pt x="11872" y="4508"/>
                  </a:lnTo>
                  <a:lnTo>
                    <a:pt x="11791" y="4221"/>
                  </a:lnTo>
                  <a:lnTo>
                    <a:pt x="11695" y="3940"/>
                  </a:lnTo>
                  <a:lnTo>
                    <a:pt x="11588" y="3666"/>
                  </a:lnTo>
                  <a:lnTo>
                    <a:pt x="11466" y="3399"/>
                  </a:lnTo>
                  <a:lnTo>
                    <a:pt x="11333" y="3139"/>
                  </a:lnTo>
                  <a:lnTo>
                    <a:pt x="11188" y="2887"/>
                  </a:lnTo>
                  <a:lnTo>
                    <a:pt x="11031" y="2643"/>
                  </a:lnTo>
                  <a:lnTo>
                    <a:pt x="10862" y="2407"/>
                  </a:lnTo>
                  <a:lnTo>
                    <a:pt x="10683" y="2180"/>
                  </a:lnTo>
                  <a:lnTo>
                    <a:pt x="10493" y="1962"/>
                  </a:lnTo>
                  <a:lnTo>
                    <a:pt x="10294" y="1753"/>
                  </a:lnTo>
                  <a:lnTo>
                    <a:pt x="10084" y="1555"/>
                  </a:lnTo>
                  <a:lnTo>
                    <a:pt x="9865" y="1366"/>
                  </a:lnTo>
                  <a:lnTo>
                    <a:pt x="9638" y="1188"/>
                  </a:lnTo>
                  <a:lnTo>
                    <a:pt x="9401" y="1021"/>
                  </a:lnTo>
                  <a:lnTo>
                    <a:pt x="9156" y="865"/>
                  </a:lnTo>
                  <a:lnTo>
                    <a:pt x="8903" y="722"/>
                  </a:lnTo>
                  <a:lnTo>
                    <a:pt x="8644" y="589"/>
                  </a:lnTo>
                  <a:lnTo>
                    <a:pt x="8376" y="470"/>
                  </a:lnTo>
                  <a:lnTo>
                    <a:pt x="8103" y="362"/>
                  </a:lnTo>
                  <a:lnTo>
                    <a:pt x="7823" y="268"/>
                  </a:lnTo>
                  <a:lnTo>
                    <a:pt x="7536" y="188"/>
                  </a:lnTo>
                  <a:lnTo>
                    <a:pt x="7245" y="121"/>
                  </a:lnTo>
                  <a:lnTo>
                    <a:pt x="6948" y="68"/>
                  </a:lnTo>
                  <a:lnTo>
                    <a:pt x="6647" y="31"/>
                  </a:lnTo>
                  <a:lnTo>
                    <a:pt x="6341" y="8"/>
                  </a:lnTo>
                  <a:lnTo>
                    <a:pt x="60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64" name="iṩ1ide">
              <a:extLst>
                <a:ext uri="{FF2B5EF4-FFF2-40B4-BE49-F238E27FC236}">
                  <a16:creationId xmlns:a16="http://schemas.microsoft.com/office/drawing/2014/main" id="{782F683E-79F3-429B-BD77-DBAD015498C8}"/>
                </a:ext>
              </a:extLst>
            </p:cNvPr>
            <p:cNvSpPr/>
            <p:nvPr/>
          </p:nvSpPr>
          <p:spPr bwMode="auto">
            <a:xfrm>
              <a:off x="9992589" y="499752"/>
              <a:ext cx="323916" cy="345350"/>
            </a:xfrm>
            <a:custGeom>
              <a:avLst/>
              <a:gdLst>
                <a:gd name="T0" fmla="*/ 14069 w 15096"/>
                <a:gd name="T1" fmla="*/ 14285 h 16095"/>
                <a:gd name="T2" fmla="*/ 13990 w 15096"/>
                <a:gd name="T3" fmla="*/ 14519 h 16095"/>
                <a:gd name="T4" fmla="*/ 13859 w 15096"/>
                <a:gd name="T5" fmla="*/ 14723 h 16095"/>
                <a:gd name="T6" fmla="*/ 13685 w 15096"/>
                <a:gd name="T7" fmla="*/ 14889 h 16095"/>
                <a:gd name="T8" fmla="*/ 13475 w 15096"/>
                <a:gd name="T9" fmla="*/ 15010 h 16095"/>
                <a:gd name="T10" fmla="*/ 13236 w 15096"/>
                <a:gd name="T11" fmla="*/ 15077 h 16095"/>
                <a:gd name="T12" fmla="*/ 1961 w 15096"/>
                <a:gd name="T13" fmla="*/ 15088 h 16095"/>
                <a:gd name="T14" fmla="*/ 1714 w 15096"/>
                <a:gd name="T15" fmla="*/ 15044 h 16095"/>
                <a:gd name="T16" fmla="*/ 1491 w 15096"/>
                <a:gd name="T17" fmla="*/ 14943 h 16095"/>
                <a:gd name="T18" fmla="*/ 1301 w 15096"/>
                <a:gd name="T19" fmla="*/ 14794 h 16095"/>
                <a:gd name="T20" fmla="*/ 1152 w 15096"/>
                <a:gd name="T21" fmla="*/ 14604 h 16095"/>
                <a:gd name="T22" fmla="*/ 1052 w 15096"/>
                <a:gd name="T23" fmla="*/ 14382 h 16095"/>
                <a:gd name="T24" fmla="*/ 1007 w 15096"/>
                <a:gd name="T25" fmla="*/ 14134 h 16095"/>
                <a:gd name="T26" fmla="*/ 1018 w 15096"/>
                <a:gd name="T27" fmla="*/ 1859 h 16095"/>
                <a:gd name="T28" fmla="*/ 1086 w 15096"/>
                <a:gd name="T29" fmla="*/ 1621 h 16095"/>
                <a:gd name="T30" fmla="*/ 1207 w 15096"/>
                <a:gd name="T31" fmla="*/ 1410 h 16095"/>
                <a:gd name="T32" fmla="*/ 1373 w 15096"/>
                <a:gd name="T33" fmla="*/ 1236 h 16095"/>
                <a:gd name="T34" fmla="*/ 1577 w 15096"/>
                <a:gd name="T35" fmla="*/ 1106 h 16095"/>
                <a:gd name="T36" fmla="*/ 1811 w 15096"/>
                <a:gd name="T37" fmla="*/ 1026 h 16095"/>
                <a:gd name="T38" fmla="*/ 13083 w 15096"/>
                <a:gd name="T39" fmla="*/ 1006 h 16095"/>
                <a:gd name="T40" fmla="*/ 13335 w 15096"/>
                <a:gd name="T41" fmla="*/ 1038 h 16095"/>
                <a:gd name="T42" fmla="*/ 13562 w 15096"/>
                <a:gd name="T43" fmla="*/ 1128 h 16095"/>
                <a:gd name="T44" fmla="*/ 13760 w 15096"/>
                <a:gd name="T45" fmla="*/ 1267 h 16095"/>
                <a:gd name="T46" fmla="*/ 13918 w 15096"/>
                <a:gd name="T47" fmla="*/ 1450 h 16095"/>
                <a:gd name="T48" fmla="*/ 14028 w 15096"/>
                <a:gd name="T49" fmla="*/ 1667 h 16095"/>
                <a:gd name="T50" fmla="*/ 14085 w 15096"/>
                <a:gd name="T51" fmla="*/ 1909 h 16095"/>
                <a:gd name="T52" fmla="*/ 2013 w 15096"/>
                <a:gd name="T53" fmla="*/ 0 h 16095"/>
                <a:gd name="T54" fmla="*/ 1510 w 15096"/>
                <a:gd name="T55" fmla="*/ 63 h 16095"/>
                <a:gd name="T56" fmla="*/ 1054 w 15096"/>
                <a:gd name="T57" fmla="*/ 242 h 16095"/>
                <a:gd name="T58" fmla="*/ 659 w 15096"/>
                <a:gd name="T59" fmla="*/ 523 h 16095"/>
                <a:gd name="T60" fmla="*/ 344 w 15096"/>
                <a:gd name="T61" fmla="*/ 887 h 16095"/>
                <a:gd name="T62" fmla="*/ 122 w 15096"/>
                <a:gd name="T63" fmla="*/ 1320 h 16095"/>
                <a:gd name="T64" fmla="*/ 10 w 15096"/>
                <a:gd name="T65" fmla="*/ 1807 h 16095"/>
                <a:gd name="T66" fmla="*/ 10 w 15096"/>
                <a:gd name="T67" fmla="*/ 14289 h 16095"/>
                <a:gd name="T68" fmla="*/ 122 w 15096"/>
                <a:gd name="T69" fmla="*/ 14775 h 16095"/>
                <a:gd name="T70" fmla="*/ 344 w 15096"/>
                <a:gd name="T71" fmla="*/ 15208 h 16095"/>
                <a:gd name="T72" fmla="*/ 659 w 15096"/>
                <a:gd name="T73" fmla="*/ 15572 h 16095"/>
                <a:gd name="T74" fmla="*/ 1054 w 15096"/>
                <a:gd name="T75" fmla="*/ 15853 h 16095"/>
                <a:gd name="T76" fmla="*/ 1510 w 15096"/>
                <a:gd name="T77" fmla="*/ 16032 h 16095"/>
                <a:gd name="T78" fmla="*/ 2013 w 15096"/>
                <a:gd name="T79" fmla="*/ 16095 h 16095"/>
                <a:gd name="T80" fmla="*/ 13489 w 15096"/>
                <a:gd name="T81" fmla="*/ 16054 h 16095"/>
                <a:gd name="T82" fmla="*/ 13956 w 15096"/>
                <a:gd name="T83" fmla="*/ 15897 h 16095"/>
                <a:gd name="T84" fmla="*/ 14363 w 15096"/>
                <a:gd name="T85" fmla="*/ 15635 h 16095"/>
                <a:gd name="T86" fmla="*/ 14696 w 15096"/>
                <a:gd name="T87" fmla="*/ 15287 h 16095"/>
                <a:gd name="T88" fmla="*/ 14938 w 15096"/>
                <a:gd name="T89" fmla="*/ 14867 h 16095"/>
                <a:gd name="T90" fmla="*/ 15073 w 15096"/>
                <a:gd name="T91" fmla="*/ 14390 h 16095"/>
                <a:gd name="T92" fmla="*/ 15093 w 15096"/>
                <a:gd name="T93" fmla="*/ 1908 h 16095"/>
                <a:gd name="T94" fmla="*/ 15005 w 15096"/>
                <a:gd name="T95" fmla="*/ 1413 h 16095"/>
                <a:gd name="T96" fmla="*/ 14804 w 15096"/>
                <a:gd name="T97" fmla="*/ 969 h 16095"/>
                <a:gd name="T98" fmla="*/ 14506 w 15096"/>
                <a:gd name="T99" fmla="*/ 589 h 16095"/>
                <a:gd name="T100" fmla="*/ 14127 w 15096"/>
                <a:gd name="T101" fmla="*/ 292 h 16095"/>
                <a:gd name="T102" fmla="*/ 13682 w 15096"/>
                <a:gd name="T103" fmla="*/ 91 h 16095"/>
                <a:gd name="T104" fmla="*/ 13187 w 15096"/>
                <a:gd name="T105" fmla="*/ 3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096" h="16095">
                  <a:moveTo>
                    <a:pt x="14090" y="14083"/>
                  </a:moveTo>
                  <a:lnTo>
                    <a:pt x="14089" y="14134"/>
                  </a:lnTo>
                  <a:lnTo>
                    <a:pt x="14085" y="14186"/>
                  </a:lnTo>
                  <a:lnTo>
                    <a:pt x="14079" y="14236"/>
                  </a:lnTo>
                  <a:lnTo>
                    <a:pt x="14069" y="14285"/>
                  </a:lnTo>
                  <a:lnTo>
                    <a:pt x="14058" y="14334"/>
                  </a:lnTo>
                  <a:lnTo>
                    <a:pt x="14044" y="14382"/>
                  </a:lnTo>
                  <a:lnTo>
                    <a:pt x="14028" y="14428"/>
                  </a:lnTo>
                  <a:lnTo>
                    <a:pt x="14010" y="14474"/>
                  </a:lnTo>
                  <a:lnTo>
                    <a:pt x="13990" y="14519"/>
                  </a:lnTo>
                  <a:lnTo>
                    <a:pt x="13968" y="14562"/>
                  </a:lnTo>
                  <a:lnTo>
                    <a:pt x="13944" y="14604"/>
                  </a:lnTo>
                  <a:lnTo>
                    <a:pt x="13918" y="14645"/>
                  </a:lnTo>
                  <a:lnTo>
                    <a:pt x="13889" y="14685"/>
                  </a:lnTo>
                  <a:lnTo>
                    <a:pt x="13859" y="14723"/>
                  </a:lnTo>
                  <a:lnTo>
                    <a:pt x="13828" y="14759"/>
                  </a:lnTo>
                  <a:lnTo>
                    <a:pt x="13795" y="14794"/>
                  </a:lnTo>
                  <a:lnTo>
                    <a:pt x="13760" y="14828"/>
                  </a:lnTo>
                  <a:lnTo>
                    <a:pt x="13723" y="14859"/>
                  </a:lnTo>
                  <a:lnTo>
                    <a:pt x="13685" y="14889"/>
                  </a:lnTo>
                  <a:lnTo>
                    <a:pt x="13646" y="14917"/>
                  </a:lnTo>
                  <a:lnTo>
                    <a:pt x="13605" y="14943"/>
                  </a:lnTo>
                  <a:lnTo>
                    <a:pt x="13562" y="14967"/>
                  </a:lnTo>
                  <a:lnTo>
                    <a:pt x="13519" y="14989"/>
                  </a:lnTo>
                  <a:lnTo>
                    <a:pt x="13475" y="15010"/>
                  </a:lnTo>
                  <a:lnTo>
                    <a:pt x="13428" y="15028"/>
                  </a:lnTo>
                  <a:lnTo>
                    <a:pt x="13382" y="15044"/>
                  </a:lnTo>
                  <a:lnTo>
                    <a:pt x="13335" y="15057"/>
                  </a:lnTo>
                  <a:lnTo>
                    <a:pt x="13285" y="15069"/>
                  </a:lnTo>
                  <a:lnTo>
                    <a:pt x="13236" y="15077"/>
                  </a:lnTo>
                  <a:lnTo>
                    <a:pt x="13186" y="15084"/>
                  </a:lnTo>
                  <a:lnTo>
                    <a:pt x="13135" y="15088"/>
                  </a:lnTo>
                  <a:lnTo>
                    <a:pt x="13083" y="15089"/>
                  </a:lnTo>
                  <a:lnTo>
                    <a:pt x="2013" y="15089"/>
                  </a:lnTo>
                  <a:lnTo>
                    <a:pt x="1961" y="15088"/>
                  </a:lnTo>
                  <a:lnTo>
                    <a:pt x="1910" y="15084"/>
                  </a:lnTo>
                  <a:lnTo>
                    <a:pt x="1860" y="15077"/>
                  </a:lnTo>
                  <a:lnTo>
                    <a:pt x="1811" y="15069"/>
                  </a:lnTo>
                  <a:lnTo>
                    <a:pt x="1761" y="15057"/>
                  </a:lnTo>
                  <a:lnTo>
                    <a:pt x="1714" y="15044"/>
                  </a:lnTo>
                  <a:lnTo>
                    <a:pt x="1667" y="15028"/>
                  </a:lnTo>
                  <a:lnTo>
                    <a:pt x="1621" y="15010"/>
                  </a:lnTo>
                  <a:lnTo>
                    <a:pt x="1577" y="14989"/>
                  </a:lnTo>
                  <a:lnTo>
                    <a:pt x="1534" y="14967"/>
                  </a:lnTo>
                  <a:lnTo>
                    <a:pt x="1491" y="14943"/>
                  </a:lnTo>
                  <a:lnTo>
                    <a:pt x="1450" y="14917"/>
                  </a:lnTo>
                  <a:lnTo>
                    <a:pt x="1411" y="14889"/>
                  </a:lnTo>
                  <a:lnTo>
                    <a:pt x="1373" y="14859"/>
                  </a:lnTo>
                  <a:lnTo>
                    <a:pt x="1336" y="14828"/>
                  </a:lnTo>
                  <a:lnTo>
                    <a:pt x="1301" y="14794"/>
                  </a:lnTo>
                  <a:lnTo>
                    <a:pt x="1268" y="14759"/>
                  </a:lnTo>
                  <a:lnTo>
                    <a:pt x="1237" y="14723"/>
                  </a:lnTo>
                  <a:lnTo>
                    <a:pt x="1207" y="14685"/>
                  </a:lnTo>
                  <a:lnTo>
                    <a:pt x="1178" y="14645"/>
                  </a:lnTo>
                  <a:lnTo>
                    <a:pt x="1152" y="14604"/>
                  </a:lnTo>
                  <a:lnTo>
                    <a:pt x="1128" y="14562"/>
                  </a:lnTo>
                  <a:lnTo>
                    <a:pt x="1106" y="14519"/>
                  </a:lnTo>
                  <a:lnTo>
                    <a:pt x="1086" y="14474"/>
                  </a:lnTo>
                  <a:lnTo>
                    <a:pt x="1068" y="14428"/>
                  </a:lnTo>
                  <a:lnTo>
                    <a:pt x="1052" y="14382"/>
                  </a:lnTo>
                  <a:lnTo>
                    <a:pt x="1039" y="14334"/>
                  </a:lnTo>
                  <a:lnTo>
                    <a:pt x="1027" y="14285"/>
                  </a:lnTo>
                  <a:lnTo>
                    <a:pt x="1018" y="14236"/>
                  </a:lnTo>
                  <a:lnTo>
                    <a:pt x="1011" y="14186"/>
                  </a:lnTo>
                  <a:lnTo>
                    <a:pt x="1007" y="14134"/>
                  </a:lnTo>
                  <a:lnTo>
                    <a:pt x="1006" y="14083"/>
                  </a:lnTo>
                  <a:lnTo>
                    <a:pt x="1006" y="2012"/>
                  </a:lnTo>
                  <a:lnTo>
                    <a:pt x="1007" y="1961"/>
                  </a:lnTo>
                  <a:lnTo>
                    <a:pt x="1011" y="1909"/>
                  </a:lnTo>
                  <a:lnTo>
                    <a:pt x="1018" y="1859"/>
                  </a:lnTo>
                  <a:lnTo>
                    <a:pt x="1027" y="1810"/>
                  </a:lnTo>
                  <a:lnTo>
                    <a:pt x="1039" y="1760"/>
                  </a:lnTo>
                  <a:lnTo>
                    <a:pt x="1052" y="1713"/>
                  </a:lnTo>
                  <a:lnTo>
                    <a:pt x="1068" y="1667"/>
                  </a:lnTo>
                  <a:lnTo>
                    <a:pt x="1086" y="1621"/>
                  </a:lnTo>
                  <a:lnTo>
                    <a:pt x="1106" y="1576"/>
                  </a:lnTo>
                  <a:lnTo>
                    <a:pt x="1128" y="1533"/>
                  </a:lnTo>
                  <a:lnTo>
                    <a:pt x="1152" y="1491"/>
                  </a:lnTo>
                  <a:lnTo>
                    <a:pt x="1178" y="1450"/>
                  </a:lnTo>
                  <a:lnTo>
                    <a:pt x="1207" y="1410"/>
                  </a:lnTo>
                  <a:lnTo>
                    <a:pt x="1237" y="1372"/>
                  </a:lnTo>
                  <a:lnTo>
                    <a:pt x="1268" y="1336"/>
                  </a:lnTo>
                  <a:lnTo>
                    <a:pt x="1301" y="1301"/>
                  </a:lnTo>
                  <a:lnTo>
                    <a:pt x="1336" y="1267"/>
                  </a:lnTo>
                  <a:lnTo>
                    <a:pt x="1373" y="1236"/>
                  </a:lnTo>
                  <a:lnTo>
                    <a:pt x="1411" y="1206"/>
                  </a:lnTo>
                  <a:lnTo>
                    <a:pt x="1450" y="1178"/>
                  </a:lnTo>
                  <a:lnTo>
                    <a:pt x="1491" y="1152"/>
                  </a:lnTo>
                  <a:lnTo>
                    <a:pt x="1534" y="1128"/>
                  </a:lnTo>
                  <a:lnTo>
                    <a:pt x="1577" y="1106"/>
                  </a:lnTo>
                  <a:lnTo>
                    <a:pt x="1621" y="1085"/>
                  </a:lnTo>
                  <a:lnTo>
                    <a:pt x="1667" y="1067"/>
                  </a:lnTo>
                  <a:lnTo>
                    <a:pt x="1714" y="1051"/>
                  </a:lnTo>
                  <a:lnTo>
                    <a:pt x="1761" y="1038"/>
                  </a:lnTo>
                  <a:lnTo>
                    <a:pt x="1811" y="1026"/>
                  </a:lnTo>
                  <a:lnTo>
                    <a:pt x="1860" y="1018"/>
                  </a:lnTo>
                  <a:lnTo>
                    <a:pt x="1910" y="1011"/>
                  </a:lnTo>
                  <a:lnTo>
                    <a:pt x="1961" y="1007"/>
                  </a:lnTo>
                  <a:lnTo>
                    <a:pt x="2013" y="1006"/>
                  </a:lnTo>
                  <a:lnTo>
                    <a:pt x="13083" y="1006"/>
                  </a:lnTo>
                  <a:lnTo>
                    <a:pt x="13135" y="1007"/>
                  </a:lnTo>
                  <a:lnTo>
                    <a:pt x="13186" y="1011"/>
                  </a:lnTo>
                  <a:lnTo>
                    <a:pt x="13236" y="1018"/>
                  </a:lnTo>
                  <a:lnTo>
                    <a:pt x="13285" y="1026"/>
                  </a:lnTo>
                  <a:lnTo>
                    <a:pt x="13335" y="1038"/>
                  </a:lnTo>
                  <a:lnTo>
                    <a:pt x="13382" y="1051"/>
                  </a:lnTo>
                  <a:lnTo>
                    <a:pt x="13428" y="1067"/>
                  </a:lnTo>
                  <a:lnTo>
                    <a:pt x="13475" y="1085"/>
                  </a:lnTo>
                  <a:lnTo>
                    <a:pt x="13519" y="1106"/>
                  </a:lnTo>
                  <a:lnTo>
                    <a:pt x="13562" y="1128"/>
                  </a:lnTo>
                  <a:lnTo>
                    <a:pt x="13605" y="1152"/>
                  </a:lnTo>
                  <a:lnTo>
                    <a:pt x="13646" y="1178"/>
                  </a:lnTo>
                  <a:lnTo>
                    <a:pt x="13685" y="1206"/>
                  </a:lnTo>
                  <a:lnTo>
                    <a:pt x="13723" y="1236"/>
                  </a:lnTo>
                  <a:lnTo>
                    <a:pt x="13760" y="1267"/>
                  </a:lnTo>
                  <a:lnTo>
                    <a:pt x="13795" y="1301"/>
                  </a:lnTo>
                  <a:lnTo>
                    <a:pt x="13828" y="1336"/>
                  </a:lnTo>
                  <a:lnTo>
                    <a:pt x="13859" y="1372"/>
                  </a:lnTo>
                  <a:lnTo>
                    <a:pt x="13889" y="1410"/>
                  </a:lnTo>
                  <a:lnTo>
                    <a:pt x="13918" y="1450"/>
                  </a:lnTo>
                  <a:lnTo>
                    <a:pt x="13944" y="1491"/>
                  </a:lnTo>
                  <a:lnTo>
                    <a:pt x="13968" y="1533"/>
                  </a:lnTo>
                  <a:lnTo>
                    <a:pt x="13990" y="1576"/>
                  </a:lnTo>
                  <a:lnTo>
                    <a:pt x="14010" y="1621"/>
                  </a:lnTo>
                  <a:lnTo>
                    <a:pt x="14028" y="1667"/>
                  </a:lnTo>
                  <a:lnTo>
                    <a:pt x="14044" y="1713"/>
                  </a:lnTo>
                  <a:lnTo>
                    <a:pt x="14058" y="1760"/>
                  </a:lnTo>
                  <a:lnTo>
                    <a:pt x="14069" y="1810"/>
                  </a:lnTo>
                  <a:lnTo>
                    <a:pt x="14079" y="1859"/>
                  </a:lnTo>
                  <a:lnTo>
                    <a:pt x="14085" y="1909"/>
                  </a:lnTo>
                  <a:lnTo>
                    <a:pt x="14089" y="1961"/>
                  </a:lnTo>
                  <a:lnTo>
                    <a:pt x="14090" y="2012"/>
                  </a:lnTo>
                  <a:lnTo>
                    <a:pt x="14090" y="14083"/>
                  </a:lnTo>
                  <a:close/>
                  <a:moveTo>
                    <a:pt x="13083" y="0"/>
                  </a:moveTo>
                  <a:lnTo>
                    <a:pt x="2013" y="0"/>
                  </a:lnTo>
                  <a:lnTo>
                    <a:pt x="1909" y="3"/>
                  </a:lnTo>
                  <a:lnTo>
                    <a:pt x="1806" y="10"/>
                  </a:lnTo>
                  <a:lnTo>
                    <a:pt x="1706" y="23"/>
                  </a:lnTo>
                  <a:lnTo>
                    <a:pt x="1607" y="41"/>
                  </a:lnTo>
                  <a:lnTo>
                    <a:pt x="1510" y="63"/>
                  </a:lnTo>
                  <a:lnTo>
                    <a:pt x="1414" y="91"/>
                  </a:lnTo>
                  <a:lnTo>
                    <a:pt x="1320" y="122"/>
                  </a:lnTo>
                  <a:lnTo>
                    <a:pt x="1229" y="158"/>
                  </a:lnTo>
                  <a:lnTo>
                    <a:pt x="1140" y="198"/>
                  </a:lnTo>
                  <a:lnTo>
                    <a:pt x="1054" y="242"/>
                  </a:lnTo>
                  <a:lnTo>
                    <a:pt x="969" y="292"/>
                  </a:lnTo>
                  <a:lnTo>
                    <a:pt x="888" y="344"/>
                  </a:lnTo>
                  <a:lnTo>
                    <a:pt x="808" y="399"/>
                  </a:lnTo>
                  <a:lnTo>
                    <a:pt x="733" y="460"/>
                  </a:lnTo>
                  <a:lnTo>
                    <a:pt x="659" y="523"/>
                  </a:lnTo>
                  <a:lnTo>
                    <a:pt x="590" y="589"/>
                  </a:lnTo>
                  <a:lnTo>
                    <a:pt x="523" y="659"/>
                  </a:lnTo>
                  <a:lnTo>
                    <a:pt x="460" y="732"/>
                  </a:lnTo>
                  <a:lnTo>
                    <a:pt x="400" y="808"/>
                  </a:lnTo>
                  <a:lnTo>
                    <a:pt x="344" y="887"/>
                  </a:lnTo>
                  <a:lnTo>
                    <a:pt x="292" y="969"/>
                  </a:lnTo>
                  <a:lnTo>
                    <a:pt x="243" y="1053"/>
                  </a:lnTo>
                  <a:lnTo>
                    <a:pt x="198" y="1140"/>
                  </a:lnTo>
                  <a:lnTo>
                    <a:pt x="158" y="1229"/>
                  </a:lnTo>
                  <a:lnTo>
                    <a:pt x="122" y="1320"/>
                  </a:lnTo>
                  <a:lnTo>
                    <a:pt x="91" y="1413"/>
                  </a:lnTo>
                  <a:lnTo>
                    <a:pt x="63" y="1509"/>
                  </a:lnTo>
                  <a:lnTo>
                    <a:pt x="41" y="1606"/>
                  </a:lnTo>
                  <a:lnTo>
                    <a:pt x="23" y="1705"/>
                  </a:lnTo>
                  <a:lnTo>
                    <a:pt x="10" y="1807"/>
                  </a:lnTo>
                  <a:lnTo>
                    <a:pt x="3" y="1908"/>
                  </a:lnTo>
                  <a:lnTo>
                    <a:pt x="0" y="2012"/>
                  </a:lnTo>
                  <a:lnTo>
                    <a:pt x="0" y="14083"/>
                  </a:lnTo>
                  <a:lnTo>
                    <a:pt x="3" y="14187"/>
                  </a:lnTo>
                  <a:lnTo>
                    <a:pt x="10" y="14289"/>
                  </a:lnTo>
                  <a:lnTo>
                    <a:pt x="23" y="14390"/>
                  </a:lnTo>
                  <a:lnTo>
                    <a:pt x="41" y="14489"/>
                  </a:lnTo>
                  <a:lnTo>
                    <a:pt x="63" y="14586"/>
                  </a:lnTo>
                  <a:lnTo>
                    <a:pt x="91" y="14682"/>
                  </a:lnTo>
                  <a:lnTo>
                    <a:pt x="122" y="14775"/>
                  </a:lnTo>
                  <a:lnTo>
                    <a:pt x="158" y="14867"/>
                  </a:lnTo>
                  <a:lnTo>
                    <a:pt x="198" y="14955"/>
                  </a:lnTo>
                  <a:lnTo>
                    <a:pt x="243" y="15042"/>
                  </a:lnTo>
                  <a:lnTo>
                    <a:pt x="292" y="15126"/>
                  </a:lnTo>
                  <a:lnTo>
                    <a:pt x="344" y="15208"/>
                  </a:lnTo>
                  <a:lnTo>
                    <a:pt x="400" y="15287"/>
                  </a:lnTo>
                  <a:lnTo>
                    <a:pt x="460" y="15363"/>
                  </a:lnTo>
                  <a:lnTo>
                    <a:pt x="523" y="15436"/>
                  </a:lnTo>
                  <a:lnTo>
                    <a:pt x="590" y="15506"/>
                  </a:lnTo>
                  <a:lnTo>
                    <a:pt x="659" y="15572"/>
                  </a:lnTo>
                  <a:lnTo>
                    <a:pt x="733" y="15635"/>
                  </a:lnTo>
                  <a:lnTo>
                    <a:pt x="808" y="15696"/>
                  </a:lnTo>
                  <a:lnTo>
                    <a:pt x="888" y="15751"/>
                  </a:lnTo>
                  <a:lnTo>
                    <a:pt x="969" y="15803"/>
                  </a:lnTo>
                  <a:lnTo>
                    <a:pt x="1054" y="15853"/>
                  </a:lnTo>
                  <a:lnTo>
                    <a:pt x="1140" y="15897"/>
                  </a:lnTo>
                  <a:lnTo>
                    <a:pt x="1229" y="15937"/>
                  </a:lnTo>
                  <a:lnTo>
                    <a:pt x="1320" y="15973"/>
                  </a:lnTo>
                  <a:lnTo>
                    <a:pt x="1414" y="16004"/>
                  </a:lnTo>
                  <a:lnTo>
                    <a:pt x="1510" y="16032"/>
                  </a:lnTo>
                  <a:lnTo>
                    <a:pt x="1607" y="16054"/>
                  </a:lnTo>
                  <a:lnTo>
                    <a:pt x="1706" y="16072"/>
                  </a:lnTo>
                  <a:lnTo>
                    <a:pt x="1806" y="16085"/>
                  </a:lnTo>
                  <a:lnTo>
                    <a:pt x="1909" y="16092"/>
                  </a:lnTo>
                  <a:lnTo>
                    <a:pt x="2013" y="16095"/>
                  </a:lnTo>
                  <a:lnTo>
                    <a:pt x="13083" y="16095"/>
                  </a:lnTo>
                  <a:lnTo>
                    <a:pt x="13187" y="16092"/>
                  </a:lnTo>
                  <a:lnTo>
                    <a:pt x="13289" y="16085"/>
                  </a:lnTo>
                  <a:lnTo>
                    <a:pt x="13390" y="16072"/>
                  </a:lnTo>
                  <a:lnTo>
                    <a:pt x="13489" y="16054"/>
                  </a:lnTo>
                  <a:lnTo>
                    <a:pt x="13586" y="16032"/>
                  </a:lnTo>
                  <a:lnTo>
                    <a:pt x="13682" y="16004"/>
                  </a:lnTo>
                  <a:lnTo>
                    <a:pt x="13776" y="15973"/>
                  </a:lnTo>
                  <a:lnTo>
                    <a:pt x="13866" y="15937"/>
                  </a:lnTo>
                  <a:lnTo>
                    <a:pt x="13956" y="15897"/>
                  </a:lnTo>
                  <a:lnTo>
                    <a:pt x="14042" y="15853"/>
                  </a:lnTo>
                  <a:lnTo>
                    <a:pt x="14127" y="15803"/>
                  </a:lnTo>
                  <a:lnTo>
                    <a:pt x="14208" y="15751"/>
                  </a:lnTo>
                  <a:lnTo>
                    <a:pt x="14288" y="15696"/>
                  </a:lnTo>
                  <a:lnTo>
                    <a:pt x="14363" y="15635"/>
                  </a:lnTo>
                  <a:lnTo>
                    <a:pt x="14437" y="15572"/>
                  </a:lnTo>
                  <a:lnTo>
                    <a:pt x="14506" y="15506"/>
                  </a:lnTo>
                  <a:lnTo>
                    <a:pt x="14573" y="15436"/>
                  </a:lnTo>
                  <a:lnTo>
                    <a:pt x="14636" y="15363"/>
                  </a:lnTo>
                  <a:lnTo>
                    <a:pt x="14696" y="15287"/>
                  </a:lnTo>
                  <a:lnTo>
                    <a:pt x="14752" y="15208"/>
                  </a:lnTo>
                  <a:lnTo>
                    <a:pt x="14804" y="15126"/>
                  </a:lnTo>
                  <a:lnTo>
                    <a:pt x="14853" y="15042"/>
                  </a:lnTo>
                  <a:lnTo>
                    <a:pt x="14898" y="14955"/>
                  </a:lnTo>
                  <a:lnTo>
                    <a:pt x="14938" y="14867"/>
                  </a:lnTo>
                  <a:lnTo>
                    <a:pt x="14974" y="14775"/>
                  </a:lnTo>
                  <a:lnTo>
                    <a:pt x="15005" y="14682"/>
                  </a:lnTo>
                  <a:lnTo>
                    <a:pt x="15033" y="14586"/>
                  </a:lnTo>
                  <a:lnTo>
                    <a:pt x="15055" y="14489"/>
                  </a:lnTo>
                  <a:lnTo>
                    <a:pt x="15073" y="14390"/>
                  </a:lnTo>
                  <a:lnTo>
                    <a:pt x="15086" y="14289"/>
                  </a:lnTo>
                  <a:lnTo>
                    <a:pt x="15093" y="14187"/>
                  </a:lnTo>
                  <a:lnTo>
                    <a:pt x="15096" y="14083"/>
                  </a:lnTo>
                  <a:lnTo>
                    <a:pt x="15096" y="2012"/>
                  </a:lnTo>
                  <a:lnTo>
                    <a:pt x="15093" y="1908"/>
                  </a:lnTo>
                  <a:lnTo>
                    <a:pt x="15086" y="1807"/>
                  </a:lnTo>
                  <a:lnTo>
                    <a:pt x="15073" y="1705"/>
                  </a:lnTo>
                  <a:lnTo>
                    <a:pt x="15055" y="1606"/>
                  </a:lnTo>
                  <a:lnTo>
                    <a:pt x="15033" y="1509"/>
                  </a:lnTo>
                  <a:lnTo>
                    <a:pt x="15005" y="1413"/>
                  </a:lnTo>
                  <a:lnTo>
                    <a:pt x="14974" y="1320"/>
                  </a:lnTo>
                  <a:lnTo>
                    <a:pt x="14938" y="1229"/>
                  </a:lnTo>
                  <a:lnTo>
                    <a:pt x="14898" y="1140"/>
                  </a:lnTo>
                  <a:lnTo>
                    <a:pt x="14853" y="1053"/>
                  </a:lnTo>
                  <a:lnTo>
                    <a:pt x="14804" y="969"/>
                  </a:lnTo>
                  <a:lnTo>
                    <a:pt x="14752" y="887"/>
                  </a:lnTo>
                  <a:lnTo>
                    <a:pt x="14696" y="808"/>
                  </a:lnTo>
                  <a:lnTo>
                    <a:pt x="14636" y="732"/>
                  </a:lnTo>
                  <a:lnTo>
                    <a:pt x="14573" y="659"/>
                  </a:lnTo>
                  <a:lnTo>
                    <a:pt x="14506" y="589"/>
                  </a:lnTo>
                  <a:lnTo>
                    <a:pt x="14437" y="523"/>
                  </a:lnTo>
                  <a:lnTo>
                    <a:pt x="14363" y="460"/>
                  </a:lnTo>
                  <a:lnTo>
                    <a:pt x="14288" y="399"/>
                  </a:lnTo>
                  <a:lnTo>
                    <a:pt x="14208" y="344"/>
                  </a:lnTo>
                  <a:lnTo>
                    <a:pt x="14127" y="292"/>
                  </a:lnTo>
                  <a:lnTo>
                    <a:pt x="14042" y="242"/>
                  </a:lnTo>
                  <a:lnTo>
                    <a:pt x="13956" y="198"/>
                  </a:lnTo>
                  <a:lnTo>
                    <a:pt x="13866" y="158"/>
                  </a:lnTo>
                  <a:lnTo>
                    <a:pt x="13776" y="122"/>
                  </a:lnTo>
                  <a:lnTo>
                    <a:pt x="13682" y="91"/>
                  </a:lnTo>
                  <a:lnTo>
                    <a:pt x="13586" y="63"/>
                  </a:lnTo>
                  <a:lnTo>
                    <a:pt x="13489" y="41"/>
                  </a:lnTo>
                  <a:lnTo>
                    <a:pt x="13390" y="23"/>
                  </a:lnTo>
                  <a:lnTo>
                    <a:pt x="13289" y="10"/>
                  </a:lnTo>
                  <a:lnTo>
                    <a:pt x="13187" y="3"/>
                  </a:lnTo>
                  <a:lnTo>
                    <a:pt x="1308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65" name="îS1íḓê">
              <a:extLst>
                <a:ext uri="{FF2B5EF4-FFF2-40B4-BE49-F238E27FC236}">
                  <a16:creationId xmlns:a16="http://schemas.microsoft.com/office/drawing/2014/main" id="{FED742D2-F3E1-4E4A-9942-CB04C6B728E5}"/>
                </a:ext>
              </a:extLst>
            </p:cNvPr>
            <p:cNvSpPr/>
            <p:nvPr/>
          </p:nvSpPr>
          <p:spPr bwMode="auto">
            <a:xfrm>
              <a:off x="10035460" y="542623"/>
              <a:ext cx="238174" cy="215943"/>
            </a:xfrm>
            <a:custGeom>
              <a:avLst/>
              <a:gdLst>
                <a:gd name="T0" fmla="*/ 10567 w 11070"/>
                <a:gd name="T1" fmla="*/ 8239 h 10059"/>
                <a:gd name="T2" fmla="*/ 2516 w 11070"/>
                <a:gd name="T3" fmla="*/ 3018 h 10059"/>
                <a:gd name="T4" fmla="*/ 503 w 11070"/>
                <a:gd name="T5" fmla="*/ 9556 h 10059"/>
                <a:gd name="T6" fmla="*/ 8932 w 11070"/>
                <a:gd name="T7" fmla="*/ 5703 h 10059"/>
                <a:gd name="T8" fmla="*/ 8852 w 11070"/>
                <a:gd name="T9" fmla="*/ 5630 h 10059"/>
                <a:gd name="T10" fmla="*/ 8762 w 11070"/>
                <a:gd name="T11" fmla="*/ 5577 h 10059"/>
                <a:gd name="T12" fmla="*/ 8661 w 11070"/>
                <a:gd name="T13" fmla="*/ 5544 h 10059"/>
                <a:gd name="T14" fmla="*/ 8554 w 11070"/>
                <a:gd name="T15" fmla="*/ 5533 h 10059"/>
                <a:gd name="T16" fmla="*/ 8448 w 11070"/>
                <a:gd name="T17" fmla="*/ 5544 h 10059"/>
                <a:gd name="T18" fmla="*/ 8347 w 11070"/>
                <a:gd name="T19" fmla="*/ 5577 h 10059"/>
                <a:gd name="T20" fmla="*/ 8256 w 11070"/>
                <a:gd name="T21" fmla="*/ 5630 h 10059"/>
                <a:gd name="T22" fmla="*/ 8177 w 11070"/>
                <a:gd name="T23" fmla="*/ 5703 h 10059"/>
                <a:gd name="T24" fmla="*/ 2856 w 11070"/>
                <a:gd name="T25" fmla="*/ 2646 h 10059"/>
                <a:gd name="T26" fmla="*/ 2769 w 11070"/>
                <a:gd name="T27" fmla="*/ 2583 h 10059"/>
                <a:gd name="T28" fmla="*/ 2674 w 11070"/>
                <a:gd name="T29" fmla="*/ 2540 h 10059"/>
                <a:gd name="T30" fmla="*/ 2570 w 11070"/>
                <a:gd name="T31" fmla="*/ 2518 h 10059"/>
                <a:gd name="T32" fmla="*/ 2462 w 11070"/>
                <a:gd name="T33" fmla="*/ 2518 h 10059"/>
                <a:gd name="T34" fmla="*/ 2358 w 11070"/>
                <a:gd name="T35" fmla="*/ 2540 h 10059"/>
                <a:gd name="T36" fmla="*/ 2262 w 11070"/>
                <a:gd name="T37" fmla="*/ 2583 h 10059"/>
                <a:gd name="T38" fmla="*/ 2177 w 11070"/>
                <a:gd name="T39" fmla="*/ 2646 h 10059"/>
                <a:gd name="T40" fmla="*/ 503 w 11070"/>
                <a:gd name="T41" fmla="*/ 503 h 10059"/>
                <a:gd name="T42" fmla="*/ 477 w 11070"/>
                <a:gd name="T43" fmla="*/ 1 h 10059"/>
                <a:gd name="T44" fmla="*/ 377 w 11070"/>
                <a:gd name="T45" fmla="*/ 16 h 10059"/>
                <a:gd name="T46" fmla="*/ 285 w 11070"/>
                <a:gd name="T47" fmla="*/ 49 h 10059"/>
                <a:gd name="T48" fmla="*/ 202 w 11070"/>
                <a:gd name="T49" fmla="*/ 99 h 10059"/>
                <a:gd name="T50" fmla="*/ 131 w 11070"/>
                <a:gd name="T51" fmla="*/ 165 h 10059"/>
                <a:gd name="T52" fmla="*/ 72 w 11070"/>
                <a:gd name="T53" fmla="*/ 242 h 10059"/>
                <a:gd name="T54" fmla="*/ 30 w 11070"/>
                <a:gd name="T55" fmla="*/ 330 h 10059"/>
                <a:gd name="T56" fmla="*/ 6 w 11070"/>
                <a:gd name="T57" fmla="*/ 426 h 10059"/>
                <a:gd name="T58" fmla="*/ 0 w 11070"/>
                <a:gd name="T59" fmla="*/ 9556 h 10059"/>
                <a:gd name="T60" fmla="*/ 10 w 11070"/>
                <a:gd name="T61" fmla="*/ 9658 h 10059"/>
                <a:gd name="T62" fmla="*/ 39 w 11070"/>
                <a:gd name="T63" fmla="*/ 9752 h 10059"/>
                <a:gd name="T64" fmla="*/ 85 w 11070"/>
                <a:gd name="T65" fmla="*/ 9838 h 10059"/>
                <a:gd name="T66" fmla="*/ 147 w 11070"/>
                <a:gd name="T67" fmla="*/ 9912 h 10059"/>
                <a:gd name="T68" fmla="*/ 221 w 11070"/>
                <a:gd name="T69" fmla="*/ 9974 h 10059"/>
                <a:gd name="T70" fmla="*/ 307 w 11070"/>
                <a:gd name="T71" fmla="*/ 10020 h 10059"/>
                <a:gd name="T72" fmla="*/ 401 w 11070"/>
                <a:gd name="T73" fmla="*/ 10049 h 10059"/>
                <a:gd name="T74" fmla="*/ 503 w 11070"/>
                <a:gd name="T75" fmla="*/ 10059 h 10059"/>
                <a:gd name="T76" fmla="*/ 10643 w 11070"/>
                <a:gd name="T77" fmla="*/ 10053 h 10059"/>
                <a:gd name="T78" fmla="*/ 10740 w 11070"/>
                <a:gd name="T79" fmla="*/ 10029 h 10059"/>
                <a:gd name="T80" fmla="*/ 10829 w 11070"/>
                <a:gd name="T81" fmla="*/ 9987 h 10059"/>
                <a:gd name="T82" fmla="*/ 10905 w 11070"/>
                <a:gd name="T83" fmla="*/ 9928 h 10059"/>
                <a:gd name="T84" fmla="*/ 10971 w 11070"/>
                <a:gd name="T85" fmla="*/ 9857 h 10059"/>
                <a:gd name="T86" fmla="*/ 11021 w 11070"/>
                <a:gd name="T87" fmla="*/ 9775 h 10059"/>
                <a:gd name="T88" fmla="*/ 11054 w 11070"/>
                <a:gd name="T89" fmla="*/ 9682 h 10059"/>
                <a:gd name="T90" fmla="*/ 11069 w 11070"/>
                <a:gd name="T91" fmla="*/ 9582 h 10059"/>
                <a:gd name="T92" fmla="*/ 11068 w 11070"/>
                <a:gd name="T93" fmla="*/ 452 h 10059"/>
                <a:gd name="T94" fmla="*/ 11048 w 11070"/>
                <a:gd name="T95" fmla="*/ 353 h 10059"/>
                <a:gd name="T96" fmla="*/ 11010 w 11070"/>
                <a:gd name="T97" fmla="*/ 263 h 10059"/>
                <a:gd name="T98" fmla="*/ 10955 w 11070"/>
                <a:gd name="T99" fmla="*/ 183 h 10059"/>
                <a:gd name="T100" fmla="*/ 10887 w 11070"/>
                <a:gd name="T101" fmla="*/ 115 h 10059"/>
                <a:gd name="T102" fmla="*/ 10808 w 11070"/>
                <a:gd name="T103" fmla="*/ 60 h 10059"/>
                <a:gd name="T104" fmla="*/ 10717 w 11070"/>
                <a:gd name="T105" fmla="*/ 22 h 10059"/>
                <a:gd name="T106" fmla="*/ 10618 w 11070"/>
                <a:gd name="T107" fmla="*/ 3 h 10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070" h="10059">
                  <a:moveTo>
                    <a:pt x="8928" y="9556"/>
                  </a:moveTo>
                  <a:lnTo>
                    <a:pt x="7203" y="7568"/>
                  </a:lnTo>
                  <a:lnTo>
                    <a:pt x="8554" y="6036"/>
                  </a:lnTo>
                  <a:lnTo>
                    <a:pt x="10567" y="8239"/>
                  </a:lnTo>
                  <a:lnTo>
                    <a:pt x="10567" y="9556"/>
                  </a:lnTo>
                  <a:lnTo>
                    <a:pt x="8928" y="9556"/>
                  </a:lnTo>
                  <a:close/>
                  <a:moveTo>
                    <a:pt x="503" y="5330"/>
                  </a:moveTo>
                  <a:lnTo>
                    <a:pt x="2516" y="3018"/>
                  </a:lnTo>
                  <a:lnTo>
                    <a:pt x="6575" y="7616"/>
                  </a:lnTo>
                  <a:lnTo>
                    <a:pt x="6866" y="7948"/>
                  </a:lnTo>
                  <a:lnTo>
                    <a:pt x="8256" y="9556"/>
                  </a:lnTo>
                  <a:lnTo>
                    <a:pt x="503" y="9556"/>
                  </a:lnTo>
                  <a:lnTo>
                    <a:pt x="503" y="5330"/>
                  </a:lnTo>
                  <a:close/>
                  <a:moveTo>
                    <a:pt x="10567" y="503"/>
                  </a:moveTo>
                  <a:lnTo>
                    <a:pt x="10567" y="7479"/>
                  </a:lnTo>
                  <a:lnTo>
                    <a:pt x="8932" y="5703"/>
                  </a:lnTo>
                  <a:lnTo>
                    <a:pt x="8913" y="5682"/>
                  </a:lnTo>
                  <a:lnTo>
                    <a:pt x="8894" y="5664"/>
                  </a:lnTo>
                  <a:lnTo>
                    <a:pt x="8873" y="5647"/>
                  </a:lnTo>
                  <a:lnTo>
                    <a:pt x="8852" y="5630"/>
                  </a:lnTo>
                  <a:lnTo>
                    <a:pt x="8831" y="5615"/>
                  </a:lnTo>
                  <a:lnTo>
                    <a:pt x="8808" y="5601"/>
                  </a:lnTo>
                  <a:lnTo>
                    <a:pt x="8785" y="5589"/>
                  </a:lnTo>
                  <a:lnTo>
                    <a:pt x="8762" y="5577"/>
                  </a:lnTo>
                  <a:lnTo>
                    <a:pt x="8736" y="5567"/>
                  </a:lnTo>
                  <a:lnTo>
                    <a:pt x="8712" y="5558"/>
                  </a:lnTo>
                  <a:lnTo>
                    <a:pt x="8686" y="5551"/>
                  </a:lnTo>
                  <a:lnTo>
                    <a:pt x="8661" y="5544"/>
                  </a:lnTo>
                  <a:lnTo>
                    <a:pt x="8635" y="5539"/>
                  </a:lnTo>
                  <a:lnTo>
                    <a:pt x="8608" y="5536"/>
                  </a:lnTo>
                  <a:lnTo>
                    <a:pt x="8581" y="5534"/>
                  </a:lnTo>
                  <a:lnTo>
                    <a:pt x="8554" y="5533"/>
                  </a:lnTo>
                  <a:lnTo>
                    <a:pt x="8527" y="5534"/>
                  </a:lnTo>
                  <a:lnTo>
                    <a:pt x="8501" y="5536"/>
                  </a:lnTo>
                  <a:lnTo>
                    <a:pt x="8474" y="5539"/>
                  </a:lnTo>
                  <a:lnTo>
                    <a:pt x="8448" y="5544"/>
                  </a:lnTo>
                  <a:lnTo>
                    <a:pt x="8422" y="5551"/>
                  </a:lnTo>
                  <a:lnTo>
                    <a:pt x="8396" y="5558"/>
                  </a:lnTo>
                  <a:lnTo>
                    <a:pt x="8372" y="5567"/>
                  </a:lnTo>
                  <a:lnTo>
                    <a:pt x="8347" y="5577"/>
                  </a:lnTo>
                  <a:lnTo>
                    <a:pt x="8324" y="5589"/>
                  </a:lnTo>
                  <a:lnTo>
                    <a:pt x="8301" y="5601"/>
                  </a:lnTo>
                  <a:lnTo>
                    <a:pt x="8277" y="5615"/>
                  </a:lnTo>
                  <a:lnTo>
                    <a:pt x="8256" y="5630"/>
                  </a:lnTo>
                  <a:lnTo>
                    <a:pt x="8235" y="5647"/>
                  </a:lnTo>
                  <a:lnTo>
                    <a:pt x="8215" y="5664"/>
                  </a:lnTo>
                  <a:lnTo>
                    <a:pt x="8195" y="5682"/>
                  </a:lnTo>
                  <a:lnTo>
                    <a:pt x="8177" y="5703"/>
                  </a:lnTo>
                  <a:lnTo>
                    <a:pt x="6867" y="7187"/>
                  </a:lnTo>
                  <a:lnTo>
                    <a:pt x="2893" y="2685"/>
                  </a:lnTo>
                  <a:lnTo>
                    <a:pt x="2875" y="2665"/>
                  </a:lnTo>
                  <a:lnTo>
                    <a:pt x="2856" y="2646"/>
                  </a:lnTo>
                  <a:lnTo>
                    <a:pt x="2835" y="2629"/>
                  </a:lnTo>
                  <a:lnTo>
                    <a:pt x="2814" y="2612"/>
                  </a:lnTo>
                  <a:lnTo>
                    <a:pt x="2793" y="2597"/>
                  </a:lnTo>
                  <a:lnTo>
                    <a:pt x="2769" y="2583"/>
                  </a:lnTo>
                  <a:lnTo>
                    <a:pt x="2746" y="2571"/>
                  </a:lnTo>
                  <a:lnTo>
                    <a:pt x="2723" y="2559"/>
                  </a:lnTo>
                  <a:lnTo>
                    <a:pt x="2698" y="2549"/>
                  </a:lnTo>
                  <a:lnTo>
                    <a:pt x="2674" y="2540"/>
                  </a:lnTo>
                  <a:lnTo>
                    <a:pt x="2648" y="2533"/>
                  </a:lnTo>
                  <a:lnTo>
                    <a:pt x="2622" y="2526"/>
                  </a:lnTo>
                  <a:lnTo>
                    <a:pt x="2596" y="2521"/>
                  </a:lnTo>
                  <a:lnTo>
                    <a:pt x="2570" y="2518"/>
                  </a:lnTo>
                  <a:lnTo>
                    <a:pt x="2543" y="2516"/>
                  </a:lnTo>
                  <a:lnTo>
                    <a:pt x="2516" y="2515"/>
                  </a:lnTo>
                  <a:lnTo>
                    <a:pt x="2489" y="2516"/>
                  </a:lnTo>
                  <a:lnTo>
                    <a:pt x="2462" y="2518"/>
                  </a:lnTo>
                  <a:lnTo>
                    <a:pt x="2435" y="2521"/>
                  </a:lnTo>
                  <a:lnTo>
                    <a:pt x="2409" y="2526"/>
                  </a:lnTo>
                  <a:lnTo>
                    <a:pt x="2384" y="2533"/>
                  </a:lnTo>
                  <a:lnTo>
                    <a:pt x="2358" y="2540"/>
                  </a:lnTo>
                  <a:lnTo>
                    <a:pt x="2334" y="2549"/>
                  </a:lnTo>
                  <a:lnTo>
                    <a:pt x="2308" y="2559"/>
                  </a:lnTo>
                  <a:lnTo>
                    <a:pt x="2285" y="2571"/>
                  </a:lnTo>
                  <a:lnTo>
                    <a:pt x="2262" y="2583"/>
                  </a:lnTo>
                  <a:lnTo>
                    <a:pt x="2239" y="2597"/>
                  </a:lnTo>
                  <a:lnTo>
                    <a:pt x="2218" y="2612"/>
                  </a:lnTo>
                  <a:lnTo>
                    <a:pt x="2197" y="2629"/>
                  </a:lnTo>
                  <a:lnTo>
                    <a:pt x="2177" y="2646"/>
                  </a:lnTo>
                  <a:lnTo>
                    <a:pt x="2157" y="2665"/>
                  </a:lnTo>
                  <a:lnTo>
                    <a:pt x="2138" y="2685"/>
                  </a:lnTo>
                  <a:lnTo>
                    <a:pt x="503" y="4570"/>
                  </a:lnTo>
                  <a:lnTo>
                    <a:pt x="503" y="503"/>
                  </a:lnTo>
                  <a:lnTo>
                    <a:pt x="10567" y="503"/>
                  </a:lnTo>
                  <a:close/>
                  <a:moveTo>
                    <a:pt x="10567" y="0"/>
                  </a:moveTo>
                  <a:lnTo>
                    <a:pt x="503" y="0"/>
                  </a:lnTo>
                  <a:lnTo>
                    <a:pt x="477" y="1"/>
                  </a:lnTo>
                  <a:lnTo>
                    <a:pt x="452" y="3"/>
                  </a:lnTo>
                  <a:lnTo>
                    <a:pt x="427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5" y="49"/>
                  </a:lnTo>
                  <a:lnTo>
                    <a:pt x="263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99" y="202"/>
                  </a:lnTo>
                  <a:lnTo>
                    <a:pt x="85" y="221"/>
                  </a:lnTo>
                  <a:lnTo>
                    <a:pt x="72" y="242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3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0" y="9556"/>
                  </a:lnTo>
                  <a:lnTo>
                    <a:pt x="1" y="9582"/>
                  </a:lnTo>
                  <a:lnTo>
                    <a:pt x="3" y="9608"/>
                  </a:lnTo>
                  <a:lnTo>
                    <a:pt x="6" y="9633"/>
                  </a:lnTo>
                  <a:lnTo>
                    <a:pt x="10" y="9658"/>
                  </a:lnTo>
                  <a:lnTo>
                    <a:pt x="16" y="9682"/>
                  </a:lnTo>
                  <a:lnTo>
                    <a:pt x="23" y="9706"/>
                  </a:lnTo>
                  <a:lnTo>
                    <a:pt x="30" y="9729"/>
                  </a:lnTo>
                  <a:lnTo>
                    <a:pt x="39" y="9752"/>
                  </a:lnTo>
                  <a:lnTo>
                    <a:pt x="49" y="9775"/>
                  </a:lnTo>
                  <a:lnTo>
                    <a:pt x="60" y="9797"/>
                  </a:lnTo>
                  <a:lnTo>
                    <a:pt x="72" y="9817"/>
                  </a:lnTo>
                  <a:lnTo>
                    <a:pt x="85" y="9838"/>
                  </a:lnTo>
                  <a:lnTo>
                    <a:pt x="99" y="9857"/>
                  </a:lnTo>
                  <a:lnTo>
                    <a:pt x="115" y="9876"/>
                  </a:lnTo>
                  <a:lnTo>
                    <a:pt x="131" y="9894"/>
                  </a:lnTo>
                  <a:lnTo>
                    <a:pt x="147" y="9912"/>
                  </a:lnTo>
                  <a:lnTo>
                    <a:pt x="165" y="9928"/>
                  </a:lnTo>
                  <a:lnTo>
                    <a:pt x="183" y="9945"/>
                  </a:lnTo>
                  <a:lnTo>
                    <a:pt x="202" y="9960"/>
                  </a:lnTo>
                  <a:lnTo>
                    <a:pt x="221" y="9974"/>
                  </a:lnTo>
                  <a:lnTo>
                    <a:pt x="242" y="9987"/>
                  </a:lnTo>
                  <a:lnTo>
                    <a:pt x="263" y="9999"/>
                  </a:lnTo>
                  <a:lnTo>
                    <a:pt x="285" y="10010"/>
                  </a:lnTo>
                  <a:lnTo>
                    <a:pt x="307" y="10020"/>
                  </a:lnTo>
                  <a:lnTo>
                    <a:pt x="330" y="10029"/>
                  </a:lnTo>
                  <a:lnTo>
                    <a:pt x="353" y="10037"/>
                  </a:lnTo>
                  <a:lnTo>
                    <a:pt x="377" y="10043"/>
                  </a:lnTo>
                  <a:lnTo>
                    <a:pt x="401" y="10049"/>
                  </a:lnTo>
                  <a:lnTo>
                    <a:pt x="427" y="10053"/>
                  </a:lnTo>
                  <a:lnTo>
                    <a:pt x="452" y="10056"/>
                  </a:lnTo>
                  <a:lnTo>
                    <a:pt x="477" y="10058"/>
                  </a:lnTo>
                  <a:lnTo>
                    <a:pt x="503" y="10059"/>
                  </a:lnTo>
                  <a:lnTo>
                    <a:pt x="10567" y="10059"/>
                  </a:lnTo>
                  <a:lnTo>
                    <a:pt x="10593" y="10058"/>
                  </a:lnTo>
                  <a:lnTo>
                    <a:pt x="10618" y="10056"/>
                  </a:lnTo>
                  <a:lnTo>
                    <a:pt x="10643" y="10053"/>
                  </a:lnTo>
                  <a:lnTo>
                    <a:pt x="10669" y="10049"/>
                  </a:lnTo>
                  <a:lnTo>
                    <a:pt x="10693" y="10043"/>
                  </a:lnTo>
                  <a:lnTo>
                    <a:pt x="10717" y="10037"/>
                  </a:lnTo>
                  <a:lnTo>
                    <a:pt x="10740" y="10029"/>
                  </a:lnTo>
                  <a:lnTo>
                    <a:pt x="10763" y="10020"/>
                  </a:lnTo>
                  <a:lnTo>
                    <a:pt x="10785" y="10010"/>
                  </a:lnTo>
                  <a:lnTo>
                    <a:pt x="10808" y="9999"/>
                  </a:lnTo>
                  <a:lnTo>
                    <a:pt x="10829" y="9987"/>
                  </a:lnTo>
                  <a:lnTo>
                    <a:pt x="10849" y="9974"/>
                  </a:lnTo>
                  <a:lnTo>
                    <a:pt x="10868" y="9960"/>
                  </a:lnTo>
                  <a:lnTo>
                    <a:pt x="10887" y="9945"/>
                  </a:lnTo>
                  <a:lnTo>
                    <a:pt x="10905" y="9928"/>
                  </a:lnTo>
                  <a:lnTo>
                    <a:pt x="10923" y="9912"/>
                  </a:lnTo>
                  <a:lnTo>
                    <a:pt x="10939" y="9894"/>
                  </a:lnTo>
                  <a:lnTo>
                    <a:pt x="10955" y="9876"/>
                  </a:lnTo>
                  <a:lnTo>
                    <a:pt x="10971" y="9857"/>
                  </a:lnTo>
                  <a:lnTo>
                    <a:pt x="10985" y="9838"/>
                  </a:lnTo>
                  <a:lnTo>
                    <a:pt x="10998" y="9817"/>
                  </a:lnTo>
                  <a:lnTo>
                    <a:pt x="11010" y="9797"/>
                  </a:lnTo>
                  <a:lnTo>
                    <a:pt x="11021" y="9775"/>
                  </a:lnTo>
                  <a:lnTo>
                    <a:pt x="11031" y="9752"/>
                  </a:lnTo>
                  <a:lnTo>
                    <a:pt x="11040" y="9729"/>
                  </a:lnTo>
                  <a:lnTo>
                    <a:pt x="11048" y="9706"/>
                  </a:lnTo>
                  <a:lnTo>
                    <a:pt x="11054" y="9682"/>
                  </a:lnTo>
                  <a:lnTo>
                    <a:pt x="11060" y="9658"/>
                  </a:lnTo>
                  <a:lnTo>
                    <a:pt x="11064" y="9633"/>
                  </a:lnTo>
                  <a:lnTo>
                    <a:pt x="11068" y="9608"/>
                  </a:lnTo>
                  <a:lnTo>
                    <a:pt x="11069" y="9582"/>
                  </a:lnTo>
                  <a:lnTo>
                    <a:pt x="11070" y="9556"/>
                  </a:lnTo>
                  <a:lnTo>
                    <a:pt x="11070" y="503"/>
                  </a:lnTo>
                  <a:lnTo>
                    <a:pt x="11069" y="477"/>
                  </a:lnTo>
                  <a:lnTo>
                    <a:pt x="11068" y="452"/>
                  </a:lnTo>
                  <a:lnTo>
                    <a:pt x="11064" y="426"/>
                  </a:lnTo>
                  <a:lnTo>
                    <a:pt x="11060" y="401"/>
                  </a:lnTo>
                  <a:lnTo>
                    <a:pt x="11054" y="377"/>
                  </a:lnTo>
                  <a:lnTo>
                    <a:pt x="11048" y="353"/>
                  </a:lnTo>
                  <a:lnTo>
                    <a:pt x="11040" y="330"/>
                  </a:lnTo>
                  <a:lnTo>
                    <a:pt x="11031" y="307"/>
                  </a:lnTo>
                  <a:lnTo>
                    <a:pt x="11021" y="285"/>
                  </a:lnTo>
                  <a:lnTo>
                    <a:pt x="11010" y="263"/>
                  </a:lnTo>
                  <a:lnTo>
                    <a:pt x="10998" y="242"/>
                  </a:lnTo>
                  <a:lnTo>
                    <a:pt x="10985" y="221"/>
                  </a:lnTo>
                  <a:lnTo>
                    <a:pt x="10971" y="202"/>
                  </a:lnTo>
                  <a:lnTo>
                    <a:pt x="10955" y="183"/>
                  </a:lnTo>
                  <a:lnTo>
                    <a:pt x="10939" y="165"/>
                  </a:lnTo>
                  <a:lnTo>
                    <a:pt x="10923" y="147"/>
                  </a:lnTo>
                  <a:lnTo>
                    <a:pt x="10905" y="131"/>
                  </a:lnTo>
                  <a:lnTo>
                    <a:pt x="10887" y="115"/>
                  </a:lnTo>
                  <a:lnTo>
                    <a:pt x="10868" y="99"/>
                  </a:lnTo>
                  <a:lnTo>
                    <a:pt x="10849" y="85"/>
                  </a:lnTo>
                  <a:lnTo>
                    <a:pt x="10829" y="72"/>
                  </a:lnTo>
                  <a:lnTo>
                    <a:pt x="10808" y="60"/>
                  </a:lnTo>
                  <a:lnTo>
                    <a:pt x="10785" y="49"/>
                  </a:lnTo>
                  <a:lnTo>
                    <a:pt x="10763" y="39"/>
                  </a:lnTo>
                  <a:lnTo>
                    <a:pt x="10740" y="30"/>
                  </a:lnTo>
                  <a:lnTo>
                    <a:pt x="10717" y="22"/>
                  </a:lnTo>
                  <a:lnTo>
                    <a:pt x="10693" y="16"/>
                  </a:lnTo>
                  <a:lnTo>
                    <a:pt x="10669" y="10"/>
                  </a:lnTo>
                  <a:lnTo>
                    <a:pt x="10643" y="6"/>
                  </a:lnTo>
                  <a:lnTo>
                    <a:pt x="10618" y="3"/>
                  </a:lnTo>
                  <a:lnTo>
                    <a:pt x="10593" y="1"/>
                  </a:lnTo>
                  <a:lnTo>
                    <a:pt x="105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5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66" name="îśļíďè">
              <a:extLst>
                <a:ext uri="{FF2B5EF4-FFF2-40B4-BE49-F238E27FC236}">
                  <a16:creationId xmlns:a16="http://schemas.microsoft.com/office/drawing/2014/main" id="{6BBC188E-89C0-4453-9F91-9548A4D18959}"/>
                </a:ext>
              </a:extLst>
            </p:cNvPr>
            <p:cNvSpPr/>
            <p:nvPr/>
          </p:nvSpPr>
          <p:spPr bwMode="auto">
            <a:xfrm>
              <a:off x="10165662" y="575173"/>
              <a:ext cx="64307" cy="65100"/>
            </a:xfrm>
            <a:custGeom>
              <a:avLst/>
              <a:gdLst>
                <a:gd name="T0" fmla="*/ 1712 w 3019"/>
                <a:gd name="T1" fmla="*/ 523 h 3018"/>
                <a:gd name="T2" fmla="*/ 1946 w 3019"/>
                <a:gd name="T3" fmla="*/ 602 h 3018"/>
                <a:gd name="T4" fmla="*/ 2150 w 3019"/>
                <a:gd name="T5" fmla="*/ 732 h 3018"/>
                <a:gd name="T6" fmla="*/ 2316 w 3019"/>
                <a:gd name="T7" fmla="*/ 907 h 3018"/>
                <a:gd name="T8" fmla="*/ 2437 w 3019"/>
                <a:gd name="T9" fmla="*/ 1117 h 3018"/>
                <a:gd name="T10" fmla="*/ 2504 w 3019"/>
                <a:gd name="T11" fmla="*/ 1356 h 3018"/>
                <a:gd name="T12" fmla="*/ 2511 w 3019"/>
                <a:gd name="T13" fmla="*/ 1611 h 3018"/>
                <a:gd name="T14" fmla="*/ 2455 w 3019"/>
                <a:gd name="T15" fmla="*/ 1854 h 3018"/>
                <a:gd name="T16" fmla="*/ 2344 w 3019"/>
                <a:gd name="T17" fmla="*/ 2071 h 3018"/>
                <a:gd name="T18" fmla="*/ 2186 w 3019"/>
                <a:gd name="T19" fmla="*/ 2253 h 3018"/>
                <a:gd name="T20" fmla="*/ 1989 w 3019"/>
                <a:gd name="T21" fmla="*/ 2393 h 3018"/>
                <a:gd name="T22" fmla="*/ 1761 w 3019"/>
                <a:gd name="T23" fmla="*/ 2482 h 3018"/>
                <a:gd name="T24" fmla="*/ 1510 w 3019"/>
                <a:gd name="T25" fmla="*/ 2515 h 3018"/>
                <a:gd name="T26" fmla="*/ 1258 w 3019"/>
                <a:gd name="T27" fmla="*/ 2482 h 3018"/>
                <a:gd name="T28" fmla="*/ 1031 w 3019"/>
                <a:gd name="T29" fmla="*/ 2393 h 3018"/>
                <a:gd name="T30" fmla="*/ 833 w 3019"/>
                <a:gd name="T31" fmla="*/ 2253 h 3018"/>
                <a:gd name="T32" fmla="*/ 675 w 3019"/>
                <a:gd name="T33" fmla="*/ 2071 h 3018"/>
                <a:gd name="T34" fmla="*/ 565 w 3019"/>
                <a:gd name="T35" fmla="*/ 1854 h 3018"/>
                <a:gd name="T36" fmla="*/ 508 w 3019"/>
                <a:gd name="T37" fmla="*/ 1611 h 3018"/>
                <a:gd name="T38" fmla="*/ 514 w 3019"/>
                <a:gd name="T39" fmla="*/ 1356 h 3018"/>
                <a:gd name="T40" fmla="*/ 583 w 3019"/>
                <a:gd name="T41" fmla="*/ 1117 h 3018"/>
                <a:gd name="T42" fmla="*/ 704 w 3019"/>
                <a:gd name="T43" fmla="*/ 907 h 3018"/>
                <a:gd name="T44" fmla="*/ 870 w 3019"/>
                <a:gd name="T45" fmla="*/ 732 h 3018"/>
                <a:gd name="T46" fmla="*/ 1074 w 3019"/>
                <a:gd name="T47" fmla="*/ 602 h 3018"/>
                <a:gd name="T48" fmla="*/ 1308 w 3019"/>
                <a:gd name="T49" fmla="*/ 523 h 3018"/>
                <a:gd name="T50" fmla="*/ 1510 w 3019"/>
                <a:gd name="T51" fmla="*/ 3018 h 3018"/>
                <a:gd name="T52" fmla="*/ 1887 w 3019"/>
                <a:gd name="T53" fmla="*/ 2969 h 3018"/>
                <a:gd name="T54" fmla="*/ 2229 w 3019"/>
                <a:gd name="T55" fmla="*/ 2836 h 3018"/>
                <a:gd name="T56" fmla="*/ 2525 w 3019"/>
                <a:gd name="T57" fmla="*/ 2625 h 3018"/>
                <a:gd name="T58" fmla="*/ 2762 w 3019"/>
                <a:gd name="T59" fmla="*/ 2352 h 3018"/>
                <a:gd name="T60" fmla="*/ 2928 w 3019"/>
                <a:gd name="T61" fmla="*/ 2028 h 3018"/>
                <a:gd name="T62" fmla="*/ 3011 w 3019"/>
                <a:gd name="T63" fmla="*/ 1663 h 3018"/>
                <a:gd name="T64" fmla="*/ 3002 w 3019"/>
                <a:gd name="T65" fmla="*/ 1278 h 3018"/>
                <a:gd name="T66" fmla="*/ 2901 w 3019"/>
                <a:gd name="T67" fmla="*/ 921 h 3018"/>
                <a:gd name="T68" fmla="*/ 2719 w 3019"/>
                <a:gd name="T69" fmla="*/ 605 h 3018"/>
                <a:gd name="T70" fmla="*/ 2470 w 3019"/>
                <a:gd name="T71" fmla="*/ 344 h 3018"/>
                <a:gd name="T72" fmla="*/ 2164 w 3019"/>
                <a:gd name="T73" fmla="*/ 149 h 3018"/>
                <a:gd name="T74" fmla="*/ 1814 w 3019"/>
                <a:gd name="T75" fmla="*/ 30 h 3018"/>
                <a:gd name="T76" fmla="*/ 1432 w 3019"/>
                <a:gd name="T77" fmla="*/ 2 h 3018"/>
                <a:gd name="T78" fmla="*/ 1061 w 3019"/>
                <a:gd name="T79" fmla="*/ 67 h 3018"/>
                <a:gd name="T80" fmla="*/ 727 w 3019"/>
                <a:gd name="T81" fmla="*/ 218 h 3018"/>
                <a:gd name="T82" fmla="*/ 442 w 3019"/>
                <a:gd name="T83" fmla="*/ 441 h 3018"/>
                <a:gd name="T84" fmla="*/ 219 w 3019"/>
                <a:gd name="T85" fmla="*/ 726 h 3018"/>
                <a:gd name="T86" fmla="*/ 68 w 3019"/>
                <a:gd name="T87" fmla="*/ 1060 h 3018"/>
                <a:gd name="T88" fmla="*/ 2 w 3019"/>
                <a:gd name="T89" fmla="*/ 1431 h 3018"/>
                <a:gd name="T90" fmla="*/ 30 w 3019"/>
                <a:gd name="T91" fmla="*/ 1812 h 3018"/>
                <a:gd name="T92" fmla="*/ 149 w 3019"/>
                <a:gd name="T93" fmla="*/ 2163 h 3018"/>
                <a:gd name="T94" fmla="*/ 344 w 3019"/>
                <a:gd name="T95" fmla="*/ 2468 h 3018"/>
                <a:gd name="T96" fmla="*/ 606 w 3019"/>
                <a:gd name="T97" fmla="*/ 2718 h 3018"/>
                <a:gd name="T98" fmla="*/ 922 w 3019"/>
                <a:gd name="T99" fmla="*/ 2899 h 3018"/>
                <a:gd name="T100" fmla="*/ 1280 w 3019"/>
                <a:gd name="T101" fmla="*/ 2999 h 30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019" h="3018">
                  <a:moveTo>
                    <a:pt x="1510" y="503"/>
                  </a:moveTo>
                  <a:lnTo>
                    <a:pt x="1561" y="504"/>
                  </a:lnTo>
                  <a:lnTo>
                    <a:pt x="1612" y="508"/>
                  </a:lnTo>
                  <a:lnTo>
                    <a:pt x="1663" y="514"/>
                  </a:lnTo>
                  <a:lnTo>
                    <a:pt x="1712" y="523"/>
                  </a:lnTo>
                  <a:lnTo>
                    <a:pt x="1761" y="534"/>
                  </a:lnTo>
                  <a:lnTo>
                    <a:pt x="1809" y="548"/>
                  </a:lnTo>
                  <a:lnTo>
                    <a:pt x="1856" y="564"/>
                  </a:lnTo>
                  <a:lnTo>
                    <a:pt x="1901" y="581"/>
                  </a:lnTo>
                  <a:lnTo>
                    <a:pt x="1946" y="602"/>
                  </a:lnTo>
                  <a:lnTo>
                    <a:pt x="1989" y="624"/>
                  </a:lnTo>
                  <a:lnTo>
                    <a:pt x="2031" y="649"/>
                  </a:lnTo>
                  <a:lnTo>
                    <a:pt x="2072" y="675"/>
                  </a:lnTo>
                  <a:lnTo>
                    <a:pt x="2112" y="703"/>
                  </a:lnTo>
                  <a:lnTo>
                    <a:pt x="2150" y="732"/>
                  </a:lnTo>
                  <a:lnTo>
                    <a:pt x="2186" y="764"/>
                  </a:lnTo>
                  <a:lnTo>
                    <a:pt x="2221" y="797"/>
                  </a:lnTo>
                  <a:lnTo>
                    <a:pt x="2255" y="833"/>
                  </a:lnTo>
                  <a:lnTo>
                    <a:pt x="2286" y="869"/>
                  </a:lnTo>
                  <a:lnTo>
                    <a:pt x="2316" y="907"/>
                  </a:lnTo>
                  <a:lnTo>
                    <a:pt x="2344" y="946"/>
                  </a:lnTo>
                  <a:lnTo>
                    <a:pt x="2370" y="988"/>
                  </a:lnTo>
                  <a:lnTo>
                    <a:pt x="2394" y="1029"/>
                  </a:lnTo>
                  <a:lnTo>
                    <a:pt x="2417" y="1073"/>
                  </a:lnTo>
                  <a:lnTo>
                    <a:pt x="2437" y="1117"/>
                  </a:lnTo>
                  <a:lnTo>
                    <a:pt x="2455" y="1163"/>
                  </a:lnTo>
                  <a:lnTo>
                    <a:pt x="2471" y="1210"/>
                  </a:lnTo>
                  <a:lnTo>
                    <a:pt x="2484" y="1257"/>
                  </a:lnTo>
                  <a:lnTo>
                    <a:pt x="2496" y="1305"/>
                  </a:lnTo>
                  <a:lnTo>
                    <a:pt x="2504" y="1356"/>
                  </a:lnTo>
                  <a:lnTo>
                    <a:pt x="2511" y="1406"/>
                  </a:lnTo>
                  <a:lnTo>
                    <a:pt x="2515" y="1456"/>
                  </a:lnTo>
                  <a:lnTo>
                    <a:pt x="2516" y="1509"/>
                  </a:lnTo>
                  <a:lnTo>
                    <a:pt x="2515" y="1560"/>
                  </a:lnTo>
                  <a:lnTo>
                    <a:pt x="2511" y="1611"/>
                  </a:lnTo>
                  <a:lnTo>
                    <a:pt x="2504" y="1662"/>
                  </a:lnTo>
                  <a:lnTo>
                    <a:pt x="2496" y="1711"/>
                  </a:lnTo>
                  <a:lnTo>
                    <a:pt x="2484" y="1759"/>
                  </a:lnTo>
                  <a:lnTo>
                    <a:pt x="2471" y="1807"/>
                  </a:lnTo>
                  <a:lnTo>
                    <a:pt x="2455" y="1854"/>
                  </a:lnTo>
                  <a:lnTo>
                    <a:pt x="2437" y="1900"/>
                  </a:lnTo>
                  <a:lnTo>
                    <a:pt x="2417" y="1944"/>
                  </a:lnTo>
                  <a:lnTo>
                    <a:pt x="2394" y="1988"/>
                  </a:lnTo>
                  <a:lnTo>
                    <a:pt x="2370" y="2030"/>
                  </a:lnTo>
                  <a:lnTo>
                    <a:pt x="2344" y="2071"/>
                  </a:lnTo>
                  <a:lnTo>
                    <a:pt x="2316" y="2110"/>
                  </a:lnTo>
                  <a:lnTo>
                    <a:pt x="2286" y="2148"/>
                  </a:lnTo>
                  <a:lnTo>
                    <a:pt x="2255" y="2185"/>
                  </a:lnTo>
                  <a:lnTo>
                    <a:pt x="2221" y="2220"/>
                  </a:lnTo>
                  <a:lnTo>
                    <a:pt x="2186" y="2253"/>
                  </a:lnTo>
                  <a:lnTo>
                    <a:pt x="2150" y="2284"/>
                  </a:lnTo>
                  <a:lnTo>
                    <a:pt x="2112" y="2314"/>
                  </a:lnTo>
                  <a:lnTo>
                    <a:pt x="2072" y="2343"/>
                  </a:lnTo>
                  <a:lnTo>
                    <a:pt x="2031" y="2369"/>
                  </a:lnTo>
                  <a:lnTo>
                    <a:pt x="1989" y="2393"/>
                  </a:lnTo>
                  <a:lnTo>
                    <a:pt x="1946" y="2415"/>
                  </a:lnTo>
                  <a:lnTo>
                    <a:pt x="1901" y="2435"/>
                  </a:lnTo>
                  <a:lnTo>
                    <a:pt x="1856" y="2453"/>
                  </a:lnTo>
                  <a:lnTo>
                    <a:pt x="1809" y="2469"/>
                  </a:lnTo>
                  <a:lnTo>
                    <a:pt x="1761" y="2482"/>
                  </a:lnTo>
                  <a:lnTo>
                    <a:pt x="1712" y="2494"/>
                  </a:lnTo>
                  <a:lnTo>
                    <a:pt x="1663" y="2503"/>
                  </a:lnTo>
                  <a:lnTo>
                    <a:pt x="1612" y="2510"/>
                  </a:lnTo>
                  <a:lnTo>
                    <a:pt x="1561" y="2514"/>
                  </a:lnTo>
                  <a:lnTo>
                    <a:pt x="1510" y="2515"/>
                  </a:lnTo>
                  <a:lnTo>
                    <a:pt x="1458" y="2514"/>
                  </a:lnTo>
                  <a:lnTo>
                    <a:pt x="1407" y="2510"/>
                  </a:lnTo>
                  <a:lnTo>
                    <a:pt x="1357" y="2503"/>
                  </a:lnTo>
                  <a:lnTo>
                    <a:pt x="1308" y="2494"/>
                  </a:lnTo>
                  <a:lnTo>
                    <a:pt x="1258" y="2482"/>
                  </a:lnTo>
                  <a:lnTo>
                    <a:pt x="1211" y="2469"/>
                  </a:lnTo>
                  <a:lnTo>
                    <a:pt x="1165" y="2453"/>
                  </a:lnTo>
                  <a:lnTo>
                    <a:pt x="1118" y="2435"/>
                  </a:lnTo>
                  <a:lnTo>
                    <a:pt x="1074" y="2415"/>
                  </a:lnTo>
                  <a:lnTo>
                    <a:pt x="1031" y="2393"/>
                  </a:lnTo>
                  <a:lnTo>
                    <a:pt x="988" y="2369"/>
                  </a:lnTo>
                  <a:lnTo>
                    <a:pt x="947" y="2343"/>
                  </a:lnTo>
                  <a:lnTo>
                    <a:pt x="908" y="2314"/>
                  </a:lnTo>
                  <a:lnTo>
                    <a:pt x="870" y="2284"/>
                  </a:lnTo>
                  <a:lnTo>
                    <a:pt x="833" y="2253"/>
                  </a:lnTo>
                  <a:lnTo>
                    <a:pt x="798" y="2220"/>
                  </a:lnTo>
                  <a:lnTo>
                    <a:pt x="765" y="2185"/>
                  </a:lnTo>
                  <a:lnTo>
                    <a:pt x="734" y="2148"/>
                  </a:lnTo>
                  <a:lnTo>
                    <a:pt x="704" y="2110"/>
                  </a:lnTo>
                  <a:lnTo>
                    <a:pt x="675" y="2071"/>
                  </a:lnTo>
                  <a:lnTo>
                    <a:pt x="649" y="2030"/>
                  </a:lnTo>
                  <a:lnTo>
                    <a:pt x="625" y="1988"/>
                  </a:lnTo>
                  <a:lnTo>
                    <a:pt x="603" y="1944"/>
                  </a:lnTo>
                  <a:lnTo>
                    <a:pt x="583" y="1900"/>
                  </a:lnTo>
                  <a:lnTo>
                    <a:pt x="565" y="1854"/>
                  </a:lnTo>
                  <a:lnTo>
                    <a:pt x="549" y="1807"/>
                  </a:lnTo>
                  <a:lnTo>
                    <a:pt x="536" y="1759"/>
                  </a:lnTo>
                  <a:lnTo>
                    <a:pt x="524" y="1711"/>
                  </a:lnTo>
                  <a:lnTo>
                    <a:pt x="514" y="1662"/>
                  </a:lnTo>
                  <a:lnTo>
                    <a:pt x="508" y="1611"/>
                  </a:lnTo>
                  <a:lnTo>
                    <a:pt x="504" y="1560"/>
                  </a:lnTo>
                  <a:lnTo>
                    <a:pt x="503" y="1509"/>
                  </a:lnTo>
                  <a:lnTo>
                    <a:pt x="504" y="1456"/>
                  </a:lnTo>
                  <a:lnTo>
                    <a:pt x="508" y="1406"/>
                  </a:lnTo>
                  <a:lnTo>
                    <a:pt x="514" y="1356"/>
                  </a:lnTo>
                  <a:lnTo>
                    <a:pt x="524" y="1305"/>
                  </a:lnTo>
                  <a:lnTo>
                    <a:pt x="536" y="1257"/>
                  </a:lnTo>
                  <a:lnTo>
                    <a:pt x="549" y="1210"/>
                  </a:lnTo>
                  <a:lnTo>
                    <a:pt x="565" y="1163"/>
                  </a:lnTo>
                  <a:lnTo>
                    <a:pt x="583" y="1117"/>
                  </a:lnTo>
                  <a:lnTo>
                    <a:pt x="603" y="1073"/>
                  </a:lnTo>
                  <a:lnTo>
                    <a:pt x="625" y="1029"/>
                  </a:lnTo>
                  <a:lnTo>
                    <a:pt x="649" y="988"/>
                  </a:lnTo>
                  <a:lnTo>
                    <a:pt x="675" y="946"/>
                  </a:lnTo>
                  <a:lnTo>
                    <a:pt x="704" y="907"/>
                  </a:lnTo>
                  <a:lnTo>
                    <a:pt x="734" y="869"/>
                  </a:lnTo>
                  <a:lnTo>
                    <a:pt x="765" y="833"/>
                  </a:lnTo>
                  <a:lnTo>
                    <a:pt x="798" y="797"/>
                  </a:lnTo>
                  <a:lnTo>
                    <a:pt x="833" y="764"/>
                  </a:lnTo>
                  <a:lnTo>
                    <a:pt x="870" y="732"/>
                  </a:lnTo>
                  <a:lnTo>
                    <a:pt x="908" y="703"/>
                  </a:lnTo>
                  <a:lnTo>
                    <a:pt x="947" y="675"/>
                  </a:lnTo>
                  <a:lnTo>
                    <a:pt x="988" y="649"/>
                  </a:lnTo>
                  <a:lnTo>
                    <a:pt x="1031" y="624"/>
                  </a:lnTo>
                  <a:lnTo>
                    <a:pt x="1074" y="602"/>
                  </a:lnTo>
                  <a:lnTo>
                    <a:pt x="1118" y="581"/>
                  </a:lnTo>
                  <a:lnTo>
                    <a:pt x="1165" y="564"/>
                  </a:lnTo>
                  <a:lnTo>
                    <a:pt x="1211" y="548"/>
                  </a:lnTo>
                  <a:lnTo>
                    <a:pt x="1258" y="534"/>
                  </a:lnTo>
                  <a:lnTo>
                    <a:pt x="1308" y="523"/>
                  </a:lnTo>
                  <a:lnTo>
                    <a:pt x="1357" y="514"/>
                  </a:lnTo>
                  <a:lnTo>
                    <a:pt x="1407" y="508"/>
                  </a:lnTo>
                  <a:lnTo>
                    <a:pt x="1458" y="504"/>
                  </a:lnTo>
                  <a:lnTo>
                    <a:pt x="1510" y="503"/>
                  </a:lnTo>
                  <a:close/>
                  <a:moveTo>
                    <a:pt x="1510" y="3018"/>
                  </a:moveTo>
                  <a:lnTo>
                    <a:pt x="1587" y="3016"/>
                  </a:lnTo>
                  <a:lnTo>
                    <a:pt x="1664" y="3010"/>
                  </a:lnTo>
                  <a:lnTo>
                    <a:pt x="1739" y="2999"/>
                  </a:lnTo>
                  <a:lnTo>
                    <a:pt x="1814" y="2986"/>
                  </a:lnTo>
                  <a:lnTo>
                    <a:pt x="1887" y="2969"/>
                  </a:lnTo>
                  <a:lnTo>
                    <a:pt x="1959" y="2949"/>
                  </a:lnTo>
                  <a:lnTo>
                    <a:pt x="2029" y="2926"/>
                  </a:lnTo>
                  <a:lnTo>
                    <a:pt x="2098" y="2899"/>
                  </a:lnTo>
                  <a:lnTo>
                    <a:pt x="2164" y="2869"/>
                  </a:lnTo>
                  <a:lnTo>
                    <a:pt x="2229" y="2836"/>
                  </a:lnTo>
                  <a:lnTo>
                    <a:pt x="2293" y="2799"/>
                  </a:lnTo>
                  <a:lnTo>
                    <a:pt x="2354" y="2760"/>
                  </a:lnTo>
                  <a:lnTo>
                    <a:pt x="2413" y="2718"/>
                  </a:lnTo>
                  <a:lnTo>
                    <a:pt x="2470" y="2673"/>
                  </a:lnTo>
                  <a:lnTo>
                    <a:pt x="2525" y="2625"/>
                  </a:lnTo>
                  <a:lnTo>
                    <a:pt x="2578" y="2575"/>
                  </a:lnTo>
                  <a:lnTo>
                    <a:pt x="2627" y="2523"/>
                  </a:lnTo>
                  <a:lnTo>
                    <a:pt x="2675" y="2468"/>
                  </a:lnTo>
                  <a:lnTo>
                    <a:pt x="2719" y="2411"/>
                  </a:lnTo>
                  <a:lnTo>
                    <a:pt x="2762" y="2352"/>
                  </a:lnTo>
                  <a:lnTo>
                    <a:pt x="2801" y="2291"/>
                  </a:lnTo>
                  <a:lnTo>
                    <a:pt x="2837" y="2228"/>
                  </a:lnTo>
                  <a:lnTo>
                    <a:pt x="2870" y="2163"/>
                  </a:lnTo>
                  <a:lnTo>
                    <a:pt x="2901" y="2096"/>
                  </a:lnTo>
                  <a:lnTo>
                    <a:pt x="2928" y="2028"/>
                  </a:lnTo>
                  <a:lnTo>
                    <a:pt x="2952" y="1957"/>
                  </a:lnTo>
                  <a:lnTo>
                    <a:pt x="2972" y="1886"/>
                  </a:lnTo>
                  <a:lnTo>
                    <a:pt x="2989" y="1812"/>
                  </a:lnTo>
                  <a:lnTo>
                    <a:pt x="3002" y="1738"/>
                  </a:lnTo>
                  <a:lnTo>
                    <a:pt x="3011" y="1663"/>
                  </a:lnTo>
                  <a:lnTo>
                    <a:pt x="3017" y="1586"/>
                  </a:lnTo>
                  <a:lnTo>
                    <a:pt x="3019" y="1509"/>
                  </a:lnTo>
                  <a:lnTo>
                    <a:pt x="3017" y="1431"/>
                  </a:lnTo>
                  <a:lnTo>
                    <a:pt x="3011" y="1354"/>
                  </a:lnTo>
                  <a:lnTo>
                    <a:pt x="3002" y="1278"/>
                  </a:lnTo>
                  <a:lnTo>
                    <a:pt x="2989" y="1204"/>
                  </a:lnTo>
                  <a:lnTo>
                    <a:pt x="2972" y="1131"/>
                  </a:lnTo>
                  <a:lnTo>
                    <a:pt x="2952" y="1060"/>
                  </a:lnTo>
                  <a:lnTo>
                    <a:pt x="2928" y="990"/>
                  </a:lnTo>
                  <a:lnTo>
                    <a:pt x="2901" y="921"/>
                  </a:lnTo>
                  <a:lnTo>
                    <a:pt x="2870" y="854"/>
                  </a:lnTo>
                  <a:lnTo>
                    <a:pt x="2837" y="789"/>
                  </a:lnTo>
                  <a:lnTo>
                    <a:pt x="2801" y="726"/>
                  </a:lnTo>
                  <a:lnTo>
                    <a:pt x="2762" y="665"/>
                  </a:lnTo>
                  <a:lnTo>
                    <a:pt x="2719" y="605"/>
                  </a:lnTo>
                  <a:lnTo>
                    <a:pt x="2675" y="549"/>
                  </a:lnTo>
                  <a:lnTo>
                    <a:pt x="2627" y="494"/>
                  </a:lnTo>
                  <a:lnTo>
                    <a:pt x="2578" y="441"/>
                  </a:lnTo>
                  <a:lnTo>
                    <a:pt x="2525" y="391"/>
                  </a:lnTo>
                  <a:lnTo>
                    <a:pt x="2470" y="344"/>
                  </a:lnTo>
                  <a:lnTo>
                    <a:pt x="2413" y="300"/>
                  </a:lnTo>
                  <a:lnTo>
                    <a:pt x="2354" y="257"/>
                  </a:lnTo>
                  <a:lnTo>
                    <a:pt x="2293" y="218"/>
                  </a:lnTo>
                  <a:lnTo>
                    <a:pt x="2229" y="182"/>
                  </a:lnTo>
                  <a:lnTo>
                    <a:pt x="2164" y="149"/>
                  </a:lnTo>
                  <a:lnTo>
                    <a:pt x="2098" y="118"/>
                  </a:lnTo>
                  <a:lnTo>
                    <a:pt x="2029" y="91"/>
                  </a:lnTo>
                  <a:lnTo>
                    <a:pt x="1959" y="67"/>
                  </a:lnTo>
                  <a:lnTo>
                    <a:pt x="1887" y="47"/>
                  </a:lnTo>
                  <a:lnTo>
                    <a:pt x="1814" y="30"/>
                  </a:lnTo>
                  <a:lnTo>
                    <a:pt x="1739" y="17"/>
                  </a:lnTo>
                  <a:lnTo>
                    <a:pt x="1664" y="8"/>
                  </a:lnTo>
                  <a:lnTo>
                    <a:pt x="1587" y="2"/>
                  </a:lnTo>
                  <a:lnTo>
                    <a:pt x="1510" y="0"/>
                  </a:lnTo>
                  <a:lnTo>
                    <a:pt x="1432" y="2"/>
                  </a:lnTo>
                  <a:lnTo>
                    <a:pt x="1356" y="8"/>
                  </a:lnTo>
                  <a:lnTo>
                    <a:pt x="1280" y="17"/>
                  </a:lnTo>
                  <a:lnTo>
                    <a:pt x="1206" y="30"/>
                  </a:lnTo>
                  <a:lnTo>
                    <a:pt x="1132" y="47"/>
                  </a:lnTo>
                  <a:lnTo>
                    <a:pt x="1061" y="67"/>
                  </a:lnTo>
                  <a:lnTo>
                    <a:pt x="990" y="91"/>
                  </a:lnTo>
                  <a:lnTo>
                    <a:pt x="922" y="118"/>
                  </a:lnTo>
                  <a:lnTo>
                    <a:pt x="856" y="149"/>
                  </a:lnTo>
                  <a:lnTo>
                    <a:pt x="790" y="182"/>
                  </a:lnTo>
                  <a:lnTo>
                    <a:pt x="727" y="218"/>
                  </a:lnTo>
                  <a:lnTo>
                    <a:pt x="665" y="257"/>
                  </a:lnTo>
                  <a:lnTo>
                    <a:pt x="606" y="300"/>
                  </a:lnTo>
                  <a:lnTo>
                    <a:pt x="550" y="344"/>
                  </a:lnTo>
                  <a:lnTo>
                    <a:pt x="494" y="391"/>
                  </a:lnTo>
                  <a:lnTo>
                    <a:pt x="442" y="441"/>
                  </a:lnTo>
                  <a:lnTo>
                    <a:pt x="393" y="494"/>
                  </a:lnTo>
                  <a:lnTo>
                    <a:pt x="344" y="549"/>
                  </a:lnTo>
                  <a:lnTo>
                    <a:pt x="300" y="605"/>
                  </a:lnTo>
                  <a:lnTo>
                    <a:pt x="258" y="665"/>
                  </a:lnTo>
                  <a:lnTo>
                    <a:pt x="219" y="726"/>
                  </a:lnTo>
                  <a:lnTo>
                    <a:pt x="182" y="789"/>
                  </a:lnTo>
                  <a:lnTo>
                    <a:pt x="149" y="854"/>
                  </a:lnTo>
                  <a:lnTo>
                    <a:pt x="119" y="921"/>
                  </a:lnTo>
                  <a:lnTo>
                    <a:pt x="92" y="990"/>
                  </a:lnTo>
                  <a:lnTo>
                    <a:pt x="68" y="1060"/>
                  </a:lnTo>
                  <a:lnTo>
                    <a:pt x="48" y="1131"/>
                  </a:lnTo>
                  <a:lnTo>
                    <a:pt x="30" y="1204"/>
                  </a:lnTo>
                  <a:lnTo>
                    <a:pt x="17" y="1278"/>
                  </a:lnTo>
                  <a:lnTo>
                    <a:pt x="8" y="1354"/>
                  </a:lnTo>
                  <a:lnTo>
                    <a:pt x="2" y="1431"/>
                  </a:lnTo>
                  <a:lnTo>
                    <a:pt x="0" y="1509"/>
                  </a:lnTo>
                  <a:lnTo>
                    <a:pt x="2" y="1586"/>
                  </a:lnTo>
                  <a:lnTo>
                    <a:pt x="8" y="1663"/>
                  </a:lnTo>
                  <a:lnTo>
                    <a:pt x="17" y="1738"/>
                  </a:lnTo>
                  <a:lnTo>
                    <a:pt x="30" y="1812"/>
                  </a:lnTo>
                  <a:lnTo>
                    <a:pt x="48" y="1886"/>
                  </a:lnTo>
                  <a:lnTo>
                    <a:pt x="68" y="1957"/>
                  </a:lnTo>
                  <a:lnTo>
                    <a:pt x="92" y="2028"/>
                  </a:lnTo>
                  <a:lnTo>
                    <a:pt x="119" y="2096"/>
                  </a:lnTo>
                  <a:lnTo>
                    <a:pt x="149" y="2163"/>
                  </a:lnTo>
                  <a:lnTo>
                    <a:pt x="182" y="2228"/>
                  </a:lnTo>
                  <a:lnTo>
                    <a:pt x="219" y="2291"/>
                  </a:lnTo>
                  <a:lnTo>
                    <a:pt x="258" y="2352"/>
                  </a:lnTo>
                  <a:lnTo>
                    <a:pt x="300" y="2411"/>
                  </a:lnTo>
                  <a:lnTo>
                    <a:pt x="344" y="2468"/>
                  </a:lnTo>
                  <a:lnTo>
                    <a:pt x="393" y="2523"/>
                  </a:lnTo>
                  <a:lnTo>
                    <a:pt x="442" y="2575"/>
                  </a:lnTo>
                  <a:lnTo>
                    <a:pt x="494" y="2625"/>
                  </a:lnTo>
                  <a:lnTo>
                    <a:pt x="550" y="2673"/>
                  </a:lnTo>
                  <a:lnTo>
                    <a:pt x="606" y="2718"/>
                  </a:lnTo>
                  <a:lnTo>
                    <a:pt x="665" y="2760"/>
                  </a:lnTo>
                  <a:lnTo>
                    <a:pt x="727" y="2799"/>
                  </a:lnTo>
                  <a:lnTo>
                    <a:pt x="790" y="2836"/>
                  </a:lnTo>
                  <a:lnTo>
                    <a:pt x="856" y="2869"/>
                  </a:lnTo>
                  <a:lnTo>
                    <a:pt x="922" y="2899"/>
                  </a:lnTo>
                  <a:lnTo>
                    <a:pt x="990" y="2926"/>
                  </a:lnTo>
                  <a:lnTo>
                    <a:pt x="1061" y="2949"/>
                  </a:lnTo>
                  <a:lnTo>
                    <a:pt x="1132" y="2969"/>
                  </a:lnTo>
                  <a:lnTo>
                    <a:pt x="1206" y="2986"/>
                  </a:lnTo>
                  <a:lnTo>
                    <a:pt x="1280" y="2999"/>
                  </a:lnTo>
                  <a:lnTo>
                    <a:pt x="1356" y="3010"/>
                  </a:lnTo>
                  <a:lnTo>
                    <a:pt x="1432" y="3016"/>
                  </a:lnTo>
                  <a:lnTo>
                    <a:pt x="1510" y="30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67" name="íŝļídê">
              <a:extLst>
                <a:ext uri="{FF2B5EF4-FFF2-40B4-BE49-F238E27FC236}">
                  <a16:creationId xmlns:a16="http://schemas.microsoft.com/office/drawing/2014/main" id="{43195186-85E9-4AE8-AEBD-8BC24B451E5D}"/>
                </a:ext>
              </a:extLst>
            </p:cNvPr>
            <p:cNvSpPr/>
            <p:nvPr/>
          </p:nvSpPr>
          <p:spPr bwMode="auto">
            <a:xfrm>
              <a:off x="9362132" y="1846415"/>
              <a:ext cx="159468" cy="102588"/>
            </a:xfrm>
            <a:custGeom>
              <a:avLst/>
              <a:gdLst>
                <a:gd name="T0" fmla="*/ 4713 w 5797"/>
                <a:gd name="T1" fmla="*/ 41 h 3756"/>
                <a:gd name="T2" fmla="*/ 3661 w 5797"/>
                <a:gd name="T3" fmla="*/ 216 h 3756"/>
                <a:gd name="T4" fmla="*/ 2695 w 5797"/>
                <a:gd name="T5" fmla="*/ 516 h 3756"/>
                <a:gd name="T6" fmla="*/ 1839 w 5797"/>
                <a:gd name="T7" fmla="*/ 924 h 3756"/>
                <a:gd name="T8" fmla="*/ 1118 w 5797"/>
                <a:gd name="T9" fmla="*/ 1423 h 3756"/>
                <a:gd name="T10" fmla="*/ 556 w 5797"/>
                <a:gd name="T11" fmla="*/ 2001 h 3756"/>
                <a:gd name="T12" fmla="*/ 178 w 5797"/>
                <a:gd name="T13" fmla="*/ 2641 h 3756"/>
                <a:gd name="T14" fmla="*/ 7 w 5797"/>
                <a:gd name="T15" fmla="*/ 3329 h 3756"/>
                <a:gd name="T16" fmla="*/ 3 w 5797"/>
                <a:gd name="T17" fmla="*/ 3544 h 3756"/>
                <a:gd name="T18" fmla="*/ 15 w 5797"/>
                <a:gd name="T19" fmla="*/ 3592 h 3756"/>
                <a:gd name="T20" fmla="*/ 36 w 5797"/>
                <a:gd name="T21" fmla="*/ 3636 h 3756"/>
                <a:gd name="T22" fmla="*/ 65 w 5797"/>
                <a:gd name="T23" fmla="*/ 3674 h 3756"/>
                <a:gd name="T24" fmla="*/ 100 w 5797"/>
                <a:gd name="T25" fmla="*/ 3706 h 3756"/>
                <a:gd name="T26" fmla="*/ 143 w 5797"/>
                <a:gd name="T27" fmla="*/ 3731 h 3756"/>
                <a:gd name="T28" fmla="*/ 189 w 5797"/>
                <a:gd name="T29" fmla="*/ 3748 h 3756"/>
                <a:gd name="T30" fmla="*/ 239 w 5797"/>
                <a:gd name="T31" fmla="*/ 3756 h 3756"/>
                <a:gd name="T32" fmla="*/ 290 w 5797"/>
                <a:gd name="T33" fmla="*/ 3753 h 3756"/>
                <a:gd name="T34" fmla="*/ 338 w 5797"/>
                <a:gd name="T35" fmla="*/ 3741 h 3756"/>
                <a:gd name="T36" fmla="*/ 383 w 5797"/>
                <a:gd name="T37" fmla="*/ 3720 h 3756"/>
                <a:gd name="T38" fmla="*/ 421 w 5797"/>
                <a:gd name="T39" fmla="*/ 3691 h 3756"/>
                <a:gd name="T40" fmla="*/ 453 w 5797"/>
                <a:gd name="T41" fmla="*/ 3655 h 3756"/>
                <a:gd name="T42" fmla="*/ 479 w 5797"/>
                <a:gd name="T43" fmla="*/ 3614 h 3756"/>
                <a:gd name="T44" fmla="*/ 496 w 5797"/>
                <a:gd name="T45" fmla="*/ 3568 h 3756"/>
                <a:gd name="T46" fmla="*/ 504 w 5797"/>
                <a:gd name="T47" fmla="*/ 3519 h 3756"/>
                <a:gd name="T48" fmla="*/ 564 w 5797"/>
                <a:gd name="T49" fmla="*/ 3062 h 3756"/>
                <a:gd name="T50" fmla="*/ 820 w 5797"/>
                <a:gd name="T51" fmla="*/ 2496 h 3756"/>
                <a:gd name="T52" fmla="*/ 1257 w 5797"/>
                <a:gd name="T53" fmla="*/ 1973 h 3756"/>
                <a:gd name="T54" fmla="*/ 1848 w 5797"/>
                <a:gd name="T55" fmla="*/ 1509 h 3756"/>
                <a:gd name="T56" fmla="*/ 2572 w 5797"/>
                <a:gd name="T57" fmla="*/ 1115 h 3756"/>
                <a:gd name="T58" fmla="*/ 3402 w 5797"/>
                <a:gd name="T59" fmla="*/ 807 h 3756"/>
                <a:gd name="T60" fmla="*/ 4318 w 5797"/>
                <a:gd name="T61" fmla="*/ 599 h 3756"/>
                <a:gd name="T62" fmla="*/ 5294 w 5797"/>
                <a:gd name="T63" fmla="*/ 505 h 3756"/>
                <a:gd name="T64" fmla="*/ 5583 w 5797"/>
                <a:gd name="T65" fmla="*/ 498 h 3756"/>
                <a:gd name="T66" fmla="*/ 5632 w 5797"/>
                <a:gd name="T67" fmla="*/ 486 h 3756"/>
                <a:gd name="T68" fmla="*/ 5676 w 5797"/>
                <a:gd name="T69" fmla="*/ 465 h 3756"/>
                <a:gd name="T70" fmla="*/ 5714 w 5797"/>
                <a:gd name="T71" fmla="*/ 436 h 3756"/>
                <a:gd name="T72" fmla="*/ 5747 w 5797"/>
                <a:gd name="T73" fmla="*/ 401 h 3756"/>
                <a:gd name="T74" fmla="*/ 5772 w 5797"/>
                <a:gd name="T75" fmla="*/ 359 h 3756"/>
                <a:gd name="T76" fmla="*/ 5789 w 5797"/>
                <a:gd name="T77" fmla="*/ 313 h 3756"/>
                <a:gd name="T78" fmla="*/ 5797 w 5797"/>
                <a:gd name="T79" fmla="*/ 264 h 3756"/>
                <a:gd name="T80" fmla="*/ 5794 w 5797"/>
                <a:gd name="T81" fmla="*/ 212 h 3756"/>
                <a:gd name="T82" fmla="*/ 5782 w 5797"/>
                <a:gd name="T83" fmla="*/ 164 h 3756"/>
                <a:gd name="T84" fmla="*/ 5761 w 5797"/>
                <a:gd name="T85" fmla="*/ 120 h 3756"/>
                <a:gd name="T86" fmla="*/ 5732 w 5797"/>
                <a:gd name="T87" fmla="*/ 82 h 3756"/>
                <a:gd name="T88" fmla="*/ 5696 w 5797"/>
                <a:gd name="T89" fmla="*/ 50 h 3756"/>
                <a:gd name="T90" fmla="*/ 5654 w 5797"/>
                <a:gd name="T91" fmla="*/ 25 h 3756"/>
                <a:gd name="T92" fmla="*/ 5609 w 5797"/>
                <a:gd name="T93" fmla="*/ 8 h 3756"/>
                <a:gd name="T94" fmla="*/ 5558 w 5797"/>
                <a:gd name="T95" fmla="*/ 0 h 3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797" h="3756">
                  <a:moveTo>
                    <a:pt x="5545" y="0"/>
                  </a:moveTo>
                  <a:lnTo>
                    <a:pt x="5265" y="5"/>
                  </a:lnTo>
                  <a:lnTo>
                    <a:pt x="4987" y="18"/>
                  </a:lnTo>
                  <a:lnTo>
                    <a:pt x="4713" y="41"/>
                  </a:lnTo>
                  <a:lnTo>
                    <a:pt x="4444" y="73"/>
                  </a:lnTo>
                  <a:lnTo>
                    <a:pt x="4178" y="112"/>
                  </a:lnTo>
                  <a:lnTo>
                    <a:pt x="3917" y="160"/>
                  </a:lnTo>
                  <a:lnTo>
                    <a:pt x="3661" y="216"/>
                  </a:lnTo>
                  <a:lnTo>
                    <a:pt x="3411" y="281"/>
                  </a:lnTo>
                  <a:lnTo>
                    <a:pt x="3166" y="352"/>
                  </a:lnTo>
                  <a:lnTo>
                    <a:pt x="2927" y="431"/>
                  </a:lnTo>
                  <a:lnTo>
                    <a:pt x="2695" y="516"/>
                  </a:lnTo>
                  <a:lnTo>
                    <a:pt x="2470" y="608"/>
                  </a:lnTo>
                  <a:lnTo>
                    <a:pt x="2251" y="707"/>
                  </a:lnTo>
                  <a:lnTo>
                    <a:pt x="2041" y="812"/>
                  </a:lnTo>
                  <a:lnTo>
                    <a:pt x="1839" y="924"/>
                  </a:lnTo>
                  <a:lnTo>
                    <a:pt x="1645" y="1041"/>
                  </a:lnTo>
                  <a:lnTo>
                    <a:pt x="1460" y="1163"/>
                  </a:lnTo>
                  <a:lnTo>
                    <a:pt x="1284" y="1291"/>
                  </a:lnTo>
                  <a:lnTo>
                    <a:pt x="1118" y="1423"/>
                  </a:lnTo>
                  <a:lnTo>
                    <a:pt x="961" y="1562"/>
                  </a:lnTo>
                  <a:lnTo>
                    <a:pt x="815" y="1704"/>
                  </a:lnTo>
                  <a:lnTo>
                    <a:pt x="680" y="1851"/>
                  </a:lnTo>
                  <a:lnTo>
                    <a:pt x="556" y="2001"/>
                  </a:lnTo>
                  <a:lnTo>
                    <a:pt x="443" y="2157"/>
                  </a:lnTo>
                  <a:lnTo>
                    <a:pt x="342" y="2315"/>
                  </a:lnTo>
                  <a:lnTo>
                    <a:pt x="254" y="2477"/>
                  </a:lnTo>
                  <a:lnTo>
                    <a:pt x="178" y="2641"/>
                  </a:lnTo>
                  <a:lnTo>
                    <a:pt x="115" y="2810"/>
                  </a:lnTo>
                  <a:lnTo>
                    <a:pt x="65" y="2980"/>
                  </a:lnTo>
                  <a:lnTo>
                    <a:pt x="29" y="3153"/>
                  </a:lnTo>
                  <a:lnTo>
                    <a:pt x="7" y="3329"/>
                  </a:lnTo>
                  <a:lnTo>
                    <a:pt x="0" y="3506"/>
                  </a:lnTo>
                  <a:lnTo>
                    <a:pt x="0" y="3519"/>
                  </a:lnTo>
                  <a:lnTo>
                    <a:pt x="1" y="3531"/>
                  </a:lnTo>
                  <a:lnTo>
                    <a:pt x="3" y="3544"/>
                  </a:lnTo>
                  <a:lnTo>
                    <a:pt x="5" y="3556"/>
                  </a:lnTo>
                  <a:lnTo>
                    <a:pt x="8" y="3568"/>
                  </a:lnTo>
                  <a:lnTo>
                    <a:pt x="11" y="3580"/>
                  </a:lnTo>
                  <a:lnTo>
                    <a:pt x="15" y="3592"/>
                  </a:lnTo>
                  <a:lnTo>
                    <a:pt x="20" y="3603"/>
                  </a:lnTo>
                  <a:lnTo>
                    <a:pt x="25" y="3614"/>
                  </a:lnTo>
                  <a:lnTo>
                    <a:pt x="30" y="3625"/>
                  </a:lnTo>
                  <a:lnTo>
                    <a:pt x="36" y="3636"/>
                  </a:lnTo>
                  <a:lnTo>
                    <a:pt x="43" y="3646"/>
                  </a:lnTo>
                  <a:lnTo>
                    <a:pt x="50" y="3655"/>
                  </a:lnTo>
                  <a:lnTo>
                    <a:pt x="57" y="3665"/>
                  </a:lnTo>
                  <a:lnTo>
                    <a:pt x="65" y="3674"/>
                  </a:lnTo>
                  <a:lnTo>
                    <a:pt x="73" y="3683"/>
                  </a:lnTo>
                  <a:lnTo>
                    <a:pt x="82" y="3691"/>
                  </a:lnTo>
                  <a:lnTo>
                    <a:pt x="91" y="3699"/>
                  </a:lnTo>
                  <a:lnTo>
                    <a:pt x="100" y="3706"/>
                  </a:lnTo>
                  <a:lnTo>
                    <a:pt x="111" y="3713"/>
                  </a:lnTo>
                  <a:lnTo>
                    <a:pt x="121" y="3720"/>
                  </a:lnTo>
                  <a:lnTo>
                    <a:pt x="132" y="3726"/>
                  </a:lnTo>
                  <a:lnTo>
                    <a:pt x="143" y="3731"/>
                  </a:lnTo>
                  <a:lnTo>
                    <a:pt x="154" y="3736"/>
                  </a:lnTo>
                  <a:lnTo>
                    <a:pt x="165" y="3741"/>
                  </a:lnTo>
                  <a:lnTo>
                    <a:pt x="177" y="3745"/>
                  </a:lnTo>
                  <a:lnTo>
                    <a:pt x="189" y="3748"/>
                  </a:lnTo>
                  <a:lnTo>
                    <a:pt x="201" y="3751"/>
                  </a:lnTo>
                  <a:lnTo>
                    <a:pt x="213" y="3753"/>
                  </a:lnTo>
                  <a:lnTo>
                    <a:pt x="226" y="3755"/>
                  </a:lnTo>
                  <a:lnTo>
                    <a:pt x="239" y="3756"/>
                  </a:lnTo>
                  <a:lnTo>
                    <a:pt x="252" y="3756"/>
                  </a:lnTo>
                  <a:lnTo>
                    <a:pt x="265" y="3756"/>
                  </a:lnTo>
                  <a:lnTo>
                    <a:pt x="278" y="3755"/>
                  </a:lnTo>
                  <a:lnTo>
                    <a:pt x="290" y="3753"/>
                  </a:lnTo>
                  <a:lnTo>
                    <a:pt x="302" y="3751"/>
                  </a:lnTo>
                  <a:lnTo>
                    <a:pt x="315" y="3748"/>
                  </a:lnTo>
                  <a:lnTo>
                    <a:pt x="326" y="3745"/>
                  </a:lnTo>
                  <a:lnTo>
                    <a:pt x="338" y="3741"/>
                  </a:lnTo>
                  <a:lnTo>
                    <a:pt x="349" y="3736"/>
                  </a:lnTo>
                  <a:lnTo>
                    <a:pt x="361" y="3731"/>
                  </a:lnTo>
                  <a:lnTo>
                    <a:pt x="372" y="3726"/>
                  </a:lnTo>
                  <a:lnTo>
                    <a:pt x="383" y="3720"/>
                  </a:lnTo>
                  <a:lnTo>
                    <a:pt x="393" y="3713"/>
                  </a:lnTo>
                  <a:lnTo>
                    <a:pt x="403" y="3706"/>
                  </a:lnTo>
                  <a:lnTo>
                    <a:pt x="412" y="3699"/>
                  </a:lnTo>
                  <a:lnTo>
                    <a:pt x="421" y="3691"/>
                  </a:lnTo>
                  <a:lnTo>
                    <a:pt x="430" y="3683"/>
                  </a:lnTo>
                  <a:lnTo>
                    <a:pt x="438" y="3674"/>
                  </a:lnTo>
                  <a:lnTo>
                    <a:pt x="446" y="3665"/>
                  </a:lnTo>
                  <a:lnTo>
                    <a:pt x="453" y="3655"/>
                  </a:lnTo>
                  <a:lnTo>
                    <a:pt x="460" y="3646"/>
                  </a:lnTo>
                  <a:lnTo>
                    <a:pt x="467" y="3636"/>
                  </a:lnTo>
                  <a:lnTo>
                    <a:pt x="474" y="3625"/>
                  </a:lnTo>
                  <a:lnTo>
                    <a:pt x="479" y="3614"/>
                  </a:lnTo>
                  <a:lnTo>
                    <a:pt x="484" y="3603"/>
                  </a:lnTo>
                  <a:lnTo>
                    <a:pt x="489" y="3592"/>
                  </a:lnTo>
                  <a:lnTo>
                    <a:pt x="493" y="3580"/>
                  </a:lnTo>
                  <a:lnTo>
                    <a:pt x="496" y="3568"/>
                  </a:lnTo>
                  <a:lnTo>
                    <a:pt x="499" y="3556"/>
                  </a:lnTo>
                  <a:lnTo>
                    <a:pt x="501" y="3544"/>
                  </a:lnTo>
                  <a:lnTo>
                    <a:pt x="503" y="3531"/>
                  </a:lnTo>
                  <a:lnTo>
                    <a:pt x="504" y="3519"/>
                  </a:lnTo>
                  <a:lnTo>
                    <a:pt x="504" y="3506"/>
                  </a:lnTo>
                  <a:lnTo>
                    <a:pt x="511" y="3357"/>
                  </a:lnTo>
                  <a:lnTo>
                    <a:pt x="531" y="3208"/>
                  </a:lnTo>
                  <a:lnTo>
                    <a:pt x="564" y="3062"/>
                  </a:lnTo>
                  <a:lnTo>
                    <a:pt x="611" y="2917"/>
                  </a:lnTo>
                  <a:lnTo>
                    <a:pt x="669" y="2775"/>
                  </a:lnTo>
                  <a:lnTo>
                    <a:pt x="739" y="2634"/>
                  </a:lnTo>
                  <a:lnTo>
                    <a:pt x="820" y="2496"/>
                  </a:lnTo>
                  <a:lnTo>
                    <a:pt x="914" y="2361"/>
                  </a:lnTo>
                  <a:lnTo>
                    <a:pt x="1018" y="2229"/>
                  </a:lnTo>
                  <a:lnTo>
                    <a:pt x="1132" y="2100"/>
                  </a:lnTo>
                  <a:lnTo>
                    <a:pt x="1257" y="1973"/>
                  </a:lnTo>
                  <a:lnTo>
                    <a:pt x="1391" y="1851"/>
                  </a:lnTo>
                  <a:lnTo>
                    <a:pt x="1534" y="1733"/>
                  </a:lnTo>
                  <a:lnTo>
                    <a:pt x="1686" y="1619"/>
                  </a:lnTo>
                  <a:lnTo>
                    <a:pt x="1848" y="1509"/>
                  </a:lnTo>
                  <a:lnTo>
                    <a:pt x="2017" y="1403"/>
                  </a:lnTo>
                  <a:lnTo>
                    <a:pt x="2195" y="1302"/>
                  </a:lnTo>
                  <a:lnTo>
                    <a:pt x="2379" y="1206"/>
                  </a:lnTo>
                  <a:lnTo>
                    <a:pt x="2572" y="1115"/>
                  </a:lnTo>
                  <a:lnTo>
                    <a:pt x="2769" y="1030"/>
                  </a:lnTo>
                  <a:lnTo>
                    <a:pt x="2975" y="950"/>
                  </a:lnTo>
                  <a:lnTo>
                    <a:pt x="3186" y="876"/>
                  </a:lnTo>
                  <a:lnTo>
                    <a:pt x="3402" y="807"/>
                  </a:lnTo>
                  <a:lnTo>
                    <a:pt x="3624" y="745"/>
                  </a:lnTo>
                  <a:lnTo>
                    <a:pt x="3851" y="690"/>
                  </a:lnTo>
                  <a:lnTo>
                    <a:pt x="4083" y="641"/>
                  </a:lnTo>
                  <a:lnTo>
                    <a:pt x="4318" y="599"/>
                  </a:lnTo>
                  <a:lnTo>
                    <a:pt x="4557" y="564"/>
                  </a:lnTo>
                  <a:lnTo>
                    <a:pt x="4800" y="537"/>
                  </a:lnTo>
                  <a:lnTo>
                    <a:pt x="5046" y="517"/>
                  </a:lnTo>
                  <a:lnTo>
                    <a:pt x="5294" y="505"/>
                  </a:lnTo>
                  <a:lnTo>
                    <a:pt x="5545" y="501"/>
                  </a:lnTo>
                  <a:lnTo>
                    <a:pt x="5558" y="501"/>
                  </a:lnTo>
                  <a:lnTo>
                    <a:pt x="5571" y="500"/>
                  </a:lnTo>
                  <a:lnTo>
                    <a:pt x="5583" y="498"/>
                  </a:lnTo>
                  <a:lnTo>
                    <a:pt x="5595" y="496"/>
                  </a:lnTo>
                  <a:lnTo>
                    <a:pt x="5609" y="493"/>
                  </a:lnTo>
                  <a:lnTo>
                    <a:pt x="5620" y="490"/>
                  </a:lnTo>
                  <a:lnTo>
                    <a:pt x="5632" y="486"/>
                  </a:lnTo>
                  <a:lnTo>
                    <a:pt x="5643" y="481"/>
                  </a:lnTo>
                  <a:lnTo>
                    <a:pt x="5654" y="476"/>
                  </a:lnTo>
                  <a:lnTo>
                    <a:pt x="5665" y="471"/>
                  </a:lnTo>
                  <a:lnTo>
                    <a:pt x="5676" y="465"/>
                  </a:lnTo>
                  <a:lnTo>
                    <a:pt x="5686" y="458"/>
                  </a:lnTo>
                  <a:lnTo>
                    <a:pt x="5696" y="451"/>
                  </a:lnTo>
                  <a:lnTo>
                    <a:pt x="5705" y="444"/>
                  </a:lnTo>
                  <a:lnTo>
                    <a:pt x="5714" y="436"/>
                  </a:lnTo>
                  <a:lnTo>
                    <a:pt x="5723" y="428"/>
                  </a:lnTo>
                  <a:lnTo>
                    <a:pt x="5732" y="419"/>
                  </a:lnTo>
                  <a:lnTo>
                    <a:pt x="5740" y="410"/>
                  </a:lnTo>
                  <a:lnTo>
                    <a:pt x="5747" y="401"/>
                  </a:lnTo>
                  <a:lnTo>
                    <a:pt x="5754" y="391"/>
                  </a:lnTo>
                  <a:lnTo>
                    <a:pt x="5761" y="381"/>
                  </a:lnTo>
                  <a:lnTo>
                    <a:pt x="5767" y="370"/>
                  </a:lnTo>
                  <a:lnTo>
                    <a:pt x="5772" y="359"/>
                  </a:lnTo>
                  <a:lnTo>
                    <a:pt x="5777" y="348"/>
                  </a:lnTo>
                  <a:lnTo>
                    <a:pt x="5782" y="337"/>
                  </a:lnTo>
                  <a:lnTo>
                    <a:pt x="5786" y="325"/>
                  </a:lnTo>
                  <a:lnTo>
                    <a:pt x="5789" y="313"/>
                  </a:lnTo>
                  <a:lnTo>
                    <a:pt x="5792" y="301"/>
                  </a:lnTo>
                  <a:lnTo>
                    <a:pt x="5794" y="289"/>
                  </a:lnTo>
                  <a:lnTo>
                    <a:pt x="5796" y="277"/>
                  </a:lnTo>
                  <a:lnTo>
                    <a:pt x="5797" y="264"/>
                  </a:lnTo>
                  <a:lnTo>
                    <a:pt x="5797" y="251"/>
                  </a:lnTo>
                  <a:lnTo>
                    <a:pt x="5797" y="237"/>
                  </a:lnTo>
                  <a:lnTo>
                    <a:pt x="5796" y="225"/>
                  </a:lnTo>
                  <a:lnTo>
                    <a:pt x="5794" y="212"/>
                  </a:lnTo>
                  <a:lnTo>
                    <a:pt x="5792" y="200"/>
                  </a:lnTo>
                  <a:lnTo>
                    <a:pt x="5789" y="188"/>
                  </a:lnTo>
                  <a:lnTo>
                    <a:pt x="5786" y="176"/>
                  </a:lnTo>
                  <a:lnTo>
                    <a:pt x="5782" y="164"/>
                  </a:lnTo>
                  <a:lnTo>
                    <a:pt x="5777" y="153"/>
                  </a:lnTo>
                  <a:lnTo>
                    <a:pt x="5772" y="142"/>
                  </a:lnTo>
                  <a:lnTo>
                    <a:pt x="5767" y="131"/>
                  </a:lnTo>
                  <a:lnTo>
                    <a:pt x="5761" y="120"/>
                  </a:lnTo>
                  <a:lnTo>
                    <a:pt x="5754" y="110"/>
                  </a:lnTo>
                  <a:lnTo>
                    <a:pt x="5747" y="100"/>
                  </a:lnTo>
                  <a:lnTo>
                    <a:pt x="5740" y="91"/>
                  </a:lnTo>
                  <a:lnTo>
                    <a:pt x="5732" y="82"/>
                  </a:lnTo>
                  <a:lnTo>
                    <a:pt x="5723" y="73"/>
                  </a:lnTo>
                  <a:lnTo>
                    <a:pt x="5714" y="65"/>
                  </a:lnTo>
                  <a:lnTo>
                    <a:pt x="5705" y="57"/>
                  </a:lnTo>
                  <a:lnTo>
                    <a:pt x="5696" y="50"/>
                  </a:lnTo>
                  <a:lnTo>
                    <a:pt x="5686" y="43"/>
                  </a:lnTo>
                  <a:lnTo>
                    <a:pt x="5676" y="36"/>
                  </a:lnTo>
                  <a:lnTo>
                    <a:pt x="5665" y="30"/>
                  </a:lnTo>
                  <a:lnTo>
                    <a:pt x="5654" y="25"/>
                  </a:lnTo>
                  <a:lnTo>
                    <a:pt x="5643" y="20"/>
                  </a:lnTo>
                  <a:lnTo>
                    <a:pt x="5632" y="15"/>
                  </a:lnTo>
                  <a:lnTo>
                    <a:pt x="5620" y="11"/>
                  </a:lnTo>
                  <a:lnTo>
                    <a:pt x="5609" y="8"/>
                  </a:lnTo>
                  <a:lnTo>
                    <a:pt x="5595" y="5"/>
                  </a:lnTo>
                  <a:lnTo>
                    <a:pt x="5583" y="3"/>
                  </a:lnTo>
                  <a:lnTo>
                    <a:pt x="5571" y="1"/>
                  </a:lnTo>
                  <a:lnTo>
                    <a:pt x="5558" y="0"/>
                  </a:lnTo>
                  <a:lnTo>
                    <a:pt x="55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68" name="íSḷïďe">
              <a:extLst>
                <a:ext uri="{FF2B5EF4-FFF2-40B4-BE49-F238E27FC236}">
                  <a16:creationId xmlns:a16="http://schemas.microsoft.com/office/drawing/2014/main" id="{30718709-42D4-4FA2-A51D-200E9BCB9AE6}"/>
                </a:ext>
              </a:extLst>
            </p:cNvPr>
            <p:cNvSpPr/>
            <p:nvPr/>
          </p:nvSpPr>
          <p:spPr bwMode="auto">
            <a:xfrm>
              <a:off x="9293063" y="1777346"/>
              <a:ext cx="442853" cy="384957"/>
            </a:xfrm>
            <a:custGeom>
              <a:avLst/>
              <a:gdLst>
                <a:gd name="T0" fmla="*/ 7365 w 16132"/>
                <a:gd name="T1" fmla="*/ 10992 h 14023"/>
                <a:gd name="T2" fmla="*/ 6620 w 16132"/>
                <a:gd name="T3" fmla="*/ 10910 h 14023"/>
                <a:gd name="T4" fmla="*/ 6344 w 16132"/>
                <a:gd name="T5" fmla="*/ 10917 h 14023"/>
                <a:gd name="T6" fmla="*/ 6106 w 16132"/>
                <a:gd name="T7" fmla="*/ 10988 h 14023"/>
                <a:gd name="T8" fmla="*/ 5892 w 16132"/>
                <a:gd name="T9" fmla="*/ 11114 h 14023"/>
                <a:gd name="T10" fmla="*/ 5710 w 16132"/>
                <a:gd name="T11" fmla="*/ 11296 h 14023"/>
                <a:gd name="T12" fmla="*/ 5336 w 16132"/>
                <a:gd name="T13" fmla="*/ 11674 h 14023"/>
                <a:gd name="T14" fmla="*/ 4873 w 16132"/>
                <a:gd name="T15" fmla="*/ 12065 h 14023"/>
                <a:gd name="T16" fmla="*/ 4310 w 16132"/>
                <a:gd name="T17" fmla="*/ 12459 h 14023"/>
                <a:gd name="T18" fmla="*/ 4388 w 16132"/>
                <a:gd name="T19" fmla="*/ 11971 h 14023"/>
                <a:gd name="T20" fmla="*/ 4488 w 16132"/>
                <a:gd name="T21" fmla="*/ 11553 h 14023"/>
                <a:gd name="T22" fmla="*/ 4535 w 16132"/>
                <a:gd name="T23" fmla="*/ 11121 h 14023"/>
                <a:gd name="T24" fmla="*/ 4531 w 16132"/>
                <a:gd name="T25" fmla="*/ 10842 h 14023"/>
                <a:gd name="T26" fmla="*/ 4442 w 16132"/>
                <a:gd name="T27" fmla="*/ 10547 h 14023"/>
                <a:gd name="T28" fmla="*/ 4269 w 16132"/>
                <a:gd name="T29" fmla="*/ 10296 h 14023"/>
                <a:gd name="T30" fmla="*/ 4023 w 16132"/>
                <a:gd name="T31" fmla="*/ 10106 h 14023"/>
                <a:gd name="T32" fmla="*/ 2737 w 16132"/>
                <a:gd name="T33" fmla="*/ 9277 h 14023"/>
                <a:gd name="T34" fmla="*/ 1706 w 16132"/>
                <a:gd name="T35" fmla="*/ 8163 h 14023"/>
                <a:gd name="T36" fmla="*/ 1123 w 16132"/>
                <a:gd name="T37" fmla="*/ 6901 h 14023"/>
                <a:gd name="T38" fmla="*/ 1090 w 16132"/>
                <a:gd name="T39" fmla="*/ 5248 h 14023"/>
                <a:gd name="T40" fmla="*/ 2215 w 16132"/>
                <a:gd name="T41" fmla="*/ 3211 h 14023"/>
                <a:gd name="T42" fmla="*/ 4409 w 16132"/>
                <a:gd name="T43" fmla="*/ 1728 h 14023"/>
                <a:gd name="T44" fmla="*/ 7345 w 16132"/>
                <a:gd name="T45" fmla="*/ 1028 h 14023"/>
                <a:gd name="T46" fmla="*/ 10490 w 16132"/>
                <a:gd name="T47" fmla="*/ 1306 h 14023"/>
                <a:gd name="T48" fmla="*/ 13054 w 16132"/>
                <a:gd name="T49" fmla="*/ 2470 h 14023"/>
                <a:gd name="T50" fmla="*/ 14695 w 16132"/>
                <a:gd name="T51" fmla="*/ 4290 h 14023"/>
                <a:gd name="T52" fmla="*/ 15087 w 16132"/>
                <a:gd name="T53" fmla="*/ 6521 h 14023"/>
                <a:gd name="T54" fmla="*/ 14100 w 16132"/>
                <a:gd name="T55" fmla="*/ 8605 h 14023"/>
                <a:gd name="T56" fmla="*/ 12009 w 16132"/>
                <a:gd name="T57" fmla="*/ 10162 h 14023"/>
                <a:gd name="T58" fmla="*/ 9140 w 16132"/>
                <a:gd name="T59" fmla="*/ 10960 h 14023"/>
                <a:gd name="T60" fmla="*/ 6051 w 16132"/>
                <a:gd name="T61" fmla="*/ 189 h 14023"/>
                <a:gd name="T62" fmla="*/ 2935 w 16132"/>
                <a:gd name="T63" fmla="*/ 1372 h 14023"/>
                <a:gd name="T64" fmla="*/ 796 w 16132"/>
                <a:gd name="T65" fmla="*/ 3405 h 14023"/>
                <a:gd name="T66" fmla="*/ 0 w 16132"/>
                <a:gd name="T67" fmla="*/ 6010 h 14023"/>
                <a:gd name="T68" fmla="*/ 318 w 16132"/>
                <a:gd name="T69" fmla="*/ 7685 h 14023"/>
                <a:gd name="T70" fmla="*/ 1211 w 16132"/>
                <a:gd name="T71" fmla="*/ 9177 h 14023"/>
                <a:gd name="T72" fmla="*/ 2590 w 16132"/>
                <a:gd name="T73" fmla="*/ 10421 h 14023"/>
                <a:gd name="T74" fmla="*/ 3529 w 16132"/>
                <a:gd name="T75" fmla="*/ 11018 h 14023"/>
                <a:gd name="T76" fmla="*/ 3392 w 16132"/>
                <a:gd name="T77" fmla="*/ 11780 h 14023"/>
                <a:gd name="T78" fmla="*/ 3075 w 16132"/>
                <a:gd name="T79" fmla="*/ 12505 h 14023"/>
                <a:gd name="T80" fmla="*/ 2616 w 16132"/>
                <a:gd name="T81" fmla="*/ 13290 h 14023"/>
                <a:gd name="T82" fmla="*/ 2522 w 16132"/>
                <a:gd name="T83" fmla="*/ 13545 h 14023"/>
                <a:gd name="T84" fmla="*/ 2556 w 16132"/>
                <a:gd name="T85" fmla="*/ 13746 h 14023"/>
                <a:gd name="T86" fmla="*/ 2670 w 16132"/>
                <a:gd name="T87" fmla="*/ 13905 h 14023"/>
                <a:gd name="T88" fmla="*/ 2841 w 16132"/>
                <a:gd name="T89" fmla="*/ 14003 h 14023"/>
                <a:gd name="T90" fmla="*/ 3078 w 16132"/>
                <a:gd name="T91" fmla="*/ 14016 h 14023"/>
                <a:gd name="T92" fmla="*/ 3690 w 16132"/>
                <a:gd name="T93" fmla="*/ 13870 h 14023"/>
                <a:gd name="T94" fmla="*/ 4910 w 16132"/>
                <a:gd name="T95" fmla="*/ 13267 h 14023"/>
                <a:gd name="T96" fmla="*/ 5885 w 16132"/>
                <a:gd name="T97" fmla="*/ 12528 h 14023"/>
                <a:gd name="T98" fmla="*/ 6475 w 16132"/>
                <a:gd name="T99" fmla="*/ 11947 h 14023"/>
                <a:gd name="T100" fmla="*/ 7278 w 16132"/>
                <a:gd name="T101" fmla="*/ 11990 h 14023"/>
                <a:gd name="T102" fmla="*/ 8481 w 16132"/>
                <a:gd name="T103" fmla="*/ 12012 h 14023"/>
                <a:gd name="T104" fmla="*/ 11910 w 16132"/>
                <a:gd name="T105" fmla="*/ 11295 h 14023"/>
                <a:gd name="T106" fmla="*/ 14530 w 16132"/>
                <a:gd name="T107" fmla="*/ 9606 h 14023"/>
                <a:gd name="T108" fmla="*/ 15968 w 16132"/>
                <a:gd name="T109" fmla="*/ 7221 h 14023"/>
                <a:gd name="T110" fmla="*/ 15878 w 16132"/>
                <a:gd name="T111" fmla="*/ 4508 h 14023"/>
                <a:gd name="T112" fmla="*/ 14290 w 16132"/>
                <a:gd name="T113" fmla="*/ 2188 h 14023"/>
                <a:gd name="T114" fmla="*/ 11563 w 16132"/>
                <a:gd name="T115" fmla="*/ 593 h 14023"/>
                <a:gd name="T116" fmla="*/ 8066 w 16132"/>
                <a:gd name="T117" fmla="*/ 0 h 14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132" h="14023">
                  <a:moveTo>
                    <a:pt x="8066" y="11018"/>
                  </a:moveTo>
                  <a:lnTo>
                    <a:pt x="7979" y="11018"/>
                  </a:lnTo>
                  <a:lnTo>
                    <a:pt x="7893" y="11016"/>
                  </a:lnTo>
                  <a:lnTo>
                    <a:pt x="7805" y="11014"/>
                  </a:lnTo>
                  <a:lnTo>
                    <a:pt x="7717" y="11012"/>
                  </a:lnTo>
                  <a:lnTo>
                    <a:pt x="7629" y="11008"/>
                  </a:lnTo>
                  <a:lnTo>
                    <a:pt x="7542" y="11003"/>
                  </a:lnTo>
                  <a:lnTo>
                    <a:pt x="7454" y="10998"/>
                  </a:lnTo>
                  <a:lnTo>
                    <a:pt x="7365" y="10992"/>
                  </a:lnTo>
                  <a:lnTo>
                    <a:pt x="7278" y="10985"/>
                  </a:lnTo>
                  <a:lnTo>
                    <a:pt x="7189" y="10978"/>
                  </a:lnTo>
                  <a:lnTo>
                    <a:pt x="7100" y="10969"/>
                  </a:lnTo>
                  <a:lnTo>
                    <a:pt x="7011" y="10960"/>
                  </a:lnTo>
                  <a:lnTo>
                    <a:pt x="6923" y="10950"/>
                  </a:lnTo>
                  <a:lnTo>
                    <a:pt x="6834" y="10939"/>
                  </a:lnTo>
                  <a:lnTo>
                    <a:pt x="6745" y="10927"/>
                  </a:lnTo>
                  <a:lnTo>
                    <a:pt x="6656" y="10914"/>
                  </a:lnTo>
                  <a:lnTo>
                    <a:pt x="6620" y="10910"/>
                  </a:lnTo>
                  <a:lnTo>
                    <a:pt x="6583" y="10906"/>
                  </a:lnTo>
                  <a:lnTo>
                    <a:pt x="6547" y="10904"/>
                  </a:lnTo>
                  <a:lnTo>
                    <a:pt x="6510" y="10903"/>
                  </a:lnTo>
                  <a:lnTo>
                    <a:pt x="6482" y="10904"/>
                  </a:lnTo>
                  <a:lnTo>
                    <a:pt x="6455" y="10905"/>
                  </a:lnTo>
                  <a:lnTo>
                    <a:pt x="6427" y="10907"/>
                  </a:lnTo>
                  <a:lnTo>
                    <a:pt x="6398" y="10910"/>
                  </a:lnTo>
                  <a:lnTo>
                    <a:pt x="6371" y="10913"/>
                  </a:lnTo>
                  <a:lnTo>
                    <a:pt x="6344" y="10917"/>
                  </a:lnTo>
                  <a:lnTo>
                    <a:pt x="6317" y="10922"/>
                  </a:lnTo>
                  <a:lnTo>
                    <a:pt x="6289" y="10928"/>
                  </a:lnTo>
                  <a:lnTo>
                    <a:pt x="6262" y="10934"/>
                  </a:lnTo>
                  <a:lnTo>
                    <a:pt x="6236" y="10941"/>
                  </a:lnTo>
                  <a:lnTo>
                    <a:pt x="6210" y="10949"/>
                  </a:lnTo>
                  <a:lnTo>
                    <a:pt x="6183" y="10958"/>
                  </a:lnTo>
                  <a:lnTo>
                    <a:pt x="6157" y="10967"/>
                  </a:lnTo>
                  <a:lnTo>
                    <a:pt x="6131" y="10977"/>
                  </a:lnTo>
                  <a:lnTo>
                    <a:pt x="6106" y="10988"/>
                  </a:lnTo>
                  <a:lnTo>
                    <a:pt x="6081" y="10999"/>
                  </a:lnTo>
                  <a:lnTo>
                    <a:pt x="6056" y="11011"/>
                  </a:lnTo>
                  <a:lnTo>
                    <a:pt x="6031" y="11024"/>
                  </a:lnTo>
                  <a:lnTo>
                    <a:pt x="6007" y="11037"/>
                  </a:lnTo>
                  <a:lnTo>
                    <a:pt x="5983" y="11051"/>
                  </a:lnTo>
                  <a:lnTo>
                    <a:pt x="5960" y="11066"/>
                  </a:lnTo>
                  <a:lnTo>
                    <a:pt x="5937" y="11081"/>
                  </a:lnTo>
                  <a:lnTo>
                    <a:pt x="5914" y="11097"/>
                  </a:lnTo>
                  <a:lnTo>
                    <a:pt x="5892" y="11114"/>
                  </a:lnTo>
                  <a:lnTo>
                    <a:pt x="5870" y="11131"/>
                  </a:lnTo>
                  <a:lnTo>
                    <a:pt x="5849" y="11149"/>
                  </a:lnTo>
                  <a:lnTo>
                    <a:pt x="5828" y="11167"/>
                  </a:lnTo>
                  <a:lnTo>
                    <a:pt x="5808" y="11187"/>
                  </a:lnTo>
                  <a:lnTo>
                    <a:pt x="5787" y="11206"/>
                  </a:lnTo>
                  <a:lnTo>
                    <a:pt x="5768" y="11227"/>
                  </a:lnTo>
                  <a:lnTo>
                    <a:pt x="5749" y="11248"/>
                  </a:lnTo>
                  <a:lnTo>
                    <a:pt x="5731" y="11269"/>
                  </a:lnTo>
                  <a:lnTo>
                    <a:pt x="5710" y="11296"/>
                  </a:lnTo>
                  <a:lnTo>
                    <a:pt x="5686" y="11323"/>
                  </a:lnTo>
                  <a:lnTo>
                    <a:pt x="5660" y="11352"/>
                  </a:lnTo>
                  <a:lnTo>
                    <a:pt x="5632" y="11382"/>
                  </a:lnTo>
                  <a:lnTo>
                    <a:pt x="5570" y="11448"/>
                  </a:lnTo>
                  <a:lnTo>
                    <a:pt x="5499" y="11518"/>
                  </a:lnTo>
                  <a:lnTo>
                    <a:pt x="5461" y="11556"/>
                  </a:lnTo>
                  <a:lnTo>
                    <a:pt x="5420" y="11594"/>
                  </a:lnTo>
                  <a:lnTo>
                    <a:pt x="5379" y="11633"/>
                  </a:lnTo>
                  <a:lnTo>
                    <a:pt x="5336" y="11674"/>
                  </a:lnTo>
                  <a:lnTo>
                    <a:pt x="5290" y="11715"/>
                  </a:lnTo>
                  <a:lnTo>
                    <a:pt x="5243" y="11757"/>
                  </a:lnTo>
                  <a:lnTo>
                    <a:pt x="5195" y="11799"/>
                  </a:lnTo>
                  <a:lnTo>
                    <a:pt x="5145" y="11842"/>
                  </a:lnTo>
                  <a:lnTo>
                    <a:pt x="5093" y="11886"/>
                  </a:lnTo>
                  <a:lnTo>
                    <a:pt x="5040" y="11931"/>
                  </a:lnTo>
                  <a:lnTo>
                    <a:pt x="4986" y="11975"/>
                  </a:lnTo>
                  <a:lnTo>
                    <a:pt x="4930" y="12020"/>
                  </a:lnTo>
                  <a:lnTo>
                    <a:pt x="4873" y="12065"/>
                  </a:lnTo>
                  <a:lnTo>
                    <a:pt x="4814" y="12109"/>
                  </a:lnTo>
                  <a:lnTo>
                    <a:pt x="4755" y="12154"/>
                  </a:lnTo>
                  <a:lnTo>
                    <a:pt x="4694" y="12199"/>
                  </a:lnTo>
                  <a:lnTo>
                    <a:pt x="4633" y="12243"/>
                  </a:lnTo>
                  <a:lnTo>
                    <a:pt x="4570" y="12287"/>
                  </a:lnTo>
                  <a:lnTo>
                    <a:pt x="4507" y="12331"/>
                  </a:lnTo>
                  <a:lnTo>
                    <a:pt x="4442" y="12374"/>
                  </a:lnTo>
                  <a:lnTo>
                    <a:pt x="4377" y="12417"/>
                  </a:lnTo>
                  <a:lnTo>
                    <a:pt x="4310" y="12459"/>
                  </a:lnTo>
                  <a:lnTo>
                    <a:pt x="4244" y="12501"/>
                  </a:lnTo>
                  <a:lnTo>
                    <a:pt x="4176" y="12542"/>
                  </a:lnTo>
                  <a:lnTo>
                    <a:pt x="4212" y="12456"/>
                  </a:lnTo>
                  <a:lnTo>
                    <a:pt x="4248" y="12371"/>
                  </a:lnTo>
                  <a:lnTo>
                    <a:pt x="4281" y="12284"/>
                  </a:lnTo>
                  <a:lnTo>
                    <a:pt x="4313" y="12196"/>
                  </a:lnTo>
                  <a:lnTo>
                    <a:pt x="4345" y="12107"/>
                  </a:lnTo>
                  <a:lnTo>
                    <a:pt x="4374" y="12017"/>
                  </a:lnTo>
                  <a:lnTo>
                    <a:pt x="4388" y="11971"/>
                  </a:lnTo>
                  <a:lnTo>
                    <a:pt x="4401" y="11926"/>
                  </a:lnTo>
                  <a:lnTo>
                    <a:pt x="4414" y="11879"/>
                  </a:lnTo>
                  <a:lnTo>
                    <a:pt x="4426" y="11833"/>
                  </a:lnTo>
                  <a:lnTo>
                    <a:pt x="4438" y="11787"/>
                  </a:lnTo>
                  <a:lnTo>
                    <a:pt x="4449" y="11740"/>
                  </a:lnTo>
                  <a:lnTo>
                    <a:pt x="4459" y="11694"/>
                  </a:lnTo>
                  <a:lnTo>
                    <a:pt x="4470" y="11647"/>
                  </a:lnTo>
                  <a:lnTo>
                    <a:pt x="4480" y="11600"/>
                  </a:lnTo>
                  <a:lnTo>
                    <a:pt x="4488" y="11553"/>
                  </a:lnTo>
                  <a:lnTo>
                    <a:pt x="4496" y="11506"/>
                  </a:lnTo>
                  <a:lnTo>
                    <a:pt x="4504" y="11458"/>
                  </a:lnTo>
                  <a:lnTo>
                    <a:pt x="4510" y="11411"/>
                  </a:lnTo>
                  <a:lnTo>
                    <a:pt x="4516" y="11363"/>
                  </a:lnTo>
                  <a:lnTo>
                    <a:pt x="4522" y="11315"/>
                  </a:lnTo>
                  <a:lnTo>
                    <a:pt x="4526" y="11266"/>
                  </a:lnTo>
                  <a:lnTo>
                    <a:pt x="4530" y="11218"/>
                  </a:lnTo>
                  <a:lnTo>
                    <a:pt x="4533" y="11170"/>
                  </a:lnTo>
                  <a:lnTo>
                    <a:pt x="4535" y="11121"/>
                  </a:lnTo>
                  <a:lnTo>
                    <a:pt x="4537" y="11073"/>
                  </a:lnTo>
                  <a:lnTo>
                    <a:pt x="4538" y="11049"/>
                  </a:lnTo>
                  <a:lnTo>
                    <a:pt x="4540" y="11025"/>
                  </a:lnTo>
                  <a:lnTo>
                    <a:pt x="4541" y="11002"/>
                  </a:lnTo>
                  <a:lnTo>
                    <a:pt x="4541" y="10981"/>
                  </a:lnTo>
                  <a:lnTo>
                    <a:pt x="4540" y="10946"/>
                  </a:lnTo>
                  <a:lnTo>
                    <a:pt x="4539" y="10911"/>
                  </a:lnTo>
                  <a:lnTo>
                    <a:pt x="4536" y="10876"/>
                  </a:lnTo>
                  <a:lnTo>
                    <a:pt x="4531" y="10842"/>
                  </a:lnTo>
                  <a:lnTo>
                    <a:pt x="4526" y="10808"/>
                  </a:lnTo>
                  <a:lnTo>
                    <a:pt x="4519" y="10774"/>
                  </a:lnTo>
                  <a:lnTo>
                    <a:pt x="4512" y="10741"/>
                  </a:lnTo>
                  <a:lnTo>
                    <a:pt x="4503" y="10707"/>
                  </a:lnTo>
                  <a:lnTo>
                    <a:pt x="4493" y="10675"/>
                  </a:lnTo>
                  <a:lnTo>
                    <a:pt x="4482" y="10641"/>
                  </a:lnTo>
                  <a:lnTo>
                    <a:pt x="4470" y="10610"/>
                  </a:lnTo>
                  <a:lnTo>
                    <a:pt x="4456" y="10578"/>
                  </a:lnTo>
                  <a:lnTo>
                    <a:pt x="4442" y="10547"/>
                  </a:lnTo>
                  <a:lnTo>
                    <a:pt x="4426" y="10517"/>
                  </a:lnTo>
                  <a:lnTo>
                    <a:pt x="4410" y="10487"/>
                  </a:lnTo>
                  <a:lnTo>
                    <a:pt x="4393" y="10458"/>
                  </a:lnTo>
                  <a:lnTo>
                    <a:pt x="4375" y="10429"/>
                  </a:lnTo>
                  <a:lnTo>
                    <a:pt x="4356" y="10401"/>
                  </a:lnTo>
                  <a:lnTo>
                    <a:pt x="4334" y="10374"/>
                  </a:lnTo>
                  <a:lnTo>
                    <a:pt x="4313" y="10347"/>
                  </a:lnTo>
                  <a:lnTo>
                    <a:pt x="4291" y="10321"/>
                  </a:lnTo>
                  <a:lnTo>
                    <a:pt x="4269" y="10296"/>
                  </a:lnTo>
                  <a:lnTo>
                    <a:pt x="4245" y="10271"/>
                  </a:lnTo>
                  <a:lnTo>
                    <a:pt x="4220" y="10248"/>
                  </a:lnTo>
                  <a:lnTo>
                    <a:pt x="4194" y="10225"/>
                  </a:lnTo>
                  <a:lnTo>
                    <a:pt x="4168" y="10203"/>
                  </a:lnTo>
                  <a:lnTo>
                    <a:pt x="4140" y="10182"/>
                  </a:lnTo>
                  <a:lnTo>
                    <a:pt x="4112" y="10161"/>
                  </a:lnTo>
                  <a:lnTo>
                    <a:pt x="4083" y="10142"/>
                  </a:lnTo>
                  <a:lnTo>
                    <a:pt x="4053" y="10123"/>
                  </a:lnTo>
                  <a:lnTo>
                    <a:pt x="4023" y="10106"/>
                  </a:lnTo>
                  <a:lnTo>
                    <a:pt x="3992" y="10089"/>
                  </a:lnTo>
                  <a:lnTo>
                    <a:pt x="3819" y="9998"/>
                  </a:lnTo>
                  <a:lnTo>
                    <a:pt x="3650" y="9904"/>
                  </a:lnTo>
                  <a:lnTo>
                    <a:pt x="3487" y="9807"/>
                  </a:lnTo>
                  <a:lnTo>
                    <a:pt x="3327" y="9707"/>
                  </a:lnTo>
                  <a:lnTo>
                    <a:pt x="3173" y="9604"/>
                  </a:lnTo>
                  <a:lnTo>
                    <a:pt x="3023" y="9499"/>
                  </a:lnTo>
                  <a:lnTo>
                    <a:pt x="2878" y="9389"/>
                  </a:lnTo>
                  <a:lnTo>
                    <a:pt x="2737" y="9277"/>
                  </a:lnTo>
                  <a:lnTo>
                    <a:pt x="2602" y="9163"/>
                  </a:lnTo>
                  <a:lnTo>
                    <a:pt x="2472" y="9046"/>
                  </a:lnTo>
                  <a:lnTo>
                    <a:pt x="2346" y="8927"/>
                  </a:lnTo>
                  <a:lnTo>
                    <a:pt x="2226" y="8805"/>
                  </a:lnTo>
                  <a:lnTo>
                    <a:pt x="2112" y="8681"/>
                  </a:lnTo>
                  <a:lnTo>
                    <a:pt x="2002" y="8555"/>
                  </a:lnTo>
                  <a:lnTo>
                    <a:pt x="1899" y="8427"/>
                  </a:lnTo>
                  <a:lnTo>
                    <a:pt x="1800" y="8297"/>
                  </a:lnTo>
                  <a:lnTo>
                    <a:pt x="1706" y="8163"/>
                  </a:lnTo>
                  <a:lnTo>
                    <a:pt x="1618" y="8030"/>
                  </a:lnTo>
                  <a:lnTo>
                    <a:pt x="1537" y="7894"/>
                  </a:lnTo>
                  <a:lnTo>
                    <a:pt x="1460" y="7757"/>
                  </a:lnTo>
                  <a:lnTo>
                    <a:pt x="1388" y="7617"/>
                  </a:lnTo>
                  <a:lnTo>
                    <a:pt x="1324" y="7476"/>
                  </a:lnTo>
                  <a:lnTo>
                    <a:pt x="1264" y="7335"/>
                  </a:lnTo>
                  <a:lnTo>
                    <a:pt x="1212" y="7192"/>
                  </a:lnTo>
                  <a:lnTo>
                    <a:pt x="1165" y="7047"/>
                  </a:lnTo>
                  <a:lnTo>
                    <a:pt x="1123" y="6901"/>
                  </a:lnTo>
                  <a:lnTo>
                    <a:pt x="1089" y="6755"/>
                  </a:lnTo>
                  <a:lnTo>
                    <a:pt x="1060" y="6608"/>
                  </a:lnTo>
                  <a:lnTo>
                    <a:pt x="1037" y="6459"/>
                  </a:lnTo>
                  <a:lnTo>
                    <a:pt x="1021" y="6309"/>
                  </a:lnTo>
                  <a:lnTo>
                    <a:pt x="1011" y="6160"/>
                  </a:lnTo>
                  <a:lnTo>
                    <a:pt x="1008" y="6010"/>
                  </a:lnTo>
                  <a:lnTo>
                    <a:pt x="1017" y="5752"/>
                  </a:lnTo>
                  <a:lnTo>
                    <a:pt x="1045" y="5498"/>
                  </a:lnTo>
                  <a:lnTo>
                    <a:pt x="1090" y="5248"/>
                  </a:lnTo>
                  <a:lnTo>
                    <a:pt x="1151" y="5002"/>
                  </a:lnTo>
                  <a:lnTo>
                    <a:pt x="1231" y="4760"/>
                  </a:lnTo>
                  <a:lnTo>
                    <a:pt x="1326" y="4522"/>
                  </a:lnTo>
                  <a:lnTo>
                    <a:pt x="1437" y="4290"/>
                  </a:lnTo>
                  <a:lnTo>
                    <a:pt x="1564" y="4063"/>
                  </a:lnTo>
                  <a:lnTo>
                    <a:pt x="1705" y="3840"/>
                  </a:lnTo>
                  <a:lnTo>
                    <a:pt x="1861" y="3625"/>
                  </a:lnTo>
                  <a:lnTo>
                    <a:pt x="2032" y="3415"/>
                  </a:lnTo>
                  <a:lnTo>
                    <a:pt x="2215" y="3211"/>
                  </a:lnTo>
                  <a:lnTo>
                    <a:pt x="2412" y="3015"/>
                  </a:lnTo>
                  <a:lnTo>
                    <a:pt x="2621" y="2826"/>
                  </a:lnTo>
                  <a:lnTo>
                    <a:pt x="2844" y="2644"/>
                  </a:lnTo>
                  <a:lnTo>
                    <a:pt x="3078" y="2470"/>
                  </a:lnTo>
                  <a:lnTo>
                    <a:pt x="3323" y="2304"/>
                  </a:lnTo>
                  <a:lnTo>
                    <a:pt x="3579" y="2147"/>
                  </a:lnTo>
                  <a:lnTo>
                    <a:pt x="3845" y="1998"/>
                  </a:lnTo>
                  <a:lnTo>
                    <a:pt x="4123" y="1858"/>
                  </a:lnTo>
                  <a:lnTo>
                    <a:pt x="4409" y="1728"/>
                  </a:lnTo>
                  <a:lnTo>
                    <a:pt x="4704" y="1607"/>
                  </a:lnTo>
                  <a:lnTo>
                    <a:pt x="5009" y="1496"/>
                  </a:lnTo>
                  <a:lnTo>
                    <a:pt x="5322" y="1395"/>
                  </a:lnTo>
                  <a:lnTo>
                    <a:pt x="5642" y="1306"/>
                  </a:lnTo>
                  <a:lnTo>
                    <a:pt x="5970" y="1227"/>
                  </a:lnTo>
                  <a:lnTo>
                    <a:pt x="6305" y="1160"/>
                  </a:lnTo>
                  <a:lnTo>
                    <a:pt x="6645" y="1104"/>
                  </a:lnTo>
                  <a:lnTo>
                    <a:pt x="6992" y="1060"/>
                  </a:lnTo>
                  <a:lnTo>
                    <a:pt x="7345" y="1028"/>
                  </a:lnTo>
                  <a:lnTo>
                    <a:pt x="7703" y="1008"/>
                  </a:lnTo>
                  <a:lnTo>
                    <a:pt x="8066" y="1002"/>
                  </a:lnTo>
                  <a:lnTo>
                    <a:pt x="8429" y="1008"/>
                  </a:lnTo>
                  <a:lnTo>
                    <a:pt x="8787" y="1028"/>
                  </a:lnTo>
                  <a:lnTo>
                    <a:pt x="9140" y="1060"/>
                  </a:lnTo>
                  <a:lnTo>
                    <a:pt x="9487" y="1104"/>
                  </a:lnTo>
                  <a:lnTo>
                    <a:pt x="9827" y="1160"/>
                  </a:lnTo>
                  <a:lnTo>
                    <a:pt x="10162" y="1227"/>
                  </a:lnTo>
                  <a:lnTo>
                    <a:pt x="10490" y="1306"/>
                  </a:lnTo>
                  <a:lnTo>
                    <a:pt x="10810" y="1395"/>
                  </a:lnTo>
                  <a:lnTo>
                    <a:pt x="11123" y="1496"/>
                  </a:lnTo>
                  <a:lnTo>
                    <a:pt x="11428" y="1607"/>
                  </a:lnTo>
                  <a:lnTo>
                    <a:pt x="11723" y="1728"/>
                  </a:lnTo>
                  <a:lnTo>
                    <a:pt x="12009" y="1858"/>
                  </a:lnTo>
                  <a:lnTo>
                    <a:pt x="12287" y="1998"/>
                  </a:lnTo>
                  <a:lnTo>
                    <a:pt x="12553" y="2147"/>
                  </a:lnTo>
                  <a:lnTo>
                    <a:pt x="12809" y="2304"/>
                  </a:lnTo>
                  <a:lnTo>
                    <a:pt x="13054" y="2470"/>
                  </a:lnTo>
                  <a:lnTo>
                    <a:pt x="13288" y="2644"/>
                  </a:lnTo>
                  <a:lnTo>
                    <a:pt x="13511" y="2826"/>
                  </a:lnTo>
                  <a:lnTo>
                    <a:pt x="13720" y="3015"/>
                  </a:lnTo>
                  <a:lnTo>
                    <a:pt x="13917" y="3211"/>
                  </a:lnTo>
                  <a:lnTo>
                    <a:pt x="14100" y="3415"/>
                  </a:lnTo>
                  <a:lnTo>
                    <a:pt x="14271" y="3625"/>
                  </a:lnTo>
                  <a:lnTo>
                    <a:pt x="14427" y="3840"/>
                  </a:lnTo>
                  <a:lnTo>
                    <a:pt x="14568" y="4063"/>
                  </a:lnTo>
                  <a:lnTo>
                    <a:pt x="14695" y="4290"/>
                  </a:lnTo>
                  <a:lnTo>
                    <a:pt x="14806" y="4522"/>
                  </a:lnTo>
                  <a:lnTo>
                    <a:pt x="14901" y="4760"/>
                  </a:lnTo>
                  <a:lnTo>
                    <a:pt x="14981" y="5002"/>
                  </a:lnTo>
                  <a:lnTo>
                    <a:pt x="15042" y="5248"/>
                  </a:lnTo>
                  <a:lnTo>
                    <a:pt x="15087" y="5498"/>
                  </a:lnTo>
                  <a:lnTo>
                    <a:pt x="15115" y="5752"/>
                  </a:lnTo>
                  <a:lnTo>
                    <a:pt x="15124" y="6010"/>
                  </a:lnTo>
                  <a:lnTo>
                    <a:pt x="15115" y="6267"/>
                  </a:lnTo>
                  <a:lnTo>
                    <a:pt x="15087" y="6521"/>
                  </a:lnTo>
                  <a:lnTo>
                    <a:pt x="15042" y="6771"/>
                  </a:lnTo>
                  <a:lnTo>
                    <a:pt x="14981" y="7018"/>
                  </a:lnTo>
                  <a:lnTo>
                    <a:pt x="14901" y="7260"/>
                  </a:lnTo>
                  <a:lnTo>
                    <a:pt x="14806" y="7497"/>
                  </a:lnTo>
                  <a:lnTo>
                    <a:pt x="14695" y="7730"/>
                  </a:lnTo>
                  <a:lnTo>
                    <a:pt x="14568" y="7957"/>
                  </a:lnTo>
                  <a:lnTo>
                    <a:pt x="14427" y="8179"/>
                  </a:lnTo>
                  <a:lnTo>
                    <a:pt x="14271" y="8395"/>
                  </a:lnTo>
                  <a:lnTo>
                    <a:pt x="14100" y="8605"/>
                  </a:lnTo>
                  <a:lnTo>
                    <a:pt x="13917" y="8807"/>
                  </a:lnTo>
                  <a:lnTo>
                    <a:pt x="13720" y="9005"/>
                  </a:lnTo>
                  <a:lnTo>
                    <a:pt x="13511" y="9194"/>
                  </a:lnTo>
                  <a:lnTo>
                    <a:pt x="13288" y="9375"/>
                  </a:lnTo>
                  <a:lnTo>
                    <a:pt x="13054" y="9550"/>
                  </a:lnTo>
                  <a:lnTo>
                    <a:pt x="12809" y="9715"/>
                  </a:lnTo>
                  <a:lnTo>
                    <a:pt x="12553" y="9873"/>
                  </a:lnTo>
                  <a:lnTo>
                    <a:pt x="12287" y="10021"/>
                  </a:lnTo>
                  <a:lnTo>
                    <a:pt x="12009" y="10162"/>
                  </a:lnTo>
                  <a:lnTo>
                    <a:pt x="11723" y="10292"/>
                  </a:lnTo>
                  <a:lnTo>
                    <a:pt x="11428" y="10413"/>
                  </a:lnTo>
                  <a:lnTo>
                    <a:pt x="11123" y="10523"/>
                  </a:lnTo>
                  <a:lnTo>
                    <a:pt x="10810" y="10623"/>
                  </a:lnTo>
                  <a:lnTo>
                    <a:pt x="10490" y="10714"/>
                  </a:lnTo>
                  <a:lnTo>
                    <a:pt x="10162" y="10793"/>
                  </a:lnTo>
                  <a:lnTo>
                    <a:pt x="9827" y="10860"/>
                  </a:lnTo>
                  <a:lnTo>
                    <a:pt x="9487" y="10916"/>
                  </a:lnTo>
                  <a:lnTo>
                    <a:pt x="9140" y="10960"/>
                  </a:lnTo>
                  <a:lnTo>
                    <a:pt x="8787" y="10992"/>
                  </a:lnTo>
                  <a:lnTo>
                    <a:pt x="8429" y="11011"/>
                  </a:lnTo>
                  <a:lnTo>
                    <a:pt x="8066" y="11018"/>
                  </a:lnTo>
                  <a:close/>
                  <a:moveTo>
                    <a:pt x="8066" y="0"/>
                  </a:moveTo>
                  <a:lnTo>
                    <a:pt x="7651" y="8"/>
                  </a:lnTo>
                  <a:lnTo>
                    <a:pt x="7241" y="31"/>
                  </a:lnTo>
                  <a:lnTo>
                    <a:pt x="6838" y="69"/>
                  </a:lnTo>
                  <a:lnTo>
                    <a:pt x="6441" y="122"/>
                  </a:lnTo>
                  <a:lnTo>
                    <a:pt x="6051" y="189"/>
                  </a:lnTo>
                  <a:lnTo>
                    <a:pt x="5667" y="270"/>
                  </a:lnTo>
                  <a:lnTo>
                    <a:pt x="5292" y="365"/>
                  </a:lnTo>
                  <a:lnTo>
                    <a:pt x="4926" y="473"/>
                  </a:lnTo>
                  <a:lnTo>
                    <a:pt x="4569" y="593"/>
                  </a:lnTo>
                  <a:lnTo>
                    <a:pt x="4222" y="725"/>
                  </a:lnTo>
                  <a:lnTo>
                    <a:pt x="3884" y="870"/>
                  </a:lnTo>
                  <a:lnTo>
                    <a:pt x="3556" y="1027"/>
                  </a:lnTo>
                  <a:lnTo>
                    <a:pt x="3240" y="1194"/>
                  </a:lnTo>
                  <a:lnTo>
                    <a:pt x="2935" y="1372"/>
                  </a:lnTo>
                  <a:lnTo>
                    <a:pt x="2643" y="1562"/>
                  </a:lnTo>
                  <a:lnTo>
                    <a:pt x="2362" y="1760"/>
                  </a:lnTo>
                  <a:lnTo>
                    <a:pt x="2095" y="1969"/>
                  </a:lnTo>
                  <a:lnTo>
                    <a:pt x="1842" y="2188"/>
                  </a:lnTo>
                  <a:lnTo>
                    <a:pt x="1602" y="2414"/>
                  </a:lnTo>
                  <a:lnTo>
                    <a:pt x="1377" y="2649"/>
                  </a:lnTo>
                  <a:lnTo>
                    <a:pt x="1168" y="2894"/>
                  </a:lnTo>
                  <a:lnTo>
                    <a:pt x="974" y="3145"/>
                  </a:lnTo>
                  <a:lnTo>
                    <a:pt x="796" y="3405"/>
                  </a:lnTo>
                  <a:lnTo>
                    <a:pt x="634" y="3671"/>
                  </a:lnTo>
                  <a:lnTo>
                    <a:pt x="489" y="3943"/>
                  </a:lnTo>
                  <a:lnTo>
                    <a:pt x="363" y="4223"/>
                  </a:lnTo>
                  <a:lnTo>
                    <a:pt x="254" y="4508"/>
                  </a:lnTo>
                  <a:lnTo>
                    <a:pt x="163" y="4799"/>
                  </a:lnTo>
                  <a:lnTo>
                    <a:pt x="93" y="5094"/>
                  </a:lnTo>
                  <a:lnTo>
                    <a:pt x="41" y="5396"/>
                  </a:lnTo>
                  <a:lnTo>
                    <a:pt x="10" y="5700"/>
                  </a:lnTo>
                  <a:lnTo>
                    <a:pt x="0" y="6010"/>
                  </a:lnTo>
                  <a:lnTo>
                    <a:pt x="4" y="6203"/>
                  </a:lnTo>
                  <a:lnTo>
                    <a:pt x="16" y="6394"/>
                  </a:lnTo>
                  <a:lnTo>
                    <a:pt x="36" y="6584"/>
                  </a:lnTo>
                  <a:lnTo>
                    <a:pt x="65" y="6772"/>
                  </a:lnTo>
                  <a:lnTo>
                    <a:pt x="100" y="6958"/>
                  </a:lnTo>
                  <a:lnTo>
                    <a:pt x="143" y="7144"/>
                  </a:lnTo>
                  <a:lnTo>
                    <a:pt x="195" y="7326"/>
                  </a:lnTo>
                  <a:lnTo>
                    <a:pt x="252" y="7506"/>
                  </a:lnTo>
                  <a:lnTo>
                    <a:pt x="318" y="7685"/>
                  </a:lnTo>
                  <a:lnTo>
                    <a:pt x="390" y="7861"/>
                  </a:lnTo>
                  <a:lnTo>
                    <a:pt x="470" y="8034"/>
                  </a:lnTo>
                  <a:lnTo>
                    <a:pt x="556" y="8205"/>
                  </a:lnTo>
                  <a:lnTo>
                    <a:pt x="648" y="8375"/>
                  </a:lnTo>
                  <a:lnTo>
                    <a:pt x="748" y="8541"/>
                  </a:lnTo>
                  <a:lnTo>
                    <a:pt x="855" y="8704"/>
                  </a:lnTo>
                  <a:lnTo>
                    <a:pt x="967" y="8865"/>
                  </a:lnTo>
                  <a:lnTo>
                    <a:pt x="1086" y="9023"/>
                  </a:lnTo>
                  <a:lnTo>
                    <a:pt x="1211" y="9177"/>
                  </a:lnTo>
                  <a:lnTo>
                    <a:pt x="1341" y="9329"/>
                  </a:lnTo>
                  <a:lnTo>
                    <a:pt x="1478" y="9478"/>
                  </a:lnTo>
                  <a:lnTo>
                    <a:pt x="1620" y="9623"/>
                  </a:lnTo>
                  <a:lnTo>
                    <a:pt x="1768" y="9765"/>
                  </a:lnTo>
                  <a:lnTo>
                    <a:pt x="1923" y="9903"/>
                  </a:lnTo>
                  <a:lnTo>
                    <a:pt x="2081" y="10038"/>
                  </a:lnTo>
                  <a:lnTo>
                    <a:pt x="2245" y="10170"/>
                  </a:lnTo>
                  <a:lnTo>
                    <a:pt x="2415" y="10298"/>
                  </a:lnTo>
                  <a:lnTo>
                    <a:pt x="2590" y="10421"/>
                  </a:lnTo>
                  <a:lnTo>
                    <a:pt x="2769" y="10541"/>
                  </a:lnTo>
                  <a:lnTo>
                    <a:pt x="2953" y="10657"/>
                  </a:lnTo>
                  <a:lnTo>
                    <a:pt x="3142" y="10770"/>
                  </a:lnTo>
                  <a:lnTo>
                    <a:pt x="3335" y="10878"/>
                  </a:lnTo>
                  <a:lnTo>
                    <a:pt x="3533" y="10981"/>
                  </a:lnTo>
                  <a:lnTo>
                    <a:pt x="3532" y="10990"/>
                  </a:lnTo>
                  <a:lnTo>
                    <a:pt x="3531" y="10999"/>
                  </a:lnTo>
                  <a:lnTo>
                    <a:pt x="3530" y="11008"/>
                  </a:lnTo>
                  <a:lnTo>
                    <a:pt x="3529" y="11018"/>
                  </a:lnTo>
                  <a:lnTo>
                    <a:pt x="3527" y="11102"/>
                  </a:lnTo>
                  <a:lnTo>
                    <a:pt x="3521" y="11187"/>
                  </a:lnTo>
                  <a:lnTo>
                    <a:pt x="3512" y="11271"/>
                  </a:lnTo>
                  <a:lnTo>
                    <a:pt x="3500" y="11357"/>
                  </a:lnTo>
                  <a:lnTo>
                    <a:pt x="3484" y="11442"/>
                  </a:lnTo>
                  <a:lnTo>
                    <a:pt x="3464" y="11527"/>
                  </a:lnTo>
                  <a:lnTo>
                    <a:pt x="3443" y="11612"/>
                  </a:lnTo>
                  <a:lnTo>
                    <a:pt x="3419" y="11696"/>
                  </a:lnTo>
                  <a:lnTo>
                    <a:pt x="3392" y="11780"/>
                  </a:lnTo>
                  <a:lnTo>
                    <a:pt x="3364" y="11863"/>
                  </a:lnTo>
                  <a:lnTo>
                    <a:pt x="3332" y="11947"/>
                  </a:lnTo>
                  <a:lnTo>
                    <a:pt x="3300" y="12030"/>
                  </a:lnTo>
                  <a:lnTo>
                    <a:pt x="3266" y="12111"/>
                  </a:lnTo>
                  <a:lnTo>
                    <a:pt x="3229" y="12192"/>
                  </a:lnTo>
                  <a:lnTo>
                    <a:pt x="3192" y="12271"/>
                  </a:lnTo>
                  <a:lnTo>
                    <a:pt x="3155" y="12350"/>
                  </a:lnTo>
                  <a:lnTo>
                    <a:pt x="3115" y="12428"/>
                  </a:lnTo>
                  <a:lnTo>
                    <a:pt x="3075" y="12505"/>
                  </a:lnTo>
                  <a:lnTo>
                    <a:pt x="3036" y="12580"/>
                  </a:lnTo>
                  <a:lnTo>
                    <a:pt x="2995" y="12653"/>
                  </a:lnTo>
                  <a:lnTo>
                    <a:pt x="2954" y="12726"/>
                  </a:lnTo>
                  <a:lnTo>
                    <a:pt x="2914" y="12796"/>
                  </a:lnTo>
                  <a:lnTo>
                    <a:pt x="2874" y="12864"/>
                  </a:lnTo>
                  <a:lnTo>
                    <a:pt x="2834" y="12931"/>
                  </a:lnTo>
                  <a:lnTo>
                    <a:pt x="2757" y="13059"/>
                  </a:lnTo>
                  <a:lnTo>
                    <a:pt x="2684" y="13180"/>
                  </a:lnTo>
                  <a:lnTo>
                    <a:pt x="2616" y="13290"/>
                  </a:lnTo>
                  <a:lnTo>
                    <a:pt x="2557" y="13390"/>
                  </a:lnTo>
                  <a:lnTo>
                    <a:pt x="2558" y="13390"/>
                  </a:lnTo>
                  <a:lnTo>
                    <a:pt x="2550" y="13411"/>
                  </a:lnTo>
                  <a:lnTo>
                    <a:pt x="2542" y="13432"/>
                  </a:lnTo>
                  <a:lnTo>
                    <a:pt x="2536" y="13454"/>
                  </a:lnTo>
                  <a:lnTo>
                    <a:pt x="2531" y="13476"/>
                  </a:lnTo>
                  <a:lnTo>
                    <a:pt x="2527" y="13499"/>
                  </a:lnTo>
                  <a:lnTo>
                    <a:pt x="2523" y="13522"/>
                  </a:lnTo>
                  <a:lnTo>
                    <a:pt x="2522" y="13545"/>
                  </a:lnTo>
                  <a:lnTo>
                    <a:pt x="2521" y="13569"/>
                  </a:lnTo>
                  <a:lnTo>
                    <a:pt x="2522" y="13592"/>
                  </a:lnTo>
                  <a:lnTo>
                    <a:pt x="2523" y="13615"/>
                  </a:lnTo>
                  <a:lnTo>
                    <a:pt x="2526" y="13638"/>
                  </a:lnTo>
                  <a:lnTo>
                    <a:pt x="2530" y="13660"/>
                  </a:lnTo>
                  <a:lnTo>
                    <a:pt x="2535" y="13682"/>
                  </a:lnTo>
                  <a:lnTo>
                    <a:pt x="2541" y="13704"/>
                  </a:lnTo>
                  <a:lnTo>
                    <a:pt x="2548" y="13726"/>
                  </a:lnTo>
                  <a:lnTo>
                    <a:pt x="2556" y="13746"/>
                  </a:lnTo>
                  <a:lnTo>
                    <a:pt x="2566" y="13766"/>
                  </a:lnTo>
                  <a:lnTo>
                    <a:pt x="2576" y="13786"/>
                  </a:lnTo>
                  <a:lnTo>
                    <a:pt x="2586" y="13805"/>
                  </a:lnTo>
                  <a:lnTo>
                    <a:pt x="2598" y="13823"/>
                  </a:lnTo>
                  <a:lnTo>
                    <a:pt x="2611" y="13841"/>
                  </a:lnTo>
                  <a:lnTo>
                    <a:pt x="2624" y="13858"/>
                  </a:lnTo>
                  <a:lnTo>
                    <a:pt x="2640" y="13875"/>
                  </a:lnTo>
                  <a:lnTo>
                    <a:pt x="2655" y="13890"/>
                  </a:lnTo>
                  <a:lnTo>
                    <a:pt x="2670" y="13905"/>
                  </a:lnTo>
                  <a:lnTo>
                    <a:pt x="2687" y="13920"/>
                  </a:lnTo>
                  <a:lnTo>
                    <a:pt x="2704" y="13933"/>
                  </a:lnTo>
                  <a:lnTo>
                    <a:pt x="2722" y="13946"/>
                  </a:lnTo>
                  <a:lnTo>
                    <a:pt x="2740" y="13958"/>
                  </a:lnTo>
                  <a:lnTo>
                    <a:pt x="2760" y="13968"/>
                  </a:lnTo>
                  <a:lnTo>
                    <a:pt x="2779" y="13978"/>
                  </a:lnTo>
                  <a:lnTo>
                    <a:pt x="2800" y="13987"/>
                  </a:lnTo>
                  <a:lnTo>
                    <a:pt x="2820" y="13996"/>
                  </a:lnTo>
                  <a:lnTo>
                    <a:pt x="2841" y="14003"/>
                  </a:lnTo>
                  <a:lnTo>
                    <a:pt x="2863" y="14009"/>
                  </a:lnTo>
                  <a:lnTo>
                    <a:pt x="2886" y="14014"/>
                  </a:lnTo>
                  <a:lnTo>
                    <a:pt x="2908" y="14018"/>
                  </a:lnTo>
                  <a:lnTo>
                    <a:pt x="2931" y="14021"/>
                  </a:lnTo>
                  <a:lnTo>
                    <a:pt x="2954" y="14022"/>
                  </a:lnTo>
                  <a:lnTo>
                    <a:pt x="2977" y="14023"/>
                  </a:lnTo>
                  <a:lnTo>
                    <a:pt x="3018" y="14021"/>
                  </a:lnTo>
                  <a:lnTo>
                    <a:pt x="3060" y="14017"/>
                  </a:lnTo>
                  <a:lnTo>
                    <a:pt x="3078" y="14016"/>
                  </a:lnTo>
                  <a:lnTo>
                    <a:pt x="3093" y="14015"/>
                  </a:lnTo>
                  <a:lnTo>
                    <a:pt x="3099" y="14015"/>
                  </a:lnTo>
                  <a:lnTo>
                    <a:pt x="3103" y="14015"/>
                  </a:lnTo>
                  <a:lnTo>
                    <a:pt x="3105" y="14016"/>
                  </a:lnTo>
                  <a:lnTo>
                    <a:pt x="3106" y="14016"/>
                  </a:lnTo>
                  <a:lnTo>
                    <a:pt x="3254" y="13989"/>
                  </a:lnTo>
                  <a:lnTo>
                    <a:pt x="3400" y="13955"/>
                  </a:lnTo>
                  <a:lnTo>
                    <a:pt x="3546" y="13915"/>
                  </a:lnTo>
                  <a:lnTo>
                    <a:pt x="3690" y="13870"/>
                  </a:lnTo>
                  <a:lnTo>
                    <a:pt x="3833" y="13819"/>
                  </a:lnTo>
                  <a:lnTo>
                    <a:pt x="3976" y="13763"/>
                  </a:lnTo>
                  <a:lnTo>
                    <a:pt x="4116" y="13701"/>
                  </a:lnTo>
                  <a:lnTo>
                    <a:pt x="4254" y="13637"/>
                  </a:lnTo>
                  <a:lnTo>
                    <a:pt x="4390" y="13569"/>
                  </a:lnTo>
                  <a:lnTo>
                    <a:pt x="4524" y="13497"/>
                  </a:lnTo>
                  <a:lnTo>
                    <a:pt x="4656" y="13423"/>
                  </a:lnTo>
                  <a:lnTo>
                    <a:pt x="4784" y="13346"/>
                  </a:lnTo>
                  <a:lnTo>
                    <a:pt x="4910" y="13267"/>
                  </a:lnTo>
                  <a:lnTo>
                    <a:pt x="5033" y="13186"/>
                  </a:lnTo>
                  <a:lnTo>
                    <a:pt x="5153" y="13104"/>
                  </a:lnTo>
                  <a:lnTo>
                    <a:pt x="5269" y="13021"/>
                  </a:lnTo>
                  <a:lnTo>
                    <a:pt x="5382" y="12938"/>
                  </a:lnTo>
                  <a:lnTo>
                    <a:pt x="5491" y="12854"/>
                  </a:lnTo>
                  <a:lnTo>
                    <a:pt x="5596" y="12771"/>
                  </a:lnTo>
                  <a:lnTo>
                    <a:pt x="5697" y="12689"/>
                  </a:lnTo>
                  <a:lnTo>
                    <a:pt x="5793" y="12608"/>
                  </a:lnTo>
                  <a:lnTo>
                    <a:pt x="5885" y="12528"/>
                  </a:lnTo>
                  <a:lnTo>
                    <a:pt x="5972" y="12450"/>
                  </a:lnTo>
                  <a:lnTo>
                    <a:pt x="6055" y="12375"/>
                  </a:lnTo>
                  <a:lnTo>
                    <a:pt x="6131" y="12302"/>
                  </a:lnTo>
                  <a:lnTo>
                    <a:pt x="6203" y="12233"/>
                  </a:lnTo>
                  <a:lnTo>
                    <a:pt x="6269" y="12167"/>
                  </a:lnTo>
                  <a:lnTo>
                    <a:pt x="6330" y="12105"/>
                  </a:lnTo>
                  <a:lnTo>
                    <a:pt x="6384" y="12048"/>
                  </a:lnTo>
                  <a:lnTo>
                    <a:pt x="6433" y="11995"/>
                  </a:lnTo>
                  <a:lnTo>
                    <a:pt x="6475" y="11947"/>
                  </a:lnTo>
                  <a:lnTo>
                    <a:pt x="6510" y="11906"/>
                  </a:lnTo>
                  <a:lnTo>
                    <a:pt x="6605" y="11919"/>
                  </a:lnTo>
                  <a:lnTo>
                    <a:pt x="6700" y="11932"/>
                  </a:lnTo>
                  <a:lnTo>
                    <a:pt x="6796" y="11943"/>
                  </a:lnTo>
                  <a:lnTo>
                    <a:pt x="6891" y="11954"/>
                  </a:lnTo>
                  <a:lnTo>
                    <a:pt x="6987" y="11965"/>
                  </a:lnTo>
                  <a:lnTo>
                    <a:pt x="7083" y="11974"/>
                  </a:lnTo>
                  <a:lnTo>
                    <a:pt x="7180" y="11983"/>
                  </a:lnTo>
                  <a:lnTo>
                    <a:pt x="7278" y="11990"/>
                  </a:lnTo>
                  <a:lnTo>
                    <a:pt x="7374" y="11997"/>
                  </a:lnTo>
                  <a:lnTo>
                    <a:pt x="7472" y="12003"/>
                  </a:lnTo>
                  <a:lnTo>
                    <a:pt x="7571" y="12008"/>
                  </a:lnTo>
                  <a:lnTo>
                    <a:pt x="7669" y="12012"/>
                  </a:lnTo>
                  <a:lnTo>
                    <a:pt x="7768" y="12016"/>
                  </a:lnTo>
                  <a:lnTo>
                    <a:pt x="7867" y="12018"/>
                  </a:lnTo>
                  <a:lnTo>
                    <a:pt x="7966" y="12019"/>
                  </a:lnTo>
                  <a:lnTo>
                    <a:pt x="8066" y="12020"/>
                  </a:lnTo>
                  <a:lnTo>
                    <a:pt x="8481" y="12012"/>
                  </a:lnTo>
                  <a:lnTo>
                    <a:pt x="8891" y="11989"/>
                  </a:lnTo>
                  <a:lnTo>
                    <a:pt x="9294" y="11951"/>
                  </a:lnTo>
                  <a:lnTo>
                    <a:pt x="9691" y="11898"/>
                  </a:lnTo>
                  <a:lnTo>
                    <a:pt x="10081" y="11830"/>
                  </a:lnTo>
                  <a:lnTo>
                    <a:pt x="10465" y="11749"/>
                  </a:lnTo>
                  <a:lnTo>
                    <a:pt x="10840" y="11655"/>
                  </a:lnTo>
                  <a:lnTo>
                    <a:pt x="11206" y="11547"/>
                  </a:lnTo>
                  <a:lnTo>
                    <a:pt x="11563" y="11427"/>
                  </a:lnTo>
                  <a:lnTo>
                    <a:pt x="11910" y="11295"/>
                  </a:lnTo>
                  <a:lnTo>
                    <a:pt x="12248" y="11149"/>
                  </a:lnTo>
                  <a:lnTo>
                    <a:pt x="12576" y="10993"/>
                  </a:lnTo>
                  <a:lnTo>
                    <a:pt x="12891" y="10826"/>
                  </a:lnTo>
                  <a:lnTo>
                    <a:pt x="13197" y="10647"/>
                  </a:lnTo>
                  <a:lnTo>
                    <a:pt x="13489" y="10458"/>
                  </a:lnTo>
                  <a:lnTo>
                    <a:pt x="13770" y="10260"/>
                  </a:lnTo>
                  <a:lnTo>
                    <a:pt x="14037" y="10050"/>
                  </a:lnTo>
                  <a:lnTo>
                    <a:pt x="14290" y="9832"/>
                  </a:lnTo>
                  <a:lnTo>
                    <a:pt x="14530" y="9606"/>
                  </a:lnTo>
                  <a:lnTo>
                    <a:pt x="14755" y="9370"/>
                  </a:lnTo>
                  <a:lnTo>
                    <a:pt x="14964" y="9126"/>
                  </a:lnTo>
                  <a:lnTo>
                    <a:pt x="15158" y="8875"/>
                  </a:lnTo>
                  <a:lnTo>
                    <a:pt x="15336" y="8615"/>
                  </a:lnTo>
                  <a:lnTo>
                    <a:pt x="15498" y="8349"/>
                  </a:lnTo>
                  <a:lnTo>
                    <a:pt x="15643" y="8076"/>
                  </a:lnTo>
                  <a:lnTo>
                    <a:pt x="15769" y="7797"/>
                  </a:lnTo>
                  <a:lnTo>
                    <a:pt x="15878" y="7511"/>
                  </a:lnTo>
                  <a:lnTo>
                    <a:pt x="15968" y="7221"/>
                  </a:lnTo>
                  <a:lnTo>
                    <a:pt x="16039" y="6925"/>
                  </a:lnTo>
                  <a:lnTo>
                    <a:pt x="16091" y="6624"/>
                  </a:lnTo>
                  <a:lnTo>
                    <a:pt x="16122" y="6319"/>
                  </a:lnTo>
                  <a:lnTo>
                    <a:pt x="16132" y="6010"/>
                  </a:lnTo>
                  <a:lnTo>
                    <a:pt x="16122" y="5700"/>
                  </a:lnTo>
                  <a:lnTo>
                    <a:pt x="16091" y="5396"/>
                  </a:lnTo>
                  <a:lnTo>
                    <a:pt x="16039" y="5094"/>
                  </a:lnTo>
                  <a:lnTo>
                    <a:pt x="15968" y="4799"/>
                  </a:lnTo>
                  <a:lnTo>
                    <a:pt x="15878" y="4508"/>
                  </a:lnTo>
                  <a:lnTo>
                    <a:pt x="15769" y="4223"/>
                  </a:lnTo>
                  <a:lnTo>
                    <a:pt x="15643" y="3943"/>
                  </a:lnTo>
                  <a:lnTo>
                    <a:pt x="15498" y="3671"/>
                  </a:lnTo>
                  <a:lnTo>
                    <a:pt x="15336" y="3405"/>
                  </a:lnTo>
                  <a:lnTo>
                    <a:pt x="15158" y="3145"/>
                  </a:lnTo>
                  <a:lnTo>
                    <a:pt x="14964" y="2894"/>
                  </a:lnTo>
                  <a:lnTo>
                    <a:pt x="14755" y="2649"/>
                  </a:lnTo>
                  <a:lnTo>
                    <a:pt x="14530" y="2414"/>
                  </a:lnTo>
                  <a:lnTo>
                    <a:pt x="14290" y="2188"/>
                  </a:lnTo>
                  <a:lnTo>
                    <a:pt x="14037" y="1969"/>
                  </a:lnTo>
                  <a:lnTo>
                    <a:pt x="13770" y="1760"/>
                  </a:lnTo>
                  <a:lnTo>
                    <a:pt x="13489" y="1562"/>
                  </a:lnTo>
                  <a:lnTo>
                    <a:pt x="13197" y="1372"/>
                  </a:lnTo>
                  <a:lnTo>
                    <a:pt x="12891" y="1194"/>
                  </a:lnTo>
                  <a:lnTo>
                    <a:pt x="12576" y="1027"/>
                  </a:lnTo>
                  <a:lnTo>
                    <a:pt x="12248" y="870"/>
                  </a:lnTo>
                  <a:lnTo>
                    <a:pt x="11910" y="725"/>
                  </a:lnTo>
                  <a:lnTo>
                    <a:pt x="11563" y="593"/>
                  </a:lnTo>
                  <a:lnTo>
                    <a:pt x="11206" y="473"/>
                  </a:lnTo>
                  <a:lnTo>
                    <a:pt x="10840" y="365"/>
                  </a:lnTo>
                  <a:lnTo>
                    <a:pt x="10465" y="270"/>
                  </a:lnTo>
                  <a:lnTo>
                    <a:pt x="10081" y="189"/>
                  </a:lnTo>
                  <a:lnTo>
                    <a:pt x="9691" y="122"/>
                  </a:lnTo>
                  <a:lnTo>
                    <a:pt x="9294" y="69"/>
                  </a:lnTo>
                  <a:lnTo>
                    <a:pt x="8891" y="31"/>
                  </a:lnTo>
                  <a:lnTo>
                    <a:pt x="8481" y="8"/>
                  </a:lnTo>
                  <a:lnTo>
                    <a:pt x="80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69" name="ïśḻîḓè">
              <a:extLst>
                <a:ext uri="{FF2B5EF4-FFF2-40B4-BE49-F238E27FC236}">
                  <a16:creationId xmlns:a16="http://schemas.microsoft.com/office/drawing/2014/main" id="{9CCC753B-B879-4B44-AD64-6F0E9E986B18}"/>
                </a:ext>
              </a:extLst>
            </p:cNvPr>
            <p:cNvSpPr/>
            <p:nvPr/>
          </p:nvSpPr>
          <p:spPr bwMode="auto">
            <a:xfrm>
              <a:off x="8855979" y="1848262"/>
              <a:ext cx="415238" cy="402829"/>
            </a:xfrm>
            <a:custGeom>
              <a:avLst/>
              <a:gdLst>
                <a:gd name="T0" fmla="*/ 11715 w 16095"/>
                <a:gd name="T1" fmla="*/ 9432 h 15614"/>
                <a:gd name="T2" fmla="*/ 11598 w 16095"/>
                <a:gd name="T3" fmla="*/ 9669 h 15614"/>
                <a:gd name="T4" fmla="*/ 11540 w 16095"/>
                <a:gd name="T5" fmla="*/ 9924 h 15614"/>
                <a:gd name="T6" fmla="*/ 11544 w 16095"/>
                <a:gd name="T7" fmla="*/ 10189 h 15614"/>
                <a:gd name="T8" fmla="*/ 8441 w 16095"/>
                <a:gd name="T9" fmla="*/ 12438 h 15614"/>
                <a:gd name="T10" fmla="*/ 8156 w 16095"/>
                <a:gd name="T11" fmla="*/ 12375 h 15614"/>
                <a:gd name="T12" fmla="*/ 7866 w 16095"/>
                <a:gd name="T13" fmla="*/ 12384 h 15614"/>
                <a:gd name="T14" fmla="*/ 7586 w 16095"/>
                <a:gd name="T15" fmla="*/ 12464 h 15614"/>
                <a:gd name="T16" fmla="*/ 4558 w 16095"/>
                <a:gd name="T17" fmla="*/ 10123 h 15614"/>
                <a:gd name="T18" fmla="*/ 4547 w 16095"/>
                <a:gd name="T19" fmla="*/ 9859 h 15614"/>
                <a:gd name="T20" fmla="*/ 4473 w 16095"/>
                <a:gd name="T21" fmla="*/ 9607 h 15614"/>
                <a:gd name="T22" fmla="*/ 4342 w 16095"/>
                <a:gd name="T23" fmla="*/ 9376 h 15614"/>
                <a:gd name="T24" fmla="*/ 5386 w 16095"/>
                <a:gd name="T25" fmla="*/ 5551 h 15614"/>
                <a:gd name="T26" fmla="*/ 5658 w 16095"/>
                <a:gd name="T27" fmla="*/ 5467 h 15614"/>
                <a:gd name="T28" fmla="*/ 5899 w 16095"/>
                <a:gd name="T29" fmla="*/ 5323 h 15614"/>
                <a:gd name="T30" fmla="*/ 6097 w 16095"/>
                <a:gd name="T31" fmla="*/ 5126 h 15614"/>
                <a:gd name="T32" fmla="*/ 8048 w 16095"/>
                <a:gd name="T33" fmla="*/ 1134 h 15614"/>
                <a:gd name="T34" fmla="*/ 9998 w 16095"/>
                <a:gd name="T35" fmla="*/ 5126 h 15614"/>
                <a:gd name="T36" fmla="*/ 10196 w 16095"/>
                <a:gd name="T37" fmla="*/ 5323 h 15614"/>
                <a:gd name="T38" fmla="*/ 10437 w 16095"/>
                <a:gd name="T39" fmla="*/ 5467 h 15614"/>
                <a:gd name="T40" fmla="*/ 10708 w 16095"/>
                <a:gd name="T41" fmla="*/ 5551 h 15614"/>
                <a:gd name="T42" fmla="*/ 15973 w 16095"/>
                <a:gd name="T43" fmla="*/ 5675 h 15614"/>
                <a:gd name="T44" fmla="*/ 15794 w 16095"/>
                <a:gd name="T45" fmla="*/ 5421 h 15614"/>
                <a:gd name="T46" fmla="*/ 15554 w 16095"/>
                <a:gd name="T47" fmla="*/ 5223 h 15614"/>
                <a:gd name="T48" fmla="*/ 15266 w 16095"/>
                <a:gd name="T49" fmla="*/ 5094 h 15614"/>
                <a:gd name="T50" fmla="*/ 9061 w 16095"/>
                <a:gd name="T51" fmla="*/ 579 h 15614"/>
                <a:gd name="T52" fmla="*/ 8861 w 16095"/>
                <a:gd name="T53" fmla="*/ 324 h 15614"/>
                <a:gd name="T54" fmla="*/ 8601 w 16095"/>
                <a:gd name="T55" fmla="*/ 137 h 15614"/>
                <a:gd name="T56" fmla="*/ 8296 w 16095"/>
                <a:gd name="T57" fmla="*/ 26 h 15614"/>
                <a:gd name="T58" fmla="*/ 7963 w 16095"/>
                <a:gd name="T59" fmla="*/ 3 h 15614"/>
                <a:gd name="T60" fmla="*/ 7642 w 16095"/>
                <a:gd name="T61" fmla="*/ 72 h 15614"/>
                <a:gd name="T62" fmla="*/ 7357 w 16095"/>
                <a:gd name="T63" fmla="*/ 222 h 15614"/>
                <a:gd name="T64" fmla="*/ 7125 w 16095"/>
                <a:gd name="T65" fmla="*/ 444 h 15614"/>
                <a:gd name="T66" fmla="*/ 987 w 16095"/>
                <a:gd name="T67" fmla="*/ 5060 h 15614"/>
                <a:gd name="T68" fmla="*/ 680 w 16095"/>
                <a:gd name="T69" fmla="*/ 5150 h 15614"/>
                <a:gd name="T70" fmla="*/ 414 w 16095"/>
                <a:gd name="T71" fmla="*/ 5314 h 15614"/>
                <a:gd name="T72" fmla="*/ 203 w 16095"/>
                <a:gd name="T73" fmla="*/ 5541 h 15614"/>
                <a:gd name="T74" fmla="*/ 60 w 16095"/>
                <a:gd name="T75" fmla="*/ 5820 h 15614"/>
                <a:gd name="T76" fmla="*/ 1 w 16095"/>
                <a:gd name="T77" fmla="*/ 6128 h 15614"/>
                <a:gd name="T78" fmla="*/ 29 w 16095"/>
                <a:gd name="T79" fmla="*/ 6434 h 15614"/>
                <a:gd name="T80" fmla="*/ 141 w 16095"/>
                <a:gd name="T81" fmla="*/ 6721 h 15614"/>
                <a:gd name="T82" fmla="*/ 330 w 16095"/>
                <a:gd name="T83" fmla="*/ 6972 h 15614"/>
                <a:gd name="T84" fmla="*/ 2674 w 16095"/>
                <a:gd name="T85" fmla="*/ 14537 h 15614"/>
                <a:gd name="T86" fmla="*/ 2734 w 16095"/>
                <a:gd name="T87" fmla="*/ 14845 h 15614"/>
                <a:gd name="T88" fmla="*/ 2878 w 16095"/>
                <a:gd name="T89" fmla="*/ 15124 h 15614"/>
                <a:gd name="T90" fmla="*/ 3098 w 16095"/>
                <a:gd name="T91" fmla="*/ 15358 h 15614"/>
                <a:gd name="T92" fmla="*/ 3402 w 16095"/>
                <a:gd name="T93" fmla="*/ 15532 h 15614"/>
                <a:gd name="T94" fmla="*/ 3746 w 16095"/>
                <a:gd name="T95" fmla="*/ 15611 h 15614"/>
                <a:gd name="T96" fmla="*/ 4051 w 16095"/>
                <a:gd name="T97" fmla="*/ 15594 h 15614"/>
                <a:gd name="T98" fmla="*/ 4330 w 16095"/>
                <a:gd name="T99" fmla="*/ 15505 h 15614"/>
                <a:gd name="T100" fmla="*/ 11834 w 16095"/>
                <a:gd name="T101" fmla="*/ 15534 h 15614"/>
                <a:gd name="T102" fmla="*/ 12117 w 16095"/>
                <a:gd name="T103" fmla="*/ 15605 h 15614"/>
                <a:gd name="T104" fmla="*/ 12436 w 16095"/>
                <a:gd name="T105" fmla="*/ 15601 h 15614"/>
                <a:gd name="T106" fmla="*/ 12774 w 16095"/>
                <a:gd name="T107" fmla="*/ 15497 h 15614"/>
                <a:gd name="T108" fmla="*/ 13058 w 16095"/>
                <a:gd name="T109" fmla="*/ 15305 h 15614"/>
                <a:gd name="T110" fmla="*/ 13260 w 16095"/>
                <a:gd name="T111" fmla="*/ 15059 h 15614"/>
                <a:gd name="T112" fmla="*/ 13384 w 16095"/>
                <a:gd name="T113" fmla="*/ 14771 h 15614"/>
                <a:gd name="T114" fmla="*/ 13422 w 16095"/>
                <a:gd name="T115" fmla="*/ 14458 h 15614"/>
                <a:gd name="T116" fmla="*/ 15819 w 16095"/>
                <a:gd name="T117" fmla="*/ 6913 h 15614"/>
                <a:gd name="T118" fmla="*/ 15989 w 16095"/>
                <a:gd name="T119" fmla="*/ 6652 h 15614"/>
                <a:gd name="T120" fmla="*/ 16080 w 16095"/>
                <a:gd name="T121" fmla="*/ 6358 h 15614"/>
                <a:gd name="T122" fmla="*/ 16087 w 16095"/>
                <a:gd name="T123" fmla="*/ 6050 h 15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095" h="15614">
                  <a:moveTo>
                    <a:pt x="11864" y="9250"/>
                  </a:moveTo>
                  <a:lnTo>
                    <a:pt x="11840" y="9274"/>
                  </a:lnTo>
                  <a:lnTo>
                    <a:pt x="11817" y="9299"/>
                  </a:lnTo>
                  <a:lnTo>
                    <a:pt x="11796" y="9324"/>
                  </a:lnTo>
                  <a:lnTo>
                    <a:pt x="11773" y="9350"/>
                  </a:lnTo>
                  <a:lnTo>
                    <a:pt x="11753" y="9376"/>
                  </a:lnTo>
                  <a:lnTo>
                    <a:pt x="11734" y="9404"/>
                  </a:lnTo>
                  <a:lnTo>
                    <a:pt x="11715" y="9432"/>
                  </a:lnTo>
                  <a:lnTo>
                    <a:pt x="11698" y="9460"/>
                  </a:lnTo>
                  <a:lnTo>
                    <a:pt x="11681" y="9488"/>
                  </a:lnTo>
                  <a:lnTo>
                    <a:pt x="11665" y="9517"/>
                  </a:lnTo>
                  <a:lnTo>
                    <a:pt x="11650" y="9547"/>
                  </a:lnTo>
                  <a:lnTo>
                    <a:pt x="11636" y="9577"/>
                  </a:lnTo>
                  <a:lnTo>
                    <a:pt x="11623" y="9607"/>
                  </a:lnTo>
                  <a:lnTo>
                    <a:pt x="11610" y="9637"/>
                  </a:lnTo>
                  <a:lnTo>
                    <a:pt x="11598" y="9669"/>
                  </a:lnTo>
                  <a:lnTo>
                    <a:pt x="11587" y="9700"/>
                  </a:lnTo>
                  <a:lnTo>
                    <a:pt x="11578" y="9731"/>
                  </a:lnTo>
                  <a:lnTo>
                    <a:pt x="11569" y="9762"/>
                  </a:lnTo>
                  <a:lnTo>
                    <a:pt x="11561" y="9795"/>
                  </a:lnTo>
                  <a:lnTo>
                    <a:pt x="11554" y="9827"/>
                  </a:lnTo>
                  <a:lnTo>
                    <a:pt x="11549" y="9859"/>
                  </a:lnTo>
                  <a:lnTo>
                    <a:pt x="11544" y="9891"/>
                  </a:lnTo>
                  <a:lnTo>
                    <a:pt x="11540" y="9924"/>
                  </a:lnTo>
                  <a:lnTo>
                    <a:pt x="11537" y="9958"/>
                  </a:lnTo>
                  <a:lnTo>
                    <a:pt x="11535" y="9990"/>
                  </a:lnTo>
                  <a:lnTo>
                    <a:pt x="11534" y="10023"/>
                  </a:lnTo>
                  <a:lnTo>
                    <a:pt x="11534" y="10056"/>
                  </a:lnTo>
                  <a:lnTo>
                    <a:pt x="11535" y="10090"/>
                  </a:lnTo>
                  <a:lnTo>
                    <a:pt x="11537" y="10123"/>
                  </a:lnTo>
                  <a:lnTo>
                    <a:pt x="11540" y="10156"/>
                  </a:lnTo>
                  <a:lnTo>
                    <a:pt x="11544" y="10189"/>
                  </a:lnTo>
                  <a:lnTo>
                    <a:pt x="11549" y="10223"/>
                  </a:lnTo>
                  <a:lnTo>
                    <a:pt x="12260" y="14481"/>
                  </a:lnTo>
                  <a:lnTo>
                    <a:pt x="8610" y="12512"/>
                  </a:lnTo>
                  <a:lnTo>
                    <a:pt x="8577" y="12495"/>
                  </a:lnTo>
                  <a:lnTo>
                    <a:pt x="8543" y="12479"/>
                  </a:lnTo>
                  <a:lnTo>
                    <a:pt x="8509" y="12464"/>
                  </a:lnTo>
                  <a:lnTo>
                    <a:pt x="8475" y="12450"/>
                  </a:lnTo>
                  <a:lnTo>
                    <a:pt x="8441" y="12438"/>
                  </a:lnTo>
                  <a:lnTo>
                    <a:pt x="8406" y="12426"/>
                  </a:lnTo>
                  <a:lnTo>
                    <a:pt x="8370" y="12416"/>
                  </a:lnTo>
                  <a:lnTo>
                    <a:pt x="8335" y="12406"/>
                  </a:lnTo>
                  <a:lnTo>
                    <a:pt x="8300" y="12398"/>
                  </a:lnTo>
                  <a:lnTo>
                    <a:pt x="8264" y="12390"/>
                  </a:lnTo>
                  <a:lnTo>
                    <a:pt x="8229" y="12384"/>
                  </a:lnTo>
                  <a:lnTo>
                    <a:pt x="8192" y="12379"/>
                  </a:lnTo>
                  <a:lnTo>
                    <a:pt x="8156" y="12375"/>
                  </a:lnTo>
                  <a:lnTo>
                    <a:pt x="8120" y="12372"/>
                  </a:lnTo>
                  <a:lnTo>
                    <a:pt x="8084" y="12371"/>
                  </a:lnTo>
                  <a:lnTo>
                    <a:pt x="8048" y="12370"/>
                  </a:lnTo>
                  <a:lnTo>
                    <a:pt x="8011" y="12371"/>
                  </a:lnTo>
                  <a:lnTo>
                    <a:pt x="7975" y="12372"/>
                  </a:lnTo>
                  <a:lnTo>
                    <a:pt x="7939" y="12375"/>
                  </a:lnTo>
                  <a:lnTo>
                    <a:pt x="7903" y="12379"/>
                  </a:lnTo>
                  <a:lnTo>
                    <a:pt x="7866" y="12384"/>
                  </a:lnTo>
                  <a:lnTo>
                    <a:pt x="7831" y="12390"/>
                  </a:lnTo>
                  <a:lnTo>
                    <a:pt x="7795" y="12398"/>
                  </a:lnTo>
                  <a:lnTo>
                    <a:pt x="7760" y="12406"/>
                  </a:lnTo>
                  <a:lnTo>
                    <a:pt x="7725" y="12416"/>
                  </a:lnTo>
                  <a:lnTo>
                    <a:pt x="7689" y="12426"/>
                  </a:lnTo>
                  <a:lnTo>
                    <a:pt x="7655" y="12438"/>
                  </a:lnTo>
                  <a:lnTo>
                    <a:pt x="7620" y="12450"/>
                  </a:lnTo>
                  <a:lnTo>
                    <a:pt x="7586" y="12464"/>
                  </a:lnTo>
                  <a:lnTo>
                    <a:pt x="7553" y="12479"/>
                  </a:lnTo>
                  <a:lnTo>
                    <a:pt x="7518" y="12495"/>
                  </a:lnTo>
                  <a:lnTo>
                    <a:pt x="7485" y="12512"/>
                  </a:lnTo>
                  <a:lnTo>
                    <a:pt x="3834" y="14481"/>
                  </a:lnTo>
                  <a:lnTo>
                    <a:pt x="4546" y="10223"/>
                  </a:lnTo>
                  <a:lnTo>
                    <a:pt x="4551" y="10189"/>
                  </a:lnTo>
                  <a:lnTo>
                    <a:pt x="4555" y="10156"/>
                  </a:lnTo>
                  <a:lnTo>
                    <a:pt x="4558" y="10123"/>
                  </a:lnTo>
                  <a:lnTo>
                    <a:pt x="4560" y="10090"/>
                  </a:lnTo>
                  <a:lnTo>
                    <a:pt x="4561" y="10056"/>
                  </a:lnTo>
                  <a:lnTo>
                    <a:pt x="4561" y="10023"/>
                  </a:lnTo>
                  <a:lnTo>
                    <a:pt x="4560" y="9990"/>
                  </a:lnTo>
                  <a:lnTo>
                    <a:pt x="4558" y="9958"/>
                  </a:lnTo>
                  <a:lnTo>
                    <a:pt x="4555" y="9924"/>
                  </a:lnTo>
                  <a:lnTo>
                    <a:pt x="4551" y="9891"/>
                  </a:lnTo>
                  <a:lnTo>
                    <a:pt x="4547" y="9859"/>
                  </a:lnTo>
                  <a:lnTo>
                    <a:pt x="4541" y="9827"/>
                  </a:lnTo>
                  <a:lnTo>
                    <a:pt x="4534" y="9795"/>
                  </a:lnTo>
                  <a:lnTo>
                    <a:pt x="4526" y="9762"/>
                  </a:lnTo>
                  <a:lnTo>
                    <a:pt x="4518" y="9731"/>
                  </a:lnTo>
                  <a:lnTo>
                    <a:pt x="4508" y="9700"/>
                  </a:lnTo>
                  <a:lnTo>
                    <a:pt x="4497" y="9669"/>
                  </a:lnTo>
                  <a:lnTo>
                    <a:pt x="4485" y="9637"/>
                  </a:lnTo>
                  <a:lnTo>
                    <a:pt x="4473" y="9607"/>
                  </a:lnTo>
                  <a:lnTo>
                    <a:pt x="4459" y="9577"/>
                  </a:lnTo>
                  <a:lnTo>
                    <a:pt x="4445" y="9547"/>
                  </a:lnTo>
                  <a:lnTo>
                    <a:pt x="4430" y="9517"/>
                  </a:lnTo>
                  <a:lnTo>
                    <a:pt x="4414" y="9488"/>
                  </a:lnTo>
                  <a:lnTo>
                    <a:pt x="4398" y="9460"/>
                  </a:lnTo>
                  <a:lnTo>
                    <a:pt x="4380" y="9432"/>
                  </a:lnTo>
                  <a:lnTo>
                    <a:pt x="4361" y="9404"/>
                  </a:lnTo>
                  <a:lnTo>
                    <a:pt x="4342" y="9376"/>
                  </a:lnTo>
                  <a:lnTo>
                    <a:pt x="4322" y="9350"/>
                  </a:lnTo>
                  <a:lnTo>
                    <a:pt x="4300" y="9324"/>
                  </a:lnTo>
                  <a:lnTo>
                    <a:pt x="4278" y="9299"/>
                  </a:lnTo>
                  <a:lnTo>
                    <a:pt x="4255" y="9274"/>
                  </a:lnTo>
                  <a:lnTo>
                    <a:pt x="4231" y="9250"/>
                  </a:lnTo>
                  <a:lnTo>
                    <a:pt x="1163" y="6180"/>
                  </a:lnTo>
                  <a:lnTo>
                    <a:pt x="5351" y="5557"/>
                  </a:lnTo>
                  <a:lnTo>
                    <a:pt x="5386" y="5551"/>
                  </a:lnTo>
                  <a:lnTo>
                    <a:pt x="5422" y="5543"/>
                  </a:lnTo>
                  <a:lnTo>
                    <a:pt x="5456" y="5535"/>
                  </a:lnTo>
                  <a:lnTo>
                    <a:pt x="5491" y="5526"/>
                  </a:lnTo>
                  <a:lnTo>
                    <a:pt x="5526" y="5516"/>
                  </a:lnTo>
                  <a:lnTo>
                    <a:pt x="5560" y="5505"/>
                  </a:lnTo>
                  <a:lnTo>
                    <a:pt x="5593" y="5493"/>
                  </a:lnTo>
                  <a:lnTo>
                    <a:pt x="5626" y="5480"/>
                  </a:lnTo>
                  <a:lnTo>
                    <a:pt x="5658" y="5467"/>
                  </a:lnTo>
                  <a:lnTo>
                    <a:pt x="5691" y="5452"/>
                  </a:lnTo>
                  <a:lnTo>
                    <a:pt x="5722" y="5436"/>
                  </a:lnTo>
                  <a:lnTo>
                    <a:pt x="5753" y="5420"/>
                  </a:lnTo>
                  <a:lnTo>
                    <a:pt x="5783" y="5401"/>
                  </a:lnTo>
                  <a:lnTo>
                    <a:pt x="5813" y="5383"/>
                  </a:lnTo>
                  <a:lnTo>
                    <a:pt x="5842" y="5364"/>
                  </a:lnTo>
                  <a:lnTo>
                    <a:pt x="5871" y="5344"/>
                  </a:lnTo>
                  <a:lnTo>
                    <a:pt x="5899" y="5323"/>
                  </a:lnTo>
                  <a:lnTo>
                    <a:pt x="5926" y="5301"/>
                  </a:lnTo>
                  <a:lnTo>
                    <a:pt x="5952" y="5279"/>
                  </a:lnTo>
                  <a:lnTo>
                    <a:pt x="5978" y="5254"/>
                  </a:lnTo>
                  <a:lnTo>
                    <a:pt x="6003" y="5230"/>
                  </a:lnTo>
                  <a:lnTo>
                    <a:pt x="6028" y="5206"/>
                  </a:lnTo>
                  <a:lnTo>
                    <a:pt x="6052" y="5180"/>
                  </a:lnTo>
                  <a:lnTo>
                    <a:pt x="6075" y="5154"/>
                  </a:lnTo>
                  <a:lnTo>
                    <a:pt x="6097" y="5126"/>
                  </a:lnTo>
                  <a:lnTo>
                    <a:pt x="6118" y="5098"/>
                  </a:lnTo>
                  <a:lnTo>
                    <a:pt x="6138" y="5070"/>
                  </a:lnTo>
                  <a:lnTo>
                    <a:pt x="6158" y="5041"/>
                  </a:lnTo>
                  <a:lnTo>
                    <a:pt x="6176" y="5011"/>
                  </a:lnTo>
                  <a:lnTo>
                    <a:pt x="6195" y="4980"/>
                  </a:lnTo>
                  <a:lnTo>
                    <a:pt x="6212" y="4949"/>
                  </a:lnTo>
                  <a:lnTo>
                    <a:pt x="6227" y="4918"/>
                  </a:lnTo>
                  <a:lnTo>
                    <a:pt x="8048" y="1134"/>
                  </a:lnTo>
                  <a:lnTo>
                    <a:pt x="9868" y="4918"/>
                  </a:lnTo>
                  <a:lnTo>
                    <a:pt x="9884" y="4949"/>
                  </a:lnTo>
                  <a:lnTo>
                    <a:pt x="9900" y="4980"/>
                  </a:lnTo>
                  <a:lnTo>
                    <a:pt x="9919" y="5011"/>
                  </a:lnTo>
                  <a:lnTo>
                    <a:pt x="9938" y="5041"/>
                  </a:lnTo>
                  <a:lnTo>
                    <a:pt x="9957" y="5070"/>
                  </a:lnTo>
                  <a:lnTo>
                    <a:pt x="9977" y="5098"/>
                  </a:lnTo>
                  <a:lnTo>
                    <a:pt x="9998" y="5126"/>
                  </a:lnTo>
                  <a:lnTo>
                    <a:pt x="10020" y="5154"/>
                  </a:lnTo>
                  <a:lnTo>
                    <a:pt x="10043" y="5180"/>
                  </a:lnTo>
                  <a:lnTo>
                    <a:pt x="10067" y="5206"/>
                  </a:lnTo>
                  <a:lnTo>
                    <a:pt x="10092" y="5230"/>
                  </a:lnTo>
                  <a:lnTo>
                    <a:pt x="10117" y="5254"/>
                  </a:lnTo>
                  <a:lnTo>
                    <a:pt x="10143" y="5279"/>
                  </a:lnTo>
                  <a:lnTo>
                    <a:pt x="10169" y="5301"/>
                  </a:lnTo>
                  <a:lnTo>
                    <a:pt x="10196" y="5323"/>
                  </a:lnTo>
                  <a:lnTo>
                    <a:pt x="10224" y="5344"/>
                  </a:lnTo>
                  <a:lnTo>
                    <a:pt x="10254" y="5364"/>
                  </a:lnTo>
                  <a:lnTo>
                    <a:pt x="10282" y="5383"/>
                  </a:lnTo>
                  <a:lnTo>
                    <a:pt x="10312" y="5401"/>
                  </a:lnTo>
                  <a:lnTo>
                    <a:pt x="10342" y="5420"/>
                  </a:lnTo>
                  <a:lnTo>
                    <a:pt x="10373" y="5436"/>
                  </a:lnTo>
                  <a:lnTo>
                    <a:pt x="10404" y="5452"/>
                  </a:lnTo>
                  <a:lnTo>
                    <a:pt x="10437" y="5467"/>
                  </a:lnTo>
                  <a:lnTo>
                    <a:pt x="10469" y="5480"/>
                  </a:lnTo>
                  <a:lnTo>
                    <a:pt x="10502" y="5493"/>
                  </a:lnTo>
                  <a:lnTo>
                    <a:pt x="10535" y="5505"/>
                  </a:lnTo>
                  <a:lnTo>
                    <a:pt x="10569" y="5516"/>
                  </a:lnTo>
                  <a:lnTo>
                    <a:pt x="10604" y="5526"/>
                  </a:lnTo>
                  <a:lnTo>
                    <a:pt x="10638" y="5535"/>
                  </a:lnTo>
                  <a:lnTo>
                    <a:pt x="10673" y="5543"/>
                  </a:lnTo>
                  <a:lnTo>
                    <a:pt x="10708" y="5551"/>
                  </a:lnTo>
                  <a:lnTo>
                    <a:pt x="10744" y="5557"/>
                  </a:lnTo>
                  <a:lnTo>
                    <a:pt x="14933" y="6180"/>
                  </a:lnTo>
                  <a:lnTo>
                    <a:pt x="11864" y="9250"/>
                  </a:lnTo>
                  <a:close/>
                  <a:moveTo>
                    <a:pt x="16035" y="5820"/>
                  </a:moveTo>
                  <a:lnTo>
                    <a:pt x="16022" y="5783"/>
                  </a:lnTo>
                  <a:lnTo>
                    <a:pt x="16006" y="5746"/>
                  </a:lnTo>
                  <a:lnTo>
                    <a:pt x="15990" y="5711"/>
                  </a:lnTo>
                  <a:lnTo>
                    <a:pt x="15973" y="5675"/>
                  </a:lnTo>
                  <a:lnTo>
                    <a:pt x="15954" y="5640"/>
                  </a:lnTo>
                  <a:lnTo>
                    <a:pt x="15935" y="5607"/>
                  </a:lnTo>
                  <a:lnTo>
                    <a:pt x="15914" y="5574"/>
                  </a:lnTo>
                  <a:lnTo>
                    <a:pt x="15892" y="5541"/>
                  </a:lnTo>
                  <a:lnTo>
                    <a:pt x="15869" y="5509"/>
                  </a:lnTo>
                  <a:lnTo>
                    <a:pt x="15846" y="5479"/>
                  </a:lnTo>
                  <a:lnTo>
                    <a:pt x="15820" y="5449"/>
                  </a:lnTo>
                  <a:lnTo>
                    <a:pt x="15794" y="5421"/>
                  </a:lnTo>
                  <a:lnTo>
                    <a:pt x="15767" y="5392"/>
                  </a:lnTo>
                  <a:lnTo>
                    <a:pt x="15739" y="5365"/>
                  </a:lnTo>
                  <a:lnTo>
                    <a:pt x="15711" y="5339"/>
                  </a:lnTo>
                  <a:lnTo>
                    <a:pt x="15681" y="5314"/>
                  </a:lnTo>
                  <a:lnTo>
                    <a:pt x="15650" y="5290"/>
                  </a:lnTo>
                  <a:lnTo>
                    <a:pt x="15619" y="5266"/>
                  </a:lnTo>
                  <a:lnTo>
                    <a:pt x="15587" y="5244"/>
                  </a:lnTo>
                  <a:lnTo>
                    <a:pt x="15554" y="5223"/>
                  </a:lnTo>
                  <a:lnTo>
                    <a:pt x="15521" y="5203"/>
                  </a:lnTo>
                  <a:lnTo>
                    <a:pt x="15485" y="5184"/>
                  </a:lnTo>
                  <a:lnTo>
                    <a:pt x="15450" y="5166"/>
                  </a:lnTo>
                  <a:lnTo>
                    <a:pt x="15415" y="5150"/>
                  </a:lnTo>
                  <a:lnTo>
                    <a:pt x="15379" y="5133"/>
                  </a:lnTo>
                  <a:lnTo>
                    <a:pt x="15342" y="5119"/>
                  </a:lnTo>
                  <a:lnTo>
                    <a:pt x="15304" y="5106"/>
                  </a:lnTo>
                  <a:lnTo>
                    <a:pt x="15266" y="5094"/>
                  </a:lnTo>
                  <a:lnTo>
                    <a:pt x="15227" y="5084"/>
                  </a:lnTo>
                  <a:lnTo>
                    <a:pt x="15188" y="5075"/>
                  </a:lnTo>
                  <a:lnTo>
                    <a:pt x="15148" y="5067"/>
                  </a:lnTo>
                  <a:lnTo>
                    <a:pt x="15108" y="5060"/>
                  </a:lnTo>
                  <a:lnTo>
                    <a:pt x="10920" y="4436"/>
                  </a:lnTo>
                  <a:lnTo>
                    <a:pt x="9100" y="652"/>
                  </a:lnTo>
                  <a:lnTo>
                    <a:pt x="9081" y="615"/>
                  </a:lnTo>
                  <a:lnTo>
                    <a:pt x="9061" y="579"/>
                  </a:lnTo>
                  <a:lnTo>
                    <a:pt x="9040" y="544"/>
                  </a:lnTo>
                  <a:lnTo>
                    <a:pt x="9018" y="510"/>
                  </a:lnTo>
                  <a:lnTo>
                    <a:pt x="8995" y="476"/>
                  </a:lnTo>
                  <a:lnTo>
                    <a:pt x="8970" y="444"/>
                  </a:lnTo>
                  <a:lnTo>
                    <a:pt x="8945" y="413"/>
                  </a:lnTo>
                  <a:lnTo>
                    <a:pt x="8918" y="383"/>
                  </a:lnTo>
                  <a:lnTo>
                    <a:pt x="8890" y="353"/>
                  </a:lnTo>
                  <a:lnTo>
                    <a:pt x="8861" y="324"/>
                  </a:lnTo>
                  <a:lnTo>
                    <a:pt x="8832" y="297"/>
                  </a:lnTo>
                  <a:lnTo>
                    <a:pt x="8802" y="271"/>
                  </a:lnTo>
                  <a:lnTo>
                    <a:pt x="8770" y="246"/>
                  </a:lnTo>
                  <a:lnTo>
                    <a:pt x="8738" y="222"/>
                  </a:lnTo>
                  <a:lnTo>
                    <a:pt x="8704" y="198"/>
                  </a:lnTo>
                  <a:lnTo>
                    <a:pt x="8671" y="177"/>
                  </a:lnTo>
                  <a:lnTo>
                    <a:pt x="8636" y="156"/>
                  </a:lnTo>
                  <a:lnTo>
                    <a:pt x="8601" y="137"/>
                  </a:lnTo>
                  <a:lnTo>
                    <a:pt x="8565" y="119"/>
                  </a:lnTo>
                  <a:lnTo>
                    <a:pt x="8528" y="102"/>
                  </a:lnTo>
                  <a:lnTo>
                    <a:pt x="8491" y="86"/>
                  </a:lnTo>
                  <a:lnTo>
                    <a:pt x="8453" y="72"/>
                  </a:lnTo>
                  <a:lnTo>
                    <a:pt x="8415" y="57"/>
                  </a:lnTo>
                  <a:lnTo>
                    <a:pt x="8375" y="46"/>
                  </a:lnTo>
                  <a:lnTo>
                    <a:pt x="8335" y="35"/>
                  </a:lnTo>
                  <a:lnTo>
                    <a:pt x="8296" y="26"/>
                  </a:lnTo>
                  <a:lnTo>
                    <a:pt x="8255" y="18"/>
                  </a:lnTo>
                  <a:lnTo>
                    <a:pt x="8214" y="12"/>
                  </a:lnTo>
                  <a:lnTo>
                    <a:pt x="8173" y="7"/>
                  </a:lnTo>
                  <a:lnTo>
                    <a:pt x="8131" y="3"/>
                  </a:lnTo>
                  <a:lnTo>
                    <a:pt x="8090" y="1"/>
                  </a:lnTo>
                  <a:lnTo>
                    <a:pt x="8048" y="0"/>
                  </a:lnTo>
                  <a:lnTo>
                    <a:pt x="8005" y="1"/>
                  </a:lnTo>
                  <a:lnTo>
                    <a:pt x="7963" y="3"/>
                  </a:lnTo>
                  <a:lnTo>
                    <a:pt x="7922" y="7"/>
                  </a:lnTo>
                  <a:lnTo>
                    <a:pt x="7881" y="12"/>
                  </a:lnTo>
                  <a:lnTo>
                    <a:pt x="7840" y="18"/>
                  </a:lnTo>
                  <a:lnTo>
                    <a:pt x="7799" y="26"/>
                  </a:lnTo>
                  <a:lnTo>
                    <a:pt x="7760" y="35"/>
                  </a:lnTo>
                  <a:lnTo>
                    <a:pt x="7720" y="46"/>
                  </a:lnTo>
                  <a:lnTo>
                    <a:pt x="7681" y="57"/>
                  </a:lnTo>
                  <a:lnTo>
                    <a:pt x="7642" y="72"/>
                  </a:lnTo>
                  <a:lnTo>
                    <a:pt x="7605" y="86"/>
                  </a:lnTo>
                  <a:lnTo>
                    <a:pt x="7567" y="102"/>
                  </a:lnTo>
                  <a:lnTo>
                    <a:pt x="7530" y="119"/>
                  </a:lnTo>
                  <a:lnTo>
                    <a:pt x="7494" y="137"/>
                  </a:lnTo>
                  <a:lnTo>
                    <a:pt x="7459" y="156"/>
                  </a:lnTo>
                  <a:lnTo>
                    <a:pt x="7424" y="177"/>
                  </a:lnTo>
                  <a:lnTo>
                    <a:pt x="7391" y="198"/>
                  </a:lnTo>
                  <a:lnTo>
                    <a:pt x="7357" y="222"/>
                  </a:lnTo>
                  <a:lnTo>
                    <a:pt x="7325" y="246"/>
                  </a:lnTo>
                  <a:lnTo>
                    <a:pt x="7293" y="271"/>
                  </a:lnTo>
                  <a:lnTo>
                    <a:pt x="7263" y="297"/>
                  </a:lnTo>
                  <a:lnTo>
                    <a:pt x="7234" y="324"/>
                  </a:lnTo>
                  <a:lnTo>
                    <a:pt x="7205" y="353"/>
                  </a:lnTo>
                  <a:lnTo>
                    <a:pt x="7177" y="383"/>
                  </a:lnTo>
                  <a:lnTo>
                    <a:pt x="7150" y="413"/>
                  </a:lnTo>
                  <a:lnTo>
                    <a:pt x="7125" y="444"/>
                  </a:lnTo>
                  <a:lnTo>
                    <a:pt x="7100" y="476"/>
                  </a:lnTo>
                  <a:lnTo>
                    <a:pt x="7077" y="510"/>
                  </a:lnTo>
                  <a:lnTo>
                    <a:pt x="7055" y="544"/>
                  </a:lnTo>
                  <a:lnTo>
                    <a:pt x="7034" y="579"/>
                  </a:lnTo>
                  <a:lnTo>
                    <a:pt x="7013" y="615"/>
                  </a:lnTo>
                  <a:lnTo>
                    <a:pt x="6995" y="652"/>
                  </a:lnTo>
                  <a:lnTo>
                    <a:pt x="5175" y="4436"/>
                  </a:lnTo>
                  <a:lnTo>
                    <a:pt x="987" y="5060"/>
                  </a:lnTo>
                  <a:lnTo>
                    <a:pt x="947" y="5067"/>
                  </a:lnTo>
                  <a:lnTo>
                    <a:pt x="907" y="5075"/>
                  </a:lnTo>
                  <a:lnTo>
                    <a:pt x="868" y="5084"/>
                  </a:lnTo>
                  <a:lnTo>
                    <a:pt x="829" y="5094"/>
                  </a:lnTo>
                  <a:lnTo>
                    <a:pt x="791" y="5106"/>
                  </a:lnTo>
                  <a:lnTo>
                    <a:pt x="753" y="5119"/>
                  </a:lnTo>
                  <a:lnTo>
                    <a:pt x="716" y="5133"/>
                  </a:lnTo>
                  <a:lnTo>
                    <a:pt x="680" y="5150"/>
                  </a:lnTo>
                  <a:lnTo>
                    <a:pt x="644" y="5166"/>
                  </a:lnTo>
                  <a:lnTo>
                    <a:pt x="610" y="5184"/>
                  </a:lnTo>
                  <a:lnTo>
                    <a:pt x="574" y="5203"/>
                  </a:lnTo>
                  <a:lnTo>
                    <a:pt x="541" y="5223"/>
                  </a:lnTo>
                  <a:lnTo>
                    <a:pt x="508" y="5244"/>
                  </a:lnTo>
                  <a:lnTo>
                    <a:pt x="476" y="5266"/>
                  </a:lnTo>
                  <a:lnTo>
                    <a:pt x="445" y="5290"/>
                  </a:lnTo>
                  <a:lnTo>
                    <a:pt x="414" y="5314"/>
                  </a:lnTo>
                  <a:lnTo>
                    <a:pt x="384" y="5339"/>
                  </a:lnTo>
                  <a:lnTo>
                    <a:pt x="356" y="5365"/>
                  </a:lnTo>
                  <a:lnTo>
                    <a:pt x="328" y="5392"/>
                  </a:lnTo>
                  <a:lnTo>
                    <a:pt x="301" y="5421"/>
                  </a:lnTo>
                  <a:lnTo>
                    <a:pt x="275" y="5449"/>
                  </a:lnTo>
                  <a:lnTo>
                    <a:pt x="250" y="5479"/>
                  </a:lnTo>
                  <a:lnTo>
                    <a:pt x="226" y="5509"/>
                  </a:lnTo>
                  <a:lnTo>
                    <a:pt x="203" y="5541"/>
                  </a:lnTo>
                  <a:lnTo>
                    <a:pt x="181" y="5574"/>
                  </a:lnTo>
                  <a:lnTo>
                    <a:pt x="160" y="5607"/>
                  </a:lnTo>
                  <a:lnTo>
                    <a:pt x="141" y="5640"/>
                  </a:lnTo>
                  <a:lnTo>
                    <a:pt x="122" y="5675"/>
                  </a:lnTo>
                  <a:lnTo>
                    <a:pt x="105" y="5711"/>
                  </a:lnTo>
                  <a:lnTo>
                    <a:pt x="89" y="5746"/>
                  </a:lnTo>
                  <a:lnTo>
                    <a:pt x="73" y="5783"/>
                  </a:lnTo>
                  <a:lnTo>
                    <a:pt x="60" y="5820"/>
                  </a:lnTo>
                  <a:lnTo>
                    <a:pt x="48" y="5859"/>
                  </a:lnTo>
                  <a:lnTo>
                    <a:pt x="37" y="5897"/>
                  </a:lnTo>
                  <a:lnTo>
                    <a:pt x="27" y="5935"/>
                  </a:lnTo>
                  <a:lnTo>
                    <a:pt x="20" y="5974"/>
                  </a:lnTo>
                  <a:lnTo>
                    <a:pt x="13" y="6012"/>
                  </a:lnTo>
                  <a:lnTo>
                    <a:pt x="8" y="6050"/>
                  </a:lnTo>
                  <a:lnTo>
                    <a:pt x="4" y="6089"/>
                  </a:lnTo>
                  <a:lnTo>
                    <a:pt x="1" y="6128"/>
                  </a:lnTo>
                  <a:lnTo>
                    <a:pt x="0" y="6167"/>
                  </a:lnTo>
                  <a:lnTo>
                    <a:pt x="0" y="6205"/>
                  </a:lnTo>
                  <a:lnTo>
                    <a:pt x="2" y="6244"/>
                  </a:lnTo>
                  <a:lnTo>
                    <a:pt x="5" y="6282"/>
                  </a:lnTo>
                  <a:lnTo>
                    <a:pt x="9" y="6320"/>
                  </a:lnTo>
                  <a:lnTo>
                    <a:pt x="14" y="6358"/>
                  </a:lnTo>
                  <a:lnTo>
                    <a:pt x="21" y="6396"/>
                  </a:lnTo>
                  <a:lnTo>
                    <a:pt x="29" y="6434"/>
                  </a:lnTo>
                  <a:lnTo>
                    <a:pt x="39" y="6471"/>
                  </a:lnTo>
                  <a:lnTo>
                    <a:pt x="49" y="6508"/>
                  </a:lnTo>
                  <a:lnTo>
                    <a:pt x="61" y="6545"/>
                  </a:lnTo>
                  <a:lnTo>
                    <a:pt x="74" y="6580"/>
                  </a:lnTo>
                  <a:lnTo>
                    <a:pt x="90" y="6616"/>
                  </a:lnTo>
                  <a:lnTo>
                    <a:pt x="106" y="6652"/>
                  </a:lnTo>
                  <a:lnTo>
                    <a:pt x="123" y="6687"/>
                  </a:lnTo>
                  <a:lnTo>
                    <a:pt x="141" y="6721"/>
                  </a:lnTo>
                  <a:lnTo>
                    <a:pt x="160" y="6754"/>
                  </a:lnTo>
                  <a:lnTo>
                    <a:pt x="181" y="6788"/>
                  </a:lnTo>
                  <a:lnTo>
                    <a:pt x="203" y="6820"/>
                  </a:lnTo>
                  <a:lnTo>
                    <a:pt x="225" y="6852"/>
                  </a:lnTo>
                  <a:lnTo>
                    <a:pt x="250" y="6883"/>
                  </a:lnTo>
                  <a:lnTo>
                    <a:pt x="276" y="6913"/>
                  </a:lnTo>
                  <a:lnTo>
                    <a:pt x="303" y="6943"/>
                  </a:lnTo>
                  <a:lnTo>
                    <a:pt x="330" y="6972"/>
                  </a:lnTo>
                  <a:lnTo>
                    <a:pt x="3399" y="10040"/>
                  </a:lnTo>
                  <a:lnTo>
                    <a:pt x="2688" y="14297"/>
                  </a:lnTo>
                  <a:lnTo>
                    <a:pt x="2682" y="14337"/>
                  </a:lnTo>
                  <a:lnTo>
                    <a:pt x="2677" y="14377"/>
                  </a:lnTo>
                  <a:lnTo>
                    <a:pt x="2674" y="14417"/>
                  </a:lnTo>
                  <a:lnTo>
                    <a:pt x="2673" y="14458"/>
                  </a:lnTo>
                  <a:lnTo>
                    <a:pt x="2673" y="14497"/>
                  </a:lnTo>
                  <a:lnTo>
                    <a:pt x="2674" y="14537"/>
                  </a:lnTo>
                  <a:lnTo>
                    <a:pt x="2677" y="14576"/>
                  </a:lnTo>
                  <a:lnTo>
                    <a:pt x="2681" y="14616"/>
                  </a:lnTo>
                  <a:lnTo>
                    <a:pt x="2686" y="14655"/>
                  </a:lnTo>
                  <a:lnTo>
                    <a:pt x="2693" y="14694"/>
                  </a:lnTo>
                  <a:lnTo>
                    <a:pt x="2701" y="14733"/>
                  </a:lnTo>
                  <a:lnTo>
                    <a:pt x="2711" y="14771"/>
                  </a:lnTo>
                  <a:lnTo>
                    <a:pt x="2722" y="14808"/>
                  </a:lnTo>
                  <a:lnTo>
                    <a:pt x="2734" y="14845"/>
                  </a:lnTo>
                  <a:lnTo>
                    <a:pt x="2747" y="14883"/>
                  </a:lnTo>
                  <a:lnTo>
                    <a:pt x="2762" y="14919"/>
                  </a:lnTo>
                  <a:lnTo>
                    <a:pt x="2778" y="14954"/>
                  </a:lnTo>
                  <a:lnTo>
                    <a:pt x="2797" y="14989"/>
                  </a:lnTo>
                  <a:lnTo>
                    <a:pt x="2815" y="15025"/>
                  </a:lnTo>
                  <a:lnTo>
                    <a:pt x="2835" y="15059"/>
                  </a:lnTo>
                  <a:lnTo>
                    <a:pt x="2856" y="15092"/>
                  </a:lnTo>
                  <a:lnTo>
                    <a:pt x="2878" y="15124"/>
                  </a:lnTo>
                  <a:lnTo>
                    <a:pt x="2902" y="15157"/>
                  </a:lnTo>
                  <a:lnTo>
                    <a:pt x="2926" y="15188"/>
                  </a:lnTo>
                  <a:lnTo>
                    <a:pt x="2952" y="15218"/>
                  </a:lnTo>
                  <a:lnTo>
                    <a:pt x="2980" y="15248"/>
                  </a:lnTo>
                  <a:lnTo>
                    <a:pt x="3008" y="15277"/>
                  </a:lnTo>
                  <a:lnTo>
                    <a:pt x="3037" y="15305"/>
                  </a:lnTo>
                  <a:lnTo>
                    <a:pt x="3067" y="15332"/>
                  </a:lnTo>
                  <a:lnTo>
                    <a:pt x="3098" y="15358"/>
                  </a:lnTo>
                  <a:lnTo>
                    <a:pt x="3131" y="15383"/>
                  </a:lnTo>
                  <a:lnTo>
                    <a:pt x="3165" y="15407"/>
                  </a:lnTo>
                  <a:lnTo>
                    <a:pt x="3203" y="15432"/>
                  </a:lnTo>
                  <a:lnTo>
                    <a:pt x="3241" y="15455"/>
                  </a:lnTo>
                  <a:lnTo>
                    <a:pt x="3280" y="15477"/>
                  </a:lnTo>
                  <a:lnTo>
                    <a:pt x="3321" y="15497"/>
                  </a:lnTo>
                  <a:lnTo>
                    <a:pt x="3361" y="15515"/>
                  </a:lnTo>
                  <a:lnTo>
                    <a:pt x="3402" y="15532"/>
                  </a:lnTo>
                  <a:lnTo>
                    <a:pt x="3444" y="15549"/>
                  </a:lnTo>
                  <a:lnTo>
                    <a:pt x="3487" y="15562"/>
                  </a:lnTo>
                  <a:lnTo>
                    <a:pt x="3529" y="15574"/>
                  </a:lnTo>
                  <a:lnTo>
                    <a:pt x="3572" y="15585"/>
                  </a:lnTo>
                  <a:lnTo>
                    <a:pt x="3615" y="15594"/>
                  </a:lnTo>
                  <a:lnTo>
                    <a:pt x="3659" y="15601"/>
                  </a:lnTo>
                  <a:lnTo>
                    <a:pt x="3702" y="15607"/>
                  </a:lnTo>
                  <a:lnTo>
                    <a:pt x="3746" y="15611"/>
                  </a:lnTo>
                  <a:lnTo>
                    <a:pt x="3790" y="15613"/>
                  </a:lnTo>
                  <a:lnTo>
                    <a:pt x="3834" y="15614"/>
                  </a:lnTo>
                  <a:lnTo>
                    <a:pt x="3870" y="15613"/>
                  </a:lnTo>
                  <a:lnTo>
                    <a:pt x="3906" y="15612"/>
                  </a:lnTo>
                  <a:lnTo>
                    <a:pt x="3942" y="15609"/>
                  </a:lnTo>
                  <a:lnTo>
                    <a:pt x="3978" y="15605"/>
                  </a:lnTo>
                  <a:lnTo>
                    <a:pt x="4015" y="15600"/>
                  </a:lnTo>
                  <a:lnTo>
                    <a:pt x="4051" y="15594"/>
                  </a:lnTo>
                  <a:lnTo>
                    <a:pt x="4086" y="15587"/>
                  </a:lnTo>
                  <a:lnTo>
                    <a:pt x="4121" y="15579"/>
                  </a:lnTo>
                  <a:lnTo>
                    <a:pt x="4158" y="15570"/>
                  </a:lnTo>
                  <a:lnTo>
                    <a:pt x="4192" y="15559"/>
                  </a:lnTo>
                  <a:lnTo>
                    <a:pt x="4227" y="15548"/>
                  </a:lnTo>
                  <a:lnTo>
                    <a:pt x="4261" y="15534"/>
                  </a:lnTo>
                  <a:lnTo>
                    <a:pt x="4295" y="15520"/>
                  </a:lnTo>
                  <a:lnTo>
                    <a:pt x="4330" y="15505"/>
                  </a:lnTo>
                  <a:lnTo>
                    <a:pt x="4363" y="15490"/>
                  </a:lnTo>
                  <a:lnTo>
                    <a:pt x="4396" y="15473"/>
                  </a:lnTo>
                  <a:lnTo>
                    <a:pt x="8048" y="13505"/>
                  </a:lnTo>
                  <a:lnTo>
                    <a:pt x="11699" y="15473"/>
                  </a:lnTo>
                  <a:lnTo>
                    <a:pt x="11732" y="15490"/>
                  </a:lnTo>
                  <a:lnTo>
                    <a:pt x="11765" y="15505"/>
                  </a:lnTo>
                  <a:lnTo>
                    <a:pt x="11800" y="15520"/>
                  </a:lnTo>
                  <a:lnTo>
                    <a:pt x="11834" y="15534"/>
                  </a:lnTo>
                  <a:lnTo>
                    <a:pt x="11868" y="15548"/>
                  </a:lnTo>
                  <a:lnTo>
                    <a:pt x="11903" y="15559"/>
                  </a:lnTo>
                  <a:lnTo>
                    <a:pt x="11938" y="15570"/>
                  </a:lnTo>
                  <a:lnTo>
                    <a:pt x="11974" y="15579"/>
                  </a:lnTo>
                  <a:lnTo>
                    <a:pt x="12009" y="15587"/>
                  </a:lnTo>
                  <a:lnTo>
                    <a:pt x="12044" y="15594"/>
                  </a:lnTo>
                  <a:lnTo>
                    <a:pt x="12080" y="15600"/>
                  </a:lnTo>
                  <a:lnTo>
                    <a:pt x="12117" y="15605"/>
                  </a:lnTo>
                  <a:lnTo>
                    <a:pt x="12153" y="15609"/>
                  </a:lnTo>
                  <a:lnTo>
                    <a:pt x="12189" y="15612"/>
                  </a:lnTo>
                  <a:lnTo>
                    <a:pt x="12224" y="15613"/>
                  </a:lnTo>
                  <a:lnTo>
                    <a:pt x="12260" y="15614"/>
                  </a:lnTo>
                  <a:lnTo>
                    <a:pt x="12305" y="15613"/>
                  </a:lnTo>
                  <a:lnTo>
                    <a:pt x="12349" y="15611"/>
                  </a:lnTo>
                  <a:lnTo>
                    <a:pt x="12393" y="15607"/>
                  </a:lnTo>
                  <a:lnTo>
                    <a:pt x="12436" y="15601"/>
                  </a:lnTo>
                  <a:lnTo>
                    <a:pt x="12480" y="15594"/>
                  </a:lnTo>
                  <a:lnTo>
                    <a:pt x="12523" y="15585"/>
                  </a:lnTo>
                  <a:lnTo>
                    <a:pt x="12566" y="15574"/>
                  </a:lnTo>
                  <a:lnTo>
                    <a:pt x="12608" y="15562"/>
                  </a:lnTo>
                  <a:lnTo>
                    <a:pt x="12651" y="15549"/>
                  </a:lnTo>
                  <a:lnTo>
                    <a:pt x="12693" y="15532"/>
                  </a:lnTo>
                  <a:lnTo>
                    <a:pt x="12734" y="15515"/>
                  </a:lnTo>
                  <a:lnTo>
                    <a:pt x="12774" y="15497"/>
                  </a:lnTo>
                  <a:lnTo>
                    <a:pt x="12815" y="15477"/>
                  </a:lnTo>
                  <a:lnTo>
                    <a:pt x="12854" y="15455"/>
                  </a:lnTo>
                  <a:lnTo>
                    <a:pt x="12893" y="15432"/>
                  </a:lnTo>
                  <a:lnTo>
                    <a:pt x="12930" y="15407"/>
                  </a:lnTo>
                  <a:lnTo>
                    <a:pt x="12965" y="15383"/>
                  </a:lnTo>
                  <a:lnTo>
                    <a:pt x="12997" y="15358"/>
                  </a:lnTo>
                  <a:lnTo>
                    <a:pt x="13028" y="15332"/>
                  </a:lnTo>
                  <a:lnTo>
                    <a:pt x="13058" y="15305"/>
                  </a:lnTo>
                  <a:lnTo>
                    <a:pt x="13087" y="15277"/>
                  </a:lnTo>
                  <a:lnTo>
                    <a:pt x="13115" y="15248"/>
                  </a:lnTo>
                  <a:lnTo>
                    <a:pt x="13143" y="15218"/>
                  </a:lnTo>
                  <a:lnTo>
                    <a:pt x="13169" y="15188"/>
                  </a:lnTo>
                  <a:lnTo>
                    <a:pt x="13194" y="15157"/>
                  </a:lnTo>
                  <a:lnTo>
                    <a:pt x="13217" y="15124"/>
                  </a:lnTo>
                  <a:lnTo>
                    <a:pt x="13239" y="15092"/>
                  </a:lnTo>
                  <a:lnTo>
                    <a:pt x="13260" y="15059"/>
                  </a:lnTo>
                  <a:lnTo>
                    <a:pt x="13280" y="15025"/>
                  </a:lnTo>
                  <a:lnTo>
                    <a:pt x="13298" y="14989"/>
                  </a:lnTo>
                  <a:lnTo>
                    <a:pt x="13317" y="14954"/>
                  </a:lnTo>
                  <a:lnTo>
                    <a:pt x="13333" y="14919"/>
                  </a:lnTo>
                  <a:lnTo>
                    <a:pt x="13347" y="14883"/>
                  </a:lnTo>
                  <a:lnTo>
                    <a:pt x="13361" y="14845"/>
                  </a:lnTo>
                  <a:lnTo>
                    <a:pt x="13373" y="14808"/>
                  </a:lnTo>
                  <a:lnTo>
                    <a:pt x="13384" y="14771"/>
                  </a:lnTo>
                  <a:lnTo>
                    <a:pt x="13394" y="14733"/>
                  </a:lnTo>
                  <a:lnTo>
                    <a:pt x="13402" y="14694"/>
                  </a:lnTo>
                  <a:lnTo>
                    <a:pt x="13409" y="14655"/>
                  </a:lnTo>
                  <a:lnTo>
                    <a:pt x="13414" y="14616"/>
                  </a:lnTo>
                  <a:lnTo>
                    <a:pt x="13418" y="14576"/>
                  </a:lnTo>
                  <a:lnTo>
                    <a:pt x="13421" y="14537"/>
                  </a:lnTo>
                  <a:lnTo>
                    <a:pt x="13422" y="14497"/>
                  </a:lnTo>
                  <a:lnTo>
                    <a:pt x="13422" y="14458"/>
                  </a:lnTo>
                  <a:lnTo>
                    <a:pt x="13421" y="14417"/>
                  </a:lnTo>
                  <a:lnTo>
                    <a:pt x="13418" y="14377"/>
                  </a:lnTo>
                  <a:lnTo>
                    <a:pt x="13413" y="14337"/>
                  </a:lnTo>
                  <a:lnTo>
                    <a:pt x="13407" y="14297"/>
                  </a:lnTo>
                  <a:lnTo>
                    <a:pt x="12695" y="10040"/>
                  </a:lnTo>
                  <a:lnTo>
                    <a:pt x="15765" y="6972"/>
                  </a:lnTo>
                  <a:lnTo>
                    <a:pt x="15793" y="6943"/>
                  </a:lnTo>
                  <a:lnTo>
                    <a:pt x="15819" y="6913"/>
                  </a:lnTo>
                  <a:lnTo>
                    <a:pt x="15845" y="6883"/>
                  </a:lnTo>
                  <a:lnTo>
                    <a:pt x="15870" y="6852"/>
                  </a:lnTo>
                  <a:lnTo>
                    <a:pt x="15893" y="6820"/>
                  </a:lnTo>
                  <a:lnTo>
                    <a:pt x="15914" y="6788"/>
                  </a:lnTo>
                  <a:lnTo>
                    <a:pt x="15935" y="6754"/>
                  </a:lnTo>
                  <a:lnTo>
                    <a:pt x="15954" y="6721"/>
                  </a:lnTo>
                  <a:lnTo>
                    <a:pt x="15973" y="6687"/>
                  </a:lnTo>
                  <a:lnTo>
                    <a:pt x="15989" y="6652"/>
                  </a:lnTo>
                  <a:lnTo>
                    <a:pt x="16005" y="6616"/>
                  </a:lnTo>
                  <a:lnTo>
                    <a:pt x="16021" y="6580"/>
                  </a:lnTo>
                  <a:lnTo>
                    <a:pt x="16034" y="6545"/>
                  </a:lnTo>
                  <a:lnTo>
                    <a:pt x="16046" y="6508"/>
                  </a:lnTo>
                  <a:lnTo>
                    <a:pt x="16056" y="6471"/>
                  </a:lnTo>
                  <a:lnTo>
                    <a:pt x="16066" y="6434"/>
                  </a:lnTo>
                  <a:lnTo>
                    <a:pt x="16074" y="6396"/>
                  </a:lnTo>
                  <a:lnTo>
                    <a:pt x="16080" y="6358"/>
                  </a:lnTo>
                  <a:lnTo>
                    <a:pt x="16086" y="6320"/>
                  </a:lnTo>
                  <a:lnTo>
                    <a:pt x="16090" y="6282"/>
                  </a:lnTo>
                  <a:lnTo>
                    <a:pt x="16093" y="6244"/>
                  </a:lnTo>
                  <a:lnTo>
                    <a:pt x="16095" y="6205"/>
                  </a:lnTo>
                  <a:lnTo>
                    <a:pt x="16095" y="6167"/>
                  </a:lnTo>
                  <a:lnTo>
                    <a:pt x="16094" y="6128"/>
                  </a:lnTo>
                  <a:lnTo>
                    <a:pt x="16091" y="6089"/>
                  </a:lnTo>
                  <a:lnTo>
                    <a:pt x="16087" y="6050"/>
                  </a:lnTo>
                  <a:lnTo>
                    <a:pt x="16082" y="6012"/>
                  </a:lnTo>
                  <a:lnTo>
                    <a:pt x="16075" y="5974"/>
                  </a:lnTo>
                  <a:lnTo>
                    <a:pt x="16067" y="5935"/>
                  </a:lnTo>
                  <a:lnTo>
                    <a:pt x="16058" y="5897"/>
                  </a:lnTo>
                  <a:lnTo>
                    <a:pt x="16047" y="5859"/>
                  </a:lnTo>
                  <a:lnTo>
                    <a:pt x="16035" y="58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70" name="iṥľíḓê">
              <a:extLst>
                <a:ext uri="{FF2B5EF4-FFF2-40B4-BE49-F238E27FC236}">
                  <a16:creationId xmlns:a16="http://schemas.microsoft.com/office/drawing/2014/main" id="{5AB067AA-2B45-4954-A16F-3BC4B377E173}"/>
                </a:ext>
              </a:extLst>
            </p:cNvPr>
            <p:cNvSpPr/>
            <p:nvPr/>
          </p:nvSpPr>
          <p:spPr bwMode="auto">
            <a:xfrm>
              <a:off x="8657376" y="2343826"/>
              <a:ext cx="363600" cy="362763"/>
            </a:xfrm>
            <a:custGeom>
              <a:avLst/>
              <a:gdLst>
                <a:gd name="T0" fmla="*/ 13537 w 16094"/>
                <a:gd name="T1" fmla="*/ 6059 h 16058"/>
                <a:gd name="T2" fmla="*/ 13105 w 16094"/>
                <a:gd name="T3" fmla="*/ 4843 h 16058"/>
                <a:gd name="T4" fmla="*/ 12309 w 16094"/>
                <a:gd name="T5" fmla="*/ 3778 h 16058"/>
                <a:gd name="T6" fmla="*/ 11103 w 16094"/>
                <a:gd name="T7" fmla="*/ 2914 h 16058"/>
                <a:gd name="T8" fmla="*/ 9730 w 16094"/>
                <a:gd name="T9" fmla="*/ 2510 h 16058"/>
                <a:gd name="T10" fmla="*/ 10548 w 16094"/>
                <a:gd name="T11" fmla="*/ 1344 h 16058"/>
                <a:gd name="T12" fmla="*/ 11273 w 16094"/>
                <a:gd name="T13" fmla="*/ 1058 h 16058"/>
                <a:gd name="T14" fmla="*/ 12175 w 16094"/>
                <a:gd name="T15" fmla="*/ 1030 h 16058"/>
                <a:gd name="T16" fmla="*/ 13215 w 16094"/>
                <a:gd name="T17" fmla="*/ 1370 h 16058"/>
                <a:gd name="T18" fmla="*/ 14130 w 16094"/>
                <a:gd name="T19" fmla="*/ 2061 h 16058"/>
                <a:gd name="T20" fmla="*/ 14752 w 16094"/>
                <a:gd name="T21" fmla="*/ 2927 h 16058"/>
                <a:gd name="T22" fmla="*/ 15061 w 16094"/>
                <a:gd name="T23" fmla="*/ 3885 h 16058"/>
                <a:gd name="T24" fmla="*/ 15035 w 16094"/>
                <a:gd name="T25" fmla="*/ 4794 h 16058"/>
                <a:gd name="T26" fmla="*/ 14704 w 16094"/>
                <a:gd name="T27" fmla="*/ 5577 h 16058"/>
                <a:gd name="T28" fmla="*/ 4429 w 16094"/>
                <a:gd name="T29" fmla="*/ 13990 h 16058"/>
                <a:gd name="T30" fmla="*/ 4128 w 16094"/>
                <a:gd name="T31" fmla="*/ 13119 h 16058"/>
                <a:gd name="T32" fmla="*/ 3522 w 16094"/>
                <a:gd name="T33" fmla="*/ 12349 h 16058"/>
                <a:gd name="T34" fmla="*/ 2735 w 16094"/>
                <a:gd name="T35" fmla="*/ 11832 h 16058"/>
                <a:gd name="T36" fmla="*/ 1857 w 16094"/>
                <a:gd name="T37" fmla="*/ 11600 h 16058"/>
                <a:gd name="T38" fmla="*/ 2349 w 16094"/>
                <a:gd name="T39" fmla="*/ 9539 h 16058"/>
                <a:gd name="T40" fmla="*/ 3383 w 16094"/>
                <a:gd name="T41" fmla="*/ 9051 h 16058"/>
                <a:gd name="T42" fmla="*/ 5065 w 16094"/>
                <a:gd name="T43" fmla="*/ 9305 h 16058"/>
                <a:gd name="T44" fmla="*/ 6529 w 16094"/>
                <a:gd name="T45" fmla="*/ 10574 h 16058"/>
                <a:gd name="T46" fmla="*/ 7057 w 16094"/>
                <a:gd name="T47" fmla="*/ 12341 h 16058"/>
                <a:gd name="T48" fmla="*/ 6481 w 16094"/>
                <a:gd name="T49" fmla="*/ 13816 h 16058"/>
                <a:gd name="T50" fmla="*/ 1899 w 16094"/>
                <a:gd name="T51" fmla="*/ 15034 h 16058"/>
                <a:gd name="T52" fmla="*/ 1430 w 16094"/>
                <a:gd name="T53" fmla="*/ 14978 h 16058"/>
                <a:gd name="T54" fmla="*/ 1080 w 16094"/>
                <a:gd name="T55" fmla="*/ 14626 h 16058"/>
                <a:gd name="T56" fmla="*/ 1037 w 16094"/>
                <a:gd name="T57" fmla="*/ 14110 h 16058"/>
                <a:gd name="T58" fmla="*/ 2133 w 16094"/>
                <a:gd name="T59" fmla="*/ 12161 h 16058"/>
                <a:gd name="T60" fmla="*/ 2879 w 16094"/>
                <a:gd name="T61" fmla="*/ 12483 h 16058"/>
                <a:gd name="T62" fmla="*/ 3517 w 16094"/>
                <a:gd name="T63" fmla="*/ 13089 h 16058"/>
                <a:gd name="T64" fmla="*/ 3887 w 16094"/>
                <a:gd name="T65" fmla="*/ 13837 h 16058"/>
                <a:gd name="T66" fmla="*/ 5275 w 16094"/>
                <a:gd name="T67" fmla="*/ 8311 h 16058"/>
                <a:gd name="T68" fmla="*/ 4471 w 16094"/>
                <a:gd name="T69" fmla="*/ 8075 h 16058"/>
                <a:gd name="T70" fmla="*/ 3832 w 16094"/>
                <a:gd name="T71" fmla="*/ 8011 h 16058"/>
                <a:gd name="T72" fmla="*/ 8544 w 16094"/>
                <a:gd name="T73" fmla="*/ 3613 h 16058"/>
                <a:gd name="T74" fmla="*/ 9615 w 16094"/>
                <a:gd name="T75" fmla="*/ 3512 h 16058"/>
                <a:gd name="T76" fmla="*/ 7177 w 16094"/>
                <a:gd name="T77" fmla="*/ 9768 h 16058"/>
                <a:gd name="T78" fmla="*/ 6475 w 16094"/>
                <a:gd name="T79" fmla="*/ 9029 h 16058"/>
                <a:gd name="T80" fmla="*/ 10683 w 16094"/>
                <a:gd name="T81" fmla="*/ 3831 h 16058"/>
                <a:gd name="T82" fmla="*/ 11597 w 16094"/>
                <a:gd name="T83" fmla="*/ 4487 h 16058"/>
                <a:gd name="T84" fmla="*/ 12178 w 16094"/>
                <a:gd name="T85" fmla="*/ 5258 h 16058"/>
                <a:gd name="T86" fmla="*/ 7882 w 16094"/>
                <a:gd name="T87" fmla="*/ 11105 h 16058"/>
                <a:gd name="T88" fmla="*/ 12576 w 16094"/>
                <a:gd name="T89" fmla="*/ 6482 h 16058"/>
                <a:gd name="T90" fmla="*/ 12439 w 16094"/>
                <a:gd name="T91" fmla="*/ 7635 h 16058"/>
                <a:gd name="T92" fmla="*/ 11948 w 16094"/>
                <a:gd name="T93" fmla="*/ 8406 h 16058"/>
                <a:gd name="T94" fmla="*/ 14463 w 16094"/>
                <a:gd name="T95" fmla="*/ 1003 h 16058"/>
                <a:gd name="T96" fmla="*/ 13190 w 16094"/>
                <a:gd name="T97" fmla="*/ 260 h 16058"/>
                <a:gd name="T98" fmla="*/ 11795 w 16094"/>
                <a:gd name="T99" fmla="*/ 0 h 16058"/>
                <a:gd name="T100" fmla="*/ 10660 w 16094"/>
                <a:gd name="T101" fmla="*/ 187 h 16058"/>
                <a:gd name="T102" fmla="*/ 9684 w 16094"/>
                <a:gd name="T103" fmla="*/ 727 h 16058"/>
                <a:gd name="T104" fmla="*/ 1704 w 16094"/>
                <a:gd name="T105" fmla="*/ 8728 h 16058"/>
                <a:gd name="T106" fmla="*/ 1279 w 16094"/>
                <a:gd name="T107" fmla="*/ 9454 h 16058"/>
                <a:gd name="T108" fmla="*/ 0 w 16094"/>
                <a:gd name="T109" fmla="*/ 14302 h 16058"/>
                <a:gd name="T110" fmla="*/ 402 w 16094"/>
                <a:gd name="T111" fmla="*/ 15419 h 16058"/>
                <a:gd name="T112" fmla="*/ 1407 w 16094"/>
                <a:gd name="T113" fmla="*/ 16022 h 16058"/>
                <a:gd name="T114" fmla="*/ 2275 w 16094"/>
                <a:gd name="T115" fmla="*/ 15980 h 16058"/>
                <a:gd name="T116" fmla="*/ 7227 w 16094"/>
                <a:gd name="T117" fmla="*/ 14541 h 16058"/>
                <a:gd name="T118" fmla="*/ 15901 w 16094"/>
                <a:gd name="T119" fmla="*/ 5421 h 16058"/>
                <a:gd name="T120" fmla="*/ 15857 w 16094"/>
                <a:gd name="T121" fmla="*/ 2953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094" h="16058">
                  <a:moveTo>
                    <a:pt x="14431" y="5907"/>
                  </a:moveTo>
                  <a:lnTo>
                    <a:pt x="13584" y="6759"/>
                  </a:lnTo>
                  <a:lnTo>
                    <a:pt x="13585" y="6717"/>
                  </a:lnTo>
                  <a:lnTo>
                    <a:pt x="13586" y="6675"/>
                  </a:lnTo>
                  <a:lnTo>
                    <a:pt x="13588" y="6633"/>
                  </a:lnTo>
                  <a:lnTo>
                    <a:pt x="13590" y="6591"/>
                  </a:lnTo>
                  <a:lnTo>
                    <a:pt x="13591" y="6549"/>
                  </a:lnTo>
                  <a:lnTo>
                    <a:pt x="13591" y="6507"/>
                  </a:lnTo>
                  <a:lnTo>
                    <a:pt x="13590" y="6464"/>
                  </a:lnTo>
                  <a:lnTo>
                    <a:pt x="13587" y="6420"/>
                  </a:lnTo>
                  <a:lnTo>
                    <a:pt x="13578" y="6330"/>
                  </a:lnTo>
                  <a:lnTo>
                    <a:pt x="13566" y="6240"/>
                  </a:lnTo>
                  <a:lnTo>
                    <a:pt x="13553" y="6148"/>
                  </a:lnTo>
                  <a:lnTo>
                    <a:pt x="13537" y="6059"/>
                  </a:lnTo>
                  <a:lnTo>
                    <a:pt x="13520" y="5969"/>
                  </a:lnTo>
                  <a:lnTo>
                    <a:pt x="13500" y="5879"/>
                  </a:lnTo>
                  <a:lnTo>
                    <a:pt x="13478" y="5790"/>
                  </a:lnTo>
                  <a:lnTo>
                    <a:pt x="13453" y="5702"/>
                  </a:lnTo>
                  <a:lnTo>
                    <a:pt x="13427" y="5613"/>
                  </a:lnTo>
                  <a:lnTo>
                    <a:pt x="13400" y="5525"/>
                  </a:lnTo>
                  <a:lnTo>
                    <a:pt x="13370" y="5439"/>
                  </a:lnTo>
                  <a:lnTo>
                    <a:pt x="13338" y="5351"/>
                  </a:lnTo>
                  <a:lnTo>
                    <a:pt x="13305" y="5265"/>
                  </a:lnTo>
                  <a:lnTo>
                    <a:pt x="13268" y="5180"/>
                  </a:lnTo>
                  <a:lnTo>
                    <a:pt x="13230" y="5094"/>
                  </a:lnTo>
                  <a:lnTo>
                    <a:pt x="13191" y="5010"/>
                  </a:lnTo>
                  <a:lnTo>
                    <a:pt x="13150" y="4927"/>
                  </a:lnTo>
                  <a:lnTo>
                    <a:pt x="13105" y="4843"/>
                  </a:lnTo>
                  <a:lnTo>
                    <a:pt x="13060" y="4761"/>
                  </a:lnTo>
                  <a:lnTo>
                    <a:pt x="13014" y="4680"/>
                  </a:lnTo>
                  <a:lnTo>
                    <a:pt x="12965" y="4600"/>
                  </a:lnTo>
                  <a:lnTo>
                    <a:pt x="12913" y="4520"/>
                  </a:lnTo>
                  <a:lnTo>
                    <a:pt x="12861" y="4441"/>
                  </a:lnTo>
                  <a:lnTo>
                    <a:pt x="12807" y="4364"/>
                  </a:lnTo>
                  <a:lnTo>
                    <a:pt x="12750" y="4286"/>
                  </a:lnTo>
                  <a:lnTo>
                    <a:pt x="12692" y="4210"/>
                  </a:lnTo>
                  <a:lnTo>
                    <a:pt x="12633" y="4136"/>
                  </a:lnTo>
                  <a:lnTo>
                    <a:pt x="12571" y="4062"/>
                  </a:lnTo>
                  <a:lnTo>
                    <a:pt x="12508" y="3989"/>
                  </a:lnTo>
                  <a:lnTo>
                    <a:pt x="12443" y="3917"/>
                  </a:lnTo>
                  <a:lnTo>
                    <a:pt x="12376" y="3847"/>
                  </a:lnTo>
                  <a:lnTo>
                    <a:pt x="12309" y="3778"/>
                  </a:lnTo>
                  <a:lnTo>
                    <a:pt x="12230" y="3701"/>
                  </a:lnTo>
                  <a:lnTo>
                    <a:pt x="12152" y="3628"/>
                  </a:lnTo>
                  <a:lnTo>
                    <a:pt x="12071" y="3557"/>
                  </a:lnTo>
                  <a:lnTo>
                    <a:pt x="11989" y="3487"/>
                  </a:lnTo>
                  <a:lnTo>
                    <a:pt x="11905" y="3419"/>
                  </a:lnTo>
                  <a:lnTo>
                    <a:pt x="11821" y="3354"/>
                  </a:lnTo>
                  <a:lnTo>
                    <a:pt x="11735" y="3292"/>
                  </a:lnTo>
                  <a:lnTo>
                    <a:pt x="11648" y="3231"/>
                  </a:lnTo>
                  <a:lnTo>
                    <a:pt x="11560" y="3172"/>
                  </a:lnTo>
                  <a:lnTo>
                    <a:pt x="11471" y="3116"/>
                  </a:lnTo>
                  <a:lnTo>
                    <a:pt x="11380" y="3062"/>
                  </a:lnTo>
                  <a:lnTo>
                    <a:pt x="11289" y="3010"/>
                  </a:lnTo>
                  <a:lnTo>
                    <a:pt x="11196" y="2961"/>
                  </a:lnTo>
                  <a:lnTo>
                    <a:pt x="11103" y="2914"/>
                  </a:lnTo>
                  <a:lnTo>
                    <a:pt x="11009" y="2868"/>
                  </a:lnTo>
                  <a:lnTo>
                    <a:pt x="10913" y="2826"/>
                  </a:lnTo>
                  <a:lnTo>
                    <a:pt x="10818" y="2786"/>
                  </a:lnTo>
                  <a:lnTo>
                    <a:pt x="10721" y="2749"/>
                  </a:lnTo>
                  <a:lnTo>
                    <a:pt x="10625" y="2714"/>
                  </a:lnTo>
                  <a:lnTo>
                    <a:pt x="10527" y="2681"/>
                  </a:lnTo>
                  <a:lnTo>
                    <a:pt x="10429" y="2651"/>
                  </a:lnTo>
                  <a:lnTo>
                    <a:pt x="10330" y="2622"/>
                  </a:lnTo>
                  <a:lnTo>
                    <a:pt x="10231" y="2597"/>
                  </a:lnTo>
                  <a:lnTo>
                    <a:pt x="10132" y="2574"/>
                  </a:lnTo>
                  <a:lnTo>
                    <a:pt x="10031" y="2554"/>
                  </a:lnTo>
                  <a:lnTo>
                    <a:pt x="9932" y="2537"/>
                  </a:lnTo>
                  <a:lnTo>
                    <a:pt x="9831" y="2522"/>
                  </a:lnTo>
                  <a:lnTo>
                    <a:pt x="9730" y="2510"/>
                  </a:lnTo>
                  <a:lnTo>
                    <a:pt x="9630" y="2500"/>
                  </a:lnTo>
                  <a:lnTo>
                    <a:pt x="9529" y="2493"/>
                  </a:lnTo>
                  <a:lnTo>
                    <a:pt x="9428" y="2489"/>
                  </a:lnTo>
                  <a:lnTo>
                    <a:pt x="9327" y="2487"/>
                  </a:lnTo>
                  <a:lnTo>
                    <a:pt x="10160" y="1649"/>
                  </a:lnTo>
                  <a:lnTo>
                    <a:pt x="10199" y="1611"/>
                  </a:lnTo>
                  <a:lnTo>
                    <a:pt x="10240" y="1574"/>
                  </a:lnTo>
                  <a:lnTo>
                    <a:pt x="10282" y="1538"/>
                  </a:lnTo>
                  <a:lnTo>
                    <a:pt x="10324" y="1502"/>
                  </a:lnTo>
                  <a:lnTo>
                    <a:pt x="10367" y="1468"/>
                  </a:lnTo>
                  <a:lnTo>
                    <a:pt x="10411" y="1435"/>
                  </a:lnTo>
                  <a:lnTo>
                    <a:pt x="10456" y="1404"/>
                  </a:lnTo>
                  <a:lnTo>
                    <a:pt x="10502" y="1373"/>
                  </a:lnTo>
                  <a:lnTo>
                    <a:pt x="10548" y="1344"/>
                  </a:lnTo>
                  <a:lnTo>
                    <a:pt x="10596" y="1316"/>
                  </a:lnTo>
                  <a:lnTo>
                    <a:pt x="10644" y="1289"/>
                  </a:lnTo>
                  <a:lnTo>
                    <a:pt x="10692" y="1263"/>
                  </a:lnTo>
                  <a:lnTo>
                    <a:pt x="10742" y="1237"/>
                  </a:lnTo>
                  <a:lnTo>
                    <a:pt x="10793" y="1214"/>
                  </a:lnTo>
                  <a:lnTo>
                    <a:pt x="10843" y="1192"/>
                  </a:lnTo>
                  <a:lnTo>
                    <a:pt x="10894" y="1171"/>
                  </a:lnTo>
                  <a:lnTo>
                    <a:pt x="10947" y="1151"/>
                  </a:lnTo>
                  <a:lnTo>
                    <a:pt x="11000" y="1132"/>
                  </a:lnTo>
                  <a:lnTo>
                    <a:pt x="11053" y="1115"/>
                  </a:lnTo>
                  <a:lnTo>
                    <a:pt x="11108" y="1099"/>
                  </a:lnTo>
                  <a:lnTo>
                    <a:pt x="11162" y="1084"/>
                  </a:lnTo>
                  <a:lnTo>
                    <a:pt x="11217" y="1070"/>
                  </a:lnTo>
                  <a:lnTo>
                    <a:pt x="11273" y="1058"/>
                  </a:lnTo>
                  <a:lnTo>
                    <a:pt x="11329" y="1046"/>
                  </a:lnTo>
                  <a:lnTo>
                    <a:pt x="11386" y="1037"/>
                  </a:lnTo>
                  <a:lnTo>
                    <a:pt x="11444" y="1028"/>
                  </a:lnTo>
                  <a:lnTo>
                    <a:pt x="11501" y="1021"/>
                  </a:lnTo>
                  <a:lnTo>
                    <a:pt x="11559" y="1015"/>
                  </a:lnTo>
                  <a:lnTo>
                    <a:pt x="11618" y="1010"/>
                  </a:lnTo>
                  <a:lnTo>
                    <a:pt x="11676" y="1007"/>
                  </a:lnTo>
                  <a:lnTo>
                    <a:pt x="11735" y="1005"/>
                  </a:lnTo>
                  <a:lnTo>
                    <a:pt x="11795" y="1004"/>
                  </a:lnTo>
                  <a:lnTo>
                    <a:pt x="11871" y="1005"/>
                  </a:lnTo>
                  <a:lnTo>
                    <a:pt x="11947" y="1008"/>
                  </a:lnTo>
                  <a:lnTo>
                    <a:pt x="12023" y="1014"/>
                  </a:lnTo>
                  <a:lnTo>
                    <a:pt x="12098" y="1021"/>
                  </a:lnTo>
                  <a:lnTo>
                    <a:pt x="12175" y="1030"/>
                  </a:lnTo>
                  <a:lnTo>
                    <a:pt x="12251" y="1042"/>
                  </a:lnTo>
                  <a:lnTo>
                    <a:pt x="12327" y="1055"/>
                  </a:lnTo>
                  <a:lnTo>
                    <a:pt x="12402" y="1071"/>
                  </a:lnTo>
                  <a:lnTo>
                    <a:pt x="12478" y="1088"/>
                  </a:lnTo>
                  <a:lnTo>
                    <a:pt x="12553" y="1108"/>
                  </a:lnTo>
                  <a:lnTo>
                    <a:pt x="12629" y="1129"/>
                  </a:lnTo>
                  <a:lnTo>
                    <a:pt x="12703" y="1153"/>
                  </a:lnTo>
                  <a:lnTo>
                    <a:pt x="12777" y="1178"/>
                  </a:lnTo>
                  <a:lnTo>
                    <a:pt x="12852" y="1205"/>
                  </a:lnTo>
                  <a:lnTo>
                    <a:pt x="12925" y="1234"/>
                  </a:lnTo>
                  <a:lnTo>
                    <a:pt x="12999" y="1266"/>
                  </a:lnTo>
                  <a:lnTo>
                    <a:pt x="13071" y="1299"/>
                  </a:lnTo>
                  <a:lnTo>
                    <a:pt x="13144" y="1334"/>
                  </a:lnTo>
                  <a:lnTo>
                    <a:pt x="13215" y="1370"/>
                  </a:lnTo>
                  <a:lnTo>
                    <a:pt x="13285" y="1408"/>
                  </a:lnTo>
                  <a:lnTo>
                    <a:pt x="13356" y="1448"/>
                  </a:lnTo>
                  <a:lnTo>
                    <a:pt x="13425" y="1490"/>
                  </a:lnTo>
                  <a:lnTo>
                    <a:pt x="13495" y="1535"/>
                  </a:lnTo>
                  <a:lnTo>
                    <a:pt x="13562" y="1580"/>
                  </a:lnTo>
                  <a:lnTo>
                    <a:pt x="13629" y="1627"/>
                  </a:lnTo>
                  <a:lnTo>
                    <a:pt x="13696" y="1676"/>
                  </a:lnTo>
                  <a:lnTo>
                    <a:pt x="13761" y="1727"/>
                  </a:lnTo>
                  <a:lnTo>
                    <a:pt x="13827" y="1779"/>
                  </a:lnTo>
                  <a:lnTo>
                    <a:pt x="13890" y="1834"/>
                  </a:lnTo>
                  <a:lnTo>
                    <a:pt x="13952" y="1889"/>
                  </a:lnTo>
                  <a:lnTo>
                    <a:pt x="14014" y="1946"/>
                  </a:lnTo>
                  <a:lnTo>
                    <a:pt x="14075" y="2005"/>
                  </a:lnTo>
                  <a:lnTo>
                    <a:pt x="14130" y="2061"/>
                  </a:lnTo>
                  <a:lnTo>
                    <a:pt x="14185" y="2119"/>
                  </a:lnTo>
                  <a:lnTo>
                    <a:pt x="14237" y="2177"/>
                  </a:lnTo>
                  <a:lnTo>
                    <a:pt x="14288" y="2235"/>
                  </a:lnTo>
                  <a:lnTo>
                    <a:pt x="14338" y="2295"/>
                  </a:lnTo>
                  <a:lnTo>
                    <a:pt x="14386" y="2356"/>
                  </a:lnTo>
                  <a:lnTo>
                    <a:pt x="14433" y="2417"/>
                  </a:lnTo>
                  <a:lnTo>
                    <a:pt x="14478" y="2478"/>
                  </a:lnTo>
                  <a:lnTo>
                    <a:pt x="14522" y="2540"/>
                  </a:lnTo>
                  <a:lnTo>
                    <a:pt x="14564" y="2603"/>
                  </a:lnTo>
                  <a:lnTo>
                    <a:pt x="14605" y="2667"/>
                  </a:lnTo>
                  <a:lnTo>
                    <a:pt x="14644" y="2731"/>
                  </a:lnTo>
                  <a:lnTo>
                    <a:pt x="14682" y="2796"/>
                  </a:lnTo>
                  <a:lnTo>
                    <a:pt x="14718" y="2861"/>
                  </a:lnTo>
                  <a:lnTo>
                    <a:pt x="14752" y="2927"/>
                  </a:lnTo>
                  <a:lnTo>
                    <a:pt x="14785" y="2993"/>
                  </a:lnTo>
                  <a:lnTo>
                    <a:pt x="14816" y="3060"/>
                  </a:lnTo>
                  <a:lnTo>
                    <a:pt x="14846" y="3126"/>
                  </a:lnTo>
                  <a:lnTo>
                    <a:pt x="14874" y="3195"/>
                  </a:lnTo>
                  <a:lnTo>
                    <a:pt x="14900" y="3262"/>
                  </a:lnTo>
                  <a:lnTo>
                    <a:pt x="14925" y="3330"/>
                  </a:lnTo>
                  <a:lnTo>
                    <a:pt x="14948" y="3398"/>
                  </a:lnTo>
                  <a:lnTo>
                    <a:pt x="14969" y="3468"/>
                  </a:lnTo>
                  <a:lnTo>
                    <a:pt x="14988" y="3537"/>
                  </a:lnTo>
                  <a:lnTo>
                    <a:pt x="15007" y="3606"/>
                  </a:lnTo>
                  <a:lnTo>
                    <a:pt x="15023" y="3675"/>
                  </a:lnTo>
                  <a:lnTo>
                    <a:pt x="15038" y="3746"/>
                  </a:lnTo>
                  <a:lnTo>
                    <a:pt x="15050" y="3816"/>
                  </a:lnTo>
                  <a:lnTo>
                    <a:pt x="15061" y="3885"/>
                  </a:lnTo>
                  <a:lnTo>
                    <a:pt x="15070" y="3955"/>
                  </a:lnTo>
                  <a:lnTo>
                    <a:pt x="15078" y="4026"/>
                  </a:lnTo>
                  <a:lnTo>
                    <a:pt x="15084" y="4097"/>
                  </a:lnTo>
                  <a:lnTo>
                    <a:pt x="15087" y="4162"/>
                  </a:lnTo>
                  <a:lnTo>
                    <a:pt x="15089" y="4227"/>
                  </a:lnTo>
                  <a:lnTo>
                    <a:pt x="15089" y="4292"/>
                  </a:lnTo>
                  <a:lnTo>
                    <a:pt x="15088" y="4357"/>
                  </a:lnTo>
                  <a:lnTo>
                    <a:pt x="15085" y="4420"/>
                  </a:lnTo>
                  <a:lnTo>
                    <a:pt x="15081" y="4484"/>
                  </a:lnTo>
                  <a:lnTo>
                    <a:pt x="15075" y="4546"/>
                  </a:lnTo>
                  <a:lnTo>
                    <a:pt x="15067" y="4610"/>
                  </a:lnTo>
                  <a:lnTo>
                    <a:pt x="15058" y="4672"/>
                  </a:lnTo>
                  <a:lnTo>
                    <a:pt x="15048" y="4733"/>
                  </a:lnTo>
                  <a:lnTo>
                    <a:pt x="15035" y="4794"/>
                  </a:lnTo>
                  <a:lnTo>
                    <a:pt x="15022" y="4855"/>
                  </a:lnTo>
                  <a:lnTo>
                    <a:pt x="15006" y="4914"/>
                  </a:lnTo>
                  <a:lnTo>
                    <a:pt x="14989" y="4973"/>
                  </a:lnTo>
                  <a:lnTo>
                    <a:pt x="14970" y="5032"/>
                  </a:lnTo>
                  <a:lnTo>
                    <a:pt x="14950" y="5089"/>
                  </a:lnTo>
                  <a:lnTo>
                    <a:pt x="14929" y="5147"/>
                  </a:lnTo>
                  <a:lnTo>
                    <a:pt x="14906" y="5203"/>
                  </a:lnTo>
                  <a:lnTo>
                    <a:pt x="14882" y="5259"/>
                  </a:lnTo>
                  <a:lnTo>
                    <a:pt x="14856" y="5314"/>
                  </a:lnTo>
                  <a:lnTo>
                    <a:pt x="14829" y="5368"/>
                  </a:lnTo>
                  <a:lnTo>
                    <a:pt x="14799" y="5422"/>
                  </a:lnTo>
                  <a:lnTo>
                    <a:pt x="14769" y="5474"/>
                  </a:lnTo>
                  <a:lnTo>
                    <a:pt x="14737" y="5526"/>
                  </a:lnTo>
                  <a:lnTo>
                    <a:pt x="14704" y="5577"/>
                  </a:lnTo>
                  <a:lnTo>
                    <a:pt x="14670" y="5627"/>
                  </a:lnTo>
                  <a:lnTo>
                    <a:pt x="14633" y="5675"/>
                  </a:lnTo>
                  <a:lnTo>
                    <a:pt x="14595" y="5724"/>
                  </a:lnTo>
                  <a:lnTo>
                    <a:pt x="14557" y="5772"/>
                  </a:lnTo>
                  <a:lnTo>
                    <a:pt x="14516" y="5818"/>
                  </a:lnTo>
                  <a:lnTo>
                    <a:pt x="14474" y="5863"/>
                  </a:lnTo>
                  <a:lnTo>
                    <a:pt x="14431" y="5907"/>
                  </a:lnTo>
                  <a:close/>
                  <a:moveTo>
                    <a:pt x="4463" y="14370"/>
                  </a:moveTo>
                  <a:lnTo>
                    <a:pt x="4461" y="14307"/>
                  </a:lnTo>
                  <a:lnTo>
                    <a:pt x="4458" y="14243"/>
                  </a:lnTo>
                  <a:lnTo>
                    <a:pt x="4453" y="14180"/>
                  </a:lnTo>
                  <a:lnTo>
                    <a:pt x="4446" y="14117"/>
                  </a:lnTo>
                  <a:lnTo>
                    <a:pt x="4438" y="14053"/>
                  </a:lnTo>
                  <a:lnTo>
                    <a:pt x="4429" y="13990"/>
                  </a:lnTo>
                  <a:lnTo>
                    <a:pt x="4417" y="13926"/>
                  </a:lnTo>
                  <a:lnTo>
                    <a:pt x="4405" y="13863"/>
                  </a:lnTo>
                  <a:lnTo>
                    <a:pt x="4391" y="13800"/>
                  </a:lnTo>
                  <a:lnTo>
                    <a:pt x="4375" y="13737"/>
                  </a:lnTo>
                  <a:lnTo>
                    <a:pt x="4357" y="13673"/>
                  </a:lnTo>
                  <a:lnTo>
                    <a:pt x="4338" y="13610"/>
                  </a:lnTo>
                  <a:lnTo>
                    <a:pt x="4317" y="13548"/>
                  </a:lnTo>
                  <a:lnTo>
                    <a:pt x="4295" y="13486"/>
                  </a:lnTo>
                  <a:lnTo>
                    <a:pt x="4271" y="13423"/>
                  </a:lnTo>
                  <a:lnTo>
                    <a:pt x="4246" y="13362"/>
                  </a:lnTo>
                  <a:lnTo>
                    <a:pt x="4219" y="13300"/>
                  </a:lnTo>
                  <a:lnTo>
                    <a:pt x="4191" y="13240"/>
                  </a:lnTo>
                  <a:lnTo>
                    <a:pt x="4161" y="13179"/>
                  </a:lnTo>
                  <a:lnTo>
                    <a:pt x="4128" y="13119"/>
                  </a:lnTo>
                  <a:lnTo>
                    <a:pt x="4095" y="13059"/>
                  </a:lnTo>
                  <a:lnTo>
                    <a:pt x="4060" y="13000"/>
                  </a:lnTo>
                  <a:lnTo>
                    <a:pt x="4024" y="12942"/>
                  </a:lnTo>
                  <a:lnTo>
                    <a:pt x="3986" y="12884"/>
                  </a:lnTo>
                  <a:lnTo>
                    <a:pt x="3946" y="12826"/>
                  </a:lnTo>
                  <a:lnTo>
                    <a:pt x="3905" y="12769"/>
                  </a:lnTo>
                  <a:lnTo>
                    <a:pt x="3862" y="12714"/>
                  </a:lnTo>
                  <a:lnTo>
                    <a:pt x="3818" y="12658"/>
                  </a:lnTo>
                  <a:lnTo>
                    <a:pt x="3771" y="12604"/>
                  </a:lnTo>
                  <a:lnTo>
                    <a:pt x="3723" y="12549"/>
                  </a:lnTo>
                  <a:lnTo>
                    <a:pt x="3674" y="12497"/>
                  </a:lnTo>
                  <a:lnTo>
                    <a:pt x="3622" y="12445"/>
                  </a:lnTo>
                  <a:lnTo>
                    <a:pt x="3573" y="12396"/>
                  </a:lnTo>
                  <a:lnTo>
                    <a:pt x="3522" y="12349"/>
                  </a:lnTo>
                  <a:lnTo>
                    <a:pt x="3470" y="12303"/>
                  </a:lnTo>
                  <a:lnTo>
                    <a:pt x="3418" y="12258"/>
                  </a:lnTo>
                  <a:lnTo>
                    <a:pt x="3366" y="12215"/>
                  </a:lnTo>
                  <a:lnTo>
                    <a:pt x="3312" y="12174"/>
                  </a:lnTo>
                  <a:lnTo>
                    <a:pt x="3257" y="12133"/>
                  </a:lnTo>
                  <a:lnTo>
                    <a:pt x="3202" y="12094"/>
                  </a:lnTo>
                  <a:lnTo>
                    <a:pt x="3146" y="12057"/>
                  </a:lnTo>
                  <a:lnTo>
                    <a:pt x="3088" y="12020"/>
                  </a:lnTo>
                  <a:lnTo>
                    <a:pt x="3031" y="11985"/>
                  </a:lnTo>
                  <a:lnTo>
                    <a:pt x="2974" y="11952"/>
                  </a:lnTo>
                  <a:lnTo>
                    <a:pt x="2914" y="11920"/>
                  </a:lnTo>
                  <a:lnTo>
                    <a:pt x="2855" y="11889"/>
                  </a:lnTo>
                  <a:lnTo>
                    <a:pt x="2796" y="11860"/>
                  </a:lnTo>
                  <a:lnTo>
                    <a:pt x="2735" y="11832"/>
                  </a:lnTo>
                  <a:lnTo>
                    <a:pt x="2675" y="11806"/>
                  </a:lnTo>
                  <a:lnTo>
                    <a:pt x="2613" y="11781"/>
                  </a:lnTo>
                  <a:lnTo>
                    <a:pt x="2552" y="11757"/>
                  </a:lnTo>
                  <a:lnTo>
                    <a:pt x="2490" y="11735"/>
                  </a:lnTo>
                  <a:lnTo>
                    <a:pt x="2427" y="11715"/>
                  </a:lnTo>
                  <a:lnTo>
                    <a:pt x="2365" y="11696"/>
                  </a:lnTo>
                  <a:lnTo>
                    <a:pt x="2303" y="11679"/>
                  </a:lnTo>
                  <a:lnTo>
                    <a:pt x="2239" y="11663"/>
                  </a:lnTo>
                  <a:lnTo>
                    <a:pt x="2176" y="11648"/>
                  </a:lnTo>
                  <a:lnTo>
                    <a:pt x="2112" y="11636"/>
                  </a:lnTo>
                  <a:lnTo>
                    <a:pt x="2048" y="11625"/>
                  </a:lnTo>
                  <a:lnTo>
                    <a:pt x="1985" y="11615"/>
                  </a:lnTo>
                  <a:lnTo>
                    <a:pt x="1920" y="11607"/>
                  </a:lnTo>
                  <a:lnTo>
                    <a:pt x="1857" y="11600"/>
                  </a:lnTo>
                  <a:lnTo>
                    <a:pt x="1793" y="11595"/>
                  </a:lnTo>
                  <a:lnTo>
                    <a:pt x="1728" y="11592"/>
                  </a:lnTo>
                  <a:lnTo>
                    <a:pt x="2229" y="9781"/>
                  </a:lnTo>
                  <a:lnTo>
                    <a:pt x="2236" y="9759"/>
                  </a:lnTo>
                  <a:lnTo>
                    <a:pt x="2244" y="9736"/>
                  </a:lnTo>
                  <a:lnTo>
                    <a:pt x="2253" y="9714"/>
                  </a:lnTo>
                  <a:lnTo>
                    <a:pt x="2263" y="9692"/>
                  </a:lnTo>
                  <a:lnTo>
                    <a:pt x="2273" y="9670"/>
                  </a:lnTo>
                  <a:lnTo>
                    <a:pt x="2284" y="9648"/>
                  </a:lnTo>
                  <a:lnTo>
                    <a:pt x="2296" y="9626"/>
                  </a:lnTo>
                  <a:lnTo>
                    <a:pt x="2308" y="9604"/>
                  </a:lnTo>
                  <a:lnTo>
                    <a:pt x="2321" y="9583"/>
                  </a:lnTo>
                  <a:lnTo>
                    <a:pt x="2335" y="9561"/>
                  </a:lnTo>
                  <a:lnTo>
                    <a:pt x="2349" y="9539"/>
                  </a:lnTo>
                  <a:lnTo>
                    <a:pt x="2363" y="9518"/>
                  </a:lnTo>
                  <a:lnTo>
                    <a:pt x="2378" y="9498"/>
                  </a:lnTo>
                  <a:lnTo>
                    <a:pt x="2393" y="9478"/>
                  </a:lnTo>
                  <a:lnTo>
                    <a:pt x="2409" y="9458"/>
                  </a:lnTo>
                  <a:lnTo>
                    <a:pt x="2426" y="9438"/>
                  </a:lnTo>
                  <a:lnTo>
                    <a:pt x="2522" y="9374"/>
                  </a:lnTo>
                  <a:lnTo>
                    <a:pt x="2621" y="9314"/>
                  </a:lnTo>
                  <a:lnTo>
                    <a:pt x="2723" y="9260"/>
                  </a:lnTo>
                  <a:lnTo>
                    <a:pt x="2828" y="9211"/>
                  </a:lnTo>
                  <a:lnTo>
                    <a:pt x="2934" y="9169"/>
                  </a:lnTo>
                  <a:lnTo>
                    <a:pt x="3044" y="9131"/>
                  </a:lnTo>
                  <a:lnTo>
                    <a:pt x="3156" y="9099"/>
                  </a:lnTo>
                  <a:lnTo>
                    <a:pt x="3268" y="9072"/>
                  </a:lnTo>
                  <a:lnTo>
                    <a:pt x="3383" y="9051"/>
                  </a:lnTo>
                  <a:lnTo>
                    <a:pt x="3500" y="9034"/>
                  </a:lnTo>
                  <a:lnTo>
                    <a:pt x="3617" y="9024"/>
                  </a:lnTo>
                  <a:lnTo>
                    <a:pt x="3736" y="9018"/>
                  </a:lnTo>
                  <a:lnTo>
                    <a:pt x="3857" y="9018"/>
                  </a:lnTo>
                  <a:lnTo>
                    <a:pt x="3976" y="9023"/>
                  </a:lnTo>
                  <a:lnTo>
                    <a:pt x="4098" y="9033"/>
                  </a:lnTo>
                  <a:lnTo>
                    <a:pt x="4220" y="9049"/>
                  </a:lnTo>
                  <a:lnTo>
                    <a:pt x="4342" y="9070"/>
                  </a:lnTo>
                  <a:lnTo>
                    <a:pt x="4463" y="9096"/>
                  </a:lnTo>
                  <a:lnTo>
                    <a:pt x="4584" y="9127"/>
                  </a:lnTo>
                  <a:lnTo>
                    <a:pt x="4706" y="9164"/>
                  </a:lnTo>
                  <a:lnTo>
                    <a:pt x="4826" y="9206"/>
                  </a:lnTo>
                  <a:lnTo>
                    <a:pt x="4946" y="9252"/>
                  </a:lnTo>
                  <a:lnTo>
                    <a:pt x="5065" y="9305"/>
                  </a:lnTo>
                  <a:lnTo>
                    <a:pt x="5184" y="9363"/>
                  </a:lnTo>
                  <a:lnTo>
                    <a:pt x="5300" y="9425"/>
                  </a:lnTo>
                  <a:lnTo>
                    <a:pt x="5415" y="9493"/>
                  </a:lnTo>
                  <a:lnTo>
                    <a:pt x="5529" y="9566"/>
                  </a:lnTo>
                  <a:lnTo>
                    <a:pt x="5640" y="9644"/>
                  </a:lnTo>
                  <a:lnTo>
                    <a:pt x="5750" y="9727"/>
                  </a:lnTo>
                  <a:lnTo>
                    <a:pt x="5857" y="9815"/>
                  </a:lnTo>
                  <a:lnTo>
                    <a:pt x="5962" y="9909"/>
                  </a:lnTo>
                  <a:lnTo>
                    <a:pt x="6065" y="10007"/>
                  </a:lnTo>
                  <a:lnTo>
                    <a:pt x="6168" y="10115"/>
                  </a:lnTo>
                  <a:lnTo>
                    <a:pt x="6267" y="10226"/>
                  </a:lnTo>
                  <a:lnTo>
                    <a:pt x="6360" y="10339"/>
                  </a:lnTo>
                  <a:lnTo>
                    <a:pt x="6447" y="10456"/>
                  </a:lnTo>
                  <a:lnTo>
                    <a:pt x="6529" y="10574"/>
                  </a:lnTo>
                  <a:lnTo>
                    <a:pt x="6604" y="10695"/>
                  </a:lnTo>
                  <a:lnTo>
                    <a:pt x="6673" y="10816"/>
                  </a:lnTo>
                  <a:lnTo>
                    <a:pt x="6738" y="10941"/>
                  </a:lnTo>
                  <a:lnTo>
                    <a:pt x="6796" y="11065"/>
                  </a:lnTo>
                  <a:lnTo>
                    <a:pt x="6848" y="11191"/>
                  </a:lnTo>
                  <a:lnTo>
                    <a:pt x="6895" y="11318"/>
                  </a:lnTo>
                  <a:lnTo>
                    <a:pt x="6936" y="11446"/>
                  </a:lnTo>
                  <a:lnTo>
                    <a:pt x="6971" y="11574"/>
                  </a:lnTo>
                  <a:lnTo>
                    <a:pt x="7000" y="11702"/>
                  </a:lnTo>
                  <a:lnTo>
                    <a:pt x="7023" y="11831"/>
                  </a:lnTo>
                  <a:lnTo>
                    <a:pt x="7041" y="11959"/>
                  </a:lnTo>
                  <a:lnTo>
                    <a:pt x="7052" y="12087"/>
                  </a:lnTo>
                  <a:lnTo>
                    <a:pt x="7058" y="12214"/>
                  </a:lnTo>
                  <a:lnTo>
                    <a:pt x="7057" y="12341"/>
                  </a:lnTo>
                  <a:lnTo>
                    <a:pt x="7051" y="12466"/>
                  </a:lnTo>
                  <a:lnTo>
                    <a:pt x="7039" y="12589"/>
                  </a:lnTo>
                  <a:lnTo>
                    <a:pt x="7019" y="12712"/>
                  </a:lnTo>
                  <a:lnTo>
                    <a:pt x="6995" y="12832"/>
                  </a:lnTo>
                  <a:lnTo>
                    <a:pt x="6965" y="12952"/>
                  </a:lnTo>
                  <a:lnTo>
                    <a:pt x="6929" y="13068"/>
                  </a:lnTo>
                  <a:lnTo>
                    <a:pt x="6886" y="13183"/>
                  </a:lnTo>
                  <a:lnTo>
                    <a:pt x="6837" y="13294"/>
                  </a:lnTo>
                  <a:lnTo>
                    <a:pt x="6783" y="13402"/>
                  </a:lnTo>
                  <a:lnTo>
                    <a:pt x="6722" y="13508"/>
                  </a:lnTo>
                  <a:lnTo>
                    <a:pt x="6655" y="13610"/>
                  </a:lnTo>
                  <a:lnTo>
                    <a:pt x="6582" y="13710"/>
                  </a:lnTo>
                  <a:lnTo>
                    <a:pt x="6502" y="13805"/>
                  </a:lnTo>
                  <a:lnTo>
                    <a:pt x="6481" y="13816"/>
                  </a:lnTo>
                  <a:lnTo>
                    <a:pt x="6459" y="13827"/>
                  </a:lnTo>
                  <a:lnTo>
                    <a:pt x="6437" y="13838"/>
                  </a:lnTo>
                  <a:lnTo>
                    <a:pt x="6415" y="13848"/>
                  </a:lnTo>
                  <a:lnTo>
                    <a:pt x="6392" y="13858"/>
                  </a:lnTo>
                  <a:lnTo>
                    <a:pt x="6369" y="13867"/>
                  </a:lnTo>
                  <a:lnTo>
                    <a:pt x="6345" y="13876"/>
                  </a:lnTo>
                  <a:lnTo>
                    <a:pt x="6322" y="13884"/>
                  </a:lnTo>
                  <a:lnTo>
                    <a:pt x="4463" y="14370"/>
                  </a:lnTo>
                  <a:close/>
                  <a:moveTo>
                    <a:pt x="2096" y="14991"/>
                  </a:moveTo>
                  <a:lnTo>
                    <a:pt x="2070" y="14997"/>
                  </a:lnTo>
                  <a:lnTo>
                    <a:pt x="2036" y="15005"/>
                  </a:lnTo>
                  <a:lnTo>
                    <a:pt x="1995" y="15014"/>
                  </a:lnTo>
                  <a:lnTo>
                    <a:pt x="1949" y="15024"/>
                  </a:lnTo>
                  <a:lnTo>
                    <a:pt x="1899" y="15034"/>
                  </a:lnTo>
                  <a:lnTo>
                    <a:pt x="1849" y="15043"/>
                  </a:lnTo>
                  <a:lnTo>
                    <a:pt x="1825" y="15046"/>
                  </a:lnTo>
                  <a:lnTo>
                    <a:pt x="1801" y="15050"/>
                  </a:lnTo>
                  <a:lnTo>
                    <a:pt x="1777" y="15052"/>
                  </a:lnTo>
                  <a:lnTo>
                    <a:pt x="1755" y="15054"/>
                  </a:lnTo>
                  <a:lnTo>
                    <a:pt x="1716" y="15053"/>
                  </a:lnTo>
                  <a:lnTo>
                    <a:pt x="1679" y="15049"/>
                  </a:lnTo>
                  <a:lnTo>
                    <a:pt x="1641" y="15044"/>
                  </a:lnTo>
                  <a:lnTo>
                    <a:pt x="1604" y="15037"/>
                  </a:lnTo>
                  <a:lnTo>
                    <a:pt x="1568" y="15029"/>
                  </a:lnTo>
                  <a:lnTo>
                    <a:pt x="1532" y="15018"/>
                  </a:lnTo>
                  <a:lnTo>
                    <a:pt x="1498" y="15006"/>
                  </a:lnTo>
                  <a:lnTo>
                    <a:pt x="1464" y="14993"/>
                  </a:lnTo>
                  <a:lnTo>
                    <a:pt x="1430" y="14978"/>
                  </a:lnTo>
                  <a:lnTo>
                    <a:pt x="1398" y="14961"/>
                  </a:lnTo>
                  <a:lnTo>
                    <a:pt x="1367" y="14943"/>
                  </a:lnTo>
                  <a:lnTo>
                    <a:pt x="1336" y="14923"/>
                  </a:lnTo>
                  <a:lnTo>
                    <a:pt x="1307" y="14902"/>
                  </a:lnTo>
                  <a:lnTo>
                    <a:pt x="1279" y="14880"/>
                  </a:lnTo>
                  <a:lnTo>
                    <a:pt x="1251" y="14856"/>
                  </a:lnTo>
                  <a:lnTo>
                    <a:pt x="1225" y="14832"/>
                  </a:lnTo>
                  <a:lnTo>
                    <a:pt x="1201" y="14804"/>
                  </a:lnTo>
                  <a:lnTo>
                    <a:pt x="1177" y="14777"/>
                  </a:lnTo>
                  <a:lnTo>
                    <a:pt x="1155" y="14749"/>
                  </a:lnTo>
                  <a:lnTo>
                    <a:pt x="1134" y="14720"/>
                  </a:lnTo>
                  <a:lnTo>
                    <a:pt x="1115" y="14689"/>
                  </a:lnTo>
                  <a:lnTo>
                    <a:pt x="1096" y="14658"/>
                  </a:lnTo>
                  <a:lnTo>
                    <a:pt x="1080" y="14626"/>
                  </a:lnTo>
                  <a:lnTo>
                    <a:pt x="1065" y="14593"/>
                  </a:lnTo>
                  <a:lnTo>
                    <a:pt x="1051" y="14559"/>
                  </a:lnTo>
                  <a:lnTo>
                    <a:pt x="1040" y="14524"/>
                  </a:lnTo>
                  <a:lnTo>
                    <a:pt x="1030" y="14488"/>
                  </a:lnTo>
                  <a:lnTo>
                    <a:pt x="1021" y="14452"/>
                  </a:lnTo>
                  <a:lnTo>
                    <a:pt x="1015" y="14415"/>
                  </a:lnTo>
                  <a:lnTo>
                    <a:pt x="1010" y="14378"/>
                  </a:lnTo>
                  <a:lnTo>
                    <a:pt x="1007" y="14340"/>
                  </a:lnTo>
                  <a:lnTo>
                    <a:pt x="1006" y="14302"/>
                  </a:lnTo>
                  <a:lnTo>
                    <a:pt x="1009" y="14268"/>
                  </a:lnTo>
                  <a:lnTo>
                    <a:pt x="1015" y="14229"/>
                  </a:lnTo>
                  <a:lnTo>
                    <a:pt x="1022" y="14189"/>
                  </a:lnTo>
                  <a:lnTo>
                    <a:pt x="1029" y="14149"/>
                  </a:lnTo>
                  <a:lnTo>
                    <a:pt x="1037" y="14110"/>
                  </a:lnTo>
                  <a:lnTo>
                    <a:pt x="1045" y="14074"/>
                  </a:lnTo>
                  <a:lnTo>
                    <a:pt x="1051" y="14043"/>
                  </a:lnTo>
                  <a:lnTo>
                    <a:pt x="1056" y="14020"/>
                  </a:lnTo>
                  <a:lnTo>
                    <a:pt x="1586" y="12106"/>
                  </a:lnTo>
                  <a:lnTo>
                    <a:pt x="1641" y="12105"/>
                  </a:lnTo>
                  <a:lnTo>
                    <a:pt x="1695" y="12105"/>
                  </a:lnTo>
                  <a:lnTo>
                    <a:pt x="1749" y="12107"/>
                  </a:lnTo>
                  <a:lnTo>
                    <a:pt x="1804" y="12111"/>
                  </a:lnTo>
                  <a:lnTo>
                    <a:pt x="1858" y="12116"/>
                  </a:lnTo>
                  <a:lnTo>
                    <a:pt x="1913" y="12122"/>
                  </a:lnTo>
                  <a:lnTo>
                    <a:pt x="1968" y="12130"/>
                  </a:lnTo>
                  <a:lnTo>
                    <a:pt x="2023" y="12139"/>
                  </a:lnTo>
                  <a:lnTo>
                    <a:pt x="2077" y="12149"/>
                  </a:lnTo>
                  <a:lnTo>
                    <a:pt x="2133" y="12161"/>
                  </a:lnTo>
                  <a:lnTo>
                    <a:pt x="2187" y="12175"/>
                  </a:lnTo>
                  <a:lnTo>
                    <a:pt x="2242" y="12190"/>
                  </a:lnTo>
                  <a:lnTo>
                    <a:pt x="2297" y="12206"/>
                  </a:lnTo>
                  <a:lnTo>
                    <a:pt x="2351" y="12224"/>
                  </a:lnTo>
                  <a:lnTo>
                    <a:pt x="2405" y="12243"/>
                  </a:lnTo>
                  <a:lnTo>
                    <a:pt x="2460" y="12264"/>
                  </a:lnTo>
                  <a:lnTo>
                    <a:pt x="2513" y="12286"/>
                  </a:lnTo>
                  <a:lnTo>
                    <a:pt x="2566" y="12309"/>
                  </a:lnTo>
                  <a:lnTo>
                    <a:pt x="2619" y="12335"/>
                  </a:lnTo>
                  <a:lnTo>
                    <a:pt x="2673" y="12362"/>
                  </a:lnTo>
                  <a:lnTo>
                    <a:pt x="2725" y="12390"/>
                  </a:lnTo>
                  <a:lnTo>
                    <a:pt x="2776" y="12420"/>
                  </a:lnTo>
                  <a:lnTo>
                    <a:pt x="2829" y="12451"/>
                  </a:lnTo>
                  <a:lnTo>
                    <a:pt x="2879" y="12483"/>
                  </a:lnTo>
                  <a:lnTo>
                    <a:pt x="2930" y="12517"/>
                  </a:lnTo>
                  <a:lnTo>
                    <a:pt x="2980" y="12553"/>
                  </a:lnTo>
                  <a:lnTo>
                    <a:pt x="3029" y="12590"/>
                  </a:lnTo>
                  <a:lnTo>
                    <a:pt x="3078" y="12629"/>
                  </a:lnTo>
                  <a:lnTo>
                    <a:pt x="3126" y="12669"/>
                  </a:lnTo>
                  <a:lnTo>
                    <a:pt x="3174" y="12711"/>
                  </a:lnTo>
                  <a:lnTo>
                    <a:pt x="3220" y="12754"/>
                  </a:lnTo>
                  <a:lnTo>
                    <a:pt x="3266" y="12799"/>
                  </a:lnTo>
                  <a:lnTo>
                    <a:pt x="3312" y="12845"/>
                  </a:lnTo>
                  <a:lnTo>
                    <a:pt x="3356" y="12893"/>
                  </a:lnTo>
                  <a:lnTo>
                    <a:pt x="3398" y="12941"/>
                  </a:lnTo>
                  <a:lnTo>
                    <a:pt x="3439" y="12990"/>
                  </a:lnTo>
                  <a:lnTo>
                    <a:pt x="3479" y="13039"/>
                  </a:lnTo>
                  <a:lnTo>
                    <a:pt x="3517" y="13089"/>
                  </a:lnTo>
                  <a:lnTo>
                    <a:pt x="3553" y="13139"/>
                  </a:lnTo>
                  <a:lnTo>
                    <a:pt x="3588" y="13191"/>
                  </a:lnTo>
                  <a:lnTo>
                    <a:pt x="3621" y="13243"/>
                  </a:lnTo>
                  <a:lnTo>
                    <a:pt x="3653" y="13295"/>
                  </a:lnTo>
                  <a:lnTo>
                    <a:pt x="3683" y="13348"/>
                  </a:lnTo>
                  <a:lnTo>
                    <a:pt x="3712" y="13401"/>
                  </a:lnTo>
                  <a:lnTo>
                    <a:pt x="3739" y="13455"/>
                  </a:lnTo>
                  <a:lnTo>
                    <a:pt x="3765" y="13509"/>
                  </a:lnTo>
                  <a:lnTo>
                    <a:pt x="3788" y="13563"/>
                  </a:lnTo>
                  <a:lnTo>
                    <a:pt x="3811" y="13617"/>
                  </a:lnTo>
                  <a:lnTo>
                    <a:pt x="3833" y="13671"/>
                  </a:lnTo>
                  <a:lnTo>
                    <a:pt x="3852" y="13727"/>
                  </a:lnTo>
                  <a:lnTo>
                    <a:pt x="3870" y="13782"/>
                  </a:lnTo>
                  <a:lnTo>
                    <a:pt x="3887" y="13837"/>
                  </a:lnTo>
                  <a:lnTo>
                    <a:pt x="3902" y="13892"/>
                  </a:lnTo>
                  <a:lnTo>
                    <a:pt x="3915" y="13948"/>
                  </a:lnTo>
                  <a:lnTo>
                    <a:pt x="3927" y="14004"/>
                  </a:lnTo>
                  <a:lnTo>
                    <a:pt x="3938" y="14060"/>
                  </a:lnTo>
                  <a:lnTo>
                    <a:pt x="3946" y="14115"/>
                  </a:lnTo>
                  <a:lnTo>
                    <a:pt x="3954" y="14170"/>
                  </a:lnTo>
                  <a:lnTo>
                    <a:pt x="3960" y="14225"/>
                  </a:lnTo>
                  <a:lnTo>
                    <a:pt x="3964" y="14282"/>
                  </a:lnTo>
                  <a:lnTo>
                    <a:pt x="3967" y="14337"/>
                  </a:lnTo>
                  <a:lnTo>
                    <a:pt x="3968" y="14391"/>
                  </a:lnTo>
                  <a:lnTo>
                    <a:pt x="3968" y="14446"/>
                  </a:lnTo>
                  <a:lnTo>
                    <a:pt x="3967" y="14500"/>
                  </a:lnTo>
                  <a:lnTo>
                    <a:pt x="2096" y="14991"/>
                  </a:lnTo>
                  <a:close/>
                  <a:moveTo>
                    <a:pt x="5275" y="8311"/>
                  </a:moveTo>
                  <a:lnTo>
                    <a:pt x="5187" y="8277"/>
                  </a:lnTo>
                  <a:lnTo>
                    <a:pt x="5099" y="8245"/>
                  </a:lnTo>
                  <a:lnTo>
                    <a:pt x="5011" y="8215"/>
                  </a:lnTo>
                  <a:lnTo>
                    <a:pt x="4921" y="8186"/>
                  </a:lnTo>
                  <a:lnTo>
                    <a:pt x="4877" y="8173"/>
                  </a:lnTo>
                  <a:lnTo>
                    <a:pt x="4833" y="8159"/>
                  </a:lnTo>
                  <a:lnTo>
                    <a:pt x="4787" y="8147"/>
                  </a:lnTo>
                  <a:lnTo>
                    <a:pt x="4742" y="8135"/>
                  </a:lnTo>
                  <a:lnTo>
                    <a:pt x="4698" y="8124"/>
                  </a:lnTo>
                  <a:lnTo>
                    <a:pt x="4652" y="8113"/>
                  </a:lnTo>
                  <a:lnTo>
                    <a:pt x="4607" y="8103"/>
                  </a:lnTo>
                  <a:lnTo>
                    <a:pt x="4562" y="8093"/>
                  </a:lnTo>
                  <a:lnTo>
                    <a:pt x="4517" y="8084"/>
                  </a:lnTo>
                  <a:lnTo>
                    <a:pt x="4471" y="8075"/>
                  </a:lnTo>
                  <a:lnTo>
                    <a:pt x="4426" y="8067"/>
                  </a:lnTo>
                  <a:lnTo>
                    <a:pt x="4380" y="8059"/>
                  </a:lnTo>
                  <a:lnTo>
                    <a:pt x="4335" y="8052"/>
                  </a:lnTo>
                  <a:lnTo>
                    <a:pt x="4289" y="8045"/>
                  </a:lnTo>
                  <a:lnTo>
                    <a:pt x="4243" y="8039"/>
                  </a:lnTo>
                  <a:lnTo>
                    <a:pt x="4198" y="8034"/>
                  </a:lnTo>
                  <a:lnTo>
                    <a:pt x="4153" y="8029"/>
                  </a:lnTo>
                  <a:lnTo>
                    <a:pt x="4106" y="8025"/>
                  </a:lnTo>
                  <a:lnTo>
                    <a:pt x="4061" y="8021"/>
                  </a:lnTo>
                  <a:lnTo>
                    <a:pt x="4015" y="8018"/>
                  </a:lnTo>
                  <a:lnTo>
                    <a:pt x="3969" y="8015"/>
                  </a:lnTo>
                  <a:lnTo>
                    <a:pt x="3923" y="8013"/>
                  </a:lnTo>
                  <a:lnTo>
                    <a:pt x="3878" y="8011"/>
                  </a:lnTo>
                  <a:lnTo>
                    <a:pt x="3832" y="8011"/>
                  </a:lnTo>
                  <a:lnTo>
                    <a:pt x="7706" y="4116"/>
                  </a:lnTo>
                  <a:lnTo>
                    <a:pt x="7763" y="4063"/>
                  </a:lnTo>
                  <a:lnTo>
                    <a:pt x="7820" y="4012"/>
                  </a:lnTo>
                  <a:lnTo>
                    <a:pt x="7880" y="3964"/>
                  </a:lnTo>
                  <a:lnTo>
                    <a:pt x="7941" y="3918"/>
                  </a:lnTo>
                  <a:lnTo>
                    <a:pt x="8003" y="3875"/>
                  </a:lnTo>
                  <a:lnTo>
                    <a:pt x="8067" y="3834"/>
                  </a:lnTo>
                  <a:lnTo>
                    <a:pt x="8131" y="3796"/>
                  </a:lnTo>
                  <a:lnTo>
                    <a:pt x="8197" y="3760"/>
                  </a:lnTo>
                  <a:lnTo>
                    <a:pt x="8265" y="3725"/>
                  </a:lnTo>
                  <a:lnTo>
                    <a:pt x="8333" y="3694"/>
                  </a:lnTo>
                  <a:lnTo>
                    <a:pt x="8403" y="3665"/>
                  </a:lnTo>
                  <a:lnTo>
                    <a:pt x="8473" y="3638"/>
                  </a:lnTo>
                  <a:lnTo>
                    <a:pt x="8544" y="3613"/>
                  </a:lnTo>
                  <a:lnTo>
                    <a:pt x="8616" y="3591"/>
                  </a:lnTo>
                  <a:lnTo>
                    <a:pt x="8689" y="3571"/>
                  </a:lnTo>
                  <a:lnTo>
                    <a:pt x="8764" y="3554"/>
                  </a:lnTo>
                  <a:lnTo>
                    <a:pt x="8838" y="3539"/>
                  </a:lnTo>
                  <a:lnTo>
                    <a:pt x="8914" y="3526"/>
                  </a:lnTo>
                  <a:lnTo>
                    <a:pt x="8989" y="3515"/>
                  </a:lnTo>
                  <a:lnTo>
                    <a:pt x="9067" y="3507"/>
                  </a:lnTo>
                  <a:lnTo>
                    <a:pt x="9143" y="3501"/>
                  </a:lnTo>
                  <a:lnTo>
                    <a:pt x="9220" y="3497"/>
                  </a:lnTo>
                  <a:lnTo>
                    <a:pt x="9299" y="3496"/>
                  </a:lnTo>
                  <a:lnTo>
                    <a:pt x="9377" y="3497"/>
                  </a:lnTo>
                  <a:lnTo>
                    <a:pt x="9457" y="3500"/>
                  </a:lnTo>
                  <a:lnTo>
                    <a:pt x="9535" y="3505"/>
                  </a:lnTo>
                  <a:lnTo>
                    <a:pt x="9615" y="3512"/>
                  </a:lnTo>
                  <a:lnTo>
                    <a:pt x="9694" y="3522"/>
                  </a:lnTo>
                  <a:lnTo>
                    <a:pt x="9775" y="3534"/>
                  </a:lnTo>
                  <a:lnTo>
                    <a:pt x="9854" y="3548"/>
                  </a:lnTo>
                  <a:lnTo>
                    <a:pt x="9934" y="3565"/>
                  </a:lnTo>
                  <a:lnTo>
                    <a:pt x="10014" y="3583"/>
                  </a:lnTo>
                  <a:lnTo>
                    <a:pt x="5275" y="8311"/>
                  </a:lnTo>
                  <a:close/>
                  <a:moveTo>
                    <a:pt x="7441" y="10165"/>
                  </a:moveTo>
                  <a:lnTo>
                    <a:pt x="7406" y="10107"/>
                  </a:lnTo>
                  <a:lnTo>
                    <a:pt x="7369" y="10049"/>
                  </a:lnTo>
                  <a:lnTo>
                    <a:pt x="7332" y="9992"/>
                  </a:lnTo>
                  <a:lnTo>
                    <a:pt x="7295" y="9936"/>
                  </a:lnTo>
                  <a:lnTo>
                    <a:pt x="7257" y="9880"/>
                  </a:lnTo>
                  <a:lnTo>
                    <a:pt x="7218" y="9824"/>
                  </a:lnTo>
                  <a:lnTo>
                    <a:pt x="7177" y="9768"/>
                  </a:lnTo>
                  <a:lnTo>
                    <a:pt x="7137" y="9714"/>
                  </a:lnTo>
                  <a:lnTo>
                    <a:pt x="7096" y="9660"/>
                  </a:lnTo>
                  <a:lnTo>
                    <a:pt x="7053" y="9606"/>
                  </a:lnTo>
                  <a:lnTo>
                    <a:pt x="7009" y="9553"/>
                  </a:lnTo>
                  <a:lnTo>
                    <a:pt x="6965" y="9500"/>
                  </a:lnTo>
                  <a:lnTo>
                    <a:pt x="6919" y="9448"/>
                  </a:lnTo>
                  <a:lnTo>
                    <a:pt x="6873" y="9397"/>
                  </a:lnTo>
                  <a:lnTo>
                    <a:pt x="6824" y="9347"/>
                  </a:lnTo>
                  <a:lnTo>
                    <a:pt x="6776" y="9297"/>
                  </a:lnTo>
                  <a:lnTo>
                    <a:pt x="6718" y="9240"/>
                  </a:lnTo>
                  <a:lnTo>
                    <a:pt x="6658" y="9185"/>
                  </a:lnTo>
                  <a:lnTo>
                    <a:pt x="6598" y="9131"/>
                  </a:lnTo>
                  <a:lnTo>
                    <a:pt x="6538" y="9079"/>
                  </a:lnTo>
                  <a:lnTo>
                    <a:pt x="6475" y="9029"/>
                  </a:lnTo>
                  <a:lnTo>
                    <a:pt x="6412" y="8978"/>
                  </a:lnTo>
                  <a:lnTo>
                    <a:pt x="6348" y="8930"/>
                  </a:lnTo>
                  <a:lnTo>
                    <a:pt x="6284" y="8884"/>
                  </a:lnTo>
                  <a:lnTo>
                    <a:pt x="6220" y="8838"/>
                  </a:lnTo>
                  <a:lnTo>
                    <a:pt x="6153" y="8794"/>
                  </a:lnTo>
                  <a:lnTo>
                    <a:pt x="6087" y="8750"/>
                  </a:lnTo>
                  <a:lnTo>
                    <a:pt x="6021" y="8707"/>
                  </a:lnTo>
                  <a:lnTo>
                    <a:pt x="5953" y="8666"/>
                  </a:lnTo>
                  <a:lnTo>
                    <a:pt x="5885" y="8626"/>
                  </a:lnTo>
                  <a:lnTo>
                    <a:pt x="5816" y="8587"/>
                  </a:lnTo>
                  <a:lnTo>
                    <a:pt x="5748" y="8549"/>
                  </a:lnTo>
                  <a:lnTo>
                    <a:pt x="10542" y="3766"/>
                  </a:lnTo>
                  <a:lnTo>
                    <a:pt x="10613" y="3798"/>
                  </a:lnTo>
                  <a:lnTo>
                    <a:pt x="10683" y="3831"/>
                  </a:lnTo>
                  <a:lnTo>
                    <a:pt x="10752" y="3866"/>
                  </a:lnTo>
                  <a:lnTo>
                    <a:pt x="10821" y="3903"/>
                  </a:lnTo>
                  <a:lnTo>
                    <a:pt x="10889" y="3942"/>
                  </a:lnTo>
                  <a:lnTo>
                    <a:pt x="10958" y="3983"/>
                  </a:lnTo>
                  <a:lnTo>
                    <a:pt x="11025" y="4026"/>
                  </a:lnTo>
                  <a:lnTo>
                    <a:pt x="11091" y="4070"/>
                  </a:lnTo>
                  <a:lnTo>
                    <a:pt x="11157" y="4115"/>
                  </a:lnTo>
                  <a:lnTo>
                    <a:pt x="11222" y="4163"/>
                  </a:lnTo>
                  <a:lnTo>
                    <a:pt x="11287" y="4212"/>
                  </a:lnTo>
                  <a:lnTo>
                    <a:pt x="11351" y="4263"/>
                  </a:lnTo>
                  <a:lnTo>
                    <a:pt x="11413" y="4317"/>
                  </a:lnTo>
                  <a:lnTo>
                    <a:pt x="11476" y="4372"/>
                  </a:lnTo>
                  <a:lnTo>
                    <a:pt x="11537" y="4428"/>
                  </a:lnTo>
                  <a:lnTo>
                    <a:pt x="11597" y="4487"/>
                  </a:lnTo>
                  <a:lnTo>
                    <a:pt x="11648" y="4537"/>
                  </a:lnTo>
                  <a:lnTo>
                    <a:pt x="11696" y="4590"/>
                  </a:lnTo>
                  <a:lnTo>
                    <a:pt x="11743" y="4642"/>
                  </a:lnTo>
                  <a:lnTo>
                    <a:pt x="11790" y="4696"/>
                  </a:lnTo>
                  <a:lnTo>
                    <a:pt x="11835" y="4749"/>
                  </a:lnTo>
                  <a:lnTo>
                    <a:pt x="11878" y="4803"/>
                  </a:lnTo>
                  <a:lnTo>
                    <a:pt x="11919" y="4859"/>
                  </a:lnTo>
                  <a:lnTo>
                    <a:pt x="11961" y="4915"/>
                  </a:lnTo>
                  <a:lnTo>
                    <a:pt x="12000" y="4970"/>
                  </a:lnTo>
                  <a:lnTo>
                    <a:pt x="12038" y="5027"/>
                  </a:lnTo>
                  <a:lnTo>
                    <a:pt x="12075" y="5084"/>
                  </a:lnTo>
                  <a:lnTo>
                    <a:pt x="12110" y="5142"/>
                  </a:lnTo>
                  <a:lnTo>
                    <a:pt x="12145" y="5200"/>
                  </a:lnTo>
                  <a:lnTo>
                    <a:pt x="12178" y="5258"/>
                  </a:lnTo>
                  <a:lnTo>
                    <a:pt x="12210" y="5316"/>
                  </a:lnTo>
                  <a:lnTo>
                    <a:pt x="12241" y="5375"/>
                  </a:lnTo>
                  <a:lnTo>
                    <a:pt x="7441" y="10165"/>
                  </a:lnTo>
                  <a:close/>
                  <a:moveTo>
                    <a:pt x="8055" y="11941"/>
                  </a:moveTo>
                  <a:lnTo>
                    <a:pt x="8045" y="11856"/>
                  </a:lnTo>
                  <a:lnTo>
                    <a:pt x="8035" y="11772"/>
                  </a:lnTo>
                  <a:lnTo>
                    <a:pt x="8022" y="11687"/>
                  </a:lnTo>
                  <a:lnTo>
                    <a:pt x="8008" y="11603"/>
                  </a:lnTo>
                  <a:lnTo>
                    <a:pt x="7991" y="11519"/>
                  </a:lnTo>
                  <a:lnTo>
                    <a:pt x="7973" y="11435"/>
                  </a:lnTo>
                  <a:lnTo>
                    <a:pt x="7953" y="11352"/>
                  </a:lnTo>
                  <a:lnTo>
                    <a:pt x="7931" y="11270"/>
                  </a:lnTo>
                  <a:lnTo>
                    <a:pt x="7907" y="11187"/>
                  </a:lnTo>
                  <a:lnTo>
                    <a:pt x="7882" y="11105"/>
                  </a:lnTo>
                  <a:lnTo>
                    <a:pt x="7854" y="11024"/>
                  </a:lnTo>
                  <a:lnTo>
                    <a:pt x="7825" y="10943"/>
                  </a:lnTo>
                  <a:lnTo>
                    <a:pt x="7795" y="10861"/>
                  </a:lnTo>
                  <a:lnTo>
                    <a:pt x="7763" y="10781"/>
                  </a:lnTo>
                  <a:lnTo>
                    <a:pt x="7729" y="10702"/>
                  </a:lnTo>
                  <a:lnTo>
                    <a:pt x="7693" y="10622"/>
                  </a:lnTo>
                  <a:lnTo>
                    <a:pt x="12448" y="5878"/>
                  </a:lnTo>
                  <a:lnTo>
                    <a:pt x="12475" y="5965"/>
                  </a:lnTo>
                  <a:lnTo>
                    <a:pt x="12499" y="6051"/>
                  </a:lnTo>
                  <a:lnTo>
                    <a:pt x="12519" y="6137"/>
                  </a:lnTo>
                  <a:lnTo>
                    <a:pt x="12537" y="6223"/>
                  </a:lnTo>
                  <a:lnTo>
                    <a:pt x="12553" y="6310"/>
                  </a:lnTo>
                  <a:lnTo>
                    <a:pt x="12566" y="6396"/>
                  </a:lnTo>
                  <a:lnTo>
                    <a:pt x="12576" y="6482"/>
                  </a:lnTo>
                  <a:lnTo>
                    <a:pt x="12583" y="6568"/>
                  </a:lnTo>
                  <a:lnTo>
                    <a:pt x="12588" y="6654"/>
                  </a:lnTo>
                  <a:lnTo>
                    <a:pt x="12591" y="6739"/>
                  </a:lnTo>
                  <a:lnTo>
                    <a:pt x="12591" y="6824"/>
                  </a:lnTo>
                  <a:lnTo>
                    <a:pt x="12588" y="6908"/>
                  </a:lnTo>
                  <a:lnTo>
                    <a:pt x="12582" y="6992"/>
                  </a:lnTo>
                  <a:lnTo>
                    <a:pt x="12574" y="7075"/>
                  </a:lnTo>
                  <a:lnTo>
                    <a:pt x="12563" y="7158"/>
                  </a:lnTo>
                  <a:lnTo>
                    <a:pt x="12549" y="7239"/>
                  </a:lnTo>
                  <a:lnTo>
                    <a:pt x="12533" y="7320"/>
                  </a:lnTo>
                  <a:lnTo>
                    <a:pt x="12513" y="7400"/>
                  </a:lnTo>
                  <a:lnTo>
                    <a:pt x="12492" y="7479"/>
                  </a:lnTo>
                  <a:lnTo>
                    <a:pt x="12467" y="7557"/>
                  </a:lnTo>
                  <a:lnTo>
                    <a:pt x="12439" y="7635"/>
                  </a:lnTo>
                  <a:lnTo>
                    <a:pt x="12409" y="7710"/>
                  </a:lnTo>
                  <a:lnTo>
                    <a:pt x="12376" y="7784"/>
                  </a:lnTo>
                  <a:lnTo>
                    <a:pt x="12340" y="7857"/>
                  </a:lnTo>
                  <a:lnTo>
                    <a:pt x="12302" y="7930"/>
                  </a:lnTo>
                  <a:lnTo>
                    <a:pt x="12260" y="8000"/>
                  </a:lnTo>
                  <a:lnTo>
                    <a:pt x="12216" y="8069"/>
                  </a:lnTo>
                  <a:lnTo>
                    <a:pt x="12169" y="8136"/>
                  </a:lnTo>
                  <a:lnTo>
                    <a:pt x="12120" y="8203"/>
                  </a:lnTo>
                  <a:lnTo>
                    <a:pt x="12066" y="8267"/>
                  </a:lnTo>
                  <a:lnTo>
                    <a:pt x="12011" y="8329"/>
                  </a:lnTo>
                  <a:lnTo>
                    <a:pt x="11953" y="8389"/>
                  </a:lnTo>
                  <a:lnTo>
                    <a:pt x="11947" y="8394"/>
                  </a:lnTo>
                  <a:lnTo>
                    <a:pt x="11940" y="8400"/>
                  </a:lnTo>
                  <a:lnTo>
                    <a:pt x="11948" y="8406"/>
                  </a:lnTo>
                  <a:lnTo>
                    <a:pt x="8060" y="12314"/>
                  </a:lnTo>
                  <a:lnTo>
                    <a:pt x="8061" y="12268"/>
                  </a:lnTo>
                  <a:lnTo>
                    <a:pt x="8061" y="12222"/>
                  </a:lnTo>
                  <a:lnTo>
                    <a:pt x="8062" y="12175"/>
                  </a:lnTo>
                  <a:lnTo>
                    <a:pt x="8062" y="12129"/>
                  </a:lnTo>
                  <a:lnTo>
                    <a:pt x="8062" y="12082"/>
                  </a:lnTo>
                  <a:lnTo>
                    <a:pt x="8061" y="12035"/>
                  </a:lnTo>
                  <a:lnTo>
                    <a:pt x="8059" y="11988"/>
                  </a:lnTo>
                  <a:lnTo>
                    <a:pt x="8055" y="11941"/>
                  </a:lnTo>
                  <a:close/>
                  <a:moveTo>
                    <a:pt x="14785" y="1295"/>
                  </a:moveTo>
                  <a:lnTo>
                    <a:pt x="14707" y="1218"/>
                  </a:lnTo>
                  <a:lnTo>
                    <a:pt x="14626" y="1144"/>
                  </a:lnTo>
                  <a:lnTo>
                    <a:pt x="14546" y="1072"/>
                  </a:lnTo>
                  <a:lnTo>
                    <a:pt x="14463" y="1003"/>
                  </a:lnTo>
                  <a:lnTo>
                    <a:pt x="14379" y="934"/>
                  </a:lnTo>
                  <a:lnTo>
                    <a:pt x="14294" y="869"/>
                  </a:lnTo>
                  <a:lnTo>
                    <a:pt x="14208" y="806"/>
                  </a:lnTo>
                  <a:lnTo>
                    <a:pt x="14119" y="745"/>
                  </a:lnTo>
                  <a:lnTo>
                    <a:pt x="14031" y="685"/>
                  </a:lnTo>
                  <a:lnTo>
                    <a:pt x="13941" y="629"/>
                  </a:lnTo>
                  <a:lnTo>
                    <a:pt x="13851" y="575"/>
                  </a:lnTo>
                  <a:lnTo>
                    <a:pt x="13758" y="523"/>
                  </a:lnTo>
                  <a:lnTo>
                    <a:pt x="13666" y="473"/>
                  </a:lnTo>
                  <a:lnTo>
                    <a:pt x="13572" y="426"/>
                  </a:lnTo>
                  <a:lnTo>
                    <a:pt x="13478" y="380"/>
                  </a:lnTo>
                  <a:lnTo>
                    <a:pt x="13382" y="338"/>
                  </a:lnTo>
                  <a:lnTo>
                    <a:pt x="13286" y="298"/>
                  </a:lnTo>
                  <a:lnTo>
                    <a:pt x="13190" y="260"/>
                  </a:lnTo>
                  <a:lnTo>
                    <a:pt x="13092" y="225"/>
                  </a:lnTo>
                  <a:lnTo>
                    <a:pt x="12995" y="193"/>
                  </a:lnTo>
                  <a:lnTo>
                    <a:pt x="12896" y="162"/>
                  </a:lnTo>
                  <a:lnTo>
                    <a:pt x="12798" y="134"/>
                  </a:lnTo>
                  <a:lnTo>
                    <a:pt x="12698" y="109"/>
                  </a:lnTo>
                  <a:lnTo>
                    <a:pt x="12598" y="86"/>
                  </a:lnTo>
                  <a:lnTo>
                    <a:pt x="12499" y="66"/>
                  </a:lnTo>
                  <a:lnTo>
                    <a:pt x="12398" y="49"/>
                  </a:lnTo>
                  <a:lnTo>
                    <a:pt x="12299" y="34"/>
                  </a:lnTo>
                  <a:lnTo>
                    <a:pt x="12198" y="22"/>
                  </a:lnTo>
                  <a:lnTo>
                    <a:pt x="12097" y="12"/>
                  </a:lnTo>
                  <a:lnTo>
                    <a:pt x="11996" y="5"/>
                  </a:lnTo>
                  <a:lnTo>
                    <a:pt x="11895" y="1"/>
                  </a:lnTo>
                  <a:lnTo>
                    <a:pt x="11795" y="0"/>
                  </a:lnTo>
                  <a:lnTo>
                    <a:pt x="11710" y="1"/>
                  </a:lnTo>
                  <a:lnTo>
                    <a:pt x="11626" y="4"/>
                  </a:lnTo>
                  <a:lnTo>
                    <a:pt x="11542" y="9"/>
                  </a:lnTo>
                  <a:lnTo>
                    <a:pt x="11459" y="16"/>
                  </a:lnTo>
                  <a:lnTo>
                    <a:pt x="11376" y="24"/>
                  </a:lnTo>
                  <a:lnTo>
                    <a:pt x="11294" y="35"/>
                  </a:lnTo>
                  <a:lnTo>
                    <a:pt x="11212" y="47"/>
                  </a:lnTo>
                  <a:lnTo>
                    <a:pt x="11131" y="62"/>
                  </a:lnTo>
                  <a:lnTo>
                    <a:pt x="11051" y="78"/>
                  </a:lnTo>
                  <a:lnTo>
                    <a:pt x="10971" y="96"/>
                  </a:lnTo>
                  <a:lnTo>
                    <a:pt x="10892" y="116"/>
                  </a:lnTo>
                  <a:lnTo>
                    <a:pt x="10814" y="139"/>
                  </a:lnTo>
                  <a:lnTo>
                    <a:pt x="10736" y="162"/>
                  </a:lnTo>
                  <a:lnTo>
                    <a:pt x="10660" y="187"/>
                  </a:lnTo>
                  <a:lnTo>
                    <a:pt x="10584" y="215"/>
                  </a:lnTo>
                  <a:lnTo>
                    <a:pt x="10509" y="243"/>
                  </a:lnTo>
                  <a:lnTo>
                    <a:pt x="10435" y="274"/>
                  </a:lnTo>
                  <a:lnTo>
                    <a:pt x="10361" y="307"/>
                  </a:lnTo>
                  <a:lnTo>
                    <a:pt x="10289" y="341"/>
                  </a:lnTo>
                  <a:lnTo>
                    <a:pt x="10217" y="377"/>
                  </a:lnTo>
                  <a:lnTo>
                    <a:pt x="10147" y="416"/>
                  </a:lnTo>
                  <a:lnTo>
                    <a:pt x="10078" y="455"/>
                  </a:lnTo>
                  <a:lnTo>
                    <a:pt x="10010" y="496"/>
                  </a:lnTo>
                  <a:lnTo>
                    <a:pt x="9943" y="539"/>
                  </a:lnTo>
                  <a:lnTo>
                    <a:pt x="9876" y="583"/>
                  </a:lnTo>
                  <a:lnTo>
                    <a:pt x="9811" y="629"/>
                  </a:lnTo>
                  <a:lnTo>
                    <a:pt x="9748" y="677"/>
                  </a:lnTo>
                  <a:lnTo>
                    <a:pt x="9684" y="727"/>
                  </a:lnTo>
                  <a:lnTo>
                    <a:pt x="9623" y="778"/>
                  </a:lnTo>
                  <a:lnTo>
                    <a:pt x="9562" y="831"/>
                  </a:lnTo>
                  <a:lnTo>
                    <a:pt x="9503" y="885"/>
                  </a:lnTo>
                  <a:lnTo>
                    <a:pt x="9446" y="941"/>
                  </a:lnTo>
                  <a:lnTo>
                    <a:pt x="6997" y="3403"/>
                  </a:lnTo>
                  <a:lnTo>
                    <a:pt x="6986" y="3412"/>
                  </a:lnTo>
                  <a:lnTo>
                    <a:pt x="6974" y="3422"/>
                  </a:lnTo>
                  <a:lnTo>
                    <a:pt x="6969" y="3428"/>
                  </a:lnTo>
                  <a:lnTo>
                    <a:pt x="6964" y="3435"/>
                  </a:lnTo>
                  <a:lnTo>
                    <a:pt x="6965" y="3436"/>
                  </a:lnTo>
                  <a:lnTo>
                    <a:pt x="1769" y="8659"/>
                  </a:lnTo>
                  <a:lnTo>
                    <a:pt x="1747" y="8681"/>
                  </a:lnTo>
                  <a:lnTo>
                    <a:pt x="1725" y="8704"/>
                  </a:lnTo>
                  <a:lnTo>
                    <a:pt x="1704" y="8728"/>
                  </a:lnTo>
                  <a:lnTo>
                    <a:pt x="1683" y="8751"/>
                  </a:lnTo>
                  <a:lnTo>
                    <a:pt x="1642" y="8799"/>
                  </a:lnTo>
                  <a:lnTo>
                    <a:pt x="1602" y="8847"/>
                  </a:lnTo>
                  <a:lnTo>
                    <a:pt x="1564" y="8897"/>
                  </a:lnTo>
                  <a:lnTo>
                    <a:pt x="1528" y="8949"/>
                  </a:lnTo>
                  <a:lnTo>
                    <a:pt x="1494" y="9002"/>
                  </a:lnTo>
                  <a:lnTo>
                    <a:pt x="1461" y="9055"/>
                  </a:lnTo>
                  <a:lnTo>
                    <a:pt x="1429" y="9109"/>
                  </a:lnTo>
                  <a:lnTo>
                    <a:pt x="1400" y="9165"/>
                  </a:lnTo>
                  <a:lnTo>
                    <a:pt x="1372" y="9221"/>
                  </a:lnTo>
                  <a:lnTo>
                    <a:pt x="1347" y="9279"/>
                  </a:lnTo>
                  <a:lnTo>
                    <a:pt x="1322" y="9336"/>
                  </a:lnTo>
                  <a:lnTo>
                    <a:pt x="1300" y="9395"/>
                  </a:lnTo>
                  <a:lnTo>
                    <a:pt x="1279" y="9454"/>
                  </a:lnTo>
                  <a:lnTo>
                    <a:pt x="1260" y="9514"/>
                  </a:lnTo>
                  <a:lnTo>
                    <a:pt x="78" y="13784"/>
                  </a:lnTo>
                  <a:lnTo>
                    <a:pt x="74" y="13803"/>
                  </a:lnTo>
                  <a:lnTo>
                    <a:pt x="65" y="13846"/>
                  </a:lnTo>
                  <a:lnTo>
                    <a:pt x="53" y="13908"/>
                  </a:lnTo>
                  <a:lnTo>
                    <a:pt x="38" y="13984"/>
                  </a:lnTo>
                  <a:lnTo>
                    <a:pt x="31" y="14025"/>
                  </a:lnTo>
                  <a:lnTo>
                    <a:pt x="24" y="14066"/>
                  </a:lnTo>
                  <a:lnTo>
                    <a:pt x="18" y="14109"/>
                  </a:lnTo>
                  <a:lnTo>
                    <a:pt x="12" y="14151"/>
                  </a:lnTo>
                  <a:lnTo>
                    <a:pt x="7" y="14192"/>
                  </a:lnTo>
                  <a:lnTo>
                    <a:pt x="3" y="14231"/>
                  </a:lnTo>
                  <a:lnTo>
                    <a:pt x="1" y="14268"/>
                  </a:lnTo>
                  <a:lnTo>
                    <a:pt x="0" y="14302"/>
                  </a:lnTo>
                  <a:lnTo>
                    <a:pt x="2" y="14392"/>
                  </a:lnTo>
                  <a:lnTo>
                    <a:pt x="9" y="14481"/>
                  </a:lnTo>
                  <a:lnTo>
                    <a:pt x="20" y="14569"/>
                  </a:lnTo>
                  <a:lnTo>
                    <a:pt x="36" y="14656"/>
                  </a:lnTo>
                  <a:lnTo>
                    <a:pt x="55" y="14740"/>
                  </a:lnTo>
                  <a:lnTo>
                    <a:pt x="79" y="14824"/>
                  </a:lnTo>
                  <a:lnTo>
                    <a:pt x="107" y="14906"/>
                  </a:lnTo>
                  <a:lnTo>
                    <a:pt x="139" y="14985"/>
                  </a:lnTo>
                  <a:lnTo>
                    <a:pt x="174" y="15063"/>
                  </a:lnTo>
                  <a:lnTo>
                    <a:pt x="212" y="15139"/>
                  </a:lnTo>
                  <a:lnTo>
                    <a:pt x="256" y="15212"/>
                  </a:lnTo>
                  <a:lnTo>
                    <a:pt x="301" y="15283"/>
                  </a:lnTo>
                  <a:lnTo>
                    <a:pt x="350" y="15352"/>
                  </a:lnTo>
                  <a:lnTo>
                    <a:pt x="402" y="15419"/>
                  </a:lnTo>
                  <a:lnTo>
                    <a:pt x="458" y="15483"/>
                  </a:lnTo>
                  <a:lnTo>
                    <a:pt x="516" y="15543"/>
                  </a:lnTo>
                  <a:lnTo>
                    <a:pt x="577" y="15601"/>
                  </a:lnTo>
                  <a:lnTo>
                    <a:pt x="642" y="15657"/>
                  </a:lnTo>
                  <a:lnTo>
                    <a:pt x="708" y="15709"/>
                  </a:lnTo>
                  <a:lnTo>
                    <a:pt x="778" y="15758"/>
                  </a:lnTo>
                  <a:lnTo>
                    <a:pt x="849" y="15804"/>
                  </a:lnTo>
                  <a:lnTo>
                    <a:pt x="922" y="15846"/>
                  </a:lnTo>
                  <a:lnTo>
                    <a:pt x="999" y="15884"/>
                  </a:lnTo>
                  <a:lnTo>
                    <a:pt x="1076" y="15919"/>
                  </a:lnTo>
                  <a:lnTo>
                    <a:pt x="1157" y="15952"/>
                  </a:lnTo>
                  <a:lnTo>
                    <a:pt x="1238" y="15979"/>
                  </a:lnTo>
                  <a:lnTo>
                    <a:pt x="1323" y="16003"/>
                  </a:lnTo>
                  <a:lnTo>
                    <a:pt x="1407" y="16022"/>
                  </a:lnTo>
                  <a:lnTo>
                    <a:pt x="1495" y="16038"/>
                  </a:lnTo>
                  <a:lnTo>
                    <a:pt x="1582" y="16049"/>
                  </a:lnTo>
                  <a:lnTo>
                    <a:pt x="1672" y="16056"/>
                  </a:lnTo>
                  <a:lnTo>
                    <a:pt x="1763" y="16058"/>
                  </a:lnTo>
                  <a:lnTo>
                    <a:pt x="1801" y="16057"/>
                  </a:lnTo>
                  <a:lnTo>
                    <a:pt x="1843" y="16054"/>
                  </a:lnTo>
                  <a:lnTo>
                    <a:pt x="1887" y="16049"/>
                  </a:lnTo>
                  <a:lnTo>
                    <a:pt x="1933" y="16044"/>
                  </a:lnTo>
                  <a:lnTo>
                    <a:pt x="1981" y="16037"/>
                  </a:lnTo>
                  <a:lnTo>
                    <a:pt x="2028" y="16029"/>
                  </a:lnTo>
                  <a:lnTo>
                    <a:pt x="2075" y="16020"/>
                  </a:lnTo>
                  <a:lnTo>
                    <a:pt x="2122" y="16012"/>
                  </a:lnTo>
                  <a:lnTo>
                    <a:pt x="2205" y="15995"/>
                  </a:lnTo>
                  <a:lnTo>
                    <a:pt x="2275" y="15980"/>
                  </a:lnTo>
                  <a:lnTo>
                    <a:pt x="2324" y="15969"/>
                  </a:lnTo>
                  <a:lnTo>
                    <a:pt x="2345" y="15964"/>
                  </a:lnTo>
                  <a:lnTo>
                    <a:pt x="6609" y="14846"/>
                  </a:lnTo>
                  <a:lnTo>
                    <a:pt x="6669" y="14827"/>
                  </a:lnTo>
                  <a:lnTo>
                    <a:pt x="6729" y="14805"/>
                  </a:lnTo>
                  <a:lnTo>
                    <a:pt x="6788" y="14783"/>
                  </a:lnTo>
                  <a:lnTo>
                    <a:pt x="6845" y="14759"/>
                  </a:lnTo>
                  <a:lnTo>
                    <a:pt x="6903" y="14733"/>
                  </a:lnTo>
                  <a:lnTo>
                    <a:pt x="6960" y="14705"/>
                  </a:lnTo>
                  <a:lnTo>
                    <a:pt x="7015" y="14675"/>
                  </a:lnTo>
                  <a:lnTo>
                    <a:pt x="7070" y="14644"/>
                  </a:lnTo>
                  <a:lnTo>
                    <a:pt x="7123" y="14612"/>
                  </a:lnTo>
                  <a:lnTo>
                    <a:pt x="7175" y="14577"/>
                  </a:lnTo>
                  <a:lnTo>
                    <a:pt x="7227" y="14541"/>
                  </a:lnTo>
                  <a:lnTo>
                    <a:pt x="7277" y="14502"/>
                  </a:lnTo>
                  <a:lnTo>
                    <a:pt x="7326" y="14463"/>
                  </a:lnTo>
                  <a:lnTo>
                    <a:pt x="7375" y="14422"/>
                  </a:lnTo>
                  <a:lnTo>
                    <a:pt x="7421" y="14380"/>
                  </a:lnTo>
                  <a:lnTo>
                    <a:pt x="7466" y="14336"/>
                  </a:lnTo>
                  <a:lnTo>
                    <a:pt x="15143" y="6617"/>
                  </a:lnTo>
                  <a:lnTo>
                    <a:pt x="15270" y="6483"/>
                  </a:lnTo>
                  <a:lnTo>
                    <a:pt x="15387" y="6344"/>
                  </a:lnTo>
                  <a:lnTo>
                    <a:pt x="15495" y="6200"/>
                  </a:lnTo>
                  <a:lnTo>
                    <a:pt x="15594" y="6053"/>
                  </a:lnTo>
                  <a:lnTo>
                    <a:pt x="15685" y="5900"/>
                  </a:lnTo>
                  <a:lnTo>
                    <a:pt x="15766" y="5744"/>
                  </a:lnTo>
                  <a:lnTo>
                    <a:pt x="15837" y="5584"/>
                  </a:lnTo>
                  <a:lnTo>
                    <a:pt x="15901" y="5421"/>
                  </a:lnTo>
                  <a:lnTo>
                    <a:pt x="15955" y="5254"/>
                  </a:lnTo>
                  <a:lnTo>
                    <a:pt x="16000" y="5084"/>
                  </a:lnTo>
                  <a:lnTo>
                    <a:pt x="16037" y="4913"/>
                  </a:lnTo>
                  <a:lnTo>
                    <a:pt x="16065" y="4739"/>
                  </a:lnTo>
                  <a:lnTo>
                    <a:pt x="16083" y="4563"/>
                  </a:lnTo>
                  <a:lnTo>
                    <a:pt x="16093" y="4387"/>
                  </a:lnTo>
                  <a:lnTo>
                    <a:pt x="16094" y="4208"/>
                  </a:lnTo>
                  <a:lnTo>
                    <a:pt x="16087" y="4030"/>
                  </a:lnTo>
                  <a:lnTo>
                    <a:pt x="16070" y="3850"/>
                  </a:lnTo>
                  <a:lnTo>
                    <a:pt x="16045" y="3669"/>
                  </a:lnTo>
                  <a:lnTo>
                    <a:pt x="16011" y="3490"/>
                  </a:lnTo>
                  <a:lnTo>
                    <a:pt x="15968" y="3310"/>
                  </a:lnTo>
                  <a:lnTo>
                    <a:pt x="15917" y="3131"/>
                  </a:lnTo>
                  <a:lnTo>
                    <a:pt x="15857" y="2953"/>
                  </a:lnTo>
                  <a:lnTo>
                    <a:pt x="15788" y="2776"/>
                  </a:lnTo>
                  <a:lnTo>
                    <a:pt x="15711" y="2601"/>
                  </a:lnTo>
                  <a:lnTo>
                    <a:pt x="15625" y="2428"/>
                  </a:lnTo>
                  <a:lnTo>
                    <a:pt x="15531" y="2257"/>
                  </a:lnTo>
                  <a:lnTo>
                    <a:pt x="15428" y="2089"/>
                  </a:lnTo>
                  <a:lnTo>
                    <a:pt x="15316" y="1923"/>
                  </a:lnTo>
                  <a:lnTo>
                    <a:pt x="15196" y="1760"/>
                  </a:lnTo>
                  <a:lnTo>
                    <a:pt x="15067" y="1602"/>
                  </a:lnTo>
                  <a:lnTo>
                    <a:pt x="14930" y="1446"/>
                  </a:lnTo>
                  <a:lnTo>
                    <a:pt x="14785" y="129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71" name="iṣľiḑe">
              <a:extLst>
                <a:ext uri="{FF2B5EF4-FFF2-40B4-BE49-F238E27FC236}">
                  <a16:creationId xmlns:a16="http://schemas.microsoft.com/office/drawing/2014/main" id="{5433022D-57A7-4AFE-B4FA-119AC6DC0D08}"/>
                </a:ext>
              </a:extLst>
            </p:cNvPr>
            <p:cNvSpPr/>
            <p:nvPr/>
          </p:nvSpPr>
          <p:spPr bwMode="auto">
            <a:xfrm>
              <a:off x="10378754" y="73939"/>
              <a:ext cx="265011" cy="190515"/>
            </a:xfrm>
            <a:custGeom>
              <a:avLst/>
              <a:gdLst>
                <a:gd name="T0" fmla="*/ 2486 w 16058"/>
                <a:gd name="T1" fmla="*/ 10403 h 11544"/>
                <a:gd name="T2" fmla="*/ 1591 w 16058"/>
                <a:gd name="T3" fmla="*/ 9798 h 11544"/>
                <a:gd name="T4" fmla="*/ 1075 w 16058"/>
                <a:gd name="T5" fmla="*/ 8845 h 11544"/>
                <a:gd name="T6" fmla="*/ 1034 w 16058"/>
                <a:gd name="T7" fmla="*/ 7911 h 11544"/>
                <a:gd name="T8" fmla="*/ 1269 w 16058"/>
                <a:gd name="T9" fmla="*/ 7227 h 11544"/>
                <a:gd name="T10" fmla="*/ 1712 w 16058"/>
                <a:gd name="T11" fmla="*/ 6654 h 11544"/>
                <a:gd name="T12" fmla="*/ 2311 w 16058"/>
                <a:gd name="T13" fmla="*/ 6236 h 11544"/>
                <a:gd name="T14" fmla="*/ 2677 w 16058"/>
                <a:gd name="T15" fmla="*/ 5951 h 11544"/>
                <a:gd name="T16" fmla="*/ 2739 w 16058"/>
                <a:gd name="T17" fmla="*/ 5626 h 11544"/>
                <a:gd name="T18" fmla="*/ 2564 w 16058"/>
                <a:gd name="T19" fmla="*/ 5102 h 11544"/>
                <a:gd name="T20" fmla="*/ 2509 w 16058"/>
                <a:gd name="T21" fmla="*/ 4790 h 11544"/>
                <a:gd name="T22" fmla="*/ 2634 w 16058"/>
                <a:gd name="T23" fmla="*/ 4225 h 11544"/>
                <a:gd name="T24" fmla="*/ 3014 w 16058"/>
                <a:gd name="T25" fmla="*/ 3763 h 11544"/>
                <a:gd name="T26" fmla="*/ 3573 w 16058"/>
                <a:gd name="T27" fmla="*/ 3528 h 11544"/>
                <a:gd name="T28" fmla="*/ 4022 w 16058"/>
                <a:gd name="T29" fmla="*/ 3524 h 11544"/>
                <a:gd name="T30" fmla="*/ 4410 w 16058"/>
                <a:gd name="T31" fmla="*/ 3616 h 11544"/>
                <a:gd name="T32" fmla="*/ 4822 w 16058"/>
                <a:gd name="T33" fmla="*/ 3718 h 11544"/>
                <a:gd name="T34" fmla="*/ 5077 w 16058"/>
                <a:gd name="T35" fmla="*/ 3578 h 11544"/>
                <a:gd name="T36" fmla="*/ 5304 w 16058"/>
                <a:gd name="T37" fmla="*/ 3154 h 11544"/>
                <a:gd name="T38" fmla="*/ 5986 w 16058"/>
                <a:gd name="T39" fmla="*/ 2112 h 11544"/>
                <a:gd name="T40" fmla="*/ 6970 w 16058"/>
                <a:gd name="T41" fmla="*/ 1377 h 11544"/>
                <a:gd name="T42" fmla="*/ 8153 w 16058"/>
                <a:gd name="T43" fmla="*/ 1025 h 11544"/>
                <a:gd name="T44" fmla="*/ 9661 w 16058"/>
                <a:gd name="T45" fmla="*/ 1190 h 11544"/>
                <a:gd name="T46" fmla="*/ 10994 w 16058"/>
                <a:gd name="T47" fmla="*/ 2023 h 11544"/>
                <a:gd name="T48" fmla="*/ 11831 w 16058"/>
                <a:gd name="T49" fmla="*/ 3370 h 11544"/>
                <a:gd name="T50" fmla="*/ 12046 w 16058"/>
                <a:gd name="T51" fmla="*/ 4561 h 11544"/>
                <a:gd name="T52" fmla="*/ 12173 w 16058"/>
                <a:gd name="T53" fmla="*/ 4853 h 11544"/>
                <a:gd name="T54" fmla="*/ 12517 w 16058"/>
                <a:gd name="T55" fmla="*/ 5002 h 11544"/>
                <a:gd name="T56" fmla="*/ 13610 w 16058"/>
                <a:gd name="T57" fmla="*/ 5356 h 11544"/>
                <a:gd name="T58" fmla="*/ 14494 w 16058"/>
                <a:gd name="T59" fmla="*/ 6116 h 11544"/>
                <a:gd name="T60" fmla="*/ 14988 w 16058"/>
                <a:gd name="T61" fmla="*/ 7177 h 11544"/>
                <a:gd name="T62" fmla="*/ 14968 w 16058"/>
                <a:gd name="T63" fmla="*/ 8469 h 11544"/>
                <a:gd name="T64" fmla="*/ 14337 w 16058"/>
                <a:gd name="T65" fmla="*/ 9634 h 11544"/>
                <a:gd name="T66" fmla="*/ 13243 w 16058"/>
                <a:gd name="T67" fmla="*/ 10372 h 11544"/>
                <a:gd name="T68" fmla="*/ 12944 w 16058"/>
                <a:gd name="T69" fmla="*/ 3664 h 11544"/>
                <a:gd name="T70" fmla="*/ 12111 w 16058"/>
                <a:gd name="T71" fmla="*/ 1788 h 11544"/>
                <a:gd name="T72" fmla="*/ 10564 w 16058"/>
                <a:gd name="T73" fmla="*/ 487 h 11544"/>
                <a:gd name="T74" fmla="*/ 8531 w 16058"/>
                <a:gd name="T75" fmla="*/ 0 h 11544"/>
                <a:gd name="T76" fmla="*/ 6922 w 16058"/>
                <a:gd name="T77" fmla="*/ 297 h 11544"/>
                <a:gd name="T78" fmla="*/ 5572 w 16058"/>
                <a:gd name="T79" fmla="*/ 1115 h 11544"/>
                <a:gd name="T80" fmla="*/ 4587 w 16058"/>
                <a:gd name="T81" fmla="*/ 2341 h 11544"/>
                <a:gd name="T82" fmla="*/ 4112 w 16058"/>
                <a:gd name="T83" fmla="*/ 2541 h 11544"/>
                <a:gd name="T84" fmla="*/ 3533 w 16058"/>
                <a:gd name="T85" fmla="*/ 2521 h 11544"/>
                <a:gd name="T86" fmla="*/ 2501 w 16058"/>
                <a:gd name="T87" fmla="*/ 2896 h 11544"/>
                <a:gd name="T88" fmla="*/ 1778 w 16058"/>
                <a:gd name="T89" fmla="*/ 3692 h 11544"/>
                <a:gd name="T90" fmla="*/ 1505 w 16058"/>
                <a:gd name="T91" fmla="*/ 4768 h 11544"/>
                <a:gd name="T92" fmla="*/ 1558 w 16058"/>
                <a:gd name="T93" fmla="*/ 5217 h 11544"/>
                <a:gd name="T94" fmla="*/ 1281 w 16058"/>
                <a:gd name="T95" fmla="*/ 5706 h 11544"/>
                <a:gd name="T96" fmla="*/ 564 w 16058"/>
                <a:gd name="T97" fmla="*/ 6461 h 11544"/>
                <a:gd name="T98" fmla="*/ 118 w 16058"/>
                <a:gd name="T99" fmla="*/ 7414 h 11544"/>
                <a:gd name="T100" fmla="*/ 17 w 16058"/>
                <a:gd name="T101" fmla="*/ 8615 h 11544"/>
                <a:gd name="T102" fmla="*/ 557 w 16058"/>
                <a:gd name="T103" fmla="*/ 10106 h 11544"/>
                <a:gd name="T104" fmla="*/ 1707 w 16058"/>
                <a:gd name="T105" fmla="*/ 11150 h 11544"/>
                <a:gd name="T106" fmla="*/ 3262 w 16058"/>
                <a:gd name="T107" fmla="*/ 11543 h 11544"/>
                <a:gd name="T108" fmla="*/ 13589 w 16058"/>
                <a:gd name="T109" fmla="*/ 11315 h 11544"/>
                <a:gd name="T110" fmla="*/ 15080 w 16058"/>
                <a:gd name="T111" fmla="*/ 10310 h 11544"/>
                <a:gd name="T112" fmla="*/ 15940 w 16058"/>
                <a:gd name="T113" fmla="*/ 8720 h 11544"/>
                <a:gd name="T114" fmla="*/ 15965 w 16058"/>
                <a:gd name="T115" fmla="*/ 6945 h 11544"/>
                <a:gd name="T116" fmla="*/ 15283 w 16058"/>
                <a:gd name="T117" fmla="*/ 5493 h 11544"/>
                <a:gd name="T118" fmla="*/ 14075 w 16058"/>
                <a:gd name="T119" fmla="*/ 4467 h 11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058" h="11544">
                  <a:moveTo>
                    <a:pt x="12294" y="10539"/>
                  </a:moveTo>
                  <a:lnTo>
                    <a:pt x="12294" y="10540"/>
                  </a:lnTo>
                  <a:lnTo>
                    <a:pt x="3262" y="10540"/>
                  </a:lnTo>
                  <a:lnTo>
                    <a:pt x="3145" y="10537"/>
                  </a:lnTo>
                  <a:lnTo>
                    <a:pt x="3031" y="10528"/>
                  </a:lnTo>
                  <a:lnTo>
                    <a:pt x="2919" y="10514"/>
                  </a:lnTo>
                  <a:lnTo>
                    <a:pt x="2807" y="10494"/>
                  </a:lnTo>
                  <a:lnTo>
                    <a:pt x="2698" y="10469"/>
                  </a:lnTo>
                  <a:lnTo>
                    <a:pt x="2591" y="10438"/>
                  </a:lnTo>
                  <a:lnTo>
                    <a:pt x="2486" y="10403"/>
                  </a:lnTo>
                  <a:lnTo>
                    <a:pt x="2384" y="10363"/>
                  </a:lnTo>
                  <a:lnTo>
                    <a:pt x="2284" y="10316"/>
                  </a:lnTo>
                  <a:lnTo>
                    <a:pt x="2187" y="10267"/>
                  </a:lnTo>
                  <a:lnTo>
                    <a:pt x="2092" y="10212"/>
                  </a:lnTo>
                  <a:lnTo>
                    <a:pt x="2000" y="10154"/>
                  </a:lnTo>
                  <a:lnTo>
                    <a:pt x="1912" y="10091"/>
                  </a:lnTo>
                  <a:lnTo>
                    <a:pt x="1827" y="10023"/>
                  </a:lnTo>
                  <a:lnTo>
                    <a:pt x="1744" y="9952"/>
                  </a:lnTo>
                  <a:lnTo>
                    <a:pt x="1666" y="9878"/>
                  </a:lnTo>
                  <a:lnTo>
                    <a:pt x="1591" y="9798"/>
                  </a:lnTo>
                  <a:lnTo>
                    <a:pt x="1520" y="9717"/>
                  </a:lnTo>
                  <a:lnTo>
                    <a:pt x="1453" y="9632"/>
                  </a:lnTo>
                  <a:lnTo>
                    <a:pt x="1390" y="9543"/>
                  </a:lnTo>
                  <a:lnTo>
                    <a:pt x="1331" y="9451"/>
                  </a:lnTo>
                  <a:lnTo>
                    <a:pt x="1277" y="9357"/>
                  </a:lnTo>
                  <a:lnTo>
                    <a:pt x="1226" y="9259"/>
                  </a:lnTo>
                  <a:lnTo>
                    <a:pt x="1181" y="9159"/>
                  </a:lnTo>
                  <a:lnTo>
                    <a:pt x="1141" y="9057"/>
                  </a:lnTo>
                  <a:lnTo>
                    <a:pt x="1105" y="8952"/>
                  </a:lnTo>
                  <a:lnTo>
                    <a:pt x="1075" y="8845"/>
                  </a:lnTo>
                  <a:lnTo>
                    <a:pt x="1050" y="8736"/>
                  </a:lnTo>
                  <a:lnTo>
                    <a:pt x="1030" y="8624"/>
                  </a:lnTo>
                  <a:lnTo>
                    <a:pt x="1016" y="8512"/>
                  </a:lnTo>
                  <a:lnTo>
                    <a:pt x="1007" y="8397"/>
                  </a:lnTo>
                  <a:lnTo>
                    <a:pt x="1004" y="8281"/>
                  </a:lnTo>
                  <a:lnTo>
                    <a:pt x="1005" y="8207"/>
                  </a:lnTo>
                  <a:lnTo>
                    <a:pt x="1009" y="8131"/>
                  </a:lnTo>
                  <a:lnTo>
                    <a:pt x="1015" y="8057"/>
                  </a:lnTo>
                  <a:lnTo>
                    <a:pt x="1024" y="7984"/>
                  </a:lnTo>
                  <a:lnTo>
                    <a:pt x="1034" y="7911"/>
                  </a:lnTo>
                  <a:lnTo>
                    <a:pt x="1048" y="7839"/>
                  </a:lnTo>
                  <a:lnTo>
                    <a:pt x="1063" y="7768"/>
                  </a:lnTo>
                  <a:lnTo>
                    <a:pt x="1081" y="7697"/>
                  </a:lnTo>
                  <a:lnTo>
                    <a:pt x="1101" y="7627"/>
                  </a:lnTo>
                  <a:lnTo>
                    <a:pt x="1123" y="7558"/>
                  </a:lnTo>
                  <a:lnTo>
                    <a:pt x="1148" y="7490"/>
                  </a:lnTo>
                  <a:lnTo>
                    <a:pt x="1175" y="7423"/>
                  </a:lnTo>
                  <a:lnTo>
                    <a:pt x="1203" y="7356"/>
                  </a:lnTo>
                  <a:lnTo>
                    <a:pt x="1235" y="7291"/>
                  </a:lnTo>
                  <a:lnTo>
                    <a:pt x="1269" y="7227"/>
                  </a:lnTo>
                  <a:lnTo>
                    <a:pt x="1304" y="7165"/>
                  </a:lnTo>
                  <a:lnTo>
                    <a:pt x="1341" y="7102"/>
                  </a:lnTo>
                  <a:lnTo>
                    <a:pt x="1381" y="7041"/>
                  </a:lnTo>
                  <a:lnTo>
                    <a:pt x="1422" y="6982"/>
                  </a:lnTo>
                  <a:lnTo>
                    <a:pt x="1465" y="6924"/>
                  </a:lnTo>
                  <a:lnTo>
                    <a:pt x="1511" y="6867"/>
                  </a:lnTo>
                  <a:lnTo>
                    <a:pt x="1559" y="6811"/>
                  </a:lnTo>
                  <a:lnTo>
                    <a:pt x="1608" y="6757"/>
                  </a:lnTo>
                  <a:lnTo>
                    <a:pt x="1659" y="6705"/>
                  </a:lnTo>
                  <a:lnTo>
                    <a:pt x="1712" y="6654"/>
                  </a:lnTo>
                  <a:lnTo>
                    <a:pt x="1767" y="6604"/>
                  </a:lnTo>
                  <a:lnTo>
                    <a:pt x="1825" y="6555"/>
                  </a:lnTo>
                  <a:lnTo>
                    <a:pt x="1883" y="6509"/>
                  </a:lnTo>
                  <a:lnTo>
                    <a:pt x="1943" y="6464"/>
                  </a:lnTo>
                  <a:lnTo>
                    <a:pt x="2005" y="6421"/>
                  </a:lnTo>
                  <a:lnTo>
                    <a:pt x="2069" y="6380"/>
                  </a:lnTo>
                  <a:lnTo>
                    <a:pt x="2135" y="6341"/>
                  </a:lnTo>
                  <a:lnTo>
                    <a:pt x="2198" y="6304"/>
                  </a:lnTo>
                  <a:lnTo>
                    <a:pt x="2256" y="6269"/>
                  </a:lnTo>
                  <a:lnTo>
                    <a:pt x="2311" y="6236"/>
                  </a:lnTo>
                  <a:lnTo>
                    <a:pt x="2364" y="6205"/>
                  </a:lnTo>
                  <a:lnTo>
                    <a:pt x="2412" y="6174"/>
                  </a:lnTo>
                  <a:lnTo>
                    <a:pt x="2456" y="6145"/>
                  </a:lnTo>
                  <a:lnTo>
                    <a:pt x="2498" y="6116"/>
                  </a:lnTo>
                  <a:lnTo>
                    <a:pt x="2535" y="6088"/>
                  </a:lnTo>
                  <a:lnTo>
                    <a:pt x="2570" y="6061"/>
                  </a:lnTo>
                  <a:lnTo>
                    <a:pt x="2601" y="6033"/>
                  </a:lnTo>
                  <a:lnTo>
                    <a:pt x="2629" y="6006"/>
                  </a:lnTo>
                  <a:lnTo>
                    <a:pt x="2655" y="5979"/>
                  </a:lnTo>
                  <a:lnTo>
                    <a:pt x="2677" y="5951"/>
                  </a:lnTo>
                  <a:lnTo>
                    <a:pt x="2696" y="5923"/>
                  </a:lnTo>
                  <a:lnTo>
                    <a:pt x="2712" y="5895"/>
                  </a:lnTo>
                  <a:lnTo>
                    <a:pt x="2725" y="5866"/>
                  </a:lnTo>
                  <a:lnTo>
                    <a:pt x="2735" y="5836"/>
                  </a:lnTo>
                  <a:lnTo>
                    <a:pt x="2742" y="5805"/>
                  </a:lnTo>
                  <a:lnTo>
                    <a:pt x="2747" y="5773"/>
                  </a:lnTo>
                  <a:lnTo>
                    <a:pt x="2748" y="5738"/>
                  </a:lnTo>
                  <a:lnTo>
                    <a:pt x="2748" y="5703"/>
                  </a:lnTo>
                  <a:lnTo>
                    <a:pt x="2744" y="5665"/>
                  </a:lnTo>
                  <a:lnTo>
                    <a:pt x="2739" y="5626"/>
                  </a:lnTo>
                  <a:lnTo>
                    <a:pt x="2730" y="5585"/>
                  </a:lnTo>
                  <a:lnTo>
                    <a:pt x="2720" y="5542"/>
                  </a:lnTo>
                  <a:lnTo>
                    <a:pt x="2707" y="5495"/>
                  </a:lnTo>
                  <a:lnTo>
                    <a:pt x="2691" y="5446"/>
                  </a:lnTo>
                  <a:lnTo>
                    <a:pt x="2674" y="5395"/>
                  </a:lnTo>
                  <a:lnTo>
                    <a:pt x="2654" y="5340"/>
                  </a:lnTo>
                  <a:lnTo>
                    <a:pt x="2632" y="5282"/>
                  </a:lnTo>
                  <a:lnTo>
                    <a:pt x="2607" y="5220"/>
                  </a:lnTo>
                  <a:lnTo>
                    <a:pt x="2581" y="5156"/>
                  </a:lnTo>
                  <a:lnTo>
                    <a:pt x="2564" y="5102"/>
                  </a:lnTo>
                  <a:lnTo>
                    <a:pt x="2549" y="5050"/>
                  </a:lnTo>
                  <a:lnTo>
                    <a:pt x="2537" y="5000"/>
                  </a:lnTo>
                  <a:lnTo>
                    <a:pt x="2527" y="4950"/>
                  </a:lnTo>
                  <a:lnTo>
                    <a:pt x="2523" y="4926"/>
                  </a:lnTo>
                  <a:lnTo>
                    <a:pt x="2519" y="4903"/>
                  </a:lnTo>
                  <a:lnTo>
                    <a:pt x="2516" y="4880"/>
                  </a:lnTo>
                  <a:lnTo>
                    <a:pt x="2514" y="4857"/>
                  </a:lnTo>
                  <a:lnTo>
                    <a:pt x="2512" y="4834"/>
                  </a:lnTo>
                  <a:lnTo>
                    <a:pt x="2510" y="4812"/>
                  </a:lnTo>
                  <a:lnTo>
                    <a:pt x="2509" y="4790"/>
                  </a:lnTo>
                  <a:lnTo>
                    <a:pt x="2509" y="4768"/>
                  </a:lnTo>
                  <a:lnTo>
                    <a:pt x="2511" y="4704"/>
                  </a:lnTo>
                  <a:lnTo>
                    <a:pt x="2516" y="4640"/>
                  </a:lnTo>
                  <a:lnTo>
                    <a:pt x="2524" y="4577"/>
                  </a:lnTo>
                  <a:lnTo>
                    <a:pt x="2535" y="4516"/>
                  </a:lnTo>
                  <a:lnTo>
                    <a:pt x="2549" y="4455"/>
                  </a:lnTo>
                  <a:lnTo>
                    <a:pt x="2565" y="4395"/>
                  </a:lnTo>
                  <a:lnTo>
                    <a:pt x="2585" y="4337"/>
                  </a:lnTo>
                  <a:lnTo>
                    <a:pt x="2608" y="4280"/>
                  </a:lnTo>
                  <a:lnTo>
                    <a:pt x="2634" y="4225"/>
                  </a:lnTo>
                  <a:lnTo>
                    <a:pt x="2661" y="4171"/>
                  </a:lnTo>
                  <a:lnTo>
                    <a:pt x="2691" y="4118"/>
                  </a:lnTo>
                  <a:lnTo>
                    <a:pt x="2724" y="4067"/>
                  </a:lnTo>
                  <a:lnTo>
                    <a:pt x="2759" y="4018"/>
                  </a:lnTo>
                  <a:lnTo>
                    <a:pt x="2796" y="3971"/>
                  </a:lnTo>
                  <a:lnTo>
                    <a:pt x="2835" y="3925"/>
                  </a:lnTo>
                  <a:lnTo>
                    <a:pt x="2877" y="3881"/>
                  </a:lnTo>
                  <a:lnTo>
                    <a:pt x="2921" y="3839"/>
                  </a:lnTo>
                  <a:lnTo>
                    <a:pt x="2966" y="3800"/>
                  </a:lnTo>
                  <a:lnTo>
                    <a:pt x="3014" y="3763"/>
                  </a:lnTo>
                  <a:lnTo>
                    <a:pt x="3063" y="3728"/>
                  </a:lnTo>
                  <a:lnTo>
                    <a:pt x="3113" y="3696"/>
                  </a:lnTo>
                  <a:lnTo>
                    <a:pt x="3166" y="3665"/>
                  </a:lnTo>
                  <a:lnTo>
                    <a:pt x="3221" y="3638"/>
                  </a:lnTo>
                  <a:lnTo>
                    <a:pt x="3276" y="3612"/>
                  </a:lnTo>
                  <a:lnTo>
                    <a:pt x="3333" y="3589"/>
                  </a:lnTo>
                  <a:lnTo>
                    <a:pt x="3391" y="3570"/>
                  </a:lnTo>
                  <a:lnTo>
                    <a:pt x="3450" y="3553"/>
                  </a:lnTo>
                  <a:lnTo>
                    <a:pt x="3512" y="3539"/>
                  </a:lnTo>
                  <a:lnTo>
                    <a:pt x="3573" y="3528"/>
                  </a:lnTo>
                  <a:lnTo>
                    <a:pt x="3636" y="3520"/>
                  </a:lnTo>
                  <a:lnTo>
                    <a:pt x="3699" y="3515"/>
                  </a:lnTo>
                  <a:lnTo>
                    <a:pt x="3764" y="3513"/>
                  </a:lnTo>
                  <a:lnTo>
                    <a:pt x="3779" y="3513"/>
                  </a:lnTo>
                  <a:lnTo>
                    <a:pt x="3821" y="3512"/>
                  </a:lnTo>
                  <a:lnTo>
                    <a:pt x="3851" y="3512"/>
                  </a:lnTo>
                  <a:lnTo>
                    <a:pt x="3886" y="3513"/>
                  </a:lnTo>
                  <a:lnTo>
                    <a:pt x="3927" y="3515"/>
                  </a:lnTo>
                  <a:lnTo>
                    <a:pt x="3972" y="3519"/>
                  </a:lnTo>
                  <a:lnTo>
                    <a:pt x="4022" y="3524"/>
                  </a:lnTo>
                  <a:lnTo>
                    <a:pt x="4074" y="3531"/>
                  </a:lnTo>
                  <a:lnTo>
                    <a:pt x="4130" y="3540"/>
                  </a:lnTo>
                  <a:lnTo>
                    <a:pt x="4189" y="3552"/>
                  </a:lnTo>
                  <a:lnTo>
                    <a:pt x="4219" y="3559"/>
                  </a:lnTo>
                  <a:lnTo>
                    <a:pt x="4250" y="3566"/>
                  </a:lnTo>
                  <a:lnTo>
                    <a:pt x="4281" y="3575"/>
                  </a:lnTo>
                  <a:lnTo>
                    <a:pt x="4314" y="3584"/>
                  </a:lnTo>
                  <a:lnTo>
                    <a:pt x="4345" y="3594"/>
                  </a:lnTo>
                  <a:lnTo>
                    <a:pt x="4378" y="3604"/>
                  </a:lnTo>
                  <a:lnTo>
                    <a:pt x="4410" y="3616"/>
                  </a:lnTo>
                  <a:lnTo>
                    <a:pt x="4443" y="3629"/>
                  </a:lnTo>
                  <a:lnTo>
                    <a:pt x="4495" y="3649"/>
                  </a:lnTo>
                  <a:lnTo>
                    <a:pt x="4544" y="3667"/>
                  </a:lnTo>
                  <a:lnTo>
                    <a:pt x="4592" y="3682"/>
                  </a:lnTo>
                  <a:lnTo>
                    <a:pt x="4636" y="3694"/>
                  </a:lnTo>
                  <a:lnTo>
                    <a:pt x="4678" y="3704"/>
                  </a:lnTo>
                  <a:lnTo>
                    <a:pt x="4717" y="3711"/>
                  </a:lnTo>
                  <a:lnTo>
                    <a:pt x="4754" y="3716"/>
                  </a:lnTo>
                  <a:lnTo>
                    <a:pt x="4789" y="3718"/>
                  </a:lnTo>
                  <a:lnTo>
                    <a:pt x="4822" y="3718"/>
                  </a:lnTo>
                  <a:lnTo>
                    <a:pt x="4855" y="3715"/>
                  </a:lnTo>
                  <a:lnTo>
                    <a:pt x="4884" y="3710"/>
                  </a:lnTo>
                  <a:lnTo>
                    <a:pt x="4912" y="3702"/>
                  </a:lnTo>
                  <a:lnTo>
                    <a:pt x="4939" y="3692"/>
                  </a:lnTo>
                  <a:lnTo>
                    <a:pt x="4964" y="3679"/>
                  </a:lnTo>
                  <a:lnTo>
                    <a:pt x="4989" y="3664"/>
                  </a:lnTo>
                  <a:lnTo>
                    <a:pt x="5012" y="3646"/>
                  </a:lnTo>
                  <a:lnTo>
                    <a:pt x="5034" y="3626"/>
                  </a:lnTo>
                  <a:lnTo>
                    <a:pt x="5056" y="3603"/>
                  </a:lnTo>
                  <a:lnTo>
                    <a:pt x="5077" y="3578"/>
                  </a:lnTo>
                  <a:lnTo>
                    <a:pt x="5097" y="3551"/>
                  </a:lnTo>
                  <a:lnTo>
                    <a:pt x="5117" y="3522"/>
                  </a:lnTo>
                  <a:lnTo>
                    <a:pt x="5138" y="3490"/>
                  </a:lnTo>
                  <a:lnTo>
                    <a:pt x="5158" y="3456"/>
                  </a:lnTo>
                  <a:lnTo>
                    <a:pt x="5177" y="3420"/>
                  </a:lnTo>
                  <a:lnTo>
                    <a:pt x="5197" y="3382"/>
                  </a:lnTo>
                  <a:lnTo>
                    <a:pt x="5218" y="3340"/>
                  </a:lnTo>
                  <a:lnTo>
                    <a:pt x="5238" y="3297"/>
                  </a:lnTo>
                  <a:lnTo>
                    <a:pt x="5260" y="3251"/>
                  </a:lnTo>
                  <a:lnTo>
                    <a:pt x="5304" y="3154"/>
                  </a:lnTo>
                  <a:lnTo>
                    <a:pt x="5353" y="3047"/>
                  </a:lnTo>
                  <a:lnTo>
                    <a:pt x="5409" y="2932"/>
                  </a:lnTo>
                  <a:lnTo>
                    <a:pt x="5469" y="2820"/>
                  </a:lnTo>
                  <a:lnTo>
                    <a:pt x="5532" y="2710"/>
                  </a:lnTo>
                  <a:lnTo>
                    <a:pt x="5599" y="2603"/>
                  </a:lnTo>
                  <a:lnTo>
                    <a:pt x="5669" y="2499"/>
                  </a:lnTo>
                  <a:lnTo>
                    <a:pt x="5744" y="2398"/>
                  </a:lnTo>
                  <a:lnTo>
                    <a:pt x="5821" y="2300"/>
                  </a:lnTo>
                  <a:lnTo>
                    <a:pt x="5902" y="2204"/>
                  </a:lnTo>
                  <a:lnTo>
                    <a:pt x="5986" y="2112"/>
                  </a:lnTo>
                  <a:lnTo>
                    <a:pt x="6072" y="2024"/>
                  </a:lnTo>
                  <a:lnTo>
                    <a:pt x="6161" y="1938"/>
                  </a:lnTo>
                  <a:lnTo>
                    <a:pt x="6255" y="1856"/>
                  </a:lnTo>
                  <a:lnTo>
                    <a:pt x="6349" y="1777"/>
                  </a:lnTo>
                  <a:lnTo>
                    <a:pt x="6447" y="1701"/>
                  </a:lnTo>
                  <a:lnTo>
                    <a:pt x="6547" y="1629"/>
                  </a:lnTo>
                  <a:lnTo>
                    <a:pt x="6650" y="1560"/>
                  </a:lnTo>
                  <a:lnTo>
                    <a:pt x="6754" y="1496"/>
                  </a:lnTo>
                  <a:lnTo>
                    <a:pt x="6862" y="1434"/>
                  </a:lnTo>
                  <a:lnTo>
                    <a:pt x="6970" y="1377"/>
                  </a:lnTo>
                  <a:lnTo>
                    <a:pt x="7082" y="1323"/>
                  </a:lnTo>
                  <a:lnTo>
                    <a:pt x="7195" y="1274"/>
                  </a:lnTo>
                  <a:lnTo>
                    <a:pt x="7309" y="1228"/>
                  </a:lnTo>
                  <a:lnTo>
                    <a:pt x="7426" y="1186"/>
                  </a:lnTo>
                  <a:lnTo>
                    <a:pt x="7543" y="1148"/>
                  </a:lnTo>
                  <a:lnTo>
                    <a:pt x="7663" y="1115"/>
                  </a:lnTo>
                  <a:lnTo>
                    <a:pt x="7784" y="1086"/>
                  </a:lnTo>
                  <a:lnTo>
                    <a:pt x="7906" y="1061"/>
                  </a:lnTo>
                  <a:lnTo>
                    <a:pt x="8029" y="1041"/>
                  </a:lnTo>
                  <a:lnTo>
                    <a:pt x="8153" y="1025"/>
                  </a:lnTo>
                  <a:lnTo>
                    <a:pt x="8278" y="1013"/>
                  </a:lnTo>
                  <a:lnTo>
                    <a:pt x="8404" y="1007"/>
                  </a:lnTo>
                  <a:lnTo>
                    <a:pt x="8531" y="1004"/>
                  </a:lnTo>
                  <a:lnTo>
                    <a:pt x="8699" y="1008"/>
                  </a:lnTo>
                  <a:lnTo>
                    <a:pt x="8866" y="1020"/>
                  </a:lnTo>
                  <a:lnTo>
                    <a:pt x="9030" y="1039"/>
                  </a:lnTo>
                  <a:lnTo>
                    <a:pt x="9192" y="1066"/>
                  </a:lnTo>
                  <a:lnTo>
                    <a:pt x="9351" y="1100"/>
                  </a:lnTo>
                  <a:lnTo>
                    <a:pt x="9507" y="1142"/>
                  </a:lnTo>
                  <a:lnTo>
                    <a:pt x="9661" y="1190"/>
                  </a:lnTo>
                  <a:lnTo>
                    <a:pt x="9811" y="1246"/>
                  </a:lnTo>
                  <a:lnTo>
                    <a:pt x="9959" y="1308"/>
                  </a:lnTo>
                  <a:lnTo>
                    <a:pt x="10102" y="1376"/>
                  </a:lnTo>
                  <a:lnTo>
                    <a:pt x="10242" y="1451"/>
                  </a:lnTo>
                  <a:lnTo>
                    <a:pt x="10378" y="1532"/>
                  </a:lnTo>
                  <a:lnTo>
                    <a:pt x="10510" y="1619"/>
                  </a:lnTo>
                  <a:lnTo>
                    <a:pt x="10638" y="1711"/>
                  </a:lnTo>
                  <a:lnTo>
                    <a:pt x="10761" y="1810"/>
                  </a:lnTo>
                  <a:lnTo>
                    <a:pt x="10880" y="1914"/>
                  </a:lnTo>
                  <a:lnTo>
                    <a:pt x="10994" y="2023"/>
                  </a:lnTo>
                  <a:lnTo>
                    <a:pt x="11103" y="2137"/>
                  </a:lnTo>
                  <a:lnTo>
                    <a:pt x="11207" y="2256"/>
                  </a:lnTo>
                  <a:lnTo>
                    <a:pt x="11306" y="2381"/>
                  </a:lnTo>
                  <a:lnTo>
                    <a:pt x="11398" y="2509"/>
                  </a:lnTo>
                  <a:lnTo>
                    <a:pt x="11486" y="2643"/>
                  </a:lnTo>
                  <a:lnTo>
                    <a:pt x="11568" y="2780"/>
                  </a:lnTo>
                  <a:lnTo>
                    <a:pt x="11643" y="2922"/>
                  </a:lnTo>
                  <a:lnTo>
                    <a:pt x="11712" y="3067"/>
                  </a:lnTo>
                  <a:lnTo>
                    <a:pt x="11775" y="3217"/>
                  </a:lnTo>
                  <a:lnTo>
                    <a:pt x="11831" y="3370"/>
                  </a:lnTo>
                  <a:lnTo>
                    <a:pt x="11880" y="3526"/>
                  </a:lnTo>
                  <a:lnTo>
                    <a:pt x="11922" y="3686"/>
                  </a:lnTo>
                  <a:lnTo>
                    <a:pt x="11957" y="3848"/>
                  </a:lnTo>
                  <a:lnTo>
                    <a:pt x="11985" y="4014"/>
                  </a:lnTo>
                  <a:lnTo>
                    <a:pt x="12005" y="4183"/>
                  </a:lnTo>
                  <a:lnTo>
                    <a:pt x="12016" y="4309"/>
                  </a:lnTo>
                  <a:lnTo>
                    <a:pt x="12027" y="4420"/>
                  </a:lnTo>
                  <a:lnTo>
                    <a:pt x="12032" y="4471"/>
                  </a:lnTo>
                  <a:lnTo>
                    <a:pt x="12038" y="4517"/>
                  </a:lnTo>
                  <a:lnTo>
                    <a:pt x="12046" y="4561"/>
                  </a:lnTo>
                  <a:lnTo>
                    <a:pt x="12053" y="4601"/>
                  </a:lnTo>
                  <a:lnTo>
                    <a:pt x="12061" y="4638"/>
                  </a:lnTo>
                  <a:lnTo>
                    <a:pt x="12070" y="4673"/>
                  </a:lnTo>
                  <a:lnTo>
                    <a:pt x="12081" y="4706"/>
                  </a:lnTo>
                  <a:lnTo>
                    <a:pt x="12092" y="4736"/>
                  </a:lnTo>
                  <a:lnTo>
                    <a:pt x="12105" y="4763"/>
                  </a:lnTo>
                  <a:lnTo>
                    <a:pt x="12119" y="4788"/>
                  </a:lnTo>
                  <a:lnTo>
                    <a:pt x="12135" y="4812"/>
                  </a:lnTo>
                  <a:lnTo>
                    <a:pt x="12153" y="4833"/>
                  </a:lnTo>
                  <a:lnTo>
                    <a:pt x="12173" y="4853"/>
                  </a:lnTo>
                  <a:lnTo>
                    <a:pt x="12195" y="4872"/>
                  </a:lnTo>
                  <a:lnTo>
                    <a:pt x="12220" y="4889"/>
                  </a:lnTo>
                  <a:lnTo>
                    <a:pt x="12247" y="4905"/>
                  </a:lnTo>
                  <a:lnTo>
                    <a:pt x="12276" y="4920"/>
                  </a:lnTo>
                  <a:lnTo>
                    <a:pt x="12308" y="4935"/>
                  </a:lnTo>
                  <a:lnTo>
                    <a:pt x="12344" y="4949"/>
                  </a:lnTo>
                  <a:lnTo>
                    <a:pt x="12383" y="4962"/>
                  </a:lnTo>
                  <a:lnTo>
                    <a:pt x="12424" y="4976"/>
                  </a:lnTo>
                  <a:lnTo>
                    <a:pt x="12468" y="4989"/>
                  </a:lnTo>
                  <a:lnTo>
                    <a:pt x="12517" y="5002"/>
                  </a:lnTo>
                  <a:lnTo>
                    <a:pt x="12568" y="5015"/>
                  </a:lnTo>
                  <a:lnTo>
                    <a:pt x="12684" y="5043"/>
                  </a:lnTo>
                  <a:lnTo>
                    <a:pt x="12816" y="5073"/>
                  </a:lnTo>
                  <a:lnTo>
                    <a:pt x="12937" y="5099"/>
                  </a:lnTo>
                  <a:lnTo>
                    <a:pt x="13055" y="5129"/>
                  </a:lnTo>
                  <a:lnTo>
                    <a:pt x="13171" y="5165"/>
                  </a:lnTo>
                  <a:lnTo>
                    <a:pt x="13285" y="5206"/>
                  </a:lnTo>
                  <a:lnTo>
                    <a:pt x="13395" y="5252"/>
                  </a:lnTo>
                  <a:lnTo>
                    <a:pt x="13505" y="5302"/>
                  </a:lnTo>
                  <a:lnTo>
                    <a:pt x="13610" y="5356"/>
                  </a:lnTo>
                  <a:lnTo>
                    <a:pt x="13714" y="5415"/>
                  </a:lnTo>
                  <a:lnTo>
                    <a:pt x="13813" y="5477"/>
                  </a:lnTo>
                  <a:lnTo>
                    <a:pt x="13910" y="5545"/>
                  </a:lnTo>
                  <a:lnTo>
                    <a:pt x="14004" y="5615"/>
                  </a:lnTo>
                  <a:lnTo>
                    <a:pt x="14095" y="5690"/>
                  </a:lnTo>
                  <a:lnTo>
                    <a:pt x="14181" y="5768"/>
                  </a:lnTo>
                  <a:lnTo>
                    <a:pt x="14266" y="5850"/>
                  </a:lnTo>
                  <a:lnTo>
                    <a:pt x="14346" y="5935"/>
                  </a:lnTo>
                  <a:lnTo>
                    <a:pt x="14422" y="6024"/>
                  </a:lnTo>
                  <a:lnTo>
                    <a:pt x="14494" y="6116"/>
                  </a:lnTo>
                  <a:lnTo>
                    <a:pt x="14564" y="6210"/>
                  </a:lnTo>
                  <a:lnTo>
                    <a:pt x="14628" y="6307"/>
                  </a:lnTo>
                  <a:lnTo>
                    <a:pt x="14689" y="6408"/>
                  </a:lnTo>
                  <a:lnTo>
                    <a:pt x="14745" y="6511"/>
                  </a:lnTo>
                  <a:lnTo>
                    <a:pt x="14796" y="6617"/>
                  </a:lnTo>
                  <a:lnTo>
                    <a:pt x="14845" y="6724"/>
                  </a:lnTo>
                  <a:lnTo>
                    <a:pt x="14888" y="6834"/>
                  </a:lnTo>
                  <a:lnTo>
                    <a:pt x="14926" y="6947"/>
                  </a:lnTo>
                  <a:lnTo>
                    <a:pt x="14959" y="7060"/>
                  </a:lnTo>
                  <a:lnTo>
                    <a:pt x="14988" y="7177"/>
                  </a:lnTo>
                  <a:lnTo>
                    <a:pt x="15012" y="7294"/>
                  </a:lnTo>
                  <a:lnTo>
                    <a:pt x="15030" y="7414"/>
                  </a:lnTo>
                  <a:lnTo>
                    <a:pt x="15044" y="7534"/>
                  </a:lnTo>
                  <a:lnTo>
                    <a:pt x="15052" y="7656"/>
                  </a:lnTo>
                  <a:lnTo>
                    <a:pt x="15055" y="7779"/>
                  </a:lnTo>
                  <a:lnTo>
                    <a:pt x="15051" y="7922"/>
                  </a:lnTo>
                  <a:lnTo>
                    <a:pt x="15040" y="8061"/>
                  </a:lnTo>
                  <a:lnTo>
                    <a:pt x="15023" y="8199"/>
                  </a:lnTo>
                  <a:lnTo>
                    <a:pt x="14999" y="8335"/>
                  </a:lnTo>
                  <a:lnTo>
                    <a:pt x="14968" y="8469"/>
                  </a:lnTo>
                  <a:lnTo>
                    <a:pt x="14931" y="8599"/>
                  </a:lnTo>
                  <a:lnTo>
                    <a:pt x="14887" y="8728"/>
                  </a:lnTo>
                  <a:lnTo>
                    <a:pt x="14838" y="8853"/>
                  </a:lnTo>
                  <a:lnTo>
                    <a:pt x="14782" y="8975"/>
                  </a:lnTo>
                  <a:lnTo>
                    <a:pt x="14721" y="9094"/>
                  </a:lnTo>
                  <a:lnTo>
                    <a:pt x="14655" y="9209"/>
                  </a:lnTo>
                  <a:lnTo>
                    <a:pt x="14583" y="9322"/>
                  </a:lnTo>
                  <a:lnTo>
                    <a:pt x="14505" y="9430"/>
                  </a:lnTo>
                  <a:lnTo>
                    <a:pt x="14424" y="9535"/>
                  </a:lnTo>
                  <a:lnTo>
                    <a:pt x="14337" y="9634"/>
                  </a:lnTo>
                  <a:lnTo>
                    <a:pt x="14245" y="9730"/>
                  </a:lnTo>
                  <a:lnTo>
                    <a:pt x="14150" y="9822"/>
                  </a:lnTo>
                  <a:lnTo>
                    <a:pt x="14050" y="9909"/>
                  </a:lnTo>
                  <a:lnTo>
                    <a:pt x="13945" y="9990"/>
                  </a:lnTo>
                  <a:lnTo>
                    <a:pt x="13837" y="10068"/>
                  </a:lnTo>
                  <a:lnTo>
                    <a:pt x="13725" y="10140"/>
                  </a:lnTo>
                  <a:lnTo>
                    <a:pt x="13609" y="10206"/>
                  </a:lnTo>
                  <a:lnTo>
                    <a:pt x="13491" y="10267"/>
                  </a:lnTo>
                  <a:lnTo>
                    <a:pt x="13368" y="10322"/>
                  </a:lnTo>
                  <a:lnTo>
                    <a:pt x="13243" y="10372"/>
                  </a:lnTo>
                  <a:lnTo>
                    <a:pt x="13114" y="10416"/>
                  </a:lnTo>
                  <a:lnTo>
                    <a:pt x="12984" y="10453"/>
                  </a:lnTo>
                  <a:lnTo>
                    <a:pt x="12850" y="10484"/>
                  </a:lnTo>
                  <a:lnTo>
                    <a:pt x="12715" y="10508"/>
                  </a:lnTo>
                  <a:lnTo>
                    <a:pt x="12576" y="10525"/>
                  </a:lnTo>
                  <a:lnTo>
                    <a:pt x="12437" y="10536"/>
                  </a:lnTo>
                  <a:lnTo>
                    <a:pt x="12294" y="10539"/>
                  </a:lnTo>
                  <a:close/>
                  <a:moveTo>
                    <a:pt x="13004" y="4087"/>
                  </a:moveTo>
                  <a:lnTo>
                    <a:pt x="12979" y="3874"/>
                  </a:lnTo>
                  <a:lnTo>
                    <a:pt x="12944" y="3664"/>
                  </a:lnTo>
                  <a:lnTo>
                    <a:pt x="12899" y="3457"/>
                  </a:lnTo>
                  <a:lnTo>
                    <a:pt x="12845" y="3254"/>
                  </a:lnTo>
                  <a:lnTo>
                    <a:pt x="12782" y="3054"/>
                  </a:lnTo>
                  <a:lnTo>
                    <a:pt x="12711" y="2860"/>
                  </a:lnTo>
                  <a:lnTo>
                    <a:pt x="12631" y="2669"/>
                  </a:lnTo>
                  <a:lnTo>
                    <a:pt x="12542" y="2482"/>
                  </a:lnTo>
                  <a:lnTo>
                    <a:pt x="12446" y="2301"/>
                  </a:lnTo>
                  <a:lnTo>
                    <a:pt x="12343" y="2124"/>
                  </a:lnTo>
                  <a:lnTo>
                    <a:pt x="12230" y="1953"/>
                  </a:lnTo>
                  <a:lnTo>
                    <a:pt x="12111" y="1788"/>
                  </a:lnTo>
                  <a:lnTo>
                    <a:pt x="11985" y="1628"/>
                  </a:lnTo>
                  <a:lnTo>
                    <a:pt x="11852" y="1473"/>
                  </a:lnTo>
                  <a:lnTo>
                    <a:pt x="11711" y="1326"/>
                  </a:lnTo>
                  <a:lnTo>
                    <a:pt x="11566" y="1184"/>
                  </a:lnTo>
                  <a:lnTo>
                    <a:pt x="11413" y="1050"/>
                  </a:lnTo>
                  <a:lnTo>
                    <a:pt x="11254" y="922"/>
                  </a:lnTo>
                  <a:lnTo>
                    <a:pt x="11090" y="802"/>
                  </a:lnTo>
                  <a:lnTo>
                    <a:pt x="10919" y="690"/>
                  </a:lnTo>
                  <a:lnTo>
                    <a:pt x="10745" y="584"/>
                  </a:lnTo>
                  <a:lnTo>
                    <a:pt x="10564" y="487"/>
                  </a:lnTo>
                  <a:lnTo>
                    <a:pt x="10378" y="397"/>
                  </a:lnTo>
                  <a:lnTo>
                    <a:pt x="10189" y="316"/>
                  </a:lnTo>
                  <a:lnTo>
                    <a:pt x="9995" y="244"/>
                  </a:lnTo>
                  <a:lnTo>
                    <a:pt x="9796" y="181"/>
                  </a:lnTo>
                  <a:lnTo>
                    <a:pt x="9594" y="126"/>
                  </a:lnTo>
                  <a:lnTo>
                    <a:pt x="9388" y="81"/>
                  </a:lnTo>
                  <a:lnTo>
                    <a:pt x="9178" y="46"/>
                  </a:lnTo>
                  <a:lnTo>
                    <a:pt x="8965" y="21"/>
                  </a:lnTo>
                  <a:lnTo>
                    <a:pt x="8750" y="5"/>
                  </a:lnTo>
                  <a:lnTo>
                    <a:pt x="8531" y="0"/>
                  </a:lnTo>
                  <a:lnTo>
                    <a:pt x="8361" y="3"/>
                  </a:lnTo>
                  <a:lnTo>
                    <a:pt x="8194" y="12"/>
                  </a:lnTo>
                  <a:lnTo>
                    <a:pt x="8027" y="28"/>
                  </a:lnTo>
                  <a:lnTo>
                    <a:pt x="7863" y="49"/>
                  </a:lnTo>
                  <a:lnTo>
                    <a:pt x="7701" y="76"/>
                  </a:lnTo>
                  <a:lnTo>
                    <a:pt x="7540" y="109"/>
                  </a:lnTo>
                  <a:lnTo>
                    <a:pt x="7383" y="149"/>
                  </a:lnTo>
                  <a:lnTo>
                    <a:pt x="7227" y="193"/>
                  </a:lnTo>
                  <a:lnTo>
                    <a:pt x="7074" y="242"/>
                  </a:lnTo>
                  <a:lnTo>
                    <a:pt x="6922" y="297"/>
                  </a:lnTo>
                  <a:lnTo>
                    <a:pt x="6773" y="357"/>
                  </a:lnTo>
                  <a:lnTo>
                    <a:pt x="6628" y="423"/>
                  </a:lnTo>
                  <a:lnTo>
                    <a:pt x="6485" y="493"/>
                  </a:lnTo>
                  <a:lnTo>
                    <a:pt x="6345" y="568"/>
                  </a:lnTo>
                  <a:lnTo>
                    <a:pt x="6208" y="648"/>
                  </a:lnTo>
                  <a:lnTo>
                    <a:pt x="6075" y="733"/>
                  </a:lnTo>
                  <a:lnTo>
                    <a:pt x="5943" y="821"/>
                  </a:lnTo>
                  <a:lnTo>
                    <a:pt x="5817" y="915"/>
                  </a:lnTo>
                  <a:lnTo>
                    <a:pt x="5693" y="1013"/>
                  </a:lnTo>
                  <a:lnTo>
                    <a:pt x="5572" y="1115"/>
                  </a:lnTo>
                  <a:lnTo>
                    <a:pt x="5456" y="1221"/>
                  </a:lnTo>
                  <a:lnTo>
                    <a:pt x="5342" y="1331"/>
                  </a:lnTo>
                  <a:lnTo>
                    <a:pt x="5234" y="1444"/>
                  </a:lnTo>
                  <a:lnTo>
                    <a:pt x="5129" y="1562"/>
                  </a:lnTo>
                  <a:lnTo>
                    <a:pt x="5027" y="1683"/>
                  </a:lnTo>
                  <a:lnTo>
                    <a:pt x="4931" y="1809"/>
                  </a:lnTo>
                  <a:lnTo>
                    <a:pt x="4837" y="1936"/>
                  </a:lnTo>
                  <a:lnTo>
                    <a:pt x="4750" y="2068"/>
                  </a:lnTo>
                  <a:lnTo>
                    <a:pt x="4666" y="2203"/>
                  </a:lnTo>
                  <a:lnTo>
                    <a:pt x="4587" y="2341"/>
                  </a:lnTo>
                  <a:lnTo>
                    <a:pt x="4512" y="2481"/>
                  </a:lnTo>
                  <a:lnTo>
                    <a:pt x="4443" y="2625"/>
                  </a:lnTo>
                  <a:lnTo>
                    <a:pt x="4402" y="2613"/>
                  </a:lnTo>
                  <a:lnTo>
                    <a:pt x="4362" y="2601"/>
                  </a:lnTo>
                  <a:lnTo>
                    <a:pt x="4321" y="2589"/>
                  </a:lnTo>
                  <a:lnTo>
                    <a:pt x="4279" y="2579"/>
                  </a:lnTo>
                  <a:lnTo>
                    <a:pt x="4237" y="2568"/>
                  </a:lnTo>
                  <a:lnTo>
                    <a:pt x="4196" y="2559"/>
                  </a:lnTo>
                  <a:lnTo>
                    <a:pt x="4154" y="2549"/>
                  </a:lnTo>
                  <a:lnTo>
                    <a:pt x="4112" y="2541"/>
                  </a:lnTo>
                  <a:lnTo>
                    <a:pt x="4070" y="2534"/>
                  </a:lnTo>
                  <a:lnTo>
                    <a:pt x="4027" y="2528"/>
                  </a:lnTo>
                  <a:lnTo>
                    <a:pt x="3983" y="2522"/>
                  </a:lnTo>
                  <a:lnTo>
                    <a:pt x="3940" y="2518"/>
                  </a:lnTo>
                  <a:lnTo>
                    <a:pt x="3896" y="2514"/>
                  </a:lnTo>
                  <a:lnTo>
                    <a:pt x="3853" y="2511"/>
                  </a:lnTo>
                  <a:lnTo>
                    <a:pt x="3809" y="2510"/>
                  </a:lnTo>
                  <a:lnTo>
                    <a:pt x="3764" y="2509"/>
                  </a:lnTo>
                  <a:lnTo>
                    <a:pt x="3647" y="2512"/>
                  </a:lnTo>
                  <a:lnTo>
                    <a:pt x="3533" y="2521"/>
                  </a:lnTo>
                  <a:lnTo>
                    <a:pt x="3420" y="2535"/>
                  </a:lnTo>
                  <a:lnTo>
                    <a:pt x="3309" y="2556"/>
                  </a:lnTo>
                  <a:lnTo>
                    <a:pt x="3200" y="2581"/>
                  </a:lnTo>
                  <a:lnTo>
                    <a:pt x="3092" y="2611"/>
                  </a:lnTo>
                  <a:lnTo>
                    <a:pt x="2988" y="2647"/>
                  </a:lnTo>
                  <a:lnTo>
                    <a:pt x="2884" y="2687"/>
                  </a:lnTo>
                  <a:lnTo>
                    <a:pt x="2785" y="2732"/>
                  </a:lnTo>
                  <a:lnTo>
                    <a:pt x="2688" y="2782"/>
                  </a:lnTo>
                  <a:lnTo>
                    <a:pt x="2593" y="2837"/>
                  </a:lnTo>
                  <a:lnTo>
                    <a:pt x="2501" y="2896"/>
                  </a:lnTo>
                  <a:lnTo>
                    <a:pt x="2413" y="2958"/>
                  </a:lnTo>
                  <a:lnTo>
                    <a:pt x="2327" y="3025"/>
                  </a:lnTo>
                  <a:lnTo>
                    <a:pt x="2245" y="3097"/>
                  </a:lnTo>
                  <a:lnTo>
                    <a:pt x="2167" y="3172"/>
                  </a:lnTo>
                  <a:lnTo>
                    <a:pt x="2093" y="3250"/>
                  </a:lnTo>
                  <a:lnTo>
                    <a:pt x="2021" y="3331"/>
                  </a:lnTo>
                  <a:lnTo>
                    <a:pt x="1954" y="3417"/>
                  </a:lnTo>
                  <a:lnTo>
                    <a:pt x="1891" y="3506"/>
                  </a:lnTo>
                  <a:lnTo>
                    <a:pt x="1833" y="3597"/>
                  </a:lnTo>
                  <a:lnTo>
                    <a:pt x="1778" y="3692"/>
                  </a:lnTo>
                  <a:lnTo>
                    <a:pt x="1728" y="3789"/>
                  </a:lnTo>
                  <a:lnTo>
                    <a:pt x="1683" y="3889"/>
                  </a:lnTo>
                  <a:lnTo>
                    <a:pt x="1643" y="3992"/>
                  </a:lnTo>
                  <a:lnTo>
                    <a:pt x="1607" y="4097"/>
                  </a:lnTo>
                  <a:lnTo>
                    <a:pt x="1577" y="4204"/>
                  </a:lnTo>
                  <a:lnTo>
                    <a:pt x="1552" y="4313"/>
                  </a:lnTo>
                  <a:lnTo>
                    <a:pt x="1532" y="4424"/>
                  </a:lnTo>
                  <a:lnTo>
                    <a:pt x="1517" y="4537"/>
                  </a:lnTo>
                  <a:lnTo>
                    <a:pt x="1508" y="4652"/>
                  </a:lnTo>
                  <a:lnTo>
                    <a:pt x="1505" y="4768"/>
                  </a:lnTo>
                  <a:lnTo>
                    <a:pt x="1506" y="4815"/>
                  </a:lnTo>
                  <a:lnTo>
                    <a:pt x="1507" y="4860"/>
                  </a:lnTo>
                  <a:lnTo>
                    <a:pt x="1510" y="4906"/>
                  </a:lnTo>
                  <a:lnTo>
                    <a:pt x="1514" y="4951"/>
                  </a:lnTo>
                  <a:lnTo>
                    <a:pt x="1519" y="4997"/>
                  </a:lnTo>
                  <a:lnTo>
                    <a:pt x="1526" y="5042"/>
                  </a:lnTo>
                  <a:lnTo>
                    <a:pt x="1532" y="5086"/>
                  </a:lnTo>
                  <a:lnTo>
                    <a:pt x="1540" y="5130"/>
                  </a:lnTo>
                  <a:lnTo>
                    <a:pt x="1548" y="5174"/>
                  </a:lnTo>
                  <a:lnTo>
                    <a:pt x="1558" y="5217"/>
                  </a:lnTo>
                  <a:lnTo>
                    <a:pt x="1568" y="5261"/>
                  </a:lnTo>
                  <a:lnTo>
                    <a:pt x="1579" y="5304"/>
                  </a:lnTo>
                  <a:lnTo>
                    <a:pt x="1590" y="5347"/>
                  </a:lnTo>
                  <a:lnTo>
                    <a:pt x="1603" y="5389"/>
                  </a:lnTo>
                  <a:lnTo>
                    <a:pt x="1616" y="5431"/>
                  </a:lnTo>
                  <a:lnTo>
                    <a:pt x="1629" y="5473"/>
                  </a:lnTo>
                  <a:lnTo>
                    <a:pt x="1539" y="5528"/>
                  </a:lnTo>
                  <a:lnTo>
                    <a:pt x="1451" y="5585"/>
                  </a:lnTo>
                  <a:lnTo>
                    <a:pt x="1365" y="5644"/>
                  </a:lnTo>
                  <a:lnTo>
                    <a:pt x="1281" y="5706"/>
                  </a:lnTo>
                  <a:lnTo>
                    <a:pt x="1198" y="5771"/>
                  </a:lnTo>
                  <a:lnTo>
                    <a:pt x="1118" y="5839"/>
                  </a:lnTo>
                  <a:lnTo>
                    <a:pt x="1041" y="5909"/>
                  </a:lnTo>
                  <a:lnTo>
                    <a:pt x="965" y="5981"/>
                  </a:lnTo>
                  <a:lnTo>
                    <a:pt x="892" y="6056"/>
                  </a:lnTo>
                  <a:lnTo>
                    <a:pt x="821" y="6133"/>
                  </a:lnTo>
                  <a:lnTo>
                    <a:pt x="753" y="6211"/>
                  </a:lnTo>
                  <a:lnTo>
                    <a:pt x="687" y="6292"/>
                  </a:lnTo>
                  <a:lnTo>
                    <a:pt x="624" y="6376"/>
                  </a:lnTo>
                  <a:lnTo>
                    <a:pt x="564" y="6461"/>
                  </a:lnTo>
                  <a:lnTo>
                    <a:pt x="506" y="6548"/>
                  </a:lnTo>
                  <a:lnTo>
                    <a:pt x="451" y="6638"/>
                  </a:lnTo>
                  <a:lnTo>
                    <a:pt x="398" y="6729"/>
                  </a:lnTo>
                  <a:lnTo>
                    <a:pt x="349" y="6821"/>
                  </a:lnTo>
                  <a:lnTo>
                    <a:pt x="303" y="6917"/>
                  </a:lnTo>
                  <a:lnTo>
                    <a:pt x="260" y="7013"/>
                  </a:lnTo>
                  <a:lnTo>
                    <a:pt x="220" y="7110"/>
                  </a:lnTo>
                  <a:lnTo>
                    <a:pt x="183" y="7210"/>
                  </a:lnTo>
                  <a:lnTo>
                    <a:pt x="149" y="7311"/>
                  </a:lnTo>
                  <a:lnTo>
                    <a:pt x="118" y="7414"/>
                  </a:lnTo>
                  <a:lnTo>
                    <a:pt x="91" y="7518"/>
                  </a:lnTo>
                  <a:lnTo>
                    <a:pt x="67" y="7623"/>
                  </a:lnTo>
                  <a:lnTo>
                    <a:pt x="47" y="7730"/>
                  </a:lnTo>
                  <a:lnTo>
                    <a:pt x="30" y="7838"/>
                  </a:lnTo>
                  <a:lnTo>
                    <a:pt x="17" y="7948"/>
                  </a:lnTo>
                  <a:lnTo>
                    <a:pt x="8" y="8057"/>
                  </a:lnTo>
                  <a:lnTo>
                    <a:pt x="2" y="8168"/>
                  </a:lnTo>
                  <a:lnTo>
                    <a:pt x="0" y="8281"/>
                  </a:lnTo>
                  <a:lnTo>
                    <a:pt x="4" y="8449"/>
                  </a:lnTo>
                  <a:lnTo>
                    <a:pt x="17" y="8615"/>
                  </a:lnTo>
                  <a:lnTo>
                    <a:pt x="37" y="8778"/>
                  </a:lnTo>
                  <a:lnTo>
                    <a:pt x="66" y="8938"/>
                  </a:lnTo>
                  <a:lnTo>
                    <a:pt x="102" y="9097"/>
                  </a:lnTo>
                  <a:lnTo>
                    <a:pt x="147" y="9251"/>
                  </a:lnTo>
                  <a:lnTo>
                    <a:pt x="198" y="9403"/>
                  </a:lnTo>
                  <a:lnTo>
                    <a:pt x="256" y="9551"/>
                  </a:lnTo>
                  <a:lnTo>
                    <a:pt x="322" y="9695"/>
                  </a:lnTo>
                  <a:lnTo>
                    <a:pt x="393" y="9837"/>
                  </a:lnTo>
                  <a:lnTo>
                    <a:pt x="473" y="9973"/>
                  </a:lnTo>
                  <a:lnTo>
                    <a:pt x="557" y="10106"/>
                  </a:lnTo>
                  <a:lnTo>
                    <a:pt x="648" y="10233"/>
                  </a:lnTo>
                  <a:lnTo>
                    <a:pt x="745" y="10357"/>
                  </a:lnTo>
                  <a:lnTo>
                    <a:pt x="847" y="10475"/>
                  </a:lnTo>
                  <a:lnTo>
                    <a:pt x="955" y="10588"/>
                  </a:lnTo>
                  <a:lnTo>
                    <a:pt x="1069" y="10696"/>
                  </a:lnTo>
                  <a:lnTo>
                    <a:pt x="1187" y="10798"/>
                  </a:lnTo>
                  <a:lnTo>
                    <a:pt x="1310" y="10896"/>
                  </a:lnTo>
                  <a:lnTo>
                    <a:pt x="1438" y="10986"/>
                  </a:lnTo>
                  <a:lnTo>
                    <a:pt x="1571" y="11071"/>
                  </a:lnTo>
                  <a:lnTo>
                    <a:pt x="1707" y="11150"/>
                  </a:lnTo>
                  <a:lnTo>
                    <a:pt x="1848" y="11222"/>
                  </a:lnTo>
                  <a:lnTo>
                    <a:pt x="1992" y="11287"/>
                  </a:lnTo>
                  <a:lnTo>
                    <a:pt x="2141" y="11345"/>
                  </a:lnTo>
                  <a:lnTo>
                    <a:pt x="2292" y="11396"/>
                  </a:lnTo>
                  <a:lnTo>
                    <a:pt x="2447" y="11441"/>
                  </a:lnTo>
                  <a:lnTo>
                    <a:pt x="2604" y="11478"/>
                  </a:lnTo>
                  <a:lnTo>
                    <a:pt x="2765" y="11506"/>
                  </a:lnTo>
                  <a:lnTo>
                    <a:pt x="2929" y="11527"/>
                  </a:lnTo>
                  <a:lnTo>
                    <a:pt x="3094" y="11539"/>
                  </a:lnTo>
                  <a:lnTo>
                    <a:pt x="3262" y="11543"/>
                  </a:lnTo>
                  <a:lnTo>
                    <a:pt x="3262" y="11544"/>
                  </a:lnTo>
                  <a:lnTo>
                    <a:pt x="12294" y="11544"/>
                  </a:lnTo>
                  <a:lnTo>
                    <a:pt x="12294" y="11543"/>
                  </a:lnTo>
                  <a:lnTo>
                    <a:pt x="12488" y="11539"/>
                  </a:lnTo>
                  <a:lnTo>
                    <a:pt x="12680" y="11524"/>
                  </a:lnTo>
                  <a:lnTo>
                    <a:pt x="12867" y="11500"/>
                  </a:lnTo>
                  <a:lnTo>
                    <a:pt x="13053" y="11467"/>
                  </a:lnTo>
                  <a:lnTo>
                    <a:pt x="13236" y="11425"/>
                  </a:lnTo>
                  <a:lnTo>
                    <a:pt x="13414" y="11374"/>
                  </a:lnTo>
                  <a:lnTo>
                    <a:pt x="13589" y="11315"/>
                  </a:lnTo>
                  <a:lnTo>
                    <a:pt x="13760" y="11248"/>
                  </a:lnTo>
                  <a:lnTo>
                    <a:pt x="13926" y="11173"/>
                  </a:lnTo>
                  <a:lnTo>
                    <a:pt x="14089" y="11089"/>
                  </a:lnTo>
                  <a:lnTo>
                    <a:pt x="14246" y="10999"/>
                  </a:lnTo>
                  <a:lnTo>
                    <a:pt x="14399" y="10901"/>
                  </a:lnTo>
                  <a:lnTo>
                    <a:pt x="14547" y="10796"/>
                  </a:lnTo>
                  <a:lnTo>
                    <a:pt x="14689" y="10684"/>
                  </a:lnTo>
                  <a:lnTo>
                    <a:pt x="14826" y="10565"/>
                  </a:lnTo>
                  <a:lnTo>
                    <a:pt x="14956" y="10441"/>
                  </a:lnTo>
                  <a:lnTo>
                    <a:pt x="15080" y="10310"/>
                  </a:lnTo>
                  <a:lnTo>
                    <a:pt x="15199" y="10174"/>
                  </a:lnTo>
                  <a:lnTo>
                    <a:pt x="15310" y="10031"/>
                  </a:lnTo>
                  <a:lnTo>
                    <a:pt x="15416" y="9884"/>
                  </a:lnTo>
                  <a:lnTo>
                    <a:pt x="15513" y="9731"/>
                  </a:lnTo>
                  <a:lnTo>
                    <a:pt x="15604" y="9574"/>
                  </a:lnTo>
                  <a:lnTo>
                    <a:pt x="15687" y="9411"/>
                  </a:lnTo>
                  <a:lnTo>
                    <a:pt x="15762" y="9244"/>
                  </a:lnTo>
                  <a:lnTo>
                    <a:pt x="15830" y="9074"/>
                  </a:lnTo>
                  <a:lnTo>
                    <a:pt x="15888" y="8899"/>
                  </a:lnTo>
                  <a:lnTo>
                    <a:pt x="15940" y="8720"/>
                  </a:lnTo>
                  <a:lnTo>
                    <a:pt x="15982" y="8538"/>
                  </a:lnTo>
                  <a:lnTo>
                    <a:pt x="16015" y="8352"/>
                  </a:lnTo>
                  <a:lnTo>
                    <a:pt x="16039" y="8164"/>
                  </a:lnTo>
                  <a:lnTo>
                    <a:pt x="16053" y="7973"/>
                  </a:lnTo>
                  <a:lnTo>
                    <a:pt x="16058" y="7779"/>
                  </a:lnTo>
                  <a:lnTo>
                    <a:pt x="16054" y="7608"/>
                  </a:lnTo>
                  <a:lnTo>
                    <a:pt x="16043" y="7439"/>
                  </a:lnTo>
                  <a:lnTo>
                    <a:pt x="16024" y="7272"/>
                  </a:lnTo>
                  <a:lnTo>
                    <a:pt x="15998" y="7107"/>
                  </a:lnTo>
                  <a:lnTo>
                    <a:pt x="15965" y="6945"/>
                  </a:lnTo>
                  <a:lnTo>
                    <a:pt x="15926" y="6785"/>
                  </a:lnTo>
                  <a:lnTo>
                    <a:pt x="15878" y="6629"/>
                  </a:lnTo>
                  <a:lnTo>
                    <a:pt x="15825" y="6475"/>
                  </a:lnTo>
                  <a:lnTo>
                    <a:pt x="15766" y="6324"/>
                  </a:lnTo>
                  <a:lnTo>
                    <a:pt x="15700" y="6176"/>
                  </a:lnTo>
                  <a:lnTo>
                    <a:pt x="15628" y="6032"/>
                  </a:lnTo>
                  <a:lnTo>
                    <a:pt x="15550" y="5892"/>
                  </a:lnTo>
                  <a:lnTo>
                    <a:pt x="15467" y="5755"/>
                  </a:lnTo>
                  <a:lnTo>
                    <a:pt x="15378" y="5623"/>
                  </a:lnTo>
                  <a:lnTo>
                    <a:pt x="15283" y="5493"/>
                  </a:lnTo>
                  <a:lnTo>
                    <a:pt x="15183" y="5369"/>
                  </a:lnTo>
                  <a:lnTo>
                    <a:pt x="15078" y="5250"/>
                  </a:lnTo>
                  <a:lnTo>
                    <a:pt x="14968" y="5134"/>
                  </a:lnTo>
                  <a:lnTo>
                    <a:pt x="14854" y="5023"/>
                  </a:lnTo>
                  <a:lnTo>
                    <a:pt x="14734" y="4917"/>
                  </a:lnTo>
                  <a:lnTo>
                    <a:pt x="14611" y="4817"/>
                  </a:lnTo>
                  <a:lnTo>
                    <a:pt x="14483" y="4721"/>
                  </a:lnTo>
                  <a:lnTo>
                    <a:pt x="14351" y="4630"/>
                  </a:lnTo>
                  <a:lnTo>
                    <a:pt x="14215" y="4546"/>
                  </a:lnTo>
                  <a:lnTo>
                    <a:pt x="14075" y="4467"/>
                  </a:lnTo>
                  <a:lnTo>
                    <a:pt x="13931" y="4394"/>
                  </a:lnTo>
                  <a:lnTo>
                    <a:pt x="13785" y="4327"/>
                  </a:lnTo>
                  <a:lnTo>
                    <a:pt x="13634" y="4266"/>
                  </a:lnTo>
                  <a:lnTo>
                    <a:pt x="13482" y="4212"/>
                  </a:lnTo>
                  <a:lnTo>
                    <a:pt x="13325" y="4164"/>
                  </a:lnTo>
                  <a:lnTo>
                    <a:pt x="13166" y="4121"/>
                  </a:lnTo>
                  <a:lnTo>
                    <a:pt x="13004" y="408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72" name="ïŝlíḑè">
              <a:extLst>
                <a:ext uri="{FF2B5EF4-FFF2-40B4-BE49-F238E27FC236}">
                  <a16:creationId xmlns:a16="http://schemas.microsoft.com/office/drawing/2014/main" id="{0ABD96A6-6B55-45A6-8F56-931989FB6151}"/>
                </a:ext>
              </a:extLst>
            </p:cNvPr>
            <p:cNvSpPr/>
            <p:nvPr/>
          </p:nvSpPr>
          <p:spPr bwMode="auto">
            <a:xfrm>
              <a:off x="10630602" y="237812"/>
              <a:ext cx="265624" cy="385553"/>
            </a:xfrm>
            <a:custGeom>
              <a:avLst/>
              <a:gdLst>
                <a:gd name="T0" fmla="*/ 2887 w 11063"/>
                <a:gd name="T1" fmla="*/ 9929 h 16058"/>
                <a:gd name="T2" fmla="*/ 2451 w 11063"/>
                <a:gd name="T3" fmla="*/ 9123 h 16058"/>
                <a:gd name="T4" fmla="*/ 1855 w 11063"/>
                <a:gd name="T5" fmla="*/ 8041 h 16058"/>
                <a:gd name="T6" fmla="*/ 1427 w 11063"/>
                <a:gd name="T7" fmla="*/ 7165 h 16058"/>
                <a:gd name="T8" fmla="*/ 1122 w 11063"/>
                <a:gd name="T9" fmla="*/ 6318 h 16058"/>
                <a:gd name="T10" fmla="*/ 1006 w 11063"/>
                <a:gd name="T11" fmla="*/ 5520 h 16058"/>
                <a:gd name="T12" fmla="*/ 1362 w 11063"/>
                <a:gd name="T13" fmla="*/ 3764 h 16058"/>
                <a:gd name="T14" fmla="*/ 2332 w 11063"/>
                <a:gd name="T15" fmla="*/ 2327 h 16058"/>
                <a:gd name="T16" fmla="*/ 3771 w 11063"/>
                <a:gd name="T17" fmla="*/ 1359 h 16058"/>
                <a:gd name="T18" fmla="*/ 5532 w 11063"/>
                <a:gd name="T19" fmla="*/ 1004 h 16058"/>
                <a:gd name="T20" fmla="*/ 7292 w 11063"/>
                <a:gd name="T21" fmla="*/ 1359 h 16058"/>
                <a:gd name="T22" fmla="*/ 8731 w 11063"/>
                <a:gd name="T23" fmla="*/ 2327 h 16058"/>
                <a:gd name="T24" fmla="*/ 9701 w 11063"/>
                <a:gd name="T25" fmla="*/ 3764 h 16058"/>
                <a:gd name="T26" fmla="*/ 10057 w 11063"/>
                <a:gd name="T27" fmla="*/ 5520 h 16058"/>
                <a:gd name="T28" fmla="*/ 9941 w 11063"/>
                <a:gd name="T29" fmla="*/ 6314 h 16058"/>
                <a:gd name="T30" fmla="*/ 9636 w 11063"/>
                <a:gd name="T31" fmla="*/ 7163 h 16058"/>
                <a:gd name="T32" fmla="*/ 9207 w 11063"/>
                <a:gd name="T33" fmla="*/ 8042 h 16058"/>
                <a:gd name="T34" fmla="*/ 8612 w 11063"/>
                <a:gd name="T35" fmla="*/ 9129 h 16058"/>
                <a:gd name="T36" fmla="*/ 8179 w 11063"/>
                <a:gd name="T37" fmla="*/ 9932 h 16058"/>
                <a:gd name="T38" fmla="*/ 5484 w 11063"/>
                <a:gd name="T39" fmla="*/ 15054 h 16058"/>
                <a:gd name="T40" fmla="*/ 5160 w 11063"/>
                <a:gd name="T41" fmla="*/ 15030 h 16058"/>
                <a:gd name="T42" fmla="*/ 4907 w 11063"/>
                <a:gd name="T43" fmla="*/ 14937 h 16058"/>
                <a:gd name="T44" fmla="*/ 4698 w 11063"/>
                <a:gd name="T45" fmla="*/ 14732 h 16058"/>
                <a:gd name="T46" fmla="*/ 6658 w 11063"/>
                <a:gd name="T47" fmla="*/ 14161 h 16058"/>
                <a:gd name="T48" fmla="*/ 6436 w 11063"/>
                <a:gd name="T49" fmla="*/ 14651 h 16058"/>
                <a:gd name="T50" fmla="*/ 6202 w 11063"/>
                <a:gd name="T51" fmla="*/ 14919 h 16058"/>
                <a:gd name="T52" fmla="*/ 5915 w 11063"/>
                <a:gd name="T53" fmla="*/ 15031 h 16058"/>
                <a:gd name="T54" fmla="*/ 5532 w 11063"/>
                <a:gd name="T55" fmla="*/ 15054 h 16058"/>
                <a:gd name="T56" fmla="*/ 3763 w 11063"/>
                <a:gd name="T57" fmla="*/ 12094 h 16058"/>
                <a:gd name="T58" fmla="*/ 3603 w 11063"/>
                <a:gd name="T59" fmla="*/ 11605 h 16058"/>
                <a:gd name="T60" fmla="*/ 7351 w 11063"/>
                <a:gd name="T61" fmla="*/ 11943 h 16058"/>
                <a:gd name="T62" fmla="*/ 4290 w 11063"/>
                <a:gd name="T63" fmla="*/ 13799 h 16058"/>
                <a:gd name="T64" fmla="*/ 4145 w 11063"/>
                <a:gd name="T65" fmla="*/ 13340 h 16058"/>
                <a:gd name="T66" fmla="*/ 7149 w 11063"/>
                <a:gd name="T67" fmla="*/ 12594 h 16058"/>
                <a:gd name="T68" fmla="*/ 7016 w 11063"/>
                <a:gd name="T69" fmla="*/ 13038 h 16058"/>
                <a:gd name="T70" fmla="*/ 6835 w 11063"/>
                <a:gd name="T71" fmla="*/ 13637 h 16058"/>
                <a:gd name="T72" fmla="*/ 3630 w 11063"/>
                <a:gd name="T73" fmla="*/ 335 h 16058"/>
                <a:gd name="T74" fmla="*/ 1812 w 11063"/>
                <a:gd name="T75" fmla="*/ 1434 h 16058"/>
                <a:gd name="T76" fmla="*/ 545 w 11063"/>
                <a:gd name="T77" fmla="*/ 3127 h 16058"/>
                <a:gd name="T78" fmla="*/ 7 w 11063"/>
                <a:gd name="T79" fmla="*/ 5236 h 16058"/>
                <a:gd name="T80" fmla="*/ 234 w 11063"/>
                <a:gd name="T81" fmla="*/ 6861 h 16058"/>
                <a:gd name="T82" fmla="*/ 910 w 11063"/>
                <a:gd name="T83" fmla="*/ 8405 h 16058"/>
                <a:gd name="T84" fmla="*/ 1748 w 11063"/>
                <a:gd name="T85" fmla="*/ 9927 h 16058"/>
                <a:gd name="T86" fmla="*/ 2463 w 11063"/>
                <a:gd name="T87" fmla="*/ 11392 h 16058"/>
                <a:gd name="T88" fmla="*/ 3065 w 11063"/>
                <a:gd name="T89" fmla="*/ 13245 h 16058"/>
                <a:gd name="T90" fmla="*/ 3552 w 11063"/>
                <a:gd name="T91" fmla="*/ 14718 h 16058"/>
                <a:gd name="T92" fmla="*/ 4207 w 11063"/>
                <a:gd name="T93" fmla="*/ 15672 h 16058"/>
                <a:gd name="T94" fmla="*/ 5340 w 11063"/>
                <a:gd name="T95" fmla="*/ 16053 h 16058"/>
                <a:gd name="T96" fmla="*/ 6643 w 11063"/>
                <a:gd name="T97" fmla="*/ 15823 h 16058"/>
                <a:gd name="T98" fmla="*/ 7387 w 11063"/>
                <a:gd name="T99" fmla="*/ 15011 h 16058"/>
                <a:gd name="T100" fmla="*/ 7880 w 11063"/>
                <a:gd name="T101" fmla="*/ 13666 h 16058"/>
                <a:gd name="T102" fmla="*/ 8442 w 11063"/>
                <a:gd name="T103" fmla="*/ 11841 h 16058"/>
                <a:gd name="T104" fmla="*/ 9115 w 11063"/>
                <a:gd name="T105" fmla="*/ 10307 h 16058"/>
                <a:gd name="T106" fmla="*/ 9949 w 11063"/>
                <a:gd name="T107" fmla="*/ 8788 h 16058"/>
                <a:gd name="T108" fmla="*/ 10691 w 11063"/>
                <a:gd name="T109" fmla="*/ 7241 h 16058"/>
                <a:gd name="T110" fmla="*/ 11058 w 11063"/>
                <a:gd name="T111" fmla="*/ 5709 h 16058"/>
                <a:gd name="T112" fmla="*/ 10727 w 11063"/>
                <a:gd name="T113" fmla="*/ 3622 h 16058"/>
                <a:gd name="T114" fmla="*/ 9626 w 11063"/>
                <a:gd name="T115" fmla="*/ 1809 h 16058"/>
                <a:gd name="T116" fmla="*/ 7929 w 11063"/>
                <a:gd name="T117" fmla="*/ 544 h 16058"/>
                <a:gd name="T118" fmla="*/ 5816 w 11063"/>
                <a:gd name="T119" fmla="*/ 7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063" h="16058">
                  <a:moveTo>
                    <a:pt x="7881" y="10538"/>
                  </a:moveTo>
                  <a:lnTo>
                    <a:pt x="3187" y="10538"/>
                  </a:lnTo>
                  <a:lnTo>
                    <a:pt x="3140" y="10437"/>
                  </a:lnTo>
                  <a:lnTo>
                    <a:pt x="3092" y="10335"/>
                  </a:lnTo>
                  <a:lnTo>
                    <a:pt x="3041" y="10234"/>
                  </a:lnTo>
                  <a:lnTo>
                    <a:pt x="2991" y="10132"/>
                  </a:lnTo>
                  <a:lnTo>
                    <a:pt x="2940" y="10030"/>
                  </a:lnTo>
                  <a:lnTo>
                    <a:pt x="2887" y="9929"/>
                  </a:lnTo>
                  <a:lnTo>
                    <a:pt x="2835" y="9827"/>
                  </a:lnTo>
                  <a:lnTo>
                    <a:pt x="2781" y="9727"/>
                  </a:lnTo>
                  <a:lnTo>
                    <a:pt x="2728" y="9626"/>
                  </a:lnTo>
                  <a:lnTo>
                    <a:pt x="2672" y="9524"/>
                  </a:lnTo>
                  <a:lnTo>
                    <a:pt x="2618" y="9424"/>
                  </a:lnTo>
                  <a:lnTo>
                    <a:pt x="2563" y="9324"/>
                  </a:lnTo>
                  <a:lnTo>
                    <a:pt x="2507" y="9223"/>
                  </a:lnTo>
                  <a:lnTo>
                    <a:pt x="2451" y="9123"/>
                  </a:lnTo>
                  <a:lnTo>
                    <a:pt x="2396" y="9024"/>
                  </a:lnTo>
                  <a:lnTo>
                    <a:pt x="2340" y="8924"/>
                  </a:lnTo>
                  <a:lnTo>
                    <a:pt x="2217" y="8703"/>
                  </a:lnTo>
                  <a:lnTo>
                    <a:pt x="2094" y="8483"/>
                  </a:lnTo>
                  <a:lnTo>
                    <a:pt x="2034" y="8372"/>
                  </a:lnTo>
                  <a:lnTo>
                    <a:pt x="1973" y="8262"/>
                  </a:lnTo>
                  <a:lnTo>
                    <a:pt x="1914" y="8151"/>
                  </a:lnTo>
                  <a:lnTo>
                    <a:pt x="1855" y="8041"/>
                  </a:lnTo>
                  <a:lnTo>
                    <a:pt x="1796" y="7931"/>
                  </a:lnTo>
                  <a:lnTo>
                    <a:pt x="1740" y="7820"/>
                  </a:lnTo>
                  <a:lnTo>
                    <a:pt x="1684" y="7711"/>
                  </a:lnTo>
                  <a:lnTo>
                    <a:pt x="1629" y="7600"/>
                  </a:lnTo>
                  <a:lnTo>
                    <a:pt x="1576" y="7491"/>
                  </a:lnTo>
                  <a:lnTo>
                    <a:pt x="1525" y="7383"/>
                  </a:lnTo>
                  <a:lnTo>
                    <a:pt x="1475" y="7273"/>
                  </a:lnTo>
                  <a:lnTo>
                    <a:pt x="1427" y="7165"/>
                  </a:lnTo>
                  <a:lnTo>
                    <a:pt x="1381" y="7057"/>
                  </a:lnTo>
                  <a:lnTo>
                    <a:pt x="1337" y="6950"/>
                  </a:lnTo>
                  <a:lnTo>
                    <a:pt x="1294" y="6843"/>
                  </a:lnTo>
                  <a:lnTo>
                    <a:pt x="1255" y="6736"/>
                  </a:lnTo>
                  <a:lnTo>
                    <a:pt x="1218" y="6631"/>
                  </a:lnTo>
                  <a:lnTo>
                    <a:pt x="1183" y="6526"/>
                  </a:lnTo>
                  <a:lnTo>
                    <a:pt x="1151" y="6421"/>
                  </a:lnTo>
                  <a:lnTo>
                    <a:pt x="1122" y="6318"/>
                  </a:lnTo>
                  <a:lnTo>
                    <a:pt x="1095" y="6214"/>
                  </a:lnTo>
                  <a:lnTo>
                    <a:pt x="1072" y="6112"/>
                  </a:lnTo>
                  <a:lnTo>
                    <a:pt x="1053" y="6012"/>
                  </a:lnTo>
                  <a:lnTo>
                    <a:pt x="1036" y="5911"/>
                  </a:lnTo>
                  <a:lnTo>
                    <a:pt x="1023" y="5812"/>
                  </a:lnTo>
                  <a:lnTo>
                    <a:pt x="1014" y="5714"/>
                  </a:lnTo>
                  <a:lnTo>
                    <a:pt x="1008" y="5616"/>
                  </a:lnTo>
                  <a:lnTo>
                    <a:pt x="1006" y="5520"/>
                  </a:lnTo>
                  <a:lnTo>
                    <a:pt x="1012" y="5288"/>
                  </a:lnTo>
                  <a:lnTo>
                    <a:pt x="1029" y="5059"/>
                  </a:lnTo>
                  <a:lnTo>
                    <a:pt x="1058" y="4833"/>
                  </a:lnTo>
                  <a:lnTo>
                    <a:pt x="1098" y="4611"/>
                  </a:lnTo>
                  <a:lnTo>
                    <a:pt x="1149" y="4393"/>
                  </a:lnTo>
                  <a:lnTo>
                    <a:pt x="1210" y="4178"/>
                  </a:lnTo>
                  <a:lnTo>
                    <a:pt x="1280" y="3968"/>
                  </a:lnTo>
                  <a:lnTo>
                    <a:pt x="1362" y="3764"/>
                  </a:lnTo>
                  <a:lnTo>
                    <a:pt x="1452" y="3564"/>
                  </a:lnTo>
                  <a:lnTo>
                    <a:pt x="1553" y="3369"/>
                  </a:lnTo>
                  <a:lnTo>
                    <a:pt x="1661" y="3179"/>
                  </a:lnTo>
                  <a:lnTo>
                    <a:pt x="1779" y="2997"/>
                  </a:lnTo>
                  <a:lnTo>
                    <a:pt x="1906" y="2819"/>
                  </a:lnTo>
                  <a:lnTo>
                    <a:pt x="2041" y="2649"/>
                  </a:lnTo>
                  <a:lnTo>
                    <a:pt x="2182" y="2485"/>
                  </a:lnTo>
                  <a:lnTo>
                    <a:pt x="2332" y="2327"/>
                  </a:lnTo>
                  <a:lnTo>
                    <a:pt x="2490" y="2178"/>
                  </a:lnTo>
                  <a:lnTo>
                    <a:pt x="2654" y="2036"/>
                  </a:lnTo>
                  <a:lnTo>
                    <a:pt x="2825" y="1902"/>
                  </a:lnTo>
                  <a:lnTo>
                    <a:pt x="3003" y="1776"/>
                  </a:lnTo>
                  <a:lnTo>
                    <a:pt x="3186" y="1658"/>
                  </a:lnTo>
                  <a:lnTo>
                    <a:pt x="3376" y="1550"/>
                  </a:lnTo>
                  <a:lnTo>
                    <a:pt x="3571" y="1449"/>
                  </a:lnTo>
                  <a:lnTo>
                    <a:pt x="3771" y="1359"/>
                  </a:lnTo>
                  <a:lnTo>
                    <a:pt x="3977" y="1279"/>
                  </a:lnTo>
                  <a:lnTo>
                    <a:pt x="4187" y="1207"/>
                  </a:lnTo>
                  <a:lnTo>
                    <a:pt x="4402" y="1146"/>
                  </a:lnTo>
                  <a:lnTo>
                    <a:pt x="4620" y="1096"/>
                  </a:lnTo>
                  <a:lnTo>
                    <a:pt x="4843" y="1056"/>
                  </a:lnTo>
                  <a:lnTo>
                    <a:pt x="5069" y="1027"/>
                  </a:lnTo>
                  <a:lnTo>
                    <a:pt x="5299" y="1010"/>
                  </a:lnTo>
                  <a:lnTo>
                    <a:pt x="5532" y="1004"/>
                  </a:lnTo>
                  <a:lnTo>
                    <a:pt x="5764" y="1010"/>
                  </a:lnTo>
                  <a:lnTo>
                    <a:pt x="5993" y="1027"/>
                  </a:lnTo>
                  <a:lnTo>
                    <a:pt x="6219" y="1056"/>
                  </a:lnTo>
                  <a:lnTo>
                    <a:pt x="6443" y="1096"/>
                  </a:lnTo>
                  <a:lnTo>
                    <a:pt x="6661" y="1146"/>
                  </a:lnTo>
                  <a:lnTo>
                    <a:pt x="6876" y="1207"/>
                  </a:lnTo>
                  <a:lnTo>
                    <a:pt x="7086" y="1279"/>
                  </a:lnTo>
                  <a:lnTo>
                    <a:pt x="7292" y="1359"/>
                  </a:lnTo>
                  <a:lnTo>
                    <a:pt x="7492" y="1449"/>
                  </a:lnTo>
                  <a:lnTo>
                    <a:pt x="7687" y="1550"/>
                  </a:lnTo>
                  <a:lnTo>
                    <a:pt x="7877" y="1658"/>
                  </a:lnTo>
                  <a:lnTo>
                    <a:pt x="8060" y="1776"/>
                  </a:lnTo>
                  <a:lnTo>
                    <a:pt x="8238" y="1902"/>
                  </a:lnTo>
                  <a:lnTo>
                    <a:pt x="8409" y="2036"/>
                  </a:lnTo>
                  <a:lnTo>
                    <a:pt x="8573" y="2178"/>
                  </a:lnTo>
                  <a:lnTo>
                    <a:pt x="8731" y="2327"/>
                  </a:lnTo>
                  <a:lnTo>
                    <a:pt x="8881" y="2485"/>
                  </a:lnTo>
                  <a:lnTo>
                    <a:pt x="9022" y="2649"/>
                  </a:lnTo>
                  <a:lnTo>
                    <a:pt x="9157" y="2819"/>
                  </a:lnTo>
                  <a:lnTo>
                    <a:pt x="9283" y="2997"/>
                  </a:lnTo>
                  <a:lnTo>
                    <a:pt x="9402" y="3179"/>
                  </a:lnTo>
                  <a:lnTo>
                    <a:pt x="9510" y="3369"/>
                  </a:lnTo>
                  <a:lnTo>
                    <a:pt x="9611" y="3564"/>
                  </a:lnTo>
                  <a:lnTo>
                    <a:pt x="9701" y="3764"/>
                  </a:lnTo>
                  <a:lnTo>
                    <a:pt x="9783" y="3968"/>
                  </a:lnTo>
                  <a:lnTo>
                    <a:pt x="9853" y="4178"/>
                  </a:lnTo>
                  <a:lnTo>
                    <a:pt x="9914" y="4393"/>
                  </a:lnTo>
                  <a:lnTo>
                    <a:pt x="9965" y="4611"/>
                  </a:lnTo>
                  <a:lnTo>
                    <a:pt x="10005" y="4833"/>
                  </a:lnTo>
                  <a:lnTo>
                    <a:pt x="10034" y="5059"/>
                  </a:lnTo>
                  <a:lnTo>
                    <a:pt x="10051" y="5288"/>
                  </a:lnTo>
                  <a:lnTo>
                    <a:pt x="10057" y="5520"/>
                  </a:lnTo>
                  <a:lnTo>
                    <a:pt x="10055" y="5615"/>
                  </a:lnTo>
                  <a:lnTo>
                    <a:pt x="10049" y="5713"/>
                  </a:lnTo>
                  <a:lnTo>
                    <a:pt x="10040" y="5810"/>
                  </a:lnTo>
                  <a:lnTo>
                    <a:pt x="10027" y="5908"/>
                  </a:lnTo>
                  <a:lnTo>
                    <a:pt x="10010" y="6009"/>
                  </a:lnTo>
                  <a:lnTo>
                    <a:pt x="9990" y="6110"/>
                  </a:lnTo>
                  <a:lnTo>
                    <a:pt x="9967" y="6211"/>
                  </a:lnTo>
                  <a:lnTo>
                    <a:pt x="9941" y="6314"/>
                  </a:lnTo>
                  <a:lnTo>
                    <a:pt x="9911" y="6418"/>
                  </a:lnTo>
                  <a:lnTo>
                    <a:pt x="9880" y="6523"/>
                  </a:lnTo>
                  <a:lnTo>
                    <a:pt x="9845" y="6627"/>
                  </a:lnTo>
                  <a:lnTo>
                    <a:pt x="9808" y="6733"/>
                  </a:lnTo>
                  <a:lnTo>
                    <a:pt x="9769" y="6840"/>
                  </a:lnTo>
                  <a:lnTo>
                    <a:pt x="9726" y="6947"/>
                  </a:lnTo>
                  <a:lnTo>
                    <a:pt x="9682" y="7054"/>
                  </a:lnTo>
                  <a:lnTo>
                    <a:pt x="9636" y="7163"/>
                  </a:lnTo>
                  <a:lnTo>
                    <a:pt x="9588" y="7271"/>
                  </a:lnTo>
                  <a:lnTo>
                    <a:pt x="9538" y="7381"/>
                  </a:lnTo>
                  <a:lnTo>
                    <a:pt x="9486" y="7490"/>
                  </a:lnTo>
                  <a:lnTo>
                    <a:pt x="9433" y="7599"/>
                  </a:lnTo>
                  <a:lnTo>
                    <a:pt x="9378" y="7710"/>
                  </a:lnTo>
                  <a:lnTo>
                    <a:pt x="9323" y="7820"/>
                  </a:lnTo>
                  <a:lnTo>
                    <a:pt x="9266" y="7932"/>
                  </a:lnTo>
                  <a:lnTo>
                    <a:pt x="9207" y="8042"/>
                  </a:lnTo>
                  <a:lnTo>
                    <a:pt x="9149" y="8153"/>
                  </a:lnTo>
                  <a:lnTo>
                    <a:pt x="9089" y="8264"/>
                  </a:lnTo>
                  <a:lnTo>
                    <a:pt x="9028" y="8375"/>
                  </a:lnTo>
                  <a:lnTo>
                    <a:pt x="8968" y="8487"/>
                  </a:lnTo>
                  <a:lnTo>
                    <a:pt x="8845" y="8708"/>
                  </a:lnTo>
                  <a:lnTo>
                    <a:pt x="8722" y="8930"/>
                  </a:lnTo>
                  <a:lnTo>
                    <a:pt x="8667" y="9029"/>
                  </a:lnTo>
                  <a:lnTo>
                    <a:pt x="8612" y="9129"/>
                  </a:lnTo>
                  <a:lnTo>
                    <a:pt x="8557" y="9228"/>
                  </a:lnTo>
                  <a:lnTo>
                    <a:pt x="8501" y="9329"/>
                  </a:lnTo>
                  <a:lnTo>
                    <a:pt x="8447" y="9429"/>
                  </a:lnTo>
                  <a:lnTo>
                    <a:pt x="8392" y="9529"/>
                  </a:lnTo>
                  <a:lnTo>
                    <a:pt x="8338" y="9630"/>
                  </a:lnTo>
                  <a:lnTo>
                    <a:pt x="8284" y="9730"/>
                  </a:lnTo>
                  <a:lnTo>
                    <a:pt x="8231" y="9831"/>
                  </a:lnTo>
                  <a:lnTo>
                    <a:pt x="8179" y="9932"/>
                  </a:lnTo>
                  <a:lnTo>
                    <a:pt x="8127" y="10033"/>
                  </a:lnTo>
                  <a:lnTo>
                    <a:pt x="8076" y="10134"/>
                  </a:lnTo>
                  <a:lnTo>
                    <a:pt x="8026" y="10235"/>
                  </a:lnTo>
                  <a:lnTo>
                    <a:pt x="7976" y="10336"/>
                  </a:lnTo>
                  <a:lnTo>
                    <a:pt x="7928" y="10437"/>
                  </a:lnTo>
                  <a:lnTo>
                    <a:pt x="7881" y="10538"/>
                  </a:lnTo>
                  <a:close/>
                  <a:moveTo>
                    <a:pt x="5532" y="15054"/>
                  </a:moveTo>
                  <a:lnTo>
                    <a:pt x="5484" y="15054"/>
                  </a:lnTo>
                  <a:lnTo>
                    <a:pt x="5439" y="15053"/>
                  </a:lnTo>
                  <a:lnTo>
                    <a:pt x="5395" y="15052"/>
                  </a:lnTo>
                  <a:lnTo>
                    <a:pt x="5352" y="15050"/>
                  </a:lnTo>
                  <a:lnTo>
                    <a:pt x="5311" y="15048"/>
                  </a:lnTo>
                  <a:lnTo>
                    <a:pt x="5272" y="15045"/>
                  </a:lnTo>
                  <a:lnTo>
                    <a:pt x="5234" y="15041"/>
                  </a:lnTo>
                  <a:lnTo>
                    <a:pt x="5197" y="15036"/>
                  </a:lnTo>
                  <a:lnTo>
                    <a:pt x="5160" y="15030"/>
                  </a:lnTo>
                  <a:lnTo>
                    <a:pt x="5125" y="15023"/>
                  </a:lnTo>
                  <a:lnTo>
                    <a:pt x="5091" y="15015"/>
                  </a:lnTo>
                  <a:lnTo>
                    <a:pt x="5059" y="15006"/>
                  </a:lnTo>
                  <a:lnTo>
                    <a:pt x="5027" y="14995"/>
                  </a:lnTo>
                  <a:lnTo>
                    <a:pt x="4995" y="14983"/>
                  </a:lnTo>
                  <a:lnTo>
                    <a:pt x="4965" y="14969"/>
                  </a:lnTo>
                  <a:lnTo>
                    <a:pt x="4936" y="14954"/>
                  </a:lnTo>
                  <a:lnTo>
                    <a:pt x="4907" y="14937"/>
                  </a:lnTo>
                  <a:lnTo>
                    <a:pt x="4880" y="14919"/>
                  </a:lnTo>
                  <a:lnTo>
                    <a:pt x="4852" y="14898"/>
                  </a:lnTo>
                  <a:lnTo>
                    <a:pt x="4825" y="14876"/>
                  </a:lnTo>
                  <a:lnTo>
                    <a:pt x="4799" y="14852"/>
                  </a:lnTo>
                  <a:lnTo>
                    <a:pt x="4773" y="14825"/>
                  </a:lnTo>
                  <a:lnTo>
                    <a:pt x="4748" y="14796"/>
                  </a:lnTo>
                  <a:lnTo>
                    <a:pt x="4723" y="14765"/>
                  </a:lnTo>
                  <a:lnTo>
                    <a:pt x="4698" y="14732"/>
                  </a:lnTo>
                  <a:lnTo>
                    <a:pt x="4673" y="14696"/>
                  </a:lnTo>
                  <a:lnTo>
                    <a:pt x="4648" y="14658"/>
                  </a:lnTo>
                  <a:lnTo>
                    <a:pt x="4624" y="14618"/>
                  </a:lnTo>
                  <a:lnTo>
                    <a:pt x="4600" y="14574"/>
                  </a:lnTo>
                  <a:lnTo>
                    <a:pt x="4576" y="14527"/>
                  </a:lnTo>
                  <a:lnTo>
                    <a:pt x="4552" y="14479"/>
                  </a:lnTo>
                  <a:lnTo>
                    <a:pt x="4527" y="14427"/>
                  </a:lnTo>
                  <a:lnTo>
                    <a:pt x="6658" y="14161"/>
                  </a:lnTo>
                  <a:lnTo>
                    <a:pt x="6630" y="14236"/>
                  </a:lnTo>
                  <a:lnTo>
                    <a:pt x="6602" y="14308"/>
                  </a:lnTo>
                  <a:lnTo>
                    <a:pt x="6573" y="14375"/>
                  </a:lnTo>
                  <a:lnTo>
                    <a:pt x="6546" y="14438"/>
                  </a:lnTo>
                  <a:lnTo>
                    <a:pt x="6518" y="14496"/>
                  </a:lnTo>
                  <a:lnTo>
                    <a:pt x="6491" y="14552"/>
                  </a:lnTo>
                  <a:lnTo>
                    <a:pt x="6464" y="14603"/>
                  </a:lnTo>
                  <a:lnTo>
                    <a:pt x="6436" y="14651"/>
                  </a:lnTo>
                  <a:lnTo>
                    <a:pt x="6408" y="14695"/>
                  </a:lnTo>
                  <a:lnTo>
                    <a:pt x="6380" y="14736"/>
                  </a:lnTo>
                  <a:lnTo>
                    <a:pt x="6352" y="14773"/>
                  </a:lnTo>
                  <a:lnTo>
                    <a:pt x="6323" y="14808"/>
                  </a:lnTo>
                  <a:lnTo>
                    <a:pt x="6294" y="14841"/>
                  </a:lnTo>
                  <a:lnTo>
                    <a:pt x="6264" y="14869"/>
                  </a:lnTo>
                  <a:lnTo>
                    <a:pt x="6233" y="14895"/>
                  </a:lnTo>
                  <a:lnTo>
                    <a:pt x="6202" y="14919"/>
                  </a:lnTo>
                  <a:lnTo>
                    <a:pt x="6170" y="14940"/>
                  </a:lnTo>
                  <a:lnTo>
                    <a:pt x="6137" y="14959"/>
                  </a:lnTo>
                  <a:lnTo>
                    <a:pt x="6103" y="14976"/>
                  </a:lnTo>
                  <a:lnTo>
                    <a:pt x="6068" y="14990"/>
                  </a:lnTo>
                  <a:lnTo>
                    <a:pt x="6031" y="15003"/>
                  </a:lnTo>
                  <a:lnTo>
                    <a:pt x="5994" y="15014"/>
                  </a:lnTo>
                  <a:lnTo>
                    <a:pt x="5955" y="15023"/>
                  </a:lnTo>
                  <a:lnTo>
                    <a:pt x="5915" y="15031"/>
                  </a:lnTo>
                  <a:lnTo>
                    <a:pt x="5873" y="15038"/>
                  </a:lnTo>
                  <a:lnTo>
                    <a:pt x="5829" y="15043"/>
                  </a:lnTo>
                  <a:lnTo>
                    <a:pt x="5785" y="15047"/>
                  </a:lnTo>
                  <a:lnTo>
                    <a:pt x="5738" y="15050"/>
                  </a:lnTo>
                  <a:lnTo>
                    <a:pt x="5689" y="15052"/>
                  </a:lnTo>
                  <a:lnTo>
                    <a:pt x="5638" y="15053"/>
                  </a:lnTo>
                  <a:lnTo>
                    <a:pt x="5586" y="15054"/>
                  </a:lnTo>
                  <a:lnTo>
                    <a:pt x="5532" y="15054"/>
                  </a:lnTo>
                  <a:close/>
                  <a:moveTo>
                    <a:pt x="3890" y="12499"/>
                  </a:moveTo>
                  <a:lnTo>
                    <a:pt x="3873" y="12442"/>
                  </a:lnTo>
                  <a:lnTo>
                    <a:pt x="3855" y="12386"/>
                  </a:lnTo>
                  <a:lnTo>
                    <a:pt x="3838" y="12328"/>
                  </a:lnTo>
                  <a:lnTo>
                    <a:pt x="3820" y="12269"/>
                  </a:lnTo>
                  <a:lnTo>
                    <a:pt x="3802" y="12211"/>
                  </a:lnTo>
                  <a:lnTo>
                    <a:pt x="3783" y="12153"/>
                  </a:lnTo>
                  <a:lnTo>
                    <a:pt x="3763" y="12094"/>
                  </a:lnTo>
                  <a:lnTo>
                    <a:pt x="3744" y="12033"/>
                  </a:lnTo>
                  <a:lnTo>
                    <a:pt x="3725" y="11974"/>
                  </a:lnTo>
                  <a:lnTo>
                    <a:pt x="3705" y="11913"/>
                  </a:lnTo>
                  <a:lnTo>
                    <a:pt x="3685" y="11853"/>
                  </a:lnTo>
                  <a:lnTo>
                    <a:pt x="3665" y="11792"/>
                  </a:lnTo>
                  <a:lnTo>
                    <a:pt x="3645" y="11729"/>
                  </a:lnTo>
                  <a:lnTo>
                    <a:pt x="3624" y="11667"/>
                  </a:lnTo>
                  <a:lnTo>
                    <a:pt x="3603" y="11605"/>
                  </a:lnTo>
                  <a:lnTo>
                    <a:pt x="3581" y="11542"/>
                  </a:lnTo>
                  <a:lnTo>
                    <a:pt x="7487" y="11542"/>
                  </a:lnTo>
                  <a:lnTo>
                    <a:pt x="7464" y="11609"/>
                  </a:lnTo>
                  <a:lnTo>
                    <a:pt x="7440" y="11677"/>
                  </a:lnTo>
                  <a:lnTo>
                    <a:pt x="7417" y="11744"/>
                  </a:lnTo>
                  <a:lnTo>
                    <a:pt x="7395" y="11811"/>
                  </a:lnTo>
                  <a:lnTo>
                    <a:pt x="7373" y="11878"/>
                  </a:lnTo>
                  <a:lnTo>
                    <a:pt x="7351" y="11943"/>
                  </a:lnTo>
                  <a:lnTo>
                    <a:pt x="7330" y="12008"/>
                  </a:lnTo>
                  <a:lnTo>
                    <a:pt x="7309" y="12074"/>
                  </a:lnTo>
                  <a:lnTo>
                    <a:pt x="3890" y="12499"/>
                  </a:lnTo>
                  <a:close/>
                  <a:moveTo>
                    <a:pt x="6835" y="13637"/>
                  </a:moveTo>
                  <a:lnTo>
                    <a:pt x="4342" y="13948"/>
                  </a:lnTo>
                  <a:lnTo>
                    <a:pt x="4325" y="13899"/>
                  </a:lnTo>
                  <a:lnTo>
                    <a:pt x="4309" y="13850"/>
                  </a:lnTo>
                  <a:lnTo>
                    <a:pt x="4290" y="13799"/>
                  </a:lnTo>
                  <a:lnTo>
                    <a:pt x="4273" y="13747"/>
                  </a:lnTo>
                  <a:lnTo>
                    <a:pt x="4256" y="13693"/>
                  </a:lnTo>
                  <a:lnTo>
                    <a:pt x="4238" y="13638"/>
                  </a:lnTo>
                  <a:lnTo>
                    <a:pt x="4220" y="13582"/>
                  </a:lnTo>
                  <a:lnTo>
                    <a:pt x="4202" y="13524"/>
                  </a:lnTo>
                  <a:lnTo>
                    <a:pt x="4183" y="13465"/>
                  </a:lnTo>
                  <a:lnTo>
                    <a:pt x="4164" y="13403"/>
                  </a:lnTo>
                  <a:lnTo>
                    <a:pt x="4145" y="13340"/>
                  </a:lnTo>
                  <a:lnTo>
                    <a:pt x="4124" y="13276"/>
                  </a:lnTo>
                  <a:lnTo>
                    <a:pt x="4104" y="13210"/>
                  </a:lnTo>
                  <a:lnTo>
                    <a:pt x="4083" y="13141"/>
                  </a:lnTo>
                  <a:lnTo>
                    <a:pt x="4062" y="13070"/>
                  </a:lnTo>
                  <a:lnTo>
                    <a:pt x="4041" y="12998"/>
                  </a:lnTo>
                  <a:lnTo>
                    <a:pt x="4038" y="12990"/>
                  </a:lnTo>
                  <a:lnTo>
                    <a:pt x="4036" y="12983"/>
                  </a:lnTo>
                  <a:lnTo>
                    <a:pt x="7149" y="12594"/>
                  </a:lnTo>
                  <a:lnTo>
                    <a:pt x="7132" y="12651"/>
                  </a:lnTo>
                  <a:lnTo>
                    <a:pt x="7116" y="12707"/>
                  </a:lnTo>
                  <a:lnTo>
                    <a:pt x="7098" y="12763"/>
                  </a:lnTo>
                  <a:lnTo>
                    <a:pt x="7081" y="12819"/>
                  </a:lnTo>
                  <a:lnTo>
                    <a:pt x="7064" y="12876"/>
                  </a:lnTo>
                  <a:lnTo>
                    <a:pt x="7047" y="12931"/>
                  </a:lnTo>
                  <a:lnTo>
                    <a:pt x="7031" y="12985"/>
                  </a:lnTo>
                  <a:lnTo>
                    <a:pt x="7016" y="13038"/>
                  </a:lnTo>
                  <a:lnTo>
                    <a:pt x="6992" y="13121"/>
                  </a:lnTo>
                  <a:lnTo>
                    <a:pt x="6968" y="13202"/>
                  </a:lnTo>
                  <a:lnTo>
                    <a:pt x="6945" y="13280"/>
                  </a:lnTo>
                  <a:lnTo>
                    <a:pt x="6921" y="13355"/>
                  </a:lnTo>
                  <a:lnTo>
                    <a:pt x="6899" y="13429"/>
                  </a:lnTo>
                  <a:lnTo>
                    <a:pt x="6878" y="13500"/>
                  </a:lnTo>
                  <a:lnTo>
                    <a:pt x="6856" y="13570"/>
                  </a:lnTo>
                  <a:lnTo>
                    <a:pt x="6835" y="13637"/>
                  </a:lnTo>
                  <a:close/>
                  <a:moveTo>
                    <a:pt x="5532" y="0"/>
                  </a:moveTo>
                  <a:lnTo>
                    <a:pt x="5247" y="7"/>
                  </a:lnTo>
                  <a:lnTo>
                    <a:pt x="4966" y="28"/>
                  </a:lnTo>
                  <a:lnTo>
                    <a:pt x="4689" y="63"/>
                  </a:lnTo>
                  <a:lnTo>
                    <a:pt x="4417" y="112"/>
                  </a:lnTo>
                  <a:lnTo>
                    <a:pt x="4149" y="174"/>
                  </a:lnTo>
                  <a:lnTo>
                    <a:pt x="3886" y="248"/>
                  </a:lnTo>
                  <a:lnTo>
                    <a:pt x="3630" y="335"/>
                  </a:lnTo>
                  <a:lnTo>
                    <a:pt x="3378" y="434"/>
                  </a:lnTo>
                  <a:lnTo>
                    <a:pt x="3133" y="544"/>
                  </a:lnTo>
                  <a:lnTo>
                    <a:pt x="2894" y="666"/>
                  </a:lnTo>
                  <a:lnTo>
                    <a:pt x="2663" y="799"/>
                  </a:lnTo>
                  <a:lnTo>
                    <a:pt x="2439" y="942"/>
                  </a:lnTo>
                  <a:lnTo>
                    <a:pt x="2222" y="1097"/>
                  </a:lnTo>
                  <a:lnTo>
                    <a:pt x="2013" y="1261"/>
                  </a:lnTo>
                  <a:lnTo>
                    <a:pt x="1812" y="1434"/>
                  </a:lnTo>
                  <a:lnTo>
                    <a:pt x="1620" y="1617"/>
                  </a:lnTo>
                  <a:lnTo>
                    <a:pt x="1437" y="1809"/>
                  </a:lnTo>
                  <a:lnTo>
                    <a:pt x="1263" y="2009"/>
                  </a:lnTo>
                  <a:lnTo>
                    <a:pt x="1099" y="2217"/>
                  </a:lnTo>
                  <a:lnTo>
                    <a:pt x="944" y="2434"/>
                  </a:lnTo>
                  <a:lnTo>
                    <a:pt x="801" y="2658"/>
                  </a:lnTo>
                  <a:lnTo>
                    <a:pt x="668" y="2888"/>
                  </a:lnTo>
                  <a:lnTo>
                    <a:pt x="545" y="3127"/>
                  </a:lnTo>
                  <a:lnTo>
                    <a:pt x="434" y="3371"/>
                  </a:lnTo>
                  <a:lnTo>
                    <a:pt x="336" y="3622"/>
                  </a:lnTo>
                  <a:lnTo>
                    <a:pt x="248" y="3879"/>
                  </a:lnTo>
                  <a:lnTo>
                    <a:pt x="174" y="4141"/>
                  </a:lnTo>
                  <a:lnTo>
                    <a:pt x="113" y="4408"/>
                  </a:lnTo>
                  <a:lnTo>
                    <a:pt x="63" y="4679"/>
                  </a:lnTo>
                  <a:lnTo>
                    <a:pt x="28" y="4956"/>
                  </a:lnTo>
                  <a:lnTo>
                    <a:pt x="7" y="5236"/>
                  </a:lnTo>
                  <a:lnTo>
                    <a:pt x="0" y="5520"/>
                  </a:lnTo>
                  <a:lnTo>
                    <a:pt x="5" y="5710"/>
                  </a:lnTo>
                  <a:lnTo>
                    <a:pt x="21" y="5900"/>
                  </a:lnTo>
                  <a:lnTo>
                    <a:pt x="46" y="6092"/>
                  </a:lnTo>
                  <a:lnTo>
                    <a:pt x="81" y="6284"/>
                  </a:lnTo>
                  <a:lnTo>
                    <a:pt x="125" y="6475"/>
                  </a:lnTo>
                  <a:lnTo>
                    <a:pt x="176" y="6668"/>
                  </a:lnTo>
                  <a:lnTo>
                    <a:pt x="234" y="6861"/>
                  </a:lnTo>
                  <a:lnTo>
                    <a:pt x="301" y="7053"/>
                  </a:lnTo>
                  <a:lnTo>
                    <a:pt x="373" y="7247"/>
                  </a:lnTo>
                  <a:lnTo>
                    <a:pt x="451" y="7440"/>
                  </a:lnTo>
                  <a:lnTo>
                    <a:pt x="534" y="7634"/>
                  </a:lnTo>
                  <a:lnTo>
                    <a:pt x="623" y="7826"/>
                  </a:lnTo>
                  <a:lnTo>
                    <a:pt x="715" y="8020"/>
                  </a:lnTo>
                  <a:lnTo>
                    <a:pt x="811" y="8213"/>
                  </a:lnTo>
                  <a:lnTo>
                    <a:pt x="910" y="8405"/>
                  </a:lnTo>
                  <a:lnTo>
                    <a:pt x="1012" y="8597"/>
                  </a:lnTo>
                  <a:lnTo>
                    <a:pt x="1115" y="8789"/>
                  </a:lnTo>
                  <a:lnTo>
                    <a:pt x="1221" y="8980"/>
                  </a:lnTo>
                  <a:lnTo>
                    <a:pt x="1327" y="9171"/>
                  </a:lnTo>
                  <a:lnTo>
                    <a:pt x="1433" y="9361"/>
                  </a:lnTo>
                  <a:lnTo>
                    <a:pt x="1539" y="9550"/>
                  </a:lnTo>
                  <a:lnTo>
                    <a:pt x="1644" y="9739"/>
                  </a:lnTo>
                  <a:lnTo>
                    <a:pt x="1748" y="9927"/>
                  </a:lnTo>
                  <a:lnTo>
                    <a:pt x="1850" y="10115"/>
                  </a:lnTo>
                  <a:lnTo>
                    <a:pt x="1949" y="10300"/>
                  </a:lnTo>
                  <a:lnTo>
                    <a:pt x="2046" y="10485"/>
                  </a:lnTo>
                  <a:lnTo>
                    <a:pt x="2138" y="10670"/>
                  </a:lnTo>
                  <a:lnTo>
                    <a:pt x="2228" y="10852"/>
                  </a:lnTo>
                  <a:lnTo>
                    <a:pt x="2311" y="11033"/>
                  </a:lnTo>
                  <a:lnTo>
                    <a:pt x="2391" y="11214"/>
                  </a:lnTo>
                  <a:lnTo>
                    <a:pt x="2463" y="11392"/>
                  </a:lnTo>
                  <a:lnTo>
                    <a:pt x="2529" y="11569"/>
                  </a:lnTo>
                  <a:lnTo>
                    <a:pt x="2621" y="11829"/>
                  </a:lnTo>
                  <a:lnTo>
                    <a:pt x="2706" y="12083"/>
                  </a:lnTo>
                  <a:lnTo>
                    <a:pt x="2787" y="12329"/>
                  </a:lnTo>
                  <a:lnTo>
                    <a:pt x="2861" y="12568"/>
                  </a:lnTo>
                  <a:lnTo>
                    <a:pt x="2933" y="12801"/>
                  </a:lnTo>
                  <a:lnTo>
                    <a:pt x="3000" y="13026"/>
                  </a:lnTo>
                  <a:lnTo>
                    <a:pt x="3065" y="13245"/>
                  </a:lnTo>
                  <a:lnTo>
                    <a:pt x="3128" y="13456"/>
                  </a:lnTo>
                  <a:lnTo>
                    <a:pt x="3188" y="13658"/>
                  </a:lnTo>
                  <a:lnTo>
                    <a:pt x="3248" y="13855"/>
                  </a:lnTo>
                  <a:lnTo>
                    <a:pt x="3308" y="14043"/>
                  </a:lnTo>
                  <a:lnTo>
                    <a:pt x="3367" y="14223"/>
                  </a:lnTo>
                  <a:lnTo>
                    <a:pt x="3428" y="14396"/>
                  </a:lnTo>
                  <a:lnTo>
                    <a:pt x="3489" y="14562"/>
                  </a:lnTo>
                  <a:lnTo>
                    <a:pt x="3552" y="14718"/>
                  </a:lnTo>
                  <a:lnTo>
                    <a:pt x="3619" y="14867"/>
                  </a:lnTo>
                  <a:lnTo>
                    <a:pt x="3688" y="15007"/>
                  </a:lnTo>
                  <a:lnTo>
                    <a:pt x="3761" y="15140"/>
                  </a:lnTo>
                  <a:lnTo>
                    <a:pt x="3839" y="15263"/>
                  </a:lnTo>
                  <a:lnTo>
                    <a:pt x="3922" y="15379"/>
                  </a:lnTo>
                  <a:lnTo>
                    <a:pt x="4011" y="15485"/>
                  </a:lnTo>
                  <a:lnTo>
                    <a:pt x="4105" y="15582"/>
                  </a:lnTo>
                  <a:lnTo>
                    <a:pt x="4207" y="15672"/>
                  </a:lnTo>
                  <a:lnTo>
                    <a:pt x="4316" y="15752"/>
                  </a:lnTo>
                  <a:lnTo>
                    <a:pt x="4433" y="15822"/>
                  </a:lnTo>
                  <a:lnTo>
                    <a:pt x="4559" y="15884"/>
                  </a:lnTo>
                  <a:lnTo>
                    <a:pt x="4694" y="15937"/>
                  </a:lnTo>
                  <a:lnTo>
                    <a:pt x="4840" y="15981"/>
                  </a:lnTo>
                  <a:lnTo>
                    <a:pt x="4995" y="16014"/>
                  </a:lnTo>
                  <a:lnTo>
                    <a:pt x="5161" y="16038"/>
                  </a:lnTo>
                  <a:lnTo>
                    <a:pt x="5340" y="16053"/>
                  </a:lnTo>
                  <a:lnTo>
                    <a:pt x="5532" y="16058"/>
                  </a:lnTo>
                  <a:lnTo>
                    <a:pt x="5726" y="16053"/>
                  </a:lnTo>
                  <a:lnTo>
                    <a:pt x="5907" y="16039"/>
                  </a:lnTo>
                  <a:lnTo>
                    <a:pt x="6076" y="16014"/>
                  </a:lnTo>
                  <a:lnTo>
                    <a:pt x="6232" y="15981"/>
                  </a:lnTo>
                  <a:lnTo>
                    <a:pt x="6379" y="15938"/>
                  </a:lnTo>
                  <a:lnTo>
                    <a:pt x="6516" y="15885"/>
                  </a:lnTo>
                  <a:lnTo>
                    <a:pt x="6643" y="15823"/>
                  </a:lnTo>
                  <a:lnTo>
                    <a:pt x="6760" y="15753"/>
                  </a:lnTo>
                  <a:lnTo>
                    <a:pt x="6870" y="15673"/>
                  </a:lnTo>
                  <a:lnTo>
                    <a:pt x="6972" y="15584"/>
                  </a:lnTo>
                  <a:lnTo>
                    <a:pt x="7066" y="15487"/>
                  </a:lnTo>
                  <a:lnTo>
                    <a:pt x="7155" y="15381"/>
                  </a:lnTo>
                  <a:lnTo>
                    <a:pt x="7237" y="15266"/>
                  </a:lnTo>
                  <a:lnTo>
                    <a:pt x="7315" y="15143"/>
                  </a:lnTo>
                  <a:lnTo>
                    <a:pt x="7387" y="15011"/>
                  </a:lnTo>
                  <a:lnTo>
                    <a:pt x="7455" y="14871"/>
                  </a:lnTo>
                  <a:lnTo>
                    <a:pt x="7521" y="14723"/>
                  </a:lnTo>
                  <a:lnTo>
                    <a:pt x="7584" y="14567"/>
                  </a:lnTo>
                  <a:lnTo>
                    <a:pt x="7645" y="14402"/>
                  </a:lnTo>
                  <a:lnTo>
                    <a:pt x="7704" y="14229"/>
                  </a:lnTo>
                  <a:lnTo>
                    <a:pt x="7762" y="14050"/>
                  </a:lnTo>
                  <a:lnTo>
                    <a:pt x="7821" y="13862"/>
                  </a:lnTo>
                  <a:lnTo>
                    <a:pt x="7880" y="13666"/>
                  </a:lnTo>
                  <a:lnTo>
                    <a:pt x="7939" y="13464"/>
                  </a:lnTo>
                  <a:lnTo>
                    <a:pt x="8002" y="13253"/>
                  </a:lnTo>
                  <a:lnTo>
                    <a:pt x="8065" y="13035"/>
                  </a:lnTo>
                  <a:lnTo>
                    <a:pt x="8132" y="12810"/>
                  </a:lnTo>
                  <a:lnTo>
                    <a:pt x="8203" y="12578"/>
                  </a:lnTo>
                  <a:lnTo>
                    <a:pt x="8277" y="12340"/>
                  </a:lnTo>
                  <a:lnTo>
                    <a:pt x="8357" y="12094"/>
                  </a:lnTo>
                  <a:lnTo>
                    <a:pt x="8442" y="11841"/>
                  </a:lnTo>
                  <a:lnTo>
                    <a:pt x="8534" y="11581"/>
                  </a:lnTo>
                  <a:lnTo>
                    <a:pt x="8600" y="11403"/>
                  </a:lnTo>
                  <a:lnTo>
                    <a:pt x="8673" y="11224"/>
                  </a:lnTo>
                  <a:lnTo>
                    <a:pt x="8752" y="11043"/>
                  </a:lnTo>
                  <a:lnTo>
                    <a:pt x="8836" y="10861"/>
                  </a:lnTo>
                  <a:lnTo>
                    <a:pt x="8926" y="10678"/>
                  </a:lnTo>
                  <a:lnTo>
                    <a:pt x="9018" y="10493"/>
                  </a:lnTo>
                  <a:lnTo>
                    <a:pt x="9115" y="10307"/>
                  </a:lnTo>
                  <a:lnTo>
                    <a:pt x="9214" y="10121"/>
                  </a:lnTo>
                  <a:lnTo>
                    <a:pt x="9316" y="9932"/>
                  </a:lnTo>
                  <a:lnTo>
                    <a:pt x="9421" y="9743"/>
                  </a:lnTo>
                  <a:lnTo>
                    <a:pt x="9525" y="9554"/>
                  </a:lnTo>
                  <a:lnTo>
                    <a:pt x="9632" y="9363"/>
                  </a:lnTo>
                  <a:lnTo>
                    <a:pt x="9737" y="9172"/>
                  </a:lnTo>
                  <a:lnTo>
                    <a:pt x="9844" y="8980"/>
                  </a:lnTo>
                  <a:lnTo>
                    <a:pt x="9949" y="8788"/>
                  </a:lnTo>
                  <a:lnTo>
                    <a:pt x="10052" y="8596"/>
                  </a:lnTo>
                  <a:lnTo>
                    <a:pt x="10154" y="8402"/>
                  </a:lnTo>
                  <a:lnTo>
                    <a:pt x="10253" y="8210"/>
                  </a:lnTo>
                  <a:lnTo>
                    <a:pt x="10349" y="8016"/>
                  </a:lnTo>
                  <a:lnTo>
                    <a:pt x="10441" y="7822"/>
                  </a:lnTo>
                  <a:lnTo>
                    <a:pt x="10529" y="7629"/>
                  </a:lnTo>
                  <a:lnTo>
                    <a:pt x="10612" y="7435"/>
                  </a:lnTo>
                  <a:lnTo>
                    <a:pt x="10691" y="7241"/>
                  </a:lnTo>
                  <a:lnTo>
                    <a:pt x="10763" y="7048"/>
                  </a:lnTo>
                  <a:lnTo>
                    <a:pt x="10829" y="6856"/>
                  </a:lnTo>
                  <a:lnTo>
                    <a:pt x="10888" y="6663"/>
                  </a:lnTo>
                  <a:lnTo>
                    <a:pt x="10939" y="6470"/>
                  </a:lnTo>
                  <a:lnTo>
                    <a:pt x="10983" y="6280"/>
                  </a:lnTo>
                  <a:lnTo>
                    <a:pt x="11017" y="6088"/>
                  </a:lnTo>
                  <a:lnTo>
                    <a:pt x="11042" y="5898"/>
                  </a:lnTo>
                  <a:lnTo>
                    <a:pt x="11058" y="5709"/>
                  </a:lnTo>
                  <a:lnTo>
                    <a:pt x="11063" y="5520"/>
                  </a:lnTo>
                  <a:lnTo>
                    <a:pt x="11056" y="5236"/>
                  </a:lnTo>
                  <a:lnTo>
                    <a:pt x="11035" y="4956"/>
                  </a:lnTo>
                  <a:lnTo>
                    <a:pt x="11000" y="4679"/>
                  </a:lnTo>
                  <a:lnTo>
                    <a:pt x="10950" y="4408"/>
                  </a:lnTo>
                  <a:lnTo>
                    <a:pt x="10889" y="4141"/>
                  </a:lnTo>
                  <a:lnTo>
                    <a:pt x="10815" y="3879"/>
                  </a:lnTo>
                  <a:lnTo>
                    <a:pt x="10727" y="3622"/>
                  </a:lnTo>
                  <a:lnTo>
                    <a:pt x="10629" y="3371"/>
                  </a:lnTo>
                  <a:lnTo>
                    <a:pt x="10518" y="3127"/>
                  </a:lnTo>
                  <a:lnTo>
                    <a:pt x="10395" y="2888"/>
                  </a:lnTo>
                  <a:lnTo>
                    <a:pt x="10262" y="2658"/>
                  </a:lnTo>
                  <a:lnTo>
                    <a:pt x="10119" y="2434"/>
                  </a:lnTo>
                  <a:lnTo>
                    <a:pt x="9964" y="2217"/>
                  </a:lnTo>
                  <a:lnTo>
                    <a:pt x="9800" y="2009"/>
                  </a:lnTo>
                  <a:lnTo>
                    <a:pt x="9626" y="1809"/>
                  </a:lnTo>
                  <a:lnTo>
                    <a:pt x="9443" y="1617"/>
                  </a:lnTo>
                  <a:lnTo>
                    <a:pt x="9251" y="1434"/>
                  </a:lnTo>
                  <a:lnTo>
                    <a:pt x="9050" y="1261"/>
                  </a:lnTo>
                  <a:lnTo>
                    <a:pt x="8841" y="1097"/>
                  </a:lnTo>
                  <a:lnTo>
                    <a:pt x="8624" y="942"/>
                  </a:lnTo>
                  <a:lnTo>
                    <a:pt x="8400" y="799"/>
                  </a:lnTo>
                  <a:lnTo>
                    <a:pt x="8169" y="666"/>
                  </a:lnTo>
                  <a:lnTo>
                    <a:pt x="7929" y="544"/>
                  </a:lnTo>
                  <a:lnTo>
                    <a:pt x="7685" y="434"/>
                  </a:lnTo>
                  <a:lnTo>
                    <a:pt x="7433" y="335"/>
                  </a:lnTo>
                  <a:lnTo>
                    <a:pt x="7176" y="248"/>
                  </a:lnTo>
                  <a:lnTo>
                    <a:pt x="6913" y="174"/>
                  </a:lnTo>
                  <a:lnTo>
                    <a:pt x="6646" y="112"/>
                  </a:lnTo>
                  <a:lnTo>
                    <a:pt x="6374" y="63"/>
                  </a:lnTo>
                  <a:lnTo>
                    <a:pt x="6097" y="28"/>
                  </a:lnTo>
                  <a:lnTo>
                    <a:pt x="5816" y="7"/>
                  </a:lnTo>
                  <a:lnTo>
                    <a:pt x="55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73" name="iṥlíḓe">
              <a:extLst>
                <a:ext uri="{FF2B5EF4-FFF2-40B4-BE49-F238E27FC236}">
                  <a16:creationId xmlns:a16="http://schemas.microsoft.com/office/drawing/2014/main" id="{ADAFC839-486E-4996-861B-79B1CCA401D5}"/>
                </a:ext>
              </a:extLst>
            </p:cNvPr>
            <p:cNvSpPr/>
            <p:nvPr/>
          </p:nvSpPr>
          <p:spPr bwMode="auto">
            <a:xfrm>
              <a:off x="10691011" y="298221"/>
              <a:ext cx="78177" cy="78177"/>
            </a:xfrm>
            <a:custGeom>
              <a:avLst/>
              <a:gdLst>
                <a:gd name="T0" fmla="*/ 2559 w 3269"/>
                <a:gd name="T1" fmla="*/ 35 h 3262"/>
                <a:gd name="T2" fmla="*/ 1981 w 3269"/>
                <a:gd name="T3" fmla="*/ 183 h 3262"/>
                <a:gd name="T4" fmla="*/ 1455 w 3269"/>
                <a:gd name="T5" fmla="*/ 437 h 3262"/>
                <a:gd name="T6" fmla="*/ 990 w 3269"/>
                <a:gd name="T7" fmla="*/ 783 h 3262"/>
                <a:gd name="T8" fmla="*/ 601 w 3269"/>
                <a:gd name="T9" fmla="*/ 1210 h 3262"/>
                <a:gd name="T10" fmla="*/ 298 w 3269"/>
                <a:gd name="T11" fmla="*/ 1706 h 3262"/>
                <a:gd name="T12" fmla="*/ 96 w 3269"/>
                <a:gd name="T13" fmla="*/ 2259 h 3262"/>
                <a:gd name="T14" fmla="*/ 4 w 3269"/>
                <a:gd name="T15" fmla="*/ 2856 h 3262"/>
                <a:gd name="T16" fmla="*/ 3 w 3269"/>
                <a:gd name="T17" fmla="*/ 3049 h 3262"/>
                <a:gd name="T18" fmla="*/ 15 w 3269"/>
                <a:gd name="T19" fmla="*/ 3097 h 3262"/>
                <a:gd name="T20" fmla="*/ 37 w 3269"/>
                <a:gd name="T21" fmla="*/ 3141 h 3262"/>
                <a:gd name="T22" fmla="*/ 66 w 3269"/>
                <a:gd name="T23" fmla="*/ 3180 h 3262"/>
                <a:gd name="T24" fmla="*/ 101 w 3269"/>
                <a:gd name="T25" fmla="*/ 3212 h 3262"/>
                <a:gd name="T26" fmla="*/ 143 w 3269"/>
                <a:gd name="T27" fmla="*/ 3237 h 3262"/>
                <a:gd name="T28" fmla="*/ 189 w 3269"/>
                <a:gd name="T29" fmla="*/ 3254 h 3262"/>
                <a:gd name="T30" fmla="*/ 239 w 3269"/>
                <a:gd name="T31" fmla="*/ 3262 h 3262"/>
                <a:gd name="T32" fmla="*/ 290 w 3269"/>
                <a:gd name="T33" fmla="*/ 3259 h 3262"/>
                <a:gd name="T34" fmla="*/ 338 w 3269"/>
                <a:gd name="T35" fmla="*/ 3247 h 3262"/>
                <a:gd name="T36" fmla="*/ 382 w 3269"/>
                <a:gd name="T37" fmla="*/ 3226 h 3262"/>
                <a:gd name="T38" fmla="*/ 421 w 3269"/>
                <a:gd name="T39" fmla="*/ 3197 h 3262"/>
                <a:gd name="T40" fmla="*/ 453 w 3269"/>
                <a:gd name="T41" fmla="*/ 3161 h 3262"/>
                <a:gd name="T42" fmla="*/ 478 w 3269"/>
                <a:gd name="T43" fmla="*/ 3119 h 3262"/>
                <a:gd name="T44" fmla="*/ 495 w 3269"/>
                <a:gd name="T45" fmla="*/ 3073 h 3262"/>
                <a:gd name="T46" fmla="*/ 503 w 3269"/>
                <a:gd name="T47" fmla="*/ 3024 h 3262"/>
                <a:gd name="T48" fmla="*/ 532 w 3269"/>
                <a:gd name="T49" fmla="*/ 2630 h 3262"/>
                <a:gd name="T50" fmla="*/ 656 w 3269"/>
                <a:gd name="T51" fmla="*/ 2149 h 3262"/>
                <a:gd name="T52" fmla="*/ 867 w 3269"/>
                <a:gd name="T53" fmla="*/ 1711 h 3262"/>
                <a:gd name="T54" fmla="*/ 1157 w 3269"/>
                <a:gd name="T55" fmla="*/ 1325 h 3262"/>
                <a:gd name="T56" fmla="*/ 1514 w 3269"/>
                <a:gd name="T57" fmla="*/ 1001 h 3262"/>
                <a:gd name="T58" fmla="*/ 1928 w 3269"/>
                <a:gd name="T59" fmla="*/ 750 h 3262"/>
                <a:gd name="T60" fmla="*/ 2390 w 3269"/>
                <a:gd name="T61" fmla="*/ 581 h 3262"/>
                <a:gd name="T62" fmla="*/ 2889 w 3269"/>
                <a:gd name="T63" fmla="*/ 505 h 3262"/>
                <a:gd name="T64" fmla="*/ 3056 w 3269"/>
                <a:gd name="T65" fmla="*/ 499 h 3262"/>
                <a:gd name="T66" fmla="*/ 3104 w 3269"/>
                <a:gd name="T67" fmla="*/ 487 h 3262"/>
                <a:gd name="T68" fmla="*/ 3148 w 3269"/>
                <a:gd name="T69" fmla="*/ 466 h 3262"/>
                <a:gd name="T70" fmla="*/ 3186 w 3269"/>
                <a:gd name="T71" fmla="*/ 437 h 3262"/>
                <a:gd name="T72" fmla="*/ 3219 w 3269"/>
                <a:gd name="T73" fmla="*/ 402 h 3262"/>
                <a:gd name="T74" fmla="*/ 3244 w 3269"/>
                <a:gd name="T75" fmla="*/ 359 h 3262"/>
                <a:gd name="T76" fmla="*/ 3261 w 3269"/>
                <a:gd name="T77" fmla="*/ 314 h 3262"/>
                <a:gd name="T78" fmla="*/ 3269 w 3269"/>
                <a:gd name="T79" fmla="*/ 264 h 3262"/>
                <a:gd name="T80" fmla="*/ 3266 w 3269"/>
                <a:gd name="T81" fmla="*/ 213 h 3262"/>
                <a:gd name="T82" fmla="*/ 3254 w 3269"/>
                <a:gd name="T83" fmla="*/ 165 h 3262"/>
                <a:gd name="T84" fmla="*/ 3233 w 3269"/>
                <a:gd name="T85" fmla="*/ 120 h 3262"/>
                <a:gd name="T86" fmla="*/ 3204 w 3269"/>
                <a:gd name="T87" fmla="*/ 82 h 3262"/>
                <a:gd name="T88" fmla="*/ 3168 w 3269"/>
                <a:gd name="T89" fmla="*/ 50 h 3262"/>
                <a:gd name="T90" fmla="*/ 3126 w 3269"/>
                <a:gd name="T91" fmla="*/ 25 h 3262"/>
                <a:gd name="T92" fmla="*/ 3080 w 3269"/>
                <a:gd name="T93" fmla="*/ 8 h 3262"/>
                <a:gd name="T94" fmla="*/ 3031 w 3269"/>
                <a:gd name="T95" fmla="*/ 0 h 3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269" h="3262">
                  <a:moveTo>
                    <a:pt x="3018" y="0"/>
                  </a:moveTo>
                  <a:lnTo>
                    <a:pt x="2863" y="4"/>
                  </a:lnTo>
                  <a:lnTo>
                    <a:pt x="2710" y="15"/>
                  </a:lnTo>
                  <a:lnTo>
                    <a:pt x="2559" y="35"/>
                  </a:lnTo>
                  <a:lnTo>
                    <a:pt x="2410" y="61"/>
                  </a:lnTo>
                  <a:lnTo>
                    <a:pt x="2264" y="95"/>
                  </a:lnTo>
                  <a:lnTo>
                    <a:pt x="2121" y="136"/>
                  </a:lnTo>
                  <a:lnTo>
                    <a:pt x="1981" y="183"/>
                  </a:lnTo>
                  <a:lnTo>
                    <a:pt x="1844" y="237"/>
                  </a:lnTo>
                  <a:lnTo>
                    <a:pt x="1710" y="297"/>
                  </a:lnTo>
                  <a:lnTo>
                    <a:pt x="1580" y="364"/>
                  </a:lnTo>
                  <a:lnTo>
                    <a:pt x="1455" y="437"/>
                  </a:lnTo>
                  <a:lnTo>
                    <a:pt x="1332" y="515"/>
                  </a:lnTo>
                  <a:lnTo>
                    <a:pt x="1213" y="599"/>
                  </a:lnTo>
                  <a:lnTo>
                    <a:pt x="1100" y="689"/>
                  </a:lnTo>
                  <a:lnTo>
                    <a:pt x="990" y="783"/>
                  </a:lnTo>
                  <a:lnTo>
                    <a:pt x="885" y="883"/>
                  </a:lnTo>
                  <a:lnTo>
                    <a:pt x="785" y="988"/>
                  </a:lnTo>
                  <a:lnTo>
                    <a:pt x="690" y="1097"/>
                  </a:lnTo>
                  <a:lnTo>
                    <a:pt x="601" y="1210"/>
                  </a:lnTo>
                  <a:lnTo>
                    <a:pt x="516" y="1329"/>
                  </a:lnTo>
                  <a:lnTo>
                    <a:pt x="438" y="1450"/>
                  </a:lnTo>
                  <a:lnTo>
                    <a:pt x="365" y="1577"/>
                  </a:lnTo>
                  <a:lnTo>
                    <a:pt x="298" y="1706"/>
                  </a:lnTo>
                  <a:lnTo>
                    <a:pt x="238" y="1840"/>
                  </a:lnTo>
                  <a:lnTo>
                    <a:pt x="183" y="1976"/>
                  </a:lnTo>
                  <a:lnTo>
                    <a:pt x="136" y="2117"/>
                  </a:lnTo>
                  <a:lnTo>
                    <a:pt x="96" y="2259"/>
                  </a:lnTo>
                  <a:lnTo>
                    <a:pt x="62" y="2405"/>
                  </a:lnTo>
                  <a:lnTo>
                    <a:pt x="36" y="2553"/>
                  </a:lnTo>
                  <a:lnTo>
                    <a:pt x="16" y="2704"/>
                  </a:lnTo>
                  <a:lnTo>
                    <a:pt x="4" y="2856"/>
                  </a:lnTo>
                  <a:lnTo>
                    <a:pt x="0" y="3011"/>
                  </a:lnTo>
                  <a:lnTo>
                    <a:pt x="0" y="3024"/>
                  </a:lnTo>
                  <a:lnTo>
                    <a:pt x="1" y="3037"/>
                  </a:lnTo>
                  <a:lnTo>
                    <a:pt x="3" y="3049"/>
                  </a:lnTo>
                  <a:lnTo>
                    <a:pt x="5" y="3061"/>
                  </a:lnTo>
                  <a:lnTo>
                    <a:pt x="8" y="3073"/>
                  </a:lnTo>
                  <a:lnTo>
                    <a:pt x="11" y="3085"/>
                  </a:lnTo>
                  <a:lnTo>
                    <a:pt x="15" y="3097"/>
                  </a:lnTo>
                  <a:lnTo>
                    <a:pt x="20" y="3108"/>
                  </a:lnTo>
                  <a:lnTo>
                    <a:pt x="25" y="3119"/>
                  </a:lnTo>
                  <a:lnTo>
                    <a:pt x="30" y="3130"/>
                  </a:lnTo>
                  <a:lnTo>
                    <a:pt x="37" y="3141"/>
                  </a:lnTo>
                  <a:lnTo>
                    <a:pt x="44" y="3151"/>
                  </a:lnTo>
                  <a:lnTo>
                    <a:pt x="51" y="3161"/>
                  </a:lnTo>
                  <a:lnTo>
                    <a:pt x="58" y="3171"/>
                  </a:lnTo>
                  <a:lnTo>
                    <a:pt x="66" y="3180"/>
                  </a:lnTo>
                  <a:lnTo>
                    <a:pt x="74" y="3189"/>
                  </a:lnTo>
                  <a:lnTo>
                    <a:pt x="83" y="3197"/>
                  </a:lnTo>
                  <a:lnTo>
                    <a:pt x="92" y="3205"/>
                  </a:lnTo>
                  <a:lnTo>
                    <a:pt x="101" y="3212"/>
                  </a:lnTo>
                  <a:lnTo>
                    <a:pt x="111" y="3219"/>
                  </a:lnTo>
                  <a:lnTo>
                    <a:pt x="121" y="3226"/>
                  </a:lnTo>
                  <a:lnTo>
                    <a:pt x="132" y="3232"/>
                  </a:lnTo>
                  <a:lnTo>
                    <a:pt x="143" y="3237"/>
                  </a:lnTo>
                  <a:lnTo>
                    <a:pt x="154" y="3242"/>
                  </a:lnTo>
                  <a:lnTo>
                    <a:pt x="165" y="3247"/>
                  </a:lnTo>
                  <a:lnTo>
                    <a:pt x="177" y="3251"/>
                  </a:lnTo>
                  <a:lnTo>
                    <a:pt x="189" y="3254"/>
                  </a:lnTo>
                  <a:lnTo>
                    <a:pt x="201" y="3257"/>
                  </a:lnTo>
                  <a:lnTo>
                    <a:pt x="214" y="3259"/>
                  </a:lnTo>
                  <a:lnTo>
                    <a:pt x="227" y="3261"/>
                  </a:lnTo>
                  <a:lnTo>
                    <a:pt x="239" y="3262"/>
                  </a:lnTo>
                  <a:lnTo>
                    <a:pt x="252" y="3262"/>
                  </a:lnTo>
                  <a:lnTo>
                    <a:pt x="265" y="3262"/>
                  </a:lnTo>
                  <a:lnTo>
                    <a:pt x="278" y="3261"/>
                  </a:lnTo>
                  <a:lnTo>
                    <a:pt x="290" y="3259"/>
                  </a:lnTo>
                  <a:lnTo>
                    <a:pt x="302" y="3257"/>
                  </a:lnTo>
                  <a:lnTo>
                    <a:pt x="315" y="3254"/>
                  </a:lnTo>
                  <a:lnTo>
                    <a:pt x="326" y="3251"/>
                  </a:lnTo>
                  <a:lnTo>
                    <a:pt x="338" y="3247"/>
                  </a:lnTo>
                  <a:lnTo>
                    <a:pt x="349" y="3242"/>
                  </a:lnTo>
                  <a:lnTo>
                    <a:pt x="360" y="3237"/>
                  </a:lnTo>
                  <a:lnTo>
                    <a:pt x="371" y="3232"/>
                  </a:lnTo>
                  <a:lnTo>
                    <a:pt x="382" y="3226"/>
                  </a:lnTo>
                  <a:lnTo>
                    <a:pt x="393" y="3219"/>
                  </a:lnTo>
                  <a:lnTo>
                    <a:pt x="403" y="3212"/>
                  </a:lnTo>
                  <a:lnTo>
                    <a:pt x="412" y="3205"/>
                  </a:lnTo>
                  <a:lnTo>
                    <a:pt x="421" y="3197"/>
                  </a:lnTo>
                  <a:lnTo>
                    <a:pt x="430" y="3189"/>
                  </a:lnTo>
                  <a:lnTo>
                    <a:pt x="438" y="3180"/>
                  </a:lnTo>
                  <a:lnTo>
                    <a:pt x="446" y="3171"/>
                  </a:lnTo>
                  <a:lnTo>
                    <a:pt x="453" y="3161"/>
                  </a:lnTo>
                  <a:lnTo>
                    <a:pt x="460" y="3151"/>
                  </a:lnTo>
                  <a:lnTo>
                    <a:pt x="467" y="3141"/>
                  </a:lnTo>
                  <a:lnTo>
                    <a:pt x="473" y="3130"/>
                  </a:lnTo>
                  <a:lnTo>
                    <a:pt x="478" y="3119"/>
                  </a:lnTo>
                  <a:lnTo>
                    <a:pt x="483" y="3108"/>
                  </a:lnTo>
                  <a:lnTo>
                    <a:pt x="488" y="3097"/>
                  </a:lnTo>
                  <a:lnTo>
                    <a:pt x="492" y="3085"/>
                  </a:lnTo>
                  <a:lnTo>
                    <a:pt x="495" y="3073"/>
                  </a:lnTo>
                  <a:lnTo>
                    <a:pt x="498" y="3061"/>
                  </a:lnTo>
                  <a:lnTo>
                    <a:pt x="500" y="3049"/>
                  </a:lnTo>
                  <a:lnTo>
                    <a:pt x="502" y="3037"/>
                  </a:lnTo>
                  <a:lnTo>
                    <a:pt x="503" y="3024"/>
                  </a:lnTo>
                  <a:lnTo>
                    <a:pt x="503" y="3011"/>
                  </a:lnTo>
                  <a:lnTo>
                    <a:pt x="506" y="2882"/>
                  </a:lnTo>
                  <a:lnTo>
                    <a:pt x="516" y="2755"/>
                  </a:lnTo>
                  <a:lnTo>
                    <a:pt x="532" y="2630"/>
                  </a:lnTo>
                  <a:lnTo>
                    <a:pt x="554" y="2506"/>
                  </a:lnTo>
                  <a:lnTo>
                    <a:pt x="583" y="2385"/>
                  </a:lnTo>
                  <a:lnTo>
                    <a:pt x="617" y="2265"/>
                  </a:lnTo>
                  <a:lnTo>
                    <a:pt x="656" y="2149"/>
                  </a:lnTo>
                  <a:lnTo>
                    <a:pt x="701" y="2035"/>
                  </a:lnTo>
                  <a:lnTo>
                    <a:pt x="752" y="1924"/>
                  </a:lnTo>
                  <a:lnTo>
                    <a:pt x="807" y="1816"/>
                  </a:lnTo>
                  <a:lnTo>
                    <a:pt x="867" y="1711"/>
                  </a:lnTo>
                  <a:lnTo>
                    <a:pt x="934" y="1609"/>
                  </a:lnTo>
                  <a:lnTo>
                    <a:pt x="1003" y="1511"/>
                  </a:lnTo>
                  <a:lnTo>
                    <a:pt x="1078" y="1416"/>
                  </a:lnTo>
                  <a:lnTo>
                    <a:pt x="1157" y="1325"/>
                  </a:lnTo>
                  <a:lnTo>
                    <a:pt x="1240" y="1238"/>
                  </a:lnTo>
                  <a:lnTo>
                    <a:pt x="1328" y="1154"/>
                  </a:lnTo>
                  <a:lnTo>
                    <a:pt x="1419" y="1076"/>
                  </a:lnTo>
                  <a:lnTo>
                    <a:pt x="1514" y="1001"/>
                  </a:lnTo>
                  <a:lnTo>
                    <a:pt x="1612" y="931"/>
                  </a:lnTo>
                  <a:lnTo>
                    <a:pt x="1715" y="865"/>
                  </a:lnTo>
                  <a:lnTo>
                    <a:pt x="1820" y="805"/>
                  </a:lnTo>
                  <a:lnTo>
                    <a:pt x="1928" y="750"/>
                  </a:lnTo>
                  <a:lnTo>
                    <a:pt x="2040" y="700"/>
                  </a:lnTo>
                  <a:lnTo>
                    <a:pt x="2154" y="654"/>
                  </a:lnTo>
                  <a:lnTo>
                    <a:pt x="2270" y="615"/>
                  </a:lnTo>
                  <a:lnTo>
                    <a:pt x="2390" y="581"/>
                  </a:lnTo>
                  <a:lnTo>
                    <a:pt x="2512" y="553"/>
                  </a:lnTo>
                  <a:lnTo>
                    <a:pt x="2635" y="531"/>
                  </a:lnTo>
                  <a:lnTo>
                    <a:pt x="2761" y="515"/>
                  </a:lnTo>
                  <a:lnTo>
                    <a:pt x="2889" y="505"/>
                  </a:lnTo>
                  <a:lnTo>
                    <a:pt x="3018" y="502"/>
                  </a:lnTo>
                  <a:lnTo>
                    <a:pt x="3031" y="502"/>
                  </a:lnTo>
                  <a:lnTo>
                    <a:pt x="3044" y="501"/>
                  </a:lnTo>
                  <a:lnTo>
                    <a:pt x="3056" y="499"/>
                  </a:lnTo>
                  <a:lnTo>
                    <a:pt x="3068" y="497"/>
                  </a:lnTo>
                  <a:lnTo>
                    <a:pt x="3080" y="494"/>
                  </a:lnTo>
                  <a:lnTo>
                    <a:pt x="3092" y="491"/>
                  </a:lnTo>
                  <a:lnTo>
                    <a:pt x="3104" y="487"/>
                  </a:lnTo>
                  <a:lnTo>
                    <a:pt x="3115" y="482"/>
                  </a:lnTo>
                  <a:lnTo>
                    <a:pt x="3126" y="477"/>
                  </a:lnTo>
                  <a:lnTo>
                    <a:pt x="3137" y="472"/>
                  </a:lnTo>
                  <a:lnTo>
                    <a:pt x="3148" y="466"/>
                  </a:lnTo>
                  <a:lnTo>
                    <a:pt x="3158" y="459"/>
                  </a:lnTo>
                  <a:lnTo>
                    <a:pt x="3168" y="452"/>
                  </a:lnTo>
                  <a:lnTo>
                    <a:pt x="3177" y="445"/>
                  </a:lnTo>
                  <a:lnTo>
                    <a:pt x="3186" y="437"/>
                  </a:lnTo>
                  <a:lnTo>
                    <a:pt x="3196" y="429"/>
                  </a:lnTo>
                  <a:lnTo>
                    <a:pt x="3204" y="420"/>
                  </a:lnTo>
                  <a:lnTo>
                    <a:pt x="3212" y="411"/>
                  </a:lnTo>
                  <a:lnTo>
                    <a:pt x="3219" y="402"/>
                  </a:lnTo>
                  <a:lnTo>
                    <a:pt x="3226" y="391"/>
                  </a:lnTo>
                  <a:lnTo>
                    <a:pt x="3233" y="381"/>
                  </a:lnTo>
                  <a:lnTo>
                    <a:pt x="3239" y="370"/>
                  </a:lnTo>
                  <a:lnTo>
                    <a:pt x="3244" y="359"/>
                  </a:lnTo>
                  <a:lnTo>
                    <a:pt x="3249" y="348"/>
                  </a:lnTo>
                  <a:lnTo>
                    <a:pt x="3254" y="337"/>
                  </a:lnTo>
                  <a:lnTo>
                    <a:pt x="3258" y="325"/>
                  </a:lnTo>
                  <a:lnTo>
                    <a:pt x="3261" y="314"/>
                  </a:lnTo>
                  <a:lnTo>
                    <a:pt x="3264" y="301"/>
                  </a:lnTo>
                  <a:lnTo>
                    <a:pt x="3266" y="289"/>
                  </a:lnTo>
                  <a:lnTo>
                    <a:pt x="3268" y="277"/>
                  </a:lnTo>
                  <a:lnTo>
                    <a:pt x="3269" y="264"/>
                  </a:lnTo>
                  <a:lnTo>
                    <a:pt x="3269" y="251"/>
                  </a:lnTo>
                  <a:lnTo>
                    <a:pt x="3269" y="238"/>
                  </a:lnTo>
                  <a:lnTo>
                    <a:pt x="3268" y="226"/>
                  </a:lnTo>
                  <a:lnTo>
                    <a:pt x="3266" y="213"/>
                  </a:lnTo>
                  <a:lnTo>
                    <a:pt x="3264" y="201"/>
                  </a:lnTo>
                  <a:lnTo>
                    <a:pt x="3261" y="189"/>
                  </a:lnTo>
                  <a:lnTo>
                    <a:pt x="3258" y="177"/>
                  </a:lnTo>
                  <a:lnTo>
                    <a:pt x="3254" y="165"/>
                  </a:lnTo>
                  <a:lnTo>
                    <a:pt x="3249" y="154"/>
                  </a:lnTo>
                  <a:lnTo>
                    <a:pt x="3244" y="143"/>
                  </a:lnTo>
                  <a:lnTo>
                    <a:pt x="3239" y="132"/>
                  </a:lnTo>
                  <a:lnTo>
                    <a:pt x="3233" y="120"/>
                  </a:lnTo>
                  <a:lnTo>
                    <a:pt x="3226" y="110"/>
                  </a:lnTo>
                  <a:lnTo>
                    <a:pt x="3219" y="100"/>
                  </a:lnTo>
                  <a:lnTo>
                    <a:pt x="3212" y="91"/>
                  </a:lnTo>
                  <a:lnTo>
                    <a:pt x="3204" y="82"/>
                  </a:lnTo>
                  <a:lnTo>
                    <a:pt x="3196" y="73"/>
                  </a:lnTo>
                  <a:lnTo>
                    <a:pt x="3186" y="65"/>
                  </a:lnTo>
                  <a:lnTo>
                    <a:pt x="3177" y="57"/>
                  </a:lnTo>
                  <a:lnTo>
                    <a:pt x="3168" y="50"/>
                  </a:lnTo>
                  <a:lnTo>
                    <a:pt x="3158" y="43"/>
                  </a:lnTo>
                  <a:lnTo>
                    <a:pt x="3148" y="36"/>
                  </a:lnTo>
                  <a:lnTo>
                    <a:pt x="3137" y="30"/>
                  </a:lnTo>
                  <a:lnTo>
                    <a:pt x="3126" y="25"/>
                  </a:lnTo>
                  <a:lnTo>
                    <a:pt x="3115" y="20"/>
                  </a:lnTo>
                  <a:lnTo>
                    <a:pt x="3104" y="15"/>
                  </a:lnTo>
                  <a:lnTo>
                    <a:pt x="3092" y="11"/>
                  </a:lnTo>
                  <a:lnTo>
                    <a:pt x="3080" y="8"/>
                  </a:lnTo>
                  <a:lnTo>
                    <a:pt x="3068" y="5"/>
                  </a:lnTo>
                  <a:lnTo>
                    <a:pt x="3056" y="3"/>
                  </a:lnTo>
                  <a:lnTo>
                    <a:pt x="3044" y="1"/>
                  </a:lnTo>
                  <a:lnTo>
                    <a:pt x="3031" y="0"/>
                  </a:lnTo>
                  <a:lnTo>
                    <a:pt x="30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74" name="íṧ1ïḓé">
              <a:extLst>
                <a:ext uri="{FF2B5EF4-FFF2-40B4-BE49-F238E27FC236}">
                  <a16:creationId xmlns:a16="http://schemas.microsoft.com/office/drawing/2014/main" id="{BD011CD4-3855-4A27-A9C6-BA45F05C527C}"/>
                </a:ext>
              </a:extLst>
            </p:cNvPr>
            <p:cNvSpPr/>
            <p:nvPr/>
          </p:nvSpPr>
          <p:spPr bwMode="auto">
            <a:xfrm>
              <a:off x="10343786" y="590331"/>
              <a:ext cx="459652" cy="611928"/>
            </a:xfrm>
            <a:custGeom>
              <a:avLst/>
              <a:gdLst>
                <a:gd name="T0" fmla="*/ 10946 w 12062"/>
                <a:gd name="T1" fmla="*/ 12419 h 16058"/>
                <a:gd name="T2" fmla="*/ 10253 w 12062"/>
                <a:gd name="T3" fmla="*/ 13775 h 16058"/>
                <a:gd name="T4" fmla="*/ 9063 w 12062"/>
                <a:gd name="T5" fmla="*/ 14707 h 16058"/>
                <a:gd name="T6" fmla="*/ 7539 w 12062"/>
                <a:gd name="T7" fmla="*/ 15054 h 16058"/>
                <a:gd name="T8" fmla="*/ 3155 w 12062"/>
                <a:gd name="T9" fmla="*/ 14778 h 16058"/>
                <a:gd name="T10" fmla="*/ 1920 w 12062"/>
                <a:gd name="T11" fmla="*/ 13902 h 16058"/>
                <a:gd name="T12" fmla="*/ 1164 w 12062"/>
                <a:gd name="T13" fmla="*/ 12585 h 16058"/>
                <a:gd name="T14" fmla="*/ 1005 w 12062"/>
                <a:gd name="T15" fmla="*/ 9534 h 16058"/>
                <a:gd name="T16" fmla="*/ 1044 w 12062"/>
                <a:gd name="T17" fmla="*/ 7834 h 16058"/>
                <a:gd name="T18" fmla="*/ 1170 w 12062"/>
                <a:gd name="T19" fmla="*/ 7658 h 16058"/>
                <a:gd name="T20" fmla="*/ 1358 w 12062"/>
                <a:gd name="T21" fmla="*/ 7550 h 16058"/>
                <a:gd name="T22" fmla="*/ 10554 w 12062"/>
                <a:gd name="T23" fmla="*/ 7527 h 16058"/>
                <a:gd name="T24" fmla="*/ 10772 w 12062"/>
                <a:gd name="T25" fmla="*/ 7576 h 16058"/>
                <a:gd name="T26" fmla="*/ 10942 w 12062"/>
                <a:gd name="T27" fmla="*/ 7710 h 16058"/>
                <a:gd name="T28" fmla="*/ 11041 w 12062"/>
                <a:gd name="T29" fmla="*/ 7904 h 16058"/>
                <a:gd name="T30" fmla="*/ 8041 w 12062"/>
                <a:gd name="T31" fmla="*/ 6524 h 16058"/>
                <a:gd name="T32" fmla="*/ 4111 w 12062"/>
                <a:gd name="T33" fmla="*/ 3919 h 16058"/>
                <a:gd name="T34" fmla="*/ 4543 w 12062"/>
                <a:gd name="T35" fmla="*/ 3166 h 16058"/>
                <a:gd name="T36" fmla="*/ 5248 w 12062"/>
                <a:gd name="T37" fmla="*/ 2667 h 16058"/>
                <a:gd name="T38" fmla="*/ 6135 w 12062"/>
                <a:gd name="T39" fmla="*/ 2512 h 16058"/>
                <a:gd name="T40" fmla="*/ 6989 w 12062"/>
                <a:gd name="T41" fmla="*/ 2751 h 16058"/>
                <a:gd name="T42" fmla="*/ 7642 w 12062"/>
                <a:gd name="T43" fmla="*/ 3315 h 16058"/>
                <a:gd name="T44" fmla="*/ 8000 w 12062"/>
                <a:gd name="T45" fmla="*/ 4112 h 16058"/>
                <a:gd name="T46" fmla="*/ 2584 w 12062"/>
                <a:gd name="T47" fmla="*/ 3809 h 16058"/>
                <a:gd name="T48" fmla="*/ 3212 w 12062"/>
                <a:gd name="T49" fmla="*/ 2415 h 16058"/>
                <a:gd name="T50" fmla="*/ 4354 w 12062"/>
                <a:gd name="T51" fmla="*/ 1427 h 16058"/>
                <a:gd name="T52" fmla="*/ 5850 w 12062"/>
                <a:gd name="T53" fmla="*/ 1009 h 16058"/>
                <a:gd name="T54" fmla="*/ 7400 w 12062"/>
                <a:gd name="T55" fmla="*/ 1280 h 16058"/>
                <a:gd name="T56" fmla="*/ 8635 w 12062"/>
                <a:gd name="T57" fmla="*/ 2155 h 16058"/>
                <a:gd name="T58" fmla="*/ 9391 w 12062"/>
                <a:gd name="T59" fmla="*/ 3472 h 16058"/>
                <a:gd name="T60" fmla="*/ 8544 w 12062"/>
                <a:gd name="T61" fmla="*/ 4518 h 16058"/>
                <a:gd name="T62" fmla="*/ 8297 w 12062"/>
                <a:gd name="T63" fmla="*/ 3430 h 16058"/>
                <a:gd name="T64" fmla="*/ 7629 w 12062"/>
                <a:gd name="T65" fmla="*/ 2581 h 16058"/>
                <a:gd name="T66" fmla="*/ 6659 w 12062"/>
                <a:gd name="T67" fmla="*/ 2088 h 16058"/>
                <a:gd name="T68" fmla="*/ 5524 w 12062"/>
                <a:gd name="T69" fmla="*/ 2059 h 16058"/>
                <a:gd name="T70" fmla="*/ 4527 w 12062"/>
                <a:gd name="T71" fmla="*/ 2507 h 16058"/>
                <a:gd name="T72" fmla="*/ 3822 w 12062"/>
                <a:gd name="T73" fmla="*/ 3322 h 16058"/>
                <a:gd name="T74" fmla="*/ 3521 w 12062"/>
                <a:gd name="T75" fmla="*/ 4389 h 16058"/>
                <a:gd name="T76" fmla="*/ 10502 w 12062"/>
                <a:gd name="T77" fmla="*/ 3829 h 16058"/>
                <a:gd name="T78" fmla="*/ 9782 w 12062"/>
                <a:gd name="T79" fmla="*/ 1991 h 16058"/>
                <a:gd name="T80" fmla="*/ 8376 w 12062"/>
                <a:gd name="T81" fmla="*/ 653 h 16058"/>
                <a:gd name="T82" fmla="*/ 6493 w 12062"/>
                <a:gd name="T83" fmla="*/ 23 h 16058"/>
                <a:gd name="T84" fmla="*/ 4476 w 12062"/>
                <a:gd name="T85" fmla="*/ 274 h 16058"/>
                <a:gd name="T86" fmla="*/ 2833 w 12062"/>
                <a:gd name="T87" fmla="*/ 1323 h 16058"/>
                <a:gd name="T88" fmla="*/ 1782 w 12062"/>
                <a:gd name="T89" fmla="*/ 2964 h 16058"/>
                <a:gd name="T90" fmla="*/ 1430 w 12062"/>
                <a:gd name="T91" fmla="*/ 6526 h 16058"/>
                <a:gd name="T92" fmla="*/ 789 w 12062"/>
                <a:gd name="T93" fmla="*/ 6705 h 16058"/>
                <a:gd name="T94" fmla="*/ 300 w 12062"/>
                <a:gd name="T95" fmla="*/ 7129 h 16058"/>
                <a:gd name="T96" fmla="*/ 30 w 12062"/>
                <a:gd name="T97" fmla="*/ 7726 h 16058"/>
                <a:gd name="T98" fmla="*/ 6 w 12062"/>
                <a:gd name="T99" fmla="*/ 11775 h 16058"/>
                <a:gd name="T100" fmla="*/ 546 w 12062"/>
                <a:gd name="T101" fmla="*/ 13694 h 16058"/>
                <a:gd name="T102" fmla="*/ 1817 w 12062"/>
                <a:gd name="T103" fmla="*/ 15161 h 16058"/>
                <a:gd name="T104" fmla="*/ 3612 w 12062"/>
                <a:gd name="T105" fmla="*/ 15967 h 16058"/>
                <a:gd name="T106" fmla="*/ 8450 w 12062"/>
                <a:gd name="T107" fmla="*/ 15967 h 16058"/>
                <a:gd name="T108" fmla="*/ 10245 w 12062"/>
                <a:gd name="T109" fmla="*/ 15161 h 16058"/>
                <a:gd name="T110" fmla="*/ 11516 w 12062"/>
                <a:gd name="T111" fmla="*/ 13694 h 16058"/>
                <a:gd name="T112" fmla="*/ 12056 w 12062"/>
                <a:gd name="T113" fmla="*/ 11775 h 16058"/>
                <a:gd name="T114" fmla="*/ 12032 w 12062"/>
                <a:gd name="T115" fmla="*/ 7726 h 16058"/>
                <a:gd name="T116" fmla="*/ 11762 w 12062"/>
                <a:gd name="T117" fmla="*/ 7129 h 16058"/>
                <a:gd name="T118" fmla="*/ 11273 w 12062"/>
                <a:gd name="T119" fmla="*/ 6705 h 16058"/>
                <a:gd name="T120" fmla="*/ 10632 w 12062"/>
                <a:gd name="T121" fmla="*/ 6526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062" h="16058">
                  <a:moveTo>
                    <a:pt x="11057" y="9534"/>
                  </a:moveTo>
                  <a:lnTo>
                    <a:pt x="11057" y="10036"/>
                  </a:lnTo>
                  <a:lnTo>
                    <a:pt x="11057" y="11040"/>
                  </a:lnTo>
                  <a:lnTo>
                    <a:pt x="11057" y="11542"/>
                  </a:lnTo>
                  <a:lnTo>
                    <a:pt x="11052" y="11722"/>
                  </a:lnTo>
                  <a:lnTo>
                    <a:pt x="11039" y="11900"/>
                  </a:lnTo>
                  <a:lnTo>
                    <a:pt x="11017" y="12076"/>
                  </a:lnTo>
                  <a:lnTo>
                    <a:pt x="10985" y="12248"/>
                  </a:lnTo>
                  <a:lnTo>
                    <a:pt x="10946" y="12419"/>
                  </a:lnTo>
                  <a:lnTo>
                    <a:pt x="10898" y="12585"/>
                  </a:lnTo>
                  <a:lnTo>
                    <a:pt x="10843" y="12748"/>
                  </a:lnTo>
                  <a:lnTo>
                    <a:pt x="10780" y="12908"/>
                  </a:lnTo>
                  <a:lnTo>
                    <a:pt x="10709" y="13063"/>
                  </a:lnTo>
                  <a:lnTo>
                    <a:pt x="10632" y="13215"/>
                  </a:lnTo>
                  <a:lnTo>
                    <a:pt x="10547" y="13361"/>
                  </a:lnTo>
                  <a:lnTo>
                    <a:pt x="10455" y="13504"/>
                  </a:lnTo>
                  <a:lnTo>
                    <a:pt x="10357" y="13642"/>
                  </a:lnTo>
                  <a:lnTo>
                    <a:pt x="10253" y="13775"/>
                  </a:lnTo>
                  <a:lnTo>
                    <a:pt x="10142" y="13902"/>
                  </a:lnTo>
                  <a:lnTo>
                    <a:pt x="10026" y="14025"/>
                  </a:lnTo>
                  <a:lnTo>
                    <a:pt x="9903" y="14141"/>
                  </a:lnTo>
                  <a:lnTo>
                    <a:pt x="9775" y="14251"/>
                  </a:lnTo>
                  <a:lnTo>
                    <a:pt x="9643" y="14356"/>
                  </a:lnTo>
                  <a:lnTo>
                    <a:pt x="9504" y="14453"/>
                  </a:lnTo>
                  <a:lnTo>
                    <a:pt x="9361" y="14546"/>
                  </a:lnTo>
                  <a:lnTo>
                    <a:pt x="9214" y="14630"/>
                  </a:lnTo>
                  <a:lnTo>
                    <a:pt x="9063" y="14707"/>
                  </a:lnTo>
                  <a:lnTo>
                    <a:pt x="8907" y="14778"/>
                  </a:lnTo>
                  <a:lnTo>
                    <a:pt x="8747" y="14841"/>
                  </a:lnTo>
                  <a:lnTo>
                    <a:pt x="8583" y="14896"/>
                  </a:lnTo>
                  <a:lnTo>
                    <a:pt x="8416" y="14944"/>
                  </a:lnTo>
                  <a:lnTo>
                    <a:pt x="8246" y="14983"/>
                  </a:lnTo>
                  <a:lnTo>
                    <a:pt x="8073" y="15014"/>
                  </a:lnTo>
                  <a:lnTo>
                    <a:pt x="7898" y="15036"/>
                  </a:lnTo>
                  <a:lnTo>
                    <a:pt x="7720" y="15049"/>
                  </a:lnTo>
                  <a:lnTo>
                    <a:pt x="7539" y="15054"/>
                  </a:lnTo>
                  <a:lnTo>
                    <a:pt x="4523" y="15054"/>
                  </a:lnTo>
                  <a:lnTo>
                    <a:pt x="4342" y="15049"/>
                  </a:lnTo>
                  <a:lnTo>
                    <a:pt x="4164" y="15036"/>
                  </a:lnTo>
                  <a:lnTo>
                    <a:pt x="3989" y="15014"/>
                  </a:lnTo>
                  <a:lnTo>
                    <a:pt x="3816" y="14983"/>
                  </a:lnTo>
                  <a:lnTo>
                    <a:pt x="3645" y="14944"/>
                  </a:lnTo>
                  <a:lnTo>
                    <a:pt x="3478" y="14896"/>
                  </a:lnTo>
                  <a:lnTo>
                    <a:pt x="3315" y="14841"/>
                  </a:lnTo>
                  <a:lnTo>
                    <a:pt x="3155" y="14778"/>
                  </a:lnTo>
                  <a:lnTo>
                    <a:pt x="2999" y="14707"/>
                  </a:lnTo>
                  <a:lnTo>
                    <a:pt x="2848" y="14630"/>
                  </a:lnTo>
                  <a:lnTo>
                    <a:pt x="2701" y="14546"/>
                  </a:lnTo>
                  <a:lnTo>
                    <a:pt x="2558" y="14453"/>
                  </a:lnTo>
                  <a:lnTo>
                    <a:pt x="2419" y="14356"/>
                  </a:lnTo>
                  <a:lnTo>
                    <a:pt x="2287" y="14251"/>
                  </a:lnTo>
                  <a:lnTo>
                    <a:pt x="2159" y="14141"/>
                  </a:lnTo>
                  <a:lnTo>
                    <a:pt x="2036" y="14025"/>
                  </a:lnTo>
                  <a:lnTo>
                    <a:pt x="1920" y="13902"/>
                  </a:lnTo>
                  <a:lnTo>
                    <a:pt x="1809" y="13775"/>
                  </a:lnTo>
                  <a:lnTo>
                    <a:pt x="1705" y="13642"/>
                  </a:lnTo>
                  <a:lnTo>
                    <a:pt x="1607" y="13504"/>
                  </a:lnTo>
                  <a:lnTo>
                    <a:pt x="1515" y="13361"/>
                  </a:lnTo>
                  <a:lnTo>
                    <a:pt x="1430" y="13215"/>
                  </a:lnTo>
                  <a:lnTo>
                    <a:pt x="1353" y="13063"/>
                  </a:lnTo>
                  <a:lnTo>
                    <a:pt x="1282" y="12908"/>
                  </a:lnTo>
                  <a:lnTo>
                    <a:pt x="1219" y="12748"/>
                  </a:lnTo>
                  <a:lnTo>
                    <a:pt x="1164" y="12585"/>
                  </a:lnTo>
                  <a:lnTo>
                    <a:pt x="1116" y="12419"/>
                  </a:lnTo>
                  <a:lnTo>
                    <a:pt x="1077" y="12248"/>
                  </a:lnTo>
                  <a:lnTo>
                    <a:pt x="1045" y="12076"/>
                  </a:lnTo>
                  <a:lnTo>
                    <a:pt x="1023" y="11900"/>
                  </a:lnTo>
                  <a:lnTo>
                    <a:pt x="1010" y="11722"/>
                  </a:lnTo>
                  <a:lnTo>
                    <a:pt x="1005" y="11542"/>
                  </a:lnTo>
                  <a:lnTo>
                    <a:pt x="1005" y="11040"/>
                  </a:lnTo>
                  <a:lnTo>
                    <a:pt x="1005" y="10036"/>
                  </a:lnTo>
                  <a:lnTo>
                    <a:pt x="1005" y="9534"/>
                  </a:lnTo>
                  <a:lnTo>
                    <a:pt x="1005" y="8029"/>
                  </a:lnTo>
                  <a:lnTo>
                    <a:pt x="1006" y="8003"/>
                  </a:lnTo>
                  <a:lnTo>
                    <a:pt x="1008" y="7978"/>
                  </a:lnTo>
                  <a:lnTo>
                    <a:pt x="1011" y="7953"/>
                  </a:lnTo>
                  <a:lnTo>
                    <a:pt x="1015" y="7928"/>
                  </a:lnTo>
                  <a:lnTo>
                    <a:pt x="1021" y="7904"/>
                  </a:lnTo>
                  <a:lnTo>
                    <a:pt x="1027" y="7879"/>
                  </a:lnTo>
                  <a:lnTo>
                    <a:pt x="1035" y="7856"/>
                  </a:lnTo>
                  <a:lnTo>
                    <a:pt x="1044" y="7834"/>
                  </a:lnTo>
                  <a:lnTo>
                    <a:pt x="1054" y="7811"/>
                  </a:lnTo>
                  <a:lnTo>
                    <a:pt x="1065" y="7790"/>
                  </a:lnTo>
                  <a:lnTo>
                    <a:pt x="1078" y="7769"/>
                  </a:lnTo>
                  <a:lnTo>
                    <a:pt x="1091" y="7749"/>
                  </a:lnTo>
                  <a:lnTo>
                    <a:pt x="1105" y="7729"/>
                  </a:lnTo>
                  <a:lnTo>
                    <a:pt x="1120" y="7710"/>
                  </a:lnTo>
                  <a:lnTo>
                    <a:pt x="1136" y="7692"/>
                  </a:lnTo>
                  <a:lnTo>
                    <a:pt x="1152" y="7675"/>
                  </a:lnTo>
                  <a:lnTo>
                    <a:pt x="1170" y="7658"/>
                  </a:lnTo>
                  <a:lnTo>
                    <a:pt x="1188" y="7642"/>
                  </a:lnTo>
                  <a:lnTo>
                    <a:pt x="1207" y="7627"/>
                  </a:lnTo>
                  <a:lnTo>
                    <a:pt x="1226" y="7612"/>
                  </a:lnTo>
                  <a:lnTo>
                    <a:pt x="1247" y="7599"/>
                  </a:lnTo>
                  <a:lnTo>
                    <a:pt x="1269" y="7587"/>
                  </a:lnTo>
                  <a:lnTo>
                    <a:pt x="1290" y="7576"/>
                  </a:lnTo>
                  <a:lnTo>
                    <a:pt x="1312" y="7566"/>
                  </a:lnTo>
                  <a:lnTo>
                    <a:pt x="1335" y="7557"/>
                  </a:lnTo>
                  <a:lnTo>
                    <a:pt x="1358" y="7550"/>
                  </a:lnTo>
                  <a:lnTo>
                    <a:pt x="1382" y="7543"/>
                  </a:lnTo>
                  <a:lnTo>
                    <a:pt x="1406" y="7537"/>
                  </a:lnTo>
                  <a:lnTo>
                    <a:pt x="1431" y="7533"/>
                  </a:lnTo>
                  <a:lnTo>
                    <a:pt x="1456" y="7530"/>
                  </a:lnTo>
                  <a:lnTo>
                    <a:pt x="1482" y="7528"/>
                  </a:lnTo>
                  <a:lnTo>
                    <a:pt x="1508" y="7527"/>
                  </a:lnTo>
                  <a:lnTo>
                    <a:pt x="2513" y="7527"/>
                  </a:lnTo>
                  <a:lnTo>
                    <a:pt x="9549" y="7527"/>
                  </a:lnTo>
                  <a:lnTo>
                    <a:pt x="10554" y="7527"/>
                  </a:lnTo>
                  <a:lnTo>
                    <a:pt x="10580" y="7528"/>
                  </a:lnTo>
                  <a:lnTo>
                    <a:pt x="10606" y="7530"/>
                  </a:lnTo>
                  <a:lnTo>
                    <a:pt x="10631" y="7533"/>
                  </a:lnTo>
                  <a:lnTo>
                    <a:pt x="10656" y="7537"/>
                  </a:lnTo>
                  <a:lnTo>
                    <a:pt x="10680" y="7543"/>
                  </a:lnTo>
                  <a:lnTo>
                    <a:pt x="10704" y="7550"/>
                  </a:lnTo>
                  <a:lnTo>
                    <a:pt x="10727" y="7557"/>
                  </a:lnTo>
                  <a:lnTo>
                    <a:pt x="10750" y="7566"/>
                  </a:lnTo>
                  <a:lnTo>
                    <a:pt x="10772" y="7576"/>
                  </a:lnTo>
                  <a:lnTo>
                    <a:pt x="10793" y="7587"/>
                  </a:lnTo>
                  <a:lnTo>
                    <a:pt x="10815" y="7599"/>
                  </a:lnTo>
                  <a:lnTo>
                    <a:pt x="10836" y="7612"/>
                  </a:lnTo>
                  <a:lnTo>
                    <a:pt x="10855" y="7627"/>
                  </a:lnTo>
                  <a:lnTo>
                    <a:pt x="10874" y="7642"/>
                  </a:lnTo>
                  <a:lnTo>
                    <a:pt x="10892" y="7658"/>
                  </a:lnTo>
                  <a:lnTo>
                    <a:pt x="10909" y="7675"/>
                  </a:lnTo>
                  <a:lnTo>
                    <a:pt x="10926" y="7692"/>
                  </a:lnTo>
                  <a:lnTo>
                    <a:pt x="10942" y="7710"/>
                  </a:lnTo>
                  <a:lnTo>
                    <a:pt x="10957" y="7729"/>
                  </a:lnTo>
                  <a:lnTo>
                    <a:pt x="10971" y="7749"/>
                  </a:lnTo>
                  <a:lnTo>
                    <a:pt x="10984" y="7769"/>
                  </a:lnTo>
                  <a:lnTo>
                    <a:pt x="10997" y="7790"/>
                  </a:lnTo>
                  <a:lnTo>
                    <a:pt x="11008" y="7811"/>
                  </a:lnTo>
                  <a:lnTo>
                    <a:pt x="11018" y="7834"/>
                  </a:lnTo>
                  <a:lnTo>
                    <a:pt x="11027" y="7856"/>
                  </a:lnTo>
                  <a:lnTo>
                    <a:pt x="11035" y="7879"/>
                  </a:lnTo>
                  <a:lnTo>
                    <a:pt x="11041" y="7904"/>
                  </a:lnTo>
                  <a:lnTo>
                    <a:pt x="11047" y="7928"/>
                  </a:lnTo>
                  <a:lnTo>
                    <a:pt x="11051" y="7953"/>
                  </a:lnTo>
                  <a:lnTo>
                    <a:pt x="11054" y="7978"/>
                  </a:lnTo>
                  <a:lnTo>
                    <a:pt x="11056" y="8003"/>
                  </a:lnTo>
                  <a:lnTo>
                    <a:pt x="11057" y="8029"/>
                  </a:lnTo>
                  <a:lnTo>
                    <a:pt x="11057" y="9534"/>
                  </a:lnTo>
                  <a:close/>
                  <a:moveTo>
                    <a:pt x="8041" y="4516"/>
                  </a:moveTo>
                  <a:lnTo>
                    <a:pt x="8041" y="4518"/>
                  </a:lnTo>
                  <a:lnTo>
                    <a:pt x="8041" y="6524"/>
                  </a:lnTo>
                  <a:lnTo>
                    <a:pt x="4021" y="6524"/>
                  </a:lnTo>
                  <a:lnTo>
                    <a:pt x="4021" y="4518"/>
                  </a:lnTo>
                  <a:lnTo>
                    <a:pt x="4021" y="4516"/>
                  </a:lnTo>
                  <a:lnTo>
                    <a:pt x="4024" y="4413"/>
                  </a:lnTo>
                  <a:lnTo>
                    <a:pt x="4031" y="4312"/>
                  </a:lnTo>
                  <a:lnTo>
                    <a:pt x="4044" y="4210"/>
                  </a:lnTo>
                  <a:lnTo>
                    <a:pt x="4062" y="4112"/>
                  </a:lnTo>
                  <a:lnTo>
                    <a:pt x="4084" y="4015"/>
                  </a:lnTo>
                  <a:lnTo>
                    <a:pt x="4111" y="3919"/>
                  </a:lnTo>
                  <a:lnTo>
                    <a:pt x="4142" y="3826"/>
                  </a:lnTo>
                  <a:lnTo>
                    <a:pt x="4178" y="3735"/>
                  </a:lnTo>
                  <a:lnTo>
                    <a:pt x="4219" y="3646"/>
                  </a:lnTo>
                  <a:lnTo>
                    <a:pt x="4263" y="3560"/>
                  </a:lnTo>
                  <a:lnTo>
                    <a:pt x="4312" y="3476"/>
                  </a:lnTo>
                  <a:lnTo>
                    <a:pt x="4364" y="3394"/>
                  </a:lnTo>
                  <a:lnTo>
                    <a:pt x="4420" y="3315"/>
                  </a:lnTo>
                  <a:lnTo>
                    <a:pt x="4480" y="3240"/>
                  </a:lnTo>
                  <a:lnTo>
                    <a:pt x="4543" y="3166"/>
                  </a:lnTo>
                  <a:lnTo>
                    <a:pt x="4610" y="3097"/>
                  </a:lnTo>
                  <a:lnTo>
                    <a:pt x="4679" y="3031"/>
                  </a:lnTo>
                  <a:lnTo>
                    <a:pt x="4752" y="2968"/>
                  </a:lnTo>
                  <a:lnTo>
                    <a:pt x="4828" y="2908"/>
                  </a:lnTo>
                  <a:lnTo>
                    <a:pt x="4907" y="2852"/>
                  </a:lnTo>
                  <a:lnTo>
                    <a:pt x="4989" y="2800"/>
                  </a:lnTo>
                  <a:lnTo>
                    <a:pt x="5073" y="2751"/>
                  </a:lnTo>
                  <a:lnTo>
                    <a:pt x="5160" y="2707"/>
                  </a:lnTo>
                  <a:lnTo>
                    <a:pt x="5248" y="2667"/>
                  </a:lnTo>
                  <a:lnTo>
                    <a:pt x="5339" y="2631"/>
                  </a:lnTo>
                  <a:lnTo>
                    <a:pt x="5433" y="2599"/>
                  </a:lnTo>
                  <a:lnTo>
                    <a:pt x="5528" y="2572"/>
                  </a:lnTo>
                  <a:lnTo>
                    <a:pt x="5626" y="2550"/>
                  </a:lnTo>
                  <a:lnTo>
                    <a:pt x="5724" y="2532"/>
                  </a:lnTo>
                  <a:lnTo>
                    <a:pt x="5825" y="2519"/>
                  </a:lnTo>
                  <a:lnTo>
                    <a:pt x="5927" y="2512"/>
                  </a:lnTo>
                  <a:lnTo>
                    <a:pt x="6031" y="2509"/>
                  </a:lnTo>
                  <a:lnTo>
                    <a:pt x="6135" y="2512"/>
                  </a:lnTo>
                  <a:lnTo>
                    <a:pt x="6236" y="2519"/>
                  </a:lnTo>
                  <a:lnTo>
                    <a:pt x="6338" y="2532"/>
                  </a:lnTo>
                  <a:lnTo>
                    <a:pt x="6436" y="2550"/>
                  </a:lnTo>
                  <a:lnTo>
                    <a:pt x="6534" y="2572"/>
                  </a:lnTo>
                  <a:lnTo>
                    <a:pt x="6629" y="2599"/>
                  </a:lnTo>
                  <a:lnTo>
                    <a:pt x="6723" y="2631"/>
                  </a:lnTo>
                  <a:lnTo>
                    <a:pt x="6813" y="2667"/>
                  </a:lnTo>
                  <a:lnTo>
                    <a:pt x="6902" y="2707"/>
                  </a:lnTo>
                  <a:lnTo>
                    <a:pt x="6989" y="2751"/>
                  </a:lnTo>
                  <a:lnTo>
                    <a:pt x="7073" y="2800"/>
                  </a:lnTo>
                  <a:lnTo>
                    <a:pt x="7155" y="2852"/>
                  </a:lnTo>
                  <a:lnTo>
                    <a:pt x="7234" y="2908"/>
                  </a:lnTo>
                  <a:lnTo>
                    <a:pt x="7310" y="2968"/>
                  </a:lnTo>
                  <a:lnTo>
                    <a:pt x="7383" y="3031"/>
                  </a:lnTo>
                  <a:lnTo>
                    <a:pt x="7452" y="3097"/>
                  </a:lnTo>
                  <a:lnTo>
                    <a:pt x="7519" y="3166"/>
                  </a:lnTo>
                  <a:lnTo>
                    <a:pt x="7582" y="3240"/>
                  </a:lnTo>
                  <a:lnTo>
                    <a:pt x="7642" y="3315"/>
                  </a:lnTo>
                  <a:lnTo>
                    <a:pt x="7698" y="3394"/>
                  </a:lnTo>
                  <a:lnTo>
                    <a:pt x="7750" y="3476"/>
                  </a:lnTo>
                  <a:lnTo>
                    <a:pt x="7799" y="3560"/>
                  </a:lnTo>
                  <a:lnTo>
                    <a:pt x="7843" y="3646"/>
                  </a:lnTo>
                  <a:lnTo>
                    <a:pt x="7884" y="3735"/>
                  </a:lnTo>
                  <a:lnTo>
                    <a:pt x="7920" y="3826"/>
                  </a:lnTo>
                  <a:lnTo>
                    <a:pt x="7951" y="3919"/>
                  </a:lnTo>
                  <a:lnTo>
                    <a:pt x="7978" y="4015"/>
                  </a:lnTo>
                  <a:lnTo>
                    <a:pt x="8000" y="4112"/>
                  </a:lnTo>
                  <a:lnTo>
                    <a:pt x="8018" y="4210"/>
                  </a:lnTo>
                  <a:lnTo>
                    <a:pt x="8031" y="4312"/>
                  </a:lnTo>
                  <a:lnTo>
                    <a:pt x="8038" y="4413"/>
                  </a:lnTo>
                  <a:lnTo>
                    <a:pt x="8041" y="4516"/>
                  </a:lnTo>
                  <a:close/>
                  <a:moveTo>
                    <a:pt x="2513" y="4516"/>
                  </a:moveTo>
                  <a:lnTo>
                    <a:pt x="2517" y="4336"/>
                  </a:lnTo>
                  <a:lnTo>
                    <a:pt x="2531" y="4157"/>
                  </a:lnTo>
                  <a:lnTo>
                    <a:pt x="2553" y="3981"/>
                  </a:lnTo>
                  <a:lnTo>
                    <a:pt x="2584" y="3809"/>
                  </a:lnTo>
                  <a:lnTo>
                    <a:pt x="2623" y="3638"/>
                  </a:lnTo>
                  <a:lnTo>
                    <a:pt x="2671" y="3472"/>
                  </a:lnTo>
                  <a:lnTo>
                    <a:pt x="2726" y="3309"/>
                  </a:lnTo>
                  <a:lnTo>
                    <a:pt x="2789" y="3149"/>
                  </a:lnTo>
                  <a:lnTo>
                    <a:pt x="2860" y="2994"/>
                  </a:lnTo>
                  <a:lnTo>
                    <a:pt x="2937" y="2842"/>
                  </a:lnTo>
                  <a:lnTo>
                    <a:pt x="3023" y="2695"/>
                  </a:lnTo>
                  <a:lnTo>
                    <a:pt x="3114" y="2552"/>
                  </a:lnTo>
                  <a:lnTo>
                    <a:pt x="3212" y="2415"/>
                  </a:lnTo>
                  <a:lnTo>
                    <a:pt x="3316" y="2282"/>
                  </a:lnTo>
                  <a:lnTo>
                    <a:pt x="3427" y="2155"/>
                  </a:lnTo>
                  <a:lnTo>
                    <a:pt x="3543" y="2032"/>
                  </a:lnTo>
                  <a:lnTo>
                    <a:pt x="3666" y="1916"/>
                  </a:lnTo>
                  <a:lnTo>
                    <a:pt x="3793" y="1806"/>
                  </a:lnTo>
                  <a:lnTo>
                    <a:pt x="3926" y="1701"/>
                  </a:lnTo>
                  <a:lnTo>
                    <a:pt x="4064" y="1604"/>
                  </a:lnTo>
                  <a:lnTo>
                    <a:pt x="4207" y="1512"/>
                  </a:lnTo>
                  <a:lnTo>
                    <a:pt x="4354" y="1427"/>
                  </a:lnTo>
                  <a:lnTo>
                    <a:pt x="4505" y="1350"/>
                  </a:lnTo>
                  <a:lnTo>
                    <a:pt x="4662" y="1280"/>
                  </a:lnTo>
                  <a:lnTo>
                    <a:pt x="4821" y="1216"/>
                  </a:lnTo>
                  <a:lnTo>
                    <a:pt x="4985" y="1161"/>
                  </a:lnTo>
                  <a:lnTo>
                    <a:pt x="5151" y="1114"/>
                  </a:lnTo>
                  <a:lnTo>
                    <a:pt x="5322" y="1075"/>
                  </a:lnTo>
                  <a:lnTo>
                    <a:pt x="5495" y="1044"/>
                  </a:lnTo>
                  <a:lnTo>
                    <a:pt x="5671" y="1022"/>
                  </a:lnTo>
                  <a:lnTo>
                    <a:pt x="5850" y="1009"/>
                  </a:lnTo>
                  <a:lnTo>
                    <a:pt x="6031" y="1004"/>
                  </a:lnTo>
                  <a:lnTo>
                    <a:pt x="6212" y="1009"/>
                  </a:lnTo>
                  <a:lnTo>
                    <a:pt x="6391" y="1022"/>
                  </a:lnTo>
                  <a:lnTo>
                    <a:pt x="6567" y="1044"/>
                  </a:lnTo>
                  <a:lnTo>
                    <a:pt x="6740" y="1075"/>
                  </a:lnTo>
                  <a:lnTo>
                    <a:pt x="6911" y="1114"/>
                  </a:lnTo>
                  <a:lnTo>
                    <a:pt x="7077" y="1161"/>
                  </a:lnTo>
                  <a:lnTo>
                    <a:pt x="7240" y="1216"/>
                  </a:lnTo>
                  <a:lnTo>
                    <a:pt x="7400" y="1280"/>
                  </a:lnTo>
                  <a:lnTo>
                    <a:pt x="7556" y="1350"/>
                  </a:lnTo>
                  <a:lnTo>
                    <a:pt x="7708" y="1427"/>
                  </a:lnTo>
                  <a:lnTo>
                    <a:pt x="7855" y="1512"/>
                  </a:lnTo>
                  <a:lnTo>
                    <a:pt x="7998" y="1604"/>
                  </a:lnTo>
                  <a:lnTo>
                    <a:pt x="8136" y="1701"/>
                  </a:lnTo>
                  <a:lnTo>
                    <a:pt x="8269" y="1806"/>
                  </a:lnTo>
                  <a:lnTo>
                    <a:pt x="8396" y="1916"/>
                  </a:lnTo>
                  <a:lnTo>
                    <a:pt x="8519" y="2032"/>
                  </a:lnTo>
                  <a:lnTo>
                    <a:pt x="8635" y="2155"/>
                  </a:lnTo>
                  <a:lnTo>
                    <a:pt x="8746" y="2282"/>
                  </a:lnTo>
                  <a:lnTo>
                    <a:pt x="8850" y="2415"/>
                  </a:lnTo>
                  <a:lnTo>
                    <a:pt x="8948" y="2552"/>
                  </a:lnTo>
                  <a:lnTo>
                    <a:pt x="9039" y="2695"/>
                  </a:lnTo>
                  <a:lnTo>
                    <a:pt x="9125" y="2842"/>
                  </a:lnTo>
                  <a:lnTo>
                    <a:pt x="9202" y="2994"/>
                  </a:lnTo>
                  <a:lnTo>
                    <a:pt x="9273" y="3149"/>
                  </a:lnTo>
                  <a:lnTo>
                    <a:pt x="9336" y="3309"/>
                  </a:lnTo>
                  <a:lnTo>
                    <a:pt x="9391" y="3472"/>
                  </a:lnTo>
                  <a:lnTo>
                    <a:pt x="9439" y="3638"/>
                  </a:lnTo>
                  <a:lnTo>
                    <a:pt x="9478" y="3809"/>
                  </a:lnTo>
                  <a:lnTo>
                    <a:pt x="9509" y="3981"/>
                  </a:lnTo>
                  <a:lnTo>
                    <a:pt x="9531" y="4157"/>
                  </a:lnTo>
                  <a:lnTo>
                    <a:pt x="9544" y="4336"/>
                  </a:lnTo>
                  <a:lnTo>
                    <a:pt x="9549" y="4516"/>
                  </a:lnTo>
                  <a:lnTo>
                    <a:pt x="9549" y="6524"/>
                  </a:lnTo>
                  <a:lnTo>
                    <a:pt x="8544" y="6524"/>
                  </a:lnTo>
                  <a:lnTo>
                    <a:pt x="8544" y="4518"/>
                  </a:lnTo>
                  <a:lnTo>
                    <a:pt x="8541" y="4389"/>
                  </a:lnTo>
                  <a:lnTo>
                    <a:pt x="8531" y="4261"/>
                  </a:lnTo>
                  <a:lnTo>
                    <a:pt x="8515" y="4136"/>
                  </a:lnTo>
                  <a:lnTo>
                    <a:pt x="8493" y="4012"/>
                  </a:lnTo>
                  <a:lnTo>
                    <a:pt x="8465" y="3891"/>
                  </a:lnTo>
                  <a:lnTo>
                    <a:pt x="8431" y="3772"/>
                  </a:lnTo>
                  <a:lnTo>
                    <a:pt x="8391" y="3655"/>
                  </a:lnTo>
                  <a:lnTo>
                    <a:pt x="8347" y="3541"/>
                  </a:lnTo>
                  <a:lnTo>
                    <a:pt x="8297" y="3430"/>
                  </a:lnTo>
                  <a:lnTo>
                    <a:pt x="8240" y="3322"/>
                  </a:lnTo>
                  <a:lnTo>
                    <a:pt x="8180" y="3217"/>
                  </a:lnTo>
                  <a:lnTo>
                    <a:pt x="8115" y="3115"/>
                  </a:lnTo>
                  <a:lnTo>
                    <a:pt x="8044" y="3017"/>
                  </a:lnTo>
                  <a:lnTo>
                    <a:pt x="7970" y="2922"/>
                  </a:lnTo>
                  <a:lnTo>
                    <a:pt x="7892" y="2830"/>
                  </a:lnTo>
                  <a:lnTo>
                    <a:pt x="7808" y="2744"/>
                  </a:lnTo>
                  <a:lnTo>
                    <a:pt x="7721" y="2661"/>
                  </a:lnTo>
                  <a:lnTo>
                    <a:pt x="7629" y="2581"/>
                  </a:lnTo>
                  <a:lnTo>
                    <a:pt x="7535" y="2507"/>
                  </a:lnTo>
                  <a:lnTo>
                    <a:pt x="7436" y="2437"/>
                  </a:lnTo>
                  <a:lnTo>
                    <a:pt x="7334" y="2372"/>
                  </a:lnTo>
                  <a:lnTo>
                    <a:pt x="7229" y="2311"/>
                  </a:lnTo>
                  <a:lnTo>
                    <a:pt x="7121" y="2256"/>
                  </a:lnTo>
                  <a:lnTo>
                    <a:pt x="7009" y="2206"/>
                  </a:lnTo>
                  <a:lnTo>
                    <a:pt x="6895" y="2161"/>
                  </a:lnTo>
                  <a:lnTo>
                    <a:pt x="6779" y="2122"/>
                  </a:lnTo>
                  <a:lnTo>
                    <a:pt x="6659" y="2088"/>
                  </a:lnTo>
                  <a:lnTo>
                    <a:pt x="6538" y="2059"/>
                  </a:lnTo>
                  <a:lnTo>
                    <a:pt x="6414" y="2037"/>
                  </a:lnTo>
                  <a:lnTo>
                    <a:pt x="6288" y="2021"/>
                  </a:lnTo>
                  <a:lnTo>
                    <a:pt x="6161" y="2012"/>
                  </a:lnTo>
                  <a:lnTo>
                    <a:pt x="6031" y="2009"/>
                  </a:lnTo>
                  <a:lnTo>
                    <a:pt x="5901" y="2012"/>
                  </a:lnTo>
                  <a:lnTo>
                    <a:pt x="5774" y="2021"/>
                  </a:lnTo>
                  <a:lnTo>
                    <a:pt x="5648" y="2037"/>
                  </a:lnTo>
                  <a:lnTo>
                    <a:pt x="5524" y="2059"/>
                  </a:lnTo>
                  <a:lnTo>
                    <a:pt x="5403" y="2088"/>
                  </a:lnTo>
                  <a:lnTo>
                    <a:pt x="5283" y="2122"/>
                  </a:lnTo>
                  <a:lnTo>
                    <a:pt x="5167" y="2161"/>
                  </a:lnTo>
                  <a:lnTo>
                    <a:pt x="5053" y="2206"/>
                  </a:lnTo>
                  <a:lnTo>
                    <a:pt x="4941" y="2256"/>
                  </a:lnTo>
                  <a:lnTo>
                    <a:pt x="4833" y="2311"/>
                  </a:lnTo>
                  <a:lnTo>
                    <a:pt x="4727" y="2372"/>
                  </a:lnTo>
                  <a:lnTo>
                    <a:pt x="4626" y="2437"/>
                  </a:lnTo>
                  <a:lnTo>
                    <a:pt x="4527" y="2507"/>
                  </a:lnTo>
                  <a:lnTo>
                    <a:pt x="4433" y="2581"/>
                  </a:lnTo>
                  <a:lnTo>
                    <a:pt x="4341" y="2661"/>
                  </a:lnTo>
                  <a:lnTo>
                    <a:pt x="4254" y="2744"/>
                  </a:lnTo>
                  <a:lnTo>
                    <a:pt x="4170" y="2830"/>
                  </a:lnTo>
                  <a:lnTo>
                    <a:pt x="4092" y="2922"/>
                  </a:lnTo>
                  <a:lnTo>
                    <a:pt x="4017" y="3017"/>
                  </a:lnTo>
                  <a:lnTo>
                    <a:pt x="3947" y="3115"/>
                  </a:lnTo>
                  <a:lnTo>
                    <a:pt x="3882" y="3217"/>
                  </a:lnTo>
                  <a:lnTo>
                    <a:pt x="3822" y="3322"/>
                  </a:lnTo>
                  <a:lnTo>
                    <a:pt x="3765" y="3430"/>
                  </a:lnTo>
                  <a:lnTo>
                    <a:pt x="3715" y="3541"/>
                  </a:lnTo>
                  <a:lnTo>
                    <a:pt x="3671" y="3655"/>
                  </a:lnTo>
                  <a:lnTo>
                    <a:pt x="3631" y="3772"/>
                  </a:lnTo>
                  <a:lnTo>
                    <a:pt x="3597" y="3891"/>
                  </a:lnTo>
                  <a:lnTo>
                    <a:pt x="3569" y="4012"/>
                  </a:lnTo>
                  <a:lnTo>
                    <a:pt x="3547" y="4136"/>
                  </a:lnTo>
                  <a:lnTo>
                    <a:pt x="3531" y="4261"/>
                  </a:lnTo>
                  <a:lnTo>
                    <a:pt x="3521" y="4389"/>
                  </a:lnTo>
                  <a:lnTo>
                    <a:pt x="3518" y="4518"/>
                  </a:lnTo>
                  <a:lnTo>
                    <a:pt x="3518" y="6524"/>
                  </a:lnTo>
                  <a:lnTo>
                    <a:pt x="2513" y="6524"/>
                  </a:lnTo>
                  <a:lnTo>
                    <a:pt x="2513" y="4516"/>
                  </a:lnTo>
                  <a:close/>
                  <a:moveTo>
                    <a:pt x="10554" y="6524"/>
                  </a:moveTo>
                  <a:lnTo>
                    <a:pt x="10554" y="4516"/>
                  </a:lnTo>
                  <a:lnTo>
                    <a:pt x="10548" y="4283"/>
                  </a:lnTo>
                  <a:lnTo>
                    <a:pt x="10531" y="4055"/>
                  </a:lnTo>
                  <a:lnTo>
                    <a:pt x="10502" y="3829"/>
                  </a:lnTo>
                  <a:lnTo>
                    <a:pt x="10463" y="3606"/>
                  </a:lnTo>
                  <a:lnTo>
                    <a:pt x="10412" y="3387"/>
                  </a:lnTo>
                  <a:lnTo>
                    <a:pt x="10351" y="3173"/>
                  </a:lnTo>
                  <a:lnTo>
                    <a:pt x="10280" y="2964"/>
                  </a:lnTo>
                  <a:lnTo>
                    <a:pt x="10198" y="2758"/>
                  </a:lnTo>
                  <a:lnTo>
                    <a:pt x="10108" y="2558"/>
                  </a:lnTo>
                  <a:lnTo>
                    <a:pt x="10008" y="2364"/>
                  </a:lnTo>
                  <a:lnTo>
                    <a:pt x="9900" y="2175"/>
                  </a:lnTo>
                  <a:lnTo>
                    <a:pt x="9782" y="1991"/>
                  </a:lnTo>
                  <a:lnTo>
                    <a:pt x="9656" y="1815"/>
                  </a:lnTo>
                  <a:lnTo>
                    <a:pt x="9521" y="1643"/>
                  </a:lnTo>
                  <a:lnTo>
                    <a:pt x="9379" y="1479"/>
                  </a:lnTo>
                  <a:lnTo>
                    <a:pt x="9229" y="1323"/>
                  </a:lnTo>
                  <a:lnTo>
                    <a:pt x="9073" y="1173"/>
                  </a:lnTo>
                  <a:lnTo>
                    <a:pt x="8908" y="1032"/>
                  </a:lnTo>
                  <a:lnTo>
                    <a:pt x="8737" y="897"/>
                  </a:lnTo>
                  <a:lnTo>
                    <a:pt x="8560" y="771"/>
                  </a:lnTo>
                  <a:lnTo>
                    <a:pt x="8376" y="653"/>
                  </a:lnTo>
                  <a:lnTo>
                    <a:pt x="8187" y="545"/>
                  </a:lnTo>
                  <a:lnTo>
                    <a:pt x="7992" y="446"/>
                  </a:lnTo>
                  <a:lnTo>
                    <a:pt x="7792" y="355"/>
                  </a:lnTo>
                  <a:lnTo>
                    <a:pt x="7586" y="274"/>
                  </a:lnTo>
                  <a:lnTo>
                    <a:pt x="7376" y="203"/>
                  </a:lnTo>
                  <a:lnTo>
                    <a:pt x="7162" y="143"/>
                  </a:lnTo>
                  <a:lnTo>
                    <a:pt x="6943" y="91"/>
                  </a:lnTo>
                  <a:lnTo>
                    <a:pt x="6720" y="52"/>
                  </a:lnTo>
                  <a:lnTo>
                    <a:pt x="6493" y="23"/>
                  </a:lnTo>
                  <a:lnTo>
                    <a:pt x="6264" y="6"/>
                  </a:lnTo>
                  <a:lnTo>
                    <a:pt x="6031" y="0"/>
                  </a:lnTo>
                  <a:lnTo>
                    <a:pt x="5798" y="6"/>
                  </a:lnTo>
                  <a:lnTo>
                    <a:pt x="5569" y="23"/>
                  </a:lnTo>
                  <a:lnTo>
                    <a:pt x="5342" y="52"/>
                  </a:lnTo>
                  <a:lnTo>
                    <a:pt x="5119" y="91"/>
                  </a:lnTo>
                  <a:lnTo>
                    <a:pt x="4900" y="143"/>
                  </a:lnTo>
                  <a:lnTo>
                    <a:pt x="4686" y="203"/>
                  </a:lnTo>
                  <a:lnTo>
                    <a:pt x="4476" y="274"/>
                  </a:lnTo>
                  <a:lnTo>
                    <a:pt x="4270" y="355"/>
                  </a:lnTo>
                  <a:lnTo>
                    <a:pt x="4070" y="446"/>
                  </a:lnTo>
                  <a:lnTo>
                    <a:pt x="3875" y="545"/>
                  </a:lnTo>
                  <a:lnTo>
                    <a:pt x="3685" y="653"/>
                  </a:lnTo>
                  <a:lnTo>
                    <a:pt x="3502" y="771"/>
                  </a:lnTo>
                  <a:lnTo>
                    <a:pt x="3324" y="897"/>
                  </a:lnTo>
                  <a:lnTo>
                    <a:pt x="3153" y="1032"/>
                  </a:lnTo>
                  <a:lnTo>
                    <a:pt x="2989" y="1173"/>
                  </a:lnTo>
                  <a:lnTo>
                    <a:pt x="2833" y="1323"/>
                  </a:lnTo>
                  <a:lnTo>
                    <a:pt x="2683" y="1479"/>
                  </a:lnTo>
                  <a:lnTo>
                    <a:pt x="2540" y="1643"/>
                  </a:lnTo>
                  <a:lnTo>
                    <a:pt x="2406" y="1815"/>
                  </a:lnTo>
                  <a:lnTo>
                    <a:pt x="2280" y="1991"/>
                  </a:lnTo>
                  <a:lnTo>
                    <a:pt x="2162" y="2175"/>
                  </a:lnTo>
                  <a:lnTo>
                    <a:pt x="2054" y="2364"/>
                  </a:lnTo>
                  <a:lnTo>
                    <a:pt x="1954" y="2558"/>
                  </a:lnTo>
                  <a:lnTo>
                    <a:pt x="1864" y="2758"/>
                  </a:lnTo>
                  <a:lnTo>
                    <a:pt x="1782" y="2964"/>
                  </a:lnTo>
                  <a:lnTo>
                    <a:pt x="1711" y="3173"/>
                  </a:lnTo>
                  <a:lnTo>
                    <a:pt x="1650" y="3387"/>
                  </a:lnTo>
                  <a:lnTo>
                    <a:pt x="1599" y="3606"/>
                  </a:lnTo>
                  <a:lnTo>
                    <a:pt x="1560" y="3829"/>
                  </a:lnTo>
                  <a:lnTo>
                    <a:pt x="1531" y="4055"/>
                  </a:lnTo>
                  <a:lnTo>
                    <a:pt x="1514" y="4283"/>
                  </a:lnTo>
                  <a:lnTo>
                    <a:pt x="1508" y="4516"/>
                  </a:lnTo>
                  <a:lnTo>
                    <a:pt x="1508" y="6524"/>
                  </a:lnTo>
                  <a:lnTo>
                    <a:pt x="1430" y="6526"/>
                  </a:lnTo>
                  <a:lnTo>
                    <a:pt x="1354" y="6532"/>
                  </a:lnTo>
                  <a:lnTo>
                    <a:pt x="1278" y="6541"/>
                  </a:lnTo>
                  <a:lnTo>
                    <a:pt x="1204" y="6555"/>
                  </a:lnTo>
                  <a:lnTo>
                    <a:pt x="1131" y="6571"/>
                  </a:lnTo>
                  <a:lnTo>
                    <a:pt x="1059" y="6592"/>
                  </a:lnTo>
                  <a:lnTo>
                    <a:pt x="989" y="6615"/>
                  </a:lnTo>
                  <a:lnTo>
                    <a:pt x="921" y="6642"/>
                  </a:lnTo>
                  <a:lnTo>
                    <a:pt x="854" y="6672"/>
                  </a:lnTo>
                  <a:lnTo>
                    <a:pt x="789" y="6705"/>
                  </a:lnTo>
                  <a:lnTo>
                    <a:pt x="726" y="6741"/>
                  </a:lnTo>
                  <a:lnTo>
                    <a:pt x="664" y="6780"/>
                  </a:lnTo>
                  <a:lnTo>
                    <a:pt x="605" y="6823"/>
                  </a:lnTo>
                  <a:lnTo>
                    <a:pt x="549" y="6868"/>
                  </a:lnTo>
                  <a:lnTo>
                    <a:pt x="494" y="6915"/>
                  </a:lnTo>
                  <a:lnTo>
                    <a:pt x="441" y="6964"/>
                  </a:lnTo>
                  <a:lnTo>
                    <a:pt x="392" y="7016"/>
                  </a:lnTo>
                  <a:lnTo>
                    <a:pt x="344" y="7072"/>
                  </a:lnTo>
                  <a:lnTo>
                    <a:pt x="300" y="7129"/>
                  </a:lnTo>
                  <a:lnTo>
                    <a:pt x="257" y="7187"/>
                  </a:lnTo>
                  <a:lnTo>
                    <a:pt x="218" y="7248"/>
                  </a:lnTo>
                  <a:lnTo>
                    <a:pt x="182" y="7311"/>
                  </a:lnTo>
                  <a:lnTo>
                    <a:pt x="149" y="7377"/>
                  </a:lnTo>
                  <a:lnTo>
                    <a:pt x="119" y="7443"/>
                  </a:lnTo>
                  <a:lnTo>
                    <a:pt x="91" y="7511"/>
                  </a:lnTo>
                  <a:lnTo>
                    <a:pt x="67" y="7581"/>
                  </a:lnTo>
                  <a:lnTo>
                    <a:pt x="47" y="7653"/>
                  </a:lnTo>
                  <a:lnTo>
                    <a:pt x="30" y="7726"/>
                  </a:lnTo>
                  <a:lnTo>
                    <a:pt x="17" y="7800"/>
                  </a:lnTo>
                  <a:lnTo>
                    <a:pt x="8" y="7875"/>
                  </a:lnTo>
                  <a:lnTo>
                    <a:pt x="2" y="7952"/>
                  </a:lnTo>
                  <a:lnTo>
                    <a:pt x="0" y="8029"/>
                  </a:lnTo>
                  <a:lnTo>
                    <a:pt x="0" y="9534"/>
                  </a:lnTo>
                  <a:lnTo>
                    <a:pt x="0" y="10036"/>
                  </a:lnTo>
                  <a:lnTo>
                    <a:pt x="0" y="11040"/>
                  </a:lnTo>
                  <a:lnTo>
                    <a:pt x="0" y="11542"/>
                  </a:lnTo>
                  <a:lnTo>
                    <a:pt x="6" y="11775"/>
                  </a:lnTo>
                  <a:lnTo>
                    <a:pt x="23" y="12003"/>
                  </a:lnTo>
                  <a:lnTo>
                    <a:pt x="52" y="12229"/>
                  </a:lnTo>
                  <a:lnTo>
                    <a:pt x="91" y="12452"/>
                  </a:lnTo>
                  <a:lnTo>
                    <a:pt x="143" y="12671"/>
                  </a:lnTo>
                  <a:lnTo>
                    <a:pt x="203" y="12885"/>
                  </a:lnTo>
                  <a:lnTo>
                    <a:pt x="274" y="13094"/>
                  </a:lnTo>
                  <a:lnTo>
                    <a:pt x="356" y="13300"/>
                  </a:lnTo>
                  <a:lnTo>
                    <a:pt x="446" y="13500"/>
                  </a:lnTo>
                  <a:lnTo>
                    <a:pt x="546" y="13694"/>
                  </a:lnTo>
                  <a:lnTo>
                    <a:pt x="654" y="13884"/>
                  </a:lnTo>
                  <a:lnTo>
                    <a:pt x="772" y="14067"/>
                  </a:lnTo>
                  <a:lnTo>
                    <a:pt x="899" y="14243"/>
                  </a:lnTo>
                  <a:lnTo>
                    <a:pt x="1032" y="14415"/>
                  </a:lnTo>
                  <a:lnTo>
                    <a:pt x="1175" y="14579"/>
                  </a:lnTo>
                  <a:lnTo>
                    <a:pt x="1325" y="14735"/>
                  </a:lnTo>
                  <a:lnTo>
                    <a:pt x="1482" y="14885"/>
                  </a:lnTo>
                  <a:lnTo>
                    <a:pt x="1646" y="15027"/>
                  </a:lnTo>
                  <a:lnTo>
                    <a:pt x="1817" y="15161"/>
                  </a:lnTo>
                  <a:lnTo>
                    <a:pt x="1994" y="15287"/>
                  </a:lnTo>
                  <a:lnTo>
                    <a:pt x="2177" y="15405"/>
                  </a:lnTo>
                  <a:lnTo>
                    <a:pt x="2367" y="15513"/>
                  </a:lnTo>
                  <a:lnTo>
                    <a:pt x="2562" y="15612"/>
                  </a:lnTo>
                  <a:lnTo>
                    <a:pt x="2762" y="15703"/>
                  </a:lnTo>
                  <a:lnTo>
                    <a:pt x="2968" y="15784"/>
                  </a:lnTo>
                  <a:lnTo>
                    <a:pt x="3178" y="15855"/>
                  </a:lnTo>
                  <a:lnTo>
                    <a:pt x="3392" y="15915"/>
                  </a:lnTo>
                  <a:lnTo>
                    <a:pt x="3612" y="15967"/>
                  </a:lnTo>
                  <a:lnTo>
                    <a:pt x="3835" y="16006"/>
                  </a:lnTo>
                  <a:lnTo>
                    <a:pt x="4061" y="16035"/>
                  </a:lnTo>
                  <a:lnTo>
                    <a:pt x="4290" y="16052"/>
                  </a:lnTo>
                  <a:lnTo>
                    <a:pt x="4523" y="16058"/>
                  </a:lnTo>
                  <a:lnTo>
                    <a:pt x="7539" y="16058"/>
                  </a:lnTo>
                  <a:lnTo>
                    <a:pt x="7771" y="16052"/>
                  </a:lnTo>
                  <a:lnTo>
                    <a:pt x="8001" y="16035"/>
                  </a:lnTo>
                  <a:lnTo>
                    <a:pt x="8227" y="16006"/>
                  </a:lnTo>
                  <a:lnTo>
                    <a:pt x="8450" y="15967"/>
                  </a:lnTo>
                  <a:lnTo>
                    <a:pt x="8670" y="15915"/>
                  </a:lnTo>
                  <a:lnTo>
                    <a:pt x="8884" y="15855"/>
                  </a:lnTo>
                  <a:lnTo>
                    <a:pt x="9094" y="15784"/>
                  </a:lnTo>
                  <a:lnTo>
                    <a:pt x="9300" y="15703"/>
                  </a:lnTo>
                  <a:lnTo>
                    <a:pt x="9500" y="15612"/>
                  </a:lnTo>
                  <a:lnTo>
                    <a:pt x="9695" y="15513"/>
                  </a:lnTo>
                  <a:lnTo>
                    <a:pt x="9884" y="15405"/>
                  </a:lnTo>
                  <a:lnTo>
                    <a:pt x="10068" y="15287"/>
                  </a:lnTo>
                  <a:lnTo>
                    <a:pt x="10245" y="15161"/>
                  </a:lnTo>
                  <a:lnTo>
                    <a:pt x="10416" y="15027"/>
                  </a:lnTo>
                  <a:lnTo>
                    <a:pt x="10580" y="14885"/>
                  </a:lnTo>
                  <a:lnTo>
                    <a:pt x="10737" y="14735"/>
                  </a:lnTo>
                  <a:lnTo>
                    <a:pt x="10887" y="14579"/>
                  </a:lnTo>
                  <a:lnTo>
                    <a:pt x="11029" y="14415"/>
                  </a:lnTo>
                  <a:lnTo>
                    <a:pt x="11163" y="14243"/>
                  </a:lnTo>
                  <a:lnTo>
                    <a:pt x="11290" y="14067"/>
                  </a:lnTo>
                  <a:lnTo>
                    <a:pt x="11408" y="13884"/>
                  </a:lnTo>
                  <a:lnTo>
                    <a:pt x="11516" y="13694"/>
                  </a:lnTo>
                  <a:lnTo>
                    <a:pt x="11616" y="13500"/>
                  </a:lnTo>
                  <a:lnTo>
                    <a:pt x="11706" y="13300"/>
                  </a:lnTo>
                  <a:lnTo>
                    <a:pt x="11788" y="13094"/>
                  </a:lnTo>
                  <a:lnTo>
                    <a:pt x="11859" y="12885"/>
                  </a:lnTo>
                  <a:lnTo>
                    <a:pt x="11919" y="12671"/>
                  </a:lnTo>
                  <a:lnTo>
                    <a:pt x="11971" y="12452"/>
                  </a:lnTo>
                  <a:lnTo>
                    <a:pt x="12010" y="12229"/>
                  </a:lnTo>
                  <a:lnTo>
                    <a:pt x="12039" y="12003"/>
                  </a:lnTo>
                  <a:lnTo>
                    <a:pt x="12056" y="11775"/>
                  </a:lnTo>
                  <a:lnTo>
                    <a:pt x="12062" y="11542"/>
                  </a:lnTo>
                  <a:lnTo>
                    <a:pt x="12062" y="11040"/>
                  </a:lnTo>
                  <a:lnTo>
                    <a:pt x="12062" y="10036"/>
                  </a:lnTo>
                  <a:lnTo>
                    <a:pt x="12062" y="9534"/>
                  </a:lnTo>
                  <a:lnTo>
                    <a:pt x="12062" y="8029"/>
                  </a:lnTo>
                  <a:lnTo>
                    <a:pt x="12060" y="7952"/>
                  </a:lnTo>
                  <a:lnTo>
                    <a:pt x="12054" y="7875"/>
                  </a:lnTo>
                  <a:lnTo>
                    <a:pt x="12045" y="7800"/>
                  </a:lnTo>
                  <a:lnTo>
                    <a:pt x="12032" y="7726"/>
                  </a:lnTo>
                  <a:lnTo>
                    <a:pt x="12015" y="7653"/>
                  </a:lnTo>
                  <a:lnTo>
                    <a:pt x="11995" y="7581"/>
                  </a:lnTo>
                  <a:lnTo>
                    <a:pt x="11971" y="7511"/>
                  </a:lnTo>
                  <a:lnTo>
                    <a:pt x="11943" y="7443"/>
                  </a:lnTo>
                  <a:lnTo>
                    <a:pt x="11913" y="7377"/>
                  </a:lnTo>
                  <a:lnTo>
                    <a:pt x="11880" y="7311"/>
                  </a:lnTo>
                  <a:lnTo>
                    <a:pt x="11844" y="7248"/>
                  </a:lnTo>
                  <a:lnTo>
                    <a:pt x="11805" y="7187"/>
                  </a:lnTo>
                  <a:lnTo>
                    <a:pt x="11762" y="7129"/>
                  </a:lnTo>
                  <a:lnTo>
                    <a:pt x="11717" y="7072"/>
                  </a:lnTo>
                  <a:lnTo>
                    <a:pt x="11670" y="7016"/>
                  </a:lnTo>
                  <a:lnTo>
                    <a:pt x="11621" y="6964"/>
                  </a:lnTo>
                  <a:lnTo>
                    <a:pt x="11568" y="6915"/>
                  </a:lnTo>
                  <a:lnTo>
                    <a:pt x="11513" y="6868"/>
                  </a:lnTo>
                  <a:lnTo>
                    <a:pt x="11456" y="6823"/>
                  </a:lnTo>
                  <a:lnTo>
                    <a:pt x="11398" y="6780"/>
                  </a:lnTo>
                  <a:lnTo>
                    <a:pt x="11336" y="6741"/>
                  </a:lnTo>
                  <a:lnTo>
                    <a:pt x="11273" y="6705"/>
                  </a:lnTo>
                  <a:lnTo>
                    <a:pt x="11208" y="6672"/>
                  </a:lnTo>
                  <a:lnTo>
                    <a:pt x="11141" y="6642"/>
                  </a:lnTo>
                  <a:lnTo>
                    <a:pt x="11073" y="6615"/>
                  </a:lnTo>
                  <a:lnTo>
                    <a:pt x="11003" y="6592"/>
                  </a:lnTo>
                  <a:lnTo>
                    <a:pt x="10931" y="6571"/>
                  </a:lnTo>
                  <a:lnTo>
                    <a:pt x="10858" y="6555"/>
                  </a:lnTo>
                  <a:lnTo>
                    <a:pt x="10783" y="6541"/>
                  </a:lnTo>
                  <a:lnTo>
                    <a:pt x="10708" y="6532"/>
                  </a:lnTo>
                  <a:lnTo>
                    <a:pt x="10632" y="6526"/>
                  </a:lnTo>
                  <a:lnTo>
                    <a:pt x="10554" y="65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75" name="ïSľídè">
              <a:extLst>
                <a:ext uri="{FF2B5EF4-FFF2-40B4-BE49-F238E27FC236}">
                  <a16:creationId xmlns:a16="http://schemas.microsoft.com/office/drawing/2014/main" id="{32F2313C-1383-4AFA-99D0-A9D2966E37F2}"/>
                </a:ext>
              </a:extLst>
            </p:cNvPr>
            <p:cNvSpPr/>
            <p:nvPr/>
          </p:nvSpPr>
          <p:spPr bwMode="auto">
            <a:xfrm>
              <a:off x="10535543" y="954104"/>
              <a:ext cx="76139" cy="114208"/>
            </a:xfrm>
            <a:custGeom>
              <a:avLst/>
              <a:gdLst>
                <a:gd name="T0" fmla="*/ 902 w 2010"/>
                <a:gd name="T1" fmla="*/ 5 h 3011"/>
                <a:gd name="T2" fmla="*/ 754 w 2010"/>
                <a:gd name="T3" fmla="*/ 33 h 3011"/>
                <a:gd name="T4" fmla="*/ 614 w 2010"/>
                <a:gd name="T5" fmla="*/ 80 h 3011"/>
                <a:gd name="T6" fmla="*/ 484 w 2010"/>
                <a:gd name="T7" fmla="*/ 146 h 3011"/>
                <a:gd name="T8" fmla="*/ 366 w 2010"/>
                <a:gd name="T9" fmla="*/ 229 h 3011"/>
                <a:gd name="T10" fmla="*/ 261 w 2010"/>
                <a:gd name="T11" fmla="*/ 330 h 3011"/>
                <a:gd name="T12" fmla="*/ 172 w 2010"/>
                <a:gd name="T13" fmla="*/ 443 h 3011"/>
                <a:gd name="T14" fmla="*/ 99 w 2010"/>
                <a:gd name="T15" fmla="*/ 569 h 3011"/>
                <a:gd name="T16" fmla="*/ 45 w 2010"/>
                <a:gd name="T17" fmla="*/ 706 h 3011"/>
                <a:gd name="T18" fmla="*/ 11 w 2010"/>
                <a:gd name="T19" fmla="*/ 852 h 3011"/>
                <a:gd name="T20" fmla="*/ 0 w 2010"/>
                <a:gd name="T21" fmla="*/ 1004 h 3011"/>
                <a:gd name="T22" fmla="*/ 4 w 2010"/>
                <a:gd name="T23" fmla="*/ 1096 h 3011"/>
                <a:gd name="T24" fmla="*/ 16 w 2010"/>
                <a:gd name="T25" fmla="*/ 1202 h 3011"/>
                <a:gd name="T26" fmla="*/ 44 w 2010"/>
                <a:gd name="T27" fmla="*/ 1358 h 3011"/>
                <a:gd name="T28" fmla="*/ 104 w 2010"/>
                <a:gd name="T29" fmla="*/ 1617 h 3011"/>
                <a:gd name="T30" fmla="*/ 183 w 2010"/>
                <a:gd name="T31" fmla="*/ 1892 h 3011"/>
                <a:gd name="T32" fmla="*/ 272 w 2010"/>
                <a:gd name="T33" fmla="*/ 2168 h 3011"/>
                <a:gd name="T34" fmla="*/ 361 w 2010"/>
                <a:gd name="T35" fmla="*/ 2414 h 3011"/>
                <a:gd name="T36" fmla="*/ 417 w 2010"/>
                <a:gd name="T37" fmla="*/ 2545 h 3011"/>
                <a:gd name="T38" fmla="*/ 462 w 2010"/>
                <a:gd name="T39" fmla="*/ 2636 h 3011"/>
                <a:gd name="T40" fmla="*/ 511 w 2010"/>
                <a:gd name="T41" fmla="*/ 2719 h 3011"/>
                <a:gd name="T42" fmla="*/ 567 w 2010"/>
                <a:gd name="T43" fmla="*/ 2795 h 3011"/>
                <a:gd name="T44" fmla="*/ 626 w 2010"/>
                <a:gd name="T45" fmla="*/ 2860 h 3011"/>
                <a:gd name="T46" fmla="*/ 693 w 2010"/>
                <a:gd name="T47" fmla="*/ 2916 h 3011"/>
                <a:gd name="T48" fmla="*/ 767 w 2010"/>
                <a:gd name="T49" fmla="*/ 2959 h 3011"/>
                <a:gd name="T50" fmla="*/ 849 w 2010"/>
                <a:gd name="T51" fmla="*/ 2990 h 3011"/>
                <a:gd name="T52" fmla="*/ 940 w 2010"/>
                <a:gd name="T53" fmla="*/ 3007 h 3011"/>
                <a:gd name="T54" fmla="*/ 1041 w 2010"/>
                <a:gd name="T55" fmla="*/ 3010 h 3011"/>
                <a:gd name="T56" fmla="*/ 1141 w 2010"/>
                <a:gd name="T57" fmla="*/ 2997 h 3011"/>
                <a:gd name="T58" fmla="*/ 1229 w 2010"/>
                <a:gd name="T59" fmla="*/ 2971 h 3011"/>
                <a:gd name="T60" fmla="*/ 1307 w 2010"/>
                <a:gd name="T61" fmla="*/ 2932 h 3011"/>
                <a:gd name="T62" fmla="*/ 1375 w 2010"/>
                <a:gd name="T63" fmla="*/ 2881 h 3011"/>
                <a:gd name="T64" fmla="*/ 1436 w 2010"/>
                <a:gd name="T65" fmla="*/ 2820 h 3011"/>
                <a:gd name="T66" fmla="*/ 1489 w 2010"/>
                <a:gd name="T67" fmla="*/ 2747 h 3011"/>
                <a:gd name="T68" fmla="*/ 1538 w 2010"/>
                <a:gd name="T69" fmla="*/ 2667 h 3011"/>
                <a:gd name="T70" fmla="*/ 1582 w 2010"/>
                <a:gd name="T71" fmla="*/ 2580 h 3011"/>
                <a:gd name="T72" fmla="*/ 1623 w 2010"/>
                <a:gd name="T73" fmla="*/ 2484 h 3011"/>
                <a:gd name="T74" fmla="*/ 1708 w 2010"/>
                <a:gd name="T75" fmla="*/ 2263 h 3011"/>
                <a:gd name="T76" fmla="*/ 1799 w 2010"/>
                <a:gd name="T77" fmla="*/ 1990 h 3011"/>
                <a:gd name="T78" fmla="*/ 1883 w 2010"/>
                <a:gd name="T79" fmla="*/ 1711 h 3011"/>
                <a:gd name="T80" fmla="*/ 1949 w 2010"/>
                <a:gd name="T81" fmla="*/ 1444 h 3011"/>
                <a:gd name="T82" fmla="*/ 1988 w 2010"/>
                <a:gd name="T83" fmla="*/ 1240 h 3011"/>
                <a:gd name="T84" fmla="*/ 2003 w 2010"/>
                <a:gd name="T85" fmla="*/ 1132 h 3011"/>
                <a:gd name="T86" fmla="*/ 2009 w 2010"/>
                <a:gd name="T87" fmla="*/ 1033 h 3011"/>
                <a:gd name="T88" fmla="*/ 2005 w 2010"/>
                <a:gd name="T89" fmla="*/ 902 h 3011"/>
                <a:gd name="T90" fmla="*/ 1978 w 2010"/>
                <a:gd name="T91" fmla="*/ 753 h 3011"/>
                <a:gd name="T92" fmla="*/ 1931 w 2010"/>
                <a:gd name="T93" fmla="*/ 614 h 3011"/>
                <a:gd name="T94" fmla="*/ 1864 w 2010"/>
                <a:gd name="T95" fmla="*/ 484 h 3011"/>
                <a:gd name="T96" fmla="*/ 1780 w 2010"/>
                <a:gd name="T97" fmla="*/ 366 h 3011"/>
                <a:gd name="T98" fmla="*/ 1680 w 2010"/>
                <a:gd name="T99" fmla="*/ 261 h 3011"/>
                <a:gd name="T100" fmla="*/ 1567 w 2010"/>
                <a:gd name="T101" fmla="*/ 172 h 3011"/>
                <a:gd name="T102" fmla="*/ 1440 w 2010"/>
                <a:gd name="T103" fmla="*/ 100 h 3011"/>
                <a:gd name="T104" fmla="*/ 1304 w 2010"/>
                <a:gd name="T105" fmla="*/ 46 h 3011"/>
                <a:gd name="T106" fmla="*/ 1158 w 2010"/>
                <a:gd name="T107" fmla="*/ 11 h 3011"/>
                <a:gd name="T108" fmla="*/ 1005 w 2010"/>
                <a:gd name="T109" fmla="*/ 0 h 30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10" h="3011">
                  <a:moveTo>
                    <a:pt x="1005" y="0"/>
                  </a:moveTo>
                  <a:lnTo>
                    <a:pt x="953" y="1"/>
                  </a:lnTo>
                  <a:lnTo>
                    <a:pt x="902" y="5"/>
                  </a:lnTo>
                  <a:lnTo>
                    <a:pt x="852" y="11"/>
                  </a:lnTo>
                  <a:lnTo>
                    <a:pt x="803" y="21"/>
                  </a:lnTo>
                  <a:lnTo>
                    <a:pt x="754" y="33"/>
                  </a:lnTo>
                  <a:lnTo>
                    <a:pt x="706" y="46"/>
                  </a:lnTo>
                  <a:lnTo>
                    <a:pt x="659" y="62"/>
                  </a:lnTo>
                  <a:lnTo>
                    <a:pt x="614" y="80"/>
                  </a:lnTo>
                  <a:lnTo>
                    <a:pt x="570" y="100"/>
                  </a:lnTo>
                  <a:lnTo>
                    <a:pt x="526" y="122"/>
                  </a:lnTo>
                  <a:lnTo>
                    <a:pt x="484" y="146"/>
                  </a:lnTo>
                  <a:lnTo>
                    <a:pt x="443" y="172"/>
                  </a:lnTo>
                  <a:lnTo>
                    <a:pt x="404" y="200"/>
                  </a:lnTo>
                  <a:lnTo>
                    <a:pt x="366" y="229"/>
                  </a:lnTo>
                  <a:lnTo>
                    <a:pt x="330" y="261"/>
                  </a:lnTo>
                  <a:lnTo>
                    <a:pt x="294" y="294"/>
                  </a:lnTo>
                  <a:lnTo>
                    <a:pt x="261" y="330"/>
                  </a:lnTo>
                  <a:lnTo>
                    <a:pt x="229" y="366"/>
                  </a:lnTo>
                  <a:lnTo>
                    <a:pt x="200" y="404"/>
                  </a:lnTo>
                  <a:lnTo>
                    <a:pt x="172" y="443"/>
                  </a:lnTo>
                  <a:lnTo>
                    <a:pt x="146" y="484"/>
                  </a:lnTo>
                  <a:lnTo>
                    <a:pt x="121" y="526"/>
                  </a:lnTo>
                  <a:lnTo>
                    <a:pt x="99" y="569"/>
                  </a:lnTo>
                  <a:lnTo>
                    <a:pt x="79" y="614"/>
                  </a:lnTo>
                  <a:lnTo>
                    <a:pt x="61" y="659"/>
                  </a:lnTo>
                  <a:lnTo>
                    <a:pt x="45" y="706"/>
                  </a:lnTo>
                  <a:lnTo>
                    <a:pt x="31" y="753"/>
                  </a:lnTo>
                  <a:lnTo>
                    <a:pt x="20" y="802"/>
                  </a:lnTo>
                  <a:lnTo>
                    <a:pt x="11" y="852"/>
                  </a:lnTo>
                  <a:lnTo>
                    <a:pt x="5" y="902"/>
                  </a:lnTo>
                  <a:lnTo>
                    <a:pt x="1" y="953"/>
                  </a:lnTo>
                  <a:lnTo>
                    <a:pt x="0" y="1004"/>
                  </a:lnTo>
                  <a:lnTo>
                    <a:pt x="0" y="1033"/>
                  </a:lnTo>
                  <a:lnTo>
                    <a:pt x="2" y="1064"/>
                  </a:lnTo>
                  <a:lnTo>
                    <a:pt x="4" y="1096"/>
                  </a:lnTo>
                  <a:lnTo>
                    <a:pt x="7" y="1131"/>
                  </a:lnTo>
                  <a:lnTo>
                    <a:pt x="12" y="1166"/>
                  </a:lnTo>
                  <a:lnTo>
                    <a:pt x="16" y="1202"/>
                  </a:lnTo>
                  <a:lnTo>
                    <a:pt x="22" y="1239"/>
                  </a:lnTo>
                  <a:lnTo>
                    <a:pt x="29" y="1278"/>
                  </a:lnTo>
                  <a:lnTo>
                    <a:pt x="44" y="1358"/>
                  </a:lnTo>
                  <a:lnTo>
                    <a:pt x="61" y="1442"/>
                  </a:lnTo>
                  <a:lnTo>
                    <a:pt x="82" y="1528"/>
                  </a:lnTo>
                  <a:lnTo>
                    <a:pt x="104" y="1617"/>
                  </a:lnTo>
                  <a:lnTo>
                    <a:pt x="128" y="1708"/>
                  </a:lnTo>
                  <a:lnTo>
                    <a:pt x="156" y="1800"/>
                  </a:lnTo>
                  <a:lnTo>
                    <a:pt x="183" y="1892"/>
                  </a:lnTo>
                  <a:lnTo>
                    <a:pt x="212" y="1986"/>
                  </a:lnTo>
                  <a:lnTo>
                    <a:pt x="242" y="2078"/>
                  </a:lnTo>
                  <a:lnTo>
                    <a:pt x="272" y="2168"/>
                  </a:lnTo>
                  <a:lnTo>
                    <a:pt x="303" y="2258"/>
                  </a:lnTo>
                  <a:lnTo>
                    <a:pt x="335" y="2345"/>
                  </a:lnTo>
                  <a:lnTo>
                    <a:pt x="361" y="2414"/>
                  </a:lnTo>
                  <a:lnTo>
                    <a:pt x="388" y="2480"/>
                  </a:lnTo>
                  <a:lnTo>
                    <a:pt x="402" y="2513"/>
                  </a:lnTo>
                  <a:lnTo>
                    <a:pt x="417" y="2545"/>
                  </a:lnTo>
                  <a:lnTo>
                    <a:pt x="431" y="2576"/>
                  </a:lnTo>
                  <a:lnTo>
                    <a:pt x="446" y="2606"/>
                  </a:lnTo>
                  <a:lnTo>
                    <a:pt x="462" y="2636"/>
                  </a:lnTo>
                  <a:lnTo>
                    <a:pt x="478" y="2664"/>
                  </a:lnTo>
                  <a:lnTo>
                    <a:pt x="494" y="2692"/>
                  </a:lnTo>
                  <a:lnTo>
                    <a:pt x="511" y="2719"/>
                  </a:lnTo>
                  <a:lnTo>
                    <a:pt x="530" y="2745"/>
                  </a:lnTo>
                  <a:lnTo>
                    <a:pt x="548" y="2770"/>
                  </a:lnTo>
                  <a:lnTo>
                    <a:pt x="567" y="2795"/>
                  </a:lnTo>
                  <a:lnTo>
                    <a:pt x="586" y="2818"/>
                  </a:lnTo>
                  <a:lnTo>
                    <a:pt x="606" y="2840"/>
                  </a:lnTo>
                  <a:lnTo>
                    <a:pt x="626" y="2860"/>
                  </a:lnTo>
                  <a:lnTo>
                    <a:pt x="648" y="2880"/>
                  </a:lnTo>
                  <a:lnTo>
                    <a:pt x="670" y="2898"/>
                  </a:lnTo>
                  <a:lnTo>
                    <a:pt x="693" y="2916"/>
                  </a:lnTo>
                  <a:lnTo>
                    <a:pt x="717" y="2931"/>
                  </a:lnTo>
                  <a:lnTo>
                    <a:pt x="742" y="2946"/>
                  </a:lnTo>
                  <a:lnTo>
                    <a:pt x="767" y="2959"/>
                  </a:lnTo>
                  <a:lnTo>
                    <a:pt x="793" y="2971"/>
                  </a:lnTo>
                  <a:lnTo>
                    <a:pt x="821" y="2981"/>
                  </a:lnTo>
                  <a:lnTo>
                    <a:pt x="849" y="2990"/>
                  </a:lnTo>
                  <a:lnTo>
                    <a:pt x="878" y="2997"/>
                  </a:lnTo>
                  <a:lnTo>
                    <a:pt x="909" y="3003"/>
                  </a:lnTo>
                  <a:lnTo>
                    <a:pt x="940" y="3007"/>
                  </a:lnTo>
                  <a:lnTo>
                    <a:pt x="972" y="3010"/>
                  </a:lnTo>
                  <a:lnTo>
                    <a:pt x="1005" y="3011"/>
                  </a:lnTo>
                  <a:lnTo>
                    <a:pt x="1041" y="3010"/>
                  </a:lnTo>
                  <a:lnTo>
                    <a:pt x="1075" y="3007"/>
                  </a:lnTo>
                  <a:lnTo>
                    <a:pt x="1109" y="3003"/>
                  </a:lnTo>
                  <a:lnTo>
                    <a:pt x="1141" y="2997"/>
                  </a:lnTo>
                  <a:lnTo>
                    <a:pt x="1172" y="2990"/>
                  </a:lnTo>
                  <a:lnTo>
                    <a:pt x="1201" y="2981"/>
                  </a:lnTo>
                  <a:lnTo>
                    <a:pt x="1229" y="2971"/>
                  </a:lnTo>
                  <a:lnTo>
                    <a:pt x="1256" y="2960"/>
                  </a:lnTo>
                  <a:lnTo>
                    <a:pt x="1281" y="2947"/>
                  </a:lnTo>
                  <a:lnTo>
                    <a:pt x="1307" y="2932"/>
                  </a:lnTo>
                  <a:lnTo>
                    <a:pt x="1331" y="2916"/>
                  </a:lnTo>
                  <a:lnTo>
                    <a:pt x="1354" y="2899"/>
                  </a:lnTo>
                  <a:lnTo>
                    <a:pt x="1375" y="2881"/>
                  </a:lnTo>
                  <a:lnTo>
                    <a:pt x="1396" y="2862"/>
                  </a:lnTo>
                  <a:lnTo>
                    <a:pt x="1416" y="2841"/>
                  </a:lnTo>
                  <a:lnTo>
                    <a:pt x="1436" y="2820"/>
                  </a:lnTo>
                  <a:lnTo>
                    <a:pt x="1454" y="2797"/>
                  </a:lnTo>
                  <a:lnTo>
                    <a:pt x="1472" y="2772"/>
                  </a:lnTo>
                  <a:lnTo>
                    <a:pt x="1489" y="2747"/>
                  </a:lnTo>
                  <a:lnTo>
                    <a:pt x="1507" y="2722"/>
                  </a:lnTo>
                  <a:lnTo>
                    <a:pt x="1523" y="2695"/>
                  </a:lnTo>
                  <a:lnTo>
                    <a:pt x="1538" y="2667"/>
                  </a:lnTo>
                  <a:lnTo>
                    <a:pt x="1554" y="2639"/>
                  </a:lnTo>
                  <a:lnTo>
                    <a:pt x="1568" y="2610"/>
                  </a:lnTo>
                  <a:lnTo>
                    <a:pt x="1582" y="2580"/>
                  </a:lnTo>
                  <a:lnTo>
                    <a:pt x="1596" y="2549"/>
                  </a:lnTo>
                  <a:lnTo>
                    <a:pt x="1610" y="2517"/>
                  </a:lnTo>
                  <a:lnTo>
                    <a:pt x="1623" y="2484"/>
                  </a:lnTo>
                  <a:lnTo>
                    <a:pt x="1649" y="2418"/>
                  </a:lnTo>
                  <a:lnTo>
                    <a:pt x="1675" y="2350"/>
                  </a:lnTo>
                  <a:lnTo>
                    <a:pt x="1708" y="2263"/>
                  </a:lnTo>
                  <a:lnTo>
                    <a:pt x="1739" y="2173"/>
                  </a:lnTo>
                  <a:lnTo>
                    <a:pt x="1769" y="2082"/>
                  </a:lnTo>
                  <a:lnTo>
                    <a:pt x="1799" y="1990"/>
                  </a:lnTo>
                  <a:lnTo>
                    <a:pt x="1828" y="1896"/>
                  </a:lnTo>
                  <a:lnTo>
                    <a:pt x="1856" y="1803"/>
                  </a:lnTo>
                  <a:lnTo>
                    <a:pt x="1883" y="1711"/>
                  </a:lnTo>
                  <a:lnTo>
                    <a:pt x="1907" y="1620"/>
                  </a:lnTo>
                  <a:lnTo>
                    <a:pt x="1929" y="1531"/>
                  </a:lnTo>
                  <a:lnTo>
                    <a:pt x="1949" y="1444"/>
                  </a:lnTo>
                  <a:lnTo>
                    <a:pt x="1967" y="1359"/>
                  </a:lnTo>
                  <a:lnTo>
                    <a:pt x="1982" y="1279"/>
                  </a:lnTo>
                  <a:lnTo>
                    <a:pt x="1988" y="1240"/>
                  </a:lnTo>
                  <a:lnTo>
                    <a:pt x="1994" y="1203"/>
                  </a:lnTo>
                  <a:lnTo>
                    <a:pt x="1998" y="1167"/>
                  </a:lnTo>
                  <a:lnTo>
                    <a:pt x="2003" y="1132"/>
                  </a:lnTo>
                  <a:lnTo>
                    <a:pt x="2006" y="1097"/>
                  </a:lnTo>
                  <a:lnTo>
                    <a:pt x="2008" y="1064"/>
                  </a:lnTo>
                  <a:lnTo>
                    <a:pt x="2009" y="1033"/>
                  </a:lnTo>
                  <a:lnTo>
                    <a:pt x="2010" y="1004"/>
                  </a:lnTo>
                  <a:lnTo>
                    <a:pt x="2009" y="953"/>
                  </a:lnTo>
                  <a:lnTo>
                    <a:pt x="2005" y="902"/>
                  </a:lnTo>
                  <a:lnTo>
                    <a:pt x="1998" y="852"/>
                  </a:lnTo>
                  <a:lnTo>
                    <a:pt x="1990" y="802"/>
                  </a:lnTo>
                  <a:lnTo>
                    <a:pt x="1978" y="753"/>
                  </a:lnTo>
                  <a:lnTo>
                    <a:pt x="1965" y="706"/>
                  </a:lnTo>
                  <a:lnTo>
                    <a:pt x="1949" y="659"/>
                  </a:lnTo>
                  <a:lnTo>
                    <a:pt x="1931" y="614"/>
                  </a:lnTo>
                  <a:lnTo>
                    <a:pt x="1911" y="569"/>
                  </a:lnTo>
                  <a:lnTo>
                    <a:pt x="1889" y="526"/>
                  </a:lnTo>
                  <a:lnTo>
                    <a:pt x="1864" y="484"/>
                  </a:lnTo>
                  <a:lnTo>
                    <a:pt x="1838" y="443"/>
                  </a:lnTo>
                  <a:lnTo>
                    <a:pt x="1810" y="404"/>
                  </a:lnTo>
                  <a:lnTo>
                    <a:pt x="1780" y="366"/>
                  </a:lnTo>
                  <a:lnTo>
                    <a:pt x="1749" y="330"/>
                  </a:lnTo>
                  <a:lnTo>
                    <a:pt x="1716" y="294"/>
                  </a:lnTo>
                  <a:lnTo>
                    <a:pt x="1680" y="261"/>
                  </a:lnTo>
                  <a:lnTo>
                    <a:pt x="1644" y="229"/>
                  </a:lnTo>
                  <a:lnTo>
                    <a:pt x="1606" y="200"/>
                  </a:lnTo>
                  <a:lnTo>
                    <a:pt x="1567" y="172"/>
                  </a:lnTo>
                  <a:lnTo>
                    <a:pt x="1526" y="146"/>
                  </a:lnTo>
                  <a:lnTo>
                    <a:pt x="1484" y="122"/>
                  </a:lnTo>
                  <a:lnTo>
                    <a:pt x="1440" y="100"/>
                  </a:lnTo>
                  <a:lnTo>
                    <a:pt x="1396" y="80"/>
                  </a:lnTo>
                  <a:lnTo>
                    <a:pt x="1351" y="62"/>
                  </a:lnTo>
                  <a:lnTo>
                    <a:pt x="1304" y="46"/>
                  </a:lnTo>
                  <a:lnTo>
                    <a:pt x="1256" y="33"/>
                  </a:lnTo>
                  <a:lnTo>
                    <a:pt x="1207" y="21"/>
                  </a:lnTo>
                  <a:lnTo>
                    <a:pt x="1158" y="11"/>
                  </a:lnTo>
                  <a:lnTo>
                    <a:pt x="1108" y="5"/>
                  </a:lnTo>
                  <a:lnTo>
                    <a:pt x="1056" y="1"/>
                  </a:lnTo>
                  <a:lnTo>
                    <a:pt x="10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76" name="iš1ïḍé">
              <a:extLst>
                <a:ext uri="{FF2B5EF4-FFF2-40B4-BE49-F238E27FC236}">
                  <a16:creationId xmlns:a16="http://schemas.microsoft.com/office/drawing/2014/main" id="{DC52BDE0-DF1E-4D29-966D-1ED16F14DB4D}"/>
                </a:ext>
              </a:extLst>
            </p:cNvPr>
            <p:cNvSpPr/>
            <p:nvPr/>
          </p:nvSpPr>
          <p:spPr bwMode="auto">
            <a:xfrm>
              <a:off x="10388558" y="337956"/>
              <a:ext cx="231062" cy="231062"/>
            </a:xfrm>
            <a:custGeom>
              <a:avLst/>
              <a:gdLst>
                <a:gd name="T0" fmla="*/ 15044 w 16095"/>
                <a:gd name="T1" fmla="*/ 14382 h 16095"/>
                <a:gd name="T2" fmla="*/ 14889 w 16095"/>
                <a:gd name="T3" fmla="*/ 14685 h 16095"/>
                <a:gd name="T4" fmla="*/ 14645 w 16095"/>
                <a:gd name="T5" fmla="*/ 14917 h 16095"/>
                <a:gd name="T6" fmla="*/ 14335 w 16095"/>
                <a:gd name="T7" fmla="*/ 15057 h 16095"/>
                <a:gd name="T8" fmla="*/ 1961 w 16095"/>
                <a:gd name="T9" fmla="*/ 15088 h 16095"/>
                <a:gd name="T10" fmla="*/ 1621 w 16095"/>
                <a:gd name="T11" fmla="*/ 15010 h 16095"/>
                <a:gd name="T12" fmla="*/ 1336 w 16095"/>
                <a:gd name="T13" fmla="*/ 14828 h 16095"/>
                <a:gd name="T14" fmla="*/ 1128 w 16095"/>
                <a:gd name="T15" fmla="*/ 14562 h 16095"/>
                <a:gd name="T16" fmla="*/ 1017 w 16095"/>
                <a:gd name="T17" fmla="*/ 14236 h 16095"/>
                <a:gd name="T18" fmla="*/ 1012 w 16095"/>
                <a:gd name="T19" fmla="*/ 3947 h 16095"/>
                <a:gd name="T20" fmla="*/ 1066 w 16095"/>
                <a:gd name="T21" fmla="*/ 3784 h 16095"/>
                <a:gd name="T22" fmla="*/ 1171 w 16095"/>
                <a:gd name="T23" fmla="*/ 3652 h 16095"/>
                <a:gd name="T24" fmla="*/ 1313 w 16095"/>
                <a:gd name="T25" fmla="*/ 3560 h 16095"/>
                <a:gd name="T26" fmla="*/ 1483 w 16095"/>
                <a:gd name="T27" fmla="*/ 3522 h 16095"/>
                <a:gd name="T28" fmla="*/ 2022 w 16095"/>
                <a:gd name="T29" fmla="*/ 13682 h 16095"/>
                <a:gd name="T30" fmla="*/ 2084 w 16095"/>
                <a:gd name="T31" fmla="*/ 13841 h 16095"/>
                <a:gd name="T32" fmla="*/ 2195 w 16095"/>
                <a:gd name="T33" fmla="*/ 13968 h 16095"/>
                <a:gd name="T34" fmla="*/ 2342 w 16095"/>
                <a:gd name="T35" fmla="*/ 14053 h 16095"/>
                <a:gd name="T36" fmla="*/ 2515 w 16095"/>
                <a:gd name="T37" fmla="*/ 14083 h 16095"/>
                <a:gd name="T38" fmla="*/ 2688 w 16095"/>
                <a:gd name="T39" fmla="*/ 14053 h 16095"/>
                <a:gd name="T40" fmla="*/ 2835 w 16095"/>
                <a:gd name="T41" fmla="*/ 13968 h 16095"/>
                <a:gd name="T42" fmla="*/ 2945 w 16095"/>
                <a:gd name="T43" fmla="*/ 13841 h 16095"/>
                <a:gd name="T44" fmla="*/ 3008 w 16095"/>
                <a:gd name="T45" fmla="*/ 13682 h 16095"/>
                <a:gd name="T46" fmla="*/ 3021 w 16095"/>
                <a:gd name="T47" fmla="*/ 1458 h 16095"/>
                <a:gd name="T48" fmla="*/ 3067 w 16095"/>
                <a:gd name="T49" fmla="*/ 1291 h 16095"/>
                <a:gd name="T50" fmla="*/ 3166 w 16095"/>
                <a:gd name="T51" fmla="*/ 1154 h 16095"/>
                <a:gd name="T52" fmla="*/ 3302 w 16095"/>
                <a:gd name="T53" fmla="*/ 1055 h 16095"/>
                <a:gd name="T54" fmla="*/ 3469 w 16095"/>
                <a:gd name="T55" fmla="*/ 1009 h 16095"/>
                <a:gd name="T56" fmla="*/ 14688 w 16095"/>
                <a:gd name="T57" fmla="*/ 1016 h 16095"/>
                <a:gd name="T58" fmla="*/ 14847 w 16095"/>
                <a:gd name="T59" fmla="*/ 1079 h 16095"/>
                <a:gd name="T60" fmla="*/ 14974 w 16095"/>
                <a:gd name="T61" fmla="*/ 1189 h 16095"/>
                <a:gd name="T62" fmla="*/ 15059 w 16095"/>
                <a:gd name="T63" fmla="*/ 1336 h 16095"/>
                <a:gd name="T64" fmla="*/ 15089 w 16095"/>
                <a:gd name="T65" fmla="*/ 1509 h 16095"/>
                <a:gd name="T66" fmla="*/ 3217 w 16095"/>
                <a:gd name="T67" fmla="*/ 30 h 16095"/>
                <a:gd name="T68" fmla="*/ 2738 w 16095"/>
                <a:gd name="T69" fmla="*/ 218 h 16095"/>
                <a:gd name="T70" fmla="*/ 2356 w 16095"/>
                <a:gd name="T71" fmla="*/ 549 h 16095"/>
                <a:gd name="T72" fmla="*/ 2103 w 16095"/>
                <a:gd name="T73" fmla="*/ 990 h 16095"/>
                <a:gd name="T74" fmla="*/ 2012 w 16095"/>
                <a:gd name="T75" fmla="*/ 1509 h 16095"/>
                <a:gd name="T76" fmla="*/ 1132 w 16095"/>
                <a:gd name="T77" fmla="*/ 2562 h 16095"/>
                <a:gd name="T78" fmla="*/ 665 w 16095"/>
                <a:gd name="T79" fmla="*/ 2772 h 16095"/>
                <a:gd name="T80" fmla="*/ 300 w 16095"/>
                <a:gd name="T81" fmla="*/ 3120 h 16095"/>
                <a:gd name="T82" fmla="*/ 67 w 16095"/>
                <a:gd name="T83" fmla="*/ 3575 h 16095"/>
                <a:gd name="T84" fmla="*/ 0 w 16095"/>
                <a:gd name="T85" fmla="*/ 14083 h 16095"/>
                <a:gd name="T86" fmla="*/ 122 w 16095"/>
                <a:gd name="T87" fmla="*/ 14775 h 16095"/>
                <a:gd name="T88" fmla="*/ 460 w 16095"/>
                <a:gd name="T89" fmla="*/ 15363 h 16095"/>
                <a:gd name="T90" fmla="*/ 969 w 16095"/>
                <a:gd name="T91" fmla="*/ 15803 h 16095"/>
                <a:gd name="T92" fmla="*/ 1606 w 16095"/>
                <a:gd name="T93" fmla="*/ 16054 h 16095"/>
                <a:gd name="T94" fmla="*/ 14289 w 16095"/>
                <a:gd name="T95" fmla="*/ 16085 h 16095"/>
                <a:gd name="T96" fmla="*/ 14955 w 16095"/>
                <a:gd name="T97" fmla="*/ 15897 h 16095"/>
                <a:gd name="T98" fmla="*/ 15506 w 16095"/>
                <a:gd name="T99" fmla="*/ 15506 h 16095"/>
                <a:gd name="T100" fmla="*/ 15897 w 16095"/>
                <a:gd name="T101" fmla="*/ 14955 h 16095"/>
                <a:gd name="T102" fmla="*/ 16085 w 16095"/>
                <a:gd name="T103" fmla="*/ 14289 h 16095"/>
                <a:gd name="T104" fmla="*/ 16065 w 16095"/>
                <a:gd name="T105" fmla="*/ 1204 h 16095"/>
                <a:gd name="T106" fmla="*/ 15877 w 16095"/>
                <a:gd name="T107" fmla="*/ 726 h 16095"/>
                <a:gd name="T108" fmla="*/ 15546 w 16095"/>
                <a:gd name="T109" fmla="*/ 344 h 16095"/>
                <a:gd name="T110" fmla="*/ 15105 w 16095"/>
                <a:gd name="T111" fmla="*/ 92 h 16095"/>
                <a:gd name="T112" fmla="*/ 14586 w 16095"/>
                <a:gd name="T113" fmla="*/ 0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6095">
                  <a:moveTo>
                    <a:pt x="15089" y="14083"/>
                  </a:moveTo>
                  <a:lnTo>
                    <a:pt x="15088" y="14134"/>
                  </a:lnTo>
                  <a:lnTo>
                    <a:pt x="15084" y="14186"/>
                  </a:lnTo>
                  <a:lnTo>
                    <a:pt x="15077" y="14236"/>
                  </a:lnTo>
                  <a:lnTo>
                    <a:pt x="15069" y="14285"/>
                  </a:lnTo>
                  <a:lnTo>
                    <a:pt x="15057" y="14334"/>
                  </a:lnTo>
                  <a:lnTo>
                    <a:pt x="15044" y="14382"/>
                  </a:lnTo>
                  <a:lnTo>
                    <a:pt x="15028" y="14428"/>
                  </a:lnTo>
                  <a:lnTo>
                    <a:pt x="15010" y="14474"/>
                  </a:lnTo>
                  <a:lnTo>
                    <a:pt x="14989" y="14519"/>
                  </a:lnTo>
                  <a:lnTo>
                    <a:pt x="14967" y="14562"/>
                  </a:lnTo>
                  <a:lnTo>
                    <a:pt x="14943" y="14604"/>
                  </a:lnTo>
                  <a:lnTo>
                    <a:pt x="14917" y="14645"/>
                  </a:lnTo>
                  <a:lnTo>
                    <a:pt x="14889" y="14685"/>
                  </a:lnTo>
                  <a:lnTo>
                    <a:pt x="14859" y="14723"/>
                  </a:lnTo>
                  <a:lnTo>
                    <a:pt x="14828" y="14759"/>
                  </a:lnTo>
                  <a:lnTo>
                    <a:pt x="14794" y="14794"/>
                  </a:lnTo>
                  <a:lnTo>
                    <a:pt x="14759" y="14828"/>
                  </a:lnTo>
                  <a:lnTo>
                    <a:pt x="14723" y="14859"/>
                  </a:lnTo>
                  <a:lnTo>
                    <a:pt x="14685" y="14889"/>
                  </a:lnTo>
                  <a:lnTo>
                    <a:pt x="14645" y="14917"/>
                  </a:lnTo>
                  <a:lnTo>
                    <a:pt x="14604" y="14943"/>
                  </a:lnTo>
                  <a:lnTo>
                    <a:pt x="14562" y="14967"/>
                  </a:lnTo>
                  <a:lnTo>
                    <a:pt x="14519" y="14989"/>
                  </a:lnTo>
                  <a:lnTo>
                    <a:pt x="14474" y="15010"/>
                  </a:lnTo>
                  <a:lnTo>
                    <a:pt x="14429" y="15028"/>
                  </a:lnTo>
                  <a:lnTo>
                    <a:pt x="14382" y="15044"/>
                  </a:lnTo>
                  <a:lnTo>
                    <a:pt x="14335" y="15057"/>
                  </a:lnTo>
                  <a:lnTo>
                    <a:pt x="14285" y="15069"/>
                  </a:lnTo>
                  <a:lnTo>
                    <a:pt x="14236" y="15077"/>
                  </a:lnTo>
                  <a:lnTo>
                    <a:pt x="14186" y="15084"/>
                  </a:lnTo>
                  <a:lnTo>
                    <a:pt x="14134" y="15088"/>
                  </a:lnTo>
                  <a:lnTo>
                    <a:pt x="14083" y="15089"/>
                  </a:lnTo>
                  <a:lnTo>
                    <a:pt x="2012" y="15089"/>
                  </a:lnTo>
                  <a:lnTo>
                    <a:pt x="1961" y="15088"/>
                  </a:lnTo>
                  <a:lnTo>
                    <a:pt x="1909" y="15084"/>
                  </a:lnTo>
                  <a:lnTo>
                    <a:pt x="1859" y="15077"/>
                  </a:lnTo>
                  <a:lnTo>
                    <a:pt x="1810" y="15069"/>
                  </a:lnTo>
                  <a:lnTo>
                    <a:pt x="1760" y="15057"/>
                  </a:lnTo>
                  <a:lnTo>
                    <a:pt x="1713" y="15044"/>
                  </a:lnTo>
                  <a:lnTo>
                    <a:pt x="1666" y="15028"/>
                  </a:lnTo>
                  <a:lnTo>
                    <a:pt x="1621" y="15010"/>
                  </a:lnTo>
                  <a:lnTo>
                    <a:pt x="1576" y="14989"/>
                  </a:lnTo>
                  <a:lnTo>
                    <a:pt x="1533" y="14967"/>
                  </a:lnTo>
                  <a:lnTo>
                    <a:pt x="1491" y="14943"/>
                  </a:lnTo>
                  <a:lnTo>
                    <a:pt x="1450" y="14917"/>
                  </a:lnTo>
                  <a:lnTo>
                    <a:pt x="1410" y="14889"/>
                  </a:lnTo>
                  <a:lnTo>
                    <a:pt x="1372" y="14859"/>
                  </a:lnTo>
                  <a:lnTo>
                    <a:pt x="1336" y="14828"/>
                  </a:lnTo>
                  <a:lnTo>
                    <a:pt x="1301" y="14794"/>
                  </a:lnTo>
                  <a:lnTo>
                    <a:pt x="1267" y="14759"/>
                  </a:lnTo>
                  <a:lnTo>
                    <a:pt x="1236" y="14723"/>
                  </a:lnTo>
                  <a:lnTo>
                    <a:pt x="1206" y="14685"/>
                  </a:lnTo>
                  <a:lnTo>
                    <a:pt x="1178" y="14645"/>
                  </a:lnTo>
                  <a:lnTo>
                    <a:pt x="1152" y="14604"/>
                  </a:lnTo>
                  <a:lnTo>
                    <a:pt x="1128" y="14562"/>
                  </a:lnTo>
                  <a:lnTo>
                    <a:pt x="1106" y="14519"/>
                  </a:lnTo>
                  <a:lnTo>
                    <a:pt x="1085" y="14474"/>
                  </a:lnTo>
                  <a:lnTo>
                    <a:pt x="1067" y="14428"/>
                  </a:lnTo>
                  <a:lnTo>
                    <a:pt x="1051" y="14382"/>
                  </a:lnTo>
                  <a:lnTo>
                    <a:pt x="1037" y="14334"/>
                  </a:lnTo>
                  <a:lnTo>
                    <a:pt x="1026" y="14285"/>
                  </a:lnTo>
                  <a:lnTo>
                    <a:pt x="1017" y="14236"/>
                  </a:lnTo>
                  <a:lnTo>
                    <a:pt x="1011" y="14186"/>
                  </a:lnTo>
                  <a:lnTo>
                    <a:pt x="1007" y="14134"/>
                  </a:lnTo>
                  <a:lnTo>
                    <a:pt x="1006" y="14083"/>
                  </a:lnTo>
                  <a:lnTo>
                    <a:pt x="1006" y="4024"/>
                  </a:lnTo>
                  <a:lnTo>
                    <a:pt x="1007" y="3998"/>
                  </a:lnTo>
                  <a:lnTo>
                    <a:pt x="1009" y="3972"/>
                  </a:lnTo>
                  <a:lnTo>
                    <a:pt x="1012" y="3947"/>
                  </a:lnTo>
                  <a:lnTo>
                    <a:pt x="1016" y="3922"/>
                  </a:lnTo>
                  <a:lnTo>
                    <a:pt x="1022" y="3898"/>
                  </a:lnTo>
                  <a:lnTo>
                    <a:pt x="1028" y="3874"/>
                  </a:lnTo>
                  <a:lnTo>
                    <a:pt x="1036" y="3851"/>
                  </a:lnTo>
                  <a:lnTo>
                    <a:pt x="1045" y="3828"/>
                  </a:lnTo>
                  <a:lnTo>
                    <a:pt x="1055" y="3805"/>
                  </a:lnTo>
                  <a:lnTo>
                    <a:pt x="1066" y="3784"/>
                  </a:lnTo>
                  <a:lnTo>
                    <a:pt x="1078" y="3763"/>
                  </a:lnTo>
                  <a:lnTo>
                    <a:pt x="1091" y="3743"/>
                  </a:lnTo>
                  <a:lnTo>
                    <a:pt x="1106" y="3723"/>
                  </a:lnTo>
                  <a:lnTo>
                    <a:pt x="1121" y="3704"/>
                  </a:lnTo>
                  <a:lnTo>
                    <a:pt x="1137" y="3686"/>
                  </a:lnTo>
                  <a:lnTo>
                    <a:pt x="1153" y="3669"/>
                  </a:lnTo>
                  <a:lnTo>
                    <a:pt x="1171" y="3652"/>
                  </a:lnTo>
                  <a:lnTo>
                    <a:pt x="1189" y="3635"/>
                  </a:lnTo>
                  <a:lnTo>
                    <a:pt x="1208" y="3620"/>
                  </a:lnTo>
                  <a:lnTo>
                    <a:pt x="1227" y="3606"/>
                  </a:lnTo>
                  <a:lnTo>
                    <a:pt x="1248" y="3593"/>
                  </a:lnTo>
                  <a:lnTo>
                    <a:pt x="1269" y="3581"/>
                  </a:lnTo>
                  <a:lnTo>
                    <a:pt x="1291" y="3570"/>
                  </a:lnTo>
                  <a:lnTo>
                    <a:pt x="1313" y="3560"/>
                  </a:lnTo>
                  <a:lnTo>
                    <a:pt x="1336" y="3551"/>
                  </a:lnTo>
                  <a:lnTo>
                    <a:pt x="1359" y="3544"/>
                  </a:lnTo>
                  <a:lnTo>
                    <a:pt x="1383" y="3537"/>
                  </a:lnTo>
                  <a:lnTo>
                    <a:pt x="1407" y="3531"/>
                  </a:lnTo>
                  <a:lnTo>
                    <a:pt x="1432" y="3527"/>
                  </a:lnTo>
                  <a:lnTo>
                    <a:pt x="1458" y="3524"/>
                  </a:lnTo>
                  <a:lnTo>
                    <a:pt x="1483" y="3522"/>
                  </a:lnTo>
                  <a:lnTo>
                    <a:pt x="1509" y="3521"/>
                  </a:lnTo>
                  <a:lnTo>
                    <a:pt x="2012" y="3521"/>
                  </a:lnTo>
                  <a:lnTo>
                    <a:pt x="2012" y="13580"/>
                  </a:lnTo>
                  <a:lnTo>
                    <a:pt x="2013" y="13606"/>
                  </a:lnTo>
                  <a:lnTo>
                    <a:pt x="2015" y="13631"/>
                  </a:lnTo>
                  <a:lnTo>
                    <a:pt x="2018" y="13657"/>
                  </a:lnTo>
                  <a:lnTo>
                    <a:pt x="2022" y="13682"/>
                  </a:lnTo>
                  <a:lnTo>
                    <a:pt x="2028" y="13706"/>
                  </a:lnTo>
                  <a:lnTo>
                    <a:pt x="2034" y="13730"/>
                  </a:lnTo>
                  <a:lnTo>
                    <a:pt x="2042" y="13753"/>
                  </a:lnTo>
                  <a:lnTo>
                    <a:pt x="2051" y="13776"/>
                  </a:lnTo>
                  <a:lnTo>
                    <a:pt x="2061" y="13798"/>
                  </a:lnTo>
                  <a:lnTo>
                    <a:pt x="2072" y="13821"/>
                  </a:lnTo>
                  <a:lnTo>
                    <a:pt x="2084" y="13841"/>
                  </a:lnTo>
                  <a:lnTo>
                    <a:pt x="2097" y="13862"/>
                  </a:lnTo>
                  <a:lnTo>
                    <a:pt x="2111" y="13881"/>
                  </a:lnTo>
                  <a:lnTo>
                    <a:pt x="2127" y="13900"/>
                  </a:lnTo>
                  <a:lnTo>
                    <a:pt x="2143" y="13918"/>
                  </a:lnTo>
                  <a:lnTo>
                    <a:pt x="2159" y="13936"/>
                  </a:lnTo>
                  <a:lnTo>
                    <a:pt x="2177" y="13952"/>
                  </a:lnTo>
                  <a:lnTo>
                    <a:pt x="2195" y="13968"/>
                  </a:lnTo>
                  <a:lnTo>
                    <a:pt x="2214" y="13984"/>
                  </a:lnTo>
                  <a:lnTo>
                    <a:pt x="2233" y="13998"/>
                  </a:lnTo>
                  <a:lnTo>
                    <a:pt x="2254" y="14011"/>
                  </a:lnTo>
                  <a:lnTo>
                    <a:pt x="2275" y="14023"/>
                  </a:lnTo>
                  <a:lnTo>
                    <a:pt x="2297" y="14034"/>
                  </a:lnTo>
                  <a:lnTo>
                    <a:pt x="2319" y="14044"/>
                  </a:lnTo>
                  <a:lnTo>
                    <a:pt x="2342" y="14053"/>
                  </a:lnTo>
                  <a:lnTo>
                    <a:pt x="2365" y="14061"/>
                  </a:lnTo>
                  <a:lnTo>
                    <a:pt x="2389" y="14067"/>
                  </a:lnTo>
                  <a:lnTo>
                    <a:pt x="2413" y="14073"/>
                  </a:lnTo>
                  <a:lnTo>
                    <a:pt x="2438" y="14077"/>
                  </a:lnTo>
                  <a:lnTo>
                    <a:pt x="2464" y="14080"/>
                  </a:lnTo>
                  <a:lnTo>
                    <a:pt x="2489" y="14082"/>
                  </a:lnTo>
                  <a:lnTo>
                    <a:pt x="2515" y="14083"/>
                  </a:lnTo>
                  <a:lnTo>
                    <a:pt x="2541" y="14082"/>
                  </a:lnTo>
                  <a:lnTo>
                    <a:pt x="2566" y="14080"/>
                  </a:lnTo>
                  <a:lnTo>
                    <a:pt x="2591" y="14077"/>
                  </a:lnTo>
                  <a:lnTo>
                    <a:pt x="2616" y="14073"/>
                  </a:lnTo>
                  <a:lnTo>
                    <a:pt x="2641" y="14067"/>
                  </a:lnTo>
                  <a:lnTo>
                    <a:pt x="2665" y="14061"/>
                  </a:lnTo>
                  <a:lnTo>
                    <a:pt x="2688" y="14053"/>
                  </a:lnTo>
                  <a:lnTo>
                    <a:pt x="2711" y="14044"/>
                  </a:lnTo>
                  <a:lnTo>
                    <a:pt x="2733" y="14034"/>
                  </a:lnTo>
                  <a:lnTo>
                    <a:pt x="2755" y="14023"/>
                  </a:lnTo>
                  <a:lnTo>
                    <a:pt x="2775" y="14011"/>
                  </a:lnTo>
                  <a:lnTo>
                    <a:pt x="2797" y="13998"/>
                  </a:lnTo>
                  <a:lnTo>
                    <a:pt x="2816" y="13984"/>
                  </a:lnTo>
                  <a:lnTo>
                    <a:pt x="2835" y="13968"/>
                  </a:lnTo>
                  <a:lnTo>
                    <a:pt x="2853" y="13952"/>
                  </a:lnTo>
                  <a:lnTo>
                    <a:pt x="2871" y="13936"/>
                  </a:lnTo>
                  <a:lnTo>
                    <a:pt x="2887" y="13918"/>
                  </a:lnTo>
                  <a:lnTo>
                    <a:pt x="2903" y="13900"/>
                  </a:lnTo>
                  <a:lnTo>
                    <a:pt x="2918" y="13881"/>
                  </a:lnTo>
                  <a:lnTo>
                    <a:pt x="2932" y="13862"/>
                  </a:lnTo>
                  <a:lnTo>
                    <a:pt x="2945" y="13841"/>
                  </a:lnTo>
                  <a:lnTo>
                    <a:pt x="2957" y="13821"/>
                  </a:lnTo>
                  <a:lnTo>
                    <a:pt x="2969" y="13798"/>
                  </a:lnTo>
                  <a:lnTo>
                    <a:pt x="2979" y="13776"/>
                  </a:lnTo>
                  <a:lnTo>
                    <a:pt x="2988" y="13753"/>
                  </a:lnTo>
                  <a:lnTo>
                    <a:pt x="2996" y="13730"/>
                  </a:lnTo>
                  <a:lnTo>
                    <a:pt x="3002" y="13706"/>
                  </a:lnTo>
                  <a:lnTo>
                    <a:pt x="3008" y="13682"/>
                  </a:lnTo>
                  <a:lnTo>
                    <a:pt x="3012" y="13657"/>
                  </a:lnTo>
                  <a:lnTo>
                    <a:pt x="3015" y="13631"/>
                  </a:lnTo>
                  <a:lnTo>
                    <a:pt x="3017" y="13606"/>
                  </a:lnTo>
                  <a:lnTo>
                    <a:pt x="3018" y="13580"/>
                  </a:lnTo>
                  <a:lnTo>
                    <a:pt x="3018" y="1509"/>
                  </a:lnTo>
                  <a:lnTo>
                    <a:pt x="3019" y="1483"/>
                  </a:lnTo>
                  <a:lnTo>
                    <a:pt x="3021" y="1458"/>
                  </a:lnTo>
                  <a:lnTo>
                    <a:pt x="3024" y="1432"/>
                  </a:lnTo>
                  <a:lnTo>
                    <a:pt x="3028" y="1407"/>
                  </a:lnTo>
                  <a:lnTo>
                    <a:pt x="3034" y="1383"/>
                  </a:lnTo>
                  <a:lnTo>
                    <a:pt x="3041" y="1359"/>
                  </a:lnTo>
                  <a:lnTo>
                    <a:pt x="3048" y="1336"/>
                  </a:lnTo>
                  <a:lnTo>
                    <a:pt x="3057" y="1313"/>
                  </a:lnTo>
                  <a:lnTo>
                    <a:pt x="3067" y="1291"/>
                  </a:lnTo>
                  <a:lnTo>
                    <a:pt x="3078" y="1269"/>
                  </a:lnTo>
                  <a:lnTo>
                    <a:pt x="3090" y="1248"/>
                  </a:lnTo>
                  <a:lnTo>
                    <a:pt x="3103" y="1227"/>
                  </a:lnTo>
                  <a:lnTo>
                    <a:pt x="3117" y="1208"/>
                  </a:lnTo>
                  <a:lnTo>
                    <a:pt x="3132" y="1189"/>
                  </a:lnTo>
                  <a:lnTo>
                    <a:pt x="3149" y="1171"/>
                  </a:lnTo>
                  <a:lnTo>
                    <a:pt x="3166" y="1154"/>
                  </a:lnTo>
                  <a:lnTo>
                    <a:pt x="3183" y="1137"/>
                  </a:lnTo>
                  <a:lnTo>
                    <a:pt x="3201" y="1121"/>
                  </a:lnTo>
                  <a:lnTo>
                    <a:pt x="3220" y="1106"/>
                  </a:lnTo>
                  <a:lnTo>
                    <a:pt x="3240" y="1092"/>
                  </a:lnTo>
                  <a:lnTo>
                    <a:pt x="3260" y="1079"/>
                  </a:lnTo>
                  <a:lnTo>
                    <a:pt x="3281" y="1066"/>
                  </a:lnTo>
                  <a:lnTo>
                    <a:pt x="3302" y="1055"/>
                  </a:lnTo>
                  <a:lnTo>
                    <a:pt x="3325" y="1045"/>
                  </a:lnTo>
                  <a:lnTo>
                    <a:pt x="3348" y="1036"/>
                  </a:lnTo>
                  <a:lnTo>
                    <a:pt x="3371" y="1029"/>
                  </a:lnTo>
                  <a:lnTo>
                    <a:pt x="3395" y="1022"/>
                  </a:lnTo>
                  <a:lnTo>
                    <a:pt x="3419" y="1016"/>
                  </a:lnTo>
                  <a:lnTo>
                    <a:pt x="3444" y="1012"/>
                  </a:lnTo>
                  <a:lnTo>
                    <a:pt x="3469" y="1009"/>
                  </a:lnTo>
                  <a:lnTo>
                    <a:pt x="3495" y="1007"/>
                  </a:lnTo>
                  <a:lnTo>
                    <a:pt x="3521" y="1006"/>
                  </a:lnTo>
                  <a:lnTo>
                    <a:pt x="14586" y="1006"/>
                  </a:lnTo>
                  <a:lnTo>
                    <a:pt x="14612" y="1007"/>
                  </a:lnTo>
                  <a:lnTo>
                    <a:pt x="14637" y="1009"/>
                  </a:lnTo>
                  <a:lnTo>
                    <a:pt x="14663" y="1012"/>
                  </a:lnTo>
                  <a:lnTo>
                    <a:pt x="14688" y="1016"/>
                  </a:lnTo>
                  <a:lnTo>
                    <a:pt x="14712" y="1022"/>
                  </a:lnTo>
                  <a:lnTo>
                    <a:pt x="14736" y="1029"/>
                  </a:lnTo>
                  <a:lnTo>
                    <a:pt x="14759" y="1036"/>
                  </a:lnTo>
                  <a:lnTo>
                    <a:pt x="14782" y="1045"/>
                  </a:lnTo>
                  <a:lnTo>
                    <a:pt x="14804" y="1055"/>
                  </a:lnTo>
                  <a:lnTo>
                    <a:pt x="14826" y="1066"/>
                  </a:lnTo>
                  <a:lnTo>
                    <a:pt x="14847" y="1079"/>
                  </a:lnTo>
                  <a:lnTo>
                    <a:pt x="14867" y="1092"/>
                  </a:lnTo>
                  <a:lnTo>
                    <a:pt x="14887" y="1106"/>
                  </a:lnTo>
                  <a:lnTo>
                    <a:pt x="14906" y="1121"/>
                  </a:lnTo>
                  <a:lnTo>
                    <a:pt x="14924" y="1137"/>
                  </a:lnTo>
                  <a:lnTo>
                    <a:pt x="14942" y="1154"/>
                  </a:lnTo>
                  <a:lnTo>
                    <a:pt x="14958" y="1171"/>
                  </a:lnTo>
                  <a:lnTo>
                    <a:pt x="14974" y="1189"/>
                  </a:lnTo>
                  <a:lnTo>
                    <a:pt x="14989" y="1208"/>
                  </a:lnTo>
                  <a:lnTo>
                    <a:pt x="15004" y="1227"/>
                  </a:lnTo>
                  <a:lnTo>
                    <a:pt x="15017" y="1248"/>
                  </a:lnTo>
                  <a:lnTo>
                    <a:pt x="15029" y="1269"/>
                  </a:lnTo>
                  <a:lnTo>
                    <a:pt x="15040" y="1291"/>
                  </a:lnTo>
                  <a:lnTo>
                    <a:pt x="15050" y="1313"/>
                  </a:lnTo>
                  <a:lnTo>
                    <a:pt x="15059" y="1336"/>
                  </a:lnTo>
                  <a:lnTo>
                    <a:pt x="15066" y="1359"/>
                  </a:lnTo>
                  <a:lnTo>
                    <a:pt x="15073" y="1383"/>
                  </a:lnTo>
                  <a:lnTo>
                    <a:pt x="15079" y="1407"/>
                  </a:lnTo>
                  <a:lnTo>
                    <a:pt x="15083" y="1432"/>
                  </a:lnTo>
                  <a:lnTo>
                    <a:pt x="15086" y="1458"/>
                  </a:lnTo>
                  <a:lnTo>
                    <a:pt x="15088" y="1483"/>
                  </a:lnTo>
                  <a:lnTo>
                    <a:pt x="15089" y="1509"/>
                  </a:lnTo>
                  <a:lnTo>
                    <a:pt x="15089" y="14083"/>
                  </a:lnTo>
                  <a:close/>
                  <a:moveTo>
                    <a:pt x="14586" y="0"/>
                  </a:moveTo>
                  <a:lnTo>
                    <a:pt x="3521" y="0"/>
                  </a:lnTo>
                  <a:lnTo>
                    <a:pt x="3443" y="2"/>
                  </a:lnTo>
                  <a:lnTo>
                    <a:pt x="3367" y="8"/>
                  </a:lnTo>
                  <a:lnTo>
                    <a:pt x="3291" y="17"/>
                  </a:lnTo>
                  <a:lnTo>
                    <a:pt x="3217" y="30"/>
                  </a:lnTo>
                  <a:lnTo>
                    <a:pt x="3144" y="47"/>
                  </a:lnTo>
                  <a:lnTo>
                    <a:pt x="3072" y="67"/>
                  </a:lnTo>
                  <a:lnTo>
                    <a:pt x="3002" y="92"/>
                  </a:lnTo>
                  <a:lnTo>
                    <a:pt x="2933" y="119"/>
                  </a:lnTo>
                  <a:lnTo>
                    <a:pt x="2867" y="149"/>
                  </a:lnTo>
                  <a:lnTo>
                    <a:pt x="2802" y="182"/>
                  </a:lnTo>
                  <a:lnTo>
                    <a:pt x="2738" y="218"/>
                  </a:lnTo>
                  <a:lnTo>
                    <a:pt x="2677" y="258"/>
                  </a:lnTo>
                  <a:lnTo>
                    <a:pt x="2617" y="300"/>
                  </a:lnTo>
                  <a:lnTo>
                    <a:pt x="2561" y="344"/>
                  </a:lnTo>
                  <a:lnTo>
                    <a:pt x="2506" y="391"/>
                  </a:lnTo>
                  <a:lnTo>
                    <a:pt x="2453" y="442"/>
                  </a:lnTo>
                  <a:lnTo>
                    <a:pt x="2404" y="494"/>
                  </a:lnTo>
                  <a:lnTo>
                    <a:pt x="2356" y="549"/>
                  </a:lnTo>
                  <a:lnTo>
                    <a:pt x="2312" y="606"/>
                  </a:lnTo>
                  <a:lnTo>
                    <a:pt x="2269" y="665"/>
                  </a:lnTo>
                  <a:lnTo>
                    <a:pt x="2230" y="726"/>
                  </a:lnTo>
                  <a:lnTo>
                    <a:pt x="2194" y="790"/>
                  </a:lnTo>
                  <a:lnTo>
                    <a:pt x="2161" y="854"/>
                  </a:lnTo>
                  <a:lnTo>
                    <a:pt x="2131" y="921"/>
                  </a:lnTo>
                  <a:lnTo>
                    <a:pt x="2103" y="990"/>
                  </a:lnTo>
                  <a:lnTo>
                    <a:pt x="2079" y="1060"/>
                  </a:lnTo>
                  <a:lnTo>
                    <a:pt x="2059" y="1132"/>
                  </a:lnTo>
                  <a:lnTo>
                    <a:pt x="2042" y="1204"/>
                  </a:lnTo>
                  <a:lnTo>
                    <a:pt x="2029" y="1279"/>
                  </a:lnTo>
                  <a:lnTo>
                    <a:pt x="2020" y="1354"/>
                  </a:lnTo>
                  <a:lnTo>
                    <a:pt x="2014" y="1431"/>
                  </a:lnTo>
                  <a:lnTo>
                    <a:pt x="2012" y="1509"/>
                  </a:lnTo>
                  <a:lnTo>
                    <a:pt x="2012" y="2515"/>
                  </a:lnTo>
                  <a:lnTo>
                    <a:pt x="1509" y="2515"/>
                  </a:lnTo>
                  <a:lnTo>
                    <a:pt x="1431" y="2517"/>
                  </a:lnTo>
                  <a:lnTo>
                    <a:pt x="1355" y="2523"/>
                  </a:lnTo>
                  <a:lnTo>
                    <a:pt x="1280" y="2532"/>
                  </a:lnTo>
                  <a:lnTo>
                    <a:pt x="1205" y="2545"/>
                  </a:lnTo>
                  <a:lnTo>
                    <a:pt x="1132" y="2562"/>
                  </a:lnTo>
                  <a:lnTo>
                    <a:pt x="1060" y="2582"/>
                  </a:lnTo>
                  <a:lnTo>
                    <a:pt x="990" y="2606"/>
                  </a:lnTo>
                  <a:lnTo>
                    <a:pt x="921" y="2634"/>
                  </a:lnTo>
                  <a:lnTo>
                    <a:pt x="855" y="2664"/>
                  </a:lnTo>
                  <a:lnTo>
                    <a:pt x="790" y="2697"/>
                  </a:lnTo>
                  <a:lnTo>
                    <a:pt x="726" y="2733"/>
                  </a:lnTo>
                  <a:lnTo>
                    <a:pt x="665" y="2772"/>
                  </a:lnTo>
                  <a:lnTo>
                    <a:pt x="607" y="2815"/>
                  </a:lnTo>
                  <a:lnTo>
                    <a:pt x="549" y="2859"/>
                  </a:lnTo>
                  <a:lnTo>
                    <a:pt x="494" y="2907"/>
                  </a:lnTo>
                  <a:lnTo>
                    <a:pt x="442" y="2956"/>
                  </a:lnTo>
                  <a:lnTo>
                    <a:pt x="392" y="3009"/>
                  </a:lnTo>
                  <a:lnTo>
                    <a:pt x="345" y="3064"/>
                  </a:lnTo>
                  <a:lnTo>
                    <a:pt x="300" y="3120"/>
                  </a:lnTo>
                  <a:lnTo>
                    <a:pt x="258" y="3180"/>
                  </a:lnTo>
                  <a:lnTo>
                    <a:pt x="218" y="3241"/>
                  </a:lnTo>
                  <a:lnTo>
                    <a:pt x="182" y="3305"/>
                  </a:lnTo>
                  <a:lnTo>
                    <a:pt x="149" y="3369"/>
                  </a:lnTo>
                  <a:lnTo>
                    <a:pt x="119" y="3436"/>
                  </a:lnTo>
                  <a:lnTo>
                    <a:pt x="92" y="3505"/>
                  </a:lnTo>
                  <a:lnTo>
                    <a:pt x="67" y="3575"/>
                  </a:lnTo>
                  <a:lnTo>
                    <a:pt x="47" y="3647"/>
                  </a:lnTo>
                  <a:lnTo>
                    <a:pt x="30" y="3720"/>
                  </a:lnTo>
                  <a:lnTo>
                    <a:pt x="17" y="3793"/>
                  </a:lnTo>
                  <a:lnTo>
                    <a:pt x="8" y="3869"/>
                  </a:lnTo>
                  <a:lnTo>
                    <a:pt x="2" y="3946"/>
                  </a:lnTo>
                  <a:lnTo>
                    <a:pt x="0" y="4024"/>
                  </a:lnTo>
                  <a:lnTo>
                    <a:pt x="0" y="14083"/>
                  </a:lnTo>
                  <a:lnTo>
                    <a:pt x="3" y="14187"/>
                  </a:lnTo>
                  <a:lnTo>
                    <a:pt x="10" y="14289"/>
                  </a:lnTo>
                  <a:lnTo>
                    <a:pt x="23" y="14390"/>
                  </a:lnTo>
                  <a:lnTo>
                    <a:pt x="41" y="14489"/>
                  </a:lnTo>
                  <a:lnTo>
                    <a:pt x="63" y="14586"/>
                  </a:lnTo>
                  <a:lnTo>
                    <a:pt x="91" y="14682"/>
                  </a:lnTo>
                  <a:lnTo>
                    <a:pt x="122" y="14775"/>
                  </a:lnTo>
                  <a:lnTo>
                    <a:pt x="158" y="14867"/>
                  </a:lnTo>
                  <a:lnTo>
                    <a:pt x="198" y="14955"/>
                  </a:lnTo>
                  <a:lnTo>
                    <a:pt x="242" y="15042"/>
                  </a:lnTo>
                  <a:lnTo>
                    <a:pt x="292" y="15126"/>
                  </a:lnTo>
                  <a:lnTo>
                    <a:pt x="344" y="15208"/>
                  </a:lnTo>
                  <a:lnTo>
                    <a:pt x="399" y="15287"/>
                  </a:lnTo>
                  <a:lnTo>
                    <a:pt x="460" y="15363"/>
                  </a:lnTo>
                  <a:lnTo>
                    <a:pt x="523" y="15436"/>
                  </a:lnTo>
                  <a:lnTo>
                    <a:pt x="589" y="15506"/>
                  </a:lnTo>
                  <a:lnTo>
                    <a:pt x="659" y="15572"/>
                  </a:lnTo>
                  <a:lnTo>
                    <a:pt x="732" y="15635"/>
                  </a:lnTo>
                  <a:lnTo>
                    <a:pt x="808" y="15696"/>
                  </a:lnTo>
                  <a:lnTo>
                    <a:pt x="887" y="15751"/>
                  </a:lnTo>
                  <a:lnTo>
                    <a:pt x="969" y="15803"/>
                  </a:lnTo>
                  <a:lnTo>
                    <a:pt x="1053" y="15853"/>
                  </a:lnTo>
                  <a:lnTo>
                    <a:pt x="1140" y="15897"/>
                  </a:lnTo>
                  <a:lnTo>
                    <a:pt x="1228" y="15937"/>
                  </a:lnTo>
                  <a:lnTo>
                    <a:pt x="1320" y="15973"/>
                  </a:lnTo>
                  <a:lnTo>
                    <a:pt x="1413" y="16004"/>
                  </a:lnTo>
                  <a:lnTo>
                    <a:pt x="1509" y="16032"/>
                  </a:lnTo>
                  <a:lnTo>
                    <a:pt x="1606" y="16054"/>
                  </a:lnTo>
                  <a:lnTo>
                    <a:pt x="1705" y="16072"/>
                  </a:lnTo>
                  <a:lnTo>
                    <a:pt x="1806" y="16085"/>
                  </a:lnTo>
                  <a:lnTo>
                    <a:pt x="1908" y="16092"/>
                  </a:lnTo>
                  <a:lnTo>
                    <a:pt x="2012" y="16095"/>
                  </a:lnTo>
                  <a:lnTo>
                    <a:pt x="14083" y="16095"/>
                  </a:lnTo>
                  <a:lnTo>
                    <a:pt x="14187" y="16092"/>
                  </a:lnTo>
                  <a:lnTo>
                    <a:pt x="14289" y="16085"/>
                  </a:lnTo>
                  <a:lnTo>
                    <a:pt x="14390" y="16072"/>
                  </a:lnTo>
                  <a:lnTo>
                    <a:pt x="14489" y="16054"/>
                  </a:lnTo>
                  <a:lnTo>
                    <a:pt x="14586" y="16032"/>
                  </a:lnTo>
                  <a:lnTo>
                    <a:pt x="14682" y="16004"/>
                  </a:lnTo>
                  <a:lnTo>
                    <a:pt x="14775" y="15973"/>
                  </a:lnTo>
                  <a:lnTo>
                    <a:pt x="14867" y="15937"/>
                  </a:lnTo>
                  <a:lnTo>
                    <a:pt x="14955" y="15897"/>
                  </a:lnTo>
                  <a:lnTo>
                    <a:pt x="15042" y="15853"/>
                  </a:lnTo>
                  <a:lnTo>
                    <a:pt x="15126" y="15803"/>
                  </a:lnTo>
                  <a:lnTo>
                    <a:pt x="15208" y="15751"/>
                  </a:lnTo>
                  <a:lnTo>
                    <a:pt x="15287" y="15696"/>
                  </a:lnTo>
                  <a:lnTo>
                    <a:pt x="15363" y="15635"/>
                  </a:lnTo>
                  <a:lnTo>
                    <a:pt x="15436" y="15572"/>
                  </a:lnTo>
                  <a:lnTo>
                    <a:pt x="15506" y="15506"/>
                  </a:lnTo>
                  <a:lnTo>
                    <a:pt x="15572" y="15436"/>
                  </a:lnTo>
                  <a:lnTo>
                    <a:pt x="15635" y="15363"/>
                  </a:lnTo>
                  <a:lnTo>
                    <a:pt x="15696" y="15287"/>
                  </a:lnTo>
                  <a:lnTo>
                    <a:pt x="15751" y="15208"/>
                  </a:lnTo>
                  <a:lnTo>
                    <a:pt x="15803" y="15126"/>
                  </a:lnTo>
                  <a:lnTo>
                    <a:pt x="15853" y="15042"/>
                  </a:lnTo>
                  <a:lnTo>
                    <a:pt x="15897" y="14955"/>
                  </a:lnTo>
                  <a:lnTo>
                    <a:pt x="15937" y="14867"/>
                  </a:lnTo>
                  <a:lnTo>
                    <a:pt x="15973" y="14775"/>
                  </a:lnTo>
                  <a:lnTo>
                    <a:pt x="16004" y="14682"/>
                  </a:lnTo>
                  <a:lnTo>
                    <a:pt x="16032" y="14586"/>
                  </a:lnTo>
                  <a:lnTo>
                    <a:pt x="16054" y="14489"/>
                  </a:lnTo>
                  <a:lnTo>
                    <a:pt x="16072" y="14390"/>
                  </a:lnTo>
                  <a:lnTo>
                    <a:pt x="16085" y="14289"/>
                  </a:lnTo>
                  <a:lnTo>
                    <a:pt x="16092" y="14187"/>
                  </a:lnTo>
                  <a:lnTo>
                    <a:pt x="16095" y="14083"/>
                  </a:lnTo>
                  <a:lnTo>
                    <a:pt x="16095" y="1509"/>
                  </a:lnTo>
                  <a:lnTo>
                    <a:pt x="16093" y="1431"/>
                  </a:lnTo>
                  <a:lnTo>
                    <a:pt x="16087" y="1354"/>
                  </a:lnTo>
                  <a:lnTo>
                    <a:pt x="16078" y="1279"/>
                  </a:lnTo>
                  <a:lnTo>
                    <a:pt x="16065" y="1204"/>
                  </a:lnTo>
                  <a:lnTo>
                    <a:pt x="16048" y="1132"/>
                  </a:lnTo>
                  <a:lnTo>
                    <a:pt x="16028" y="1060"/>
                  </a:lnTo>
                  <a:lnTo>
                    <a:pt x="16003" y="990"/>
                  </a:lnTo>
                  <a:lnTo>
                    <a:pt x="15976" y="921"/>
                  </a:lnTo>
                  <a:lnTo>
                    <a:pt x="15946" y="854"/>
                  </a:lnTo>
                  <a:lnTo>
                    <a:pt x="15913" y="790"/>
                  </a:lnTo>
                  <a:lnTo>
                    <a:pt x="15877" y="726"/>
                  </a:lnTo>
                  <a:lnTo>
                    <a:pt x="15837" y="665"/>
                  </a:lnTo>
                  <a:lnTo>
                    <a:pt x="15795" y="606"/>
                  </a:lnTo>
                  <a:lnTo>
                    <a:pt x="15750" y="549"/>
                  </a:lnTo>
                  <a:lnTo>
                    <a:pt x="15703" y="494"/>
                  </a:lnTo>
                  <a:lnTo>
                    <a:pt x="15653" y="442"/>
                  </a:lnTo>
                  <a:lnTo>
                    <a:pt x="15601" y="391"/>
                  </a:lnTo>
                  <a:lnTo>
                    <a:pt x="15546" y="344"/>
                  </a:lnTo>
                  <a:lnTo>
                    <a:pt x="15488" y="300"/>
                  </a:lnTo>
                  <a:lnTo>
                    <a:pt x="15430" y="258"/>
                  </a:lnTo>
                  <a:lnTo>
                    <a:pt x="15369" y="218"/>
                  </a:lnTo>
                  <a:lnTo>
                    <a:pt x="15305" y="182"/>
                  </a:lnTo>
                  <a:lnTo>
                    <a:pt x="15240" y="149"/>
                  </a:lnTo>
                  <a:lnTo>
                    <a:pt x="15174" y="119"/>
                  </a:lnTo>
                  <a:lnTo>
                    <a:pt x="15105" y="92"/>
                  </a:lnTo>
                  <a:lnTo>
                    <a:pt x="15035" y="67"/>
                  </a:lnTo>
                  <a:lnTo>
                    <a:pt x="14963" y="47"/>
                  </a:lnTo>
                  <a:lnTo>
                    <a:pt x="14890" y="30"/>
                  </a:lnTo>
                  <a:lnTo>
                    <a:pt x="14815" y="17"/>
                  </a:lnTo>
                  <a:lnTo>
                    <a:pt x="14740" y="8"/>
                  </a:lnTo>
                  <a:lnTo>
                    <a:pt x="14664" y="2"/>
                  </a:lnTo>
                  <a:lnTo>
                    <a:pt x="1458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77" name="í$ľîdè">
              <a:extLst>
                <a:ext uri="{FF2B5EF4-FFF2-40B4-BE49-F238E27FC236}">
                  <a16:creationId xmlns:a16="http://schemas.microsoft.com/office/drawing/2014/main" id="{E61CB8C1-AF97-43CF-9DDB-0C467470607F}"/>
                </a:ext>
              </a:extLst>
            </p:cNvPr>
            <p:cNvSpPr/>
            <p:nvPr/>
          </p:nvSpPr>
          <p:spPr bwMode="auto">
            <a:xfrm>
              <a:off x="10525602" y="424538"/>
              <a:ext cx="65335" cy="7436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1 h 503"/>
                <a:gd name="T8" fmla="*/ 4427 w 4527"/>
                <a:gd name="T9" fmla="*/ 452 h 503"/>
                <a:gd name="T10" fmla="*/ 4454 w 4527"/>
                <a:gd name="T11" fmla="*/ 428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1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0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1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89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1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5 h 503"/>
                <a:gd name="T80" fmla="*/ 154 w 4527"/>
                <a:gd name="T81" fmla="*/ 482 h 503"/>
                <a:gd name="T82" fmla="*/ 190 w 4527"/>
                <a:gd name="T83" fmla="*/ 495 h 503"/>
                <a:gd name="T84" fmla="*/ 227 w 4527"/>
                <a:gd name="T85" fmla="*/ 50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1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1"/>
                  </a:lnTo>
                  <a:lnTo>
                    <a:pt x="4362" y="488"/>
                  </a:lnTo>
                  <a:lnTo>
                    <a:pt x="4374" y="482"/>
                  </a:lnTo>
                  <a:lnTo>
                    <a:pt x="4385" y="477"/>
                  </a:lnTo>
                  <a:lnTo>
                    <a:pt x="4396" y="471"/>
                  </a:lnTo>
                  <a:lnTo>
                    <a:pt x="4406" y="465"/>
                  </a:lnTo>
                  <a:lnTo>
                    <a:pt x="4416" y="459"/>
                  </a:lnTo>
                  <a:lnTo>
                    <a:pt x="4427" y="452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8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1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3"/>
                  </a:lnTo>
                  <a:lnTo>
                    <a:pt x="4522" y="301"/>
                  </a:lnTo>
                  <a:lnTo>
                    <a:pt x="4525" y="289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1"/>
                  </a:lnTo>
                  <a:lnTo>
                    <a:pt x="4497" y="131"/>
                  </a:lnTo>
                  <a:lnTo>
                    <a:pt x="4491" y="120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0"/>
                  </a:lnTo>
                  <a:lnTo>
                    <a:pt x="32" y="131"/>
                  </a:lnTo>
                  <a:lnTo>
                    <a:pt x="26" y="141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89"/>
                  </a:lnTo>
                  <a:lnTo>
                    <a:pt x="6" y="301"/>
                  </a:lnTo>
                  <a:lnTo>
                    <a:pt x="8" y="313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1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8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2"/>
                  </a:lnTo>
                  <a:lnTo>
                    <a:pt x="112" y="459"/>
                  </a:lnTo>
                  <a:lnTo>
                    <a:pt x="122" y="465"/>
                  </a:lnTo>
                  <a:lnTo>
                    <a:pt x="132" y="471"/>
                  </a:lnTo>
                  <a:lnTo>
                    <a:pt x="143" y="477"/>
                  </a:lnTo>
                  <a:lnTo>
                    <a:pt x="154" y="482"/>
                  </a:lnTo>
                  <a:lnTo>
                    <a:pt x="166" y="488"/>
                  </a:lnTo>
                  <a:lnTo>
                    <a:pt x="177" y="491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1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78" name="ïṩḷîḍè">
              <a:extLst>
                <a:ext uri="{FF2B5EF4-FFF2-40B4-BE49-F238E27FC236}">
                  <a16:creationId xmlns:a16="http://schemas.microsoft.com/office/drawing/2014/main" id="{B3169ED8-42F8-4619-AA8A-ECFD0ED0DF01}"/>
                </a:ext>
              </a:extLst>
            </p:cNvPr>
            <p:cNvSpPr/>
            <p:nvPr/>
          </p:nvSpPr>
          <p:spPr bwMode="auto">
            <a:xfrm>
              <a:off x="10525602" y="402760"/>
              <a:ext cx="65335" cy="7436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3 h 503"/>
                <a:gd name="T8" fmla="*/ 4427 w 4527"/>
                <a:gd name="T9" fmla="*/ 452 h 503"/>
                <a:gd name="T10" fmla="*/ 4454 w 4527"/>
                <a:gd name="T11" fmla="*/ 429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2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0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2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89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2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6 h 503"/>
                <a:gd name="T80" fmla="*/ 154 w 4527"/>
                <a:gd name="T81" fmla="*/ 483 h 503"/>
                <a:gd name="T82" fmla="*/ 190 w 4527"/>
                <a:gd name="T83" fmla="*/ 495 h 503"/>
                <a:gd name="T84" fmla="*/ 227 w 4527"/>
                <a:gd name="T85" fmla="*/ 50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1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1"/>
                  </a:lnTo>
                  <a:lnTo>
                    <a:pt x="4362" y="488"/>
                  </a:lnTo>
                  <a:lnTo>
                    <a:pt x="4374" y="483"/>
                  </a:lnTo>
                  <a:lnTo>
                    <a:pt x="4385" y="478"/>
                  </a:lnTo>
                  <a:lnTo>
                    <a:pt x="4396" y="473"/>
                  </a:lnTo>
                  <a:lnTo>
                    <a:pt x="4406" y="466"/>
                  </a:lnTo>
                  <a:lnTo>
                    <a:pt x="4416" y="459"/>
                  </a:lnTo>
                  <a:lnTo>
                    <a:pt x="4427" y="452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9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2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4"/>
                  </a:lnTo>
                  <a:lnTo>
                    <a:pt x="4522" y="302"/>
                  </a:lnTo>
                  <a:lnTo>
                    <a:pt x="4525" y="289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2"/>
                  </a:lnTo>
                  <a:lnTo>
                    <a:pt x="4497" y="132"/>
                  </a:lnTo>
                  <a:lnTo>
                    <a:pt x="4491" y="120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0"/>
                  </a:lnTo>
                  <a:lnTo>
                    <a:pt x="32" y="132"/>
                  </a:lnTo>
                  <a:lnTo>
                    <a:pt x="26" y="142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89"/>
                  </a:lnTo>
                  <a:lnTo>
                    <a:pt x="6" y="302"/>
                  </a:lnTo>
                  <a:lnTo>
                    <a:pt x="8" y="314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2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9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2"/>
                  </a:lnTo>
                  <a:lnTo>
                    <a:pt x="112" y="459"/>
                  </a:lnTo>
                  <a:lnTo>
                    <a:pt x="122" y="466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6" y="488"/>
                  </a:lnTo>
                  <a:lnTo>
                    <a:pt x="177" y="491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1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79" name="išḷídê">
              <a:extLst>
                <a:ext uri="{FF2B5EF4-FFF2-40B4-BE49-F238E27FC236}">
                  <a16:creationId xmlns:a16="http://schemas.microsoft.com/office/drawing/2014/main" id="{3CA233F6-AF9B-4B52-A362-414FFBA41586}"/>
                </a:ext>
              </a:extLst>
            </p:cNvPr>
            <p:cNvSpPr/>
            <p:nvPr/>
          </p:nvSpPr>
          <p:spPr bwMode="auto">
            <a:xfrm>
              <a:off x="10525602" y="381512"/>
              <a:ext cx="65335" cy="6905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3 h 503"/>
                <a:gd name="T8" fmla="*/ 4427 w 4527"/>
                <a:gd name="T9" fmla="*/ 453 h 503"/>
                <a:gd name="T10" fmla="*/ 4454 w 4527"/>
                <a:gd name="T11" fmla="*/ 428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2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1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2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90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2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7 h 503"/>
                <a:gd name="T80" fmla="*/ 154 w 4527"/>
                <a:gd name="T81" fmla="*/ 483 h 503"/>
                <a:gd name="T82" fmla="*/ 190 w 4527"/>
                <a:gd name="T83" fmla="*/ 495 h 503"/>
                <a:gd name="T84" fmla="*/ 227 w 4527"/>
                <a:gd name="T85" fmla="*/ 50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2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2"/>
                  </a:lnTo>
                  <a:lnTo>
                    <a:pt x="4362" y="488"/>
                  </a:lnTo>
                  <a:lnTo>
                    <a:pt x="4374" y="483"/>
                  </a:lnTo>
                  <a:lnTo>
                    <a:pt x="4385" y="478"/>
                  </a:lnTo>
                  <a:lnTo>
                    <a:pt x="4396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8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2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4"/>
                  </a:lnTo>
                  <a:lnTo>
                    <a:pt x="4522" y="302"/>
                  </a:lnTo>
                  <a:lnTo>
                    <a:pt x="4525" y="290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2"/>
                  </a:lnTo>
                  <a:lnTo>
                    <a:pt x="4497" y="132"/>
                  </a:lnTo>
                  <a:lnTo>
                    <a:pt x="4491" y="121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1"/>
                  </a:lnTo>
                  <a:lnTo>
                    <a:pt x="32" y="132"/>
                  </a:lnTo>
                  <a:lnTo>
                    <a:pt x="26" y="142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90"/>
                  </a:lnTo>
                  <a:lnTo>
                    <a:pt x="6" y="302"/>
                  </a:lnTo>
                  <a:lnTo>
                    <a:pt x="8" y="314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2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8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3"/>
                  </a:lnTo>
                  <a:lnTo>
                    <a:pt x="112" y="460"/>
                  </a:lnTo>
                  <a:lnTo>
                    <a:pt x="122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6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80" name="ïSḻïḍè">
              <a:extLst>
                <a:ext uri="{FF2B5EF4-FFF2-40B4-BE49-F238E27FC236}">
                  <a16:creationId xmlns:a16="http://schemas.microsoft.com/office/drawing/2014/main" id="{FCED500F-4B38-4A2F-B143-D626E99D0385}"/>
                </a:ext>
              </a:extLst>
            </p:cNvPr>
            <p:cNvSpPr/>
            <p:nvPr/>
          </p:nvSpPr>
          <p:spPr bwMode="auto">
            <a:xfrm>
              <a:off x="10446456" y="532898"/>
              <a:ext cx="64804" cy="7436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0 h 503"/>
                <a:gd name="T8" fmla="*/ 100 w 4526"/>
                <a:gd name="T9" fmla="*/ 50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1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50 h 503"/>
                <a:gd name="T28" fmla="*/ 36 w 4526"/>
                <a:gd name="T29" fmla="*/ 382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2 h 503"/>
                <a:gd name="T58" fmla="*/ 4501 w 4526"/>
                <a:gd name="T59" fmla="*/ 361 h 503"/>
                <a:gd name="T60" fmla="*/ 4515 w 4526"/>
                <a:gd name="T61" fmla="*/ 327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3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6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3"/>
                  </a:lnTo>
                  <a:lnTo>
                    <a:pt x="100" y="50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7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4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4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2"/>
                  </a:lnTo>
                  <a:lnTo>
                    <a:pt x="4490" y="382"/>
                  </a:lnTo>
                  <a:lnTo>
                    <a:pt x="4496" y="371"/>
                  </a:lnTo>
                  <a:lnTo>
                    <a:pt x="4501" y="361"/>
                  </a:lnTo>
                  <a:lnTo>
                    <a:pt x="4506" y="350"/>
                  </a:lnTo>
                  <a:lnTo>
                    <a:pt x="4511" y="338"/>
                  </a:lnTo>
                  <a:lnTo>
                    <a:pt x="4515" y="327"/>
                  </a:lnTo>
                  <a:lnTo>
                    <a:pt x="4518" y="315"/>
                  </a:lnTo>
                  <a:lnTo>
                    <a:pt x="4521" y="303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3"/>
                  </a:lnTo>
                  <a:lnTo>
                    <a:pt x="4521" y="201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0"/>
                  </a:lnTo>
                  <a:lnTo>
                    <a:pt x="4416" y="43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81" name="îṩļïḋé">
              <a:extLst>
                <a:ext uri="{FF2B5EF4-FFF2-40B4-BE49-F238E27FC236}">
                  <a16:creationId xmlns:a16="http://schemas.microsoft.com/office/drawing/2014/main" id="{E90B1CAB-6A56-4ECD-903D-848827C328A3}"/>
                </a:ext>
              </a:extLst>
            </p:cNvPr>
            <p:cNvSpPr/>
            <p:nvPr/>
          </p:nvSpPr>
          <p:spPr bwMode="auto">
            <a:xfrm>
              <a:off x="10446456" y="511120"/>
              <a:ext cx="64804" cy="7436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0 h 503"/>
                <a:gd name="T8" fmla="*/ 100 w 4526"/>
                <a:gd name="T9" fmla="*/ 51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1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49 h 503"/>
                <a:gd name="T28" fmla="*/ 36 w 4526"/>
                <a:gd name="T29" fmla="*/ 383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3 h 503"/>
                <a:gd name="T58" fmla="*/ 4501 w 4526"/>
                <a:gd name="T59" fmla="*/ 361 h 503"/>
                <a:gd name="T60" fmla="*/ 4515 w 4526"/>
                <a:gd name="T61" fmla="*/ 326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4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6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3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3"/>
                  </a:lnTo>
                  <a:lnTo>
                    <a:pt x="4490" y="383"/>
                  </a:lnTo>
                  <a:lnTo>
                    <a:pt x="4496" y="371"/>
                  </a:lnTo>
                  <a:lnTo>
                    <a:pt x="4501" y="361"/>
                  </a:lnTo>
                  <a:lnTo>
                    <a:pt x="4506" y="349"/>
                  </a:lnTo>
                  <a:lnTo>
                    <a:pt x="4511" y="338"/>
                  </a:lnTo>
                  <a:lnTo>
                    <a:pt x="4515" y="326"/>
                  </a:lnTo>
                  <a:lnTo>
                    <a:pt x="4518" y="315"/>
                  </a:lnTo>
                  <a:lnTo>
                    <a:pt x="4521" y="302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4"/>
                  </a:lnTo>
                  <a:lnTo>
                    <a:pt x="4521" y="201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1"/>
                  </a:lnTo>
                  <a:lnTo>
                    <a:pt x="4416" y="44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82" name="iś1ïďè">
              <a:extLst>
                <a:ext uri="{FF2B5EF4-FFF2-40B4-BE49-F238E27FC236}">
                  <a16:creationId xmlns:a16="http://schemas.microsoft.com/office/drawing/2014/main" id="{EC85EAF2-4BBC-4A5B-86CD-D1D94E91CCD5}"/>
                </a:ext>
              </a:extLst>
            </p:cNvPr>
            <p:cNvSpPr/>
            <p:nvPr/>
          </p:nvSpPr>
          <p:spPr bwMode="auto">
            <a:xfrm>
              <a:off x="10446456" y="489873"/>
              <a:ext cx="64804" cy="6905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1 h 503"/>
                <a:gd name="T8" fmla="*/ 100 w 4526"/>
                <a:gd name="T9" fmla="*/ 51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2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50 h 503"/>
                <a:gd name="T28" fmla="*/ 36 w 4526"/>
                <a:gd name="T29" fmla="*/ 383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3 h 503"/>
                <a:gd name="T58" fmla="*/ 4501 w 4526"/>
                <a:gd name="T59" fmla="*/ 361 h 503"/>
                <a:gd name="T60" fmla="*/ 4515 w 4526"/>
                <a:gd name="T61" fmla="*/ 326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4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7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0" y="37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1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3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3"/>
                  </a:lnTo>
                  <a:lnTo>
                    <a:pt x="4490" y="383"/>
                  </a:lnTo>
                  <a:lnTo>
                    <a:pt x="4496" y="372"/>
                  </a:lnTo>
                  <a:lnTo>
                    <a:pt x="4501" y="361"/>
                  </a:lnTo>
                  <a:lnTo>
                    <a:pt x="4506" y="350"/>
                  </a:lnTo>
                  <a:lnTo>
                    <a:pt x="4511" y="338"/>
                  </a:lnTo>
                  <a:lnTo>
                    <a:pt x="4515" y="326"/>
                  </a:lnTo>
                  <a:lnTo>
                    <a:pt x="4518" y="315"/>
                  </a:lnTo>
                  <a:lnTo>
                    <a:pt x="4521" y="302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4"/>
                  </a:lnTo>
                  <a:lnTo>
                    <a:pt x="4521" y="202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1"/>
                  </a:lnTo>
                  <a:lnTo>
                    <a:pt x="4416" y="44"/>
                  </a:lnTo>
                  <a:lnTo>
                    <a:pt x="4406" y="37"/>
                  </a:lnTo>
                  <a:lnTo>
                    <a:pt x="4395" y="31"/>
                  </a:lnTo>
                  <a:lnTo>
                    <a:pt x="4384" y="26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83" name="îŝḷïḋe">
              <a:extLst>
                <a:ext uri="{FF2B5EF4-FFF2-40B4-BE49-F238E27FC236}">
                  <a16:creationId xmlns:a16="http://schemas.microsoft.com/office/drawing/2014/main" id="{058134FC-E841-49A8-8AB4-47290292C231}"/>
                </a:ext>
              </a:extLst>
            </p:cNvPr>
            <p:cNvSpPr/>
            <p:nvPr/>
          </p:nvSpPr>
          <p:spPr bwMode="auto">
            <a:xfrm>
              <a:off x="10525602" y="532898"/>
              <a:ext cx="65335" cy="7436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0 h 503"/>
                <a:gd name="T8" fmla="*/ 102 w 4527"/>
                <a:gd name="T9" fmla="*/ 50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1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50 h 503"/>
                <a:gd name="T28" fmla="*/ 37 w 4527"/>
                <a:gd name="T29" fmla="*/ 382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2 h 503"/>
                <a:gd name="T58" fmla="*/ 4502 w 4527"/>
                <a:gd name="T59" fmla="*/ 361 h 503"/>
                <a:gd name="T60" fmla="*/ 4516 w 4527"/>
                <a:gd name="T61" fmla="*/ 327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3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6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3"/>
                  </a:lnTo>
                  <a:lnTo>
                    <a:pt x="102" y="50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7"/>
                  </a:lnTo>
                  <a:lnTo>
                    <a:pt x="15" y="338"/>
                  </a:lnTo>
                  <a:lnTo>
                    <a:pt x="21" y="350"/>
                  </a:lnTo>
                  <a:lnTo>
                    <a:pt x="26" y="361"/>
                  </a:lnTo>
                  <a:lnTo>
                    <a:pt x="31" y="371"/>
                  </a:lnTo>
                  <a:lnTo>
                    <a:pt x="37" y="382"/>
                  </a:lnTo>
                  <a:lnTo>
                    <a:pt x="44" y="392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4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4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2"/>
                  </a:lnTo>
                  <a:lnTo>
                    <a:pt x="4491" y="382"/>
                  </a:lnTo>
                  <a:lnTo>
                    <a:pt x="4497" y="371"/>
                  </a:lnTo>
                  <a:lnTo>
                    <a:pt x="4502" y="361"/>
                  </a:lnTo>
                  <a:lnTo>
                    <a:pt x="4507" y="350"/>
                  </a:lnTo>
                  <a:lnTo>
                    <a:pt x="4512" y="338"/>
                  </a:lnTo>
                  <a:lnTo>
                    <a:pt x="4516" y="327"/>
                  </a:lnTo>
                  <a:lnTo>
                    <a:pt x="4519" y="315"/>
                  </a:lnTo>
                  <a:lnTo>
                    <a:pt x="4522" y="303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3"/>
                  </a:lnTo>
                  <a:lnTo>
                    <a:pt x="4522" y="201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0"/>
                  </a:lnTo>
                  <a:lnTo>
                    <a:pt x="4416" y="43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84" name="ïsļiḋè">
              <a:extLst>
                <a:ext uri="{FF2B5EF4-FFF2-40B4-BE49-F238E27FC236}">
                  <a16:creationId xmlns:a16="http://schemas.microsoft.com/office/drawing/2014/main" id="{2BCEED29-6D49-4401-A968-CC6E92506498}"/>
                </a:ext>
              </a:extLst>
            </p:cNvPr>
            <p:cNvSpPr/>
            <p:nvPr/>
          </p:nvSpPr>
          <p:spPr bwMode="auto">
            <a:xfrm>
              <a:off x="10525602" y="511120"/>
              <a:ext cx="65335" cy="7436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0 h 503"/>
                <a:gd name="T8" fmla="*/ 102 w 4527"/>
                <a:gd name="T9" fmla="*/ 51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1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49 h 503"/>
                <a:gd name="T28" fmla="*/ 37 w 4527"/>
                <a:gd name="T29" fmla="*/ 383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3 h 503"/>
                <a:gd name="T58" fmla="*/ 4502 w 4527"/>
                <a:gd name="T59" fmla="*/ 361 h 503"/>
                <a:gd name="T60" fmla="*/ 4516 w 4527"/>
                <a:gd name="T61" fmla="*/ 326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4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6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4"/>
                  </a:lnTo>
                  <a:lnTo>
                    <a:pt x="102" y="51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1" y="349"/>
                  </a:lnTo>
                  <a:lnTo>
                    <a:pt x="26" y="361"/>
                  </a:lnTo>
                  <a:lnTo>
                    <a:pt x="31" y="371"/>
                  </a:lnTo>
                  <a:lnTo>
                    <a:pt x="37" y="383"/>
                  </a:lnTo>
                  <a:lnTo>
                    <a:pt x="44" y="393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3"/>
                  </a:lnTo>
                  <a:lnTo>
                    <a:pt x="4491" y="383"/>
                  </a:lnTo>
                  <a:lnTo>
                    <a:pt x="4497" y="371"/>
                  </a:lnTo>
                  <a:lnTo>
                    <a:pt x="4502" y="361"/>
                  </a:lnTo>
                  <a:lnTo>
                    <a:pt x="4507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19" y="315"/>
                  </a:lnTo>
                  <a:lnTo>
                    <a:pt x="4522" y="302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4"/>
                  </a:lnTo>
                  <a:lnTo>
                    <a:pt x="4522" y="201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1"/>
                  </a:lnTo>
                  <a:lnTo>
                    <a:pt x="4416" y="44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85" name="îṣḷidè">
              <a:extLst>
                <a:ext uri="{FF2B5EF4-FFF2-40B4-BE49-F238E27FC236}">
                  <a16:creationId xmlns:a16="http://schemas.microsoft.com/office/drawing/2014/main" id="{20162013-75B3-4A85-BE41-2F047D5052ED}"/>
                </a:ext>
              </a:extLst>
            </p:cNvPr>
            <p:cNvSpPr/>
            <p:nvPr/>
          </p:nvSpPr>
          <p:spPr bwMode="auto">
            <a:xfrm>
              <a:off x="10525602" y="489873"/>
              <a:ext cx="65335" cy="6905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1 h 503"/>
                <a:gd name="T8" fmla="*/ 102 w 4527"/>
                <a:gd name="T9" fmla="*/ 51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2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50 h 503"/>
                <a:gd name="T28" fmla="*/ 37 w 4527"/>
                <a:gd name="T29" fmla="*/ 383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3 h 503"/>
                <a:gd name="T58" fmla="*/ 4502 w 4527"/>
                <a:gd name="T59" fmla="*/ 361 h 503"/>
                <a:gd name="T60" fmla="*/ 4516 w 4527"/>
                <a:gd name="T61" fmla="*/ 326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4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7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1" y="37"/>
                  </a:lnTo>
                  <a:lnTo>
                    <a:pt x="111" y="44"/>
                  </a:lnTo>
                  <a:lnTo>
                    <a:pt x="102" y="51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1" y="350"/>
                  </a:lnTo>
                  <a:lnTo>
                    <a:pt x="26" y="361"/>
                  </a:lnTo>
                  <a:lnTo>
                    <a:pt x="31" y="372"/>
                  </a:lnTo>
                  <a:lnTo>
                    <a:pt x="37" y="383"/>
                  </a:lnTo>
                  <a:lnTo>
                    <a:pt x="44" y="393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3"/>
                  </a:lnTo>
                  <a:lnTo>
                    <a:pt x="4491" y="383"/>
                  </a:lnTo>
                  <a:lnTo>
                    <a:pt x="4497" y="372"/>
                  </a:lnTo>
                  <a:lnTo>
                    <a:pt x="4502" y="361"/>
                  </a:lnTo>
                  <a:lnTo>
                    <a:pt x="4507" y="350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19" y="315"/>
                  </a:lnTo>
                  <a:lnTo>
                    <a:pt x="4522" y="302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4"/>
                  </a:lnTo>
                  <a:lnTo>
                    <a:pt x="4522" y="202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1"/>
                  </a:lnTo>
                  <a:lnTo>
                    <a:pt x="4416" y="44"/>
                  </a:lnTo>
                  <a:lnTo>
                    <a:pt x="4406" y="37"/>
                  </a:lnTo>
                  <a:lnTo>
                    <a:pt x="4395" y="31"/>
                  </a:lnTo>
                  <a:lnTo>
                    <a:pt x="4384" y="26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86" name="îṡḻïďé">
              <a:extLst>
                <a:ext uri="{FF2B5EF4-FFF2-40B4-BE49-F238E27FC236}">
                  <a16:creationId xmlns:a16="http://schemas.microsoft.com/office/drawing/2014/main" id="{F2D612A3-BFBB-4FAF-BC38-CF111F024494}"/>
                </a:ext>
              </a:extLst>
            </p:cNvPr>
            <p:cNvSpPr/>
            <p:nvPr/>
          </p:nvSpPr>
          <p:spPr bwMode="auto">
            <a:xfrm>
              <a:off x="10446456" y="446316"/>
              <a:ext cx="144480" cy="7436"/>
            </a:xfrm>
            <a:custGeom>
              <a:avLst/>
              <a:gdLst>
                <a:gd name="T0" fmla="*/ 238 w 10059"/>
                <a:gd name="T1" fmla="*/ 1 h 503"/>
                <a:gd name="T2" fmla="*/ 201 w 10059"/>
                <a:gd name="T3" fmla="*/ 5 h 503"/>
                <a:gd name="T4" fmla="*/ 165 w 10059"/>
                <a:gd name="T5" fmla="*/ 15 h 503"/>
                <a:gd name="T6" fmla="*/ 132 w 10059"/>
                <a:gd name="T7" fmla="*/ 30 h 503"/>
                <a:gd name="T8" fmla="*/ 100 w 10059"/>
                <a:gd name="T9" fmla="*/ 50 h 503"/>
                <a:gd name="T10" fmla="*/ 73 w 10059"/>
                <a:gd name="T11" fmla="*/ 73 h 503"/>
                <a:gd name="T12" fmla="*/ 50 w 10059"/>
                <a:gd name="T13" fmla="*/ 101 h 503"/>
                <a:gd name="T14" fmla="*/ 30 w 10059"/>
                <a:gd name="T15" fmla="*/ 131 h 503"/>
                <a:gd name="T16" fmla="*/ 15 w 10059"/>
                <a:gd name="T17" fmla="*/ 165 h 503"/>
                <a:gd name="T18" fmla="*/ 5 w 10059"/>
                <a:gd name="T19" fmla="*/ 201 h 503"/>
                <a:gd name="T20" fmla="*/ 0 w 10059"/>
                <a:gd name="T21" fmla="*/ 238 h 503"/>
                <a:gd name="T22" fmla="*/ 1 w 10059"/>
                <a:gd name="T23" fmla="*/ 277 h 503"/>
                <a:gd name="T24" fmla="*/ 8 w 10059"/>
                <a:gd name="T25" fmla="*/ 314 h 503"/>
                <a:gd name="T26" fmla="*/ 20 w 10059"/>
                <a:gd name="T27" fmla="*/ 349 h 503"/>
                <a:gd name="T28" fmla="*/ 36 w 10059"/>
                <a:gd name="T29" fmla="*/ 382 h 503"/>
                <a:gd name="T30" fmla="*/ 57 w 10059"/>
                <a:gd name="T31" fmla="*/ 411 h 503"/>
                <a:gd name="T32" fmla="*/ 82 w 10059"/>
                <a:gd name="T33" fmla="*/ 437 h 503"/>
                <a:gd name="T34" fmla="*/ 110 w 10059"/>
                <a:gd name="T35" fmla="*/ 460 h 503"/>
                <a:gd name="T36" fmla="*/ 143 w 10059"/>
                <a:gd name="T37" fmla="*/ 478 h 503"/>
                <a:gd name="T38" fmla="*/ 177 w 10059"/>
                <a:gd name="T39" fmla="*/ 491 h 503"/>
                <a:gd name="T40" fmla="*/ 213 w 10059"/>
                <a:gd name="T41" fmla="*/ 499 h 503"/>
                <a:gd name="T42" fmla="*/ 251 w 10059"/>
                <a:gd name="T43" fmla="*/ 503 h 503"/>
                <a:gd name="T44" fmla="*/ 9834 w 10059"/>
                <a:gd name="T45" fmla="*/ 502 h 503"/>
                <a:gd name="T46" fmla="*/ 9870 w 10059"/>
                <a:gd name="T47" fmla="*/ 494 h 503"/>
                <a:gd name="T48" fmla="*/ 9905 w 10059"/>
                <a:gd name="T49" fmla="*/ 483 h 503"/>
                <a:gd name="T50" fmla="*/ 9938 w 10059"/>
                <a:gd name="T51" fmla="*/ 466 h 503"/>
                <a:gd name="T52" fmla="*/ 9968 w 10059"/>
                <a:gd name="T53" fmla="*/ 445 h 503"/>
                <a:gd name="T54" fmla="*/ 9994 w 10059"/>
                <a:gd name="T55" fmla="*/ 420 h 503"/>
                <a:gd name="T56" fmla="*/ 10016 w 10059"/>
                <a:gd name="T57" fmla="*/ 392 h 503"/>
                <a:gd name="T58" fmla="*/ 10034 w 10059"/>
                <a:gd name="T59" fmla="*/ 361 h 503"/>
                <a:gd name="T60" fmla="*/ 10048 w 10059"/>
                <a:gd name="T61" fmla="*/ 326 h 503"/>
                <a:gd name="T62" fmla="*/ 10056 w 10059"/>
                <a:gd name="T63" fmla="*/ 289 h 503"/>
                <a:gd name="T64" fmla="*/ 10059 w 10059"/>
                <a:gd name="T65" fmla="*/ 251 h 503"/>
                <a:gd name="T66" fmla="*/ 10056 w 10059"/>
                <a:gd name="T67" fmla="*/ 213 h 503"/>
                <a:gd name="T68" fmla="*/ 10048 w 10059"/>
                <a:gd name="T69" fmla="*/ 177 h 503"/>
                <a:gd name="T70" fmla="*/ 10034 w 10059"/>
                <a:gd name="T71" fmla="*/ 142 h 503"/>
                <a:gd name="T72" fmla="*/ 10016 w 10059"/>
                <a:gd name="T73" fmla="*/ 110 h 503"/>
                <a:gd name="T74" fmla="*/ 9994 w 10059"/>
                <a:gd name="T75" fmla="*/ 82 h 503"/>
                <a:gd name="T76" fmla="*/ 9968 w 10059"/>
                <a:gd name="T77" fmla="*/ 57 h 503"/>
                <a:gd name="T78" fmla="*/ 9938 w 10059"/>
                <a:gd name="T79" fmla="*/ 36 h 503"/>
                <a:gd name="T80" fmla="*/ 9905 w 10059"/>
                <a:gd name="T81" fmla="*/ 20 h 503"/>
                <a:gd name="T82" fmla="*/ 9870 w 10059"/>
                <a:gd name="T83" fmla="*/ 8 h 503"/>
                <a:gd name="T84" fmla="*/ 9834 w 10059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59" h="503">
                  <a:moveTo>
                    <a:pt x="9808" y="0"/>
                  </a:moveTo>
                  <a:lnTo>
                    <a:pt x="251" y="0"/>
                  </a:lnTo>
                  <a:lnTo>
                    <a:pt x="238" y="1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3"/>
                  </a:lnTo>
                  <a:lnTo>
                    <a:pt x="100" y="50"/>
                  </a:lnTo>
                  <a:lnTo>
                    <a:pt x="91" y="57"/>
                  </a:lnTo>
                  <a:lnTo>
                    <a:pt x="82" y="65"/>
                  </a:lnTo>
                  <a:lnTo>
                    <a:pt x="73" y="73"/>
                  </a:lnTo>
                  <a:lnTo>
                    <a:pt x="65" y="82"/>
                  </a:lnTo>
                  <a:lnTo>
                    <a:pt x="57" y="91"/>
                  </a:lnTo>
                  <a:lnTo>
                    <a:pt x="50" y="101"/>
                  </a:lnTo>
                  <a:lnTo>
                    <a:pt x="43" y="110"/>
                  </a:lnTo>
                  <a:lnTo>
                    <a:pt x="36" y="121"/>
                  </a:lnTo>
                  <a:lnTo>
                    <a:pt x="30" y="131"/>
                  </a:lnTo>
                  <a:lnTo>
                    <a:pt x="25" y="142"/>
                  </a:lnTo>
                  <a:lnTo>
                    <a:pt x="20" y="153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6"/>
                  </a:lnTo>
                  <a:lnTo>
                    <a:pt x="0" y="238"/>
                  </a:lnTo>
                  <a:lnTo>
                    <a:pt x="0" y="251"/>
                  </a:lnTo>
                  <a:lnTo>
                    <a:pt x="0" y="264"/>
                  </a:lnTo>
                  <a:lnTo>
                    <a:pt x="1" y="277"/>
                  </a:lnTo>
                  <a:lnTo>
                    <a:pt x="3" y="289"/>
                  </a:lnTo>
                  <a:lnTo>
                    <a:pt x="5" y="302"/>
                  </a:lnTo>
                  <a:lnTo>
                    <a:pt x="8" y="314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2"/>
                  </a:lnTo>
                  <a:lnTo>
                    <a:pt x="57" y="411"/>
                  </a:lnTo>
                  <a:lnTo>
                    <a:pt x="65" y="420"/>
                  </a:lnTo>
                  <a:lnTo>
                    <a:pt x="73" y="429"/>
                  </a:lnTo>
                  <a:lnTo>
                    <a:pt x="82" y="437"/>
                  </a:lnTo>
                  <a:lnTo>
                    <a:pt x="91" y="445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6"/>
                  </a:lnTo>
                  <a:lnTo>
                    <a:pt x="132" y="472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7"/>
                  </a:lnTo>
                  <a:lnTo>
                    <a:pt x="177" y="491"/>
                  </a:lnTo>
                  <a:lnTo>
                    <a:pt x="189" y="494"/>
                  </a:lnTo>
                  <a:lnTo>
                    <a:pt x="201" y="497"/>
                  </a:lnTo>
                  <a:lnTo>
                    <a:pt x="213" y="499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9808" y="503"/>
                  </a:lnTo>
                  <a:lnTo>
                    <a:pt x="9821" y="503"/>
                  </a:lnTo>
                  <a:lnTo>
                    <a:pt x="9834" y="502"/>
                  </a:lnTo>
                  <a:lnTo>
                    <a:pt x="9846" y="499"/>
                  </a:lnTo>
                  <a:lnTo>
                    <a:pt x="9858" y="497"/>
                  </a:lnTo>
                  <a:lnTo>
                    <a:pt x="9870" y="494"/>
                  </a:lnTo>
                  <a:lnTo>
                    <a:pt x="9882" y="491"/>
                  </a:lnTo>
                  <a:lnTo>
                    <a:pt x="9894" y="487"/>
                  </a:lnTo>
                  <a:lnTo>
                    <a:pt x="9905" y="483"/>
                  </a:lnTo>
                  <a:lnTo>
                    <a:pt x="9916" y="478"/>
                  </a:lnTo>
                  <a:lnTo>
                    <a:pt x="9927" y="472"/>
                  </a:lnTo>
                  <a:lnTo>
                    <a:pt x="9938" y="466"/>
                  </a:lnTo>
                  <a:lnTo>
                    <a:pt x="9948" y="460"/>
                  </a:lnTo>
                  <a:lnTo>
                    <a:pt x="9959" y="453"/>
                  </a:lnTo>
                  <a:lnTo>
                    <a:pt x="9968" y="445"/>
                  </a:lnTo>
                  <a:lnTo>
                    <a:pt x="9977" y="437"/>
                  </a:lnTo>
                  <a:lnTo>
                    <a:pt x="9986" y="429"/>
                  </a:lnTo>
                  <a:lnTo>
                    <a:pt x="9994" y="420"/>
                  </a:lnTo>
                  <a:lnTo>
                    <a:pt x="10002" y="411"/>
                  </a:lnTo>
                  <a:lnTo>
                    <a:pt x="10009" y="402"/>
                  </a:lnTo>
                  <a:lnTo>
                    <a:pt x="10016" y="392"/>
                  </a:lnTo>
                  <a:lnTo>
                    <a:pt x="10023" y="382"/>
                  </a:lnTo>
                  <a:lnTo>
                    <a:pt x="10029" y="371"/>
                  </a:lnTo>
                  <a:lnTo>
                    <a:pt x="10034" y="361"/>
                  </a:lnTo>
                  <a:lnTo>
                    <a:pt x="10039" y="349"/>
                  </a:lnTo>
                  <a:lnTo>
                    <a:pt x="10044" y="338"/>
                  </a:lnTo>
                  <a:lnTo>
                    <a:pt x="10048" y="326"/>
                  </a:lnTo>
                  <a:lnTo>
                    <a:pt x="10051" y="314"/>
                  </a:lnTo>
                  <a:lnTo>
                    <a:pt x="10054" y="302"/>
                  </a:lnTo>
                  <a:lnTo>
                    <a:pt x="10056" y="289"/>
                  </a:lnTo>
                  <a:lnTo>
                    <a:pt x="10058" y="277"/>
                  </a:lnTo>
                  <a:lnTo>
                    <a:pt x="10059" y="264"/>
                  </a:lnTo>
                  <a:lnTo>
                    <a:pt x="10059" y="251"/>
                  </a:lnTo>
                  <a:lnTo>
                    <a:pt x="10059" y="238"/>
                  </a:lnTo>
                  <a:lnTo>
                    <a:pt x="10058" y="226"/>
                  </a:lnTo>
                  <a:lnTo>
                    <a:pt x="10056" y="213"/>
                  </a:lnTo>
                  <a:lnTo>
                    <a:pt x="10054" y="201"/>
                  </a:lnTo>
                  <a:lnTo>
                    <a:pt x="10051" y="189"/>
                  </a:lnTo>
                  <a:lnTo>
                    <a:pt x="10048" y="177"/>
                  </a:lnTo>
                  <a:lnTo>
                    <a:pt x="10044" y="165"/>
                  </a:lnTo>
                  <a:lnTo>
                    <a:pt x="10039" y="153"/>
                  </a:lnTo>
                  <a:lnTo>
                    <a:pt x="10034" y="142"/>
                  </a:lnTo>
                  <a:lnTo>
                    <a:pt x="10029" y="131"/>
                  </a:lnTo>
                  <a:lnTo>
                    <a:pt x="10023" y="121"/>
                  </a:lnTo>
                  <a:lnTo>
                    <a:pt x="10016" y="110"/>
                  </a:lnTo>
                  <a:lnTo>
                    <a:pt x="10009" y="101"/>
                  </a:lnTo>
                  <a:lnTo>
                    <a:pt x="10002" y="91"/>
                  </a:lnTo>
                  <a:lnTo>
                    <a:pt x="9994" y="82"/>
                  </a:lnTo>
                  <a:lnTo>
                    <a:pt x="9986" y="73"/>
                  </a:lnTo>
                  <a:lnTo>
                    <a:pt x="9977" y="65"/>
                  </a:lnTo>
                  <a:lnTo>
                    <a:pt x="9968" y="57"/>
                  </a:lnTo>
                  <a:lnTo>
                    <a:pt x="9959" y="50"/>
                  </a:lnTo>
                  <a:lnTo>
                    <a:pt x="9948" y="43"/>
                  </a:lnTo>
                  <a:lnTo>
                    <a:pt x="9938" y="36"/>
                  </a:lnTo>
                  <a:lnTo>
                    <a:pt x="9927" y="30"/>
                  </a:lnTo>
                  <a:lnTo>
                    <a:pt x="9916" y="25"/>
                  </a:lnTo>
                  <a:lnTo>
                    <a:pt x="9905" y="20"/>
                  </a:lnTo>
                  <a:lnTo>
                    <a:pt x="9894" y="15"/>
                  </a:lnTo>
                  <a:lnTo>
                    <a:pt x="9882" y="11"/>
                  </a:lnTo>
                  <a:lnTo>
                    <a:pt x="9870" y="8"/>
                  </a:lnTo>
                  <a:lnTo>
                    <a:pt x="9858" y="5"/>
                  </a:lnTo>
                  <a:lnTo>
                    <a:pt x="9846" y="3"/>
                  </a:lnTo>
                  <a:lnTo>
                    <a:pt x="9834" y="1"/>
                  </a:lnTo>
                  <a:lnTo>
                    <a:pt x="9821" y="1"/>
                  </a:lnTo>
                  <a:lnTo>
                    <a:pt x="980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87" name="îşlïḍe">
              <a:extLst>
                <a:ext uri="{FF2B5EF4-FFF2-40B4-BE49-F238E27FC236}">
                  <a16:creationId xmlns:a16="http://schemas.microsoft.com/office/drawing/2014/main" id="{CC94BECC-798F-4790-8CBC-2B77A123B7F8}"/>
                </a:ext>
              </a:extLst>
            </p:cNvPr>
            <p:cNvSpPr/>
            <p:nvPr/>
          </p:nvSpPr>
          <p:spPr bwMode="auto">
            <a:xfrm>
              <a:off x="10446456" y="468094"/>
              <a:ext cx="144480" cy="6905"/>
            </a:xfrm>
            <a:custGeom>
              <a:avLst/>
              <a:gdLst>
                <a:gd name="T0" fmla="*/ 238 w 10059"/>
                <a:gd name="T1" fmla="*/ 0 h 503"/>
                <a:gd name="T2" fmla="*/ 201 w 10059"/>
                <a:gd name="T3" fmla="*/ 5 h 503"/>
                <a:gd name="T4" fmla="*/ 165 w 10059"/>
                <a:gd name="T5" fmla="*/ 16 h 503"/>
                <a:gd name="T6" fmla="*/ 132 w 10059"/>
                <a:gd name="T7" fmla="*/ 31 h 503"/>
                <a:gd name="T8" fmla="*/ 100 w 10059"/>
                <a:gd name="T9" fmla="*/ 51 h 503"/>
                <a:gd name="T10" fmla="*/ 73 w 10059"/>
                <a:gd name="T11" fmla="*/ 74 h 503"/>
                <a:gd name="T12" fmla="*/ 50 w 10059"/>
                <a:gd name="T13" fmla="*/ 102 h 503"/>
                <a:gd name="T14" fmla="*/ 30 w 10059"/>
                <a:gd name="T15" fmla="*/ 132 h 503"/>
                <a:gd name="T16" fmla="*/ 15 w 10059"/>
                <a:gd name="T17" fmla="*/ 165 h 503"/>
                <a:gd name="T18" fmla="*/ 5 w 10059"/>
                <a:gd name="T19" fmla="*/ 202 h 503"/>
                <a:gd name="T20" fmla="*/ 0 w 10059"/>
                <a:gd name="T21" fmla="*/ 239 h 503"/>
                <a:gd name="T22" fmla="*/ 1 w 10059"/>
                <a:gd name="T23" fmla="*/ 278 h 503"/>
                <a:gd name="T24" fmla="*/ 8 w 10059"/>
                <a:gd name="T25" fmla="*/ 315 h 503"/>
                <a:gd name="T26" fmla="*/ 20 w 10059"/>
                <a:gd name="T27" fmla="*/ 350 h 503"/>
                <a:gd name="T28" fmla="*/ 36 w 10059"/>
                <a:gd name="T29" fmla="*/ 383 h 503"/>
                <a:gd name="T30" fmla="*/ 57 w 10059"/>
                <a:gd name="T31" fmla="*/ 412 h 503"/>
                <a:gd name="T32" fmla="*/ 82 w 10059"/>
                <a:gd name="T33" fmla="*/ 438 h 503"/>
                <a:gd name="T34" fmla="*/ 110 w 10059"/>
                <a:gd name="T35" fmla="*/ 460 h 503"/>
                <a:gd name="T36" fmla="*/ 143 w 10059"/>
                <a:gd name="T37" fmla="*/ 478 h 503"/>
                <a:gd name="T38" fmla="*/ 177 w 10059"/>
                <a:gd name="T39" fmla="*/ 492 h 503"/>
                <a:gd name="T40" fmla="*/ 213 w 10059"/>
                <a:gd name="T41" fmla="*/ 500 h 503"/>
                <a:gd name="T42" fmla="*/ 251 w 10059"/>
                <a:gd name="T43" fmla="*/ 503 h 503"/>
                <a:gd name="T44" fmla="*/ 9834 w 10059"/>
                <a:gd name="T45" fmla="*/ 502 h 503"/>
                <a:gd name="T46" fmla="*/ 9870 w 10059"/>
                <a:gd name="T47" fmla="*/ 495 h 503"/>
                <a:gd name="T48" fmla="*/ 9905 w 10059"/>
                <a:gd name="T49" fmla="*/ 483 h 503"/>
                <a:gd name="T50" fmla="*/ 9938 w 10059"/>
                <a:gd name="T51" fmla="*/ 467 h 503"/>
                <a:gd name="T52" fmla="*/ 9968 w 10059"/>
                <a:gd name="T53" fmla="*/ 446 h 503"/>
                <a:gd name="T54" fmla="*/ 9994 w 10059"/>
                <a:gd name="T55" fmla="*/ 421 h 503"/>
                <a:gd name="T56" fmla="*/ 10016 w 10059"/>
                <a:gd name="T57" fmla="*/ 393 h 503"/>
                <a:gd name="T58" fmla="*/ 10034 w 10059"/>
                <a:gd name="T59" fmla="*/ 362 h 503"/>
                <a:gd name="T60" fmla="*/ 10048 w 10059"/>
                <a:gd name="T61" fmla="*/ 326 h 503"/>
                <a:gd name="T62" fmla="*/ 10056 w 10059"/>
                <a:gd name="T63" fmla="*/ 290 h 503"/>
                <a:gd name="T64" fmla="*/ 10059 w 10059"/>
                <a:gd name="T65" fmla="*/ 252 h 503"/>
                <a:gd name="T66" fmla="*/ 10056 w 10059"/>
                <a:gd name="T67" fmla="*/ 214 h 503"/>
                <a:gd name="T68" fmla="*/ 10048 w 10059"/>
                <a:gd name="T69" fmla="*/ 177 h 503"/>
                <a:gd name="T70" fmla="*/ 10034 w 10059"/>
                <a:gd name="T71" fmla="*/ 143 h 503"/>
                <a:gd name="T72" fmla="*/ 10016 w 10059"/>
                <a:gd name="T73" fmla="*/ 112 h 503"/>
                <a:gd name="T74" fmla="*/ 9994 w 10059"/>
                <a:gd name="T75" fmla="*/ 83 h 503"/>
                <a:gd name="T76" fmla="*/ 9968 w 10059"/>
                <a:gd name="T77" fmla="*/ 58 h 503"/>
                <a:gd name="T78" fmla="*/ 9938 w 10059"/>
                <a:gd name="T79" fmla="*/ 37 h 503"/>
                <a:gd name="T80" fmla="*/ 9905 w 10059"/>
                <a:gd name="T81" fmla="*/ 21 h 503"/>
                <a:gd name="T82" fmla="*/ 9870 w 10059"/>
                <a:gd name="T83" fmla="*/ 8 h 503"/>
                <a:gd name="T84" fmla="*/ 9834 w 10059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59" h="503">
                  <a:moveTo>
                    <a:pt x="9808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2"/>
                  </a:lnTo>
                  <a:lnTo>
                    <a:pt x="165" y="16"/>
                  </a:lnTo>
                  <a:lnTo>
                    <a:pt x="154" y="21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0" y="37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2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90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2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4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9808" y="503"/>
                  </a:lnTo>
                  <a:lnTo>
                    <a:pt x="9821" y="503"/>
                  </a:lnTo>
                  <a:lnTo>
                    <a:pt x="9834" y="502"/>
                  </a:lnTo>
                  <a:lnTo>
                    <a:pt x="9846" y="500"/>
                  </a:lnTo>
                  <a:lnTo>
                    <a:pt x="9858" y="498"/>
                  </a:lnTo>
                  <a:lnTo>
                    <a:pt x="9870" y="495"/>
                  </a:lnTo>
                  <a:lnTo>
                    <a:pt x="9882" y="492"/>
                  </a:lnTo>
                  <a:lnTo>
                    <a:pt x="9894" y="488"/>
                  </a:lnTo>
                  <a:lnTo>
                    <a:pt x="9905" y="483"/>
                  </a:lnTo>
                  <a:lnTo>
                    <a:pt x="9916" y="478"/>
                  </a:lnTo>
                  <a:lnTo>
                    <a:pt x="9927" y="473"/>
                  </a:lnTo>
                  <a:lnTo>
                    <a:pt x="9938" y="467"/>
                  </a:lnTo>
                  <a:lnTo>
                    <a:pt x="9948" y="460"/>
                  </a:lnTo>
                  <a:lnTo>
                    <a:pt x="9959" y="454"/>
                  </a:lnTo>
                  <a:lnTo>
                    <a:pt x="9968" y="446"/>
                  </a:lnTo>
                  <a:lnTo>
                    <a:pt x="9977" y="438"/>
                  </a:lnTo>
                  <a:lnTo>
                    <a:pt x="9986" y="430"/>
                  </a:lnTo>
                  <a:lnTo>
                    <a:pt x="9994" y="421"/>
                  </a:lnTo>
                  <a:lnTo>
                    <a:pt x="10002" y="412"/>
                  </a:lnTo>
                  <a:lnTo>
                    <a:pt x="10009" y="403"/>
                  </a:lnTo>
                  <a:lnTo>
                    <a:pt x="10016" y="393"/>
                  </a:lnTo>
                  <a:lnTo>
                    <a:pt x="10023" y="383"/>
                  </a:lnTo>
                  <a:lnTo>
                    <a:pt x="10029" y="372"/>
                  </a:lnTo>
                  <a:lnTo>
                    <a:pt x="10034" y="362"/>
                  </a:lnTo>
                  <a:lnTo>
                    <a:pt x="10039" y="350"/>
                  </a:lnTo>
                  <a:lnTo>
                    <a:pt x="10044" y="338"/>
                  </a:lnTo>
                  <a:lnTo>
                    <a:pt x="10048" y="326"/>
                  </a:lnTo>
                  <a:lnTo>
                    <a:pt x="10051" y="315"/>
                  </a:lnTo>
                  <a:lnTo>
                    <a:pt x="10054" y="302"/>
                  </a:lnTo>
                  <a:lnTo>
                    <a:pt x="10056" y="290"/>
                  </a:lnTo>
                  <a:lnTo>
                    <a:pt x="10058" y="278"/>
                  </a:lnTo>
                  <a:lnTo>
                    <a:pt x="10059" y="265"/>
                  </a:lnTo>
                  <a:lnTo>
                    <a:pt x="10059" y="252"/>
                  </a:lnTo>
                  <a:lnTo>
                    <a:pt x="10059" y="239"/>
                  </a:lnTo>
                  <a:lnTo>
                    <a:pt x="10058" y="227"/>
                  </a:lnTo>
                  <a:lnTo>
                    <a:pt x="10056" y="214"/>
                  </a:lnTo>
                  <a:lnTo>
                    <a:pt x="10054" y="202"/>
                  </a:lnTo>
                  <a:lnTo>
                    <a:pt x="10051" y="190"/>
                  </a:lnTo>
                  <a:lnTo>
                    <a:pt x="10048" y="177"/>
                  </a:lnTo>
                  <a:lnTo>
                    <a:pt x="10044" y="165"/>
                  </a:lnTo>
                  <a:lnTo>
                    <a:pt x="10039" y="154"/>
                  </a:lnTo>
                  <a:lnTo>
                    <a:pt x="10034" y="143"/>
                  </a:lnTo>
                  <a:lnTo>
                    <a:pt x="10029" y="132"/>
                  </a:lnTo>
                  <a:lnTo>
                    <a:pt x="10023" y="122"/>
                  </a:lnTo>
                  <a:lnTo>
                    <a:pt x="10016" y="112"/>
                  </a:lnTo>
                  <a:lnTo>
                    <a:pt x="10009" y="102"/>
                  </a:lnTo>
                  <a:lnTo>
                    <a:pt x="10002" y="92"/>
                  </a:lnTo>
                  <a:lnTo>
                    <a:pt x="9994" y="83"/>
                  </a:lnTo>
                  <a:lnTo>
                    <a:pt x="9986" y="74"/>
                  </a:lnTo>
                  <a:lnTo>
                    <a:pt x="9977" y="66"/>
                  </a:lnTo>
                  <a:lnTo>
                    <a:pt x="9968" y="58"/>
                  </a:lnTo>
                  <a:lnTo>
                    <a:pt x="9959" y="51"/>
                  </a:lnTo>
                  <a:lnTo>
                    <a:pt x="9948" y="44"/>
                  </a:lnTo>
                  <a:lnTo>
                    <a:pt x="9938" y="37"/>
                  </a:lnTo>
                  <a:lnTo>
                    <a:pt x="9927" y="31"/>
                  </a:lnTo>
                  <a:lnTo>
                    <a:pt x="9916" y="26"/>
                  </a:lnTo>
                  <a:lnTo>
                    <a:pt x="9905" y="21"/>
                  </a:lnTo>
                  <a:lnTo>
                    <a:pt x="9894" y="16"/>
                  </a:lnTo>
                  <a:lnTo>
                    <a:pt x="9882" y="12"/>
                  </a:lnTo>
                  <a:lnTo>
                    <a:pt x="9870" y="8"/>
                  </a:lnTo>
                  <a:lnTo>
                    <a:pt x="9858" y="5"/>
                  </a:lnTo>
                  <a:lnTo>
                    <a:pt x="9846" y="3"/>
                  </a:lnTo>
                  <a:lnTo>
                    <a:pt x="9834" y="1"/>
                  </a:lnTo>
                  <a:lnTo>
                    <a:pt x="9821" y="0"/>
                  </a:lnTo>
                  <a:lnTo>
                    <a:pt x="980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88" name="i$ḻíḓè">
              <a:extLst>
                <a:ext uri="{FF2B5EF4-FFF2-40B4-BE49-F238E27FC236}">
                  <a16:creationId xmlns:a16="http://schemas.microsoft.com/office/drawing/2014/main" id="{CE55500B-A026-495E-83D5-38064126EE1C}"/>
                </a:ext>
              </a:extLst>
            </p:cNvPr>
            <p:cNvSpPr/>
            <p:nvPr/>
          </p:nvSpPr>
          <p:spPr bwMode="auto">
            <a:xfrm>
              <a:off x="10446456" y="366640"/>
              <a:ext cx="64804" cy="65335"/>
            </a:xfrm>
            <a:custGeom>
              <a:avLst/>
              <a:gdLst>
                <a:gd name="T0" fmla="*/ 3521 w 4526"/>
                <a:gd name="T1" fmla="*/ 3519 h 4525"/>
                <a:gd name="T2" fmla="*/ 503 w 4526"/>
                <a:gd name="T3" fmla="*/ 4525 h 4525"/>
                <a:gd name="T4" fmla="*/ 4075 w 4526"/>
                <a:gd name="T5" fmla="*/ 4522 h 4525"/>
                <a:gd name="T6" fmla="*/ 4149 w 4526"/>
                <a:gd name="T7" fmla="*/ 4508 h 4525"/>
                <a:gd name="T8" fmla="*/ 4220 w 4526"/>
                <a:gd name="T9" fmla="*/ 4485 h 4525"/>
                <a:gd name="T10" fmla="*/ 4284 w 4526"/>
                <a:gd name="T11" fmla="*/ 4452 h 4525"/>
                <a:gd name="T12" fmla="*/ 4343 w 4526"/>
                <a:gd name="T13" fmla="*/ 4410 h 4525"/>
                <a:gd name="T14" fmla="*/ 4396 w 4526"/>
                <a:gd name="T15" fmla="*/ 4360 h 4525"/>
                <a:gd name="T16" fmla="*/ 4441 w 4526"/>
                <a:gd name="T17" fmla="*/ 4302 h 4525"/>
                <a:gd name="T18" fmla="*/ 4477 w 4526"/>
                <a:gd name="T19" fmla="*/ 4240 h 4525"/>
                <a:gd name="T20" fmla="*/ 4504 w 4526"/>
                <a:gd name="T21" fmla="*/ 4172 h 4525"/>
                <a:gd name="T22" fmla="*/ 4520 w 4526"/>
                <a:gd name="T23" fmla="*/ 4098 h 4525"/>
                <a:gd name="T24" fmla="*/ 4526 w 4526"/>
                <a:gd name="T25" fmla="*/ 4022 h 4525"/>
                <a:gd name="T26" fmla="*/ 4523 w 4526"/>
                <a:gd name="T27" fmla="*/ 452 h 4525"/>
                <a:gd name="T28" fmla="*/ 4510 w 4526"/>
                <a:gd name="T29" fmla="*/ 377 h 4525"/>
                <a:gd name="T30" fmla="*/ 4487 w 4526"/>
                <a:gd name="T31" fmla="*/ 308 h 4525"/>
                <a:gd name="T32" fmla="*/ 4454 w 4526"/>
                <a:gd name="T33" fmla="*/ 242 h 4525"/>
                <a:gd name="T34" fmla="*/ 4412 w 4526"/>
                <a:gd name="T35" fmla="*/ 183 h 4525"/>
                <a:gd name="T36" fmla="*/ 4361 w 4526"/>
                <a:gd name="T37" fmla="*/ 131 h 4525"/>
                <a:gd name="T38" fmla="*/ 4305 w 4526"/>
                <a:gd name="T39" fmla="*/ 85 h 4525"/>
                <a:gd name="T40" fmla="*/ 4242 w 4526"/>
                <a:gd name="T41" fmla="*/ 49 h 4525"/>
                <a:gd name="T42" fmla="*/ 4173 w 4526"/>
                <a:gd name="T43" fmla="*/ 22 h 4525"/>
                <a:gd name="T44" fmla="*/ 4100 w 4526"/>
                <a:gd name="T45" fmla="*/ 6 h 4525"/>
                <a:gd name="T46" fmla="*/ 4024 w 4526"/>
                <a:gd name="T47" fmla="*/ 0 h 4525"/>
                <a:gd name="T48" fmla="*/ 451 w 4526"/>
                <a:gd name="T49" fmla="*/ 3 h 4525"/>
                <a:gd name="T50" fmla="*/ 377 w 4526"/>
                <a:gd name="T51" fmla="*/ 16 h 4525"/>
                <a:gd name="T52" fmla="*/ 307 w 4526"/>
                <a:gd name="T53" fmla="*/ 39 h 4525"/>
                <a:gd name="T54" fmla="*/ 242 w 4526"/>
                <a:gd name="T55" fmla="*/ 72 h 4525"/>
                <a:gd name="T56" fmla="*/ 183 w 4526"/>
                <a:gd name="T57" fmla="*/ 115 h 4525"/>
                <a:gd name="T58" fmla="*/ 131 w 4526"/>
                <a:gd name="T59" fmla="*/ 165 h 4525"/>
                <a:gd name="T60" fmla="*/ 85 w 4526"/>
                <a:gd name="T61" fmla="*/ 222 h 4525"/>
                <a:gd name="T62" fmla="*/ 49 w 4526"/>
                <a:gd name="T63" fmla="*/ 285 h 4525"/>
                <a:gd name="T64" fmla="*/ 22 w 4526"/>
                <a:gd name="T65" fmla="*/ 353 h 4525"/>
                <a:gd name="T66" fmla="*/ 6 w 4526"/>
                <a:gd name="T67" fmla="*/ 426 h 4525"/>
                <a:gd name="T68" fmla="*/ 0 w 4526"/>
                <a:gd name="T69" fmla="*/ 503 h 4525"/>
                <a:gd name="T70" fmla="*/ 3 w 4526"/>
                <a:gd name="T71" fmla="*/ 4073 h 4525"/>
                <a:gd name="T72" fmla="*/ 16 w 4526"/>
                <a:gd name="T73" fmla="*/ 4147 h 4525"/>
                <a:gd name="T74" fmla="*/ 39 w 4526"/>
                <a:gd name="T75" fmla="*/ 4218 h 4525"/>
                <a:gd name="T76" fmla="*/ 72 w 4526"/>
                <a:gd name="T77" fmla="*/ 4282 h 4525"/>
                <a:gd name="T78" fmla="*/ 114 w 4526"/>
                <a:gd name="T79" fmla="*/ 4342 h 4525"/>
                <a:gd name="T80" fmla="*/ 165 w 4526"/>
                <a:gd name="T81" fmla="*/ 4394 h 4525"/>
                <a:gd name="T82" fmla="*/ 221 w 4526"/>
                <a:gd name="T83" fmla="*/ 4439 h 4525"/>
                <a:gd name="T84" fmla="*/ 284 w 4526"/>
                <a:gd name="T85" fmla="*/ 4475 h 4525"/>
                <a:gd name="T86" fmla="*/ 353 w 4526"/>
                <a:gd name="T87" fmla="*/ 4501 h 4525"/>
                <a:gd name="T88" fmla="*/ 426 w 4526"/>
                <a:gd name="T89" fmla="*/ 4519 h 4525"/>
                <a:gd name="T90" fmla="*/ 503 w 4526"/>
                <a:gd name="T91" fmla="*/ 4525 h 4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526" h="4525">
                  <a:moveTo>
                    <a:pt x="1006" y="1004"/>
                  </a:moveTo>
                  <a:lnTo>
                    <a:pt x="3521" y="1004"/>
                  </a:lnTo>
                  <a:lnTo>
                    <a:pt x="3521" y="3519"/>
                  </a:lnTo>
                  <a:lnTo>
                    <a:pt x="1006" y="3519"/>
                  </a:lnTo>
                  <a:lnTo>
                    <a:pt x="1006" y="1004"/>
                  </a:lnTo>
                  <a:close/>
                  <a:moveTo>
                    <a:pt x="503" y="4525"/>
                  </a:moveTo>
                  <a:lnTo>
                    <a:pt x="4024" y="4525"/>
                  </a:lnTo>
                  <a:lnTo>
                    <a:pt x="4050" y="4524"/>
                  </a:lnTo>
                  <a:lnTo>
                    <a:pt x="4075" y="4522"/>
                  </a:lnTo>
                  <a:lnTo>
                    <a:pt x="4100" y="4519"/>
                  </a:lnTo>
                  <a:lnTo>
                    <a:pt x="4125" y="4515"/>
                  </a:lnTo>
                  <a:lnTo>
                    <a:pt x="4149" y="4508"/>
                  </a:lnTo>
                  <a:lnTo>
                    <a:pt x="4173" y="4501"/>
                  </a:lnTo>
                  <a:lnTo>
                    <a:pt x="4197" y="4494"/>
                  </a:lnTo>
                  <a:lnTo>
                    <a:pt x="4220" y="4485"/>
                  </a:lnTo>
                  <a:lnTo>
                    <a:pt x="4242" y="4475"/>
                  </a:lnTo>
                  <a:lnTo>
                    <a:pt x="4263" y="4464"/>
                  </a:lnTo>
                  <a:lnTo>
                    <a:pt x="4284" y="4452"/>
                  </a:lnTo>
                  <a:lnTo>
                    <a:pt x="4305" y="4439"/>
                  </a:lnTo>
                  <a:lnTo>
                    <a:pt x="4324" y="4425"/>
                  </a:lnTo>
                  <a:lnTo>
                    <a:pt x="4343" y="4410"/>
                  </a:lnTo>
                  <a:lnTo>
                    <a:pt x="4361" y="4394"/>
                  </a:lnTo>
                  <a:lnTo>
                    <a:pt x="4380" y="4378"/>
                  </a:lnTo>
                  <a:lnTo>
                    <a:pt x="4396" y="4360"/>
                  </a:lnTo>
                  <a:lnTo>
                    <a:pt x="4412" y="4342"/>
                  </a:lnTo>
                  <a:lnTo>
                    <a:pt x="4427" y="4322"/>
                  </a:lnTo>
                  <a:lnTo>
                    <a:pt x="4441" y="4302"/>
                  </a:lnTo>
                  <a:lnTo>
                    <a:pt x="4454" y="4282"/>
                  </a:lnTo>
                  <a:lnTo>
                    <a:pt x="4466" y="4261"/>
                  </a:lnTo>
                  <a:lnTo>
                    <a:pt x="4477" y="4240"/>
                  </a:lnTo>
                  <a:lnTo>
                    <a:pt x="4487" y="4218"/>
                  </a:lnTo>
                  <a:lnTo>
                    <a:pt x="4496" y="4195"/>
                  </a:lnTo>
                  <a:lnTo>
                    <a:pt x="4504" y="4172"/>
                  </a:lnTo>
                  <a:lnTo>
                    <a:pt x="4510" y="4147"/>
                  </a:lnTo>
                  <a:lnTo>
                    <a:pt x="4516" y="4123"/>
                  </a:lnTo>
                  <a:lnTo>
                    <a:pt x="4520" y="4098"/>
                  </a:lnTo>
                  <a:lnTo>
                    <a:pt x="4523" y="4073"/>
                  </a:lnTo>
                  <a:lnTo>
                    <a:pt x="4525" y="4048"/>
                  </a:lnTo>
                  <a:lnTo>
                    <a:pt x="4526" y="4022"/>
                  </a:lnTo>
                  <a:lnTo>
                    <a:pt x="4526" y="503"/>
                  </a:lnTo>
                  <a:lnTo>
                    <a:pt x="4525" y="477"/>
                  </a:lnTo>
                  <a:lnTo>
                    <a:pt x="4523" y="452"/>
                  </a:lnTo>
                  <a:lnTo>
                    <a:pt x="4520" y="426"/>
                  </a:lnTo>
                  <a:lnTo>
                    <a:pt x="4516" y="401"/>
                  </a:lnTo>
                  <a:lnTo>
                    <a:pt x="4510" y="377"/>
                  </a:lnTo>
                  <a:lnTo>
                    <a:pt x="4504" y="353"/>
                  </a:lnTo>
                  <a:lnTo>
                    <a:pt x="4496" y="330"/>
                  </a:lnTo>
                  <a:lnTo>
                    <a:pt x="4487" y="308"/>
                  </a:lnTo>
                  <a:lnTo>
                    <a:pt x="4477" y="285"/>
                  </a:lnTo>
                  <a:lnTo>
                    <a:pt x="4466" y="263"/>
                  </a:lnTo>
                  <a:lnTo>
                    <a:pt x="4454" y="242"/>
                  </a:lnTo>
                  <a:lnTo>
                    <a:pt x="4441" y="222"/>
                  </a:lnTo>
                  <a:lnTo>
                    <a:pt x="4427" y="202"/>
                  </a:lnTo>
                  <a:lnTo>
                    <a:pt x="4412" y="183"/>
                  </a:lnTo>
                  <a:lnTo>
                    <a:pt x="4396" y="165"/>
                  </a:lnTo>
                  <a:lnTo>
                    <a:pt x="4380" y="148"/>
                  </a:lnTo>
                  <a:lnTo>
                    <a:pt x="4361" y="131"/>
                  </a:lnTo>
                  <a:lnTo>
                    <a:pt x="4343" y="115"/>
                  </a:lnTo>
                  <a:lnTo>
                    <a:pt x="4324" y="99"/>
                  </a:lnTo>
                  <a:lnTo>
                    <a:pt x="4305" y="85"/>
                  </a:lnTo>
                  <a:lnTo>
                    <a:pt x="4284" y="72"/>
                  </a:lnTo>
                  <a:lnTo>
                    <a:pt x="4263" y="60"/>
                  </a:lnTo>
                  <a:lnTo>
                    <a:pt x="4242" y="49"/>
                  </a:lnTo>
                  <a:lnTo>
                    <a:pt x="4220" y="39"/>
                  </a:lnTo>
                  <a:lnTo>
                    <a:pt x="4197" y="30"/>
                  </a:lnTo>
                  <a:lnTo>
                    <a:pt x="4173" y="22"/>
                  </a:lnTo>
                  <a:lnTo>
                    <a:pt x="4149" y="16"/>
                  </a:lnTo>
                  <a:lnTo>
                    <a:pt x="4125" y="10"/>
                  </a:lnTo>
                  <a:lnTo>
                    <a:pt x="4100" y="6"/>
                  </a:lnTo>
                  <a:lnTo>
                    <a:pt x="4075" y="3"/>
                  </a:lnTo>
                  <a:lnTo>
                    <a:pt x="4050" y="1"/>
                  </a:lnTo>
                  <a:lnTo>
                    <a:pt x="4024" y="0"/>
                  </a:lnTo>
                  <a:lnTo>
                    <a:pt x="503" y="0"/>
                  </a:lnTo>
                  <a:lnTo>
                    <a:pt x="477" y="1"/>
                  </a:lnTo>
                  <a:lnTo>
                    <a:pt x="451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4" y="49"/>
                  </a:lnTo>
                  <a:lnTo>
                    <a:pt x="262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8"/>
                  </a:lnTo>
                  <a:lnTo>
                    <a:pt x="131" y="165"/>
                  </a:lnTo>
                  <a:lnTo>
                    <a:pt x="114" y="183"/>
                  </a:lnTo>
                  <a:lnTo>
                    <a:pt x="99" y="202"/>
                  </a:lnTo>
                  <a:lnTo>
                    <a:pt x="85" y="222"/>
                  </a:lnTo>
                  <a:lnTo>
                    <a:pt x="72" y="242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8"/>
                  </a:lnTo>
                  <a:lnTo>
                    <a:pt x="30" y="330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0" y="4022"/>
                  </a:lnTo>
                  <a:lnTo>
                    <a:pt x="1" y="4048"/>
                  </a:lnTo>
                  <a:lnTo>
                    <a:pt x="3" y="4073"/>
                  </a:lnTo>
                  <a:lnTo>
                    <a:pt x="6" y="4098"/>
                  </a:lnTo>
                  <a:lnTo>
                    <a:pt x="10" y="4123"/>
                  </a:lnTo>
                  <a:lnTo>
                    <a:pt x="16" y="4147"/>
                  </a:lnTo>
                  <a:lnTo>
                    <a:pt x="22" y="4172"/>
                  </a:lnTo>
                  <a:lnTo>
                    <a:pt x="30" y="4195"/>
                  </a:lnTo>
                  <a:lnTo>
                    <a:pt x="39" y="4218"/>
                  </a:lnTo>
                  <a:lnTo>
                    <a:pt x="49" y="4240"/>
                  </a:lnTo>
                  <a:lnTo>
                    <a:pt x="60" y="4261"/>
                  </a:lnTo>
                  <a:lnTo>
                    <a:pt x="72" y="4282"/>
                  </a:lnTo>
                  <a:lnTo>
                    <a:pt x="85" y="4302"/>
                  </a:lnTo>
                  <a:lnTo>
                    <a:pt x="99" y="4322"/>
                  </a:lnTo>
                  <a:lnTo>
                    <a:pt x="114" y="4342"/>
                  </a:lnTo>
                  <a:lnTo>
                    <a:pt x="131" y="4360"/>
                  </a:lnTo>
                  <a:lnTo>
                    <a:pt x="147" y="4378"/>
                  </a:lnTo>
                  <a:lnTo>
                    <a:pt x="165" y="4394"/>
                  </a:lnTo>
                  <a:lnTo>
                    <a:pt x="183" y="4410"/>
                  </a:lnTo>
                  <a:lnTo>
                    <a:pt x="202" y="4425"/>
                  </a:lnTo>
                  <a:lnTo>
                    <a:pt x="221" y="4439"/>
                  </a:lnTo>
                  <a:lnTo>
                    <a:pt x="242" y="4452"/>
                  </a:lnTo>
                  <a:lnTo>
                    <a:pt x="262" y="4464"/>
                  </a:lnTo>
                  <a:lnTo>
                    <a:pt x="284" y="4475"/>
                  </a:lnTo>
                  <a:lnTo>
                    <a:pt x="307" y="4485"/>
                  </a:lnTo>
                  <a:lnTo>
                    <a:pt x="330" y="4494"/>
                  </a:lnTo>
                  <a:lnTo>
                    <a:pt x="353" y="4501"/>
                  </a:lnTo>
                  <a:lnTo>
                    <a:pt x="377" y="4508"/>
                  </a:lnTo>
                  <a:lnTo>
                    <a:pt x="401" y="4515"/>
                  </a:lnTo>
                  <a:lnTo>
                    <a:pt x="426" y="4519"/>
                  </a:lnTo>
                  <a:lnTo>
                    <a:pt x="451" y="4522"/>
                  </a:lnTo>
                  <a:lnTo>
                    <a:pt x="477" y="4524"/>
                  </a:lnTo>
                  <a:lnTo>
                    <a:pt x="503" y="45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89" name="işḷîde">
              <a:extLst>
                <a:ext uri="{FF2B5EF4-FFF2-40B4-BE49-F238E27FC236}">
                  <a16:creationId xmlns:a16="http://schemas.microsoft.com/office/drawing/2014/main" id="{055015D7-8251-4E60-A933-DF908F045E3C}"/>
                </a:ext>
              </a:extLst>
            </p:cNvPr>
            <p:cNvSpPr/>
            <p:nvPr/>
          </p:nvSpPr>
          <p:spPr bwMode="auto">
            <a:xfrm>
              <a:off x="10135370" y="93739"/>
              <a:ext cx="238394" cy="347625"/>
            </a:xfrm>
            <a:custGeom>
              <a:avLst/>
              <a:gdLst>
                <a:gd name="T0" fmla="*/ 9581 w 11062"/>
                <a:gd name="T1" fmla="*/ 13339 h 16132"/>
                <a:gd name="T2" fmla="*/ 8775 w 11062"/>
                <a:gd name="T3" fmla="*/ 14325 h 16132"/>
                <a:gd name="T4" fmla="*/ 6999 w 11062"/>
                <a:gd name="T5" fmla="*/ 14980 h 16132"/>
                <a:gd name="T6" fmla="*/ 4346 w 11062"/>
                <a:gd name="T7" fmla="*/ 15077 h 16132"/>
                <a:gd name="T8" fmla="*/ 2649 w 11062"/>
                <a:gd name="T9" fmla="*/ 14454 h 16132"/>
                <a:gd name="T10" fmla="*/ 1519 w 11062"/>
                <a:gd name="T11" fmla="*/ 13302 h 16132"/>
                <a:gd name="T12" fmla="*/ 1023 w 11062"/>
                <a:gd name="T13" fmla="*/ 11870 h 16132"/>
                <a:gd name="T14" fmla="*/ 1038 w 11062"/>
                <a:gd name="T15" fmla="*/ 10686 h 16132"/>
                <a:gd name="T16" fmla="*/ 1161 w 11062"/>
                <a:gd name="T17" fmla="*/ 9659 h 16132"/>
                <a:gd name="T18" fmla="*/ 1368 w 11062"/>
                <a:gd name="T19" fmla="*/ 8565 h 16132"/>
                <a:gd name="T20" fmla="*/ 1751 w 11062"/>
                <a:gd name="T21" fmla="*/ 6782 h 16132"/>
                <a:gd name="T22" fmla="*/ 1969 w 11062"/>
                <a:gd name="T23" fmla="*/ 5444 h 16132"/>
                <a:gd name="T24" fmla="*/ 2066 w 11062"/>
                <a:gd name="T25" fmla="*/ 3973 h 16132"/>
                <a:gd name="T26" fmla="*/ 2442 w 11062"/>
                <a:gd name="T27" fmla="*/ 3510 h 16132"/>
                <a:gd name="T28" fmla="*/ 3378 w 11062"/>
                <a:gd name="T29" fmla="*/ 5418 h 16132"/>
                <a:gd name="T30" fmla="*/ 3921 w 11062"/>
                <a:gd name="T31" fmla="*/ 7026 h 16132"/>
                <a:gd name="T32" fmla="*/ 4134 w 11062"/>
                <a:gd name="T33" fmla="*/ 7893 h 16132"/>
                <a:gd name="T34" fmla="*/ 4981 w 11062"/>
                <a:gd name="T35" fmla="*/ 6640 h 16132"/>
                <a:gd name="T36" fmla="*/ 5652 w 11062"/>
                <a:gd name="T37" fmla="*/ 5541 h 16132"/>
                <a:gd name="T38" fmla="*/ 6048 w 11062"/>
                <a:gd name="T39" fmla="*/ 5124 h 16132"/>
                <a:gd name="T40" fmla="*/ 6276 w 11062"/>
                <a:gd name="T41" fmla="*/ 6127 h 16132"/>
                <a:gd name="T42" fmla="*/ 6449 w 11062"/>
                <a:gd name="T43" fmla="*/ 7550 h 16132"/>
                <a:gd name="T44" fmla="*/ 6532 w 11062"/>
                <a:gd name="T45" fmla="*/ 9200 h 16132"/>
                <a:gd name="T46" fmla="*/ 6940 w 11062"/>
                <a:gd name="T47" fmla="*/ 9209 h 16132"/>
                <a:gd name="T48" fmla="*/ 7692 w 11062"/>
                <a:gd name="T49" fmla="*/ 8420 h 16132"/>
                <a:gd name="T50" fmla="*/ 8583 w 11062"/>
                <a:gd name="T51" fmla="*/ 7268 h 16132"/>
                <a:gd name="T52" fmla="*/ 9393 w 11062"/>
                <a:gd name="T53" fmla="*/ 7890 h 16132"/>
                <a:gd name="T54" fmla="*/ 9897 w 11062"/>
                <a:gd name="T55" fmla="*/ 9499 h 16132"/>
                <a:gd name="T56" fmla="*/ 10055 w 11062"/>
                <a:gd name="T57" fmla="*/ 11059 h 16132"/>
                <a:gd name="T58" fmla="*/ 8546 w 11062"/>
                <a:gd name="T59" fmla="*/ 4537 h 16132"/>
                <a:gd name="T60" fmla="*/ 8332 w 11062"/>
                <a:gd name="T61" fmla="*/ 5604 h 16132"/>
                <a:gd name="T62" fmla="*/ 7919 w 11062"/>
                <a:gd name="T63" fmla="*/ 6448 h 16132"/>
                <a:gd name="T64" fmla="*/ 7572 w 11062"/>
                <a:gd name="T65" fmla="*/ 6944 h 16132"/>
                <a:gd name="T66" fmla="*/ 7322 w 11062"/>
                <a:gd name="T67" fmla="*/ 5677 h 16132"/>
                <a:gd name="T68" fmla="*/ 6610 w 11062"/>
                <a:gd name="T69" fmla="*/ 3988 h 16132"/>
                <a:gd name="T70" fmla="*/ 5839 w 11062"/>
                <a:gd name="T71" fmla="*/ 2871 h 16132"/>
                <a:gd name="T72" fmla="*/ 5524 w 11062"/>
                <a:gd name="T73" fmla="*/ 2624 h 16132"/>
                <a:gd name="T74" fmla="*/ 5435 w 11062"/>
                <a:gd name="T75" fmla="*/ 3254 h 16132"/>
                <a:gd name="T76" fmla="*/ 5137 w 11062"/>
                <a:gd name="T77" fmla="*/ 4285 h 16132"/>
                <a:gd name="T78" fmla="*/ 4503 w 11062"/>
                <a:gd name="T79" fmla="*/ 5519 h 16132"/>
                <a:gd name="T80" fmla="*/ 3295 w 11062"/>
                <a:gd name="T81" fmla="*/ 2924 h 16132"/>
                <a:gd name="T82" fmla="*/ 1805 w 11062"/>
                <a:gd name="T83" fmla="*/ 1110 h 16132"/>
                <a:gd name="T84" fmla="*/ 701 w 11062"/>
                <a:gd name="T85" fmla="*/ 145 h 16132"/>
                <a:gd name="T86" fmla="*/ 1011 w 11062"/>
                <a:gd name="T87" fmla="*/ 2771 h 16132"/>
                <a:gd name="T88" fmla="*/ 870 w 11062"/>
                <a:gd name="T89" fmla="*/ 6014 h 16132"/>
                <a:gd name="T90" fmla="*/ 290 w 11062"/>
                <a:gd name="T91" fmla="*/ 8820 h 16132"/>
                <a:gd name="T92" fmla="*/ 6 w 11062"/>
                <a:gd name="T93" fmla="*/ 11760 h 16132"/>
                <a:gd name="T94" fmla="*/ 554 w 11062"/>
                <a:gd name="T95" fmla="*/ 13649 h 16132"/>
                <a:gd name="T96" fmla="*/ 1906 w 11062"/>
                <a:gd name="T97" fmla="*/ 15167 h 16132"/>
                <a:gd name="T98" fmla="*/ 3939 w 11062"/>
                <a:gd name="T99" fmla="*/ 16031 h 16132"/>
                <a:gd name="T100" fmla="*/ 6884 w 11062"/>
                <a:gd name="T101" fmla="*/ 16016 h 16132"/>
                <a:gd name="T102" fmla="*/ 9121 w 11062"/>
                <a:gd name="T103" fmla="*/ 15301 h 16132"/>
                <a:gd name="T104" fmla="*/ 10305 w 11062"/>
                <a:gd name="T105" fmla="*/ 14100 h 16132"/>
                <a:gd name="T106" fmla="*/ 10866 w 11062"/>
                <a:gd name="T107" fmla="*/ 12606 h 16132"/>
                <a:gd name="T108" fmla="*/ 11039 w 11062"/>
                <a:gd name="T109" fmla="*/ 10358 h 16132"/>
                <a:gd name="T110" fmla="*/ 10527 w 11062"/>
                <a:gd name="T111" fmla="*/ 8031 h 16132"/>
                <a:gd name="T112" fmla="*/ 9405 w 11062"/>
                <a:gd name="T113" fmla="*/ 5745 h 16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062" h="16132">
                  <a:moveTo>
                    <a:pt x="9891" y="12362"/>
                  </a:moveTo>
                  <a:lnTo>
                    <a:pt x="9860" y="12483"/>
                  </a:lnTo>
                  <a:lnTo>
                    <a:pt x="9829" y="12606"/>
                  </a:lnTo>
                  <a:lnTo>
                    <a:pt x="9795" y="12729"/>
                  </a:lnTo>
                  <a:lnTo>
                    <a:pt x="9760" y="12852"/>
                  </a:lnTo>
                  <a:lnTo>
                    <a:pt x="9722" y="12975"/>
                  </a:lnTo>
                  <a:lnTo>
                    <a:pt x="9680" y="13097"/>
                  </a:lnTo>
                  <a:lnTo>
                    <a:pt x="9634" y="13219"/>
                  </a:lnTo>
                  <a:lnTo>
                    <a:pt x="9581" y="13339"/>
                  </a:lnTo>
                  <a:lnTo>
                    <a:pt x="9524" y="13458"/>
                  </a:lnTo>
                  <a:lnTo>
                    <a:pt x="9461" y="13576"/>
                  </a:lnTo>
                  <a:lnTo>
                    <a:pt x="9389" y="13691"/>
                  </a:lnTo>
                  <a:lnTo>
                    <a:pt x="9311" y="13805"/>
                  </a:lnTo>
                  <a:lnTo>
                    <a:pt x="9223" y="13915"/>
                  </a:lnTo>
                  <a:lnTo>
                    <a:pt x="9127" y="14023"/>
                  </a:lnTo>
                  <a:lnTo>
                    <a:pt x="9020" y="14128"/>
                  </a:lnTo>
                  <a:lnTo>
                    <a:pt x="8904" y="14228"/>
                  </a:lnTo>
                  <a:lnTo>
                    <a:pt x="8775" y="14325"/>
                  </a:lnTo>
                  <a:lnTo>
                    <a:pt x="8635" y="14419"/>
                  </a:lnTo>
                  <a:lnTo>
                    <a:pt x="8482" y="14508"/>
                  </a:lnTo>
                  <a:lnTo>
                    <a:pt x="8316" y="14591"/>
                  </a:lnTo>
                  <a:lnTo>
                    <a:pt x="8136" y="14670"/>
                  </a:lnTo>
                  <a:lnTo>
                    <a:pt x="7941" y="14744"/>
                  </a:lnTo>
                  <a:lnTo>
                    <a:pt x="7730" y="14812"/>
                  </a:lnTo>
                  <a:lnTo>
                    <a:pt x="7503" y="14875"/>
                  </a:lnTo>
                  <a:lnTo>
                    <a:pt x="7260" y="14930"/>
                  </a:lnTo>
                  <a:lnTo>
                    <a:pt x="6999" y="14980"/>
                  </a:lnTo>
                  <a:lnTo>
                    <a:pt x="6719" y="15023"/>
                  </a:lnTo>
                  <a:lnTo>
                    <a:pt x="6422" y="15058"/>
                  </a:lnTo>
                  <a:lnTo>
                    <a:pt x="6104" y="15086"/>
                  </a:lnTo>
                  <a:lnTo>
                    <a:pt x="5766" y="15107"/>
                  </a:lnTo>
                  <a:lnTo>
                    <a:pt x="5407" y="15120"/>
                  </a:lnTo>
                  <a:lnTo>
                    <a:pt x="5027" y="15124"/>
                  </a:lnTo>
                  <a:lnTo>
                    <a:pt x="4794" y="15119"/>
                  </a:lnTo>
                  <a:lnTo>
                    <a:pt x="4567" y="15103"/>
                  </a:lnTo>
                  <a:lnTo>
                    <a:pt x="4346" y="15077"/>
                  </a:lnTo>
                  <a:lnTo>
                    <a:pt x="4132" y="15042"/>
                  </a:lnTo>
                  <a:lnTo>
                    <a:pt x="3924" y="14998"/>
                  </a:lnTo>
                  <a:lnTo>
                    <a:pt x="3722" y="14944"/>
                  </a:lnTo>
                  <a:lnTo>
                    <a:pt x="3525" y="14882"/>
                  </a:lnTo>
                  <a:lnTo>
                    <a:pt x="3336" y="14811"/>
                  </a:lnTo>
                  <a:lnTo>
                    <a:pt x="3155" y="14734"/>
                  </a:lnTo>
                  <a:lnTo>
                    <a:pt x="2979" y="14648"/>
                  </a:lnTo>
                  <a:lnTo>
                    <a:pt x="2811" y="14554"/>
                  </a:lnTo>
                  <a:lnTo>
                    <a:pt x="2649" y="14454"/>
                  </a:lnTo>
                  <a:lnTo>
                    <a:pt x="2494" y="14347"/>
                  </a:lnTo>
                  <a:lnTo>
                    <a:pt x="2346" y="14235"/>
                  </a:lnTo>
                  <a:lnTo>
                    <a:pt x="2206" y="14117"/>
                  </a:lnTo>
                  <a:lnTo>
                    <a:pt x="2073" y="13992"/>
                  </a:lnTo>
                  <a:lnTo>
                    <a:pt x="1946" y="13863"/>
                  </a:lnTo>
                  <a:lnTo>
                    <a:pt x="1829" y="13729"/>
                  </a:lnTo>
                  <a:lnTo>
                    <a:pt x="1718" y="13590"/>
                  </a:lnTo>
                  <a:lnTo>
                    <a:pt x="1614" y="13448"/>
                  </a:lnTo>
                  <a:lnTo>
                    <a:pt x="1519" y="13302"/>
                  </a:lnTo>
                  <a:lnTo>
                    <a:pt x="1432" y="13152"/>
                  </a:lnTo>
                  <a:lnTo>
                    <a:pt x="1352" y="12998"/>
                  </a:lnTo>
                  <a:lnTo>
                    <a:pt x="1280" y="12843"/>
                  </a:lnTo>
                  <a:lnTo>
                    <a:pt x="1216" y="12685"/>
                  </a:lnTo>
                  <a:lnTo>
                    <a:pt x="1161" y="12524"/>
                  </a:lnTo>
                  <a:lnTo>
                    <a:pt x="1114" y="12363"/>
                  </a:lnTo>
                  <a:lnTo>
                    <a:pt x="1076" y="12200"/>
                  </a:lnTo>
                  <a:lnTo>
                    <a:pt x="1045" y="12035"/>
                  </a:lnTo>
                  <a:lnTo>
                    <a:pt x="1023" y="11870"/>
                  </a:lnTo>
                  <a:lnTo>
                    <a:pt x="1010" y="11706"/>
                  </a:lnTo>
                  <a:lnTo>
                    <a:pt x="1006" y="11540"/>
                  </a:lnTo>
                  <a:lnTo>
                    <a:pt x="1006" y="11414"/>
                  </a:lnTo>
                  <a:lnTo>
                    <a:pt x="1008" y="11289"/>
                  </a:lnTo>
                  <a:lnTo>
                    <a:pt x="1012" y="11166"/>
                  </a:lnTo>
                  <a:lnTo>
                    <a:pt x="1017" y="11044"/>
                  </a:lnTo>
                  <a:lnTo>
                    <a:pt x="1023" y="10924"/>
                  </a:lnTo>
                  <a:lnTo>
                    <a:pt x="1030" y="10804"/>
                  </a:lnTo>
                  <a:lnTo>
                    <a:pt x="1038" y="10686"/>
                  </a:lnTo>
                  <a:lnTo>
                    <a:pt x="1048" y="10568"/>
                  </a:lnTo>
                  <a:lnTo>
                    <a:pt x="1059" y="10453"/>
                  </a:lnTo>
                  <a:lnTo>
                    <a:pt x="1071" y="10337"/>
                  </a:lnTo>
                  <a:lnTo>
                    <a:pt x="1084" y="10222"/>
                  </a:lnTo>
                  <a:lnTo>
                    <a:pt x="1097" y="10108"/>
                  </a:lnTo>
                  <a:lnTo>
                    <a:pt x="1112" y="9995"/>
                  </a:lnTo>
                  <a:lnTo>
                    <a:pt x="1128" y="9883"/>
                  </a:lnTo>
                  <a:lnTo>
                    <a:pt x="1144" y="9771"/>
                  </a:lnTo>
                  <a:lnTo>
                    <a:pt x="1161" y="9659"/>
                  </a:lnTo>
                  <a:lnTo>
                    <a:pt x="1179" y="9548"/>
                  </a:lnTo>
                  <a:lnTo>
                    <a:pt x="1197" y="9438"/>
                  </a:lnTo>
                  <a:lnTo>
                    <a:pt x="1217" y="9328"/>
                  </a:lnTo>
                  <a:lnTo>
                    <a:pt x="1237" y="9218"/>
                  </a:lnTo>
                  <a:lnTo>
                    <a:pt x="1258" y="9110"/>
                  </a:lnTo>
                  <a:lnTo>
                    <a:pt x="1279" y="9001"/>
                  </a:lnTo>
                  <a:lnTo>
                    <a:pt x="1301" y="8892"/>
                  </a:lnTo>
                  <a:lnTo>
                    <a:pt x="1322" y="8783"/>
                  </a:lnTo>
                  <a:lnTo>
                    <a:pt x="1368" y="8565"/>
                  </a:lnTo>
                  <a:lnTo>
                    <a:pt x="1414" y="8348"/>
                  </a:lnTo>
                  <a:lnTo>
                    <a:pt x="1463" y="8130"/>
                  </a:lnTo>
                  <a:lnTo>
                    <a:pt x="1511" y="7911"/>
                  </a:lnTo>
                  <a:lnTo>
                    <a:pt x="1572" y="7631"/>
                  </a:lnTo>
                  <a:lnTo>
                    <a:pt x="1634" y="7351"/>
                  </a:lnTo>
                  <a:lnTo>
                    <a:pt x="1664" y="7210"/>
                  </a:lnTo>
                  <a:lnTo>
                    <a:pt x="1694" y="7068"/>
                  </a:lnTo>
                  <a:lnTo>
                    <a:pt x="1723" y="6926"/>
                  </a:lnTo>
                  <a:lnTo>
                    <a:pt x="1751" y="6782"/>
                  </a:lnTo>
                  <a:lnTo>
                    <a:pt x="1779" y="6638"/>
                  </a:lnTo>
                  <a:lnTo>
                    <a:pt x="1806" y="6493"/>
                  </a:lnTo>
                  <a:lnTo>
                    <a:pt x="1834" y="6347"/>
                  </a:lnTo>
                  <a:lnTo>
                    <a:pt x="1859" y="6200"/>
                  </a:lnTo>
                  <a:lnTo>
                    <a:pt x="1883" y="6051"/>
                  </a:lnTo>
                  <a:lnTo>
                    <a:pt x="1907" y="5901"/>
                  </a:lnTo>
                  <a:lnTo>
                    <a:pt x="1929" y="5750"/>
                  </a:lnTo>
                  <a:lnTo>
                    <a:pt x="1949" y="5598"/>
                  </a:lnTo>
                  <a:lnTo>
                    <a:pt x="1969" y="5444"/>
                  </a:lnTo>
                  <a:lnTo>
                    <a:pt x="1987" y="5287"/>
                  </a:lnTo>
                  <a:lnTo>
                    <a:pt x="2004" y="5130"/>
                  </a:lnTo>
                  <a:lnTo>
                    <a:pt x="2018" y="4971"/>
                  </a:lnTo>
                  <a:lnTo>
                    <a:pt x="2031" y="4809"/>
                  </a:lnTo>
                  <a:lnTo>
                    <a:pt x="2042" y="4646"/>
                  </a:lnTo>
                  <a:lnTo>
                    <a:pt x="2051" y="4482"/>
                  </a:lnTo>
                  <a:lnTo>
                    <a:pt x="2059" y="4314"/>
                  </a:lnTo>
                  <a:lnTo>
                    <a:pt x="2064" y="4145"/>
                  </a:lnTo>
                  <a:lnTo>
                    <a:pt x="2066" y="3973"/>
                  </a:lnTo>
                  <a:lnTo>
                    <a:pt x="2067" y="3798"/>
                  </a:lnTo>
                  <a:lnTo>
                    <a:pt x="2065" y="3622"/>
                  </a:lnTo>
                  <a:lnTo>
                    <a:pt x="2061" y="3443"/>
                  </a:lnTo>
                  <a:lnTo>
                    <a:pt x="2054" y="3261"/>
                  </a:lnTo>
                  <a:lnTo>
                    <a:pt x="2044" y="3076"/>
                  </a:lnTo>
                  <a:lnTo>
                    <a:pt x="2032" y="2890"/>
                  </a:lnTo>
                  <a:lnTo>
                    <a:pt x="2174" y="3093"/>
                  </a:lnTo>
                  <a:lnTo>
                    <a:pt x="2311" y="3300"/>
                  </a:lnTo>
                  <a:lnTo>
                    <a:pt x="2442" y="3510"/>
                  </a:lnTo>
                  <a:lnTo>
                    <a:pt x="2567" y="3722"/>
                  </a:lnTo>
                  <a:lnTo>
                    <a:pt x="2687" y="3935"/>
                  </a:lnTo>
                  <a:lnTo>
                    <a:pt x="2802" y="4150"/>
                  </a:lnTo>
                  <a:lnTo>
                    <a:pt x="2910" y="4365"/>
                  </a:lnTo>
                  <a:lnTo>
                    <a:pt x="3014" y="4578"/>
                  </a:lnTo>
                  <a:lnTo>
                    <a:pt x="3112" y="4792"/>
                  </a:lnTo>
                  <a:lnTo>
                    <a:pt x="3206" y="5003"/>
                  </a:lnTo>
                  <a:lnTo>
                    <a:pt x="3294" y="5213"/>
                  </a:lnTo>
                  <a:lnTo>
                    <a:pt x="3378" y="5418"/>
                  </a:lnTo>
                  <a:lnTo>
                    <a:pt x="3457" y="5620"/>
                  </a:lnTo>
                  <a:lnTo>
                    <a:pt x="3531" y="5818"/>
                  </a:lnTo>
                  <a:lnTo>
                    <a:pt x="3600" y="6011"/>
                  </a:lnTo>
                  <a:lnTo>
                    <a:pt x="3664" y="6198"/>
                  </a:lnTo>
                  <a:lnTo>
                    <a:pt x="3725" y="6379"/>
                  </a:lnTo>
                  <a:lnTo>
                    <a:pt x="3780" y="6553"/>
                  </a:lnTo>
                  <a:lnTo>
                    <a:pt x="3831" y="6719"/>
                  </a:lnTo>
                  <a:lnTo>
                    <a:pt x="3877" y="6877"/>
                  </a:lnTo>
                  <a:lnTo>
                    <a:pt x="3921" y="7026"/>
                  </a:lnTo>
                  <a:lnTo>
                    <a:pt x="3959" y="7166"/>
                  </a:lnTo>
                  <a:lnTo>
                    <a:pt x="3993" y="7295"/>
                  </a:lnTo>
                  <a:lnTo>
                    <a:pt x="4023" y="7414"/>
                  </a:lnTo>
                  <a:lnTo>
                    <a:pt x="4050" y="7521"/>
                  </a:lnTo>
                  <a:lnTo>
                    <a:pt x="4072" y="7615"/>
                  </a:lnTo>
                  <a:lnTo>
                    <a:pt x="4091" y="7697"/>
                  </a:lnTo>
                  <a:lnTo>
                    <a:pt x="4108" y="7766"/>
                  </a:lnTo>
                  <a:lnTo>
                    <a:pt x="4128" y="7860"/>
                  </a:lnTo>
                  <a:lnTo>
                    <a:pt x="4134" y="7893"/>
                  </a:lnTo>
                  <a:lnTo>
                    <a:pt x="4150" y="7869"/>
                  </a:lnTo>
                  <a:lnTo>
                    <a:pt x="4197" y="7804"/>
                  </a:lnTo>
                  <a:lnTo>
                    <a:pt x="4269" y="7699"/>
                  </a:lnTo>
                  <a:lnTo>
                    <a:pt x="4366" y="7560"/>
                  </a:lnTo>
                  <a:lnTo>
                    <a:pt x="4480" y="7392"/>
                  </a:lnTo>
                  <a:lnTo>
                    <a:pt x="4611" y="7200"/>
                  </a:lnTo>
                  <a:lnTo>
                    <a:pt x="4753" y="6987"/>
                  </a:lnTo>
                  <a:lnTo>
                    <a:pt x="4904" y="6758"/>
                  </a:lnTo>
                  <a:lnTo>
                    <a:pt x="4981" y="6640"/>
                  </a:lnTo>
                  <a:lnTo>
                    <a:pt x="5059" y="6519"/>
                  </a:lnTo>
                  <a:lnTo>
                    <a:pt x="5137" y="6396"/>
                  </a:lnTo>
                  <a:lnTo>
                    <a:pt x="5215" y="6273"/>
                  </a:lnTo>
                  <a:lnTo>
                    <a:pt x="5292" y="6149"/>
                  </a:lnTo>
                  <a:lnTo>
                    <a:pt x="5368" y="6025"/>
                  </a:lnTo>
                  <a:lnTo>
                    <a:pt x="5443" y="5901"/>
                  </a:lnTo>
                  <a:lnTo>
                    <a:pt x="5515" y="5779"/>
                  </a:lnTo>
                  <a:lnTo>
                    <a:pt x="5585" y="5659"/>
                  </a:lnTo>
                  <a:lnTo>
                    <a:pt x="5652" y="5541"/>
                  </a:lnTo>
                  <a:lnTo>
                    <a:pt x="5715" y="5426"/>
                  </a:lnTo>
                  <a:lnTo>
                    <a:pt x="5774" y="5315"/>
                  </a:lnTo>
                  <a:lnTo>
                    <a:pt x="5830" y="5208"/>
                  </a:lnTo>
                  <a:lnTo>
                    <a:pt x="5880" y="5106"/>
                  </a:lnTo>
                  <a:lnTo>
                    <a:pt x="5925" y="5008"/>
                  </a:lnTo>
                  <a:lnTo>
                    <a:pt x="5964" y="4916"/>
                  </a:lnTo>
                  <a:lnTo>
                    <a:pt x="5992" y="4978"/>
                  </a:lnTo>
                  <a:lnTo>
                    <a:pt x="6020" y="5046"/>
                  </a:lnTo>
                  <a:lnTo>
                    <a:pt x="6048" y="5124"/>
                  </a:lnTo>
                  <a:lnTo>
                    <a:pt x="6075" y="5209"/>
                  </a:lnTo>
                  <a:lnTo>
                    <a:pt x="6101" y="5300"/>
                  </a:lnTo>
                  <a:lnTo>
                    <a:pt x="6128" y="5399"/>
                  </a:lnTo>
                  <a:lnTo>
                    <a:pt x="6153" y="5505"/>
                  </a:lnTo>
                  <a:lnTo>
                    <a:pt x="6179" y="5617"/>
                  </a:lnTo>
                  <a:lnTo>
                    <a:pt x="6205" y="5736"/>
                  </a:lnTo>
                  <a:lnTo>
                    <a:pt x="6229" y="5861"/>
                  </a:lnTo>
                  <a:lnTo>
                    <a:pt x="6253" y="5991"/>
                  </a:lnTo>
                  <a:lnTo>
                    <a:pt x="6276" y="6127"/>
                  </a:lnTo>
                  <a:lnTo>
                    <a:pt x="6298" y="6267"/>
                  </a:lnTo>
                  <a:lnTo>
                    <a:pt x="6320" y="6413"/>
                  </a:lnTo>
                  <a:lnTo>
                    <a:pt x="6341" y="6564"/>
                  </a:lnTo>
                  <a:lnTo>
                    <a:pt x="6361" y="6719"/>
                  </a:lnTo>
                  <a:lnTo>
                    <a:pt x="6380" y="6878"/>
                  </a:lnTo>
                  <a:lnTo>
                    <a:pt x="6400" y="7041"/>
                  </a:lnTo>
                  <a:lnTo>
                    <a:pt x="6417" y="7208"/>
                  </a:lnTo>
                  <a:lnTo>
                    <a:pt x="6433" y="7377"/>
                  </a:lnTo>
                  <a:lnTo>
                    <a:pt x="6449" y="7550"/>
                  </a:lnTo>
                  <a:lnTo>
                    <a:pt x="6463" y="7726"/>
                  </a:lnTo>
                  <a:lnTo>
                    <a:pt x="6476" y="7904"/>
                  </a:lnTo>
                  <a:lnTo>
                    <a:pt x="6488" y="8085"/>
                  </a:lnTo>
                  <a:lnTo>
                    <a:pt x="6498" y="8268"/>
                  </a:lnTo>
                  <a:lnTo>
                    <a:pt x="6508" y="8451"/>
                  </a:lnTo>
                  <a:lnTo>
                    <a:pt x="6516" y="8637"/>
                  </a:lnTo>
                  <a:lnTo>
                    <a:pt x="6523" y="8824"/>
                  </a:lnTo>
                  <a:lnTo>
                    <a:pt x="6528" y="9012"/>
                  </a:lnTo>
                  <a:lnTo>
                    <a:pt x="6532" y="9200"/>
                  </a:lnTo>
                  <a:lnTo>
                    <a:pt x="6534" y="9390"/>
                  </a:lnTo>
                  <a:lnTo>
                    <a:pt x="6535" y="9578"/>
                  </a:lnTo>
                  <a:lnTo>
                    <a:pt x="6550" y="9565"/>
                  </a:lnTo>
                  <a:lnTo>
                    <a:pt x="6595" y="9528"/>
                  </a:lnTo>
                  <a:lnTo>
                    <a:pt x="6665" y="9465"/>
                  </a:lnTo>
                  <a:lnTo>
                    <a:pt x="6759" y="9380"/>
                  </a:lnTo>
                  <a:lnTo>
                    <a:pt x="6815" y="9329"/>
                  </a:lnTo>
                  <a:lnTo>
                    <a:pt x="6875" y="9272"/>
                  </a:lnTo>
                  <a:lnTo>
                    <a:pt x="6940" y="9209"/>
                  </a:lnTo>
                  <a:lnTo>
                    <a:pt x="7011" y="9142"/>
                  </a:lnTo>
                  <a:lnTo>
                    <a:pt x="7084" y="9069"/>
                  </a:lnTo>
                  <a:lnTo>
                    <a:pt x="7162" y="8991"/>
                  </a:lnTo>
                  <a:lnTo>
                    <a:pt x="7243" y="8908"/>
                  </a:lnTo>
                  <a:lnTo>
                    <a:pt x="7327" y="8819"/>
                  </a:lnTo>
                  <a:lnTo>
                    <a:pt x="7415" y="8726"/>
                  </a:lnTo>
                  <a:lnTo>
                    <a:pt x="7505" y="8629"/>
                  </a:lnTo>
                  <a:lnTo>
                    <a:pt x="7598" y="8527"/>
                  </a:lnTo>
                  <a:lnTo>
                    <a:pt x="7692" y="8420"/>
                  </a:lnTo>
                  <a:lnTo>
                    <a:pt x="7789" y="8308"/>
                  </a:lnTo>
                  <a:lnTo>
                    <a:pt x="7886" y="8192"/>
                  </a:lnTo>
                  <a:lnTo>
                    <a:pt x="7985" y="8072"/>
                  </a:lnTo>
                  <a:lnTo>
                    <a:pt x="8084" y="7948"/>
                  </a:lnTo>
                  <a:lnTo>
                    <a:pt x="8184" y="7820"/>
                  </a:lnTo>
                  <a:lnTo>
                    <a:pt x="8284" y="7688"/>
                  </a:lnTo>
                  <a:lnTo>
                    <a:pt x="8384" y="7552"/>
                  </a:lnTo>
                  <a:lnTo>
                    <a:pt x="8483" y="7412"/>
                  </a:lnTo>
                  <a:lnTo>
                    <a:pt x="8583" y="7268"/>
                  </a:lnTo>
                  <a:lnTo>
                    <a:pt x="8681" y="7121"/>
                  </a:lnTo>
                  <a:lnTo>
                    <a:pt x="8777" y="6971"/>
                  </a:lnTo>
                  <a:lnTo>
                    <a:pt x="8872" y="6817"/>
                  </a:lnTo>
                  <a:lnTo>
                    <a:pt x="8969" y="6995"/>
                  </a:lnTo>
                  <a:lnTo>
                    <a:pt x="9062" y="7174"/>
                  </a:lnTo>
                  <a:lnTo>
                    <a:pt x="9150" y="7352"/>
                  </a:lnTo>
                  <a:lnTo>
                    <a:pt x="9235" y="7532"/>
                  </a:lnTo>
                  <a:lnTo>
                    <a:pt x="9316" y="7710"/>
                  </a:lnTo>
                  <a:lnTo>
                    <a:pt x="9393" y="7890"/>
                  </a:lnTo>
                  <a:lnTo>
                    <a:pt x="9466" y="8069"/>
                  </a:lnTo>
                  <a:lnTo>
                    <a:pt x="9534" y="8248"/>
                  </a:lnTo>
                  <a:lnTo>
                    <a:pt x="9598" y="8428"/>
                  </a:lnTo>
                  <a:lnTo>
                    <a:pt x="9659" y="8607"/>
                  </a:lnTo>
                  <a:lnTo>
                    <a:pt x="9715" y="8787"/>
                  </a:lnTo>
                  <a:lnTo>
                    <a:pt x="9767" y="8965"/>
                  </a:lnTo>
                  <a:lnTo>
                    <a:pt x="9814" y="9144"/>
                  </a:lnTo>
                  <a:lnTo>
                    <a:pt x="9858" y="9321"/>
                  </a:lnTo>
                  <a:lnTo>
                    <a:pt x="9897" y="9499"/>
                  </a:lnTo>
                  <a:lnTo>
                    <a:pt x="9932" y="9675"/>
                  </a:lnTo>
                  <a:lnTo>
                    <a:pt x="9963" y="9852"/>
                  </a:lnTo>
                  <a:lnTo>
                    <a:pt x="9989" y="10027"/>
                  </a:lnTo>
                  <a:lnTo>
                    <a:pt x="10011" y="10201"/>
                  </a:lnTo>
                  <a:lnTo>
                    <a:pt x="10029" y="10375"/>
                  </a:lnTo>
                  <a:lnTo>
                    <a:pt x="10042" y="10547"/>
                  </a:lnTo>
                  <a:lnTo>
                    <a:pt x="10051" y="10720"/>
                  </a:lnTo>
                  <a:lnTo>
                    <a:pt x="10055" y="10890"/>
                  </a:lnTo>
                  <a:lnTo>
                    <a:pt x="10055" y="11059"/>
                  </a:lnTo>
                  <a:lnTo>
                    <a:pt x="10051" y="11227"/>
                  </a:lnTo>
                  <a:lnTo>
                    <a:pt x="10042" y="11394"/>
                  </a:lnTo>
                  <a:lnTo>
                    <a:pt x="10028" y="11559"/>
                  </a:lnTo>
                  <a:lnTo>
                    <a:pt x="10009" y="11723"/>
                  </a:lnTo>
                  <a:lnTo>
                    <a:pt x="9986" y="11885"/>
                  </a:lnTo>
                  <a:lnTo>
                    <a:pt x="9959" y="12046"/>
                  </a:lnTo>
                  <a:lnTo>
                    <a:pt x="9927" y="12205"/>
                  </a:lnTo>
                  <a:lnTo>
                    <a:pt x="9891" y="12362"/>
                  </a:lnTo>
                  <a:close/>
                  <a:moveTo>
                    <a:pt x="8546" y="4537"/>
                  </a:moveTo>
                  <a:lnTo>
                    <a:pt x="8540" y="4663"/>
                  </a:lnTo>
                  <a:lnTo>
                    <a:pt x="8529" y="4787"/>
                  </a:lnTo>
                  <a:lnTo>
                    <a:pt x="8513" y="4910"/>
                  </a:lnTo>
                  <a:lnTo>
                    <a:pt x="8492" y="5031"/>
                  </a:lnTo>
                  <a:lnTo>
                    <a:pt x="8467" y="5150"/>
                  </a:lnTo>
                  <a:lnTo>
                    <a:pt x="8438" y="5267"/>
                  </a:lnTo>
                  <a:lnTo>
                    <a:pt x="8406" y="5382"/>
                  </a:lnTo>
                  <a:lnTo>
                    <a:pt x="8370" y="5494"/>
                  </a:lnTo>
                  <a:lnTo>
                    <a:pt x="8332" y="5604"/>
                  </a:lnTo>
                  <a:lnTo>
                    <a:pt x="8290" y="5712"/>
                  </a:lnTo>
                  <a:lnTo>
                    <a:pt x="8247" y="5816"/>
                  </a:lnTo>
                  <a:lnTo>
                    <a:pt x="8203" y="5916"/>
                  </a:lnTo>
                  <a:lnTo>
                    <a:pt x="8157" y="6014"/>
                  </a:lnTo>
                  <a:lnTo>
                    <a:pt x="8110" y="6108"/>
                  </a:lnTo>
                  <a:lnTo>
                    <a:pt x="8061" y="6199"/>
                  </a:lnTo>
                  <a:lnTo>
                    <a:pt x="8014" y="6286"/>
                  </a:lnTo>
                  <a:lnTo>
                    <a:pt x="7966" y="6369"/>
                  </a:lnTo>
                  <a:lnTo>
                    <a:pt x="7919" y="6448"/>
                  </a:lnTo>
                  <a:lnTo>
                    <a:pt x="7871" y="6522"/>
                  </a:lnTo>
                  <a:lnTo>
                    <a:pt x="7826" y="6593"/>
                  </a:lnTo>
                  <a:lnTo>
                    <a:pt x="7782" y="6658"/>
                  </a:lnTo>
                  <a:lnTo>
                    <a:pt x="7741" y="6719"/>
                  </a:lnTo>
                  <a:lnTo>
                    <a:pt x="7700" y="6774"/>
                  </a:lnTo>
                  <a:lnTo>
                    <a:pt x="7663" y="6825"/>
                  </a:lnTo>
                  <a:lnTo>
                    <a:pt x="7629" y="6870"/>
                  </a:lnTo>
                  <a:lnTo>
                    <a:pt x="7599" y="6911"/>
                  </a:lnTo>
                  <a:lnTo>
                    <a:pt x="7572" y="6944"/>
                  </a:lnTo>
                  <a:lnTo>
                    <a:pt x="7549" y="6972"/>
                  </a:lnTo>
                  <a:lnTo>
                    <a:pt x="7516" y="7011"/>
                  </a:lnTo>
                  <a:lnTo>
                    <a:pt x="7505" y="7024"/>
                  </a:lnTo>
                  <a:lnTo>
                    <a:pt x="7499" y="6791"/>
                  </a:lnTo>
                  <a:lnTo>
                    <a:pt x="7483" y="6560"/>
                  </a:lnTo>
                  <a:lnTo>
                    <a:pt x="7456" y="6334"/>
                  </a:lnTo>
                  <a:lnTo>
                    <a:pt x="7420" y="6110"/>
                  </a:lnTo>
                  <a:lnTo>
                    <a:pt x="7376" y="5891"/>
                  </a:lnTo>
                  <a:lnTo>
                    <a:pt x="7322" y="5677"/>
                  </a:lnTo>
                  <a:lnTo>
                    <a:pt x="7263" y="5468"/>
                  </a:lnTo>
                  <a:lnTo>
                    <a:pt x="7197" y="5262"/>
                  </a:lnTo>
                  <a:lnTo>
                    <a:pt x="7124" y="5062"/>
                  </a:lnTo>
                  <a:lnTo>
                    <a:pt x="7047" y="4868"/>
                  </a:lnTo>
                  <a:lnTo>
                    <a:pt x="6966" y="4679"/>
                  </a:lnTo>
                  <a:lnTo>
                    <a:pt x="6880" y="4497"/>
                  </a:lnTo>
                  <a:lnTo>
                    <a:pt x="6792" y="4320"/>
                  </a:lnTo>
                  <a:lnTo>
                    <a:pt x="6702" y="4151"/>
                  </a:lnTo>
                  <a:lnTo>
                    <a:pt x="6610" y="3988"/>
                  </a:lnTo>
                  <a:lnTo>
                    <a:pt x="6517" y="3832"/>
                  </a:lnTo>
                  <a:lnTo>
                    <a:pt x="6425" y="3683"/>
                  </a:lnTo>
                  <a:lnTo>
                    <a:pt x="6333" y="3542"/>
                  </a:lnTo>
                  <a:lnTo>
                    <a:pt x="6243" y="3409"/>
                  </a:lnTo>
                  <a:lnTo>
                    <a:pt x="6154" y="3284"/>
                  </a:lnTo>
                  <a:lnTo>
                    <a:pt x="6070" y="3168"/>
                  </a:lnTo>
                  <a:lnTo>
                    <a:pt x="5987" y="3060"/>
                  </a:lnTo>
                  <a:lnTo>
                    <a:pt x="5911" y="2961"/>
                  </a:lnTo>
                  <a:lnTo>
                    <a:pt x="5839" y="2871"/>
                  </a:lnTo>
                  <a:lnTo>
                    <a:pt x="5772" y="2792"/>
                  </a:lnTo>
                  <a:lnTo>
                    <a:pt x="5712" y="2721"/>
                  </a:lnTo>
                  <a:lnTo>
                    <a:pt x="5660" y="2661"/>
                  </a:lnTo>
                  <a:lnTo>
                    <a:pt x="5614" y="2611"/>
                  </a:lnTo>
                  <a:lnTo>
                    <a:pt x="5552" y="2544"/>
                  </a:lnTo>
                  <a:lnTo>
                    <a:pt x="5530" y="2521"/>
                  </a:lnTo>
                  <a:lnTo>
                    <a:pt x="5529" y="2538"/>
                  </a:lnTo>
                  <a:lnTo>
                    <a:pt x="5527" y="2588"/>
                  </a:lnTo>
                  <a:lnTo>
                    <a:pt x="5524" y="2624"/>
                  </a:lnTo>
                  <a:lnTo>
                    <a:pt x="5521" y="2669"/>
                  </a:lnTo>
                  <a:lnTo>
                    <a:pt x="5516" y="2719"/>
                  </a:lnTo>
                  <a:lnTo>
                    <a:pt x="5510" y="2778"/>
                  </a:lnTo>
                  <a:lnTo>
                    <a:pt x="5503" y="2842"/>
                  </a:lnTo>
                  <a:lnTo>
                    <a:pt x="5493" y="2913"/>
                  </a:lnTo>
                  <a:lnTo>
                    <a:pt x="5482" y="2989"/>
                  </a:lnTo>
                  <a:lnTo>
                    <a:pt x="5469" y="3072"/>
                  </a:lnTo>
                  <a:lnTo>
                    <a:pt x="5453" y="3161"/>
                  </a:lnTo>
                  <a:lnTo>
                    <a:pt x="5435" y="3254"/>
                  </a:lnTo>
                  <a:lnTo>
                    <a:pt x="5414" y="3352"/>
                  </a:lnTo>
                  <a:lnTo>
                    <a:pt x="5391" y="3455"/>
                  </a:lnTo>
                  <a:lnTo>
                    <a:pt x="5365" y="3563"/>
                  </a:lnTo>
                  <a:lnTo>
                    <a:pt x="5336" y="3674"/>
                  </a:lnTo>
                  <a:lnTo>
                    <a:pt x="5304" y="3790"/>
                  </a:lnTo>
                  <a:lnTo>
                    <a:pt x="5268" y="3909"/>
                  </a:lnTo>
                  <a:lnTo>
                    <a:pt x="5227" y="4031"/>
                  </a:lnTo>
                  <a:lnTo>
                    <a:pt x="5184" y="4156"/>
                  </a:lnTo>
                  <a:lnTo>
                    <a:pt x="5137" y="4285"/>
                  </a:lnTo>
                  <a:lnTo>
                    <a:pt x="5086" y="4415"/>
                  </a:lnTo>
                  <a:lnTo>
                    <a:pt x="5029" y="4548"/>
                  </a:lnTo>
                  <a:lnTo>
                    <a:pt x="4969" y="4683"/>
                  </a:lnTo>
                  <a:lnTo>
                    <a:pt x="4904" y="4819"/>
                  </a:lnTo>
                  <a:lnTo>
                    <a:pt x="4834" y="4958"/>
                  </a:lnTo>
                  <a:lnTo>
                    <a:pt x="4759" y="5097"/>
                  </a:lnTo>
                  <a:lnTo>
                    <a:pt x="4680" y="5237"/>
                  </a:lnTo>
                  <a:lnTo>
                    <a:pt x="4594" y="5378"/>
                  </a:lnTo>
                  <a:lnTo>
                    <a:pt x="4503" y="5519"/>
                  </a:lnTo>
                  <a:lnTo>
                    <a:pt x="4403" y="5195"/>
                  </a:lnTo>
                  <a:lnTo>
                    <a:pt x="4293" y="4878"/>
                  </a:lnTo>
                  <a:lnTo>
                    <a:pt x="4173" y="4571"/>
                  </a:lnTo>
                  <a:lnTo>
                    <a:pt x="4043" y="4274"/>
                  </a:lnTo>
                  <a:lnTo>
                    <a:pt x="3906" y="3985"/>
                  </a:lnTo>
                  <a:lnTo>
                    <a:pt x="3762" y="3705"/>
                  </a:lnTo>
                  <a:lnTo>
                    <a:pt x="3611" y="3435"/>
                  </a:lnTo>
                  <a:lnTo>
                    <a:pt x="3455" y="3175"/>
                  </a:lnTo>
                  <a:lnTo>
                    <a:pt x="3295" y="2924"/>
                  </a:lnTo>
                  <a:lnTo>
                    <a:pt x="3131" y="2683"/>
                  </a:lnTo>
                  <a:lnTo>
                    <a:pt x="2965" y="2451"/>
                  </a:lnTo>
                  <a:lnTo>
                    <a:pt x="2797" y="2229"/>
                  </a:lnTo>
                  <a:lnTo>
                    <a:pt x="2628" y="2018"/>
                  </a:lnTo>
                  <a:lnTo>
                    <a:pt x="2459" y="1816"/>
                  </a:lnTo>
                  <a:lnTo>
                    <a:pt x="2292" y="1624"/>
                  </a:lnTo>
                  <a:lnTo>
                    <a:pt x="2126" y="1443"/>
                  </a:lnTo>
                  <a:lnTo>
                    <a:pt x="1964" y="1271"/>
                  </a:lnTo>
                  <a:lnTo>
                    <a:pt x="1805" y="1110"/>
                  </a:lnTo>
                  <a:lnTo>
                    <a:pt x="1651" y="960"/>
                  </a:lnTo>
                  <a:lnTo>
                    <a:pt x="1503" y="820"/>
                  </a:lnTo>
                  <a:lnTo>
                    <a:pt x="1361" y="691"/>
                  </a:lnTo>
                  <a:lnTo>
                    <a:pt x="1227" y="573"/>
                  </a:lnTo>
                  <a:lnTo>
                    <a:pt x="1102" y="465"/>
                  </a:lnTo>
                  <a:lnTo>
                    <a:pt x="985" y="368"/>
                  </a:lnTo>
                  <a:lnTo>
                    <a:pt x="879" y="283"/>
                  </a:lnTo>
                  <a:lnTo>
                    <a:pt x="784" y="209"/>
                  </a:lnTo>
                  <a:lnTo>
                    <a:pt x="701" y="145"/>
                  </a:lnTo>
                  <a:lnTo>
                    <a:pt x="631" y="93"/>
                  </a:lnTo>
                  <a:lnTo>
                    <a:pt x="534" y="23"/>
                  </a:lnTo>
                  <a:lnTo>
                    <a:pt x="501" y="0"/>
                  </a:lnTo>
                  <a:lnTo>
                    <a:pt x="630" y="507"/>
                  </a:lnTo>
                  <a:lnTo>
                    <a:pt x="742" y="995"/>
                  </a:lnTo>
                  <a:lnTo>
                    <a:pt x="834" y="1464"/>
                  </a:lnTo>
                  <a:lnTo>
                    <a:pt x="910" y="1916"/>
                  </a:lnTo>
                  <a:lnTo>
                    <a:pt x="968" y="2351"/>
                  </a:lnTo>
                  <a:lnTo>
                    <a:pt x="1011" y="2771"/>
                  </a:lnTo>
                  <a:lnTo>
                    <a:pt x="1040" y="3176"/>
                  </a:lnTo>
                  <a:lnTo>
                    <a:pt x="1056" y="3567"/>
                  </a:lnTo>
                  <a:lnTo>
                    <a:pt x="1059" y="3946"/>
                  </a:lnTo>
                  <a:lnTo>
                    <a:pt x="1050" y="4313"/>
                  </a:lnTo>
                  <a:lnTo>
                    <a:pt x="1030" y="4671"/>
                  </a:lnTo>
                  <a:lnTo>
                    <a:pt x="1001" y="5018"/>
                  </a:lnTo>
                  <a:lnTo>
                    <a:pt x="965" y="5358"/>
                  </a:lnTo>
                  <a:lnTo>
                    <a:pt x="920" y="5690"/>
                  </a:lnTo>
                  <a:lnTo>
                    <a:pt x="870" y="6014"/>
                  </a:lnTo>
                  <a:lnTo>
                    <a:pt x="813" y="6335"/>
                  </a:lnTo>
                  <a:lnTo>
                    <a:pt x="753" y="6650"/>
                  </a:lnTo>
                  <a:lnTo>
                    <a:pt x="689" y="6962"/>
                  </a:lnTo>
                  <a:lnTo>
                    <a:pt x="622" y="7271"/>
                  </a:lnTo>
                  <a:lnTo>
                    <a:pt x="554" y="7580"/>
                  </a:lnTo>
                  <a:lnTo>
                    <a:pt x="486" y="7888"/>
                  </a:lnTo>
                  <a:lnTo>
                    <a:pt x="418" y="8197"/>
                  </a:lnTo>
                  <a:lnTo>
                    <a:pt x="353" y="8507"/>
                  </a:lnTo>
                  <a:lnTo>
                    <a:pt x="290" y="8820"/>
                  </a:lnTo>
                  <a:lnTo>
                    <a:pt x="229" y="9137"/>
                  </a:lnTo>
                  <a:lnTo>
                    <a:pt x="175" y="9457"/>
                  </a:lnTo>
                  <a:lnTo>
                    <a:pt x="126" y="9784"/>
                  </a:lnTo>
                  <a:lnTo>
                    <a:pt x="83" y="10118"/>
                  </a:lnTo>
                  <a:lnTo>
                    <a:pt x="48" y="10460"/>
                  </a:lnTo>
                  <a:lnTo>
                    <a:pt x="22" y="10809"/>
                  </a:lnTo>
                  <a:lnTo>
                    <a:pt x="6" y="11169"/>
                  </a:lnTo>
                  <a:lnTo>
                    <a:pt x="0" y="11540"/>
                  </a:lnTo>
                  <a:lnTo>
                    <a:pt x="6" y="11760"/>
                  </a:lnTo>
                  <a:lnTo>
                    <a:pt x="23" y="11980"/>
                  </a:lnTo>
                  <a:lnTo>
                    <a:pt x="51" y="12198"/>
                  </a:lnTo>
                  <a:lnTo>
                    <a:pt x="91" y="12414"/>
                  </a:lnTo>
                  <a:lnTo>
                    <a:pt x="142" y="12627"/>
                  </a:lnTo>
                  <a:lnTo>
                    <a:pt x="203" y="12838"/>
                  </a:lnTo>
                  <a:lnTo>
                    <a:pt x="275" y="13047"/>
                  </a:lnTo>
                  <a:lnTo>
                    <a:pt x="358" y="13251"/>
                  </a:lnTo>
                  <a:lnTo>
                    <a:pt x="450" y="13452"/>
                  </a:lnTo>
                  <a:lnTo>
                    <a:pt x="554" y="13649"/>
                  </a:lnTo>
                  <a:lnTo>
                    <a:pt x="666" y="13841"/>
                  </a:lnTo>
                  <a:lnTo>
                    <a:pt x="789" y="14028"/>
                  </a:lnTo>
                  <a:lnTo>
                    <a:pt x="922" y="14210"/>
                  </a:lnTo>
                  <a:lnTo>
                    <a:pt x="1063" y="14386"/>
                  </a:lnTo>
                  <a:lnTo>
                    <a:pt x="1213" y="14556"/>
                  </a:lnTo>
                  <a:lnTo>
                    <a:pt x="1374" y="14719"/>
                  </a:lnTo>
                  <a:lnTo>
                    <a:pt x="1542" y="14876"/>
                  </a:lnTo>
                  <a:lnTo>
                    <a:pt x="1720" y="15025"/>
                  </a:lnTo>
                  <a:lnTo>
                    <a:pt x="1906" y="15167"/>
                  </a:lnTo>
                  <a:lnTo>
                    <a:pt x="2101" y="15300"/>
                  </a:lnTo>
                  <a:lnTo>
                    <a:pt x="2303" y="15425"/>
                  </a:lnTo>
                  <a:lnTo>
                    <a:pt x="2514" y="15541"/>
                  </a:lnTo>
                  <a:lnTo>
                    <a:pt x="2733" y="15648"/>
                  </a:lnTo>
                  <a:lnTo>
                    <a:pt x="2960" y="15746"/>
                  </a:lnTo>
                  <a:lnTo>
                    <a:pt x="3193" y="15834"/>
                  </a:lnTo>
                  <a:lnTo>
                    <a:pt x="3434" y="15910"/>
                  </a:lnTo>
                  <a:lnTo>
                    <a:pt x="3683" y="15977"/>
                  </a:lnTo>
                  <a:lnTo>
                    <a:pt x="3939" y="16031"/>
                  </a:lnTo>
                  <a:lnTo>
                    <a:pt x="4201" y="16075"/>
                  </a:lnTo>
                  <a:lnTo>
                    <a:pt x="4469" y="16107"/>
                  </a:lnTo>
                  <a:lnTo>
                    <a:pt x="4745" y="16126"/>
                  </a:lnTo>
                  <a:lnTo>
                    <a:pt x="5027" y="16132"/>
                  </a:lnTo>
                  <a:lnTo>
                    <a:pt x="5439" y="16127"/>
                  </a:lnTo>
                  <a:lnTo>
                    <a:pt x="5830" y="16113"/>
                  </a:lnTo>
                  <a:lnTo>
                    <a:pt x="6201" y="16090"/>
                  </a:lnTo>
                  <a:lnTo>
                    <a:pt x="6551" y="16057"/>
                  </a:lnTo>
                  <a:lnTo>
                    <a:pt x="6884" y="16016"/>
                  </a:lnTo>
                  <a:lnTo>
                    <a:pt x="7198" y="15967"/>
                  </a:lnTo>
                  <a:lnTo>
                    <a:pt x="7494" y="15909"/>
                  </a:lnTo>
                  <a:lnTo>
                    <a:pt x="7774" y="15844"/>
                  </a:lnTo>
                  <a:lnTo>
                    <a:pt x="8036" y="15771"/>
                  </a:lnTo>
                  <a:lnTo>
                    <a:pt x="8282" y="15690"/>
                  </a:lnTo>
                  <a:lnTo>
                    <a:pt x="8514" y="15603"/>
                  </a:lnTo>
                  <a:lnTo>
                    <a:pt x="8731" y="15509"/>
                  </a:lnTo>
                  <a:lnTo>
                    <a:pt x="8933" y="15408"/>
                  </a:lnTo>
                  <a:lnTo>
                    <a:pt x="9121" y="15301"/>
                  </a:lnTo>
                  <a:lnTo>
                    <a:pt x="9297" y="15188"/>
                  </a:lnTo>
                  <a:lnTo>
                    <a:pt x="9461" y="15069"/>
                  </a:lnTo>
                  <a:lnTo>
                    <a:pt x="9611" y="14945"/>
                  </a:lnTo>
                  <a:lnTo>
                    <a:pt x="9752" y="14816"/>
                  </a:lnTo>
                  <a:lnTo>
                    <a:pt x="9882" y="14681"/>
                  </a:lnTo>
                  <a:lnTo>
                    <a:pt x="10001" y="14543"/>
                  </a:lnTo>
                  <a:lnTo>
                    <a:pt x="10111" y="14399"/>
                  </a:lnTo>
                  <a:lnTo>
                    <a:pt x="10213" y="14252"/>
                  </a:lnTo>
                  <a:lnTo>
                    <a:pt x="10305" y="14100"/>
                  </a:lnTo>
                  <a:lnTo>
                    <a:pt x="10390" y="13945"/>
                  </a:lnTo>
                  <a:lnTo>
                    <a:pt x="10468" y="13787"/>
                  </a:lnTo>
                  <a:lnTo>
                    <a:pt x="10540" y="13625"/>
                  </a:lnTo>
                  <a:lnTo>
                    <a:pt x="10606" y="13461"/>
                  </a:lnTo>
                  <a:lnTo>
                    <a:pt x="10666" y="13294"/>
                  </a:lnTo>
                  <a:lnTo>
                    <a:pt x="10721" y="13124"/>
                  </a:lnTo>
                  <a:lnTo>
                    <a:pt x="10772" y="12954"/>
                  </a:lnTo>
                  <a:lnTo>
                    <a:pt x="10821" y="12781"/>
                  </a:lnTo>
                  <a:lnTo>
                    <a:pt x="10866" y="12606"/>
                  </a:lnTo>
                  <a:lnTo>
                    <a:pt x="10921" y="12364"/>
                  </a:lnTo>
                  <a:lnTo>
                    <a:pt x="10967" y="12119"/>
                  </a:lnTo>
                  <a:lnTo>
                    <a:pt x="11004" y="11873"/>
                  </a:lnTo>
                  <a:lnTo>
                    <a:pt x="11032" y="11624"/>
                  </a:lnTo>
                  <a:lnTo>
                    <a:pt x="11051" y="11374"/>
                  </a:lnTo>
                  <a:lnTo>
                    <a:pt x="11061" y="11122"/>
                  </a:lnTo>
                  <a:lnTo>
                    <a:pt x="11062" y="10868"/>
                  </a:lnTo>
                  <a:lnTo>
                    <a:pt x="11055" y="10614"/>
                  </a:lnTo>
                  <a:lnTo>
                    <a:pt x="11039" y="10358"/>
                  </a:lnTo>
                  <a:lnTo>
                    <a:pt x="11015" y="10101"/>
                  </a:lnTo>
                  <a:lnTo>
                    <a:pt x="10982" y="9843"/>
                  </a:lnTo>
                  <a:lnTo>
                    <a:pt x="10941" y="9584"/>
                  </a:lnTo>
                  <a:lnTo>
                    <a:pt x="10892" y="9325"/>
                  </a:lnTo>
                  <a:lnTo>
                    <a:pt x="10835" y="9066"/>
                  </a:lnTo>
                  <a:lnTo>
                    <a:pt x="10769" y="8807"/>
                  </a:lnTo>
                  <a:lnTo>
                    <a:pt x="10696" y="8548"/>
                  </a:lnTo>
                  <a:lnTo>
                    <a:pt x="10616" y="8289"/>
                  </a:lnTo>
                  <a:lnTo>
                    <a:pt x="10527" y="8031"/>
                  </a:lnTo>
                  <a:lnTo>
                    <a:pt x="10432" y="7772"/>
                  </a:lnTo>
                  <a:lnTo>
                    <a:pt x="10328" y="7514"/>
                  </a:lnTo>
                  <a:lnTo>
                    <a:pt x="10218" y="7257"/>
                  </a:lnTo>
                  <a:lnTo>
                    <a:pt x="10100" y="7002"/>
                  </a:lnTo>
                  <a:lnTo>
                    <a:pt x="9974" y="6747"/>
                  </a:lnTo>
                  <a:lnTo>
                    <a:pt x="9843" y="6494"/>
                  </a:lnTo>
                  <a:lnTo>
                    <a:pt x="9704" y="6243"/>
                  </a:lnTo>
                  <a:lnTo>
                    <a:pt x="9558" y="5993"/>
                  </a:lnTo>
                  <a:lnTo>
                    <a:pt x="9405" y="5745"/>
                  </a:lnTo>
                  <a:lnTo>
                    <a:pt x="9246" y="5498"/>
                  </a:lnTo>
                  <a:lnTo>
                    <a:pt x="9081" y="5254"/>
                  </a:lnTo>
                  <a:lnTo>
                    <a:pt x="8909" y="5013"/>
                  </a:lnTo>
                  <a:lnTo>
                    <a:pt x="8730" y="4774"/>
                  </a:lnTo>
                  <a:lnTo>
                    <a:pt x="8546" y="45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90" name="ïṩ1ídé">
              <a:extLst>
                <a:ext uri="{FF2B5EF4-FFF2-40B4-BE49-F238E27FC236}">
                  <a16:creationId xmlns:a16="http://schemas.microsoft.com/office/drawing/2014/main" id="{4FEA6D0B-9CFB-45D5-BE23-C19F5B28FE43}"/>
                </a:ext>
              </a:extLst>
            </p:cNvPr>
            <p:cNvSpPr/>
            <p:nvPr/>
          </p:nvSpPr>
          <p:spPr bwMode="auto">
            <a:xfrm>
              <a:off x="10174438" y="242038"/>
              <a:ext cx="153880" cy="124380"/>
            </a:xfrm>
            <a:custGeom>
              <a:avLst/>
              <a:gdLst>
                <a:gd name="T0" fmla="*/ 6161 w 7135"/>
                <a:gd name="T1" fmla="*/ 2475 h 5775"/>
                <a:gd name="T2" fmla="*/ 5762 w 7135"/>
                <a:gd name="T3" fmla="*/ 2876 h 5775"/>
                <a:gd name="T4" fmla="*/ 5263 w 7135"/>
                <a:gd name="T5" fmla="*/ 3283 h 5775"/>
                <a:gd name="T6" fmla="*/ 4610 w 7135"/>
                <a:gd name="T7" fmla="*/ 3704 h 5775"/>
                <a:gd name="T8" fmla="*/ 4041 w 7135"/>
                <a:gd name="T9" fmla="*/ 3621 h 5775"/>
                <a:gd name="T10" fmla="*/ 3918 w 7135"/>
                <a:gd name="T11" fmla="*/ 3141 h 5775"/>
                <a:gd name="T12" fmla="*/ 3836 w 7135"/>
                <a:gd name="T13" fmla="*/ 2666 h 5775"/>
                <a:gd name="T14" fmla="*/ 3788 w 7135"/>
                <a:gd name="T15" fmla="*/ 2122 h 5775"/>
                <a:gd name="T16" fmla="*/ 2970 w 7135"/>
                <a:gd name="T17" fmla="*/ 2186 h 5775"/>
                <a:gd name="T18" fmla="*/ 2646 w 7135"/>
                <a:gd name="T19" fmla="*/ 2694 h 5775"/>
                <a:gd name="T20" fmla="*/ 2288 w 7135"/>
                <a:gd name="T21" fmla="*/ 3226 h 5775"/>
                <a:gd name="T22" fmla="*/ 1744 w 7135"/>
                <a:gd name="T23" fmla="*/ 2191 h 5775"/>
                <a:gd name="T24" fmla="*/ 1302 w 7135"/>
                <a:gd name="T25" fmla="*/ 1101 h 5775"/>
                <a:gd name="T26" fmla="*/ 523 w 7135"/>
                <a:gd name="T27" fmla="*/ 1126 h 5775"/>
                <a:gd name="T28" fmla="*/ 322 w 7135"/>
                <a:gd name="T29" fmla="*/ 1803 h 5775"/>
                <a:gd name="T30" fmla="*/ 155 w 7135"/>
                <a:gd name="T31" fmla="*/ 2614 h 5775"/>
                <a:gd name="T32" fmla="*/ 42 w 7135"/>
                <a:gd name="T33" fmla="*/ 3654 h 5775"/>
                <a:gd name="T34" fmla="*/ 0 w 7135"/>
                <a:gd name="T35" fmla="*/ 5018 h 5775"/>
                <a:gd name="T36" fmla="*/ 15 w 7135"/>
                <a:gd name="T37" fmla="*/ 5105 h 5775"/>
                <a:gd name="T38" fmla="*/ 57 w 7135"/>
                <a:gd name="T39" fmla="*/ 5179 h 5775"/>
                <a:gd name="T40" fmla="*/ 120 w 7135"/>
                <a:gd name="T41" fmla="*/ 5234 h 5775"/>
                <a:gd name="T42" fmla="*/ 201 w 7135"/>
                <a:gd name="T43" fmla="*/ 5265 h 5775"/>
                <a:gd name="T44" fmla="*/ 289 w 7135"/>
                <a:gd name="T45" fmla="*/ 5267 h 5775"/>
                <a:gd name="T46" fmla="*/ 370 w 7135"/>
                <a:gd name="T47" fmla="*/ 5240 h 5775"/>
                <a:gd name="T48" fmla="*/ 437 w 7135"/>
                <a:gd name="T49" fmla="*/ 5188 h 5775"/>
                <a:gd name="T50" fmla="*/ 482 w 7135"/>
                <a:gd name="T51" fmla="*/ 5117 h 5775"/>
                <a:gd name="T52" fmla="*/ 502 w 7135"/>
                <a:gd name="T53" fmla="*/ 5032 h 5775"/>
                <a:gd name="T54" fmla="*/ 520 w 7135"/>
                <a:gd name="T55" fmla="*/ 4087 h 5775"/>
                <a:gd name="T56" fmla="*/ 584 w 7135"/>
                <a:gd name="T57" fmla="*/ 3203 h 5775"/>
                <a:gd name="T58" fmla="*/ 685 w 7135"/>
                <a:gd name="T59" fmla="*/ 2490 h 5775"/>
                <a:gd name="T60" fmla="*/ 816 w 7135"/>
                <a:gd name="T61" fmla="*/ 1897 h 5775"/>
                <a:gd name="T62" fmla="*/ 1026 w 7135"/>
                <a:gd name="T63" fmla="*/ 1774 h 5775"/>
                <a:gd name="T64" fmla="*/ 1436 w 7135"/>
                <a:gd name="T65" fmla="*/ 2753 h 5775"/>
                <a:gd name="T66" fmla="*/ 1949 w 7135"/>
                <a:gd name="T67" fmla="*/ 3914 h 5775"/>
                <a:gd name="T68" fmla="*/ 2728 w 7135"/>
                <a:gd name="T69" fmla="*/ 3474 h 5775"/>
                <a:gd name="T70" fmla="*/ 3116 w 7135"/>
                <a:gd name="T71" fmla="*/ 2895 h 5775"/>
                <a:gd name="T72" fmla="*/ 3343 w 7135"/>
                <a:gd name="T73" fmla="*/ 2782 h 5775"/>
                <a:gd name="T74" fmla="*/ 3419 w 7135"/>
                <a:gd name="T75" fmla="*/ 3221 h 5775"/>
                <a:gd name="T76" fmla="*/ 3595 w 7135"/>
                <a:gd name="T77" fmla="*/ 3883 h 5775"/>
                <a:gd name="T78" fmla="*/ 4108 w 7135"/>
                <a:gd name="T79" fmla="*/ 4532 h 5775"/>
                <a:gd name="T80" fmla="*/ 4902 w 7135"/>
                <a:gd name="T81" fmla="*/ 4116 h 5775"/>
                <a:gd name="T82" fmla="*/ 5527 w 7135"/>
                <a:gd name="T83" fmla="*/ 3714 h 5775"/>
                <a:gd name="T84" fmla="*/ 6017 w 7135"/>
                <a:gd name="T85" fmla="*/ 3324 h 5775"/>
                <a:gd name="T86" fmla="*/ 6411 w 7135"/>
                <a:gd name="T87" fmla="*/ 2943 h 5775"/>
                <a:gd name="T88" fmla="*/ 6624 w 7135"/>
                <a:gd name="T89" fmla="*/ 2997 h 5775"/>
                <a:gd name="T90" fmla="*/ 6623 w 7135"/>
                <a:gd name="T91" fmla="*/ 3626 h 5775"/>
                <a:gd name="T92" fmla="*/ 6567 w 7135"/>
                <a:gd name="T93" fmla="*/ 4245 h 5775"/>
                <a:gd name="T94" fmla="*/ 6457 w 7135"/>
                <a:gd name="T95" fmla="*/ 4831 h 5775"/>
                <a:gd name="T96" fmla="*/ 6297 w 7135"/>
                <a:gd name="T97" fmla="*/ 5360 h 5775"/>
                <a:gd name="T98" fmla="*/ 6251 w 7135"/>
                <a:gd name="T99" fmla="*/ 5502 h 5775"/>
                <a:gd name="T100" fmla="*/ 6259 w 7135"/>
                <a:gd name="T101" fmla="*/ 5587 h 5775"/>
                <a:gd name="T102" fmla="*/ 6295 w 7135"/>
                <a:gd name="T103" fmla="*/ 5664 h 5775"/>
                <a:gd name="T104" fmla="*/ 6353 w 7135"/>
                <a:gd name="T105" fmla="*/ 5726 h 5775"/>
                <a:gd name="T106" fmla="*/ 6431 w 7135"/>
                <a:gd name="T107" fmla="*/ 5765 h 5775"/>
                <a:gd name="T108" fmla="*/ 6522 w 7135"/>
                <a:gd name="T109" fmla="*/ 5775 h 5775"/>
                <a:gd name="T110" fmla="*/ 6641 w 7135"/>
                <a:gd name="T111" fmla="*/ 5733 h 5775"/>
                <a:gd name="T112" fmla="*/ 6728 w 7135"/>
                <a:gd name="T113" fmla="*/ 5635 h 5775"/>
                <a:gd name="T114" fmla="*/ 6926 w 7135"/>
                <a:gd name="T115" fmla="*/ 5033 h 5775"/>
                <a:gd name="T116" fmla="*/ 7072 w 7135"/>
                <a:gd name="T117" fmla="*/ 4273 h 5775"/>
                <a:gd name="T118" fmla="*/ 7134 w 7135"/>
                <a:gd name="T119" fmla="*/ 3469 h 5775"/>
                <a:gd name="T120" fmla="*/ 7108 w 7135"/>
                <a:gd name="T121" fmla="*/ 2658 h 5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135" h="5775">
                  <a:moveTo>
                    <a:pt x="6940" y="1575"/>
                  </a:moveTo>
                  <a:lnTo>
                    <a:pt x="6513" y="2072"/>
                  </a:lnTo>
                  <a:lnTo>
                    <a:pt x="6413" y="2188"/>
                  </a:lnTo>
                  <a:lnTo>
                    <a:pt x="6314" y="2303"/>
                  </a:lnTo>
                  <a:lnTo>
                    <a:pt x="6263" y="2361"/>
                  </a:lnTo>
                  <a:lnTo>
                    <a:pt x="6212" y="2418"/>
                  </a:lnTo>
                  <a:lnTo>
                    <a:pt x="6161" y="2475"/>
                  </a:lnTo>
                  <a:lnTo>
                    <a:pt x="6108" y="2532"/>
                  </a:lnTo>
                  <a:lnTo>
                    <a:pt x="6053" y="2590"/>
                  </a:lnTo>
                  <a:lnTo>
                    <a:pt x="5999" y="2647"/>
                  </a:lnTo>
                  <a:lnTo>
                    <a:pt x="5942" y="2704"/>
                  </a:lnTo>
                  <a:lnTo>
                    <a:pt x="5883" y="2761"/>
                  </a:lnTo>
                  <a:lnTo>
                    <a:pt x="5824" y="2818"/>
                  </a:lnTo>
                  <a:lnTo>
                    <a:pt x="5762" y="2876"/>
                  </a:lnTo>
                  <a:lnTo>
                    <a:pt x="5698" y="2933"/>
                  </a:lnTo>
                  <a:lnTo>
                    <a:pt x="5632" y="2992"/>
                  </a:lnTo>
                  <a:lnTo>
                    <a:pt x="5564" y="3049"/>
                  </a:lnTo>
                  <a:lnTo>
                    <a:pt x="5492" y="3108"/>
                  </a:lnTo>
                  <a:lnTo>
                    <a:pt x="5419" y="3166"/>
                  </a:lnTo>
                  <a:lnTo>
                    <a:pt x="5343" y="3225"/>
                  </a:lnTo>
                  <a:lnTo>
                    <a:pt x="5263" y="3283"/>
                  </a:lnTo>
                  <a:lnTo>
                    <a:pt x="5181" y="3343"/>
                  </a:lnTo>
                  <a:lnTo>
                    <a:pt x="5094" y="3402"/>
                  </a:lnTo>
                  <a:lnTo>
                    <a:pt x="5005" y="3462"/>
                  </a:lnTo>
                  <a:lnTo>
                    <a:pt x="4912" y="3521"/>
                  </a:lnTo>
                  <a:lnTo>
                    <a:pt x="4815" y="3582"/>
                  </a:lnTo>
                  <a:lnTo>
                    <a:pt x="4714" y="3642"/>
                  </a:lnTo>
                  <a:lnTo>
                    <a:pt x="4610" y="3704"/>
                  </a:lnTo>
                  <a:lnTo>
                    <a:pt x="4500" y="3765"/>
                  </a:lnTo>
                  <a:lnTo>
                    <a:pt x="4387" y="3828"/>
                  </a:lnTo>
                  <a:lnTo>
                    <a:pt x="4268" y="3890"/>
                  </a:lnTo>
                  <a:lnTo>
                    <a:pt x="4145" y="3953"/>
                  </a:lnTo>
                  <a:lnTo>
                    <a:pt x="4110" y="3844"/>
                  </a:lnTo>
                  <a:lnTo>
                    <a:pt x="4075" y="3734"/>
                  </a:lnTo>
                  <a:lnTo>
                    <a:pt x="4041" y="3621"/>
                  </a:lnTo>
                  <a:lnTo>
                    <a:pt x="4008" y="3506"/>
                  </a:lnTo>
                  <a:lnTo>
                    <a:pt x="3991" y="3448"/>
                  </a:lnTo>
                  <a:lnTo>
                    <a:pt x="3976" y="3388"/>
                  </a:lnTo>
                  <a:lnTo>
                    <a:pt x="3961" y="3328"/>
                  </a:lnTo>
                  <a:lnTo>
                    <a:pt x="3946" y="3266"/>
                  </a:lnTo>
                  <a:lnTo>
                    <a:pt x="3931" y="3204"/>
                  </a:lnTo>
                  <a:lnTo>
                    <a:pt x="3918" y="3141"/>
                  </a:lnTo>
                  <a:lnTo>
                    <a:pt x="3904" y="3077"/>
                  </a:lnTo>
                  <a:lnTo>
                    <a:pt x="3891" y="3011"/>
                  </a:lnTo>
                  <a:lnTo>
                    <a:pt x="3879" y="2944"/>
                  </a:lnTo>
                  <a:lnTo>
                    <a:pt x="3867" y="2877"/>
                  </a:lnTo>
                  <a:lnTo>
                    <a:pt x="3856" y="2807"/>
                  </a:lnTo>
                  <a:lnTo>
                    <a:pt x="3846" y="2738"/>
                  </a:lnTo>
                  <a:lnTo>
                    <a:pt x="3836" y="2666"/>
                  </a:lnTo>
                  <a:lnTo>
                    <a:pt x="3827" y="2593"/>
                  </a:lnTo>
                  <a:lnTo>
                    <a:pt x="3819" y="2518"/>
                  </a:lnTo>
                  <a:lnTo>
                    <a:pt x="3811" y="2442"/>
                  </a:lnTo>
                  <a:lnTo>
                    <a:pt x="3803" y="2365"/>
                  </a:lnTo>
                  <a:lnTo>
                    <a:pt x="3797" y="2285"/>
                  </a:lnTo>
                  <a:lnTo>
                    <a:pt x="3792" y="2204"/>
                  </a:lnTo>
                  <a:lnTo>
                    <a:pt x="3788" y="2122"/>
                  </a:lnTo>
                  <a:lnTo>
                    <a:pt x="3785" y="2038"/>
                  </a:lnTo>
                  <a:lnTo>
                    <a:pt x="3782" y="1951"/>
                  </a:lnTo>
                  <a:lnTo>
                    <a:pt x="3781" y="1864"/>
                  </a:lnTo>
                  <a:lnTo>
                    <a:pt x="3780" y="1774"/>
                  </a:lnTo>
                  <a:lnTo>
                    <a:pt x="3780" y="912"/>
                  </a:lnTo>
                  <a:lnTo>
                    <a:pt x="3017" y="2111"/>
                  </a:lnTo>
                  <a:lnTo>
                    <a:pt x="2970" y="2186"/>
                  </a:lnTo>
                  <a:lnTo>
                    <a:pt x="2923" y="2261"/>
                  </a:lnTo>
                  <a:lnTo>
                    <a:pt x="2877" y="2334"/>
                  </a:lnTo>
                  <a:lnTo>
                    <a:pt x="2830" y="2407"/>
                  </a:lnTo>
                  <a:lnTo>
                    <a:pt x="2785" y="2479"/>
                  </a:lnTo>
                  <a:lnTo>
                    <a:pt x="2739" y="2550"/>
                  </a:lnTo>
                  <a:lnTo>
                    <a:pt x="2693" y="2622"/>
                  </a:lnTo>
                  <a:lnTo>
                    <a:pt x="2646" y="2694"/>
                  </a:lnTo>
                  <a:lnTo>
                    <a:pt x="2599" y="2766"/>
                  </a:lnTo>
                  <a:lnTo>
                    <a:pt x="2551" y="2840"/>
                  </a:lnTo>
                  <a:lnTo>
                    <a:pt x="2502" y="2913"/>
                  </a:lnTo>
                  <a:lnTo>
                    <a:pt x="2450" y="2989"/>
                  </a:lnTo>
                  <a:lnTo>
                    <a:pt x="2398" y="3066"/>
                  </a:lnTo>
                  <a:lnTo>
                    <a:pt x="2344" y="3145"/>
                  </a:lnTo>
                  <a:lnTo>
                    <a:pt x="2288" y="3226"/>
                  </a:lnTo>
                  <a:lnTo>
                    <a:pt x="2229" y="3308"/>
                  </a:lnTo>
                  <a:lnTo>
                    <a:pt x="2141" y="3108"/>
                  </a:lnTo>
                  <a:lnTo>
                    <a:pt x="2055" y="2913"/>
                  </a:lnTo>
                  <a:lnTo>
                    <a:pt x="1973" y="2724"/>
                  </a:lnTo>
                  <a:lnTo>
                    <a:pt x="1893" y="2541"/>
                  </a:lnTo>
                  <a:lnTo>
                    <a:pt x="1817" y="2364"/>
                  </a:lnTo>
                  <a:lnTo>
                    <a:pt x="1744" y="2191"/>
                  </a:lnTo>
                  <a:lnTo>
                    <a:pt x="1672" y="2023"/>
                  </a:lnTo>
                  <a:lnTo>
                    <a:pt x="1605" y="1861"/>
                  </a:lnTo>
                  <a:lnTo>
                    <a:pt x="1540" y="1701"/>
                  </a:lnTo>
                  <a:lnTo>
                    <a:pt x="1476" y="1546"/>
                  </a:lnTo>
                  <a:lnTo>
                    <a:pt x="1416" y="1395"/>
                  </a:lnTo>
                  <a:lnTo>
                    <a:pt x="1358" y="1247"/>
                  </a:lnTo>
                  <a:lnTo>
                    <a:pt x="1302" y="1101"/>
                  </a:lnTo>
                  <a:lnTo>
                    <a:pt x="1249" y="959"/>
                  </a:lnTo>
                  <a:lnTo>
                    <a:pt x="1197" y="819"/>
                  </a:lnTo>
                  <a:lnTo>
                    <a:pt x="1148" y="681"/>
                  </a:lnTo>
                  <a:lnTo>
                    <a:pt x="907" y="0"/>
                  </a:lnTo>
                  <a:lnTo>
                    <a:pt x="646" y="762"/>
                  </a:lnTo>
                  <a:lnTo>
                    <a:pt x="584" y="943"/>
                  </a:lnTo>
                  <a:lnTo>
                    <a:pt x="523" y="1126"/>
                  </a:lnTo>
                  <a:lnTo>
                    <a:pt x="493" y="1217"/>
                  </a:lnTo>
                  <a:lnTo>
                    <a:pt x="463" y="1311"/>
                  </a:lnTo>
                  <a:lnTo>
                    <a:pt x="434" y="1406"/>
                  </a:lnTo>
                  <a:lnTo>
                    <a:pt x="405" y="1502"/>
                  </a:lnTo>
                  <a:lnTo>
                    <a:pt x="377" y="1599"/>
                  </a:lnTo>
                  <a:lnTo>
                    <a:pt x="348" y="1700"/>
                  </a:lnTo>
                  <a:lnTo>
                    <a:pt x="322" y="1803"/>
                  </a:lnTo>
                  <a:lnTo>
                    <a:pt x="295" y="1908"/>
                  </a:lnTo>
                  <a:lnTo>
                    <a:pt x="270" y="2017"/>
                  </a:lnTo>
                  <a:lnTo>
                    <a:pt x="245" y="2129"/>
                  </a:lnTo>
                  <a:lnTo>
                    <a:pt x="221" y="2244"/>
                  </a:lnTo>
                  <a:lnTo>
                    <a:pt x="199" y="2363"/>
                  </a:lnTo>
                  <a:lnTo>
                    <a:pt x="176" y="2487"/>
                  </a:lnTo>
                  <a:lnTo>
                    <a:pt x="155" y="2614"/>
                  </a:lnTo>
                  <a:lnTo>
                    <a:pt x="135" y="2747"/>
                  </a:lnTo>
                  <a:lnTo>
                    <a:pt x="116" y="2884"/>
                  </a:lnTo>
                  <a:lnTo>
                    <a:pt x="99" y="3026"/>
                  </a:lnTo>
                  <a:lnTo>
                    <a:pt x="83" y="3174"/>
                  </a:lnTo>
                  <a:lnTo>
                    <a:pt x="68" y="3329"/>
                  </a:lnTo>
                  <a:lnTo>
                    <a:pt x="54" y="3488"/>
                  </a:lnTo>
                  <a:lnTo>
                    <a:pt x="42" y="3654"/>
                  </a:lnTo>
                  <a:lnTo>
                    <a:pt x="31" y="3828"/>
                  </a:lnTo>
                  <a:lnTo>
                    <a:pt x="22" y="4007"/>
                  </a:lnTo>
                  <a:lnTo>
                    <a:pt x="14" y="4194"/>
                  </a:lnTo>
                  <a:lnTo>
                    <a:pt x="8" y="4388"/>
                  </a:lnTo>
                  <a:lnTo>
                    <a:pt x="4" y="4590"/>
                  </a:lnTo>
                  <a:lnTo>
                    <a:pt x="1" y="4801"/>
                  </a:lnTo>
                  <a:lnTo>
                    <a:pt x="0" y="5018"/>
                  </a:lnTo>
                  <a:lnTo>
                    <a:pt x="0" y="5032"/>
                  </a:lnTo>
                  <a:lnTo>
                    <a:pt x="1" y="5045"/>
                  </a:lnTo>
                  <a:lnTo>
                    <a:pt x="3" y="5057"/>
                  </a:lnTo>
                  <a:lnTo>
                    <a:pt x="5" y="5070"/>
                  </a:lnTo>
                  <a:lnTo>
                    <a:pt x="8" y="5082"/>
                  </a:lnTo>
                  <a:lnTo>
                    <a:pt x="11" y="5094"/>
                  </a:lnTo>
                  <a:lnTo>
                    <a:pt x="15" y="5105"/>
                  </a:lnTo>
                  <a:lnTo>
                    <a:pt x="20" y="5117"/>
                  </a:lnTo>
                  <a:lnTo>
                    <a:pt x="25" y="5128"/>
                  </a:lnTo>
                  <a:lnTo>
                    <a:pt x="30" y="5138"/>
                  </a:lnTo>
                  <a:lnTo>
                    <a:pt x="36" y="5150"/>
                  </a:lnTo>
                  <a:lnTo>
                    <a:pt x="43" y="5160"/>
                  </a:lnTo>
                  <a:lnTo>
                    <a:pt x="50" y="5170"/>
                  </a:lnTo>
                  <a:lnTo>
                    <a:pt x="57" y="5179"/>
                  </a:lnTo>
                  <a:lnTo>
                    <a:pt x="65" y="5188"/>
                  </a:lnTo>
                  <a:lnTo>
                    <a:pt x="73" y="5197"/>
                  </a:lnTo>
                  <a:lnTo>
                    <a:pt x="82" y="5205"/>
                  </a:lnTo>
                  <a:lnTo>
                    <a:pt x="91" y="5213"/>
                  </a:lnTo>
                  <a:lnTo>
                    <a:pt x="100" y="5221"/>
                  </a:lnTo>
                  <a:lnTo>
                    <a:pt x="110" y="5228"/>
                  </a:lnTo>
                  <a:lnTo>
                    <a:pt x="120" y="5234"/>
                  </a:lnTo>
                  <a:lnTo>
                    <a:pt x="131" y="5240"/>
                  </a:lnTo>
                  <a:lnTo>
                    <a:pt x="141" y="5246"/>
                  </a:lnTo>
                  <a:lnTo>
                    <a:pt x="152" y="5251"/>
                  </a:lnTo>
                  <a:lnTo>
                    <a:pt x="164" y="5255"/>
                  </a:lnTo>
                  <a:lnTo>
                    <a:pt x="176" y="5259"/>
                  </a:lnTo>
                  <a:lnTo>
                    <a:pt x="188" y="5262"/>
                  </a:lnTo>
                  <a:lnTo>
                    <a:pt x="201" y="5265"/>
                  </a:lnTo>
                  <a:lnTo>
                    <a:pt x="213" y="5267"/>
                  </a:lnTo>
                  <a:lnTo>
                    <a:pt x="225" y="5270"/>
                  </a:lnTo>
                  <a:lnTo>
                    <a:pt x="238" y="5271"/>
                  </a:lnTo>
                  <a:lnTo>
                    <a:pt x="251" y="5271"/>
                  </a:lnTo>
                  <a:lnTo>
                    <a:pt x="264" y="5271"/>
                  </a:lnTo>
                  <a:lnTo>
                    <a:pt x="277" y="5270"/>
                  </a:lnTo>
                  <a:lnTo>
                    <a:pt x="289" y="5267"/>
                  </a:lnTo>
                  <a:lnTo>
                    <a:pt x="301" y="5265"/>
                  </a:lnTo>
                  <a:lnTo>
                    <a:pt x="313" y="5262"/>
                  </a:lnTo>
                  <a:lnTo>
                    <a:pt x="325" y="5259"/>
                  </a:lnTo>
                  <a:lnTo>
                    <a:pt x="337" y="5255"/>
                  </a:lnTo>
                  <a:lnTo>
                    <a:pt x="348" y="5251"/>
                  </a:lnTo>
                  <a:lnTo>
                    <a:pt x="359" y="5246"/>
                  </a:lnTo>
                  <a:lnTo>
                    <a:pt x="370" y="5240"/>
                  </a:lnTo>
                  <a:lnTo>
                    <a:pt x="382" y="5234"/>
                  </a:lnTo>
                  <a:lnTo>
                    <a:pt x="392" y="5228"/>
                  </a:lnTo>
                  <a:lnTo>
                    <a:pt x="402" y="5221"/>
                  </a:lnTo>
                  <a:lnTo>
                    <a:pt x="411" y="5213"/>
                  </a:lnTo>
                  <a:lnTo>
                    <a:pt x="420" y="5205"/>
                  </a:lnTo>
                  <a:lnTo>
                    <a:pt x="429" y="5197"/>
                  </a:lnTo>
                  <a:lnTo>
                    <a:pt x="437" y="5188"/>
                  </a:lnTo>
                  <a:lnTo>
                    <a:pt x="445" y="5179"/>
                  </a:lnTo>
                  <a:lnTo>
                    <a:pt x="452" y="5170"/>
                  </a:lnTo>
                  <a:lnTo>
                    <a:pt x="459" y="5160"/>
                  </a:lnTo>
                  <a:lnTo>
                    <a:pt x="466" y="5150"/>
                  </a:lnTo>
                  <a:lnTo>
                    <a:pt x="472" y="5138"/>
                  </a:lnTo>
                  <a:lnTo>
                    <a:pt x="477" y="5128"/>
                  </a:lnTo>
                  <a:lnTo>
                    <a:pt x="482" y="5117"/>
                  </a:lnTo>
                  <a:lnTo>
                    <a:pt x="487" y="5105"/>
                  </a:lnTo>
                  <a:lnTo>
                    <a:pt x="491" y="5094"/>
                  </a:lnTo>
                  <a:lnTo>
                    <a:pt x="494" y="5082"/>
                  </a:lnTo>
                  <a:lnTo>
                    <a:pt x="497" y="5070"/>
                  </a:lnTo>
                  <a:lnTo>
                    <a:pt x="499" y="5057"/>
                  </a:lnTo>
                  <a:lnTo>
                    <a:pt x="501" y="5045"/>
                  </a:lnTo>
                  <a:lnTo>
                    <a:pt x="502" y="5032"/>
                  </a:lnTo>
                  <a:lnTo>
                    <a:pt x="502" y="5018"/>
                  </a:lnTo>
                  <a:lnTo>
                    <a:pt x="503" y="4851"/>
                  </a:lnTo>
                  <a:lnTo>
                    <a:pt x="504" y="4688"/>
                  </a:lnTo>
                  <a:lnTo>
                    <a:pt x="507" y="4530"/>
                  </a:lnTo>
                  <a:lnTo>
                    <a:pt x="510" y="4378"/>
                  </a:lnTo>
                  <a:lnTo>
                    <a:pt x="515" y="4230"/>
                  </a:lnTo>
                  <a:lnTo>
                    <a:pt x="520" y="4087"/>
                  </a:lnTo>
                  <a:lnTo>
                    <a:pt x="527" y="3949"/>
                  </a:lnTo>
                  <a:lnTo>
                    <a:pt x="534" y="3814"/>
                  </a:lnTo>
                  <a:lnTo>
                    <a:pt x="542" y="3684"/>
                  </a:lnTo>
                  <a:lnTo>
                    <a:pt x="551" y="3557"/>
                  </a:lnTo>
                  <a:lnTo>
                    <a:pt x="562" y="3435"/>
                  </a:lnTo>
                  <a:lnTo>
                    <a:pt x="573" y="3318"/>
                  </a:lnTo>
                  <a:lnTo>
                    <a:pt x="584" y="3203"/>
                  </a:lnTo>
                  <a:lnTo>
                    <a:pt x="596" y="3092"/>
                  </a:lnTo>
                  <a:lnTo>
                    <a:pt x="609" y="2984"/>
                  </a:lnTo>
                  <a:lnTo>
                    <a:pt x="623" y="2879"/>
                  </a:lnTo>
                  <a:lnTo>
                    <a:pt x="637" y="2777"/>
                  </a:lnTo>
                  <a:lnTo>
                    <a:pt x="653" y="2678"/>
                  </a:lnTo>
                  <a:lnTo>
                    <a:pt x="668" y="2583"/>
                  </a:lnTo>
                  <a:lnTo>
                    <a:pt x="685" y="2490"/>
                  </a:lnTo>
                  <a:lnTo>
                    <a:pt x="702" y="2398"/>
                  </a:lnTo>
                  <a:lnTo>
                    <a:pt x="719" y="2310"/>
                  </a:lnTo>
                  <a:lnTo>
                    <a:pt x="737" y="2224"/>
                  </a:lnTo>
                  <a:lnTo>
                    <a:pt x="757" y="2139"/>
                  </a:lnTo>
                  <a:lnTo>
                    <a:pt x="776" y="2056"/>
                  </a:lnTo>
                  <a:lnTo>
                    <a:pt x="796" y="1976"/>
                  </a:lnTo>
                  <a:lnTo>
                    <a:pt x="816" y="1897"/>
                  </a:lnTo>
                  <a:lnTo>
                    <a:pt x="837" y="1819"/>
                  </a:lnTo>
                  <a:lnTo>
                    <a:pt x="858" y="1743"/>
                  </a:lnTo>
                  <a:lnTo>
                    <a:pt x="880" y="1667"/>
                  </a:lnTo>
                  <a:lnTo>
                    <a:pt x="902" y="1593"/>
                  </a:lnTo>
                  <a:lnTo>
                    <a:pt x="924" y="1520"/>
                  </a:lnTo>
                  <a:lnTo>
                    <a:pt x="975" y="1646"/>
                  </a:lnTo>
                  <a:lnTo>
                    <a:pt x="1026" y="1774"/>
                  </a:lnTo>
                  <a:lnTo>
                    <a:pt x="1079" y="1905"/>
                  </a:lnTo>
                  <a:lnTo>
                    <a:pt x="1134" y="2038"/>
                  </a:lnTo>
                  <a:lnTo>
                    <a:pt x="1191" y="2175"/>
                  </a:lnTo>
                  <a:lnTo>
                    <a:pt x="1249" y="2314"/>
                  </a:lnTo>
                  <a:lnTo>
                    <a:pt x="1309" y="2456"/>
                  </a:lnTo>
                  <a:lnTo>
                    <a:pt x="1372" y="2603"/>
                  </a:lnTo>
                  <a:lnTo>
                    <a:pt x="1436" y="2753"/>
                  </a:lnTo>
                  <a:lnTo>
                    <a:pt x="1503" y="2906"/>
                  </a:lnTo>
                  <a:lnTo>
                    <a:pt x="1572" y="3063"/>
                  </a:lnTo>
                  <a:lnTo>
                    <a:pt x="1642" y="3225"/>
                  </a:lnTo>
                  <a:lnTo>
                    <a:pt x="1716" y="3390"/>
                  </a:lnTo>
                  <a:lnTo>
                    <a:pt x="1791" y="3561"/>
                  </a:lnTo>
                  <a:lnTo>
                    <a:pt x="1868" y="3735"/>
                  </a:lnTo>
                  <a:lnTo>
                    <a:pt x="1949" y="3914"/>
                  </a:lnTo>
                  <a:lnTo>
                    <a:pt x="2126" y="4310"/>
                  </a:lnTo>
                  <a:lnTo>
                    <a:pt x="2381" y="3960"/>
                  </a:lnTo>
                  <a:lnTo>
                    <a:pt x="2456" y="3856"/>
                  </a:lnTo>
                  <a:lnTo>
                    <a:pt x="2530" y="3755"/>
                  </a:lnTo>
                  <a:lnTo>
                    <a:pt x="2599" y="3658"/>
                  </a:lnTo>
                  <a:lnTo>
                    <a:pt x="2665" y="3565"/>
                  </a:lnTo>
                  <a:lnTo>
                    <a:pt x="2728" y="3474"/>
                  </a:lnTo>
                  <a:lnTo>
                    <a:pt x="2789" y="3386"/>
                  </a:lnTo>
                  <a:lnTo>
                    <a:pt x="2847" y="3300"/>
                  </a:lnTo>
                  <a:lnTo>
                    <a:pt x="2904" y="3217"/>
                  </a:lnTo>
                  <a:lnTo>
                    <a:pt x="2959" y="3135"/>
                  </a:lnTo>
                  <a:lnTo>
                    <a:pt x="3012" y="3054"/>
                  </a:lnTo>
                  <a:lnTo>
                    <a:pt x="3065" y="2974"/>
                  </a:lnTo>
                  <a:lnTo>
                    <a:pt x="3116" y="2895"/>
                  </a:lnTo>
                  <a:lnTo>
                    <a:pt x="3166" y="2816"/>
                  </a:lnTo>
                  <a:lnTo>
                    <a:pt x="3216" y="2737"/>
                  </a:lnTo>
                  <a:lnTo>
                    <a:pt x="3268" y="2657"/>
                  </a:lnTo>
                  <a:lnTo>
                    <a:pt x="3318" y="2577"/>
                  </a:lnTo>
                  <a:lnTo>
                    <a:pt x="3326" y="2647"/>
                  </a:lnTo>
                  <a:lnTo>
                    <a:pt x="3334" y="2715"/>
                  </a:lnTo>
                  <a:lnTo>
                    <a:pt x="3343" y="2782"/>
                  </a:lnTo>
                  <a:lnTo>
                    <a:pt x="3353" y="2848"/>
                  </a:lnTo>
                  <a:lnTo>
                    <a:pt x="3362" y="2912"/>
                  </a:lnTo>
                  <a:lnTo>
                    <a:pt x="3373" y="2976"/>
                  </a:lnTo>
                  <a:lnTo>
                    <a:pt x="3384" y="3038"/>
                  </a:lnTo>
                  <a:lnTo>
                    <a:pt x="3395" y="3101"/>
                  </a:lnTo>
                  <a:lnTo>
                    <a:pt x="3407" y="3161"/>
                  </a:lnTo>
                  <a:lnTo>
                    <a:pt x="3419" y="3221"/>
                  </a:lnTo>
                  <a:lnTo>
                    <a:pt x="3433" y="3280"/>
                  </a:lnTo>
                  <a:lnTo>
                    <a:pt x="3446" y="3339"/>
                  </a:lnTo>
                  <a:lnTo>
                    <a:pt x="3474" y="3453"/>
                  </a:lnTo>
                  <a:lnTo>
                    <a:pt x="3502" y="3564"/>
                  </a:lnTo>
                  <a:lnTo>
                    <a:pt x="3532" y="3672"/>
                  </a:lnTo>
                  <a:lnTo>
                    <a:pt x="3563" y="3778"/>
                  </a:lnTo>
                  <a:lnTo>
                    <a:pt x="3595" y="3883"/>
                  </a:lnTo>
                  <a:lnTo>
                    <a:pt x="3628" y="3986"/>
                  </a:lnTo>
                  <a:lnTo>
                    <a:pt x="3661" y="4088"/>
                  </a:lnTo>
                  <a:lnTo>
                    <a:pt x="3695" y="4188"/>
                  </a:lnTo>
                  <a:lnTo>
                    <a:pt x="3729" y="4287"/>
                  </a:lnTo>
                  <a:lnTo>
                    <a:pt x="3763" y="4387"/>
                  </a:lnTo>
                  <a:lnTo>
                    <a:pt x="3854" y="4653"/>
                  </a:lnTo>
                  <a:lnTo>
                    <a:pt x="4108" y="4532"/>
                  </a:lnTo>
                  <a:lnTo>
                    <a:pt x="4234" y="4472"/>
                  </a:lnTo>
                  <a:lnTo>
                    <a:pt x="4354" y="4412"/>
                  </a:lnTo>
                  <a:lnTo>
                    <a:pt x="4472" y="4352"/>
                  </a:lnTo>
                  <a:lnTo>
                    <a:pt x="4585" y="4293"/>
                  </a:lnTo>
                  <a:lnTo>
                    <a:pt x="4694" y="4233"/>
                  </a:lnTo>
                  <a:lnTo>
                    <a:pt x="4801" y="4175"/>
                  </a:lnTo>
                  <a:lnTo>
                    <a:pt x="4902" y="4116"/>
                  </a:lnTo>
                  <a:lnTo>
                    <a:pt x="5001" y="4058"/>
                  </a:lnTo>
                  <a:lnTo>
                    <a:pt x="5096" y="4000"/>
                  </a:lnTo>
                  <a:lnTo>
                    <a:pt x="5189" y="3942"/>
                  </a:lnTo>
                  <a:lnTo>
                    <a:pt x="5277" y="3884"/>
                  </a:lnTo>
                  <a:lnTo>
                    <a:pt x="5364" y="3828"/>
                  </a:lnTo>
                  <a:lnTo>
                    <a:pt x="5446" y="3770"/>
                  </a:lnTo>
                  <a:lnTo>
                    <a:pt x="5527" y="3714"/>
                  </a:lnTo>
                  <a:lnTo>
                    <a:pt x="5604" y="3657"/>
                  </a:lnTo>
                  <a:lnTo>
                    <a:pt x="5678" y="3601"/>
                  </a:lnTo>
                  <a:lnTo>
                    <a:pt x="5751" y="3545"/>
                  </a:lnTo>
                  <a:lnTo>
                    <a:pt x="5820" y="3489"/>
                  </a:lnTo>
                  <a:lnTo>
                    <a:pt x="5888" y="3433"/>
                  </a:lnTo>
                  <a:lnTo>
                    <a:pt x="5954" y="3379"/>
                  </a:lnTo>
                  <a:lnTo>
                    <a:pt x="6017" y="3324"/>
                  </a:lnTo>
                  <a:lnTo>
                    <a:pt x="6078" y="3269"/>
                  </a:lnTo>
                  <a:lnTo>
                    <a:pt x="6138" y="3214"/>
                  </a:lnTo>
                  <a:lnTo>
                    <a:pt x="6195" y="3159"/>
                  </a:lnTo>
                  <a:lnTo>
                    <a:pt x="6251" y="3106"/>
                  </a:lnTo>
                  <a:lnTo>
                    <a:pt x="6307" y="3051"/>
                  </a:lnTo>
                  <a:lnTo>
                    <a:pt x="6360" y="2998"/>
                  </a:lnTo>
                  <a:lnTo>
                    <a:pt x="6411" y="2943"/>
                  </a:lnTo>
                  <a:lnTo>
                    <a:pt x="6462" y="2890"/>
                  </a:lnTo>
                  <a:lnTo>
                    <a:pt x="6512" y="2837"/>
                  </a:lnTo>
                  <a:lnTo>
                    <a:pt x="6560" y="2783"/>
                  </a:lnTo>
                  <a:lnTo>
                    <a:pt x="6608" y="2731"/>
                  </a:lnTo>
                  <a:lnTo>
                    <a:pt x="6615" y="2818"/>
                  </a:lnTo>
                  <a:lnTo>
                    <a:pt x="6620" y="2907"/>
                  </a:lnTo>
                  <a:lnTo>
                    <a:pt x="6624" y="2997"/>
                  </a:lnTo>
                  <a:lnTo>
                    <a:pt x="6628" y="3087"/>
                  </a:lnTo>
                  <a:lnTo>
                    <a:pt x="6630" y="3176"/>
                  </a:lnTo>
                  <a:lnTo>
                    <a:pt x="6631" y="3266"/>
                  </a:lnTo>
                  <a:lnTo>
                    <a:pt x="6630" y="3356"/>
                  </a:lnTo>
                  <a:lnTo>
                    <a:pt x="6629" y="3446"/>
                  </a:lnTo>
                  <a:lnTo>
                    <a:pt x="6627" y="3535"/>
                  </a:lnTo>
                  <a:lnTo>
                    <a:pt x="6623" y="3626"/>
                  </a:lnTo>
                  <a:lnTo>
                    <a:pt x="6618" y="3715"/>
                  </a:lnTo>
                  <a:lnTo>
                    <a:pt x="6612" y="3805"/>
                  </a:lnTo>
                  <a:lnTo>
                    <a:pt x="6605" y="3893"/>
                  </a:lnTo>
                  <a:lnTo>
                    <a:pt x="6597" y="3982"/>
                  </a:lnTo>
                  <a:lnTo>
                    <a:pt x="6588" y="4071"/>
                  </a:lnTo>
                  <a:lnTo>
                    <a:pt x="6578" y="4158"/>
                  </a:lnTo>
                  <a:lnTo>
                    <a:pt x="6567" y="4245"/>
                  </a:lnTo>
                  <a:lnTo>
                    <a:pt x="6554" y="4332"/>
                  </a:lnTo>
                  <a:lnTo>
                    <a:pt x="6541" y="4418"/>
                  </a:lnTo>
                  <a:lnTo>
                    <a:pt x="6526" y="4502"/>
                  </a:lnTo>
                  <a:lnTo>
                    <a:pt x="6511" y="4586"/>
                  </a:lnTo>
                  <a:lnTo>
                    <a:pt x="6494" y="4669"/>
                  </a:lnTo>
                  <a:lnTo>
                    <a:pt x="6476" y="4750"/>
                  </a:lnTo>
                  <a:lnTo>
                    <a:pt x="6457" y="4831"/>
                  </a:lnTo>
                  <a:lnTo>
                    <a:pt x="6437" y="4911"/>
                  </a:lnTo>
                  <a:lnTo>
                    <a:pt x="6416" y="4989"/>
                  </a:lnTo>
                  <a:lnTo>
                    <a:pt x="6394" y="5067"/>
                  </a:lnTo>
                  <a:lnTo>
                    <a:pt x="6371" y="5142"/>
                  </a:lnTo>
                  <a:lnTo>
                    <a:pt x="6347" y="5216"/>
                  </a:lnTo>
                  <a:lnTo>
                    <a:pt x="6322" y="5289"/>
                  </a:lnTo>
                  <a:lnTo>
                    <a:pt x="6297" y="5360"/>
                  </a:lnTo>
                  <a:lnTo>
                    <a:pt x="6269" y="5429"/>
                  </a:lnTo>
                  <a:lnTo>
                    <a:pt x="6264" y="5441"/>
                  </a:lnTo>
                  <a:lnTo>
                    <a:pt x="6260" y="5453"/>
                  </a:lnTo>
                  <a:lnTo>
                    <a:pt x="6257" y="5466"/>
                  </a:lnTo>
                  <a:lnTo>
                    <a:pt x="6255" y="5478"/>
                  </a:lnTo>
                  <a:lnTo>
                    <a:pt x="6253" y="5490"/>
                  </a:lnTo>
                  <a:lnTo>
                    <a:pt x="6251" y="5502"/>
                  </a:lnTo>
                  <a:lnTo>
                    <a:pt x="6251" y="5515"/>
                  </a:lnTo>
                  <a:lnTo>
                    <a:pt x="6251" y="5528"/>
                  </a:lnTo>
                  <a:lnTo>
                    <a:pt x="6251" y="5540"/>
                  </a:lnTo>
                  <a:lnTo>
                    <a:pt x="6252" y="5552"/>
                  </a:lnTo>
                  <a:lnTo>
                    <a:pt x="6254" y="5564"/>
                  </a:lnTo>
                  <a:lnTo>
                    <a:pt x="6256" y="5575"/>
                  </a:lnTo>
                  <a:lnTo>
                    <a:pt x="6259" y="5587"/>
                  </a:lnTo>
                  <a:lnTo>
                    <a:pt x="6263" y="5599"/>
                  </a:lnTo>
                  <a:lnTo>
                    <a:pt x="6266" y="5610"/>
                  </a:lnTo>
                  <a:lnTo>
                    <a:pt x="6271" y="5621"/>
                  </a:lnTo>
                  <a:lnTo>
                    <a:pt x="6276" y="5632"/>
                  </a:lnTo>
                  <a:lnTo>
                    <a:pt x="6281" y="5644"/>
                  </a:lnTo>
                  <a:lnTo>
                    <a:pt x="6288" y="5654"/>
                  </a:lnTo>
                  <a:lnTo>
                    <a:pt x="6295" y="5664"/>
                  </a:lnTo>
                  <a:lnTo>
                    <a:pt x="6302" y="5674"/>
                  </a:lnTo>
                  <a:lnTo>
                    <a:pt x="6309" y="5683"/>
                  </a:lnTo>
                  <a:lnTo>
                    <a:pt x="6317" y="5693"/>
                  </a:lnTo>
                  <a:lnTo>
                    <a:pt x="6326" y="5702"/>
                  </a:lnTo>
                  <a:lnTo>
                    <a:pt x="6334" y="5710"/>
                  </a:lnTo>
                  <a:lnTo>
                    <a:pt x="6344" y="5718"/>
                  </a:lnTo>
                  <a:lnTo>
                    <a:pt x="6353" y="5726"/>
                  </a:lnTo>
                  <a:lnTo>
                    <a:pt x="6364" y="5733"/>
                  </a:lnTo>
                  <a:lnTo>
                    <a:pt x="6374" y="5739"/>
                  </a:lnTo>
                  <a:lnTo>
                    <a:pt x="6385" y="5745"/>
                  </a:lnTo>
                  <a:lnTo>
                    <a:pt x="6396" y="5751"/>
                  </a:lnTo>
                  <a:lnTo>
                    <a:pt x="6408" y="5756"/>
                  </a:lnTo>
                  <a:lnTo>
                    <a:pt x="6420" y="5761"/>
                  </a:lnTo>
                  <a:lnTo>
                    <a:pt x="6431" y="5765"/>
                  </a:lnTo>
                  <a:lnTo>
                    <a:pt x="6443" y="5768"/>
                  </a:lnTo>
                  <a:lnTo>
                    <a:pt x="6455" y="5771"/>
                  </a:lnTo>
                  <a:lnTo>
                    <a:pt x="6467" y="5773"/>
                  </a:lnTo>
                  <a:lnTo>
                    <a:pt x="6480" y="5774"/>
                  </a:lnTo>
                  <a:lnTo>
                    <a:pt x="6491" y="5775"/>
                  </a:lnTo>
                  <a:lnTo>
                    <a:pt x="6503" y="5775"/>
                  </a:lnTo>
                  <a:lnTo>
                    <a:pt x="6522" y="5775"/>
                  </a:lnTo>
                  <a:lnTo>
                    <a:pt x="6540" y="5773"/>
                  </a:lnTo>
                  <a:lnTo>
                    <a:pt x="6558" y="5769"/>
                  </a:lnTo>
                  <a:lnTo>
                    <a:pt x="6576" y="5765"/>
                  </a:lnTo>
                  <a:lnTo>
                    <a:pt x="6593" y="5759"/>
                  </a:lnTo>
                  <a:lnTo>
                    <a:pt x="6610" y="5750"/>
                  </a:lnTo>
                  <a:lnTo>
                    <a:pt x="6626" y="5742"/>
                  </a:lnTo>
                  <a:lnTo>
                    <a:pt x="6641" y="5733"/>
                  </a:lnTo>
                  <a:lnTo>
                    <a:pt x="6656" y="5722"/>
                  </a:lnTo>
                  <a:lnTo>
                    <a:pt x="6671" y="5710"/>
                  </a:lnTo>
                  <a:lnTo>
                    <a:pt x="6685" y="5697"/>
                  </a:lnTo>
                  <a:lnTo>
                    <a:pt x="6697" y="5683"/>
                  </a:lnTo>
                  <a:lnTo>
                    <a:pt x="6708" y="5668"/>
                  </a:lnTo>
                  <a:lnTo>
                    <a:pt x="6719" y="5652"/>
                  </a:lnTo>
                  <a:lnTo>
                    <a:pt x="6728" y="5635"/>
                  </a:lnTo>
                  <a:lnTo>
                    <a:pt x="6736" y="5617"/>
                  </a:lnTo>
                  <a:lnTo>
                    <a:pt x="6771" y="5525"/>
                  </a:lnTo>
                  <a:lnTo>
                    <a:pt x="6805" y="5431"/>
                  </a:lnTo>
                  <a:lnTo>
                    <a:pt x="6838" y="5334"/>
                  </a:lnTo>
                  <a:lnTo>
                    <a:pt x="6869" y="5235"/>
                  </a:lnTo>
                  <a:lnTo>
                    <a:pt x="6898" y="5134"/>
                  </a:lnTo>
                  <a:lnTo>
                    <a:pt x="6926" y="5033"/>
                  </a:lnTo>
                  <a:lnTo>
                    <a:pt x="6952" y="4928"/>
                  </a:lnTo>
                  <a:lnTo>
                    <a:pt x="6976" y="4822"/>
                  </a:lnTo>
                  <a:lnTo>
                    <a:pt x="6998" y="4715"/>
                  </a:lnTo>
                  <a:lnTo>
                    <a:pt x="7019" y="4606"/>
                  </a:lnTo>
                  <a:lnTo>
                    <a:pt x="7038" y="4496"/>
                  </a:lnTo>
                  <a:lnTo>
                    <a:pt x="7057" y="4385"/>
                  </a:lnTo>
                  <a:lnTo>
                    <a:pt x="7072" y="4273"/>
                  </a:lnTo>
                  <a:lnTo>
                    <a:pt x="7086" y="4160"/>
                  </a:lnTo>
                  <a:lnTo>
                    <a:pt x="7099" y="4046"/>
                  </a:lnTo>
                  <a:lnTo>
                    <a:pt x="7109" y="3932"/>
                  </a:lnTo>
                  <a:lnTo>
                    <a:pt x="7118" y="3817"/>
                  </a:lnTo>
                  <a:lnTo>
                    <a:pt x="7125" y="3701"/>
                  </a:lnTo>
                  <a:lnTo>
                    <a:pt x="7130" y="3585"/>
                  </a:lnTo>
                  <a:lnTo>
                    <a:pt x="7134" y="3469"/>
                  </a:lnTo>
                  <a:lnTo>
                    <a:pt x="7135" y="3353"/>
                  </a:lnTo>
                  <a:lnTo>
                    <a:pt x="7135" y="3236"/>
                  </a:lnTo>
                  <a:lnTo>
                    <a:pt x="7133" y="3120"/>
                  </a:lnTo>
                  <a:lnTo>
                    <a:pt x="7130" y="3004"/>
                  </a:lnTo>
                  <a:lnTo>
                    <a:pt x="7124" y="2888"/>
                  </a:lnTo>
                  <a:lnTo>
                    <a:pt x="7117" y="2773"/>
                  </a:lnTo>
                  <a:lnTo>
                    <a:pt x="7108" y="2658"/>
                  </a:lnTo>
                  <a:lnTo>
                    <a:pt x="7097" y="2544"/>
                  </a:lnTo>
                  <a:lnTo>
                    <a:pt x="7084" y="2430"/>
                  </a:lnTo>
                  <a:lnTo>
                    <a:pt x="7069" y="2318"/>
                  </a:lnTo>
                  <a:lnTo>
                    <a:pt x="7052" y="2207"/>
                  </a:lnTo>
                  <a:lnTo>
                    <a:pt x="7033" y="2097"/>
                  </a:lnTo>
                  <a:lnTo>
                    <a:pt x="6940" y="15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91" name="ïslîḋé">
              <a:extLst>
                <a:ext uri="{FF2B5EF4-FFF2-40B4-BE49-F238E27FC236}">
                  <a16:creationId xmlns:a16="http://schemas.microsoft.com/office/drawing/2014/main" id="{DCCBA8D0-CDB5-4F7A-A841-01B527F0AA0D}"/>
                </a:ext>
              </a:extLst>
            </p:cNvPr>
            <p:cNvSpPr/>
            <p:nvPr/>
          </p:nvSpPr>
          <p:spPr bwMode="auto">
            <a:xfrm>
              <a:off x="10860550" y="682846"/>
              <a:ext cx="131262" cy="131262"/>
            </a:xfrm>
            <a:custGeom>
              <a:avLst/>
              <a:gdLst>
                <a:gd name="T0" fmla="*/ 3521 w 6031"/>
                <a:gd name="T1" fmla="*/ 553 h 6022"/>
                <a:gd name="T2" fmla="*/ 4104 w 6031"/>
                <a:gd name="T3" fmla="*/ 750 h 6022"/>
                <a:gd name="T4" fmla="*/ 4613 w 6031"/>
                <a:gd name="T5" fmla="*/ 1076 h 6022"/>
                <a:gd name="T6" fmla="*/ 5029 w 6031"/>
                <a:gd name="T7" fmla="*/ 1511 h 6022"/>
                <a:gd name="T8" fmla="*/ 5330 w 6031"/>
                <a:gd name="T9" fmla="*/ 2036 h 6022"/>
                <a:gd name="T10" fmla="*/ 5499 w 6031"/>
                <a:gd name="T11" fmla="*/ 2630 h 6022"/>
                <a:gd name="T12" fmla="*/ 5515 w 6031"/>
                <a:gd name="T13" fmla="*/ 3268 h 6022"/>
                <a:gd name="T14" fmla="*/ 5375 w 6031"/>
                <a:gd name="T15" fmla="*/ 3873 h 6022"/>
                <a:gd name="T16" fmla="*/ 5098 w 6031"/>
                <a:gd name="T17" fmla="*/ 4413 h 6022"/>
                <a:gd name="T18" fmla="*/ 4704 w 6031"/>
                <a:gd name="T19" fmla="*/ 4868 h 6022"/>
                <a:gd name="T20" fmla="*/ 4213 w 6031"/>
                <a:gd name="T21" fmla="*/ 5217 h 6022"/>
                <a:gd name="T22" fmla="*/ 3643 w 6031"/>
                <a:gd name="T23" fmla="*/ 5441 h 6022"/>
                <a:gd name="T24" fmla="*/ 3016 w 6031"/>
                <a:gd name="T25" fmla="*/ 5520 h 6022"/>
                <a:gd name="T26" fmla="*/ 2388 w 6031"/>
                <a:gd name="T27" fmla="*/ 5441 h 6022"/>
                <a:gd name="T28" fmla="*/ 1818 w 6031"/>
                <a:gd name="T29" fmla="*/ 5217 h 6022"/>
                <a:gd name="T30" fmla="*/ 1327 w 6031"/>
                <a:gd name="T31" fmla="*/ 4868 h 6022"/>
                <a:gd name="T32" fmla="*/ 932 w 6031"/>
                <a:gd name="T33" fmla="*/ 4413 h 6022"/>
                <a:gd name="T34" fmla="*/ 656 w 6031"/>
                <a:gd name="T35" fmla="*/ 3873 h 6022"/>
                <a:gd name="T36" fmla="*/ 516 w 6031"/>
                <a:gd name="T37" fmla="*/ 3268 h 6022"/>
                <a:gd name="T38" fmla="*/ 532 w 6031"/>
                <a:gd name="T39" fmla="*/ 2630 h 6022"/>
                <a:gd name="T40" fmla="*/ 701 w 6031"/>
                <a:gd name="T41" fmla="*/ 2036 h 6022"/>
                <a:gd name="T42" fmla="*/ 1002 w 6031"/>
                <a:gd name="T43" fmla="*/ 1511 h 6022"/>
                <a:gd name="T44" fmla="*/ 1417 w 6031"/>
                <a:gd name="T45" fmla="*/ 1076 h 6022"/>
                <a:gd name="T46" fmla="*/ 1927 w 6031"/>
                <a:gd name="T47" fmla="*/ 750 h 6022"/>
                <a:gd name="T48" fmla="*/ 2510 w 6031"/>
                <a:gd name="T49" fmla="*/ 553 h 6022"/>
                <a:gd name="T50" fmla="*/ 3016 w 6031"/>
                <a:gd name="T51" fmla="*/ 6022 h 6022"/>
                <a:gd name="T52" fmla="*/ 3768 w 6031"/>
                <a:gd name="T53" fmla="*/ 5928 h 6022"/>
                <a:gd name="T54" fmla="*/ 4452 w 6031"/>
                <a:gd name="T55" fmla="*/ 5659 h 6022"/>
                <a:gd name="T56" fmla="*/ 5042 w 6031"/>
                <a:gd name="T57" fmla="*/ 5239 h 6022"/>
                <a:gd name="T58" fmla="*/ 5515 w 6031"/>
                <a:gd name="T59" fmla="*/ 4693 h 6022"/>
                <a:gd name="T60" fmla="*/ 5848 w 6031"/>
                <a:gd name="T61" fmla="*/ 4046 h 6022"/>
                <a:gd name="T62" fmla="*/ 6015 w 6031"/>
                <a:gd name="T63" fmla="*/ 3318 h 6022"/>
                <a:gd name="T64" fmla="*/ 5996 w 6031"/>
                <a:gd name="T65" fmla="*/ 2554 h 6022"/>
                <a:gd name="T66" fmla="*/ 5794 w 6031"/>
                <a:gd name="T67" fmla="*/ 1840 h 6022"/>
                <a:gd name="T68" fmla="*/ 5431 w 6031"/>
                <a:gd name="T69" fmla="*/ 1211 h 6022"/>
                <a:gd name="T70" fmla="*/ 4932 w 6031"/>
                <a:gd name="T71" fmla="*/ 689 h 6022"/>
                <a:gd name="T72" fmla="*/ 4322 w 6031"/>
                <a:gd name="T73" fmla="*/ 297 h 6022"/>
                <a:gd name="T74" fmla="*/ 3623 w 6031"/>
                <a:gd name="T75" fmla="*/ 62 h 6022"/>
                <a:gd name="T76" fmla="*/ 2861 w 6031"/>
                <a:gd name="T77" fmla="*/ 4 h 6022"/>
                <a:gd name="T78" fmla="*/ 2120 w 6031"/>
                <a:gd name="T79" fmla="*/ 136 h 6022"/>
                <a:gd name="T80" fmla="*/ 1453 w 6031"/>
                <a:gd name="T81" fmla="*/ 437 h 6022"/>
                <a:gd name="T82" fmla="*/ 884 w 6031"/>
                <a:gd name="T83" fmla="*/ 884 h 6022"/>
                <a:gd name="T84" fmla="*/ 437 w 6031"/>
                <a:gd name="T85" fmla="*/ 1452 h 6022"/>
                <a:gd name="T86" fmla="*/ 136 w 6031"/>
                <a:gd name="T87" fmla="*/ 2117 h 6022"/>
                <a:gd name="T88" fmla="*/ 4 w 6031"/>
                <a:gd name="T89" fmla="*/ 2857 h 6022"/>
                <a:gd name="T90" fmla="*/ 62 w 6031"/>
                <a:gd name="T91" fmla="*/ 3617 h 6022"/>
                <a:gd name="T92" fmla="*/ 298 w 6031"/>
                <a:gd name="T93" fmla="*/ 4316 h 6022"/>
                <a:gd name="T94" fmla="*/ 690 w 6031"/>
                <a:gd name="T95" fmla="*/ 4925 h 6022"/>
                <a:gd name="T96" fmla="*/ 1212 w 6031"/>
                <a:gd name="T97" fmla="*/ 5424 h 6022"/>
                <a:gd name="T98" fmla="*/ 1843 w 6031"/>
                <a:gd name="T99" fmla="*/ 5785 h 6022"/>
                <a:gd name="T100" fmla="*/ 2557 w 6031"/>
                <a:gd name="T101" fmla="*/ 5988 h 6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31" h="6022">
                  <a:moveTo>
                    <a:pt x="3016" y="502"/>
                  </a:moveTo>
                  <a:lnTo>
                    <a:pt x="3144" y="505"/>
                  </a:lnTo>
                  <a:lnTo>
                    <a:pt x="3272" y="515"/>
                  </a:lnTo>
                  <a:lnTo>
                    <a:pt x="3397" y="531"/>
                  </a:lnTo>
                  <a:lnTo>
                    <a:pt x="3521" y="553"/>
                  </a:lnTo>
                  <a:lnTo>
                    <a:pt x="3643" y="582"/>
                  </a:lnTo>
                  <a:lnTo>
                    <a:pt x="3762" y="616"/>
                  </a:lnTo>
                  <a:lnTo>
                    <a:pt x="3879" y="655"/>
                  </a:lnTo>
                  <a:lnTo>
                    <a:pt x="3992" y="700"/>
                  </a:lnTo>
                  <a:lnTo>
                    <a:pt x="4104" y="750"/>
                  </a:lnTo>
                  <a:lnTo>
                    <a:pt x="4213" y="805"/>
                  </a:lnTo>
                  <a:lnTo>
                    <a:pt x="4318" y="866"/>
                  </a:lnTo>
                  <a:lnTo>
                    <a:pt x="4420" y="932"/>
                  </a:lnTo>
                  <a:lnTo>
                    <a:pt x="4518" y="1001"/>
                  </a:lnTo>
                  <a:lnTo>
                    <a:pt x="4613" y="1076"/>
                  </a:lnTo>
                  <a:lnTo>
                    <a:pt x="4704" y="1155"/>
                  </a:lnTo>
                  <a:lnTo>
                    <a:pt x="4791" y="1238"/>
                  </a:lnTo>
                  <a:lnTo>
                    <a:pt x="4875" y="1325"/>
                  </a:lnTo>
                  <a:lnTo>
                    <a:pt x="4954" y="1417"/>
                  </a:lnTo>
                  <a:lnTo>
                    <a:pt x="5029" y="1511"/>
                  </a:lnTo>
                  <a:lnTo>
                    <a:pt x="5098" y="1609"/>
                  </a:lnTo>
                  <a:lnTo>
                    <a:pt x="5164" y="1712"/>
                  </a:lnTo>
                  <a:lnTo>
                    <a:pt x="5225" y="1816"/>
                  </a:lnTo>
                  <a:lnTo>
                    <a:pt x="5280" y="1924"/>
                  </a:lnTo>
                  <a:lnTo>
                    <a:pt x="5330" y="2036"/>
                  </a:lnTo>
                  <a:lnTo>
                    <a:pt x="5375" y="2149"/>
                  </a:lnTo>
                  <a:lnTo>
                    <a:pt x="5415" y="2266"/>
                  </a:lnTo>
                  <a:lnTo>
                    <a:pt x="5449" y="2385"/>
                  </a:lnTo>
                  <a:lnTo>
                    <a:pt x="5477" y="2506"/>
                  </a:lnTo>
                  <a:lnTo>
                    <a:pt x="5499" y="2630"/>
                  </a:lnTo>
                  <a:lnTo>
                    <a:pt x="5515" y="2755"/>
                  </a:lnTo>
                  <a:lnTo>
                    <a:pt x="5525" y="2883"/>
                  </a:lnTo>
                  <a:lnTo>
                    <a:pt x="5528" y="3011"/>
                  </a:lnTo>
                  <a:lnTo>
                    <a:pt x="5525" y="3141"/>
                  </a:lnTo>
                  <a:lnTo>
                    <a:pt x="5515" y="3268"/>
                  </a:lnTo>
                  <a:lnTo>
                    <a:pt x="5499" y="3394"/>
                  </a:lnTo>
                  <a:lnTo>
                    <a:pt x="5477" y="3517"/>
                  </a:lnTo>
                  <a:lnTo>
                    <a:pt x="5449" y="3638"/>
                  </a:lnTo>
                  <a:lnTo>
                    <a:pt x="5415" y="3757"/>
                  </a:lnTo>
                  <a:lnTo>
                    <a:pt x="5375" y="3873"/>
                  </a:lnTo>
                  <a:lnTo>
                    <a:pt x="5330" y="3988"/>
                  </a:lnTo>
                  <a:lnTo>
                    <a:pt x="5280" y="4098"/>
                  </a:lnTo>
                  <a:lnTo>
                    <a:pt x="5225" y="4207"/>
                  </a:lnTo>
                  <a:lnTo>
                    <a:pt x="5164" y="4312"/>
                  </a:lnTo>
                  <a:lnTo>
                    <a:pt x="5098" y="4413"/>
                  </a:lnTo>
                  <a:lnTo>
                    <a:pt x="5029" y="4512"/>
                  </a:lnTo>
                  <a:lnTo>
                    <a:pt x="4954" y="4607"/>
                  </a:lnTo>
                  <a:lnTo>
                    <a:pt x="4875" y="4697"/>
                  </a:lnTo>
                  <a:lnTo>
                    <a:pt x="4791" y="4785"/>
                  </a:lnTo>
                  <a:lnTo>
                    <a:pt x="4704" y="4868"/>
                  </a:lnTo>
                  <a:lnTo>
                    <a:pt x="4613" y="4947"/>
                  </a:lnTo>
                  <a:lnTo>
                    <a:pt x="4518" y="5022"/>
                  </a:lnTo>
                  <a:lnTo>
                    <a:pt x="4420" y="5092"/>
                  </a:lnTo>
                  <a:lnTo>
                    <a:pt x="4318" y="5157"/>
                  </a:lnTo>
                  <a:lnTo>
                    <a:pt x="4213" y="5217"/>
                  </a:lnTo>
                  <a:lnTo>
                    <a:pt x="4104" y="5272"/>
                  </a:lnTo>
                  <a:lnTo>
                    <a:pt x="3992" y="5324"/>
                  </a:lnTo>
                  <a:lnTo>
                    <a:pt x="3879" y="5368"/>
                  </a:lnTo>
                  <a:lnTo>
                    <a:pt x="3762" y="5408"/>
                  </a:lnTo>
                  <a:lnTo>
                    <a:pt x="3643" y="5441"/>
                  </a:lnTo>
                  <a:lnTo>
                    <a:pt x="3521" y="5469"/>
                  </a:lnTo>
                  <a:lnTo>
                    <a:pt x="3397" y="5491"/>
                  </a:lnTo>
                  <a:lnTo>
                    <a:pt x="3272" y="5507"/>
                  </a:lnTo>
                  <a:lnTo>
                    <a:pt x="3144" y="5517"/>
                  </a:lnTo>
                  <a:lnTo>
                    <a:pt x="3016" y="5520"/>
                  </a:lnTo>
                  <a:lnTo>
                    <a:pt x="2886" y="5517"/>
                  </a:lnTo>
                  <a:lnTo>
                    <a:pt x="2759" y="5507"/>
                  </a:lnTo>
                  <a:lnTo>
                    <a:pt x="2634" y="5491"/>
                  </a:lnTo>
                  <a:lnTo>
                    <a:pt x="2510" y="5469"/>
                  </a:lnTo>
                  <a:lnTo>
                    <a:pt x="2388" y="5441"/>
                  </a:lnTo>
                  <a:lnTo>
                    <a:pt x="2269" y="5408"/>
                  </a:lnTo>
                  <a:lnTo>
                    <a:pt x="2152" y="5368"/>
                  </a:lnTo>
                  <a:lnTo>
                    <a:pt x="2039" y="5324"/>
                  </a:lnTo>
                  <a:lnTo>
                    <a:pt x="1927" y="5272"/>
                  </a:lnTo>
                  <a:lnTo>
                    <a:pt x="1818" y="5217"/>
                  </a:lnTo>
                  <a:lnTo>
                    <a:pt x="1713" y="5157"/>
                  </a:lnTo>
                  <a:lnTo>
                    <a:pt x="1611" y="5092"/>
                  </a:lnTo>
                  <a:lnTo>
                    <a:pt x="1513" y="5022"/>
                  </a:lnTo>
                  <a:lnTo>
                    <a:pt x="1417" y="4947"/>
                  </a:lnTo>
                  <a:lnTo>
                    <a:pt x="1327" y="4868"/>
                  </a:lnTo>
                  <a:lnTo>
                    <a:pt x="1240" y="4785"/>
                  </a:lnTo>
                  <a:lnTo>
                    <a:pt x="1156" y="4697"/>
                  </a:lnTo>
                  <a:lnTo>
                    <a:pt x="1077" y="4607"/>
                  </a:lnTo>
                  <a:lnTo>
                    <a:pt x="1002" y="4512"/>
                  </a:lnTo>
                  <a:lnTo>
                    <a:pt x="932" y="4413"/>
                  </a:lnTo>
                  <a:lnTo>
                    <a:pt x="867" y="4312"/>
                  </a:lnTo>
                  <a:lnTo>
                    <a:pt x="806" y="4207"/>
                  </a:lnTo>
                  <a:lnTo>
                    <a:pt x="751" y="4098"/>
                  </a:lnTo>
                  <a:lnTo>
                    <a:pt x="701" y="3988"/>
                  </a:lnTo>
                  <a:lnTo>
                    <a:pt x="656" y="3873"/>
                  </a:lnTo>
                  <a:lnTo>
                    <a:pt x="615" y="3757"/>
                  </a:lnTo>
                  <a:lnTo>
                    <a:pt x="582" y="3638"/>
                  </a:lnTo>
                  <a:lnTo>
                    <a:pt x="554" y="3517"/>
                  </a:lnTo>
                  <a:lnTo>
                    <a:pt x="532" y="3394"/>
                  </a:lnTo>
                  <a:lnTo>
                    <a:pt x="516" y="3268"/>
                  </a:lnTo>
                  <a:lnTo>
                    <a:pt x="506" y="3141"/>
                  </a:lnTo>
                  <a:lnTo>
                    <a:pt x="503" y="3011"/>
                  </a:lnTo>
                  <a:lnTo>
                    <a:pt x="506" y="2883"/>
                  </a:lnTo>
                  <a:lnTo>
                    <a:pt x="516" y="2755"/>
                  </a:lnTo>
                  <a:lnTo>
                    <a:pt x="532" y="2630"/>
                  </a:lnTo>
                  <a:lnTo>
                    <a:pt x="554" y="2506"/>
                  </a:lnTo>
                  <a:lnTo>
                    <a:pt x="582" y="2385"/>
                  </a:lnTo>
                  <a:lnTo>
                    <a:pt x="615" y="2266"/>
                  </a:lnTo>
                  <a:lnTo>
                    <a:pt x="656" y="2149"/>
                  </a:lnTo>
                  <a:lnTo>
                    <a:pt x="701" y="2036"/>
                  </a:lnTo>
                  <a:lnTo>
                    <a:pt x="751" y="1924"/>
                  </a:lnTo>
                  <a:lnTo>
                    <a:pt x="806" y="1816"/>
                  </a:lnTo>
                  <a:lnTo>
                    <a:pt x="867" y="1712"/>
                  </a:lnTo>
                  <a:lnTo>
                    <a:pt x="932" y="1609"/>
                  </a:lnTo>
                  <a:lnTo>
                    <a:pt x="1002" y="1511"/>
                  </a:lnTo>
                  <a:lnTo>
                    <a:pt x="1077" y="1417"/>
                  </a:lnTo>
                  <a:lnTo>
                    <a:pt x="1156" y="1325"/>
                  </a:lnTo>
                  <a:lnTo>
                    <a:pt x="1240" y="1238"/>
                  </a:lnTo>
                  <a:lnTo>
                    <a:pt x="1327" y="1155"/>
                  </a:lnTo>
                  <a:lnTo>
                    <a:pt x="1417" y="1076"/>
                  </a:lnTo>
                  <a:lnTo>
                    <a:pt x="1513" y="1001"/>
                  </a:lnTo>
                  <a:lnTo>
                    <a:pt x="1611" y="932"/>
                  </a:lnTo>
                  <a:lnTo>
                    <a:pt x="1713" y="866"/>
                  </a:lnTo>
                  <a:lnTo>
                    <a:pt x="1818" y="805"/>
                  </a:lnTo>
                  <a:lnTo>
                    <a:pt x="1927" y="750"/>
                  </a:lnTo>
                  <a:lnTo>
                    <a:pt x="2039" y="700"/>
                  </a:lnTo>
                  <a:lnTo>
                    <a:pt x="2152" y="655"/>
                  </a:lnTo>
                  <a:lnTo>
                    <a:pt x="2269" y="616"/>
                  </a:lnTo>
                  <a:lnTo>
                    <a:pt x="2388" y="582"/>
                  </a:lnTo>
                  <a:lnTo>
                    <a:pt x="2510" y="553"/>
                  </a:lnTo>
                  <a:lnTo>
                    <a:pt x="2634" y="531"/>
                  </a:lnTo>
                  <a:lnTo>
                    <a:pt x="2759" y="515"/>
                  </a:lnTo>
                  <a:lnTo>
                    <a:pt x="2886" y="505"/>
                  </a:lnTo>
                  <a:lnTo>
                    <a:pt x="3016" y="502"/>
                  </a:lnTo>
                  <a:close/>
                  <a:moveTo>
                    <a:pt x="3016" y="6022"/>
                  </a:moveTo>
                  <a:lnTo>
                    <a:pt x="3170" y="6018"/>
                  </a:lnTo>
                  <a:lnTo>
                    <a:pt x="3323" y="6007"/>
                  </a:lnTo>
                  <a:lnTo>
                    <a:pt x="3474" y="5988"/>
                  </a:lnTo>
                  <a:lnTo>
                    <a:pt x="3623" y="5961"/>
                  </a:lnTo>
                  <a:lnTo>
                    <a:pt x="3768" y="5928"/>
                  </a:lnTo>
                  <a:lnTo>
                    <a:pt x="3911" y="5887"/>
                  </a:lnTo>
                  <a:lnTo>
                    <a:pt x="4052" y="5840"/>
                  </a:lnTo>
                  <a:lnTo>
                    <a:pt x="4188" y="5785"/>
                  </a:lnTo>
                  <a:lnTo>
                    <a:pt x="4322" y="5725"/>
                  </a:lnTo>
                  <a:lnTo>
                    <a:pt x="4452" y="5659"/>
                  </a:lnTo>
                  <a:lnTo>
                    <a:pt x="4577" y="5586"/>
                  </a:lnTo>
                  <a:lnTo>
                    <a:pt x="4700" y="5507"/>
                  </a:lnTo>
                  <a:lnTo>
                    <a:pt x="4819" y="5424"/>
                  </a:lnTo>
                  <a:lnTo>
                    <a:pt x="4932" y="5334"/>
                  </a:lnTo>
                  <a:lnTo>
                    <a:pt x="5042" y="5239"/>
                  </a:lnTo>
                  <a:lnTo>
                    <a:pt x="5146" y="5140"/>
                  </a:lnTo>
                  <a:lnTo>
                    <a:pt x="5247" y="5035"/>
                  </a:lnTo>
                  <a:lnTo>
                    <a:pt x="5341" y="4925"/>
                  </a:lnTo>
                  <a:lnTo>
                    <a:pt x="5431" y="4812"/>
                  </a:lnTo>
                  <a:lnTo>
                    <a:pt x="5515" y="4693"/>
                  </a:lnTo>
                  <a:lnTo>
                    <a:pt x="5594" y="4572"/>
                  </a:lnTo>
                  <a:lnTo>
                    <a:pt x="5666" y="4445"/>
                  </a:lnTo>
                  <a:lnTo>
                    <a:pt x="5733" y="4316"/>
                  </a:lnTo>
                  <a:lnTo>
                    <a:pt x="5794" y="4183"/>
                  </a:lnTo>
                  <a:lnTo>
                    <a:pt x="5848" y="4046"/>
                  </a:lnTo>
                  <a:lnTo>
                    <a:pt x="5895" y="3906"/>
                  </a:lnTo>
                  <a:lnTo>
                    <a:pt x="5935" y="3763"/>
                  </a:lnTo>
                  <a:lnTo>
                    <a:pt x="5969" y="3617"/>
                  </a:lnTo>
                  <a:lnTo>
                    <a:pt x="5996" y="3469"/>
                  </a:lnTo>
                  <a:lnTo>
                    <a:pt x="6015" y="3318"/>
                  </a:lnTo>
                  <a:lnTo>
                    <a:pt x="6027" y="3166"/>
                  </a:lnTo>
                  <a:lnTo>
                    <a:pt x="6031" y="3011"/>
                  </a:lnTo>
                  <a:lnTo>
                    <a:pt x="6027" y="2857"/>
                  </a:lnTo>
                  <a:lnTo>
                    <a:pt x="6015" y="2704"/>
                  </a:lnTo>
                  <a:lnTo>
                    <a:pt x="5996" y="2554"/>
                  </a:lnTo>
                  <a:lnTo>
                    <a:pt x="5969" y="2405"/>
                  </a:lnTo>
                  <a:lnTo>
                    <a:pt x="5935" y="2260"/>
                  </a:lnTo>
                  <a:lnTo>
                    <a:pt x="5895" y="2117"/>
                  </a:lnTo>
                  <a:lnTo>
                    <a:pt x="5848" y="1978"/>
                  </a:lnTo>
                  <a:lnTo>
                    <a:pt x="5794" y="1840"/>
                  </a:lnTo>
                  <a:lnTo>
                    <a:pt x="5733" y="1708"/>
                  </a:lnTo>
                  <a:lnTo>
                    <a:pt x="5666" y="1577"/>
                  </a:lnTo>
                  <a:lnTo>
                    <a:pt x="5594" y="1452"/>
                  </a:lnTo>
                  <a:lnTo>
                    <a:pt x="5515" y="1329"/>
                  </a:lnTo>
                  <a:lnTo>
                    <a:pt x="5431" y="1211"/>
                  </a:lnTo>
                  <a:lnTo>
                    <a:pt x="5341" y="1097"/>
                  </a:lnTo>
                  <a:lnTo>
                    <a:pt x="5247" y="988"/>
                  </a:lnTo>
                  <a:lnTo>
                    <a:pt x="5146" y="884"/>
                  </a:lnTo>
                  <a:lnTo>
                    <a:pt x="5042" y="783"/>
                  </a:lnTo>
                  <a:lnTo>
                    <a:pt x="4932" y="689"/>
                  </a:lnTo>
                  <a:lnTo>
                    <a:pt x="4819" y="600"/>
                  </a:lnTo>
                  <a:lnTo>
                    <a:pt x="4700" y="515"/>
                  </a:lnTo>
                  <a:lnTo>
                    <a:pt x="4577" y="437"/>
                  </a:lnTo>
                  <a:lnTo>
                    <a:pt x="4452" y="365"/>
                  </a:lnTo>
                  <a:lnTo>
                    <a:pt x="4322" y="297"/>
                  </a:lnTo>
                  <a:lnTo>
                    <a:pt x="4188" y="237"/>
                  </a:lnTo>
                  <a:lnTo>
                    <a:pt x="4052" y="183"/>
                  </a:lnTo>
                  <a:lnTo>
                    <a:pt x="3911" y="136"/>
                  </a:lnTo>
                  <a:lnTo>
                    <a:pt x="3768" y="96"/>
                  </a:lnTo>
                  <a:lnTo>
                    <a:pt x="3623" y="62"/>
                  </a:lnTo>
                  <a:lnTo>
                    <a:pt x="3474" y="36"/>
                  </a:lnTo>
                  <a:lnTo>
                    <a:pt x="3323" y="16"/>
                  </a:lnTo>
                  <a:lnTo>
                    <a:pt x="3170" y="4"/>
                  </a:lnTo>
                  <a:lnTo>
                    <a:pt x="3016" y="0"/>
                  </a:lnTo>
                  <a:lnTo>
                    <a:pt x="2861" y="4"/>
                  </a:lnTo>
                  <a:lnTo>
                    <a:pt x="2708" y="16"/>
                  </a:lnTo>
                  <a:lnTo>
                    <a:pt x="2557" y="36"/>
                  </a:lnTo>
                  <a:lnTo>
                    <a:pt x="2408" y="62"/>
                  </a:lnTo>
                  <a:lnTo>
                    <a:pt x="2263" y="96"/>
                  </a:lnTo>
                  <a:lnTo>
                    <a:pt x="2120" y="136"/>
                  </a:lnTo>
                  <a:lnTo>
                    <a:pt x="1979" y="183"/>
                  </a:lnTo>
                  <a:lnTo>
                    <a:pt x="1843" y="237"/>
                  </a:lnTo>
                  <a:lnTo>
                    <a:pt x="1709" y="297"/>
                  </a:lnTo>
                  <a:lnTo>
                    <a:pt x="1579" y="365"/>
                  </a:lnTo>
                  <a:lnTo>
                    <a:pt x="1453" y="437"/>
                  </a:lnTo>
                  <a:lnTo>
                    <a:pt x="1331" y="515"/>
                  </a:lnTo>
                  <a:lnTo>
                    <a:pt x="1212" y="600"/>
                  </a:lnTo>
                  <a:lnTo>
                    <a:pt x="1099" y="689"/>
                  </a:lnTo>
                  <a:lnTo>
                    <a:pt x="989" y="783"/>
                  </a:lnTo>
                  <a:lnTo>
                    <a:pt x="884" y="884"/>
                  </a:lnTo>
                  <a:lnTo>
                    <a:pt x="784" y="988"/>
                  </a:lnTo>
                  <a:lnTo>
                    <a:pt x="690" y="1097"/>
                  </a:lnTo>
                  <a:lnTo>
                    <a:pt x="600" y="1211"/>
                  </a:lnTo>
                  <a:lnTo>
                    <a:pt x="516" y="1329"/>
                  </a:lnTo>
                  <a:lnTo>
                    <a:pt x="437" y="1452"/>
                  </a:lnTo>
                  <a:lnTo>
                    <a:pt x="364" y="1577"/>
                  </a:lnTo>
                  <a:lnTo>
                    <a:pt x="298" y="1708"/>
                  </a:lnTo>
                  <a:lnTo>
                    <a:pt x="237" y="1840"/>
                  </a:lnTo>
                  <a:lnTo>
                    <a:pt x="183" y="1978"/>
                  </a:lnTo>
                  <a:lnTo>
                    <a:pt x="136" y="2117"/>
                  </a:lnTo>
                  <a:lnTo>
                    <a:pt x="95" y="2260"/>
                  </a:lnTo>
                  <a:lnTo>
                    <a:pt x="62" y="2405"/>
                  </a:lnTo>
                  <a:lnTo>
                    <a:pt x="35" y="2554"/>
                  </a:lnTo>
                  <a:lnTo>
                    <a:pt x="15" y="2704"/>
                  </a:lnTo>
                  <a:lnTo>
                    <a:pt x="4" y="2857"/>
                  </a:lnTo>
                  <a:lnTo>
                    <a:pt x="0" y="3011"/>
                  </a:lnTo>
                  <a:lnTo>
                    <a:pt x="4" y="3166"/>
                  </a:lnTo>
                  <a:lnTo>
                    <a:pt x="15" y="3318"/>
                  </a:lnTo>
                  <a:lnTo>
                    <a:pt x="35" y="3469"/>
                  </a:lnTo>
                  <a:lnTo>
                    <a:pt x="62" y="3617"/>
                  </a:lnTo>
                  <a:lnTo>
                    <a:pt x="95" y="3763"/>
                  </a:lnTo>
                  <a:lnTo>
                    <a:pt x="136" y="3906"/>
                  </a:lnTo>
                  <a:lnTo>
                    <a:pt x="183" y="4046"/>
                  </a:lnTo>
                  <a:lnTo>
                    <a:pt x="237" y="4183"/>
                  </a:lnTo>
                  <a:lnTo>
                    <a:pt x="298" y="4316"/>
                  </a:lnTo>
                  <a:lnTo>
                    <a:pt x="364" y="4445"/>
                  </a:lnTo>
                  <a:lnTo>
                    <a:pt x="437" y="4572"/>
                  </a:lnTo>
                  <a:lnTo>
                    <a:pt x="516" y="4693"/>
                  </a:lnTo>
                  <a:lnTo>
                    <a:pt x="600" y="4812"/>
                  </a:lnTo>
                  <a:lnTo>
                    <a:pt x="690" y="4925"/>
                  </a:lnTo>
                  <a:lnTo>
                    <a:pt x="784" y="5035"/>
                  </a:lnTo>
                  <a:lnTo>
                    <a:pt x="884" y="5140"/>
                  </a:lnTo>
                  <a:lnTo>
                    <a:pt x="989" y="5239"/>
                  </a:lnTo>
                  <a:lnTo>
                    <a:pt x="1099" y="5334"/>
                  </a:lnTo>
                  <a:lnTo>
                    <a:pt x="1212" y="5424"/>
                  </a:lnTo>
                  <a:lnTo>
                    <a:pt x="1331" y="5507"/>
                  </a:lnTo>
                  <a:lnTo>
                    <a:pt x="1453" y="5586"/>
                  </a:lnTo>
                  <a:lnTo>
                    <a:pt x="1579" y="5659"/>
                  </a:lnTo>
                  <a:lnTo>
                    <a:pt x="1709" y="5725"/>
                  </a:lnTo>
                  <a:lnTo>
                    <a:pt x="1843" y="5785"/>
                  </a:lnTo>
                  <a:lnTo>
                    <a:pt x="1979" y="5840"/>
                  </a:lnTo>
                  <a:lnTo>
                    <a:pt x="2120" y="5887"/>
                  </a:lnTo>
                  <a:lnTo>
                    <a:pt x="2263" y="5928"/>
                  </a:lnTo>
                  <a:lnTo>
                    <a:pt x="2408" y="5961"/>
                  </a:lnTo>
                  <a:lnTo>
                    <a:pt x="2557" y="5988"/>
                  </a:lnTo>
                  <a:lnTo>
                    <a:pt x="2708" y="6007"/>
                  </a:lnTo>
                  <a:lnTo>
                    <a:pt x="2861" y="6018"/>
                  </a:lnTo>
                  <a:lnTo>
                    <a:pt x="3016" y="60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92" name="îṣḷidè">
              <a:extLst>
                <a:ext uri="{FF2B5EF4-FFF2-40B4-BE49-F238E27FC236}">
                  <a16:creationId xmlns:a16="http://schemas.microsoft.com/office/drawing/2014/main" id="{943EFA1B-78E2-4D7F-B444-BA2E9AEA086E}"/>
                </a:ext>
              </a:extLst>
            </p:cNvPr>
            <p:cNvSpPr/>
            <p:nvPr/>
          </p:nvSpPr>
          <p:spPr bwMode="auto">
            <a:xfrm>
              <a:off x="10794516" y="620034"/>
              <a:ext cx="262524" cy="349494"/>
            </a:xfrm>
            <a:custGeom>
              <a:avLst/>
              <a:gdLst>
                <a:gd name="T0" fmla="*/ 6018 w 12062"/>
                <a:gd name="T1" fmla="*/ 15039 h 16058"/>
                <a:gd name="T2" fmla="*/ 5780 w 12062"/>
                <a:gd name="T3" fmla="*/ 14775 h 16058"/>
                <a:gd name="T4" fmla="*/ 4611 w 12062"/>
                <a:gd name="T5" fmla="*/ 13399 h 16058"/>
                <a:gd name="T6" fmla="*/ 3378 w 12062"/>
                <a:gd name="T7" fmla="*/ 11797 h 16058"/>
                <a:gd name="T8" fmla="*/ 2251 w 12062"/>
                <a:gd name="T9" fmla="*/ 10038 h 16058"/>
                <a:gd name="T10" fmla="*/ 1406 w 12062"/>
                <a:gd name="T11" fmla="*/ 8193 h 16058"/>
                <a:gd name="T12" fmla="*/ 1014 w 12062"/>
                <a:gd name="T13" fmla="*/ 6330 h 16058"/>
                <a:gd name="T14" fmla="*/ 1164 w 12062"/>
                <a:gd name="T15" fmla="*/ 4770 h 16058"/>
                <a:gd name="T16" fmla="*/ 1734 w 12062"/>
                <a:gd name="T17" fmla="*/ 3422 h 16058"/>
                <a:gd name="T18" fmla="*/ 2653 w 12062"/>
                <a:gd name="T19" fmla="*/ 2309 h 16058"/>
                <a:gd name="T20" fmla="*/ 3854 w 12062"/>
                <a:gd name="T21" fmla="*/ 1499 h 16058"/>
                <a:gd name="T22" fmla="*/ 5267 w 12062"/>
                <a:gd name="T23" fmla="*/ 1062 h 16058"/>
                <a:gd name="T24" fmla="*/ 6795 w 12062"/>
                <a:gd name="T25" fmla="*/ 1062 h 16058"/>
                <a:gd name="T26" fmla="*/ 8208 w 12062"/>
                <a:gd name="T27" fmla="*/ 1499 h 16058"/>
                <a:gd name="T28" fmla="*/ 9409 w 12062"/>
                <a:gd name="T29" fmla="*/ 2309 h 16058"/>
                <a:gd name="T30" fmla="*/ 10328 w 12062"/>
                <a:gd name="T31" fmla="*/ 3422 h 16058"/>
                <a:gd name="T32" fmla="*/ 10898 w 12062"/>
                <a:gd name="T33" fmla="*/ 4770 h 16058"/>
                <a:gd name="T34" fmla="*/ 11048 w 12062"/>
                <a:gd name="T35" fmla="*/ 6330 h 16058"/>
                <a:gd name="T36" fmla="*/ 10656 w 12062"/>
                <a:gd name="T37" fmla="*/ 8193 h 16058"/>
                <a:gd name="T38" fmla="*/ 9810 w 12062"/>
                <a:gd name="T39" fmla="*/ 10039 h 16058"/>
                <a:gd name="T40" fmla="*/ 8681 w 12062"/>
                <a:gd name="T41" fmla="*/ 11801 h 16058"/>
                <a:gd name="T42" fmla="*/ 7443 w 12062"/>
                <a:gd name="T43" fmla="*/ 13407 h 16058"/>
                <a:gd name="T44" fmla="*/ 6267 w 12062"/>
                <a:gd name="T45" fmla="*/ 14791 h 16058"/>
                <a:gd name="T46" fmla="*/ 4817 w 12062"/>
                <a:gd name="T47" fmla="*/ 121 h 16058"/>
                <a:gd name="T48" fmla="*/ 3159 w 12062"/>
                <a:gd name="T49" fmla="*/ 722 h 16058"/>
                <a:gd name="T50" fmla="*/ 1768 w 12062"/>
                <a:gd name="T51" fmla="*/ 1753 h 16058"/>
                <a:gd name="T52" fmla="*/ 729 w 12062"/>
                <a:gd name="T53" fmla="*/ 3139 h 16058"/>
                <a:gd name="T54" fmla="*/ 123 w 12062"/>
                <a:gd name="T55" fmla="*/ 4801 h 16058"/>
                <a:gd name="T56" fmla="*/ 34 w 12062"/>
                <a:gd name="T57" fmla="*/ 6682 h 16058"/>
                <a:gd name="T58" fmla="*/ 506 w 12062"/>
                <a:gd name="T59" fmla="*/ 8654 h 16058"/>
                <a:gd name="T60" fmla="*/ 1411 w 12062"/>
                <a:gd name="T61" fmla="*/ 10583 h 16058"/>
                <a:gd name="T62" fmla="*/ 2598 w 12062"/>
                <a:gd name="T63" fmla="*/ 12423 h 16058"/>
                <a:gd name="T64" fmla="*/ 3917 w 12062"/>
                <a:gd name="T65" fmla="*/ 14129 h 16058"/>
                <a:gd name="T66" fmla="*/ 5214 w 12062"/>
                <a:gd name="T67" fmla="*/ 15655 h 16058"/>
                <a:gd name="T68" fmla="*/ 5355 w 12062"/>
                <a:gd name="T69" fmla="*/ 15786 h 16058"/>
                <a:gd name="T70" fmla="*/ 5509 w 12062"/>
                <a:gd name="T71" fmla="*/ 15897 h 16058"/>
                <a:gd name="T72" fmla="*/ 5705 w 12062"/>
                <a:gd name="T73" fmla="*/ 15997 h 16058"/>
                <a:gd name="T74" fmla="*/ 5931 w 12062"/>
                <a:gd name="T75" fmla="*/ 16054 h 16058"/>
                <a:gd name="T76" fmla="*/ 6170 w 12062"/>
                <a:gd name="T77" fmla="*/ 16048 h 16058"/>
                <a:gd name="T78" fmla="*/ 6392 w 12062"/>
                <a:gd name="T79" fmla="*/ 15982 h 16058"/>
                <a:gd name="T80" fmla="*/ 6581 w 12062"/>
                <a:gd name="T81" fmla="*/ 15878 h 16058"/>
                <a:gd name="T82" fmla="*/ 6747 w 12062"/>
                <a:gd name="T83" fmla="*/ 15752 h 16058"/>
                <a:gd name="T84" fmla="*/ 7056 w 12062"/>
                <a:gd name="T85" fmla="*/ 15415 h 16058"/>
                <a:gd name="T86" fmla="*/ 8368 w 12062"/>
                <a:gd name="T87" fmla="*/ 13856 h 16058"/>
                <a:gd name="T88" fmla="*/ 9675 w 12062"/>
                <a:gd name="T89" fmla="*/ 12125 h 16058"/>
                <a:gd name="T90" fmla="*/ 10826 w 12062"/>
                <a:gd name="T91" fmla="*/ 10267 h 16058"/>
                <a:gd name="T92" fmla="*/ 11669 w 12062"/>
                <a:gd name="T93" fmla="*/ 8328 h 16058"/>
                <a:gd name="T94" fmla="*/ 12053 w 12062"/>
                <a:gd name="T95" fmla="*/ 6352 h 16058"/>
                <a:gd name="T96" fmla="*/ 11872 w 12062"/>
                <a:gd name="T97" fmla="*/ 4508 h 16058"/>
                <a:gd name="T98" fmla="*/ 11188 w 12062"/>
                <a:gd name="T99" fmla="*/ 2887 h 16058"/>
                <a:gd name="T100" fmla="*/ 10084 w 12062"/>
                <a:gd name="T101" fmla="*/ 1555 h 16058"/>
                <a:gd name="T102" fmla="*/ 8644 w 12062"/>
                <a:gd name="T103" fmla="*/ 589 h 16058"/>
                <a:gd name="T104" fmla="*/ 6948 w 12062"/>
                <a:gd name="T105" fmla="*/ 68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062" h="16058">
                  <a:moveTo>
                    <a:pt x="6090" y="14996"/>
                  </a:moveTo>
                  <a:lnTo>
                    <a:pt x="6078" y="15005"/>
                  </a:lnTo>
                  <a:lnTo>
                    <a:pt x="6062" y="15018"/>
                  </a:lnTo>
                  <a:lnTo>
                    <a:pt x="6042" y="15032"/>
                  </a:lnTo>
                  <a:lnTo>
                    <a:pt x="6021" y="15045"/>
                  </a:lnTo>
                  <a:lnTo>
                    <a:pt x="6018" y="15039"/>
                  </a:lnTo>
                  <a:lnTo>
                    <a:pt x="6012" y="15032"/>
                  </a:lnTo>
                  <a:lnTo>
                    <a:pt x="6004" y="15024"/>
                  </a:lnTo>
                  <a:lnTo>
                    <a:pt x="5995" y="15015"/>
                  </a:lnTo>
                  <a:lnTo>
                    <a:pt x="5975" y="14996"/>
                  </a:lnTo>
                  <a:lnTo>
                    <a:pt x="5956" y="14978"/>
                  </a:lnTo>
                  <a:lnTo>
                    <a:pt x="5780" y="14775"/>
                  </a:lnTo>
                  <a:lnTo>
                    <a:pt x="5597" y="14565"/>
                  </a:lnTo>
                  <a:lnTo>
                    <a:pt x="5408" y="14346"/>
                  </a:lnTo>
                  <a:lnTo>
                    <a:pt x="5215" y="14120"/>
                  </a:lnTo>
                  <a:lnTo>
                    <a:pt x="5017" y="13886"/>
                  </a:lnTo>
                  <a:lnTo>
                    <a:pt x="4815" y="13646"/>
                  </a:lnTo>
                  <a:lnTo>
                    <a:pt x="4611" y="13399"/>
                  </a:lnTo>
                  <a:lnTo>
                    <a:pt x="4406" y="13145"/>
                  </a:lnTo>
                  <a:lnTo>
                    <a:pt x="4199" y="12887"/>
                  </a:lnTo>
                  <a:lnTo>
                    <a:pt x="3992" y="12622"/>
                  </a:lnTo>
                  <a:lnTo>
                    <a:pt x="3785" y="12352"/>
                  </a:lnTo>
                  <a:lnTo>
                    <a:pt x="3580" y="12077"/>
                  </a:lnTo>
                  <a:lnTo>
                    <a:pt x="3378" y="11797"/>
                  </a:lnTo>
                  <a:lnTo>
                    <a:pt x="3178" y="11513"/>
                  </a:lnTo>
                  <a:lnTo>
                    <a:pt x="2982" y="11225"/>
                  </a:lnTo>
                  <a:lnTo>
                    <a:pt x="2790" y="10932"/>
                  </a:lnTo>
                  <a:lnTo>
                    <a:pt x="2604" y="10637"/>
                  </a:lnTo>
                  <a:lnTo>
                    <a:pt x="2424" y="10339"/>
                  </a:lnTo>
                  <a:lnTo>
                    <a:pt x="2251" y="10038"/>
                  </a:lnTo>
                  <a:lnTo>
                    <a:pt x="2087" y="9734"/>
                  </a:lnTo>
                  <a:lnTo>
                    <a:pt x="1930" y="9429"/>
                  </a:lnTo>
                  <a:lnTo>
                    <a:pt x="1782" y="9122"/>
                  </a:lnTo>
                  <a:lnTo>
                    <a:pt x="1645" y="8813"/>
                  </a:lnTo>
                  <a:lnTo>
                    <a:pt x="1520" y="8504"/>
                  </a:lnTo>
                  <a:lnTo>
                    <a:pt x="1406" y="8193"/>
                  </a:lnTo>
                  <a:lnTo>
                    <a:pt x="1305" y="7881"/>
                  </a:lnTo>
                  <a:lnTo>
                    <a:pt x="1216" y="7570"/>
                  </a:lnTo>
                  <a:lnTo>
                    <a:pt x="1142" y="7259"/>
                  </a:lnTo>
                  <a:lnTo>
                    <a:pt x="1083" y="6948"/>
                  </a:lnTo>
                  <a:lnTo>
                    <a:pt x="1040" y="6639"/>
                  </a:lnTo>
                  <a:lnTo>
                    <a:pt x="1014" y="6330"/>
                  </a:lnTo>
                  <a:lnTo>
                    <a:pt x="1005" y="6023"/>
                  </a:lnTo>
                  <a:lnTo>
                    <a:pt x="1011" y="5765"/>
                  </a:lnTo>
                  <a:lnTo>
                    <a:pt x="1031" y="5510"/>
                  </a:lnTo>
                  <a:lnTo>
                    <a:pt x="1063" y="5259"/>
                  </a:lnTo>
                  <a:lnTo>
                    <a:pt x="1108" y="5012"/>
                  </a:lnTo>
                  <a:lnTo>
                    <a:pt x="1164" y="4770"/>
                  </a:lnTo>
                  <a:lnTo>
                    <a:pt x="1231" y="4532"/>
                  </a:lnTo>
                  <a:lnTo>
                    <a:pt x="1311" y="4299"/>
                  </a:lnTo>
                  <a:lnTo>
                    <a:pt x="1401" y="4071"/>
                  </a:lnTo>
                  <a:lnTo>
                    <a:pt x="1502" y="3849"/>
                  </a:lnTo>
                  <a:lnTo>
                    <a:pt x="1612" y="3632"/>
                  </a:lnTo>
                  <a:lnTo>
                    <a:pt x="1734" y="3422"/>
                  </a:lnTo>
                  <a:lnTo>
                    <a:pt x="1864" y="3219"/>
                  </a:lnTo>
                  <a:lnTo>
                    <a:pt x="2005" y="3022"/>
                  </a:lnTo>
                  <a:lnTo>
                    <a:pt x="2154" y="2832"/>
                  </a:lnTo>
                  <a:lnTo>
                    <a:pt x="2313" y="2650"/>
                  </a:lnTo>
                  <a:lnTo>
                    <a:pt x="2479" y="2475"/>
                  </a:lnTo>
                  <a:lnTo>
                    <a:pt x="2653" y="2309"/>
                  </a:lnTo>
                  <a:lnTo>
                    <a:pt x="2836" y="2151"/>
                  </a:lnTo>
                  <a:lnTo>
                    <a:pt x="3026" y="2002"/>
                  </a:lnTo>
                  <a:lnTo>
                    <a:pt x="3223" y="1862"/>
                  </a:lnTo>
                  <a:lnTo>
                    <a:pt x="3427" y="1731"/>
                  </a:lnTo>
                  <a:lnTo>
                    <a:pt x="3637" y="1610"/>
                  </a:lnTo>
                  <a:lnTo>
                    <a:pt x="3854" y="1499"/>
                  </a:lnTo>
                  <a:lnTo>
                    <a:pt x="4077" y="1399"/>
                  </a:lnTo>
                  <a:lnTo>
                    <a:pt x="4305" y="1309"/>
                  </a:lnTo>
                  <a:lnTo>
                    <a:pt x="4538" y="1229"/>
                  </a:lnTo>
                  <a:lnTo>
                    <a:pt x="4776" y="1162"/>
                  </a:lnTo>
                  <a:lnTo>
                    <a:pt x="5019" y="1106"/>
                  </a:lnTo>
                  <a:lnTo>
                    <a:pt x="5267" y="1062"/>
                  </a:lnTo>
                  <a:lnTo>
                    <a:pt x="5518" y="1030"/>
                  </a:lnTo>
                  <a:lnTo>
                    <a:pt x="5773" y="1010"/>
                  </a:lnTo>
                  <a:lnTo>
                    <a:pt x="6032" y="1004"/>
                  </a:lnTo>
                  <a:lnTo>
                    <a:pt x="6289" y="1010"/>
                  </a:lnTo>
                  <a:lnTo>
                    <a:pt x="6544" y="1030"/>
                  </a:lnTo>
                  <a:lnTo>
                    <a:pt x="6795" y="1062"/>
                  </a:lnTo>
                  <a:lnTo>
                    <a:pt x="7043" y="1106"/>
                  </a:lnTo>
                  <a:lnTo>
                    <a:pt x="7286" y="1162"/>
                  </a:lnTo>
                  <a:lnTo>
                    <a:pt x="7524" y="1229"/>
                  </a:lnTo>
                  <a:lnTo>
                    <a:pt x="7757" y="1309"/>
                  </a:lnTo>
                  <a:lnTo>
                    <a:pt x="7985" y="1399"/>
                  </a:lnTo>
                  <a:lnTo>
                    <a:pt x="8208" y="1499"/>
                  </a:lnTo>
                  <a:lnTo>
                    <a:pt x="8425" y="1610"/>
                  </a:lnTo>
                  <a:lnTo>
                    <a:pt x="8635" y="1731"/>
                  </a:lnTo>
                  <a:lnTo>
                    <a:pt x="8839" y="1862"/>
                  </a:lnTo>
                  <a:lnTo>
                    <a:pt x="9036" y="2002"/>
                  </a:lnTo>
                  <a:lnTo>
                    <a:pt x="9226" y="2151"/>
                  </a:lnTo>
                  <a:lnTo>
                    <a:pt x="9409" y="2309"/>
                  </a:lnTo>
                  <a:lnTo>
                    <a:pt x="9583" y="2475"/>
                  </a:lnTo>
                  <a:lnTo>
                    <a:pt x="9749" y="2650"/>
                  </a:lnTo>
                  <a:lnTo>
                    <a:pt x="9908" y="2832"/>
                  </a:lnTo>
                  <a:lnTo>
                    <a:pt x="10057" y="3022"/>
                  </a:lnTo>
                  <a:lnTo>
                    <a:pt x="10198" y="3219"/>
                  </a:lnTo>
                  <a:lnTo>
                    <a:pt x="10328" y="3422"/>
                  </a:lnTo>
                  <a:lnTo>
                    <a:pt x="10450" y="3632"/>
                  </a:lnTo>
                  <a:lnTo>
                    <a:pt x="10560" y="3849"/>
                  </a:lnTo>
                  <a:lnTo>
                    <a:pt x="10661" y="4071"/>
                  </a:lnTo>
                  <a:lnTo>
                    <a:pt x="10751" y="4299"/>
                  </a:lnTo>
                  <a:lnTo>
                    <a:pt x="10831" y="4532"/>
                  </a:lnTo>
                  <a:lnTo>
                    <a:pt x="10898" y="4770"/>
                  </a:lnTo>
                  <a:lnTo>
                    <a:pt x="10954" y="5012"/>
                  </a:lnTo>
                  <a:lnTo>
                    <a:pt x="10999" y="5259"/>
                  </a:lnTo>
                  <a:lnTo>
                    <a:pt x="11031" y="5510"/>
                  </a:lnTo>
                  <a:lnTo>
                    <a:pt x="11051" y="5765"/>
                  </a:lnTo>
                  <a:lnTo>
                    <a:pt x="11057" y="6023"/>
                  </a:lnTo>
                  <a:lnTo>
                    <a:pt x="11048" y="6330"/>
                  </a:lnTo>
                  <a:lnTo>
                    <a:pt x="11022" y="6639"/>
                  </a:lnTo>
                  <a:lnTo>
                    <a:pt x="10979" y="6948"/>
                  </a:lnTo>
                  <a:lnTo>
                    <a:pt x="10920" y="7259"/>
                  </a:lnTo>
                  <a:lnTo>
                    <a:pt x="10846" y="7570"/>
                  </a:lnTo>
                  <a:lnTo>
                    <a:pt x="10757" y="7881"/>
                  </a:lnTo>
                  <a:lnTo>
                    <a:pt x="10656" y="8193"/>
                  </a:lnTo>
                  <a:lnTo>
                    <a:pt x="10542" y="8504"/>
                  </a:lnTo>
                  <a:lnTo>
                    <a:pt x="10416" y="8814"/>
                  </a:lnTo>
                  <a:lnTo>
                    <a:pt x="10279" y="9122"/>
                  </a:lnTo>
                  <a:lnTo>
                    <a:pt x="10132" y="9430"/>
                  </a:lnTo>
                  <a:lnTo>
                    <a:pt x="9975" y="9735"/>
                  </a:lnTo>
                  <a:lnTo>
                    <a:pt x="9810" y="10039"/>
                  </a:lnTo>
                  <a:lnTo>
                    <a:pt x="9637" y="10340"/>
                  </a:lnTo>
                  <a:lnTo>
                    <a:pt x="9457" y="10639"/>
                  </a:lnTo>
                  <a:lnTo>
                    <a:pt x="9270" y="10934"/>
                  </a:lnTo>
                  <a:lnTo>
                    <a:pt x="9078" y="11227"/>
                  </a:lnTo>
                  <a:lnTo>
                    <a:pt x="8882" y="11516"/>
                  </a:lnTo>
                  <a:lnTo>
                    <a:pt x="8681" y="11801"/>
                  </a:lnTo>
                  <a:lnTo>
                    <a:pt x="8478" y="12081"/>
                  </a:lnTo>
                  <a:lnTo>
                    <a:pt x="8272" y="12357"/>
                  </a:lnTo>
                  <a:lnTo>
                    <a:pt x="8065" y="12628"/>
                  </a:lnTo>
                  <a:lnTo>
                    <a:pt x="7857" y="12893"/>
                  </a:lnTo>
                  <a:lnTo>
                    <a:pt x="7650" y="13154"/>
                  </a:lnTo>
                  <a:lnTo>
                    <a:pt x="7443" y="13407"/>
                  </a:lnTo>
                  <a:lnTo>
                    <a:pt x="7238" y="13655"/>
                  </a:lnTo>
                  <a:lnTo>
                    <a:pt x="7036" y="13897"/>
                  </a:lnTo>
                  <a:lnTo>
                    <a:pt x="6837" y="14132"/>
                  </a:lnTo>
                  <a:lnTo>
                    <a:pt x="6642" y="14359"/>
                  </a:lnTo>
                  <a:lnTo>
                    <a:pt x="6452" y="14579"/>
                  </a:lnTo>
                  <a:lnTo>
                    <a:pt x="6267" y="14791"/>
                  </a:lnTo>
                  <a:lnTo>
                    <a:pt x="6090" y="14996"/>
                  </a:lnTo>
                  <a:close/>
                  <a:moveTo>
                    <a:pt x="6032" y="0"/>
                  </a:moveTo>
                  <a:lnTo>
                    <a:pt x="5721" y="8"/>
                  </a:lnTo>
                  <a:lnTo>
                    <a:pt x="5415" y="31"/>
                  </a:lnTo>
                  <a:lnTo>
                    <a:pt x="5114" y="68"/>
                  </a:lnTo>
                  <a:lnTo>
                    <a:pt x="4817" y="121"/>
                  </a:lnTo>
                  <a:lnTo>
                    <a:pt x="4526" y="188"/>
                  </a:lnTo>
                  <a:lnTo>
                    <a:pt x="4239" y="268"/>
                  </a:lnTo>
                  <a:lnTo>
                    <a:pt x="3959" y="362"/>
                  </a:lnTo>
                  <a:lnTo>
                    <a:pt x="3686" y="470"/>
                  </a:lnTo>
                  <a:lnTo>
                    <a:pt x="3418" y="589"/>
                  </a:lnTo>
                  <a:lnTo>
                    <a:pt x="3159" y="722"/>
                  </a:lnTo>
                  <a:lnTo>
                    <a:pt x="2906" y="865"/>
                  </a:lnTo>
                  <a:lnTo>
                    <a:pt x="2661" y="1021"/>
                  </a:lnTo>
                  <a:lnTo>
                    <a:pt x="2424" y="1188"/>
                  </a:lnTo>
                  <a:lnTo>
                    <a:pt x="2197" y="1366"/>
                  </a:lnTo>
                  <a:lnTo>
                    <a:pt x="1978" y="1555"/>
                  </a:lnTo>
                  <a:lnTo>
                    <a:pt x="1768" y="1753"/>
                  </a:lnTo>
                  <a:lnTo>
                    <a:pt x="1569" y="1962"/>
                  </a:lnTo>
                  <a:lnTo>
                    <a:pt x="1379" y="2180"/>
                  </a:lnTo>
                  <a:lnTo>
                    <a:pt x="1200" y="2407"/>
                  </a:lnTo>
                  <a:lnTo>
                    <a:pt x="1031" y="2643"/>
                  </a:lnTo>
                  <a:lnTo>
                    <a:pt x="874" y="2887"/>
                  </a:lnTo>
                  <a:lnTo>
                    <a:pt x="729" y="3139"/>
                  </a:lnTo>
                  <a:lnTo>
                    <a:pt x="596" y="3399"/>
                  </a:lnTo>
                  <a:lnTo>
                    <a:pt x="474" y="3666"/>
                  </a:lnTo>
                  <a:lnTo>
                    <a:pt x="367" y="3940"/>
                  </a:lnTo>
                  <a:lnTo>
                    <a:pt x="271" y="4221"/>
                  </a:lnTo>
                  <a:lnTo>
                    <a:pt x="190" y="4508"/>
                  </a:lnTo>
                  <a:lnTo>
                    <a:pt x="123" y="4801"/>
                  </a:lnTo>
                  <a:lnTo>
                    <a:pt x="69" y="5099"/>
                  </a:lnTo>
                  <a:lnTo>
                    <a:pt x="31" y="5403"/>
                  </a:lnTo>
                  <a:lnTo>
                    <a:pt x="8" y="5711"/>
                  </a:lnTo>
                  <a:lnTo>
                    <a:pt x="0" y="6023"/>
                  </a:lnTo>
                  <a:lnTo>
                    <a:pt x="9" y="6352"/>
                  </a:lnTo>
                  <a:lnTo>
                    <a:pt x="34" y="6682"/>
                  </a:lnTo>
                  <a:lnTo>
                    <a:pt x="76" y="7012"/>
                  </a:lnTo>
                  <a:lnTo>
                    <a:pt x="134" y="7342"/>
                  </a:lnTo>
                  <a:lnTo>
                    <a:pt x="206" y="7671"/>
                  </a:lnTo>
                  <a:lnTo>
                    <a:pt x="292" y="8000"/>
                  </a:lnTo>
                  <a:lnTo>
                    <a:pt x="393" y="8328"/>
                  </a:lnTo>
                  <a:lnTo>
                    <a:pt x="506" y="8654"/>
                  </a:lnTo>
                  <a:lnTo>
                    <a:pt x="630" y="8980"/>
                  </a:lnTo>
                  <a:lnTo>
                    <a:pt x="767" y="9305"/>
                  </a:lnTo>
                  <a:lnTo>
                    <a:pt x="914" y="9628"/>
                  </a:lnTo>
                  <a:lnTo>
                    <a:pt x="1070" y="9948"/>
                  </a:lnTo>
                  <a:lnTo>
                    <a:pt x="1236" y="10267"/>
                  </a:lnTo>
                  <a:lnTo>
                    <a:pt x="1411" y="10583"/>
                  </a:lnTo>
                  <a:lnTo>
                    <a:pt x="1593" y="10897"/>
                  </a:lnTo>
                  <a:lnTo>
                    <a:pt x="1783" y="11208"/>
                  </a:lnTo>
                  <a:lnTo>
                    <a:pt x="1979" y="11518"/>
                  </a:lnTo>
                  <a:lnTo>
                    <a:pt x="2180" y="11823"/>
                  </a:lnTo>
                  <a:lnTo>
                    <a:pt x="2387" y="12125"/>
                  </a:lnTo>
                  <a:lnTo>
                    <a:pt x="2598" y="12423"/>
                  </a:lnTo>
                  <a:lnTo>
                    <a:pt x="2813" y="12718"/>
                  </a:lnTo>
                  <a:lnTo>
                    <a:pt x="3030" y="13009"/>
                  </a:lnTo>
                  <a:lnTo>
                    <a:pt x="3250" y="13296"/>
                  </a:lnTo>
                  <a:lnTo>
                    <a:pt x="3473" y="13578"/>
                  </a:lnTo>
                  <a:lnTo>
                    <a:pt x="3695" y="13856"/>
                  </a:lnTo>
                  <a:lnTo>
                    <a:pt x="3917" y="14129"/>
                  </a:lnTo>
                  <a:lnTo>
                    <a:pt x="4139" y="14397"/>
                  </a:lnTo>
                  <a:lnTo>
                    <a:pt x="4359" y="14659"/>
                  </a:lnTo>
                  <a:lnTo>
                    <a:pt x="4577" y="14917"/>
                  </a:lnTo>
                  <a:lnTo>
                    <a:pt x="4793" y="15169"/>
                  </a:lnTo>
                  <a:lnTo>
                    <a:pt x="5006" y="15415"/>
                  </a:lnTo>
                  <a:lnTo>
                    <a:pt x="5214" y="15655"/>
                  </a:lnTo>
                  <a:lnTo>
                    <a:pt x="5219" y="15661"/>
                  </a:lnTo>
                  <a:lnTo>
                    <a:pt x="5233" y="15675"/>
                  </a:lnTo>
                  <a:lnTo>
                    <a:pt x="5254" y="15695"/>
                  </a:lnTo>
                  <a:lnTo>
                    <a:pt x="5281" y="15722"/>
                  </a:lnTo>
                  <a:lnTo>
                    <a:pt x="5315" y="15752"/>
                  </a:lnTo>
                  <a:lnTo>
                    <a:pt x="5355" y="15786"/>
                  </a:lnTo>
                  <a:lnTo>
                    <a:pt x="5377" y="15804"/>
                  </a:lnTo>
                  <a:lnTo>
                    <a:pt x="5401" y="15822"/>
                  </a:lnTo>
                  <a:lnTo>
                    <a:pt x="5426" y="15841"/>
                  </a:lnTo>
                  <a:lnTo>
                    <a:pt x="5453" y="15860"/>
                  </a:lnTo>
                  <a:lnTo>
                    <a:pt x="5480" y="15878"/>
                  </a:lnTo>
                  <a:lnTo>
                    <a:pt x="5509" y="15897"/>
                  </a:lnTo>
                  <a:lnTo>
                    <a:pt x="5539" y="15915"/>
                  </a:lnTo>
                  <a:lnTo>
                    <a:pt x="5570" y="15933"/>
                  </a:lnTo>
                  <a:lnTo>
                    <a:pt x="5602" y="15950"/>
                  </a:lnTo>
                  <a:lnTo>
                    <a:pt x="5635" y="15967"/>
                  </a:lnTo>
                  <a:lnTo>
                    <a:pt x="5670" y="15982"/>
                  </a:lnTo>
                  <a:lnTo>
                    <a:pt x="5705" y="15997"/>
                  </a:lnTo>
                  <a:lnTo>
                    <a:pt x="5740" y="16010"/>
                  </a:lnTo>
                  <a:lnTo>
                    <a:pt x="5777" y="16022"/>
                  </a:lnTo>
                  <a:lnTo>
                    <a:pt x="5814" y="16032"/>
                  </a:lnTo>
                  <a:lnTo>
                    <a:pt x="5853" y="16041"/>
                  </a:lnTo>
                  <a:lnTo>
                    <a:pt x="5892" y="16048"/>
                  </a:lnTo>
                  <a:lnTo>
                    <a:pt x="5931" y="16054"/>
                  </a:lnTo>
                  <a:lnTo>
                    <a:pt x="5971" y="16057"/>
                  </a:lnTo>
                  <a:lnTo>
                    <a:pt x="6011" y="16058"/>
                  </a:lnTo>
                  <a:lnTo>
                    <a:pt x="6051" y="16058"/>
                  </a:lnTo>
                  <a:lnTo>
                    <a:pt x="6091" y="16057"/>
                  </a:lnTo>
                  <a:lnTo>
                    <a:pt x="6131" y="16054"/>
                  </a:lnTo>
                  <a:lnTo>
                    <a:pt x="6170" y="16048"/>
                  </a:lnTo>
                  <a:lnTo>
                    <a:pt x="6209" y="16041"/>
                  </a:lnTo>
                  <a:lnTo>
                    <a:pt x="6248" y="16032"/>
                  </a:lnTo>
                  <a:lnTo>
                    <a:pt x="6285" y="16022"/>
                  </a:lnTo>
                  <a:lnTo>
                    <a:pt x="6322" y="16010"/>
                  </a:lnTo>
                  <a:lnTo>
                    <a:pt x="6357" y="15997"/>
                  </a:lnTo>
                  <a:lnTo>
                    <a:pt x="6392" y="15982"/>
                  </a:lnTo>
                  <a:lnTo>
                    <a:pt x="6427" y="15967"/>
                  </a:lnTo>
                  <a:lnTo>
                    <a:pt x="6460" y="15950"/>
                  </a:lnTo>
                  <a:lnTo>
                    <a:pt x="6492" y="15933"/>
                  </a:lnTo>
                  <a:lnTo>
                    <a:pt x="6523" y="15915"/>
                  </a:lnTo>
                  <a:lnTo>
                    <a:pt x="6553" y="15897"/>
                  </a:lnTo>
                  <a:lnTo>
                    <a:pt x="6581" y="15878"/>
                  </a:lnTo>
                  <a:lnTo>
                    <a:pt x="6609" y="15860"/>
                  </a:lnTo>
                  <a:lnTo>
                    <a:pt x="6636" y="15841"/>
                  </a:lnTo>
                  <a:lnTo>
                    <a:pt x="6661" y="15822"/>
                  </a:lnTo>
                  <a:lnTo>
                    <a:pt x="6684" y="15804"/>
                  </a:lnTo>
                  <a:lnTo>
                    <a:pt x="6707" y="15786"/>
                  </a:lnTo>
                  <a:lnTo>
                    <a:pt x="6747" y="15752"/>
                  </a:lnTo>
                  <a:lnTo>
                    <a:pt x="6780" y="15722"/>
                  </a:lnTo>
                  <a:lnTo>
                    <a:pt x="6808" y="15695"/>
                  </a:lnTo>
                  <a:lnTo>
                    <a:pt x="6829" y="15675"/>
                  </a:lnTo>
                  <a:lnTo>
                    <a:pt x="6842" y="15661"/>
                  </a:lnTo>
                  <a:lnTo>
                    <a:pt x="6848" y="15655"/>
                  </a:lnTo>
                  <a:lnTo>
                    <a:pt x="7056" y="15415"/>
                  </a:lnTo>
                  <a:lnTo>
                    <a:pt x="7269" y="15169"/>
                  </a:lnTo>
                  <a:lnTo>
                    <a:pt x="7485" y="14917"/>
                  </a:lnTo>
                  <a:lnTo>
                    <a:pt x="7703" y="14659"/>
                  </a:lnTo>
                  <a:lnTo>
                    <a:pt x="7924" y="14397"/>
                  </a:lnTo>
                  <a:lnTo>
                    <a:pt x="8145" y="14129"/>
                  </a:lnTo>
                  <a:lnTo>
                    <a:pt x="8368" y="13856"/>
                  </a:lnTo>
                  <a:lnTo>
                    <a:pt x="8590" y="13578"/>
                  </a:lnTo>
                  <a:lnTo>
                    <a:pt x="8812" y="13296"/>
                  </a:lnTo>
                  <a:lnTo>
                    <a:pt x="9032" y="13009"/>
                  </a:lnTo>
                  <a:lnTo>
                    <a:pt x="9249" y="12718"/>
                  </a:lnTo>
                  <a:lnTo>
                    <a:pt x="9464" y="12423"/>
                  </a:lnTo>
                  <a:lnTo>
                    <a:pt x="9675" y="12125"/>
                  </a:lnTo>
                  <a:lnTo>
                    <a:pt x="9882" y="11823"/>
                  </a:lnTo>
                  <a:lnTo>
                    <a:pt x="10084" y="11518"/>
                  </a:lnTo>
                  <a:lnTo>
                    <a:pt x="10280" y="11208"/>
                  </a:lnTo>
                  <a:lnTo>
                    <a:pt x="10469" y="10897"/>
                  </a:lnTo>
                  <a:lnTo>
                    <a:pt x="10652" y="10583"/>
                  </a:lnTo>
                  <a:lnTo>
                    <a:pt x="10826" y="10267"/>
                  </a:lnTo>
                  <a:lnTo>
                    <a:pt x="10992" y="9948"/>
                  </a:lnTo>
                  <a:lnTo>
                    <a:pt x="11148" y="9628"/>
                  </a:lnTo>
                  <a:lnTo>
                    <a:pt x="11295" y="9305"/>
                  </a:lnTo>
                  <a:lnTo>
                    <a:pt x="11432" y="8980"/>
                  </a:lnTo>
                  <a:lnTo>
                    <a:pt x="11556" y="8654"/>
                  </a:lnTo>
                  <a:lnTo>
                    <a:pt x="11669" y="8328"/>
                  </a:lnTo>
                  <a:lnTo>
                    <a:pt x="11770" y="8000"/>
                  </a:lnTo>
                  <a:lnTo>
                    <a:pt x="11856" y="7671"/>
                  </a:lnTo>
                  <a:lnTo>
                    <a:pt x="11928" y="7342"/>
                  </a:lnTo>
                  <a:lnTo>
                    <a:pt x="11986" y="7012"/>
                  </a:lnTo>
                  <a:lnTo>
                    <a:pt x="12028" y="6682"/>
                  </a:lnTo>
                  <a:lnTo>
                    <a:pt x="12053" y="6352"/>
                  </a:lnTo>
                  <a:lnTo>
                    <a:pt x="12062" y="6023"/>
                  </a:lnTo>
                  <a:lnTo>
                    <a:pt x="12054" y="5711"/>
                  </a:lnTo>
                  <a:lnTo>
                    <a:pt x="12031" y="5403"/>
                  </a:lnTo>
                  <a:lnTo>
                    <a:pt x="11993" y="5099"/>
                  </a:lnTo>
                  <a:lnTo>
                    <a:pt x="11939" y="4801"/>
                  </a:lnTo>
                  <a:lnTo>
                    <a:pt x="11872" y="4508"/>
                  </a:lnTo>
                  <a:lnTo>
                    <a:pt x="11791" y="4221"/>
                  </a:lnTo>
                  <a:lnTo>
                    <a:pt x="11695" y="3940"/>
                  </a:lnTo>
                  <a:lnTo>
                    <a:pt x="11588" y="3666"/>
                  </a:lnTo>
                  <a:lnTo>
                    <a:pt x="11466" y="3399"/>
                  </a:lnTo>
                  <a:lnTo>
                    <a:pt x="11333" y="3139"/>
                  </a:lnTo>
                  <a:lnTo>
                    <a:pt x="11188" y="2887"/>
                  </a:lnTo>
                  <a:lnTo>
                    <a:pt x="11031" y="2643"/>
                  </a:lnTo>
                  <a:lnTo>
                    <a:pt x="10862" y="2407"/>
                  </a:lnTo>
                  <a:lnTo>
                    <a:pt x="10683" y="2180"/>
                  </a:lnTo>
                  <a:lnTo>
                    <a:pt x="10493" y="1962"/>
                  </a:lnTo>
                  <a:lnTo>
                    <a:pt x="10294" y="1753"/>
                  </a:lnTo>
                  <a:lnTo>
                    <a:pt x="10084" y="1555"/>
                  </a:lnTo>
                  <a:lnTo>
                    <a:pt x="9865" y="1366"/>
                  </a:lnTo>
                  <a:lnTo>
                    <a:pt x="9638" y="1188"/>
                  </a:lnTo>
                  <a:lnTo>
                    <a:pt x="9401" y="1021"/>
                  </a:lnTo>
                  <a:lnTo>
                    <a:pt x="9156" y="865"/>
                  </a:lnTo>
                  <a:lnTo>
                    <a:pt x="8903" y="722"/>
                  </a:lnTo>
                  <a:lnTo>
                    <a:pt x="8644" y="589"/>
                  </a:lnTo>
                  <a:lnTo>
                    <a:pt x="8376" y="470"/>
                  </a:lnTo>
                  <a:lnTo>
                    <a:pt x="8103" y="362"/>
                  </a:lnTo>
                  <a:lnTo>
                    <a:pt x="7823" y="268"/>
                  </a:lnTo>
                  <a:lnTo>
                    <a:pt x="7536" y="188"/>
                  </a:lnTo>
                  <a:lnTo>
                    <a:pt x="7245" y="121"/>
                  </a:lnTo>
                  <a:lnTo>
                    <a:pt x="6948" y="68"/>
                  </a:lnTo>
                  <a:lnTo>
                    <a:pt x="6647" y="31"/>
                  </a:lnTo>
                  <a:lnTo>
                    <a:pt x="6341" y="8"/>
                  </a:lnTo>
                  <a:lnTo>
                    <a:pt x="60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93" name="iṧḷíde">
              <a:extLst>
                <a:ext uri="{FF2B5EF4-FFF2-40B4-BE49-F238E27FC236}">
                  <a16:creationId xmlns:a16="http://schemas.microsoft.com/office/drawing/2014/main" id="{91DDCDD7-B61B-41E7-9E17-87742D6B21A0}"/>
                </a:ext>
              </a:extLst>
            </p:cNvPr>
            <p:cNvSpPr/>
            <p:nvPr/>
          </p:nvSpPr>
          <p:spPr bwMode="auto">
            <a:xfrm>
              <a:off x="9099546" y="2283754"/>
              <a:ext cx="265011" cy="190515"/>
            </a:xfrm>
            <a:custGeom>
              <a:avLst/>
              <a:gdLst>
                <a:gd name="T0" fmla="*/ 2486 w 16058"/>
                <a:gd name="T1" fmla="*/ 10403 h 11544"/>
                <a:gd name="T2" fmla="*/ 1591 w 16058"/>
                <a:gd name="T3" fmla="*/ 9798 h 11544"/>
                <a:gd name="T4" fmla="*/ 1075 w 16058"/>
                <a:gd name="T5" fmla="*/ 8845 h 11544"/>
                <a:gd name="T6" fmla="*/ 1034 w 16058"/>
                <a:gd name="T7" fmla="*/ 7911 h 11544"/>
                <a:gd name="T8" fmla="*/ 1269 w 16058"/>
                <a:gd name="T9" fmla="*/ 7227 h 11544"/>
                <a:gd name="T10" fmla="*/ 1712 w 16058"/>
                <a:gd name="T11" fmla="*/ 6654 h 11544"/>
                <a:gd name="T12" fmla="*/ 2311 w 16058"/>
                <a:gd name="T13" fmla="*/ 6236 h 11544"/>
                <a:gd name="T14" fmla="*/ 2677 w 16058"/>
                <a:gd name="T15" fmla="*/ 5951 h 11544"/>
                <a:gd name="T16" fmla="*/ 2739 w 16058"/>
                <a:gd name="T17" fmla="*/ 5626 h 11544"/>
                <a:gd name="T18" fmla="*/ 2564 w 16058"/>
                <a:gd name="T19" fmla="*/ 5102 h 11544"/>
                <a:gd name="T20" fmla="*/ 2509 w 16058"/>
                <a:gd name="T21" fmla="*/ 4790 h 11544"/>
                <a:gd name="T22" fmla="*/ 2634 w 16058"/>
                <a:gd name="T23" fmla="*/ 4225 h 11544"/>
                <a:gd name="T24" fmla="*/ 3014 w 16058"/>
                <a:gd name="T25" fmla="*/ 3763 h 11544"/>
                <a:gd name="T26" fmla="*/ 3573 w 16058"/>
                <a:gd name="T27" fmla="*/ 3528 h 11544"/>
                <a:gd name="T28" fmla="*/ 4022 w 16058"/>
                <a:gd name="T29" fmla="*/ 3524 h 11544"/>
                <a:gd name="T30" fmla="*/ 4410 w 16058"/>
                <a:gd name="T31" fmla="*/ 3616 h 11544"/>
                <a:gd name="T32" fmla="*/ 4822 w 16058"/>
                <a:gd name="T33" fmla="*/ 3718 h 11544"/>
                <a:gd name="T34" fmla="*/ 5077 w 16058"/>
                <a:gd name="T35" fmla="*/ 3578 h 11544"/>
                <a:gd name="T36" fmla="*/ 5304 w 16058"/>
                <a:gd name="T37" fmla="*/ 3154 h 11544"/>
                <a:gd name="T38" fmla="*/ 5986 w 16058"/>
                <a:gd name="T39" fmla="*/ 2112 h 11544"/>
                <a:gd name="T40" fmla="*/ 6970 w 16058"/>
                <a:gd name="T41" fmla="*/ 1377 h 11544"/>
                <a:gd name="T42" fmla="*/ 8153 w 16058"/>
                <a:gd name="T43" fmla="*/ 1025 h 11544"/>
                <a:gd name="T44" fmla="*/ 9661 w 16058"/>
                <a:gd name="T45" fmla="*/ 1190 h 11544"/>
                <a:gd name="T46" fmla="*/ 10994 w 16058"/>
                <a:gd name="T47" fmla="*/ 2023 h 11544"/>
                <a:gd name="T48" fmla="*/ 11831 w 16058"/>
                <a:gd name="T49" fmla="*/ 3370 h 11544"/>
                <a:gd name="T50" fmla="*/ 12046 w 16058"/>
                <a:gd name="T51" fmla="*/ 4561 h 11544"/>
                <a:gd name="T52" fmla="*/ 12173 w 16058"/>
                <a:gd name="T53" fmla="*/ 4853 h 11544"/>
                <a:gd name="T54" fmla="*/ 12517 w 16058"/>
                <a:gd name="T55" fmla="*/ 5002 h 11544"/>
                <a:gd name="T56" fmla="*/ 13610 w 16058"/>
                <a:gd name="T57" fmla="*/ 5356 h 11544"/>
                <a:gd name="T58" fmla="*/ 14494 w 16058"/>
                <a:gd name="T59" fmla="*/ 6116 h 11544"/>
                <a:gd name="T60" fmla="*/ 14988 w 16058"/>
                <a:gd name="T61" fmla="*/ 7177 h 11544"/>
                <a:gd name="T62" fmla="*/ 14968 w 16058"/>
                <a:gd name="T63" fmla="*/ 8469 h 11544"/>
                <a:gd name="T64" fmla="*/ 14337 w 16058"/>
                <a:gd name="T65" fmla="*/ 9634 h 11544"/>
                <a:gd name="T66" fmla="*/ 13243 w 16058"/>
                <a:gd name="T67" fmla="*/ 10372 h 11544"/>
                <a:gd name="T68" fmla="*/ 12944 w 16058"/>
                <a:gd name="T69" fmla="*/ 3664 h 11544"/>
                <a:gd name="T70" fmla="*/ 12111 w 16058"/>
                <a:gd name="T71" fmla="*/ 1788 h 11544"/>
                <a:gd name="T72" fmla="*/ 10564 w 16058"/>
                <a:gd name="T73" fmla="*/ 487 h 11544"/>
                <a:gd name="T74" fmla="*/ 8531 w 16058"/>
                <a:gd name="T75" fmla="*/ 0 h 11544"/>
                <a:gd name="T76" fmla="*/ 6922 w 16058"/>
                <a:gd name="T77" fmla="*/ 297 h 11544"/>
                <a:gd name="T78" fmla="*/ 5572 w 16058"/>
                <a:gd name="T79" fmla="*/ 1115 h 11544"/>
                <a:gd name="T80" fmla="*/ 4587 w 16058"/>
                <a:gd name="T81" fmla="*/ 2341 h 11544"/>
                <a:gd name="T82" fmla="*/ 4112 w 16058"/>
                <a:gd name="T83" fmla="*/ 2541 h 11544"/>
                <a:gd name="T84" fmla="*/ 3533 w 16058"/>
                <a:gd name="T85" fmla="*/ 2521 h 11544"/>
                <a:gd name="T86" fmla="*/ 2501 w 16058"/>
                <a:gd name="T87" fmla="*/ 2896 h 11544"/>
                <a:gd name="T88" fmla="*/ 1778 w 16058"/>
                <a:gd name="T89" fmla="*/ 3692 h 11544"/>
                <a:gd name="T90" fmla="*/ 1505 w 16058"/>
                <a:gd name="T91" fmla="*/ 4768 h 11544"/>
                <a:gd name="T92" fmla="*/ 1558 w 16058"/>
                <a:gd name="T93" fmla="*/ 5217 h 11544"/>
                <a:gd name="T94" fmla="*/ 1281 w 16058"/>
                <a:gd name="T95" fmla="*/ 5706 h 11544"/>
                <a:gd name="T96" fmla="*/ 564 w 16058"/>
                <a:gd name="T97" fmla="*/ 6461 h 11544"/>
                <a:gd name="T98" fmla="*/ 118 w 16058"/>
                <a:gd name="T99" fmla="*/ 7414 h 11544"/>
                <a:gd name="T100" fmla="*/ 17 w 16058"/>
                <a:gd name="T101" fmla="*/ 8615 h 11544"/>
                <a:gd name="T102" fmla="*/ 557 w 16058"/>
                <a:gd name="T103" fmla="*/ 10106 h 11544"/>
                <a:gd name="T104" fmla="*/ 1707 w 16058"/>
                <a:gd name="T105" fmla="*/ 11150 h 11544"/>
                <a:gd name="T106" fmla="*/ 3262 w 16058"/>
                <a:gd name="T107" fmla="*/ 11543 h 11544"/>
                <a:gd name="T108" fmla="*/ 13589 w 16058"/>
                <a:gd name="T109" fmla="*/ 11315 h 11544"/>
                <a:gd name="T110" fmla="*/ 15080 w 16058"/>
                <a:gd name="T111" fmla="*/ 10310 h 11544"/>
                <a:gd name="T112" fmla="*/ 15940 w 16058"/>
                <a:gd name="T113" fmla="*/ 8720 h 11544"/>
                <a:gd name="T114" fmla="*/ 15965 w 16058"/>
                <a:gd name="T115" fmla="*/ 6945 h 11544"/>
                <a:gd name="T116" fmla="*/ 15283 w 16058"/>
                <a:gd name="T117" fmla="*/ 5493 h 11544"/>
                <a:gd name="T118" fmla="*/ 14075 w 16058"/>
                <a:gd name="T119" fmla="*/ 4467 h 11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058" h="11544">
                  <a:moveTo>
                    <a:pt x="12294" y="10539"/>
                  </a:moveTo>
                  <a:lnTo>
                    <a:pt x="12294" y="10540"/>
                  </a:lnTo>
                  <a:lnTo>
                    <a:pt x="3262" y="10540"/>
                  </a:lnTo>
                  <a:lnTo>
                    <a:pt x="3145" y="10537"/>
                  </a:lnTo>
                  <a:lnTo>
                    <a:pt x="3031" y="10528"/>
                  </a:lnTo>
                  <a:lnTo>
                    <a:pt x="2919" y="10514"/>
                  </a:lnTo>
                  <a:lnTo>
                    <a:pt x="2807" y="10494"/>
                  </a:lnTo>
                  <a:lnTo>
                    <a:pt x="2698" y="10469"/>
                  </a:lnTo>
                  <a:lnTo>
                    <a:pt x="2591" y="10438"/>
                  </a:lnTo>
                  <a:lnTo>
                    <a:pt x="2486" y="10403"/>
                  </a:lnTo>
                  <a:lnTo>
                    <a:pt x="2384" y="10363"/>
                  </a:lnTo>
                  <a:lnTo>
                    <a:pt x="2284" y="10316"/>
                  </a:lnTo>
                  <a:lnTo>
                    <a:pt x="2187" y="10267"/>
                  </a:lnTo>
                  <a:lnTo>
                    <a:pt x="2092" y="10212"/>
                  </a:lnTo>
                  <a:lnTo>
                    <a:pt x="2000" y="10154"/>
                  </a:lnTo>
                  <a:lnTo>
                    <a:pt x="1912" y="10091"/>
                  </a:lnTo>
                  <a:lnTo>
                    <a:pt x="1827" y="10023"/>
                  </a:lnTo>
                  <a:lnTo>
                    <a:pt x="1744" y="9952"/>
                  </a:lnTo>
                  <a:lnTo>
                    <a:pt x="1666" y="9878"/>
                  </a:lnTo>
                  <a:lnTo>
                    <a:pt x="1591" y="9798"/>
                  </a:lnTo>
                  <a:lnTo>
                    <a:pt x="1520" y="9717"/>
                  </a:lnTo>
                  <a:lnTo>
                    <a:pt x="1453" y="9632"/>
                  </a:lnTo>
                  <a:lnTo>
                    <a:pt x="1390" y="9543"/>
                  </a:lnTo>
                  <a:lnTo>
                    <a:pt x="1331" y="9451"/>
                  </a:lnTo>
                  <a:lnTo>
                    <a:pt x="1277" y="9357"/>
                  </a:lnTo>
                  <a:lnTo>
                    <a:pt x="1226" y="9259"/>
                  </a:lnTo>
                  <a:lnTo>
                    <a:pt x="1181" y="9159"/>
                  </a:lnTo>
                  <a:lnTo>
                    <a:pt x="1141" y="9057"/>
                  </a:lnTo>
                  <a:lnTo>
                    <a:pt x="1105" y="8952"/>
                  </a:lnTo>
                  <a:lnTo>
                    <a:pt x="1075" y="8845"/>
                  </a:lnTo>
                  <a:lnTo>
                    <a:pt x="1050" y="8736"/>
                  </a:lnTo>
                  <a:lnTo>
                    <a:pt x="1030" y="8624"/>
                  </a:lnTo>
                  <a:lnTo>
                    <a:pt x="1016" y="8512"/>
                  </a:lnTo>
                  <a:lnTo>
                    <a:pt x="1007" y="8397"/>
                  </a:lnTo>
                  <a:lnTo>
                    <a:pt x="1004" y="8281"/>
                  </a:lnTo>
                  <a:lnTo>
                    <a:pt x="1005" y="8207"/>
                  </a:lnTo>
                  <a:lnTo>
                    <a:pt x="1009" y="8131"/>
                  </a:lnTo>
                  <a:lnTo>
                    <a:pt x="1015" y="8057"/>
                  </a:lnTo>
                  <a:lnTo>
                    <a:pt x="1024" y="7984"/>
                  </a:lnTo>
                  <a:lnTo>
                    <a:pt x="1034" y="7911"/>
                  </a:lnTo>
                  <a:lnTo>
                    <a:pt x="1048" y="7839"/>
                  </a:lnTo>
                  <a:lnTo>
                    <a:pt x="1063" y="7768"/>
                  </a:lnTo>
                  <a:lnTo>
                    <a:pt x="1081" y="7697"/>
                  </a:lnTo>
                  <a:lnTo>
                    <a:pt x="1101" y="7627"/>
                  </a:lnTo>
                  <a:lnTo>
                    <a:pt x="1123" y="7558"/>
                  </a:lnTo>
                  <a:lnTo>
                    <a:pt x="1148" y="7490"/>
                  </a:lnTo>
                  <a:lnTo>
                    <a:pt x="1175" y="7423"/>
                  </a:lnTo>
                  <a:lnTo>
                    <a:pt x="1203" y="7356"/>
                  </a:lnTo>
                  <a:lnTo>
                    <a:pt x="1235" y="7291"/>
                  </a:lnTo>
                  <a:lnTo>
                    <a:pt x="1269" y="7227"/>
                  </a:lnTo>
                  <a:lnTo>
                    <a:pt x="1304" y="7165"/>
                  </a:lnTo>
                  <a:lnTo>
                    <a:pt x="1341" y="7102"/>
                  </a:lnTo>
                  <a:lnTo>
                    <a:pt x="1381" y="7041"/>
                  </a:lnTo>
                  <a:lnTo>
                    <a:pt x="1422" y="6982"/>
                  </a:lnTo>
                  <a:lnTo>
                    <a:pt x="1465" y="6924"/>
                  </a:lnTo>
                  <a:lnTo>
                    <a:pt x="1511" y="6867"/>
                  </a:lnTo>
                  <a:lnTo>
                    <a:pt x="1559" y="6811"/>
                  </a:lnTo>
                  <a:lnTo>
                    <a:pt x="1608" y="6757"/>
                  </a:lnTo>
                  <a:lnTo>
                    <a:pt x="1659" y="6705"/>
                  </a:lnTo>
                  <a:lnTo>
                    <a:pt x="1712" y="6654"/>
                  </a:lnTo>
                  <a:lnTo>
                    <a:pt x="1767" y="6604"/>
                  </a:lnTo>
                  <a:lnTo>
                    <a:pt x="1825" y="6555"/>
                  </a:lnTo>
                  <a:lnTo>
                    <a:pt x="1883" y="6509"/>
                  </a:lnTo>
                  <a:lnTo>
                    <a:pt x="1943" y="6464"/>
                  </a:lnTo>
                  <a:lnTo>
                    <a:pt x="2005" y="6421"/>
                  </a:lnTo>
                  <a:lnTo>
                    <a:pt x="2069" y="6380"/>
                  </a:lnTo>
                  <a:lnTo>
                    <a:pt x="2135" y="6341"/>
                  </a:lnTo>
                  <a:lnTo>
                    <a:pt x="2198" y="6304"/>
                  </a:lnTo>
                  <a:lnTo>
                    <a:pt x="2256" y="6269"/>
                  </a:lnTo>
                  <a:lnTo>
                    <a:pt x="2311" y="6236"/>
                  </a:lnTo>
                  <a:lnTo>
                    <a:pt x="2364" y="6205"/>
                  </a:lnTo>
                  <a:lnTo>
                    <a:pt x="2412" y="6174"/>
                  </a:lnTo>
                  <a:lnTo>
                    <a:pt x="2456" y="6145"/>
                  </a:lnTo>
                  <a:lnTo>
                    <a:pt x="2498" y="6116"/>
                  </a:lnTo>
                  <a:lnTo>
                    <a:pt x="2535" y="6088"/>
                  </a:lnTo>
                  <a:lnTo>
                    <a:pt x="2570" y="6061"/>
                  </a:lnTo>
                  <a:lnTo>
                    <a:pt x="2601" y="6033"/>
                  </a:lnTo>
                  <a:lnTo>
                    <a:pt x="2629" y="6006"/>
                  </a:lnTo>
                  <a:lnTo>
                    <a:pt x="2655" y="5979"/>
                  </a:lnTo>
                  <a:lnTo>
                    <a:pt x="2677" y="5951"/>
                  </a:lnTo>
                  <a:lnTo>
                    <a:pt x="2696" y="5923"/>
                  </a:lnTo>
                  <a:lnTo>
                    <a:pt x="2712" y="5895"/>
                  </a:lnTo>
                  <a:lnTo>
                    <a:pt x="2725" y="5866"/>
                  </a:lnTo>
                  <a:lnTo>
                    <a:pt x="2735" y="5836"/>
                  </a:lnTo>
                  <a:lnTo>
                    <a:pt x="2742" y="5805"/>
                  </a:lnTo>
                  <a:lnTo>
                    <a:pt x="2747" y="5773"/>
                  </a:lnTo>
                  <a:lnTo>
                    <a:pt x="2748" y="5738"/>
                  </a:lnTo>
                  <a:lnTo>
                    <a:pt x="2748" y="5703"/>
                  </a:lnTo>
                  <a:lnTo>
                    <a:pt x="2744" y="5665"/>
                  </a:lnTo>
                  <a:lnTo>
                    <a:pt x="2739" y="5626"/>
                  </a:lnTo>
                  <a:lnTo>
                    <a:pt x="2730" y="5585"/>
                  </a:lnTo>
                  <a:lnTo>
                    <a:pt x="2720" y="5542"/>
                  </a:lnTo>
                  <a:lnTo>
                    <a:pt x="2707" y="5495"/>
                  </a:lnTo>
                  <a:lnTo>
                    <a:pt x="2691" y="5446"/>
                  </a:lnTo>
                  <a:lnTo>
                    <a:pt x="2674" y="5395"/>
                  </a:lnTo>
                  <a:lnTo>
                    <a:pt x="2654" y="5340"/>
                  </a:lnTo>
                  <a:lnTo>
                    <a:pt x="2632" y="5282"/>
                  </a:lnTo>
                  <a:lnTo>
                    <a:pt x="2607" y="5220"/>
                  </a:lnTo>
                  <a:lnTo>
                    <a:pt x="2581" y="5156"/>
                  </a:lnTo>
                  <a:lnTo>
                    <a:pt x="2564" y="5102"/>
                  </a:lnTo>
                  <a:lnTo>
                    <a:pt x="2549" y="5050"/>
                  </a:lnTo>
                  <a:lnTo>
                    <a:pt x="2537" y="5000"/>
                  </a:lnTo>
                  <a:lnTo>
                    <a:pt x="2527" y="4950"/>
                  </a:lnTo>
                  <a:lnTo>
                    <a:pt x="2523" y="4926"/>
                  </a:lnTo>
                  <a:lnTo>
                    <a:pt x="2519" y="4903"/>
                  </a:lnTo>
                  <a:lnTo>
                    <a:pt x="2516" y="4880"/>
                  </a:lnTo>
                  <a:lnTo>
                    <a:pt x="2514" y="4857"/>
                  </a:lnTo>
                  <a:lnTo>
                    <a:pt x="2512" y="4834"/>
                  </a:lnTo>
                  <a:lnTo>
                    <a:pt x="2510" y="4812"/>
                  </a:lnTo>
                  <a:lnTo>
                    <a:pt x="2509" y="4790"/>
                  </a:lnTo>
                  <a:lnTo>
                    <a:pt x="2509" y="4768"/>
                  </a:lnTo>
                  <a:lnTo>
                    <a:pt x="2511" y="4704"/>
                  </a:lnTo>
                  <a:lnTo>
                    <a:pt x="2516" y="4640"/>
                  </a:lnTo>
                  <a:lnTo>
                    <a:pt x="2524" y="4577"/>
                  </a:lnTo>
                  <a:lnTo>
                    <a:pt x="2535" y="4516"/>
                  </a:lnTo>
                  <a:lnTo>
                    <a:pt x="2549" y="4455"/>
                  </a:lnTo>
                  <a:lnTo>
                    <a:pt x="2565" y="4395"/>
                  </a:lnTo>
                  <a:lnTo>
                    <a:pt x="2585" y="4337"/>
                  </a:lnTo>
                  <a:lnTo>
                    <a:pt x="2608" y="4280"/>
                  </a:lnTo>
                  <a:lnTo>
                    <a:pt x="2634" y="4225"/>
                  </a:lnTo>
                  <a:lnTo>
                    <a:pt x="2661" y="4171"/>
                  </a:lnTo>
                  <a:lnTo>
                    <a:pt x="2691" y="4118"/>
                  </a:lnTo>
                  <a:lnTo>
                    <a:pt x="2724" y="4067"/>
                  </a:lnTo>
                  <a:lnTo>
                    <a:pt x="2759" y="4018"/>
                  </a:lnTo>
                  <a:lnTo>
                    <a:pt x="2796" y="3971"/>
                  </a:lnTo>
                  <a:lnTo>
                    <a:pt x="2835" y="3925"/>
                  </a:lnTo>
                  <a:lnTo>
                    <a:pt x="2877" y="3881"/>
                  </a:lnTo>
                  <a:lnTo>
                    <a:pt x="2921" y="3839"/>
                  </a:lnTo>
                  <a:lnTo>
                    <a:pt x="2966" y="3800"/>
                  </a:lnTo>
                  <a:lnTo>
                    <a:pt x="3014" y="3763"/>
                  </a:lnTo>
                  <a:lnTo>
                    <a:pt x="3063" y="3728"/>
                  </a:lnTo>
                  <a:lnTo>
                    <a:pt x="3113" y="3696"/>
                  </a:lnTo>
                  <a:lnTo>
                    <a:pt x="3166" y="3665"/>
                  </a:lnTo>
                  <a:lnTo>
                    <a:pt x="3221" y="3638"/>
                  </a:lnTo>
                  <a:lnTo>
                    <a:pt x="3276" y="3612"/>
                  </a:lnTo>
                  <a:lnTo>
                    <a:pt x="3333" y="3589"/>
                  </a:lnTo>
                  <a:lnTo>
                    <a:pt x="3391" y="3570"/>
                  </a:lnTo>
                  <a:lnTo>
                    <a:pt x="3450" y="3553"/>
                  </a:lnTo>
                  <a:lnTo>
                    <a:pt x="3512" y="3539"/>
                  </a:lnTo>
                  <a:lnTo>
                    <a:pt x="3573" y="3528"/>
                  </a:lnTo>
                  <a:lnTo>
                    <a:pt x="3636" y="3520"/>
                  </a:lnTo>
                  <a:lnTo>
                    <a:pt x="3699" y="3515"/>
                  </a:lnTo>
                  <a:lnTo>
                    <a:pt x="3764" y="3513"/>
                  </a:lnTo>
                  <a:lnTo>
                    <a:pt x="3779" y="3513"/>
                  </a:lnTo>
                  <a:lnTo>
                    <a:pt x="3821" y="3512"/>
                  </a:lnTo>
                  <a:lnTo>
                    <a:pt x="3851" y="3512"/>
                  </a:lnTo>
                  <a:lnTo>
                    <a:pt x="3886" y="3513"/>
                  </a:lnTo>
                  <a:lnTo>
                    <a:pt x="3927" y="3515"/>
                  </a:lnTo>
                  <a:lnTo>
                    <a:pt x="3972" y="3519"/>
                  </a:lnTo>
                  <a:lnTo>
                    <a:pt x="4022" y="3524"/>
                  </a:lnTo>
                  <a:lnTo>
                    <a:pt x="4074" y="3531"/>
                  </a:lnTo>
                  <a:lnTo>
                    <a:pt x="4130" y="3540"/>
                  </a:lnTo>
                  <a:lnTo>
                    <a:pt x="4189" y="3552"/>
                  </a:lnTo>
                  <a:lnTo>
                    <a:pt x="4219" y="3559"/>
                  </a:lnTo>
                  <a:lnTo>
                    <a:pt x="4250" y="3566"/>
                  </a:lnTo>
                  <a:lnTo>
                    <a:pt x="4281" y="3575"/>
                  </a:lnTo>
                  <a:lnTo>
                    <a:pt x="4314" y="3584"/>
                  </a:lnTo>
                  <a:lnTo>
                    <a:pt x="4345" y="3594"/>
                  </a:lnTo>
                  <a:lnTo>
                    <a:pt x="4378" y="3604"/>
                  </a:lnTo>
                  <a:lnTo>
                    <a:pt x="4410" y="3616"/>
                  </a:lnTo>
                  <a:lnTo>
                    <a:pt x="4443" y="3629"/>
                  </a:lnTo>
                  <a:lnTo>
                    <a:pt x="4495" y="3649"/>
                  </a:lnTo>
                  <a:lnTo>
                    <a:pt x="4544" y="3667"/>
                  </a:lnTo>
                  <a:lnTo>
                    <a:pt x="4592" y="3682"/>
                  </a:lnTo>
                  <a:lnTo>
                    <a:pt x="4636" y="3694"/>
                  </a:lnTo>
                  <a:lnTo>
                    <a:pt x="4678" y="3704"/>
                  </a:lnTo>
                  <a:lnTo>
                    <a:pt x="4717" y="3711"/>
                  </a:lnTo>
                  <a:lnTo>
                    <a:pt x="4754" y="3716"/>
                  </a:lnTo>
                  <a:lnTo>
                    <a:pt x="4789" y="3718"/>
                  </a:lnTo>
                  <a:lnTo>
                    <a:pt x="4822" y="3718"/>
                  </a:lnTo>
                  <a:lnTo>
                    <a:pt x="4855" y="3715"/>
                  </a:lnTo>
                  <a:lnTo>
                    <a:pt x="4884" y="3710"/>
                  </a:lnTo>
                  <a:lnTo>
                    <a:pt x="4912" y="3702"/>
                  </a:lnTo>
                  <a:lnTo>
                    <a:pt x="4939" y="3692"/>
                  </a:lnTo>
                  <a:lnTo>
                    <a:pt x="4964" y="3679"/>
                  </a:lnTo>
                  <a:lnTo>
                    <a:pt x="4989" y="3664"/>
                  </a:lnTo>
                  <a:lnTo>
                    <a:pt x="5012" y="3646"/>
                  </a:lnTo>
                  <a:lnTo>
                    <a:pt x="5034" y="3626"/>
                  </a:lnTo>
                  <a:lnTo>
                    <a:pt x="5056" y="3603"/>
                  </a:lnTo>
                  <a:lnTo>
                    <a:pt x="5077" y="3578"/>
                  </a:lnTo>
                  <a:lnTo>
                    <a:pt x="5097" y="3551"/>
                  </a:lnTo>
                  <a:lnTo>
                    <a:pt x="5117" y="3522"/>
                  </a:lnTo>
                  <a:lnTo>
                    <a:pt x="5138" y="3490"/>
                  </a:lnTo>
                  <a:lnTo>
                    <a:pt x="5158" y="3456"/>
                  </a:lnTo>
                  <a:lnTo>
                    <a:pt x="5177" y="3420"/>
                  </a:lnTo>
                  <a:lnTo>
                    <a:pt x="5197" y="3382"/>
                  </a:lnTo>
                  <a:lnTo>
                    <a:pt x="5218" y="3340"/>
                  </a:lnTo>
                  <a:lnTo>
                    <a:pt x="5238" y="3297"/>
                  </a:lnTo>
                  <a:lnTo>
                    <a:pt x="5260" y="3251"/>
                  </a:lnTo>
                  <a:lnTo>
                    <a:pt x="5304" y="3154"/>
                  </a:lnTo>
                  <a:lnTo>
                    <a:pt x="5353" y="3047"/>
                  </a:lnTo>
                  <a:lnTo>
                    <a:pt x="5409" y="2932"/>
                  </a:lnTo>
                  <a:lnTo>
                    <a:pt x="5469" y="2820"/>
                  </a:lnTo>
                  <a:lnTo>
                    <a:pt x="5532" y="2710"/>
                  </a:lnTo>
                  <a:lnTo>
                    <a:pt x="5599" y="2603"/>
                  </a:lnTo>
                  <a:lnTo>
                    <a:pt x="5669" y="2499"/>
                  </a:lnTo>
                  <a:lnTo>
                    <a:pt x="5744" y="2398"/>
                  </a:lnTo>
                  <a:lnTo>
                    <a:pt x="5821" y="2300"/>
                  </a:lnTo>
                  <a:lnTo>
                    <a:pt x="5902" y="2204"/>
                  </a:lnTo>
                  <a:lnTo>
                    <a:pt x="5986" y="2112"/>
                  </a:lnTo>
                  <a:lnTo>
                    <a:pt x="6072" y="2024"/>
                  </a:lnTo>
                  <a:lnTo>
                    <a:pt x="6161" y="1938"/>
                  </a:lnTo>
                  <a:lnTo>
                    <a:pt x="6255" y="1856"/>
                  </a:lnTo>
                  <a:lnTo>
                    <a:pt x="6349" y="1777"/>
                  </a:lnTo>
                  <a:lnTo>
                    <a:pt x="6447" y="1701"/>
                  </a:lnTo>
                  <a:lnTo>
                    <a:pt x="6547" y="1629"/>
                  </a:lnTo>
                  <a:lnTo>
                    <a:pt x="6650" y="1560"/>
                  </a:lnTo>
                  <a:lnTo>
                    <a:pt x="6754" y="1496"/>
                  </a:lnTo>
                  <a:lnTo>
                    <a:pt x="6862" y="1434"/>
                  </a:lnTo>
                  <a:lnTo>
                    <a:pt x="6970" y="1377"/>
                  </a:lnTo>
                  <a:lnTo>
                    <a:pt x="7082" y="1323"/>
                  </a:lnTo>
                  <a:lnTo>
                    <a:pt x="7195" y="1274"/>
                  </a:lnTo>
                  <a:lnTo>
                    <a:pt x="7309" y="1228"/>
                  </a:lnTo>
                  <a:lnTo>
                    <a:pt x="7426" y="1186"/>
                  </a:lnTo>
                  <a:lnTo>
                    <a:pt x="7543" y="1148"/>
                  </a:lnTo>
                  <a:lnTo>
                    <a:pt x="7663" y="1115"/>
                  </a:lnTo>
                  <a:lnTo>
                    <a:pt x="7784" y="1086"/>
                  </a:lnTo>
                  <a:lnTo>
                    <a:pt x="7906" y="1061"/>
                  </a:lnTo>
                  <a:lnTo>
                    <a:pt x="8029" y="1041"/>
                  </a:lnTo>
                  <a:lnTo>
                    <a:pt x="8153" y="1025"/>
                  </a:lnTo>
                  <a:lnTo>
                    <a:pt x="8278" y="1013"/>
                  </a:lnTo>
                  <a:lnTo>
                    <a:pt x="8404" y="1007"/>
                  </a:lnTo>
                  <a:lnTo>
                    <a:pt x="8531" y="1004"/>
                  </a:lnTo>
                  <a:lnTo>
                    <a:pt x="8699" y="1008"/>
                  </a:lnTo>
                  <a:lnTo>
                    <a:pt x="8866" y="1020"/>
                  </a:lnTo>
                  <a:lnTo>
                    <a:pt x="9030" y="1039"/>
                  </a:lnTo>
                  <a:lnTo>
                    <a:pt x="9192" y="1066"/>
                  </a:lnTo>
                  <a:lnTo>
                    <a:pt x="9351" y="1100"/>
                  </a:lnTo>
                  <a:lnTo>
                    <a:pt x="9507" y="1142"/>
                  </a:lnTo>
                  <a:lnTo>
                    <a:pt x="9661" y="1190"/>
                  </a:lnTo>
                  <a:lnTo>
                    <a:pt x="9811" y="1246"/>
                  </a:lnTo>
                  <a:lnTo>
                    <a:pt x="9959" y="1308"/>
                  </a:lnTo>
                  <a:lnTo>
                    <a:pt x="10102" y="1376"/>
                  </a:lnTo>
                  <a:lnTo>
                    <a:pt x="10242" y="1451"/>
                  </a:lnTo>
                  <a:lnTo>
                    <a:pt x="10378" y="1532"/>
                  </a:lnTo>
                  <a:lnTo>
                    <a:pt x="10510" y="1619"/>
                  </a:lnTo>
                  <a:lnTo>
                    <a:pt x="10638" y="1711"/>
                  </a:lnTo>
                  <a:lnTo>
                    <a:pt x="10761" y="1810"/>
                  </a:lnTo>
                  <a:lnTo>
                    <a:pt x="10880" y="1914"/>
                  </a:lnTo>
                  <a:lnTo>
                    <a:pt x="10994" y="2023"/>
                  </a:lnTo>
                  <a:lnTo>
                    <a:pt x="11103" y="2137"/>
                  </a:lnTo>
                  <a:lnTo>
                    <a:pt x="11207" y="2256"/>
                  </a:lnTo>
                  <a:lnTo>
                    <a:pt x="11306" y="2381"/>
                  </a:lnTo>
                  <a:lnTo>
                    <a:pt x="11398" y="2509"/>
                  </a:lnTo>
                  <a:lnTo>
                    <a:pt x="11486" y="2643"/>
                  </a:lnTo>
                  <a:lnTo>
                    <a:pt x="11568" y="2780"/>
                  </a:lnTo>
                  <a:lnTo>
                    <a:pt x="11643" y="2922"/>
                  </a:lnTo>
                  <a:lnTo>
                    <a:pt x="11712" y="3067"/>
                  </a:lnTo>
                  <a:lnTo>
                    <a:pt x="11775" y="3217"/>
                  </a:lnTo>
                  <a:lnTo>
                    <a:pt x="11831" y="3370"/>
                  </a:lnTo>
                  <a:lnTo>
                    <a:pt x="11880" y="3526"/>
                  </a:lnTo>
                  <a:lnTo>
                    <a:pt x="11922" y="3686"/>
                  </a:lnTo>
                  <a:lnTo>
                    <a:pt x="11957" y="3848"/>
                  </a:lnTo>
                  <a:lnTo>
                    <a:pt x="11985" y="4014"/>
                  </a:lnTo>
                  <a:lnTo>
                    <a:pt x="12005" y="4183"/>
                  </a:lnTo>
                  <a:lnTo>
                    <a:pt x="12016" y="4309"/>
                  </a:lnTo>
                  <a:lnTo>
                    <a:pt x="12027" y="4420"/>
                  </a:lnTo>
                  <a:lnTo>
                    <a:pt x="12032" y="4471"/>
                  </a:lnTo>
                  <a:lnTo>
                    <a:pt x="12038" y="4517"/>
                  </a:lnTo>
                  <a:lnTo>
                    <a:pt x="12046" y="4561"/>
                  </a:lnTo>
                  <a:lnTo>
                    <a:pt x="12053" y="4601"/>
                  </a:lnTo>
                  <a:lnTo>
                    <a:pt x="12061" y="4638"/>
                  </a:lnTo>
                  <a:lnTo>
                    <a:pt x="12070" y="4673"/>
                  </a:lnTo>
                  <a:lnTo>
                    <a:pt x="12081" y="4706"/>
                  </a:lnTo>
                  <a:lnTo>
                    <a:pt x="12092" y="4736"/>
                  </a:lnTo>
                  <a:lnTo>
                    <a:pt x="12105" y="4763"/>
                  </a:lnTo>
                  <a:lnTo>
                    <a:pt x="12119" y="4788"/>
                  </a:lnTo>
                  <a:lnTo>
                    <a:pt x="12135" y="4812"/>
                  </a:lnTo>
                  <a:lnTo>
                    <a:pt x="12153" y="4833"/>
                  </a:lnTo>
                  <a:lnTo>
                    <a:pt x="12173" y="4853"/>
                  </a:lnTo>
                  <a:lnTo>
                    <a:pt x="12195" y="4872"/>
                  </a:lnTo>
                  <a:lnTo>
                    <a:pt x="12220" y="4889"/>
                  </a:lnTo>
                  <a:lnTo>
                    <a:pt x="12247" y="4905"/>
                  </a:lnTo>
                  <a:lnTo>
                    <a:pt x="12276" y="4920"/>
                  </a:lnTo>
                  <a:lnTo>
                    <a:pt x="12308" y="4935"/>
                  </a:lnTo>
                  <a:lnTo>
                    <a:pt x="12344" y="4949"/>
                  </a:lnTo>
                  <a:lnTo>
                    <a:pt x="12383" y="4962"/>
                  </a:lnTo>
                  <a:lnTo>
                    <a:pt x="12424" y="4976"/>
                  </a:lnTo>
                  <a:lnTo>
                    <a:pt x="12468" y="4989"/>
                  </a:lnTo>
                  <a:lnTo>
                    <a:pt x="12517" y="5002"/>
                  </a:lnTo>
                  <a:lnTo>
                    <a:pt x="12568" y="5015"/>
                  </a:lnTo>
                  <a:lnTo>
                    <a:pt x="12684" y="5043"/>
                  </a:lnTo>
                  <a:lnTo>
                    <a:pt x="12816" y="5073"/>
                  </a:lnTo>
                  <a:lnTo>
                    <a:pt x="12937" y="5099"/>
                  </a:lnTo>
                  <a:lnTo>
                    <a:pt x="13055" y="5129"/>
                  </a:lnTo>
                  <a:lnTo>
                    <a:pt x="13171" y="5165"/>
                  </a:lnTo>
                  <a:lnTo>
                    <a:pt x="13285" y="5206"/>
                  </a:lnTo>
                  <a:lnTo>
                    <a:pt x="13395" y="5252"/>
                  </a:lnTo>
                  <a:lnTo>
                    <a:pt x="13505" y="5302"/>
                  </a:lnTo>
                  <a:lnTo>
                    <a:pt x="13610" y="5356"/>
                  </a:lnTo>
                  <a:lnTo>
                    <a:pt x="13714" y="5415"/>
                  </a:lnTo>
                  <a:lnTo>
                    <a:pt x="13813" y="5477"/>
                  </a:lnTo>
                  <a:lnTo>
                    <a:pt x="13910" y="5545"/>
                  </a:lnTo>
                  <a:lnTo>
                    <a:pt x="14004" y="5615"/>
                  </a:lnTo>
                  <a:lnTo>
                    <a:pt x="14095" y="5690"/>
                  </a:lnTo>
                  <a:lnTo>
                    <a:pt x="14181" y="5768"/>
                  </a:lnTo>
                  <a:lnTo>
                    <a:pt x="14266" y="5850"/>
                  </a:lnTo>
                  <a:lnTo>
                    <a:pt x="14346" y="5935"/>
                  </a:lnTo>
                  <a:lnTo>
                    <a:pt x="14422" y="6024"/>
                  </a:lnTo>
                  <a:lnTo>
                    <a:pt x="14494" y="6116"/>
                  </a:lnTo>
                  <a:lnTo>
                    <a:pt x="14564" y="6210"/>
                  </a:lnTo>
                  <a:lnTo>
                    <a:pt x="14628" y="6307"/>
                  </a:lnTo>
                  <a:lnTo>
                    <a:pt x="14689" y="6408"/>
                  </a:lnTo>
                  <a:lnTo>
                    <a:pt x="14745" y="6511"/>
                  </a:lnTo>
                  <a:lnTo>
                    <a:pt x="14796" y="6617"/>
                  </a:lnTo>
                  <a:lnTo>
                    <a:pt x="14845" y="6724"/>
                  </a:lnTo>
                  <a:lnTo>
                    <a:pt x="14888" y="6834"/>
                  </a:lnTo>
                  <a:lnTo>
                    <a:pt x="14926" y="6947"/>
                  </a:lnTo>
                  <a:lnTo>
                    <a:pt x="14959" y="7060"/>
                  </a:lnTo>
                  <a:lnTo>
                    <a:pt x="14988" y="7177"/>
                  </a:lnTo>
                  <a:lnTo>
                    <a:pt x="15012" y="7294"/>
                  </a:lnTo>
                  <a:lnTo>
                    <a:pt x="15030" y="7414"/>
                  </a:lnTo>
                  <a:lnTo>
                    <a:pt x="15044" y="7534"/>
                  </a:lnTo>
                  <a:lnTo>
                    <a:pt x="15052" y="7656"/>
                  </a:lnTo>
                  <a:lnTo>
                    <a:pt x="15055" y="7779"/>
                  </a:lnTo>
                  <a:lnTo>
                    <a:pt x="15051" y="7922"/>
                  </a:lnTo>
                  <a:lnTo>
                    <a:pt x="15040" y="8061"/>
                  </a:lnTo>
                  <a:lnTo>
                    <a:pt x="15023" y="8199"/>
                  </a:lnTo>
                  <a:lnTo>
                    <a:pt x="14999" y="8335"/>
                  </a:lnTo>
                  <a:lnTo>
                    <a:pt x="14968" y="8469"/>
                  </a:lnTo>
                  <a:lnTo>
                    <a:pt x="14931" y="8599"/>
                  </a:lnTo>
                  <a:lnTo>
                    <a:pt x="14887" y="8728"/>
                  </a:lnTo>
                  <a:lnTo>
                    <a:pt x="14838" y="8853"/>
                  </a:lnTo>
                  <a:lnTo>
                    <a:pt x="14782" y="8975"/>
                  </a:lnTo>
                  <a:lnTo>
                    <a:pt x="14721" y="9094"/>
                  </a:lnTo>
                  <a:lnTo>
                    <a:pt x="14655" y="9209"/>
                  </a:lnTo>
                  <a:lnTo>
                    <a:pt x="14583" y="9322"/>
                  </a:lnTo>
                  <a:lnTo>
                    <a:pt x="14505" y="9430"/>
                  </a:lnTo>
                  <a:lnTo>
                    <a:pt x="14424" y="9535"/>
                  </a:lnTo>
                  <a:lnTo>
                    <a:pt x="14337" y="9634"/>
                  </a:lnTo>
                  <a:lnTo>
                    <a:pt x="14245" y="9730"/>
                  </a:lnTo>
                  <a:lnTo>
                    <a:pt x="14150" y="9822"/>
                  </a:lnTo>
                  <a:lnTo>
                    <a:pt x="14050" y="9909"/>
                  </a:lnTo>
                  <a:lnTo>
                    <a:pt x="13945" y="9990"/>
                  </a:lnTo>
                  <a:lnTo>
                    <a:pt x="13837" y="10068"/>
                  </a:lnTo>
                  <a:lnTo>
                    <a:pt x="13725" y="10140"/>
                  </a:lnTo>
                  <a:lnTo>
                    <a:pt x="13609" y="10206"/>
                  </a:lnTo>
                  <a:lnTo>
                    <a:pt x="13491" y="10267"/>
                  </a:lnTo>
                  <a:lnTo>
                    <a:pt x="13368" y="10322"/>
                  </a:lnTo>
                  <a:lnTo>
                    <a:pt x="13243" y="10372"/>
                  </a:lnTo>
                  <a:lnTo>
                    <a:pt x="13114" y="10416"/>
                  </a:lnTo>
                  <a:lnTo>
                    <a:pt x="12984" y="10453"/>
                  </a:lnTo>
                  <a:lnTo>
                    <a:pt x="12850" y="10484"/>
                  </a:lnTo>
                  <a:lnTo>
                    <a:pt x="12715" y="10508"/>
                  </a:lnTo>
                  <a:lnTo>
                    <a:pt x="12576" y="10525"/>
                  </a:lnTo>
                  <a:lnTo>
                    <a:pt x="12437" y="10536"/>
                  </a:lnTo>
                  <a:lnTo>
                    <a:pt x="12294" y="10539"/>
                  </a:lnTo>
                  <a:close/>
                  <a:moveTo>
                    <a:pt x="13004" y="4087"/>
                  </a:moveTo>
                  <a:lnTo>
                    <a:pt x="12979" y="3874"/>
                  </a:lnTo>
                  <a:lnTo>
                    <a:pt x="12944" y="3664"/>
                  </a:lnTo>
                  <a:lnTo>
                    <a:pt x="12899" y="3457"/>
                  </a:lnTo>
                  <a:lnTo>
                    <a:pt x="12845" y="3254"/>
                  </a:lnTo>
                  <a:lnTo>
                    <a:pt x="12782" y="3054"/>
                  </a:lnTo>
                  <a:lnTo>
                    <a:pt x="12711" y="2860"/>
                  </a:lnTo>
                  <a:lnTo>
                    <a:pt x="12631" y="2669"/>
                  </a:lnTo>
                  <a:lnTo>
                    <a:pt x="12542" y="2482"/>
                  </a:lnTo>
                  <a:lnTo>
                    <a:pt x="12446" y="2301"/>
                  </a:lnTo>
                  <a:lnTo>
                    <a:pt x="12343" y="2124"/>
                  </a:lnTo>
                  <a:lnTo>
                    <a:pt x="12230" y="1953"/>
                  </a:lnTo>
                  <a:lnTo>
                    <a:pt x="12111" y="1788"/>
                  </a:lnTo>
                  <a:lnTo>
                    <a:pt x="11985" y="1628"/>
                  </a:lnTo>
                  <a:lnTo>
                    <a:pt x="11852" y="1473"/>
                  </a:lnTo>
                  <a:lnTo>
                    <a:pt x="11711" y="1326"/>
                  </a:lnTo>
                  <a:lnTo>
                    <a:pt x="11566" y="1184"/>
                  </a:lnTo>
                  <a:lnTo>
                    <a:pt x="11413" y="1050"/>
                  </a:lnTo>
                  <a:lnTo>
                    <a:pt x="11254" y="922"/>
                  </a:lnTo>
                  <a:lnTo>
                    <a:pt x="11090" y="802"/>
                  </a:lnTo>
                  <a:lnTo>
                    <a:pt x="10919" y="690"/>
                  </a:lnTo>
                  <a:lnTo>
                    <a:pt x="10745" y="584"/>
                  </a:lnTo>
                  <a:lnTo>
                    <a:pt x="10564" y="487"/>
                  </a:lnTo>
                  <a:lnTo>
                    <a:pt x="10378" y="397"/>
                  </a:lnTo>
                  <a:lnTo>
                    <a:pt x="10189" y="316"/>
                  </a:lnTo>
                  <a:lnTo>
                    <a:pt x="9995" y="244"/>
                  </a:lnTo>
                  <a:lnTo>
                    <a:pt x="9796" y="181"/>
                  </a:lnTo>
                  <a:lnTo>
                    <a:pt x="9594" y="126"/>
                  </a:lnTo>
                  <a:lnTo>
                    <a:pt x="9388" y="81"/>
                  </a:lnTo>
                  <a:lnTo>
                    <a:pt x="9178" y="46"/>
                  </a:lnTo>
                  <a:lnTo>
                    <a:pt x="8965" y="21"/>
                  </a:lnTo>
                  <a:lnTo>
                    <a:pt x="8750" y="5"/>
                  </a:lnTo>
                  <a:lnTo>
                    <a:pt x="8531" y="0"/>
                  </a:lnTo>
                  <a:lnTo>
                    <a:pt x="8361" y="3"/>
                  </a:lnTo>
                  <a:lnTo>
                    <a:pt x="8194" y="12"/>
                  </a:lnTo>
                  <a:lnTo>
                    <a:pt x="8027" y="28"/>
                  </a:lnTo>
                  <a:lnTo>
                    <a:pt x="7863" y="49"/>
                  </a:lnTo>
                  <a:lnTo>
                    <a:pt x="7701" y="76"/>
                  </a:lnTo>
                  <a:lnTo>
                    <a:pt x="7540" y="109"/>
                  </a:lnTo>
                  <a:lnTo>
                    <a:pt x="7383" y="149"/>
                  </a:lnTo>
                  <a:lnTo>
                    <a:pt x="7227" y="193"/>
                  </a:lnTo>
                  <a:lnTo>
                    <a:pt x="7074" y="242"/>
                  </a:lnTo>
                  <a:lnTo>
                    <a:pt x="6922" y="297"/>
                  </a:lnTo>
                  <a:lnTo>
                    <a:pt x="6773" y="357"/>
                  </a:lnTo>
                  <a:lnTo>
                    <a:pt x="6628" y="423"/>
                  </a:lnTo>
                  <a:lnTo>
                    <a:pt x="6485" y="493"/>
                  </a:lnTo>
                  <a:lnTo>
                    <a:pt x="6345" y="568"/>
                  </a:lnTo>
                  <a:lnTo>
                    <a:pt x="6208" y="648"/>
                  </a:lnTo>
                  <a:lnTo>
                    <a:pt x="6075" y="733"/>
                  </a:lnTo>
                  <a:lnTo>
                    <a:pt x="5943" y="821"/>
                  </a:lnTo>
                  <a:lnTo>
                    <a:pt x="5817" y="915"/>
                  </a:lnTo>
                  <a:lnTo>
                    <a:pt x="5693" y="1013"/>
                  </a:lnTo>
                  <a:lnTo>
                    <a:pt x="5572" y="1115"/>
                  </a:lnTo>
                  <a:lnTo>
                    <a:pt x="5456" y="1221"/>
                  </a:lnTo>
                  <a:lnTo>
                    <a:pt x="5342" y="1331"/>
                  </a:lnTo>
                  <a:lnTo>
                    <a:pt x="5234" y="1444"/>
                  </a:lnTo>
                  <a:lnTo>
                    <a:pt x="5129" y="1562"/>
                  </a:lnTo>
                  <a:lnTo>
                    <a:pt x="5027" y="1683"/>
                  </a:lnTo>
                  <a:lnTo>
                    <a:pt x="4931" y="1809"/>
                  </a:lnTo>
                  <a:lnTo>
                    <a:pt x="4837" y="1936"/>
                  </a:lnTo>
                  <a:lnTo>
                    <a:pt x="4750" y="2068"/>
                  </a:lnTo>
                  <a:lnTo>
                    <a:pt x="4666" y="2203"/>
                  </a:lnTo>
                  <a:lnTo>
                    <a:pt x="4587" y="2341"/>
                  </a:lnTo>
                  <a:lnTo>
                    <a:pt x="4512" y="2481"/>
                  </a:lnTo>
                  <a:lnTo>
                    <a:pt x="4443" y="2625"/>
                  </a:lnTo>
                  <a:lnTo>
                    <a:pt x="4402" y="2613"/>
                  </a:lnTo>
                  <a:lnTo>
                    <a:pt x="4362" y="2601"/>
                  </a:lnTo>
                  <a:lnTo>
                    <a:pt x="4321" y="2589"/>
                  </a:lnTo>
                  <a:lnTo>
                    <a:pt x="4279" y="2579"/>
                  </a:lnTo>
                  <a:lnTo>
                    <a:pt x="4237" y="2568"/>
                  </a:lnTo>
                  <a:lnTo>
                    <a:pt x="4196" y="2559"/>
                  </a:lnTo>
                  <a:lnTo>
                    <a:pt x="4154" y="2549"/>
                  </a:lnTo>
                  <a:lnTo>
                    <a:pt x="4112" y="2541"/>
                  </a:lnTo>
                  <a:lnTo>
                    <a:pt x="4070" y="2534"/>
                  </a:lnTo>
                  <a:lnTo>
                    <a:pt x="4027" y="2528"/>
                  </a:lnTo>
                  <a:lnTo>
                    <a:pt x="3983" y="2522"/>
                  </a:lnTo>
                  <a:lnTo>
                    <a:pt x="3940" y="2518"/>
                  </a:lnTo>
                  <a:lnTo>
                    <a:pt x="3896" y="2514"/>
                  </a:lnTo>
                  <a:lnTo>
                    <a:pt x="3853" y="2511"/>
                  </a:lnTo>
                  <a:lnTo>
                    <a:pt x="3809" y="2510"/>
                  </a:lnTo>
                  <a:lnTo>
                    <a:pt x="3764" y="2509"/>
                  </a:lnTo>
                  <a:lnTo>
                    <a:pt x="3647" y="2512"/>
                  </a:lnTo>
                  <a:lnTo>
                    <a:pt x="3533" y="2521"/>
                  </a:lnTo>
                  <a:lnTo>
                    <a:pt x="3420" y="2535"/>
                  </a:lnTo>
                  <a:lnTo>
                    <a:pt x="3309" y="2556"/>
                  </a:lnTo>
                  <a:lnTo>
                    <a:pt x="3200" y="2581"/>
                  </a:lnTo>
                  <a:lnTo>
                    <a:pt x="3092" y="2611"/>
                  </a:lnTo>
                  <a:lnTo>
                    <a:pt x="2988" y="2647"/>
                  </a:lnTo>
                  <a:lnTo>
                    <a:pt x="2884" y="2687"/>
                  </a:lnTo>
                  <a:lnTo>
                    <a:pt x="2785" y="2732"/>
                  </a:lnTo>
                  <a:lnTo>
                    <a:pt x="2688" y="2782"/>
                  </a:lnTo>
                  <a:lnTo>
                    <a:pt x="2593" y="2837"/>
                  </a:lnTo>
                  <a:lnTo>
                    <a:pt x="2501" y="2896"/>
                  </a:lnTo>
                  <a:lnTo>
                    <a:pt x="2413" y="2958"/>
                  </a:lnTo>
                  <a:lnTo>
                    <a:pt x="2327" y="3025"/>
                  </a:lnTo>
                  <a:lnTo>
                    <a:pt x="2245" y="3097"/>
                  </a:lnTo>
                  <a:lnTo>
                    <a:pt x="2167" y="3172"/>
                  </a:lnTo>
                  <a:lnTo>
                    <a:pt x="2093" y="3250"/>
                  </a:lnTo>
                  <a:lnTo>
                    <a:pt x="2021" y="3331"/>
                  </a:lnTo>
                  <a:lnTo>
                    <a:pt x="1954" y="3417"/>
                  </a:lnTo>
                  <a:lnTo>
                    <a:pt x="1891" y="3506"/>
                  </a:lnTo>
                  <a:lnTo>
                    <a:pt x="1833" y="3597"/>
                  </a:lnTo>
                  <a:lnTo>
                    <a:pt x="1778" y="3692"/>
                  </a:lnTo>
                  <a:lnTo>
                    <a:pt x="1728" y="3789"/>
                  </a:lnTo>
                  <a:lnTo>
                    <a:pt x="1683" y="3889"/>
                  </a:lnTo>
                  <a:lnTo>
                    <a:pt x="1643" y="3992"/>
                  </a:lnTo>
                  <a:lnTo>
                    <a:pt x="1607" y="4097"/>
                  </a:lnTo>
                  <a:lnTo>
                    <a:pt x="1577" y="4204"/>
                  </a:lnTo>
                  <a:lnTo>
                    <a:pt x="1552" y="4313"/>
                  </a:lnTo>
                  <a:lnTo>
                    <a:pt x="1532" y="4424"/>
                  </a:lnTo>
                  <a:lnTo>
                    <a:pt x="1517" y="4537"/>
                  </a:lnTo>
                  <a:lnTo>
                    <a:pt x="1508" y="4652"/>
                  </a:lnTo>
                  <a:lnTo>
                    <a:pt x="1505" y="4768"/>
                  </a:lnTo>
                  <a:lnTo>
                    <a:pt x="1506" y="4815"/>
                  </a:lnTo>
                  <a:lnTo>
                    <a:pt x="1507" y="4860"/>
                  </a:lnTo>
                  <a:lnTo>
                    <a:pt x="1510" y="4906"/>
                  </a:lnTo>
                  <a:lnTo>
                    <a:pt x="1514" y="4951"/>
                  </a:lnTo>
                  <a:lnTo>
                    <a:pt x="1519" y="4997"/>
                  </a:lnTo>
                  <a:lnTo>
                    <a:pt x="1526" y="5042"/>
                  </a:lnTo>
                  <a:lnTo>
                    <a:pt x="1532" y="5086"/>
                  </a:lnTo>
                  <a:lnTo>
                    <a:pt x="1540" y="5130"/>
                  </a:lnTo>
                  <a:lnTo>
                    <a:pt x="1548" y="5174"/>
                  </a:lnTo>
                  <a:lnTo>
                    <a:pt x="1558" y="5217"/>
                  </a:lnTo>
                  <a:lnTo>
                    <a:pt x="1568" y="5261"/>
                  </a:lnTo>
                  <a:lnTo>
                    <a:pt x="1579" y="5304"/>
                  </a:lnTo>
                  <a:lnTo>
                    <a:pt x="1590" y="5347"/>
                  </a:lnTo>
                  <a:lnTo>
                    <a:pt x="1603" y="5389"/>
                  </a:lnTo>
                  <a:lnTo>
                    <a:pt x="1616" y="5431"/>
                  </a:lnTo>
                  <a:lnTo>
                    <a:pt x="1629" y="5473"/>
                  </a:lnTo>
                  <a:lnTo>
                    <a:pt x="1539" y="5528"/>
                  </a:lnTo>
                  <a:lnTo>
                    <a:pt x="1451" y="5585"/>
                  </a:lnTo>
                  <a:lnTo>
                    <a:pt x="1365" y="5644"/>
                  </a:lnTo>
                  <a:lnTo>
                    <a:pt x="1281" y="5706"/>
                  </a:lnTo>
                  <a:lnTo>
                    <a:pt x="1198" y="5771"/>
                  </a:lnTo>
                  <a:lnTo>
                    <a:pt x="1118" y="5839"/>
                  </a:lnTo>
                  <a:lnTo>
                    <a:pt x="1041" y="5909"/>
                  </a:lnTo>
                  <a:lnTo>
                    <a:pt x="965" y="5981"/>
                  </a:lnTo>
                  <a:lnTo>
                    <a:pt x="892" y="6056"/>
                  </a:lnTo>
                  <a:lnTo>
                    <a:pt x="821" y="6133"/>
                  </a:lnTo>
                  <a:lnTo>
                    <a:pt x="753" y="6211"/>
                  </a:lnTo>
                  <a:lnTo>
                    <a:pt x="687" y="6292"/>
                  </a:lnTo>
                  <a:lnTo>
                    <a:pt x="624" y="6376"/>
                  </a:lnTo>
                  <a:lnTo>
                    <a:pt x="564" y="6461"/>
                  </a:lnTo>
                  <a:lnTo>
                    <a:pt x="506" y="6548"/>
                  </a:lnTo>
                  <a:lnTo>
                    <a:pt x="451" y="6638"/>
                  </a:lnTo>
                  <a:lnTo>
                    <a:pt x="398" y="6729"/>
                  </a:lnTo>
                  <a:lnTo>
                    <a:pt x="349" y="6821"/>
                  </a:lnTo>
                  <a:lnTo>
                    <a:pt x="303" y="6917"/>
                  </a:lnTo>
                  <a:lnTo>
                    <a:pt x="260" y="7013"/>
                  </a:lnTo>
                  <a:lnTo>
                    <a:pt x="220" y="7110"/>
                  </a:lnTo>
                  <a:lnTo>
                    <a:pt x="183" y="7210"/>
                  </a:lnTo>
                  <a:lnTo>
                    <a:pt x="149" y="7311"/>
                  </a:lnTo>
                  <a:lnTo>
                    <a:pt x="118" y="7414"/>
                  </a:lnTo>
                  <a:lnTo>
                    <a:pt x="91" y="7518"/>
                  </a:lnTo>
                  <a:lnTo>
                    <a:pt x="67" y="7623"/>
                  </a:lnTo>
                  <a:lnTo>
                    <a:pt x="47" y="7730"/>
                  </a:lnTo>
                  <a:lnTo>
                    <a:pt x="30" y="7838"/>
                  </a:lnTo>
                  <a:lnTo>
                    <a:pt x="17" y="7948"/>
                  </a:lnTo>
                  <a:lnTo>
                    <a:pt x="8" y="8057"/>
                  </a:lnTo>
                  <a:lnTo>
                    <a:pt x="2" y="8168"/>
                  </a:lnTo>
                  <a:lnTo>
                    <a:pt x="0" y="8281"/>
                  </a:lnTo>
                  <a:lnTo>
                    <a:pt x="4" y="8449"/>
                  </a:lnTo>
                  <a:lnTo>
                    <a:pt x="17" y="8615"/>
                  </a:lnTo>
                  <a:lnTo>
                    <a:pt x="37" y="8778"/>
                  </a:lnTo>
                  <a:lnTo>
                    <a:pt x="66" y="8938"/>
                  </a:lnTo>
                  <a:lnTo>
                    <a:pt x="102" y="9097"/>
                  </a:lnTo>
                  <a:lnTo>
                    <a:pt x="147" y="9251"/>
                  </a:lnTo>
                  <a:lnTo>
                    <a:pt x="198" y="9403"/>
                  </a:lnTo>
                  <a:lnTo>
                    <a:pt x="256" y="9551"/>
                  </a:lnTo>
                  <a:lnTo>
                    <a:pt x="322" y="9695"/>
                  </a:lnTo>
                  <a:lnTo>
                    <a:pt x="393" y="9837"/>
                  </a:lnTo>
                  <a:lnTo>
                    <a:pt x="473" y="9973"/>
                  </a:lnTo>
                  <a:lnTo>
                    <a:pt x="557" y="10106"/>
                  </a:lnTo>
                  <a:lnTo>
                    <a:pt x="648" y="10233"/>
                  </a:lnTo>
                  <a:lnTo>
                    <a:pt x="745" y="10357"/>
                  </a:lnTo>
                  <a:lnTo>
                    <a:pt x="847" y="10475"/>
                  </a:lnTo>
                  <a:lnTo>
                    <a:pt x="955" y="10588"/>
                  </a:lnTo>
                  <a:lnTo>
                    <a:pt x="1069" y="10696"/>
                  </a:lnTo>
                  <a:lnTo>
                    <a:pt x="1187" y="10798"/>
                  </a:lnTo>
                  <a:lnTo>
                    <a:pt x="1310" y="10896"/>
                  </a:lnTo>
                  <a:lnTo>
                    <a:pt x="1438" y="10986"/>
                  </a:lnTo>
                  <a:lnTo>
                    <a:pt x="1571" y="11071"/>
                  </a:lnTo>
                  <a:lnTo>
                    <a:pt x="1707" y="11150"/>
                  </a:lnTo>
                  <a:lnTo>
                    <a:pt x="1848" y="11222"/>
                  </a:lnTo>
                  <a:lnTo>
                    <a:pt x="1992" y="11287"/>
                  </a:lnTo>
                  <a:lnTo>
                    <a:pt x="2141" y="11345"/>
                  </a:lnTo>
                  <a:lnTo>
                    <a:pt x="2292" y="11396"/>
                  </a:lnTo>
                  <a:lnTo>
                    <a:pt x="2447" y="11441"/>
                  </a:lnTo>
                  <a:lnTo>
                    <a:pt x="2604" y="11478"/>
                  </a:lnTo>
                  <a:lnTo>
                    <a:pt x="2765" y="11506"/>
                  </a:lnTo>
                  <a:lnTo>
                    <a:pt x="2929" y="11527"/>
                  </a:lnTo>
                  <a:lnTo>
                    <a:pt x="3094" y="11539"/>
                  </a:lnTo>
                  <a:lnTo>
                    <a:pt x="3262" y="11543"/>
                  </a:lnTo>
                  <a:lnTo>
                    <a:pt x="3262" y="11544"/>
                  </a:lnTo>
                  <a:lnTo>
                    <a:pt x="12294" y="11544"/>
                  </a:lnTo>
                  <a:lnTo>
                    <a:pt x="12294" y="11543"/>
                  </a:lnTo>
                  <a:lnTo>
                    <a:pt x="12488" y="11539"/>
                  </a:lnTo>
                  <a:lnTo>
                    <a:pt x="12680" y="11524"/>
                  </a:lnTo>
                  <a:lnTo>
                    <a:pt x="12867" y="11500"/>
                  </a:lnTo>
                  <a:lnTo>
                    <a:pt x="13053" y="11467"/>
                  </a:lnTo>
                  <a:lnTo>
                    <a:pt x="13236" y="11425"/>
                  </a:lnTo>
                  <a:lnTo>
                    <a:pt x="13414" y="11374"/>
                  </a:lnTo>
                  <a:lnTo>
                    <a:pt x="13589" y="11315"/>
                  </a:lnTo>
                  <a:lnTo>
                    <a:pt x="13760" y="11248"/>
                  </a:lnTo>
                  <a:lnTo>
                    <a:pt x="13926" y="11173"/>
                  </a:lnTo>
                  <a:lnTo>
                    <a:pt x="14089" y="11089"/>
                  </a:lnTo>
                  <a:lnTo>
                    <a:pt x="14246" y="10999"/>
                  </a:lnTo>
                  <a:lnTo>
                    <a:pt x="14399" y="10901"/>
                  </a:lnTo>
                  <a:lnTo>
                    <a:pt x="14547" y="10796"/>
                  </a:lnTo>
                  <a:lnTo>
                    <a:pt x="14689" y="10684"/>
                  </a:lnTo>
                  <a:lnTo>
                    <a:pt x="14826" y="10565"/>
                  </a:lnTo>
                  <a:lnTo>
                    <a:pt x="14956" y="10441"/>
                  </a:lnTo>
                  <a:lnTo>
                    <a:pt x="15080" y="10310"/>
                  </a:lnTo>
                  <a:lnTo>
                    <a:pt x="15199" y="10174"/>
                  </a:lnTo>
                  <a:lnTo>
                    <a:pt x="15310" y="10031"/>
                  </a:lnTo>
                  <a:lnTo>
                    <a:pt x="15416" y="9884"/>
                  </a:lnTo>
                  <a:lnTo>
                    <a:pt x="15513" y="9731"/>
                  </a:lnTo>
                  <a:lnTo>
                    <a:pt x="15604" y="9574"/>
                  </a:lnTo>
                  <a:lnTo>
                    <a:pt x="15687" y="9411"/>
                  </a:lnTo>
                  <a:lnTo>
                    <a:pt x="15762" y="9244"/>
                  </a:lnTo>
                  <a:lnTo>
                    <a:pt x="15830" y="9074"/>
                  </a:lnTo>
                  <a:lnTo>
                    <a:pt x="15888" y="8899"/>
                  </a:lnTo>
                  <a:lnTo>
                    <a:pt x="15940" y="8720"/>
                  </a:lnTo>
                  <a:lnTo>
                    <a:pt x="15982" y="8538"/>
                  </a:lnTo>
                  <a:lnTo>
                    <a:pt x="16015" y="8352"/>
                  </a:lnTo>
                  <a:lnTo>
                    <a:pt x="16039" y="8164"/>
                  </a:lnTo>
                  <a:lnTo>
                    <a:pt x="16053" y="7973"/>
                  </a:lnTo>
                  <a:lnTo>
                    <a:pt x="16058" y="7779"/>
                  </a:lnTo>
                  <a:lnTo>
                    <a:pt x="16054" y="7608"/>
                  </a:lnTo>
                  <a:lnTo>
                    <a:pt x="16043" y="7439"/>
                  </a:lnTo>
                  <a:lnTo>
                    <a:pt x="16024" y="7272"/>
                  </a:lnTo>
                  <a:lnTo>
                    <a:pt x="15998" y="7107"/>
                  </a:lnTo>
                  <a:lnTo>
                    <a:pt x="15965" y="6945"/>
                  </a:lnTo>
                  <a:lnTo>
                    <a:pt x="15926" y="6785"/>
                  </a:lnTo>
                  <a:lnTo>
                    <a:pt x="15878" y="6629"/>
                  </a:lnTo>
                  <a:lnTo>
                    <a:pt x="15825" y="6475"/>
                  </a:lnTo>
                  <a:lnTo>
                    <a:pt x="15766" y="6324"/>
                  </a:lnTo>
                  <a:lnTo>
                    <a:pt x="15700" y="6176"/>
                  </a:lnTo>
                  <a:lnTo>
                    <a:pt x="15628" y="6032"/>
                  </a:lnTo>
                  <a:lnTo>
                    <a:pt x="15550" y="5892"/>
                  </a:lnTo>
                  <a:lnTo>
                    <a:pt x="15467" y="5755"/>
                  </a:lnTo>
                  <a:lnTo>
                    <a:pt x="15378" y="5623"/>
                  </a:lnTo>
                  <a:lnTo>
                    <a:pt x="15283" y="5493"/>
                  </a:lnTo>
                  <a:lnTo>
                    <a:pt x="15183" y="5369"/>
                  </a:lnTo>
                  <a:lnTo>
                    <a:pt x="15078" y="5250"/>
                  </a:lnTo>
                  <a:lnTo>
                    <a:pt x="14968" y="5134"/>
                  </a:lnTo>
                  <a:lnTo>
                    <a:pt x="14854" y="5023"/>
                  </a:lnTo>
                  <a:lnTo>
                    <a:pt x="14734" y="4917"/>
                  </a:lnTo>
                  <a:lnTo>
                    <a:pt x="14611" y="4817"/>
                  </a:lnTo>
                  <a:lnTo>
                    <a:pt x="14483" y="4721"/>
                  </a:lnTo>
                  <a:lnTo>
                    <a:pt x="14351" y="4630"/>
                  </a:lnTo>
                  <a:lnTo>
                    <a:pt x="14215" y="4546"/>
                  </a:lnTo>
                  <a:lnTo>
                    <a:pt x="14075" y="4467"/>
                  </a:lnTo>
                  <a:lnTo>
                    <a:pt x="13931" y="4394"/>
                  </a:lnTo>
                  <a:lnTo>
                    <a:pt x="13785" y="4327"/>
                  </a:lnTo>
                  <a:lnTo>
                    <a:pt x="13634" y="4266"/>
                  </a:lnTo>
                  <a:lnTo>
                    <a:pt x="13482" y="4212"/>
                  </a:lnTo>
                  <a:lnTo>
                    <a:pt x="13325" y="4164"/>
                  </a:lnTo>
                  <a:lnTo>
                    <a:pt x="13166" y="4121"/>
                  </a:lnTo>
                  <a:lnTo>
                    <a:pt x="13004" y="408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94" name="íṡḻíďe">
              <a:extLst>
                <a:ext uri="{FF2B5EF4-FFF2-40B4-BE49-F238E27FC236}">
                  <a16:creationId xmlns:a16="http://schemas.microsoft.com/office/drawing/2014/main" id="{4733AFC5-EBDE-4BC6-B874-5B32B37EBFD6}"/>
                </a:ext>
              </a:extLst>
            </p:cNvPr>
            <p:cNvSpPr/>
            <p:nvPr/>
          </p:nvSpPr>
          <p:spPr bwMode="auto">
            <a:xfrm>
              <a:off x="9417444" y="2146759"/>
              <a:ext cx="318473" cy="239222"/>
            </a:xfrm>
            <a:custGeom>
              <a:avLst/>
              <a:gdLst>
                <a:gd name="T0" fmla="*/ 3355 w 16058"/>
                <a:gd name="T1" fmla="*/ 1202 h 12062"/>
                <a:gd name="T2" fmla="*/ 12900 w 16058"/>
                <a:gd name="T3" fmla="*/ 3520 h 12062"/>
                <a:gd name="T4" fmla="*/ 6375 w 16058"/>
                <a:gd name="T5" fmla="*/ 9292 h 12062"/>
                <a:gd name="T6" fmla="*/ 7499 w 16058"/>
                <a:gd name="T7" fmla="*/ 10191 h 12062"/>
                <a:gd name="T8" fmla="*/ 3867 w 16058"/>
                <a:gd name="T9" fmla="*/ 3520 h 12062"/>
                <a:gd name="T10" fmla="*/ 4867 w 16058"/>
                <a:gd name="T11" fmla="*/ 1808 h 12062"/>
                <a:gd name="T12" fmla="*/ 10392 w 16058"/>
                <a:gd name="T13" fmla="*/ 1006 h 12062"/>
                <a:gd name="T14" fmla="*/ 11161 w 16058"/>
                <a:gd name="T15" fmla="*/ 2489 h 12062"/>
                <a:gd name="T16" fmla="*/ 8559 w 16058"/>
                <a:gd name="T17" fmla="*/ 10191 h 12062"/>
                <a:gd name="T18" fmla="*/ 9279 w 16058"/>
                <a:gd name="T19" fmla="*/ 4022 h 12062"/>
                <a:gd name="T20" fmla="*/ 6524 w 16058"/>
                <a:gd name="T21" fmla="*/ 3192 h 12062"/>
                <a:gd name="T22" fmla="*/ 8421 w 16058"/>
                <a:gd name="T23" fmla="*/ 2263 h 12062"/>
                <a:gd name="T24" fmla="*/ 15764 w 16058"/>
                <a:gd name="T25" fmla="*/ 2849 h 12062"/>
                <a:gd name="T26" fmla="*/ 13141 w 16058"/>
                <a:gd name="T27" fmla="*/ 228 h 12062"/>
                <a:gd name="T28" fmla="*/ 13041 w 16058"/>
                <a:gd name="T29" fmla="*/ 156 h 12062"/>
                <a:gd name="T30" fmla="*/ 12934 w 16058"/>
                <a:gd name="T31" fmla="*/ 97 h 12062"/>
                <a:gd name="T32" fmla="*/ 12820 w 16058"/>
                <a:gd name="T33" fmla="*/ 51 h 12062"/>
                <a:gd name="T34" fmla="*/ 12702 w 16058"/>
                <a:gd name="T35" fmla="*/ 19 h 12062"/>
                <a:gd name="T36" fmla="*/ 12579 w 16058"/>
                <a:gd name="T37" fmla="*/ 3 h 12062"/>
                <a:gd name="T38" fmla="*/ 3529 w 16058"/>
                <a:gd name="T39" fmla="*/ 0 h 12062"/>
                <a:gd name="T40" fmla="*/ 3405 w 16058"/>
                <a:gd name="T41" fmla="*/ 11 h 12062"/>
                <a:gd name="T42" fmla="*/ 3285 w 16058"/>
                <a:gd name="T43" fmla="*/ 36 h 12062"/>
                <a:gd name="T44" fmla="*/ 3169 w 16058"/>
                <a:gd name="T45" fmla="*/ 76 h 12062"/>
                <a:gd name="T46" fmla="*/ 3059 w 16058"/>
                <a:gd name="T47" fmla="*/ 131 h 12062"/>
                <a:gd name="T48" fmla="*/ 2957 w 16058"/>
                <a:gd name="T49" fmla="*/ 197 h 12062"/>
                <a:gd name="T50" fmla="*/ 2861 w 16058"/>
                <a:gd name="T51" fmla="*/ 278 h 12062"/>
                <a:gd name="T52" fmla="*/ 242 w 16058"/>
                <a:gd name="T53" fmla="*/ 2906 h 12062"/>
                <a:gd name="T54" fmla="*/ 166 w 16058"/>
                <a:gd name="T55" fmla="*/ 3008 h 12062"/>
                <a:gd name="T56" fmla="*/ 103 w 16058"/>
                <a:gd name="T57" fmla="*/ 3116 h 12062"/>
                <a:gd name="T58" fmla="*/ 56 w 16058"/>
                <a:gd name="T59" fmla="*/ 3231 h 12062"/>
                <a:gd name="T60" fmla="*/ 23 w 16058"/>
                <a:gd name="T61" fmla="*/ 3349 h 12062"/>
                <a:gd name="T62" fmla="*/ 5 w 16058"/>
                <a:gd name="T63" fmla="*/ 3469 h 12062"/>
                <a:gd name="T64" fmla="*/ 1 w 16058"/>
                <a:gd name="T65" fmla="*/ 3611 h 12062"/>
                <a:gd name="T66" fmla="*/ 37 w 16058"/>
                <a:gd name="T67" fmla="*/ 3830 h 12062"/>
                <a:gd name="T68" fmla="*/ 90 w 16058"/>
                <a:gd name="T69" fmla="*/ 3978 h 12062"/>
                <a:gd name="T70" fmla="*/ 144 w 16058"/>
                <a:gd name="T71" fmla="*/ 4079 h 12062"/>
                <a:gd name="T72" fmla="*/ 209 w 16058"/>
                <a:gd name="T73" fmla="*/ 4174 h 12062"/>
                <a:gd name="T74" fmla="*/ 7297 w 16058"/>
                <a:gd name="T75" fmla="*/ 11744 h 12062"/>
                <a:gd name="T76" fmla="*/ 7395 w 16058"/>
                <a:gd name="T77" fmla="*/ 11836 h 12062"/>
                <a:gd name="T78" fmla="*/ 7502 w 16058"/>
                <a:gd name="T79" fmla="*/ 11912 h 12062"/>
                <a:gd name="T80" fmla="*/ 7618 w 16058"/>
                <a:gd name="T81" fmla="*/ 11974 h 12062"/>
                <a:gd name="T82" fmla="*/ 7741 w 16058"/>
                <a:gd name="T83" fmla="*/ 12020 h 12062"/>
                <a:gd name="T84" fmla="*/ 7869 w 16058"/>
                <a:gd name="T85" fmla="*/ 12049 h 12062"/>
                <a:gd name="T86" fmla="*/ 8002 w 16058"/>
                <a:gd name="T87" fmla="*/ 12062 h 12062"/>
                <a:gd name="T88" fmla="*/ 8135 w 16058"/>
                <a:gd name="T89" fmla="*/ 12056 h 12062"/>
                <a:gd name="T90" fmla="*/ 8266 w 16058"/>
                <a:gd name="T91" fmla="*/ 12034 h 12062"/>
                <a:gd name="T92" fmla="*/ 8392 w 16058"/>
                <a:gd name="T93" fmla="*/ 11994 h 12062"/>
                <a:gd name="T94" fmla="*/ 8511 w 16058"/>
                <a:gd name="T95" fmla="*/ 11938 h 12062"/>
                <a:gd name="T96" fmla="*/ 8622 w 16058"/>
                <a:gd name="T97" fmla="*/ 11868 h 12062"/>
                <a:gd name="T98" fmla="*/ 8724 w 16058"/>
                <a:gd name="T99" fmla="*/ 11782 h 12062"/>
                <a:gd name="T100" fmla="*/ 15821 w 16058"/>
                <a:gd name="T101" fmla="*/ 4210 h 12062"/>
                <a:gd name="T102" fmla="*/ 15892 w 16058"/>
                <a:gd name="T103" fmla="*/ 4115 h 12062"/>
                <a:gd name="T104" fmla="*/ 15951 w 16058"/>
                <a:gd name="T105" fmla="*/ 4014 h 12062"/>
                <a:gd name="T106" fmla="*/ 15997 w 16058"/>
                <a:gd name="T107" fmla="*/ 3908 h 12062"/>
                <a:gd name="T108" fmla="*/ 16030 w 16058"/>
                <a:gd name="T109" fmla="*/ 3799 h 12062"/>
                <a:gd name="T110" fmla="*/ 16050 w 16058"/>
                <a:gd name="T111" fmla="*/ 3686 h 12062"/>
                <a:gd name="T112" fmla="*/ 16058 w 16058"/>
                <a:gd name="T113" fmla="*/ 3574 h 12062"/>
                <a:gd name="T114" fmla="*/ 16053 w 16058"/>
                <a:gd name="T115" fmla="*/ 3456 h 12062"/>
                <a:gd name="T116" fmla="*/ 16034 w 16058"/>
                <a:gd name="T117" fmla="*/ 3338 h 12062"/>
                <a:gd name="T118" fmla="*/ 16000 w 16058"/>
                <a:gd name="T119" fmla="*/ 3222 h 12062"/>
                <a:gd name="T120" fmla="*/ 15953 w 16058"/>
                <a:gd name="T121" fmla="*/ 3111 h 12062"/>
                <a:gd name="T122" fmla="*/ 15891 w 16058"/>
                <a:gd name="T123" fmla="*/ 3005 h 12062"/>
                <a:gd name="T124" fmla="*/ 15816 w 16058"/>
                <a:gd name="T125" fmla="*/ 2905 h 12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58" h="12062">
                  <a:moveTo>
                    <a:pt x="3355" y="1202"/>
                  </a:moveTo>
                  <a:lnTo>
                    <a:pt x="4509" y="2165"/>
                  </a:lnTo>
                  <a:lnTo>
                    <a:pt x="3157" y="3520"/>
                  </a:lnTo>
                  <a:lnTo>
                    <a:pt x="1007" y="3520"/>
                  </a:lnTo>
                  <a:lnTo>
                    <a:pt x="3355" y="1202"/>
                  </a:lnTo>
                  <a:close/>
                  <a:moveTo>
                    <a:pt x="12900" y="3520"/>
                  </a:moveTo>
                  <a:lnTo>
                    <a:pt x="11549" y="2165"/>
                  </a:lnTo>
                  <a:lnTo>
                    <a:pt x="12702" y="1203"/>
                  </a:lnTo>
                  <a:lnTo>
                    <a:pt x="15013" y="3520"/>
                  </a:lnTo>
                  <a:lnTo>
                    <a:pt x="12900" y="3520"/>
                  </a:lnTo>
                  <a:close/>
                  <a:moveTo>
                    <a:pt x="12837" y="4022"/>
                  </a:moveTo>
                  <a:lnTo>
                    <a:pt x="14621" y="4022"/>
                  </a:lnTo>
                  <a:lnTo>
                    <a:pt x="9682" y="9292"/>
                  </a:lnTo>
                  <a:lnTo>
                    <a:pt x="12837" y="4022"/>
                  </a:lnTo>
                  <a:close/>
                  <a:moveTo>
                    <a:pt x="6375" y="9292"/>
                  </a:moveTo>
                  <a:lnTo>
                    <a:pt x="1438" y="4022"/>
                  </a:lnTo>
                  <a:lnTo>
                    <a:pt x="3221" y="4022"/>
                  </a:lnTo>
                  <a:lnTo>
                    <a:pt x="6375" y="9292"/>
                  </a:lnTo>
                  <a:close/>
                  <a:moveTo>
                    <a:pt x="6268" y="4022"/>
                  </a:moveTo>
                  <a:lnTo>
                    <a:pt x="7499" y="10191"/>
                  </a:lnTo>
                  <a:lnTo>
                    <a:pt x="3806" y="4022"/>
                  </a:lnTo>
                  <a:lnTo>
                    <a:pt x="6268" y="4022"/>
                  </a:lnTo>
                  <a:close/>
                  <a:moveTo>
                    <a:pt x="4897" y="2489"/>
                  </a:moveTo>
                  <a:lnTo>
                    <a:pt x="6132" y="3520"/>
                  </a:lnTo>
                  <a:lnTo>
                    <a:pt x="3867" y="3520"/>
                  </a:lnTo>
                  <a:lnTo>
                    <a:pt x="4897" y="2489"/>
                  </a:lnTo>
                  <a:close/>
                  <a:moveTo>
                    <a:pt x="4867" y="1808"/>
                  </a:moveTo>
                  <a:lnTo>
                    <a:pt x="3905" y="1006"/>
                  </a:lnTo>
                  <a:lnTo>
                    <a:pt x="5666" y="1006"/>
                  </a:lnTo>
                  <a:lnTo>
                    <a:pt x="4867" y="1808"/>
                  </a:lnTo>
                  <a:close/>
                  <a:moveTo>
                    <a:pt x="8029" y="1936"/>
                  </a:moveTo>
                  <a:lnTo>
                    <a:pt x="6915" y="1006"/>
                  </a:lnTo>
                  <a:lnTo>
                    <a:pt x="9143" y="1006"/>
                  </a:lnTo>
                  <a:lnTo>
                    <a:pt x="8029" y="1936"/>
                  </a:lnTo>
                  <a:close/>
                  <a:moveTo>
                    <a:pt x="10392" y="1006"/>
                  </a:moveTo>
                  <a:lnTo>
                    <a:pt x="12154" y="1006"/>
                  </a:lnTo>
                  <a:lnTo>
                    <a:pt x="11192" y="1808"/>
                  </a:lnTo>
                  <a:lnTo>
                    <a:pt x="10392" y="1006"/>
                  </a:lnTo>
                  <a:close/>
                  <a:moveTo>
                    <a:pt x="9926" y="3520"/>
                  </a:moveTo>
                  <a:lnTo>
                    <a:pt x="11161" y="2489"/>
                  </a:lnTo>
                  <a:lnTo>
                    <a:pt x="12190" y="3520"/>
                  </a:lnTo>
                  <a:lnTo>
                    <a:pt x="9926" y="3520"/>
                  </a:lnTo>
                  <a:close/>
                  <a:moveTo>
                    <a:pt x="9790" y="4022"/>
                  </a:moveTo>
                  <a:lnTo>
                    <a:pt x="12252" y="4022"/>
                  </a:lnTo>
                  <a:lnTo>
                    <a:pt x="8559" y="10191"/>
                  </a:lnTo>
                  <a:lnTo>
                    <a:pt x="9790" y="4022"/>
                  </a:lnTo>
                  <a:close/>
                  <a:moveTo>
                    <a:pt x="9279" y="4022"/>
                  </a:moveTo>
                  <a:lnTo>
                    <a:pt x="8029" y="10283"/>
                  </a:lnTo>
                  <a:lnTo>
                    <a:pt x="6779" y="4022"/>
                  </a:lnTo>
                  <a:lnTo>
                    <a:pt x="9279" y="4022"/>
                  </a:lnTo>
                  <a:close/>
                  <a:moveTo>
                    <a:pt x="6524" y="3192"/>
                  </a:moveTo>
                  <a:lnTo>
                    <a:pt x="5253" y="2132"/>
                  </a:lnTo>
                  <a:lnTo>
                    <a:pt x="6266" y="1117"/>
                  </a:lnTo>
                  <a:lnTo>
                    <a:pt x="7637" y="2263"/>
                  </a:lnTo>
                  <a:lnTo>
                    <a:pt x="6524" y="3192"/>
                  </a:lnTo>
                  <a:close/>
                  <a:moveTo>
                    <a:pt x="8421" y="2263"/>
                  </a:moveTo>
                  <a:lnTo>
                    <a:pt x="9792" y="1117"/>
                  </a:lnTo>
                  <a:lnTo>
                    <a:pt x="10806" y="2132"/>
                  </a:lnTo>
                  <a:lnTo>
                    <a:pt x="9534" y="3192"/>
                  </a:lnTo>
                  <a:lnTo>
                    <a:pt x="8421" y="2263"/>
                  </a:lnTo>
                  <a:close/>
                  <a:moveTo>
                    <a:pt x="9143" y="3520"/>
                  </a:moveTo>
                  <a:lnTo>
                    <a:pt x="6915" y="3520"/>
                  </a:lnTo>
                  <a:lnTo>
                    <a:pt x="8029" y="2589"/>
                  </a:lnTo>
                  <a:lnTo>
                    <a:pt x="9143" y="3520"/>
                  </a:lnTo>
                  <a:close/>
                  <a:moveTo>
                    <a:pt x="15764" y="2849"/>
                  </a:moveTo>
                  <a:lnTo>
                    <a:pt x="13215" y="295"/>
                  </a:lnTo>
                  <a:lnTo>
                    <a:pt x="13197" y="278"/>
                  </a:lnTo>
                  <a:lnTo>
                    <a:pt x="13179" y="260"/>
                  </a:lnTo>
                  <a:lnTo>
                    <a:pt x="13160" y="243"/>
                  </a:lnTo>
                  <a:lnTo>
                    <a:pt x="13141" y="228"/>
                  </a:lnTo>
                  <a:lnTo>
                    <a:pt x="13121" y="212"/>
                  </a:lnTo>
                  <a:lnTo>
                    <a:pt x="13102" y="197"/>
                  </a:lnTo>
                  <a:lnTo>
                    <a:pt x="13082" y="183"/>
                  </a:lnTo>
                  <a:lnTo>
                    <a:pt x="13062" y="169"/>
                  </a:lnTo>
                  <a:lnTo>
                    <a:pt x="13041" y="156"/>
                  </a:lnTo>
                  <a:lnTo>
                    <a:pt x="13020" y="143"/>
                  </a:lnTo>
                  <a:lnTo>
                    <a:pt x="12999" y="131"/>
                  </a:lnTo>
                  <a:lnTo>
                    <a:pt x="12978" y="119"/>
                  </a:lnTo>
                  <a:lnTo>
                    <a:pt x="12956" y="108"/>
                  </a:lnTo>
                  <a:lnTo>
                    <a:pt x="12934" y="97"/>
                  </a:lnTo>
                  <a:lnTo>
                    <a:pt x="12912" y="86"/>
                  </a:lnTo>
                  <a:lnTo>
                    <a:pt x="12890" y="76"/>
                  </a:lnTo>
                  <a:lnTo>
                    <a:pt x="12866" y="67"/>
                  </a:lnTo>
                  <a:lnTo>
                    <a:pt x="12843" y="59"/>
                  </a:lnTo>
                  <a:lnTo>
                    <a:pt x="12820" y="51"/>
                  </a:lnTo>
                  <a:lnTo>
                    <a:pt x="12797" y="43"/>
                  </a:lnTo>
                  <a:lnTo>
                    <a:pt x="12773" y="36"/>
                  </a:lnTo>
                  <a:lnTo>
                    <a:pt x="12750" y="30"/>
                  </a:lnTo>
                  <a:lnTo>
                    <a:pt x="12726" y="25"/>
                  </a:lnTo>
                  <a:lnTo>
                    <a:pt x="12702" y="19"/>
                  </a:lnTo>
                  <a:lnTo>
                    <a:pt x="12678" y="15"/>
                  </a:lnTo>
                  <a:lnTo>
                    <a:pt x="12654" y="11"/>
                  </a:lnTo>
                  <a:lnTo>
                    <a:pt x="12629" y="8"/>
                  </a:lnTo>
                  <a:lnTo>
                    <a:pt x="12605" y="5"/>
                  </a:lnTo>
                  <a:lnTo>
                    <a:pt x="12579" y="3"/>
                  </a:lnTo>
                  <a:lnTo>
                    <a:pt x="12555" y="1"/>
                  </a:lnTo>
                  <a:lnTo>
                    <a:pt x="12530" y="0"/>
                  </a:lnTo>
                  <a:lnTo>
                    <a:pt x="12505" y="0"/>
                  </a:lnTo>
                  <a:lnTo>
                    <a:pt x="3554" y="0"/>
                  </a:lnTo>
                  <a:lnTo>
                    <a:pt x="3529" y="0"/>
                  </a:lnTo>
                  <a:lnTo>
                    <a:pt x="3504" y="1"/>
                  </a:lnTo>
                  <a:lnTo>
                    <a:pt x="3480" y="3"/>
                  </a:lnTo>
                  <a:lnTo>
                    <a:pt x="3454" y="5"/>
                  </a:lnTo>
                  <a:lnTo>
                    <a:pt x="3430" y="8"/>
                  </a:lnTo>
                  <a:lnTo>
                    <a:pt x="3405" y="11"/>
                  </a:lnTo>
                  <a:lnTo>
                    <a:pt x="3381" y="15"/>
                  </a:lnTo>
                  <a:lnTo>
                    <a:pt x="3357" y="19"/>
                  </a:lnTo>
                  <a:lnTo>
                    <a:pt x="3333" y="25"/>
                  </a:lnTo>
                  <a:lnTo>
                    <a:pt x="3309" y="30"/>
                  </a:lnTo>
                  <a:lnTo>
                    <a:pt x="3285" y="36"/>
                  </a:lnTo>
                  <a:lnTo>
                    <a:pt x="3262" y="43"/>
                  </a:lnTo>
                  <a:lnTo>
                    <a:pt x="3239" y="51"/>
                  </a:lnTo>
                  <a:lnTo>
                    <a:pt x="3216" y="59"/>
                  </a:lnTo>
                  <a:lnTo>
                    <a:pt x="3193" y="67"/>
                  </a:lnTo>
                  <a:lnTo>
                    <a:pt x="3169" y="76"/>
                  </a:lnTo>
                  <a:lnTo>
                    <a:pt x="3147" y="86"/>
                  </a:lnTo>
                  <a:lnTo>
                    <a:pt x="3124" y="97"/>
                  </a:lnTo>
                  <a:lnTo>
                    <a:pt x="3103" y="108"/>
                  </a:lnTo>
                  <a:lnTo>
                    <a:pt x="3081" y="119"/>
                  </a:lnTo>
                  <a:lnTo>
                    <a:pt x="3059" y="131"/>
                  </a:lnTo>
                  <a:lnTo>
                    <a:pt x="3038" y="143"/>
                  </a:lnTo>
                  <a:lnTo>
                    <a:pt x="3017" y="156"/>
                  </a:lnTo>
                  <a:lnTo>
                    <a:pt x="2997" y="169"/>
                  </a:lnTo>
                  <a:lnTo>
                    <a:pt x="2977" y="183"/>
                  </a:lnTo>
                  <a:lnTo>
                    <a:pt x="2957" y="197"/>
                  </a:lnTo>
                  <a:lnTo>
                    <a:pt x="2937" y="212"/>
                  </a:lnTo>
                  <a:lnTo>
                    <a:pt x="2918" y="228"/>
                  </a:lnTo>
                  <a:lnTo>
                    <a:pt x="2898" y="243"/>
                  </a:lnTo>
                  <a:lnTo>
                    <a:pt x="2880" y="260"/>
                  </a:lnTo>
                  <a:lnTo>
                    <a:pt x="2861" y="278"/>
                  </a:lnTo>
                  <a:lnTo>
                    <a:pt x="2844" y="295"/>
                  </a:lnTo>
                  <a:lnTo>
                    <a:pt x="295" y="2849"/>
                  </a:lnTo>
                  <a:lnTo>
                    <a:pt x="277" y="2868"/>
                  </a:lnTo>
                  <a:lnTo>
                    <a:pt x="259" y="2887"/>
                  </a:lnTo>
                  <a:lnTo>
                    <a:pt x="242" y="2906"/>
                  </a:lnTo>
                  <a:lnTo>
                    <a:pt x="226" y="2926"/>
                  </a:lnTo>
                  <a:lnTo>
                    <a:pt x="210" y="2946"/>
                  </a:lnTo>
                  <a:lnTo>
                    <a:pt x="195" y="2966"/>
                  </a:lnTo>
                  <a:lnTo>
                    <a:pt x="180" y="2987"/>
                  </a:lnTo>
                  <a:lnTo>
                    <a:pt x="166" y="3008"/>
                  </a:lnTo>
                  <a:lnTo>
                    <a:pt x="152" y="3029"/>
                  </a:lnTo>
                  <a:lnTo>
                    <a:pt x="140" y="3051"/>
                  </a:lnTo>
                  <a:lnTo>
                    <a:pt x="126" y="3072"/>
                  </a:lnTo>
                  <a:lnTo>
                    <a:pt x="114" y="3094"/>
                  </a:lnTo>
                  <a:lnTo>
                    <a:pt x="103" y="3116"/>
                  </a:lnTo>
                  <a:lnTo>
                    <a:pt x="93" y="3139"/>
                  </a:lnTo>
                  <a:lnTo>
                    <a:pt x="83" y="3162"/>
                  </a:lnTo>
                  <a:lnTo>
                    <a:pt x="73" y="3185"/>
                  </a:lnTo>
                  <a:lnTo>
                    <a:pt x="64" y="3208"/>
                  </a:lnTo>
                  <a:lnTo>
                    <a:pt x="56" y="3231"/>
                  </a:lnTo>
                  <a:lnTo>
                    <a:pt x="48" y="3254"/>
                  </a:lnTo>
                  <a:lnTo>
                    <a:pt x="41" y="3277"/>
                  </a:lnTo>
                  <a:lnTo>
                    <a:pt x="34" y="3301"/>
                  </a:lnTo>
                  <a:lnTo>
                    <a:pt x="28" y="3324"/>
                  </a:lnTo>
                  <a:lnTo>
                    <a:pt x="23" y="3349"/>
                  </a:lnTo>
                  <a:lnTo>
                    <a:pt x="18" y="3373"/>
                  </a:lnTo>
                  <a:lnTo>
                    <a:pt x="14" y="3397"/>
                  </a:lnTo>
                  <a:lnTo>
                    <a:pt x="10" y="3421"/>
                  </a:lnTo>
                  <a:lnTo>
                    <a:pt x="7" y="3445"/>
                  </a:lnTo>
                  <a:lnTo>
                    <a:pt x="5" y="3469"/>
                  </a:lnTo>
                  <a:lnTo>
                    <a:pt x="3" y="3493"/>
                  </a:lnTo>
                  <a:lnTo>
                    <a:pt x="1" y="3518"/>
                  </a:lnTo>
                  <a:lnTo>
                    <a:pt x="0" y="3543"/>
                  </a:lnTo>
                  <a:lnTo>
                    <a:pt x="0" y="3567"/>
                  </a:lnTo>
                  <a:lnTo>
                    <a:pt x="1" y="3611"/>
                  </a:lnTo>
                  <a:lnTo>
                    <a:pt x="5" y="3655"/>
                  </a:lnTo>
                  <a:lnTo>
                    <a:pt x="10" y="3700"/>
                  </a:lnTo>
                  <a:lnTo>
                    <a:pt x="17" y="3743"/>
                  </a:lnTo>
                  <a:lnTo>
                    <a:pt x="26" y="3787"/>
                  </a:lnTo>
                  <a:lnTo>
                    <a:pt x="37" y="3830"/>
                  </a:lnTo>
                  <a:lnTo>
                    <a:pt x="49" y="3874"/>
                  </a:lnTo>
                  <a:lnTo>
                    <a:pt x="64" y="3916"/>
                  </a:lnTo>
                  <a:lnTo>
                    <a:pt x="72" y="3936"/>
                  </a:lnTo>
                  <a:lnTo>
                    <a:pt x="81" y="3957"/>
                  </a:lnTo>
                  <a:lnTo>
                    <a:pt x="90" y="3978"/>
                  </a:lnTo>
                  <a:lnTo>
                    <a:pt x="100" y="3998"/>
                  </a:lnTo>
                  <a:lnTo>
                    <a:pt x="110" y="4018"/>
                  </a:lnTo>
                  <a:lnTo>
                    <a:pt x="120" y="4039"/>
                  </a:lnTo>
                  <a:lnTo>
                    <a:pt x="132" y="4059"/>
                  </a:lnTo>
                  <a:lnTo>
                    <a:pt x="144" y="4079"/>
                  </a:lnTo>
                  <a:lnTo>
                    <a:pt x="156" y="4099"/>
                  </a:lnTo>
                  <a:lnTo>
                    <a:pt x="169" y="4118"/>
                  </a:lnTo>
                  <a:lnTo>
                    <a:pt x="182" y="4137"/>
                  </a:lnTo>
                  <a:lnTo>
                    <a:pt x="195" y="4156"/>
                  </a:lnTo>
                  <a:lnTo>
                    <a:pt x="209" y="4174"/>
                  </a:lnTo>
                  <a:lnTo>
                    <a:pt x="224" y="4193"/>
                  </a:lnTo>
                  <a:lnTo>
                    <a:pt x="239" y="4211"/>
                  </a:lnTo>
                  <a:lnTo>
                    <a:pt x="254" y="4228"/>
                  </a:lnTo>
                  <a:lnTo>
                    <a:pt x="7278" y="11724"/>
                  </a:lnTo>
                  <a:lnTo>
                    <a:pt x="7297" y="11744"/>
                  </a:lnTo>
                  <a:lnTo>
                    <a:pt x="7315" y="11763"/>
                  </a:lnTo>
                  <a:lnTo>
                    <a:pt x="7334" y="11782"/>
                  </a:lnTo>
                  <a:lnTo>
                    <a:pt x="7354" y="11801"/>
                  </a:lnTo>
                  <a:lnTo>
                    <a:pt x="7374" y="11819"/>
                  </a:lnTo>
                  <a:lnTo>
                    <a:pt x="7395" y="11836"/>
                  </a:lnTo>
                  <a:lnTo>
                    <a:pt x="7415" y="11852"/>
                  </a:lnTo>
                  <a:lnTo>
                    <a:pt x="7436" y="11868"/>
                  </a:lnTo>
                  <a:lnTo>
                    <a:pt x="7458" y="11883"/>
                  </a:lnTo>
                  <a:lnTo>
                    <a:pt x="7480" y="11898"/>
                  </a:lnTo>
                  <a:lnTo>
                    <a:pt x="7502" y="11912"/>
                  </a:lnTo>
                  <a:lnTo>
                    <a:pt x="7524" y="11925"/>
                  </a:lnTo>
                  <a:lnTo>
                    <a:pt x="7547" y="11938"/>
                  </a:lnTo>
                  <a:lnTo>
                    <a:pt x="7570" y="11950"/>
                  </a:lnTo>
                  <a:lnTo>
                    <a:pt x="7594" y="11962"/>
                  </a:lnTo>
                  <a:lnTo>
                    <a:pt x="7618" y="11974"/>
                  </a:lnTo>
                  <a:lnTo>
                    <a:pt x="7642" y="11985"/>
                  </a:lnTo>
                  <a:lnTo>
                    <a:pt x="7667" y="11994"/>
                  </a:lnTo>
                  <a:lnTo>
                    <a:pt x="7691" y="12004"/>
                  </a:lnTo>
                  <a:lnTo>
                    <a:pt x="7716" y="12012"/>
                  </a:lnTo>
                  <a:lnTo>
                    <a:pt x="7741" y="12020"/>
                  </a:lnTo>
                  <a:lnTo>
                    <a:pt x="7766" y="12027"/>
                  </a:lnTo>
                  <a:lnTo>
                    <a:pt x="7792" y="12034"/>
                  </a:lnTo>
                  <a:lnTo>
                    <a:pt x="7817" y="12040"/>
                  </a:lnTo>
                  <a:lnTo>
                    <a:pt x="7843" y="12045"/>
                  </a:lnTo>
                  <a:lnTo>
                    <a:pt x="7869" y="12049"/>
                  </a:lnTo>
                  <a:lnTo>
                    <a:pt x="7896" y="12053"/>
                  </a:lnTo>
                  <a:lnTo>
                    <a:pt x="7923" y="12056"/>
                  </a:lnTo>
                  <a:lnTo>
                    <a:pt x="7949" y="12059"/>
                  </a:lnTo>
                  <a:lnTo>
                    <a:pt x="7976" y="12061"/>
                  </a:lnTo>
                  <a:lnTo>
                    <a:pt x="8002" y="12062"/>
                  </a:lnTo>
                  <a:lnTo>
                    <a:pt x="8029" y="12062"/>
                  </a:lnTo>
                  <a:lnTo>
                    <a:pt x="8056" y="12062"/>
                  </a:lnTo>
                  <a:lnTo>
                    <a:pt x="8082" y="12061"/>
                  </a:lnTo>
                  <a:lnTo>
                    <a:pt x="8109" y="12059"/>
                  </a:lnTo>
                  <a:lnTo>
                    <a:pt x="8135" y="12056"/>
                  </a:lnTo>
                  <a:lnTo>
                    <a:pt x="8162" y="12053"/>
                  </a:lnTo>
                  <a:lnTo>
                    <a:pt x="8189" y="12049"/>
                  </a:lnTo>
                  <a:lnTo>
                    <a:pt x="8215" y="12045"/>
                  </a:lnTo>
                  <a:lnTo>
                    <a:pt x="8241" y="12040"/>
                  </a:lnTo>
                  <a:lnTo>
                    <a:pt x="8266" y="12034"/>
                  </a:lnTo>
                  <a:lnTo>
                    <a:pt x="8292" y="12027"/>
                  </a:lnTo>
                  <a:lnTo>
                    <a:pt x="8317" y="12020"/>
                  </a:lnTo>
                  <a:lnTo>
                    <a:pt x="8342" y="12012"/>
                  </a:lnTo>
                  <a:lnTo>
                    <a:pt x="8367" y="12004"/>
                  </a:lnTo>
                  <a:lnTo>
                    <a:pt x="8392" y="11994"/>
                  </a:lnTo>
                  <a:lnTo>
                    <a:pt x="8416" y="11985"/>
                  </a:lnTo>
                  <a:lnTo>
                    <a:pt x="8440" y="11974"/>
                  </a:lnTo>
                  <a:lnTo>
                    <a:pt x="8465" y="11962"/>
                  </a:lnTo>
                  <a:lnTo>
                    <a:pt x="8488" y="11950"/>
                  </a:lnTo>
                  <a:lnTo>
                    <a:pt x="8511" y="11938"/>
                  </a:lnTo>
                  <a:lnTo>
                    <a:pt x="8534" y="11925"/>
                  </a:lnTo>
                  <a:lnTo>
                    <a:pt x="8557" y="11912"/>
                  </a:lnTo>
                  <a:lnTo>
                    <a:pt x="8579" y="11898"/>
                  </a:lnTo>
                  <a:lnTo>
                    <a:pt x="8601" y="11883"/>
                  </a:lnTo>
                  <a:lnTo>
                    <a:pt x="8622" y="11868"/>
                  </a:lnTo>
                  <a:lnTo>
                    <a:pt x="8643" y="11852"/>
                  </a:lnTo>
                  <a:lnTo>
                    <a:pt x="8664" y="11836"/>
                  </a:lnTo>
                  <a:lnTo>
                    <a:pt x="8684" y="11819"/>
                  </a:lnTo>
                  <a:lnTo>
                    <a:pt x="8704" y="11801"/>
                  </a:lnTo>
                  <a:lnTo>
                    <a:pt x="8724" y="11782"/>
                  </a:lnTo>
                  <a:lnTo>
                    <a:pt x="8743" y="11763"/>
                  </a:lnTo>
                  <a:lnTo>
                    <a:pt x="8762" y="11744"/>
                  </a:lnTo>
                  <a:lnTo>
                    <a:pt x="8780" y="11724"/>
                  </a:lnTo>
                  <a:lnTo>
                    <a:pt x="15805" y="4228"/>
                  </a:lnTo>
                  <a:lnTo>
                    <a:pt x="15821" y="4210"/>
                  </a:lnTo>
                  <a:lnTo>
                    <a:pt x="15836" y="4192"/>
                  </a:lnTo>
                  <a:lnTo>
                    <a:pt x="15851" y="4173"/>
                  </a:lnTo>
                  <a:lnTo>
                    <a:pt x="15865" y="4154"/>
                  </a:lnTo>
                  <a:lnTo>
                    <a:pt x="15878" y="4135"/>
                  </a:lnTo>
                  <a:lnTo>
                    <a:pt x="15892" y="4115"/>
                  </a:lnTo>
                  <a:lnTo>
                    <a:pt x="15904" y="4096"/>
                  </a:lnTo>
                  <a:lnTo>
                    <a:pt x="15917" y="4076"/>
                  </a:lnTo>
                  <a:lnTo>
                    <a:pt x="15929" y="4056"/>
                  </a:lnTo>
                  <a:lnTo>
                    <a:pt x="15940" y="4034"/>
                  </a:lnTo>
                  <a:lnTo>
                    <a:pt x="15951" y="4014"/>
                  </a:lnTo>
                  <a:lnTo>
                    <a:pt x="15961" y="3993"/>
                  </a:lnTo>
                  <a:lnTo>
                    <a:pt x="15971" y="3972"/>
                  </a:lnTo>
                  <a:lnTo>
                    <a:pt x="15980" y="3951"/>
                  </a:lnTo>
                  <a:lnTo>
                    <a:pt x="15989" y="3930"/>
                  </a:lnTo>
                  <a:lnTo>
                    <a:pt x="15997" y="3908"/>
                  </a:lnTo>
                  <a:lnTo>
                    <a:pt x="16004" y="3887"/>
                  </a:lnTo>
                  <a:lnTo>
                    <a:pt x="16011" y="3864"/>
                  </a:lnTo>
                  <a:lnTo>
                    <a:pt x="16018" y="3842"/>
                  </a:lnTo>
                  <a:lnTo>
                    <a:pt x="16024" y="3820"/>
                  </a:lnTo>
                  <a:lnTo>
                    <a:pt x="16030" y="3799"/>
                  </a:lnTo>
                  <a:lnTo>
                    <a:pt x="16035" y="3776"/>
                  </a:lnTo>
                  <a:lnTo>
                    <a:pt x="16039" y="3754"/>
                  </a:lnTo>
                  <a:lnTo>
                    <a:pt x="16044" y="3732"/>
                  </a:lnTo>
                  <a:lnTo>
                    <a:pt x="16047" y="3710"/>
                  </a:lnTo>
                  <a:lnTo>
                    <a:pt x="16050" y="3686"/>
                  </a:lnTo>
                  <a:lnTo>
                    <a:pt x="16053" y="3664"/>
                  </a:lnTo>
                  <a:lnTo>
                    <a:pt x="16055" y="3642"/>
                  </a:lnTo>
                  <a:lnTo>
                    <a:pt x="16056" y="3619"/>
                  </a:lnTo>
                  <a:lnTo>
                    <a:pt x="16057" y="3597"/>
                  </a:lnTo>
                  <a:lnTo>
                    <a:pt x="16058" y="3574"/>
                  </a:lnTo>
                  <a:lnTo>
                    <a:pt x="16058" y="3552"/>
                  </a:lnTo>
                  <a:lnTo>
                    <a:pt x="16057" y="3528"/>
                  </a:lnTo>
                  <a:lnTo>
                    <a:pt x="16056" y="3503"/>
                  </a:lnTo>
                  <a:lnTo>
                    <a:pt x="16055" y="3479"/>
                  </a:lnTo>
                  <a:lnTo>
                    <a:pt x="16053" y="3456"/>
                  </a:lnTo>
                  <a:lnTo>
                    <a:pt x="16050" y="3432"/>
                  </a:lnTo>
                  <a:lnTo>
                    <a:pt x="16047" y="3408"/>
                  </a:lnTo>
                  <a:lnTo>
                    <a:pt x="16043" y="3385"/>
                  </a:lnTo>
                  <a:lnTo>
                    <a:pt x="16039" y="3362"/>
                  </a:lnTo>
                  <a:lnTo>
                    <a:pt x="16034" y="3338"/>
                  </a:lnTo>
                  <a:lnTo>
                    <a:pt x="16028" y="3314"/>
                  </a:lnTo>
                  <a:lnTo>
                    <a:pt x="16022" y="3291"/>
                  </a:lnTo>
                  <a:lnTo>
                    <a:pt x="16015" y="3268"/>
                  </a:lnTo>
                  <a:lnTo>
                    <a:pt x="16008" y="3245"/>
                  </a:lnTo>
                  <a:lnTo>
                    <a:pt x="16000" y="3222"/>
                  </a:lnTo>
                  <a:lnTo>
                    <a:pt x="15992" y="3200"/>
                  </a:lnTo>
                  <a:lnTo>
                    <a:pt x="15983" y="3178"/>
                  </a:lnTo>
                  <a:lnTo>
                    <a:pt x="15974" y="3155"/>
                  </a:lnTo>
                  <a:lnTo>
                    <a:pt x="15964" y="3132"/>
                  </a:lnTo>
                  <a:lnTo>
                    <a:pt x="15953" y="3111"/>
                  </a:lnTo>
                  <a:lnTo>
                    <a:pt x="15942" y="3089"/>
                  </a:lnTo>
                  <a:lnTo>
                    <a:pt x="15930" y="3068"/>
                  </a:lnTo>
                  <a:lnTo>
                    <a:pt x="15917" y="3047"/>
                  </a:lnTo>
                  <a:lnTo>
                    <a:pt x="15904" y="3026"/>
                  </a:lnTo>
                  <a:lnTo>
                    <a:pt x="15891" y="3005"/>
                  </a:lnTo>
                  <a:lnTo>
                    <a:pt x="15877" y="2985"/>
                  </a:lnTo>
                  <a:lnTo>
                    <a:pt x="15863" y="2964"/>
                  </a:lnTo>
                  <a:lnTo>
                    <a:pt x="15848" y="2944"/>
                  </a:lnTo>
                  <a:lnTo>
                    <a:pt x="15832" y="2924"/>
                  </a:lnTo>
                  <a:lnTo>
                    <a:pt x="15816" y="2905"/>
                  </a:lnTo>
                  <a:lnTo>
                    <a:pt x="15799" y="2886"/>
                  </a:lnTo>
                  <a:lnTo>
                    <a:pt x="15782" y="2868"/>
                  </a:lnTo>
                  <a:lnTo>
                    <a:pt x="15764" y="284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95" name="îšlîdè">
              <a:extLst>
                <a:ext uri="{FF2B5EF4-FFF2-40B4-BE49-F238E27FC236}">
                  <a16:creationId xmlns:a16="http://schemas.microsoft.com/office/drawing/2014/main" id="{1A956896-F407-4867-B238-1DFCDE04AD85}"/>
                </a:ext>
              </a:extLst>
            </p:cNvPr>
            <p:cNvSpPr/>
            <p:nvPr/>
          </p:nvSpPr>
          <p:spPr bwMode="auto">
            <a:xfrm>
              <a:off x="9806274" y="1886757"/>
              <a:ext cx="231062" cy="231062"/>
            </a:xfrm>
            <a:custGeom>
              <a:avLst/>
              <a:gdLst>
                <a:gd name="T0" fmla="*/ 15044 w 16095"/>
                <a:gd name="T1" fmla="*/ 14382 h 16095"/>
                <a:gd name="T2" fmla="*/ 14889 w 16095"/>
                <a:gd name="T3" fmla="*/ 14685 h 16095"/>
                <a:gd name="T4" fmla="*/ 14645 w 16095"/>
                <a:gd name="T5" fmla="*/ 14917 h 16095"/>
                <a:gd name="T6" fmla="*/ 14335 w 16095"/>
                <a:gd name="T7" fmla="*/ 15057 h 16095"/>
                <a:gd name="T8" fmla="*/ 1961 w 16095"/>
                <a:gd name="T9" fmla="*/ 15088 h 16095"/>
                <a:gd name="T10" fmla="*/ 1621 w 16095"/>
                <a:gd name="T11" fmla="*/ 15010 h 16095"/>
                <a:gd name="T12" fmla="*/ 1336 w 16095"/>
                <a:gd name="T13" fmla="*/ 14828 h 16095"/>
                <a:gd name="T14" fmla="*/ 1128 w 16095"/>
                <a:gd name="T15" fmla="*/ 14562 h 16095"/>
                <a:gd name="T16" fmla="*/ 1017 w 16095"/>
                <a:gd name="T17" fmla="*/ 14236 h 16095"/>
                <a:gd name="T18" fmla="*/ 1012 w 16095"/>
                <a:gd name="T19" fmla="*/ 3947 h 16095"/>
                <a:gd name="T20" fmla="*/ 1066 w 16095"/>
                <a:gd name="T21" fmla="*/ 3784 h 16095"/>
                <a:gd name="T22" fmla="*/ 1171 w 16095"/>
                <a:gd name="T23" fmla="*/ 3652 h 16095"/>
                <a:gd name="T24" fmla="*/ 1313 w 16095"/>
                <a:gd name="T25" fmla="*/ 3560 h 16095"/>
                <a:gd name="T26" fmla="*/ 1483 w 16095"/>
                <a:gd name="T27" fmla="*/ 3522 h 16095"/>
                <a:gd name="T28" fmla="*/ 2022 w 16095"/>
                <a:gd name="T29" fmla="*/ 13682 h 16095"/>
                <a:gd name="T30" fmla="*/ 2084 w 16095"/>
                <a:gd name="T31" fmla="*/ 13841 h 16095"/>
                <a:gd name="T32" fmla="*/ 2195 w 16095"/>
                <a:gd name="T33" fmla="*/ 13968 h 16095"/>
                <a:gd name="T34" fmla="*/ 2342 w 16095"/>
                <a:gd name="T35" fmla="*/ 14053 h 16095"/>
                <a:gd name="T36" fmla="*/ 2515 w 16095"/>
                <a:gd name="T37" fmla="*/ 14083 h 16095"/>
                <a:gd name="T38" fmla="*/ 2688 w 16095"/>
                <a:gd name="T39" fmla="*/ 14053 h 16095"/>
                <a:gd name="T40" fmla="*/ 2835 w 16095"/>
                <a:gd name="T41" fmla="*/ 13968 h 16095"/>
                <a:gd name="T42" fmla="*/ 2945 w 16095"/>
                <a:gd name="T43" fmla="*/ 13841 h 16095"/>
                <a:gd name="T44" fmla="*/ 3008 w 16095"/>
                <a:gd name="T45" fmla="*/ 13682 h 16095"/>
                <a:gd name="T46" fmla="*/ 3021 w 16095"/>
                <a:gd name="T47" fmla="*/ 1458 h 16095"/>
                <a:gd name="T48" fmla="*/ 3067 w 16095"/>
                <a:gd name="T49" fmla="*/ 1291 h 16095"/>
                <a:gd name="T50" fmla="*/ 3166 w 16095"/>
                <a:gd name="T51" fmla="*/ 1154 h 16095"/>
                <a:gd name="T52" fmla="*/ 3302 w 16095"/>
                <a:gd name="T53" fmla="*/ 1055 h 16095"/>
                <a:gd name="T54" fmla="*/ 3469 w 16095"/>
                <a:gd name="T55" fmla="*/ 1009 h 16095"/>
                <a:gd name="T56" fmla="*/ 14688 w 16095"/>
                <a:gd name="T57" fmla="*/ 1016 h 16095"/>
                <a:gd name="T58" fmla="*/ 14847 w 16095"/>
                <a:gd name="T59" fmla="*/ 1079 h 16095"/>
                <a:gd name="T60" fmla="*/ 14974 w 16095"/>
                <a:gd name="T61" fmla="*/ 1189 h 16095"/>
                <a:gd name="T62" fmla="*/ 15059 w 16095"/>
                <a:gd name="T63" fmla="*/ 1336 h 16095"/>
                <a:gd name="T64" fmla="*/ 15089 w 16095"/>
                <a:gd name="T65" fmla="*/ 1509 h 16095"/>
                <a:gd name="T66" fmla="*/ 3217 w 16095"/>
                <a:gd name="T67" fmla="*/ 30 h 16095"/>
                <a:gd name="T68" fmla="*/ 2738 w 16095"/>
                <a:gd name="T69" fmla="*/ 218 h 16095"/>
                <a:gd name="T70" fmla="*/ 2356 w 16095"/>
                <a:gd name="T71" fmla="*/ 549 h 16095"/>
                <a:gd name="T72" fmla="*/ 2103 w 16095"/>
                <a:gd name="T73" fmla="*/ 990 h 16095"/>
                <a:gd name="T74" fmla="*/ 2012 w 16095"/>
                <a:gd name="T75" fmla="*/ 1509 h 16095"/>
                <a:gd name="T76" fmla="*/ 1132 w 16095"/>
                <a:gd name="T77" fmla="*/ 2562 h 16095"/>
                <a:gd name="T78" fmla="*/ 665 w 16095"/>
                <a:gd name="T79" fmla="*/ 2772 h 16095"/>
                <a:gd name="T80" fmla="*/ 300 w 16095"/>
                <a:gd name="T81" fmla="*/ 3120 h 16095"/>
                <a:gd name="T82" fmla="*/ 67 w 16095"/>
                <a:gd name="T83" fmla="*/ 3575 h 16095"/>
                <a:gd name="T84" fmla="*/ 0 w 16095"/>
                <a:gd name="T85" fmla="*/ 14083 h 16095"/>
                <a:gd name="T86" fmla="*/ 122 w 16095"/>
                <a:gd name="T87" fmla="*/ 14775 h 16095"/>
                <a:gd name="T88" fmla="*/ 460 w 16095"/>
                <a:gd name="T89" fmla="*/ 15363 h 16095"/>
                <a:gd name="T90" fmla="*/ 969 w 16095"/>
                <a:gd name="T91" fmla="*/ 15803 h 16095"/>
                <a:gd name="T92" fmla="*/ 1606 w 16095"/>
                <a:gd name="T93" fmla="*/ 16054 h 16095"/>
                <a:gd name="T94" fmla="*/ 14289 w 16095"/>
                <a:gd name="T95" fmla="*/ 16085 h 16095"/>
                <a:gd name="T96" fmla="*/ 14955 w 16095"/>
                <a:gd name="T97" fmla="*/ 15897 h 16095"/>
                <a:gd name="T98" fmla="*/ 15506 w 16095"/>
                <a:gd name="T99" fmla="*/ 15506 h 16095"/>
                <a:gd name="T100" fmla="*/ 15897 w 16095"/>
                <a:gd name="T101" fmla="*/ 14955 h 16095"/>
                <a:gd name="T102" fmla="*/ 16085 w 16095"/>
                <a:gd name="T103" fmla="*/ 14289 h 16095"/>
                <a:gd name="T104" fmla="*/ 16065 w 16095"/>
                <a:gd name="T105" fmla="*/ 1204 h 16095"/>
                <a:gd name="T106" fmla="*/ 15877 w 16095"/>
                <a:gd name="T107" fmla="*/ 726 h 16095"/>
                <a:gd name="T108" fmla="*/ 15546 w 16095"/>
                <a:gd name="T109" fmla="*/ 344 h 16095"/>
                <a:gd name="T110" fmla="*/ 15105 w 16095"/>
                <a:gd name="T111" fmla="*/ 92 h 16095"/>
                <a:gd name="T112" fmla="*/ 14586 w 16095"/>
                <a:gd name="T113" fmla="*/ 0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6095">
                  <a:moveTo>
                    <a:pt x="15089" y="14083"/>
                  </a:moveTo>
                  <a:lnTo>
                    <a:pt x="15088" y="14134"/>
                  </a:lnTo>
                  <a:lnTo>
                    <a:pt x="15084" y="14186"/>
                  </a:lnTo>
                  <a:lnTo>
                    <a:pt x="15077" y="14236"/>
                  </a:lnTo>
                  <a:lnTo>
                    <a:pt x="15069" y="14285"/>
                  </a:lnTo>
                  <a:lnTo>
                    <a:pt x="15057" y="14334"/>
                  </a:lnTo>
                  <a:lnTo>
                    <a:pt x="15044" y="14382"/>
                  </a:lnTo>
                  <a:lnTo>
                    <a:pt x="15028" y="14428"/>
                  </a:lnTo>
                  <a:lnTo>
                    <a:pt x="15010" y="14474"/>
                  </a:lnTo>
                  <a:lnTo>
                    <a:pt x="14989" y="14519"/>
                  </a:lnTo>
                  <a:lnTo>
                    <a:pt x="14967" y="14562"/>
                  </a:lnTo>
                  <a:lnTo>
                    <a:pt x="14943" y="14604"/>
                  </a:lnTo>
                  <a:lnTo>
                    <a:pt x="14917" y="14645"/>
                  </a:lnTo>
                  <a:lnTo>
                    <a:pt x="14889" y="14685"/>
                  </a:lnTo>
                  <a:lnTo>
                    <a:pt x="14859" y="14723"/>
                  </a:lnTo>
                  <a:lnTo>
                    <a:pt x="14828" y="14759"/>
                  </a:lnTo>
                  <a:lnTo>
                    <a:pt x="14794" y="14794"/>
                  </a:lnTo>
                  <a:lnTo>
                    <a:pt x="14759" y="14828"/>
                  </a:lnTo>
                  <a:lnTo>
                    <a:pt x="14723" y="14859"/>
                  </a:lnTo>
                  <a:lnTo>
                    <a:pt x="14685" y="14889"/>
                  </a:lnTo>
                  <a:lnTo>
                    <a:pt x="14645" y="14917"/>
                  </a:lnTo>
                  <a:lnTo>
                    <a:pt x="14604" y="14943"/>
                  </a:lnTo>
                  <a:lnTo>
                    <a:pt x="14562" y="14967"/>
                  </a:lnTo>
                  <a:lnTo>
                    <a:pt x="14519" y="14989"/>
                  </a:lnTo>
                  <a:lnTo>
                    <a:pt x="14474" y="15010"/>
                  </a:lnTo>
                  <a:lnTo>
                    <a:pt x="14429" y="15028"/>
                  </a:lnTo>
                  <a:lnTo>
                    <a:pt x="14382" y="15044"/>
                  </a:lnTo>
                  <a:lnTo>
                    <a:pt x="14335" y="15057"/>
                  </a:lnTo>
                  <a:lnTo>
                    <a:pt x="14285" y="15069"/>
                  </a:lnTo>
                  <a:lnTo>
                    <a:pt x="14236" y="15077"/>
                  </a:lnTo>
                  <a:lnTo>
                    <a:pt x="14186" y="15084"/>
                  </a:lnTo>
                  <a:lnTo>
                    <a:pt x="14134" y="15088"/>
                  </a:lnTo>
                  <a:lnTo>
                    <a:pt x="14083" y="15089"/>
                  </a:lnTo>
                  <a:lnTo>
                    <a:pt x="2012" y="15089"/>
                  </a:lnTo>
                  <a:lnTo>
                    <a:pt x="1961" y="15088"/>
                  </a:lnTo>
                  <a:lnTo>
                    <a:pt x="1909" y="15084"/>
                  </a:lnTo>
                  <a:lnTo>
                    <a:pt x="1859" y="15077"/>
                  </a:lnTo>
                  <a:lnTo>
                    <a:pt x="1810" y="15069"/>
                  </a:lnTo>
                  <a:lnTo>
                    <a:pt x="1760" y="15057"/>
                  </a:lnTo>
                  <a:lnTo>
                    <a:pt x="1713" y="15044"/>
                  </a:lnTo>
                  <a:lnTo>
                    <a:pt x="1666" y="15028"/>
                  </a:lnTo>
                  <a:lnTo>
                    <a:pt x="1621" y="15010"/>
                  </a:lnTo>
                  <a:lnTo>
                    <a:pt x="1576" y="14989"/>
                  </a:lnTo>
                  <a:lnTo>
                    <a:pt x="1533" y="14967"/>
                  </a:lnTo>
                  <a:lnTo>
                    <a:pt x="1491" y="14943"/>
                  </a:lnTo>
                  <a:lnTo>
                    <a:pt x="1450" y="14917"/>
                  </a:lnTo>
                  <a:lnTo>
                    <a:pt x="1410" y="14889"/>
                  </a:lnTo>
                  <a:lnTo>
                    <a:pt x="1372" y="14859"/>
                  </a:lnTo>
                  <a:lnTo>
                    <a:pt x="1336" y="14828"/>
                  </a:lnTo>
                  <a:lnTo>
                    <a:pt x="1301" y="14794"/>
                  </a:lnTo>
                  <a:lnTo>
                    <a:pt x="1267" y="14759"/>
                  </a:lnTo>
                  <a:lnTo>
                    <a:pt x="1236" y="14723"/>
                  </a:lnTo>
                  <a:lnTo>
                    <a:pt x="1206" y="14685"/>
                  </a:lnTo>
                  <a:lnTo>
                    <a:pt x="1178" y="14645"/>
                  </a:lnTo>
                  <a:lnTo>
                    <a:pt x="1152" y="14604"/>
                  </a:lnTo>
                  <a:lnTo>
                    <a:pt x="1128" y="14562"/>
                  </a:lnTo>
                  <a:lnTo>
                    <a:pt x="1106" y="14519"/>
                  </a:lnTo>
                  <a:lnTo>
                    <a:pt x="1085" y="14474"/>
                  </a:lnTo>
                  <a:lnTo>
                    <a:pt x="1067" y="14428"/>
                  </a:lnTo>
                  <a:lnTo>
                    <a:pt x="1051" y="14382"/>
                  </a:lnTo>
                  <a:lnTo>
                    <a:pt x="1037" y="14334"/>
                  </a:lnTo>
                  <a:lnTo>
                    <a:pt x="1026" y="14285"/>
                  </a:lnTo>
                  <a:lnTo>
                    <a:pt x="1017" y="14236"/>
                  </a:lnTo>
                  <a:lnTo>
                    <a:pt x="1011" y="14186"/>
                  </a:lnTo>
                  <a:lnTo>
                    <a:pt x="1007" y="14134"/>
                  </a:lnTo>
                  <a:lnTo>
                    <a:pt x="1006" y="14083"/>
                  </a:lnTo>
                  <a:lnTo>
                    <a:pt x="1006" y="4024"/>
                  </a:lnTo>
                  <a:lnTo>
                    <a:pt x="1007" y="3998"/>
                  </a:lnTo>
                  <a:lnTo>
                    <a:pt x="1009" y="3972"/>
                  </a:lnTo>
                  <a:lnTo>
                    <a:pt x="1012" y="3947"/>
                  </a:lnTo>
                  <a:lnTo>
                    <a:pt x="1016" y="3922"/>
                  </a:lnTo>
                  <a:lnTo>
                    <a:pt x="1022" y="3898"/>
                  </a:lnTo>
                  <a:lnTo>
                    <a:pt x="1028" y="3874"/>
                  </a:lnTo>
                  <a:lnTo>
                    <a:pt x="1036" y="3851"/>
                  </a:lnTo>
                  <a:lnTo>
                    <a:pt x="1045" y="3828"/>
                  </a:lnTo>
                  <a:lnTo>
                    <a:pt x="1055" y="3805"/>
                  </a:lnTo>
                  <a:lnTo>
                    <a:pt x="1066" y="3784"/>
                  </a:lnTo>
                  <a:lnTo>
                    <a:pt x="1078" y="3763"/>
                  </a:lnTo>
                  <a:lnTo>
                    <a:pt x="1091" y="3743"/>
                  </a:lnTo>
                  <a:lnTo>
                    <a:pt x="1106" y="3723"/>
                  </a:lnTo>
                  <a:lnTo>
                    <a:pt x="1121" y="3704"/>
                  </a:lnTo>
                  <a:lnTo>
                    <a:pt x="1137" y="3686"/>
                  </a:lnTo>
                  <a:lnTo>
                    <a:pt x="1153" y="3669"/>
                  </a:lnTo>
                  <a:lnTo>
                    <a:pt x="1171" y="3652"/>
                  </a:lnTo>
                  <a:lnTo>
                    <a:pt x="1189" y="3635"/>
                  </a:lnTo>
                  <a:lnTo>
                    <a:pt x="1208" y="3620"/>
                  </a:lnTo>
                  <a:lnTo>
                    <a:pt x="1227" y="3606"/>
                  </a:lnTo>
                  <a:lnTo>
                    <a:pt x="1248" y="3593"/>
                  </a:lnTo>
                  <a:lnTo>
                    <a:pt x="1269" y="3581"/>
                  </a:lnTo>
                  <a:lnTo>
                    <a:pt x="1291" y="3570"/>
                  </a:lnTo>
                  <a:lnTo>
                    <a:pt x="1313" y="3560"/>
                  </a:lnTo>
                  <a:lnTo>
                    <a:pt x="1336" y="3551"/>
                  </a:lnTo>
                  <a:lnTo>
                    <a:pt x="1359" y="3544"/>
                  </a:lnTo>
                  <a:lnTo>
                    <a:pt x="1383" y="3537"/>
                  </a:lnTo>
                  <a:lnTo>
                    <a:pt x="1407" y="3531"/>
                  </a:lnTo>
                  <a:lnTo>
                    <a:pt x="1432" y="3527"/>
                  </a:lnTo>
                  <a:lnTo>
                    <a:pt x="1458" y="3524"/>
                  </a:lnTo>
                  <a:lnTo>
                    <a:pt x="1483" y="3522"/>
                  </a:lnTo>
                  <a:lnTo>
                    <a:pt x="1509" y="3521"/>
                  </a:lnTo>
                  <a:lnTo>
                    <a:pt x="2012" y="3521"/>
                  </a:lnTo>
                  <a:lnTo>
                    <a:pt x="2012" y="13580"/>
                  </a:lnTo>
                  <a:lnTo>
                    <a:pt x="2013" y="13606"/>
                  </a:lnTo>
                  <a:lnTo>
                    <a:pt x="2015" y="13631"/>
                  </a:lnTo>
                  <a:lnTo>
                    <a:pt x="2018" y="13657"/>
                  </a:lnTo>
                  <a:lnTo>
                    <a:pt x="2022" y="13682"/>
                  </a:lnTo>
                  <a:lnTo>
                    <a:pt x="2028" y="13706"/>
                  </a:lnTo>
                  <a:lnTo>
                    <a:pt x="2034" y="13730"/>
                  </a:lnTo>
                  <a:lnTo>
                    <a:pt x="2042" y="13753"/>
                  </a:lnTo>
                  <a:lnTo>
                    <a:pt x="2051" y="13776"/>
                  </a:lnTo>
                  <a:lnTo>
                    <a:pt x="2061" y="13798"/>
                  </a:lnTo>
                  <a:lnTo>
                    <a:pt x="2072" y="13821"/>
                  </a:lnTo>
                  <a:lnTo>
                    <a:pt x="2084" y="13841"/>
                  </a:lnTo>
                  <a:lnTo>
                    <a:pt x="2097" y="13862"/>
                  </a:lnTo>
                  <a:lnTo>
                    <a:pt x="2111" y="13881"/>
                  </a:lnTo>
                  <a:lnTo>
                    <a:pt x="2127" y="13900"/>
                  </a:lnTo>
                  <a:lnTo>
                    <a:pt x="2143" y="13918"/>
                  </a:lnTo>
                  <a:lnTo>
                    <a:pt x="2159" y="13936"/>
                  </a:lnTo>
                  <a:lnTo>
                    <a:pt x="2177" y="13952"/>
                  </a:lnTo>
                  <a:lnTo>
                    <a:pt x="2195" y="13968"/>
                  </a:lnTo>
                  <a:lnTo>
                    <a:pt x="2214" y="13984"/>
                  </a:lnTo>
                  <a:lnTo>
                    <a:pt x="2233" y="13998"/>
                  </a:lnTo>
                  <a:lnTo>
                    <a:pt x="2254" y="14011"/>
                  </a:lnTo>
                  <a:lnTo>
                    <a:pt x="2275" y="14023"/>
                  </a:lnTo>
                  <a:lnTo>
                    <a:pt x="2297" y="14034"/>
                  </a:lnTo>
                  <a:lnTo>
                    <a:pt x="2319" y="14044"/>
                  </a:lnTo>
                  <a:lnTo>
                    <a:pt x="2342" y="14053"/>
                  </a:lnTo>
                  <a:lnTo>
                    <a:pt x="2365" y="14061"/>
                  </a:lnTo>
                  <a:lnTo>
                    <a:pt x="2389" y="14067"/>
                  </a:lnTo>
                  <a:lnTo>
                    <a:pt x="2413" y="14073"/>
                  </a:lnTo>
                  <a:lnTo>
                    <a:pt x="2438" y="14077"/>
                  </a:lnTo>
                  <a:lnTo>
                    <a:pt x="2464" y="14080"/>
                  </a:lnTo>
                  <a:lnTo>
                    <a:pt x="2489" y="14082"/>
                  </a:lnTo>
                  <a:lnTo>
                    <a:pt x="2515" y="14083"/>
                  </a:lnTo>
                  <a:lnTo>
                    <a:pt x="2541" y="14082"/>
                  </a:lnTo>
                  <a:lnTo>
                    <a:pt x="2566" y="14080"/>
                  </a:lnTo>
                  <a:lnTo>
                    <a:pt x="2591" y="14077"/>
                  </a:lnTo>
                  <a:lnTo>
                    <a:pt x="2616" y="14073"/>
                  </a:lnTo>
                  <a:lnTo>
                    <a:pt x="2641" y="14067"/>
                  </a:lnTo>
                  <a:lnTo>
                    <a:pt x="2665" y="14061"/>
                  </a:lnTo>
                  <a:lnTo>
                    <a:pt x="2688" y="14053"/>
                  </a:lnTo>
                  <a:lnTo>
                    <a:pt x="2711" y="14044"/>
                  </a:lnTo>
                  <a:lnTo>
                    <a:pt x="2733" y="14034"/>
                  </a:lnTo>
                  <a:lnTo>
                    <a:pt x="2755" y="14023"/>
                  </a:lnTo>
                  <a:lnTo>
                    <a:pt x="2775" y="14011"/>
                  </a:lnTo>
                  <a:lnTo>
                    <a:pt x="2797" y="13998"/>
                  </a:lnTo>
                  <a:lnTo>
                    <a:pt x="2816" y="13984"/>
                  </a:lnTo>
                  <a:lnTo>
                    <a:pt x="2835" y="13968"/>
                  </a:lnTo>
                  <a:lnTo>
                    <a:pt x="2853" y="13952"/>
                  </a:lnTo>
                  <a:lnTo>
                    <a:pt x="2871" y="13936"/>
                  </a:lnTo>
                  <a:lnTo>
                    <a:pt x="2887" y="13918"/>
                  </a:lnTo>
                  <a:lnTo>
                    <a:pt x="2903" y="13900"/>
                  </a:lnTo>
                  <a:lnTo>
                    <a:pt x="2918" y="13881"/>
                  </a:lnTo>
                  <a:lnTo>
                    <a:pt x="2932" y="13862"/>
                  </a:lnTo>
                  <a:lnTo>
                    <a:pt x="2945" y="13841"/>
                  </a:lnTo>
                  <a:lnTo>
                    <a:pt x="2957" y="13821"/>
                  </a:lnTo>
                  <a:lnTo>
                    <a:pt x="2969" y="13798"/>
                  </a:lnTo>
                  <a:lnTo>
                    <a:pt x="2979" y="13776"/>
                  </a:lnTo>
                  <a:lnTo>
                    <a:pt x="2988" y="13753"/>
                  </a:lnTo>
                  <a:lnTo>
                    <a:pt x="2996" y="13730"/>
                  </a:lnTo>
                  <a:lnTo>
                    <a:pt x="3002" y="13706"/>
                  </a:lnTo>
                  <a:lnTo>
                    <a:pt x="3008" y="13682"/>
                  </a:lnTo>
                  <a:lnTo>
                    <a:pt x="3012" y="13657"/>
                  </a:lnTo>
                  <a:lnTo>
                    <a:pt x="3015" y="13631"/>
                  </a:lnTo>
                  <a:lnTo>
                    <a:pt x="3017" y="13606"/>
                  </a:lnTo>
                  <a:lnTo>
                    <a:pt x="3018" y="13580"/>
                  </a:lnTo>
                  <a:lnTo>
                    <a:pt x="3018" y="1509"/>
                  </a:lnTo>
                  <a:lnTo>
                    <a:pt x="3019" y="1483"/>
                  </a:lnTo>
                  <a:lnTo>
                    <a:pt x="3021" y="1458"/>
                  </a:lnTo>
                  <a:lnTo>
                    <a:pt x="3024" y="1432"/>
                  </a:lnTo>
                  <a:lnTo>
                    <a:pt x="3028" y="1407"/>
                  </a:lnTo>
                  <a:lnTo>
                    <a:pt x="3034" y="1383"/>
                  </a:lnTo>
                  <a:lnTo>
                    <a:pt x="3041" y="1359"/>
                  </a:lnTo>
                  <a:lnTo>
                    <a:pt x="3048" y="1336"/>
                  </a:lnTo>
                  <a:lnTo>
                    <a:pt x="3057" y="1313"/>
                  </a:lnTo>
                  <a:lnTo>
                    <a:pt x="3067" y="1291"/>
                  </a:lnTo>
                  <a:lnTo>
                    <a:pt x="3078" y="1269"/>
                  </a:lnTo>
                  <a:lnTo>
                    <a:pt x="3090" y="1248"/>
                  </a:lnTo>
                  <a:lnTo>
                    <a:pt x="3103" y="1227"/>
                  </a:lnTo>
                  <a:lnTo>
                    <a:pt x="3117" y="1208"/>
                  </a:lnTo>
                  <a:lnTo>
                    <a:pt x="3132" y="1189"/>
                  </a:lnTo>
                  <a:lnTo>
                    <a:pt x="3149" y="1171"/>
                  </a:lnTo>
                  <a:lnTo>
                    <a:pt x="3166" y="1154"/>
                  </a:lnTo>
                  <a:lnTo>
                    <a:pt x="3183" y="1137"/>
                  </a:lnTo>
                  <a:lnTo>
                    <a:pt x="3201" y="1121"/>
                  </a:lnTo>
                  <a:lnTo>
                    <a:pt x="3220" y="1106"/>
                  </a:lnTo>
                  <a:lnTo>
                    <a:pt x="3240" y="1092"/>
                  </a:lnTo>
                  <a:lnTo>
                    <a:pt x="3260" y="1079"/>
                  </a:lnTo>
                  <a:lnTo>
                    <a:pt x="3281" y="1066"/>
                  </a:lnTo>
                  <a:lnTo>
                    <a:pt x="3302" y="1055"/>
                  </a:lnTo>
                  <a:lnTo>
                    <a:pt x="3325" y="1045"/>
                  </a:lnTo>
                  <a:lnTo>
                    <a:pt x="3348" y="1036"/>
                  </a:lnTo>
                  <a:lnTo>
                    <a:pt x="3371" y="1029"/>
                  </a:lnTo>
                  <a:lnTo>
                    <a:pt x="3395" y="1022"/>
                  </a:lnTo>
                  <a:lnTo>
                    <a:pt x="3419" y="1016"/>
                  </a:lnTo>
                  <a:lnTo>
                    <a:pt x="3444" y="1012"/>
                  </a:lnTo>
                  <a:lnTo>
                    <a:pt x="3469" y="1009"/>
                  </a:lnTo>
                  <a:lnTo>
                    <a:pt x="3495" y="1007"/>
                  </a:lnTo>
                  <a:lnTo>
                    <a:pt x="3521" y="1006"/>
                  </a:lnTo>
                  <a:lnTo>
                    <a:pt x="14586" y="1006"/>
                  </a:lnTo>
                  <a:lnTo>
                    <a:pt x="14612" y="1007"/>
                  </a:lnTo>
                  <a:lnTo>
                    <a:pt x="14637" y="1009"/>
                  </a:lnTo>
                  <a:lnTo>
                    <a:pt x="14663" y="1012"/>
                  </a:lnTo>
                  <a:lnTo>
                    <a:pt x="14688" y="1016"/>
                  </a:lnTo>
                  <a:lnTo>
                    <a:pt x="14712" y="1022"/>
                  </a:lnTo>
                  <a:lnTo>
                    <a:pt x="14736" y="1029"/>
                  </a:lnTo>
                  <a:lnTo>
                    <a:pt x="14759" y="1036"/>
                  </a:lnTo>
                  <a:lnTo>
                    <a:pt x="14782" y="1045"/>
                  </a:lnTo>
                  <a:lnTo>
                    <a:pt x="14804" y="1055"/>
                  </a:lnTo>
                  <a:lnTo>
                    <a:pt x="14826" y="1066"/>
                  </a:lnTo>
                  <a:lnTo>
                    <a:pt x="14847" y="1079"/>
                  </a:lnTo>
                  <a:lnTo>
                    <a:pt x="14867" y="1092"/>
                  </a:lnTo>
                  <a:lnTo>
                    <a:pt x="14887" y="1106"/>
                  </a:lnTo>
                  <a:lnTo>
                    <a:pt x="14906" y="1121"/>
                  </a:lnTo>
                  <a:lnTo>
                    <a:pt x="14924" y="1137"/>
                  </a:lnTo>
                  <a:lnTo>
                    <a:pt x="14942" y="1154"/>
                  </a:lnTo>
                  <a:lnTo>
                    <a:pt x="14958" y="1171"/>
                  </a:lnTo>
                  <a:lnTo>
                    <a:pt x="14974" y="1189"/>
                  </a:lnTo>
                  <a:lnTo>
                    <a:pt x="14989" y="1208"/>
                  </a:lnTo>
                  <a:lnTo>
                    <a:pt x="15004" y="1227"/>
                  </a:lnTo>
                  <a:lnTo>
                    <a:pt x="15017" y="1248"/>
                  </a:lnTo>
                  <a:lnTo>
                    <a:pt x="15029" y="1269"/>
                  </a:lnTo>
                  <a:lnTo>
                    <a:pt x="15040" y="1291"/>
                  </a:lnTo>
                  <a:lnTo>
                    <a:pt x="15050" y="1313"/>
                  </a:lnTo>
                  <a:lnTo>
                    <a:pt x="15059" y="1336"/>
                  </a:lnTo>
                  <a:lnTo>
                    <a:pt x="15066" y="1359"/>
                  </a:lnTo>
                  <a:lnTo>
                    <a:pt x="15073" y="1383"/>
                  </a:lnTo>
                  <a:lnTo>
                    <a:pt x="15079" y="1407"/>
                  </a:lnTo>
                  <a:lnTo>
                    <a:pt x="15083" y="1432"/>
                  </a:lnTo>
                  <a:lnTo>
                    <a:pt x="15086" y="1458"/>
                  </a:lnTo>
                  <a:lnTo>
                    <a:pt x="15088" y="1483"/>
                  </a:lnTo>
                  <a:lnTo>
                    <a:pt x="15089" y="1509"/>
                  </a:lnTo>
                  <a:lnTo>
                    <a:pt x="15089" y="14083"/>
                  </a:lnTo>
                  <a:close/>
                  <a:moveTo>
                    <a:pt x="14586" y="0"/>
                  </a:moveTo>
                  <a:lnTo>
                    <a:pt x="3521" y="0"/>
                  </a:lnTo>
                  <a:lnTo>
                    <a:pt x="3443" y="2"/>
                  </a:lnTo>
                  <a:lnTo>
                    <a:pt x="3367" y="8"/>
                  </a:lnTo>
                  <a:lnTo>
                    <a:pt x="3291" y="17"/>
                  </a:lnTo>
                  <a:lnTo>
                    <a:pt x="3217" y="30"/>
                  </a:lnTo>
                  <a:lnTo>
                    <a:pt x="3144" y="47"/>
                  </a:lnTo>
                  <a:lnTo>
                    <a:pt x="3072" y="67"/>
                  </a:lnTo>
                  <a:lnTo>
                    <a:pt x="3002" y="92"/>
                  </a:lnTo>
                  <a:lnTo>
                    <a:pt x="2933" y="119"/>
                  </a:lnTo>
                  <a:lnTo>
                    <a:pt x="2867" y="149"/>
                  </a:lnTo>
                  <a:lnTo>
                    <a:pt x="2802" y="182"/>
                  </a:lnTo>
                  <a:lnTo>
                    <a:pt x="2738" y="218"/>
                  </a:lnTo>
                  <a:lnTo>
                    <a:pt x="2677" y="258"/>
                  </a:lnTo>
                  <a:lnTo>
                    <a:pt x="2617" y="300"/>
                  </a:lnTo>
                  <a:lnTo>
                    <a:pt x="2561" y="344"/>
                  </a:lnTo>
                  <a:lnTo>
                    <a:pt x="2506" y="391"/>
                  </a:lnTo>
                  <a:lnTo>
                    <a:pt x="2453" y="442"/>
                  </a:lnTo>
                  <a:lnTo>
                    <a:pt x="2404" y="494"/>
                  </a:lnTo>
                  <a:lnTo>
                    <a:pt x="2356" y="549"/>
                  </a:lnTo>
                  <a:lnTo>
                    <a:pt x="2312" y="606"/>
                  </a:lnTo>
                  <a:lnTo>
                    <a:pt x="2269" y="665"/>
                  </a:lnTo>
                  <a:lnTo>
                    <a:pt x="2230" y="726"/>
                  </a:lnTo>
                  <a:lnTo>
                    <a:pt x="2194" y="790"/>
                  </a:lnTo>
                  <a:lnTo>
                    <a:pt x="2161" y="854"/>
                  </a:lnTo>
                  <a:lnTo>
                    <a:pt x="2131" y="921"/>
                  </a:lnTo>
                  <a:lnTo>
                    <a:pt x="2103" y="990"/>
                  </a:lnTo>
                  <a:lnTo>
                    <a:pt x="2079" y="1060"/>
                  </a:lnTo>
                  <a:lnTo>
                    <a:pt x="2059" y="1132"/>
                  </a:lnTo>
                  <a:lnTo>
                    <a:pt x="2042" y="1204"/>
                  </a:lnTo>
                  <a:lnTo>
                    <a:pt x="2029" y="1279"/>
                  </a:lnTo>
                  <a:lnTo>
                    <a:pt x="2020" y="1354"/>
                  </a:lnTo>
                  <a:lnTo>
                    <a:pt x="2014" y="1431"/>
                  </a:lnTo>
                  <a:lnTo>
                    <a:pt x="2012" y="1509"/>
                  </a:lnTo>
                  <a:lnTo>
                    <a:pt x="2012" y="2515"/>
                  </a:lnTo>
                  <a:lnTo>
                    <a:pt x="1509" y="2515"/>
                  </a:lnTo>
                  <a:lnTo>
                    <a:pt x="1431" y="2517"/>
                  </a:lnTo>
                  <a:lnTo>
                    <a:pt x="1355" y="2523"/>
                  </a:lnTo>
                  <a:lnTo>
                    <a:pt x="1280" y="2532"/>
                  </a:lnTo>
                  <a:lnTo>
                    <a:pt x="1205" y="2545"/>
                  </a:lnTo>
                  <a:lnTo>
                    <a:pt x="1132" y="2562"/>
                  </a:lnTo>
                  <a:lnTo>
                    <a:pt x="1060" y="2582"/>
                  </a:lnTo>
                  <a:lnTo>
                    <a:pt x="990" y="2606"/>
                  </a:lnTo>
                  <a:lnTo>
                    <a:pt x="921" y="2634"/>
                  </a:lnTo>
                  <a:lnTo>
                    <a:pt x="855" y="2664"/>
                  </a:lnTo>
                  <a:lnTo>
                    <a:pt x="790" y="2697"/>
                  </a:lnTo>
                  <a:lnTo>
                    <a:pt x="726" y="2733"/>
                  </a:lnTo>
                  <a:lnTo>
                    <a:pt x="665" y="2772"/>
                  </a:lnTo>
                  <a:lnTo>
                    <a:pt x="607" y="2815"/>
                  </a:lnTo>
                  <a:lnTo>
                    <a:pt x="549" y="2859"/>
                  </a:lnTo>
                  <a:lnTo>
                    <a:pt x="494" y="2907"/>
                  </a:lnTo>
                  <a:lnTo>
                    <a:pt x="442" y="2956"/>
                  </a:lnTo>
                  <a:lnTo>
                    <a:pt x="392" y="3009"/>
                  </a:lnTo>
                  <a:lnTo>
                    <a:pt x="345" y="3064"/>
                  </a:lnTo>
                  <a:lnTo>
                    <a:pt x="300" y="3120"/>
                  </a:lnTo>
                  <a:lnTo>
                    <a:pt x="258" y="3180"/>
                  </a:lnTo>
                  <a:lnTo>
                    <a:pt x="218" y="3241"/>
                  </a:lnTo>
                  <a:lnTo>
                    <a:pt x="182" y="3305"/>
                  </a:lnTo>
                  <a:lnTo>
                    <a:pt x="149" y="3369"/>
                  </a:lnTo>
                  <a:lnTo>
                    <a:pt x="119" y="3436"/>
                  </a:lnTo>
                  <a:lnTo>
                    <a:pt x="92" y="3505"/>
                  </a:lnTo>
                  <a:lnTo>
                    <a:pt x="67" y="3575"/>
                  </a:lnTo>
                  <a:lnTo>
                    <a:pt x="47" y="3647"/>
                  </a:lnTo>
                  <a:lnTo>
                    <a:pt x="30" y="3720"/>
                  </a:lnTo>
                  <a:lnTo>
                    <a:pt x="17" y="3793"/>
                  </a:lnTo>
                  <a:lnTo>
                    <a:pt x="8" y="3869"/>
                  </a:lnTo>
                  <a:lnTo>
                    <a:pt x="2" y="3946"/>
                  </a:lnTo>
                  <a:lnTo>
                    <a:pt x="0" y="4024"/>
                  </a:lnTo>
                  <a:lnTo>
                    <a:pt x="0" y="14083"/>
                  </a:lnTo>
                  <a:lnTo>
                    <a:pt x="3" y="14187"/>
                  </a:lnTo>
                  <a:lnTo>
                    <a:pt x="10" y="14289"/>
                  </a:lnTo>
                  <a:lnTo>
                    <a:pt x="23" y="14390"/>
                  </a:lnTo>
                  <a:lnTo>
                    <a:pt x="41" y="14489"/>
                  </a:lnTo>
                  <a:lnTo>
                    <a:pt x="63" y="14586"/>
                  </a:lnTo>
                  <a:lnTo>
                    <a:pt x="91" y="14682"/>
                  </a:lnTo>
                  <a:lnTo>
                    <a:pt x="122" y="14775"/>
                  </a:lnTo>
                  <a:lnTo>
                    <a:pt x="158" y="14867"/>
                  </a:lnTo>
                  <a:lnTo>
                    <a:pt x="198" y="14955"/>
                  </a:lnTo>
                  <a:lnTo>
                    <a:pt x="242" y="15042"/>
                  </a:lnTo>
                  <a:lnTo>
                    <a:pt x="292" y="15126"/>
                  </a:lnTo>
                  <a:lnTo>
                    <a:pt x="344" y="15208"/>
                  </a:lnTo>
                  <a:lnTo>
                    <a:pt x="399" y="15287"/>
                  </a:lnTo>
                  <a:lnTo>
                    <a:pt x="460" y="15363"/>
                  </a:lnTo>
                  <a:lnTo>
                    <a:pt x="523" y="15436"/>
                  </a:lnTo>
                  <a:lnTo>
                    <a:pt x="589" y="15506"/>
                  </a:lnTo>
                  <a:lnTo>
                    <a:pt x="659" y="15572"/>
                  </a:lnTo>
                  <a:lnTo>
                    <a:pt x="732" y="15635"/>
                  </a:lnTo>
                  <a:lnTo>
                    <a:pt x="808" y="15696"/>
                  </a:lnTo>
                  <a:lnTo>
                    <a:pt x="887" y="15751"/>
                  </a:lnTo>
                  <a:lnTo>
                    <a:pt x="969" y="15803"/>
                  </a:lnTo>
                  <a:lnTo>
                    <a:pt x="1053" y="15853"/>
                  </a:lnTo>
                  <a:lnTo>
                    <a:pt x="1140" y="15897"/>
                  </a:lnTo>
                  <a:lnTo>
                    <a:pt x="1228" y="15937"/>
                  </a:lnTo>
                  <a:lnTo>
                    <a:pt x="1320" y="15973"/>
                  </a:lnTo>
                  <a:lnTo>
                    <a:pt x="1413" y="16004"/>
                  </a:lnTo>
                  <a:lnTo>
                    <a:pt x="1509" y="16032"/>
                  </a:lnTo>
                  <a:lnTo>
                    <a:pt x="1606" y="16054"/>
                  </a:lnTo>
                  <a:lnTo>
                    <a:pt x="1705" y="16072"/>
                  </a:lnTo>
                  <a:lnTo>
                    <a:pt x="1806" y="16085"/>
                  </a:lnTo>
                  <a:lnTo>
                    <a:pt x="1908" y="16092"/>
                  </a:lnTo>
                  <a:lnTo>
                    <a:pt x="2012" y="16095"/>
                  </a:lnTo>
                  <a:lnTo>
                    <a:pt x="14083" y="16095"/>
                  </a:lnTo>
                  <a:lnTo>
                    <a:pt x="14187" y="16092"/>
                  </a:lnTo>
                  <a:lnTo>
                    <a:pt x="14289" y="16085"/>
                  </a:lnTo>
                  <a:lnTo>
                    <a:pt x="14390" y="16072"/>
                  </a:lnTo>
                  <a:lnTo>
                    <a:pt x="14489" y="16054"/>
                  </a:lnTo>
                  <a:lnTo>
                    <a:pt x="14586" y="16032"/>
                  </a:lnTo>
                  <a:lnTo>
                    <a:pt x="14682" y="16004"/>
                  </a:lnTo>
                  <a:lnTo>
                    <a:pt x="14775" y="15973"/>
                  </a:lnTo>
                  <a:lnTo>
                    <a:pt x="14867" y="15937"/>
                  </a:lnTo>
                  <a:lnTo>
                    <a:pt x="14955" y="15897"/>
                  </a:lnTo>
                  <a:lnTo>
                    <a:pt x="15042" y="15853"/>
                  </a:lnTo>
                  <a:lnTo>
                    <a:pt x="15126" y="15803"/>
                  </a:lnTo>
                  <a:lnTo>
                    <a:pt x="15208" y="15751"/>
                  </a:lnTo>
                  <a:lnTo>
                    <a:pt x="15287" y="15696"/>
                  </a:lnTo>
                  <a:lnTo>
                    <a:pt x="15363" y="15635"/>
                  </a:lnTo>
                  <a:lnTo>
                    <a:pt x="15436" y="15572"/>
                  </a:lnTo>
                  <a:lnTo>
                    <a:pt x="15506" y="15506"/>
                  </a:lnTo>
                  <a:lnTo>
                    <a:pt x="15572" y="15436"/>
                  </a:lnTo>
                  <a:lnTo>
                    <a:pt x="15635" y="15363"/>
                  </a:lnTo>
                  <a:lnTo>
                    <a:pt x="15696" y="15287"/>
                  </a:lnTo>
                  <a:lnTo>
                    <a:pt x="15751" y="15208"/>
                  </a:lnTo>
                  <a:lnTo>
                    <a:pt x="15803" y="15126"/>
                  </a:lnTo>
                  <a:lnTo>
                    <a:pt x="15853" y="15042"/>
                  </a:lnTo>
                  <a:lnTo>
                    <a:pt x="15897" y="14955"/>
                  </a:lnTo>
                  <a:lnTo>
                    <a:pt x="15937" y="14867"/>
                  </a:lnTo>
                  <a:lnTo>
                    <a:pt x="15973" y="14775"/>
                  </a:lnTo>
                  <a:lnTo>
                    <a:pt x="16004" y="14682"/>
                  </a:lnTo>
                  <a:lnTo>
                    <a:pt x="16032" y="14586"/>
                  </a:lnTo>
                  <a:lnTo>
                    <a:pt x="16054" y="14489"/>
                  </a:lnTo>
                  <a:lnTo>
                    <a:pt x="16072" y="14390"/>
                  </a:lnTo>
                  <a:lnTo>
                    <a:pt x="16085" y="14289"/>
                  </a:lnTo>
                  <a:lnTo>
                    <a:pt x="16092" y="14187"/>
                  </a:lnTo>
                  <a:lnTo>
                    <a:pt x="16095" y="14083"/>
                  </a:lnTo>
                  <a:lnTo>
                    <a:pt x="16095" y="1509"/>
                  </a:lnTo>
                  <a:lnTo>
                    <a:pt x="16093" y="1431"/>
                  </a:lnTo>
                  <a:lnTo>
                    <a:pt x="16087" y="1354"/>
                  </a:lnTo>
                  <a:lnTo>
                    <a:pt x="16078" y="1279"/>
                  </a:lnTo>
                  <a:lnTo>
                    <a:pt x="16065" y="1204"/>
                  </a:lnTo>
                  <a:lnTo>
                    <a:pt x="16048" y="1132"/>
                  </a:lnTo>
                  <a:lnTo>
                    <a:pt x="16028" y="1060"/>
                  </a:lnTo>
                  <a:lnTo>
                    <a:pt x="16003" y="990"/>
                  </a:lnTo>
                  <a:lnTo>
                    <a:pt x="15976" y="921"/>
                  </a:lnTo>
                  <a:lnTo>
                    <a:pt x="15946" y="854"/>
                  </a:lnTo>
                  <a:lnTo>
                    <a:pt x="15913" y="790"/>
                  </a:lnTo>
                  <a:lnTo>
                    <a:pt x="15877" y="726"/>
                  </a:lnTo>
                  <a:lnTo>
                    <a:pt x="15837" y="665"/>
                  </a:lnTo>
                  <a:lnTo>
                    <a:pt x="15795" y="606"/>
                  </a:lnTo>
                  <a:lnTo>
                    <a:pt x="15750" y="549"/>
                  </a:lnTo>
                  <a:lnTo>
                    <a:pt x="15703" y="494"/>
                  </a:lnTo>
                  <a:lnTo>
                    <a:pt x="15653" y="442"/>
                  </a:lnTo>
                  <a:lnTo>
                    <a:pt x="15601" y="391"/>
                  </a:lnTo>
                  <a:lnTo>
                    <a:pt x="15546" y="344"/>
                  </a:lnTo>
                  <a:lnTo>
                    <a:pt x="15488" y="300"/>
                  </a:lnTo>
                  <a:lnTo>
                    <a:pt x="15430" y="258"/>
                  </a:lnTo>
                  <a:lnTo>
                    <a:pt x="15369" y="218"/>
                  </a:lnTo>
                  <a:lnTo>
                    <a:pt x="15305" y="182"/>
                  </a:lnTo>
                  <a:lnTo>
                    <a:pt x="15240" y="149"/>
                  </a:lnTo>
                  <a:lnTo>
                    <a:pt x="15174" y="119"/>
                  </a:lnTo>
                  <a:lnTo>
                    <a:pt x="15105" y="92"/>
                  </a:lnTo>
                  <a:lnTo>
                    <a:pt x="15035" y="67"/>
                  </a:lnTo>
                  <a:lnTo>
                    <a:pt x="14963" y="47"/>
                  </a:lnTo>
                  <a:lnTo>
                    <a:pt x="14890" y="30"/>
                  </a:lnTo>
                  <a:lnTo>
                    <a:pt x="14815" y="17"/>
                  </a:lnTo>
                  <a:lnTo>
                    <a:pt x="14740" y="8"/>
                  </a:lnTo>
                  <a:lnTo>
                    <a:pt x="14664" y="2"/>
                  </a:lnTo>
                  <a:lnTo>
                    <a:pt x="1458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96" name="íṩḷîdè">
              <a:extLst>
                <a:ext uri="{FF2B5EF4-FFF2-40B4-BE49-F238E27FC236}">
                  <a16:creationId xmlns:a16="http://schemas.microsoft.com/office/drawing/2014/main" id="{8A8F0376-A609-418B-91F1-D548CDB50463}"/>
                </a:ext>
              </a:extLst>
            </p:cNvPr>
            <p:cNvSpPr/>
            <p:nvPr/>
          </p:nvSpPr>
          <p:spPr bwMode="auto">
            <a:xfrm>
              <a:off x="9943318" y="1973339"/>
              <a:ext cx="65335" cy="7436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1 h 503"/>
                <a:gd name="T8" fmla="*/ 4427 w 4527"/>
                <a:gd name="T9" fmla="*/ 452 h 503"/>
                <a:gd name="T10" fmla="*/ 4454 w 4527"/>
                <a:gd name="T11" fmla="*/ 428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1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0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1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89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1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5 h 503"/>
                <a:gd name="T80" fmla="*/ 154 w 4527"/>
                <a:gd name="T81" fmla="*/ 482 h 503"/>
                <a:gd name="T82" fmla="*/ 190 w 4527"/>
                <a:gd name="T83" fmla="*/ 495 h 503"/>
                <a:gd name="T84" fmla="*/ 227 w 4527"/>
                <a:gd name="T85" fmla="*/ 50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1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1"/>
                  </a:lnTo>
                  <a:lnTo>
                    <a:pt x="4362" y="488"/>
                  </a:lnTo>
                  <a:lnTo>
                    <a:pt x="4374" y="482"/>
                  </a:lnTo>
                  <a:lnTo>
                    <a:pt x="4385" y="477"/>
                  </a:lnTo>
                  <a:lnTo>
                    <a:pt x="4396" y="471"/>
                  </a:lnTo>
                  <a:lnTo>
                    <a:pt x="4406" y="465"/>
                  </a:lnTo>
                  <a:lnTo>
                    <a:pt x="4416" y="459"/>
                  </a:lnTo>
                  <a:lnTo>
                    <a:pt x="4427" y="452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8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1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3"/>
                  </a:lnTo>
                  <a:lnTo>
                    <a:pt x="4522" y="301"/>
                  </a:lnTo>
                  <a:lnTo>
                    <a:pt x="4525" y="289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1"/>
                  </a:lnTo>
                  <a:lnTo>
                    <a:pt x="4497" y="131"/>
                  </a:lnTo>
                  <a:lnTo>
                    <a:pt x="4491" y="120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0"/>
                  </a:lnTo>
                  <a:lnTo>
                    <a:pt x="32" y="131"/>
                  </a:lnTo>
                  <a:lnTo>
                    <a:pt x="26" y="141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89"/>
                  </a:lnTo>
                  <a:lnTo>
                    <a:pt x="6" y="301"/>
                  </a:lnTo>
                  <a:lnTo>
                    <a:pt x="8" y="313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1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8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2"/>
                  </a:lnTo>
                  <a:lnTo>
                    <a:pt x="112" y="459"/>
                  </a:lnTo>
                  <a:lnTo>
                    <a:pt x="122" y="465"/>
                  </a:lnTo>
                  <a:lnTo>
                    <a:pt x="132" y="471"/>
                  </a:lnTo>
                  <a:lnTo>
                    <a:pt x="143" y="477"/>
                  </a:lnTo>
                  <a:lnTo>
                    <a:pt x="154" y="482"/>
                  </a:lnTo>
                  <a:lnTo>
                    <a:pt x="166" y="488"/>
                  </a:lnTo>
                  <a:lnTo>
                    <a:pt x="177" y="491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1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97" name="ïṥ1íḑe">
              <a:extLst>
                <a:ext uri="{FF2B5EF4-FFF2-40B4-BE49-F238E27FC236}">
                  <a16:creationId xmlns:a16="http://schemas.microsoft.com/office/drawing/2014/main" id="{9DD37C52-1365-4ECB-AA06-E9F121A38C2F}"/>
                </a:ext>
              </a:extLst>
            </p:cNvPr>
            <p:cNvSpPr/>
            <p:nvPr/>
          </p:nvSpPr>
          <p:spPr bwMode="auto">
            <a:xfrm>
              <a:off x="9943318" y="1951561"/>
              <a:ext cx="65335" cy="7436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3 h 503"/>
                <a:gd name="T8" fmla="*/ 4427 w 4527"/>
                <a:gd name="T9" fmla="*/ 452 h 503"/>
                <a:gd name="T10" fmla="*/ 4454 w 4527"/>
                <a:gd name="T11" fmla="*/ 429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2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0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2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89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2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6 h 503"/>
                <a:gd name="T80" fmla="*/ 154 w 4527"/>
                <a:gd name="T81" fmla="*/ 483 h 503"/>
                <a:gd name="T82" fmla="*/ 190 w 4527"/>
                <a:gd name="T83" fmla="*/ 495 h 503"/>
                <a:gd name="T84" fmla="*/ 227 w 4527"/>
                <a:gd name="T85" fmla="*/ 50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1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1"/>
                  </a:lnTo>
                  <a:lnTo>
                    <a:pt x="4362" y="488"/>
                  </a:lnTo>
                  <a:lnTo>
                    <a:pt x="4374" y="483"/>
                  </a:lnTo>
                  <a:lnTo>
                    <a:pt x="4385" y="478"/>
                  </a:lnTo>
                  <a:lnTo>
                    <a:pt x="4396" y="473"/>
                  </a:lnTo>
                  <a:lnTo>
                    <a:pt x="4406" y="466"/>
                  </a:lnTo>
                  <a:lnTo>
                    <a:pt x="4416" y="459"/>
                  </a:lnTo>
                  <a:lnTo>
                    <a:pt x="4427" y="452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9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2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4"/>
                  </a:lnTo>
                  <a:lnTo>
                    <a:pt x="4522" y="302"/>
                  </a:lnTo>
                  <a:lnTo>
                    <a:pt x="4525" y="289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2"/>
                  </a:lnTo>
                  <a:lnTo>
                    <a:pt x="4497" y="132"/>
                  </a:lnTo>
                  <a:lnTo>
                    <a:pt x="4491" y="120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0"/>
                  </a:lnTo>
                  <a:lnTo>
                    <a:pt x="32" y="132"/>
                  </a:lnTo>
                  <a:lnTo>
                    <a:pt x="26" y="142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89"/>
                  </a:lnTo>
                  <a:lnTo>
                    <a:pt x="6" y="302"/>
                  </a:lnTo>
                  <a:lnTo>
                    <a:pt x="8" y="314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2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9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2"/>
                  </a:lnTo>
                  <a:lnTo>
                    <a:pt x="112" y="459"/>
                  </a:lnTo>
                  <a:lnTo>
                    <a:pt x="122" y="466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6" y="488"/>
                  </a:lnTo>
                  <a:lnTo>
                    <a:pt x="177" y="491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1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98" name="îšḻíḑè">
              <a:extLst>
                <a:ext uri="{FF2B5EF4-FFF2-40B4-BE49-F238E27FC236}">
                  <a16:creationId xmlns:a16="http://schemas.microsoft.com/office/drawing/2014/main" id="{6DF884B8-9B3D-489D-A7FB-0FC087D042F4}"/>
                </a:ext>
              </a:extLst>
            </p:cNvPr>
            <p:cNvSpPr/>
            <p:nvPr/>
          </p:nvSpPr>
          <p:spPr bwMode="auto">
            <a:xfrm>
              <a:off x="9943318" y="1930313"/>
              <a:ext cx="65335" cy="6905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3 h 503"/>
                <a:gd name="T8" fmla="*/ 4427 w 4527"/>
                <a:gd name="T9" fmla="*/ 453 h 503"/>
                <a:gd name="T10" fmla="*/ 4454 w 4527"/>
                <a:gd name="T11" fmla="*/ 428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2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1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2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90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2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7 h 503"/>
                <a:gd name="T80" fmla="*/ 154 w 4527"/>
                <a:gd name="T81" fmla="*/ 483 h 503"/>
                <a:gd name="T82" fmla="*/ 190 w 4527"/>
                <a:gd name="T83" fmla="*/ 495 h 503"/>
                <a:gd name="T84" fmla="*/ 227 w 4527"/>
                <a:gd name="T85" fmla="*/ 50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2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2"/>
                  </a:lnTo>
                  <a:lnTo>
                    <a:pt x="4362" y="488"/>
                  </a:lnTo>
                  <a:lnTo>
                    <a:pt x="4374" y="483"/>
                  </a:lnTo>
                  <a:lnTo>
                    <a:pt x="4385" y="478"/>
                  </a:lnTo>
                  <a:lnTo>
                    <a:pt x="4396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8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2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4"/>
                  </a:lnTo>
                  <a:lnTo>
                    <a:pt x="4522" y="302"/>
                  </a:lnTo>
                  <a:lnTo>
                    <a:pt x="4525" y="290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2"/>
                  </a:lnTo>
                  <a:lnTo>
                    <a:pt x="4497" y="132"/>
                  </a:lnTo>
                  <a:lnTo>
                    <a:pt x="4491" y="121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1"/>
                  </a:lnTo>
                  <a:lnTo>
                    <a:pt x="32" y="132"/>
                  </a:lnTo>
                  <a:lnTo>
                    <a:pt x="26" y="142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90"/>
                  </a:lnTo>
                  <a:lnTo>
                    <a:pt x="6" y="302"/>
                  </a:lnTo>
                  <a:lnTo>
                    <a:pt x="8" y="314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2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8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3"/>
                  </a:lnTo>
                  <a:lnTo>
                    <a:pt x="112" y="460"/>
                  </a:lnTo>
                  <a:lnTo>
                    <a:pt x="122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6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99" name="îṩľiďê">
              <a:extLst>
                <a:ext uri="{FF2B5EF4-FFF2-40B4-BE49-F238E27FC236}">
                  <a16:creationId xmlns:a16="http://schemas.microsoft.com/office/drawing/2014/main" id="{B567AB40-D4B2-4A41-8EA6-3E5ED78C56E3}"/>
                </a:ext>
              </a:extLst>
            </p:cNvPr>
            <p:cNvSpPr/>
            <p:nvPr/>
          </p:nvSpPr>
          <p:spPr bwMode="auto">
            <a:xfrm>
              <a:off x="9864172" y="2081699"/>
              <a:ext cx="64804" cy="7436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0 h 503"/>
                <a:gd name="T8" fmla="*/ 100 w 4526"/>
                <a:gd name="T9" fmla="*/ 50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1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50 h 503"/>
                <a:gd name="T28" fmla="*/ 36 w 4526"/>
                <a:gd name="T29" fmla="*/ 382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2 h 503"/>
                <a:gd name="T58" fmla="*/ 4501 w 4526"/>
                <a:gd name="T59" fmla="*/ 361 h 503"/>
                <a:gd name="T60" fmla="*/ 4515 w 4526"/>
                <a:gd name="T61" fmla="*/ 327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3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6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3"/>
                  </a:lnTo>
                  <a:lnTo>
                    <a:pt x="100" y="50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7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4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4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2"/>
                  </a:lnTo>
                  <a:lnTo>
                    <a:pt x="4490" y="382"/>
                  </a:lnTo>
                  <a:lnTo>
                    <a:pt x="4496" y="371"/>
                  </a:lnTo>
                  <a:lnTo>
                    <a:pt x="4501" y="361"/>
                  </a:lnTo>
                  <a:lnTo>
                    <a:pt x="4506" y="350"/>
                  </a:lnTo>
                  <a:lnTo>
                    <a:pt x="4511" y="338"/>
                  </a:lnTo>
                  <a:lnTo>
                    <a:pt x="4515" y="327"/>
                  </a:lnTo>
                  <a:lnTo>
                    <a:pt x="4518" y="315"/>
                  </a:lnTo>
                  <a:lnTo>
                    <a:pt x="4521" y="303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3"/>
                  </a:lnTo>
                  <a:lnTo>
                    <a:pt x="4521" y="201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0"/>
                  </a:lnTo>
                  <a:lnTo>
                    <a:pt x="4416" y="43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400" name="ïṡ1iďè">
              <a:extLst>
                <a:ext uri="{FF2B5EF4-FFF2-40B4-BE49-F238E27FC236}">
                  <a16:creationId xmlns:a16="http://schemas.microsoft.com/office/drawing/2014/main" id="{0FE9EAA9-0E82-4409-A853-B4B3168269DA}"/>
                </a:ext>
              </a:extLst>
            </p:cNvPr>
            <p:cNvSpPr/>
            <p:nvPr/>
          </p:nvSpPr>
          <p:spPr bwMode="auto">
            <a:xfrm>
              <a:off x="9864172" y="2059921"/>
              <a:ext cx="64804" cy="7436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0 h 503"/>
                <a:gd name="T8" fmla="*/ 100 w 4526"/>
                <a:gd name="T9" fmla="*/ 51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1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49 h 503"/>
                <a:gd name="T28" fmla="*/ 36 w 4526"/>
                <a:gd name="T29" fmla="*/ 383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3 h 503"/>
                <a:gd name="T58" fmla="*/ 4501 w 4526"/>
                <a:gd name="T59" fmla="*/ 361 h 503"/>
                <a:gd name="T60" fmla="*/ 4515 w 4526"/>
                <a:gd name="T61" fmla="*/ 326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4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6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3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3"/>
                  </a:lnTo>
                  <a:lnTo>
                    <a:pt x="4490" y="383"/>
                  </a:lnTo>
                  <a:lnTo>
                    <a:pt x="4496" y="371"/>
                  </a:lnTo>
                  <a:lnTo>
                    <a:pt x="4501" y="361"/>
                  </a:lnTo>
                  <a:lnTo>
                    <a:pt x="4506" y="349"/>
                  </a:lnTo>
                  <a:lnTo>
                    <a:pt x="4511" y="338"/>
                  </a:lnTo>
                  <a:lnTo>
                    <a:pt x="4515" y="326"/>
                  </a:lnTo>
                  <a:lnTo>
                    <a:pt x="4518" y="315"/>
                  </a:lnTo>
                  <a:lnTo>
                    <a:pt x="4521" y="302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4"/>
                  </a:lnTo>
                  <a:lnTo>
                    <a:pt x="4521" y="201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1"/>
                  </a:lnTo>
                  <a:lnTo>
                    <a:pt x="4416" y="44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401" name="íSļíḓé">
              <a:extLst>
                <a:ext uri="{FF2B5EF4-FFF2-40B4-BE49-F238E27FC236}">
                  <a16:creationId xmlns:a16="http://schemas.microsoft.com/office/drawing/2014/main" id="{EB80D437-5A3E-4942-AB97-D7B8234C9630}"/>
                </a:ext>
              </a:extLst>
            </p:cNvPr>
            <p:cNvSpPr/>
            <p:nvPr/>
          </p:nvSpPr>
          <p:spPr bwMode="auto">
            <a:xfrm>
              <a:off x="9864172" y="2038674"/>
              <a:ext cx="64804" cy="6905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1 h 503"/>
                <a:gd name="T8" fmla="*/ 100 w 4526"/>
                <a:gd name="T9" fmla="*/ 51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2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50 h 503"/>
                <a:gd name="T28" fmla="*/ 36 w 4526"/>
                <a:gd name="T29" fmla="*/ 383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3 h 503"/>
                <a:gd name="T58" fmla="*/ 4501 w 4526"/>
                <a:gd name="T59" fmla="*/ 361 h 503"/>
                <a:gd name="T60" fmla="*/ 4515 w 4526"/>
                <a:gd name="T61" fmla="*/ 326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4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7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0" y="37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1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3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3"/>
                  </a:lnTo>
                  <a:lnTo>
                    <a:pt x="4490" y="383"/>
                  </a:lnTo>
                  <a:lnTo>
                    <a:pt x="4496" y="372"/>
                  </a:lnTo>
                  <a:lnTo>
                    <a:pt x="4501" y="361"/>
                  </a:lnTo>
                  <a:lnTo>
                    <a:pt x="4506" y="350"/>
                  </a:lnTo>
                  <a:lnTo>
                    <a:pt x="4511" y="338"/>
                  </a:lnTo>
                  <a:lnTo>
                    <a:pt x="4515" y="326"/>
                  </a:lnTo>
                  <a:lnTo>
                    <a:pt x="4518" y="315"/>
                  </a:lnTo>
                  <a:lnTo>
                    <a:pt x="4521" y="302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4"/>
                  </a:lnTo>
                  <a:lnTo>
                    <a:pt x="4521" y="202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1"/>
                  </a:lnTo>
                  <a:lnTo>
                    <a:pt x="4416" y="44"/>
                  </a:lnTo>
                  <a:lnTo>
                    <a:pt x="4406" y="37"/>
                  </a:lnTo>
                  <a:lnTo>
                    <a:pt x="4395" y="31"/>
                  </a:lnTo>
                  <a:lnTo>
                    <a:pt x="4384" y="26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402" name="îṩḷíḑè">
              <a:extLst>
                <a:ext uri="{FF2B5EF4-FFF2-40B4-BE49-F238E27FC236}">
                  <a16:creationId xmlns:a16="http://schemas.microsoft.com/office/drawing/2014/main" id="{A96EECF7-240B-4D9F-BCE0-C48E1341E9F2}"/>
                </a:ext>
              </a:extLst>
            </p:cNvPr>
            <p:cNvSpPr/>
            <p:nvPr/>
          </p:nvSpPr>
          <p:spPr bwMode="auto">
            <a:xfrm>
              <a:off x="9943318" y="2081699"/>
              <a:ext cx="65335" cy="7436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0 h 503"/>
                <a:gd name="T8" fmla="*/ 102 w 4527"/>
                <a:gd name="T9" fmla="*/ 50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1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50 h 503"/>
                <a:gd name="T28" fmla="*/ 37 w 4527"/>
                <a:gd name="T29" fmla="*/ 382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2 h 503"/>
                <a:gd name="T58" fmla="*/ 4502 w 4527"/>
                <a:gd name="T59" fmla="*/ 361 h 503"/>
                <a:gd name="T60" fmla="*/ 4516 w 4527"/>
                <a:gd name="T61" fmla="*/ 327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3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6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3"/>
                  </a:lnTo>
                  <a:lnTo>
                    <a:pt x="102" y="50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7"/>
                  </a:lnTo>
                  <a:lnTo>
                    <a:pt x="15" y="338"/>
                  </a:lnTo>
                  <a:lnTo>
                    <a:pt x="21" y="350"/>
                  </a:lnTo>
                  <a:lnTo>
                    <a:pt x="26" y="361"/>
                  </a:lnTo>
                  <a:lnTo>
                    <a:pt x="31" y="371"/>
                  </a:lnTo>
                  <a:lnTo>
                    <a:pt x="37" y="382"/>
                  </a:lnTo>
                  <a:lnTo>
                    <a:pt x="44" y="392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4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4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2"/>
                  </a:lnTo>
                  <a:lnTo>
                    <a:pt x="4491" y="382"/>
                  </a:lnTo>
                  <a:lnTo>
                    <a:pt x="4497" y="371"/>
                  </a:lnTo>
                  <a:lnTo>
                    <a:pt x="4502" y="361"/>
                  </a:lnTo>
                  <a:lnTo>
                    <a:pt x="4507" y="350"/>
                  </a:lnTo>
                  <a:lnTo>
                    <a:pt x="4512" y="338"/>
                  </a:lnTo>
                  <a:lnTo>
                    <a:pt x="4516" y="327"/>
                  </a:lnTo>
                  <a:lnTo>
                    <a:pt x="4519" y="315"/>
                  </a:lnTo>
                  <a:lnTo>
                    <a:pt x="4522" y="303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3"/>
                  </a:lnTo>
                  <a:lnTo>
                    <a:pt x="4522" y="201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0"/>
                  </a:lnTo>
                  <a:lnTo>
                    <a:pt x="4416" y="43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403" name="išḷîďe">
              <a:extLst>
                <a:ext uri="{FF2B5EF4-FFF2-40B4-BE49-F238E27FC236}">
                  <a16:creationId xmlns:a16="http://schemas.microsoft.com/office/drawing/2014/main" id="{30AB92D2-884F-4553-B870-1AC767E73B2F}"/>
                </a:ext>
              </a:extLst>
            </p:cNvPr>
            <p:cNvSpPr/>
            <p:nvPr/>
          </p:nvSpPr>
          <p:spPr bwMode="auto">
            <a:xfrm>
              <a:off x="9943318" y="2059921"/>
              <a:ext cx="65335" cy="7436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0 h 503"/>
                <a:gd name="T8" fmla="*/ 102 w 4527"/>
                <a:gd name="T9" fmla="*/ 51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1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49 h 503"/>
                <a:gd name="T28" fmla="*/ 37 w 4527"/>
                <a:gd name="T29" fmla="*/ 383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3 h 503"/>
                <a:gd name="T58" fmla="*/ 4502 w 4527"/>
                <a:gd name="T59" fmla="*/ 361 h 503"/>
                <a:gd name="T60" fmla="*/ 4516 w 4527"/>
                <a:gd name="T61" fmla="*/ 326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4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6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4"/>
                  </a:lnTo>
                  <a:lnTo>
                    <a:pt x="102" y="51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1" y="349"/>
                  </a:lnTo>
                  <a:lnTo>
                    <a:pt x="26" y="361"/>
                  </a:lnTo>
                  <a:lnTo>
                    <a:pt x="31" y="371"/>
                  </a:lnTo>
                  <a:lnTo>
                    <a:pt x="37" y="383"/>
                  </a:lnTo>
                  <a:lnTo>
                    <a:pt x="44" y="393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3"/>
                  </a:lnTo>
                  <a:lnTo>
                    <a:pt x="4491" y="383"/>
                  </a:lnTo>
                  <a:lnTo>
                    <a:pt x="4497" y="371"/>
                  </a:lnTo>
                  <a:lnTo>
                    <a:pt x="4502" y="361"/>
                  </a:lnTo>
                  <a:lnTo>
                    <a:pt x="4507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19" y="315"/>
                  </a:lnTo>
                  <a:lnTo>
                    <a:pt x="4522" y="302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4"/>
                  </a:lnTo>
                  <a:lnTo>
                    <a:pt x="4522" y="201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1"/>
                  </a:lnTo>
                  <a:lnTo>
                    <a:pt x="4416" y="44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404" name="islïdé">
              <a:extLst>
                <a:ext uri="{FF2B5EF4-FFF2-40B4-BE49-F238E27FC236}">
                  <a16:creationId xmlns:a16="http://schemas.microsoft.com/office/drawing/2014/main" id="{D51A6372-9A7F-4B8E-A6B5-94F6E21B91A3}"/>
                </a:ext>
              </a:extLst>
            </p:cNvPr>
            <p:cNvSpPr/>
            <p:nvPr/>
          </p:nvSpPr>
          <p:spPr bwMode="auto">
            <a:xfrm>
              <a:off x="9943318" y="2038674"/>
              <a:ext cx="65335" cy="6905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1 h 503"/>
                <a:gd name="T8" fmla="*/ 102 w 4527"/>
                <a:gd name="T9" fmla="*/ 51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2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50 h 503"/>
                <a:gd name="T28" fmla="*/ 37 w 4527"/>
                <a:gd name="T29" fmla="*/ 383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3 h 503"/>
                <a:gd name="T58" fmla="*/ 4502 w 4527"/>
                <a:gd name="T59" fmla="*/ 361 h 503"/>
                <a:gd name="T60" fmla="*/ 4516 w 4527"/>
                <a:gd name="T61" fmla="*/ 326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4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7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1" y="37"/>
                  </a:lnTo>
                  <a:lnTo>
                    <a:pt x="111" y="44"/>
                  </a:lnTo>
                  <a:lnTo>
                    <a:pt x="102" y="51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1" y="350"/>
                  </a:lnTo>
                  <a:lnTo>
                    <a:pt x="26" y="361"/>
                  </a:lnTo>
                  <a:lnTo>
                    <a:pt x="31" y="372"/>
                  </a:lnTo>
                  <a:lnTo>
                    <a:pt x="37" y="383"/>
                  </a:lnTo>
                  <a:lnTo>
                    <a:pt x="44" y="393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3"/>
                  </a:lnTo>
                  <a:lnTo>
                    <a:pt x="4491" y="383"/>
                  </a:lnTo>
                  <a:lnTo>
                    <a:pt x="4497" y="372"/>
                  </a:lnTo>
                  <a:lnTo>
                    <a:pt x="4502" y="361"/>
                  </a:lnTo>
                  <a:lnTo>
                    <a:pt x="4507" y="350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19" y="315"/>
                  </a:lnTo>
                  <a:lnTo>
                    <a:pt x="4522" y="302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4"/>
                  </a:lnTo>
                  <a:lnTo>
                    <a:pt x="4522" y="202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1"/>
                  </a:lnTo>
                  <a:lnTo>
                    <a:pt x="4416" y="44"/>
                  </a:lnTo>
                  <a:lnTo>
                    <a:pt x="4406" y="37"/>
                  </a:lnTo>
                  <a:lnTo>
                    <a:pt x="4395" y="31"/>
                  </a:lnTo>
                  <a:lnTo>
                    <a:pt x="4384" y="26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405" name="iṡľiḓé">
              <a:extLst>
                <a:ext uri="{FF2B5EF4-FFF2-40B4-BE49-F238E27FC236}">
                  <a16:creationId xmlns:a16="http://schemas.microsoft.com/office/drawing/2014/main" id="{F93A46D3-E7B5-442A-8460-B480C97C22A8}"/>
                </a:ext>
              </a:extLst>
            </p:cNvPr>
            <p:cNvSpPr/>
            <p:nvPr/>
          </p:nvSpPr>
          <p:spPr bwMode="auto">
            <a:xfrm>
              <a:off x="9864172" y="1995117"/>
              <a:ext cx="144480" cy="7436"/>
            </a:xfrm>
            <a:custGeom>
              <a:avLst/>
              <a:gdLst>
                <a:gd name="T0" fmla="*/ 238 w 10059"/>
                <a:gd name="T1" fmla="*/ 1 h 503"/>
                <a:gd name="T2" fmla="*/ 201 w 10059"/>
                <a:gd name="T3" fmla="*/ 5 h 503"/>
                <a:gd name="T4" fmla="*/ 165 w 10059"/>
                <a:gd name="T5" fmla="*/ 15 h 503"/>
                <a:gd name="T6" fmla="*/ 132 w 10059"/>
                <a:gd name="T7" fmla="*/ 30 h 503"/>
                <a:gd name="T8" fmla="*/ 100 w 10059"/>
                <a:gd name="T9" fmla="*/ 50 h 503"/>
                <a:gd name="T10" fmla="*/ 73 w 10059"/>
                <a:gd name="T11" fmla="*/ 73 h 503"/>
                <a:gd name="T12" fmla="*/ 50 w 10059"/>
                <a:gd name="T13" fmla="*/ 101 h 503"/>
                <a:gd name="T14" fmla="*/ 30 w 10059"/>
                <a:gd name="T15" fmla="*/ 131 h 503"/>
                <a:gd name="T16" fmla="*/ 15 w 10059"/>
                <a:gd name="T17" fmla="*/ 165 h 503"/>
                <a:gd name="T18" fmla="*/ 5 w 10059"/>
                <a:gd name="T19" fmla="*/ 201 h 503"/>
                <a:gd name="T20" fmla="*/ 0 w 10059"/>
                <a:gd name="T21" fmla="*/ 238 h 503"/>
                <a:gd name="T22" fmla="*/ 1 w 10059"/>
                <a:gd name="T23" fmla="*/ 277 h 503"/>
                <a:gd name="T24" fmla="*/ 8 w 10059"/>
                <a:gd name="T25" fmla="*/ 314 h 503"/>
                <a:gd name="T26" fmla="*/ 20 w 10059"/>
                <a:gd name="T27" fmla="*/ 349 h 503"/>
                <a:gd name="T28" fmla="*/ 36 w 10059"/>
                <a:gd name="T29" fmla="*/ 382 h 503"/>
                <a:gd name="T30" fmla="*/ 57 w 10059"/>
                <a:gd name="T31" fmla="*/ 411 h 503"/>
                <a:gd name="T32" fmla="*/ 82 w 10059"/>
                <a:gd name="T33" fmla="*/ 437 h 503"/>
                <a:gd name="T34" fmla="*/ 110 w 10059"/>
                <a:gd name="T35" fmla="*/ 460 h 503"/>
                <a:gd name="T36" fmla="*/ 143 w 10059"/>
                <a:gd name="T37" fmla="*/ 478 h 503"/>
                <a:gd name="T38" fmla="*/ 177 w 10059"/>
                <a:gd name="T39" fmla="*/ 491 h 503"/>
                <a:gd name="T40" fmla="*/ 213 w 10059"/>
                <a:gd name="T41" fmla="*/ 499 h 503"/>
                <a:gd name="T42" fmla="*/ 251 w 10059"/>
                <a:gd name="T43" fmla="*/ 503 h 503"/>
                <a:gd name="T44" fmla="*/ 9834 w 10059"/>
                <a:gd name="T45" fmla="*/ 502 h 503"/>
                <a:gd name="T46" fmla="*/ 9870 w 10059"/>
                <a:gd name="T47" fmla="*/ 494 h 503"/>
                <a:gd name="T48" fmla="*/ 9905 w 10059"/>
                <a:gd name="T49" fmla="*/ 483 h 503"/>
                <a:gd name="T50" fmla="*/ 9938 w 10059"/>
                <a:gd name="T51" fmla="*/ 466 h 503"/>
                <a:gd name="T52" fmla="*/ 9968 w 10059"/>
                <a:gd name="T53" fmla="*/ 445 h 503"/>
                <a:gd name="T54" fmla="*/ 9994 w 10059"/>
                <a:gd name="T55" fmla="*/ 420 h 503"/>
                <a:gd name="T56" fmla="*/ 10016 w 10059"/>
                <a:gd name="T57" fmla="*/ 392 h 503"/>
                <a:gd name="T58" fmla="*/ 10034 w 10059"/>
                <a:gd name="T59" fmla="*/ 361 h 503"/>
                <a:gd name="T60" fmla="*/ 10048 w 10059"/>
                <a:gd name="T61" fmla="*/ 326 h 503"/>
                <a:gd name="T62" fmla="*/ 10056 w 10059"/>
                <a:gd name="T63" fmla="*/ 289 h 503"/>
                <a:gd name="T64" fmla="*/ 10059 w 10059"/>
                <a:gd name="T65" fmla="*/ 251 h 503"/>
                <a:gd name="T66" fmla="*/ 10056 w 10059"/>
                <a:gd name="T67" fmla="*/ 213 h 503"/>
                <a:gd name="T68" fmla="*/ 10048 w 10059"/>
                <a:gd name="T69" fmla="*/ 177 h 503"/>
                <a:gd name="T70" fmla="*/ 10034 w 10059"/>
                <a:gd name="T71" fmla="*/ 142 h 503"/>
                <a:gd name="T72" fmla="*/ 10016 w 10059"/>
                <a:gd name="T73" fmla="*/ 110 h 503"/>
                <a:gd name="T74" fmla="*/ 9994 w 10059"/>
                <a:gd name="T75" fmla="*/ 82 h 503"/>
                <a:gd name="T76" fmla="*/ 9968 w 10059"/>
                <a:gd name="T77" fmla="*/ 57 h 503"/>
                <a:gd name="T78" fmla="*/ 9938 w 10059"/>
                <a:gd name="T79" fmla="*/ 36 h 503"/>
                <a:gd name="T80" fmla="*/ 9905 w 10059"/>
                <a:gd name="T81" fmla="*/ 20 h 503"/>
                <a:gd name="T82" fmla="*/ 9870 w 10059"/>
                <a:gd name="T83" fmla="*/ 8 h 503"/>
                <a:gd name="T84" fmla="*/ 9834 w 10059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59" h="503">
                  <a:moveTo>
                    <a:pt x="9808" y="0"/>
                  </a:moveTo>
                  <a:lnTo>
                    <a:pt x="251" y="0"/>
                  </a:lnTo>
                  <a:lnTo>
                    <a:pt x="238" y="1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3"/>
                  </a:lnTo>
                  <a:lnTo>
                    <a:pt x="100" y="50"/>
                  </a:lnTo>
                  <a:lnTo>
                    <a:pt x="91" y="57"/>
                  </a:lnTo>
                  <a:lnTo>
                    <a:pt x="82" y="65"/>
                  </a:lnTo>
                  <a:lnTo>
                    <a:pt x="73" y="73"/>
                  </a:lnTo>
                  <a:lnTo>
                    <a:pt x="65" y="82"/>
                  </a:lnTo>
                  <a:lnTo>
                    <a:pt x="57" y="91"/>
                  </a:lnTo>
                  <a:lnTo>
                    <a:pt x="50" y="101"/>
                  </a:lnTo>
                  <a:lnTo>
                    <a:pt x="43" y="110"/>
                  </a:lnTo>
                  <a:lnTo>
                    <a:pt x="36" y="121"/>
                  </a:lnTo>
                  <a:lnTo>
                    <a:pt x="30" y="131"/>
                  </a:lnTo>
                  <a:lnTo>
                    <a:pt x="25" y="142"/>
                  </a:lnTo>
                  <a:lnTo>
                    <a:pt x="20" y="153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6"/>
                  </a:lnTo>
                  <a:lnTo>
                    <a:pt x="0" y="238"/>
                  </a:lnTo>
                  <a:lnTo>
                    <a:pt x="0" y="251"/>
                  </a:lnTo>
                  <a:lnTo>
                    <a:pt x="0" y="264"/>
                  </a:lnTo>
                  <a:lnTo>
                    <a:pt x="1" y="277"/>
                  </a:lnTo>
                  <a:lnTo>
                    <a:pt x="3" y="289"/>
                  </a:lnTo>
                  <a:lnTo>
                    <a:pt x="5" y="302"/>
                  </a:lnTo>
                  <a:lnTo>
                    <a:pt x="8" y="314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2"/>
                  </a:lnTo>
                  <a:lnTo>
                    <a:pt x="57" y="411"/>
                  </a:lnTo>
                  <a:lnTo>
                    <a:pt x="65" y="420"/>
                  </a:lnTo>
                  <a:lnTo>
                    <a:pt x="73" y="429"/>
                  </a:lnTo>
                  <a:lnTo>
                    <a:pt x="82" y="437"/>
                  </a:lnTo>
                  <a:lnTo>
                    <a:pt x="91" y="445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6"/>
                  </a:lnTo>
                  <a:lnTo>
                    <a:pt x="132" y="472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7"/>
                  </a:lnTo>
                  <a:lnTo>
                    <a:pt x="177" y="491"/>
                  </a:lnTo>
                  <a:lnTo>
                    <a:pt x="189" y="494"/>
                  </a:lnTo>
                  <a:lnTo>
                    <a:pt x="201" y="497"/>
                  </a:lnTo>
                  <a:lnTo>
                    <a:pt x="213" y="499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9808" y="503"/>
                  </a:lnTo>
                  <a:lnTo>
                    <a:pt x="9821" y="503"/>
                  </a:lnTo>
                  <a:lnTo>
                    <a:pt x="9834" y="502"/>
                  </a:lnTo>
                  <a:lnTo>
                    <a:pt x="9846" y="499"/>
                  </a:lnTo>
                  <a:lnTo>
                    <a:pt x="9858" y="497"/>
                  </a:lnTo>
                  <a:lnTo>
                    <a:pt x="9870" y="494"/>
                  </a:lnTo>
                  <a:lnTo>
                    <a:pt x="9882" y="491"/>
                  </a:lnTo>
                  <a:lnTo>
                    <a:pt x="9894" y="487"/>
                  </a:lnTo>
                  <a:lnTo>
                    <a:pt x="9905" y="483"/>
                  </a:lnTo>
                  <a:lnTo>
                    <a:pt x="9916" y="478"/>
                  </a:lnTo>
                  <a:lnTo>
                    <a:pt x="9927" y="472"/>
                  </a:lnTo>
                  <a:lnTo>
                    <a:pt x="9938" y="466"/>
                  </a:lnTo>
                  <a:lnTo>
                    <a:pt x="9948" y="460"/>
                  </a:lnTo>
                  <a:lnTo>
                    <a:pt x="9959" y="453"/>
                  </a:lnTo>
                  <a:lnTo>
                    <a:pt x="9968" y="445"/>
                  </a:lnTo>
                  <a:lnTo>
                    <a:pt x="9977" y="437"/>
                  </a:lnTo>
                  <a:lnTo>
                    <a:pt x="9986" y="429"/>
                  </a:lnTo>
                  <a:lnTo>
                    <a:pt x="9994" y="420"/>
                  </a:lnTo>
                  <a:lnTo>
                    <a:pt x="10002" y="411"/>
                  </a:lnTo>
                  <a:lnTo>
                    <a:pt x="10009" y="402"/>
                  </a:lnTo>
                  <a:lnTo>
                    <a:pt x="10016" y="392"/>
                  </a:lnTo>
                  <a:lnTo>
                    <a:pt x="10023" y="382"/>
                  </a:lnTo>
                  <a:lnTo>
                    <a:pt x="10029" y="371"/>
                  </a:lnTo>
                  <a:lnTo>
                    <a:pt x="10034" y="361"/>
                  </a:lnTo>
                  <a:lnTo>
                    <a:pt x="10039" y="349"/>
                  </a:lnTo>
                  <a:lnTo>
                    <a:pt x="10044" y="338"/>
                  </a:lnTo>
                  <a:lnTo>
                    <a:pt x="10048" y="326"/>
                  </a:lnTo>
                  <a:lnTo>
                    <a:pt x="10051" y="314"/>
                  </a:lnTo>
                  <a:lnTo>
                    <a:pt x="10054" y="302"/>
                  </a:lnTo>
                  <a:lnTo>
                    <a:pt x="10056" y="289"/>
                  </a:lnTo>
                  <a:lnTo>
                    <a:pt x="10058" y="277"/>
                  </a:lnTo>
                  <a:lnTo>
                    <a:pt x="10059" y="264"/>
                  </a:lnTo>
                  <a:lnTo>
                    <a:pt x="10059" y="251"/>
                  </a:lnTo>
                  <a:lnTo>
                    <a:pt x="10059" y="238"/>
                  </a:lnTo>
                  <a:lnTo>
                    <a:pt x="10058" y="226"/>
                  </a:lnTo>
                  <a:lnTo>
                    <a:pt x="10056" y="213"/>
                  </a:lnTo>
                  <a:lnTo>
                    <a:pt x="10054" y="201"/>
                  </a:lnTo>
                  <a:lnTo>
                    <a:pt x="10051" y="189"/>
                  </a:lnTo>
                  <a:lnTo>
                    <a:pt x="10048" y="177"/>
                  </a:lnTo>
                  <a:lnTo>
                    <a:pt x="10044" y="165"/>
                  </a:lnTo>
                  <a:lnTo>
                    <a:pt x="10039" y="153"/>
                  </a:lnTo>
                  <a:lnTo>
                    <a:pt x="10034" y="142"/>
                  </a:lnTo>
                  <a:lnTo>
                    <a:pt x="10029" y="131"/>
                  </a:lnTo>
                  <a:lnTo>
                    <a:pt x="10023" y="121"/>
                  </a:lnTo>
                  <a:lnTo>
                    <a:pt x="10016" y="110"/>
                  </a:lnTo>
                  <a:lnTo>
                    <a:pt x="10009" y="101"/>
                  </a:lnTo>
                  <a:lnTo>
                    <a:pt x="10002" y="91"/>
                  </a:lnTo>
                  <a:lnTo>
                    <a:pt x="9994" y="82"/>
                  </a:lnTo>
                  <a:lnTo>
                    <a:pt x="9986" y="73"/>
                  </a:lnTo>
                  <a:lnTo>
                    <a:pt x="9977" y="65"/>
                  </a:lnTo>
                  <a:lnTo>
                    <a:pt x="9968" y="57"/>
                  </a:lnTo>
                  <a:lnTo>
                    <a:pt x="9959" y="50"/>
                  </a:lnTo>
                  <a:lnTo>
                    <a:pt x="9948" y="43"/>
                  </a:lnTo>
                  <a:lnTo>
                    <a:pt x="9938" y="36"/>
                  </a:lnTo>
                  <a:lnTo>
                    <a:pt x="9927" y="30"/>
                  </a:lnTo>
                  <a:lnTo>
                    <a:pt x="9916" y="25"/>
                  </a:lnTo>
                  <a:lnTo>
                    <a:pt x="9905" y="20"/>
                  </a:lnTo>
                  <a:lnTo>
                    <a:pt x="9894" y="15"/>
                  </a:lnTo>
                  <a:lnTo>
                    <a:pt x="9882" y="11"/>
                  </a:lnTo>
                  <a:lnTo>
                    <a:pt x="9870" y="8"/>
                  </a:lnTo>
                  <a:lnTo>
                    <a:pt x="9858" y="5"/>
                  </a:lnTo>
                  <a:lnTo>
                    <a:pt x="9846" y="3"/>
                  </a:lnTo>
                  <a:lnTo>
                    <a:pt x="9834" y="1"/>
                  </a:lnTo>
                  <a:lnTo>
                    <a:pt x="9821" y="1"/>
                  </a:lnTo>
                  <a:lnTo>
                    <a:pt x="980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406" name="iṣļîdé">
              <a:extLst>
                <a:ext uri="{FF2B5EF4-FFF2-40B4-BE49-F238E27FC236}">
                  <a16:creationId xmlns:a16="http://schemas.microsoft.com/office/drawing/2014/main" id="{7B10BD22-BE66-4290-80B7-9284D6E8F39A}"/>
                </a:ext>
              </a:extLst>
            </p:cNvPr>
            <p:cNvSpPr/>
            <p:nvPr/>
          </p:nvSpPr>
          <p:spPr bwMode="auto">
            <a:xfrm>
              <a:off x="9864172" y="2016895"/>
              <a:ext cx="144480" cy="6905"/>
            </a:xfrm>
            <a:custGeom>
              <a:avLst/>
              <a:gdLst>
                <a:gd name="T0" fmla="*/ 238 w 10059"/>
                <a:gd name="T1" fmla="*/ 0 h 503"/>
                <a:gd name="T2" fmla="*/ 201 w 10059"/>
                <a:gd name="T3" fmla="*/ 5 h 503"/>
                <a:gd name="T4" fmla="*/ 165 w 10059"/>
                <a:gd name="T5" fmla="*/ 16 h 503"/>
                <a:gd name="T6" fmla="*/ 132 w 10059"/>
                <a:gd name="T7" fmla="*/ 31 h 503"/>
                <a:gd name="T8" fmla="*/ 100 w 10059"/>
                <a:gd name="T9" fmla="*/ 51 h 503"/>
                <a:gd name="T10" fmla="*/ 73 w 10059"/>
                <a:gd name="T11" fmla="*/ 74 h 503"/>
                <a:gd name="T12" fmla="*/ 50 w 10059"/>
                <a:gd name="T13" fmla="*/ 102 h 503"/>
                <a:gd name="T14" fmla="*/ 30 w 10059"/>
                <a:gd name="T15" fmla="*/ 132 h 503"/>
                <a:gd name="T16" fmla="*/ 15 w 10059"/>
                <a:gd name="T17" fmla="*/ 165 h 503"/>
                <a:gd name="T18" fmla="*/ 5 w 10059"/>
                <a:gd name="T19" fmla="*/ 202 h 503"/>
                <a:gd name="T20" fmla="*/ 0 w 10059"/>
                <a:gd name="T21" fmla="*/ 239 h 503"/>
                <a:gd name="T22" fmla="*/ 1 w 10059"/>
                <a:gd name="T23" fmla="*/ 278 h 503"/>
                <a:gd name="T24" fmla="*/ 8 w 10059"/>
                <a:gd name="T25" fmla="*/ 315 h 503"/>
                <a:gd name="T26" fmla="*/ 20 w 10059"/>
                <a:gd name="T27" fmla="*/ 350 h 503"/>
                <a:gd name="T28" fmla="*/ 36 w 10059"/>
                <a:gd name="T29" fmla="*/ 383 h 503"/>
                <a:gd name="T30" fmla="*/ 57 w 10059"/>
                <a:gd name="T31" fmla="*/ 412 h 503"/>
                <a:gd name="T32" fmla="*/ 82 w 10059"/>
                <a:gd name="T33" fmla="*/ 438 h 503"/>
                <a:gd name="T34" fmla="*/ 110 w 10059"/>
                <a:gd name="T35" fmla="*/ 460 h 503"/>
                <a:gd name="T36" fmla="*/ 143 w 10059"/>
                <a:gd name="T37" fmla="*/ 478 h 503"/>
                <a:gd name="T38" fmla="*/ 177 w 10059"/>
                <a:gd name="T39" fmla="*/ 492 h 503"/>
                <a:gd name="T40" fmla="*/ 213 w 10059"/>
                <a:gd name="T41" fmla="*/ 500 h 503"/>
                <a:gd name="T42" fmla="*/ 251 w 10059"/>
                <a:gd name="T43" fmla="*/ 503 h 503"/>
                <a:gd name="T44" fmla="*/ 9834 w 10059"/>
                <a:gd name="T45" fmla="*/ 502 h 503"/>
                <a:gd name="T46" fmla="*/ 9870 w 10059"/>
                <a:gd name="T47" fmla="*/ 495 h 503"/>
                <a:gd name="T48" fmla="*/ 9905 w 10059"/>
                <a:gd name="T49" fmla="*/ 483 h 503"/>
                <a:gd name="T50" fmla="*/ 9938 w 10059"/>
                <a:gd name="T51" fmla="*/ 467 h 503"/>
                <a:gd name="T52" fmla="*/ 9968 w 10059"/>
                <a:gd name="T53" fmla="*/ 446 h 503"/>
                <a:gd name="T54" fmla="*/ 9994 w 10059"/>
                <a:gd name="T55" fmla="*/ 421 h 503"/>
                <a:gd name="T56" fmla="*/ 10016 w 10059"/>
                <a:gd name="T57" fmla="*/ 393 h 503"/>
                <a:gd name="T58" fmla="*/ 10034 w 10059"/>
                <a:gd name="T59" fmla="*/ 362 h 503"/>
                <a:gd name="T60" fmla="*/ 10048 w 10059"/>
                <a:gd name="T61" fmla="*/ 326 h 503"/>
                <a:gd name="T62" fmla="*/ 10056 w 10059"/>
                <a:gd name="T63" fmla="*/ 290 h 503"/>
                <a:gd name="T64" fmla="*/ 10059 w 10059"/>
                <a:gd name="T65" fmla="*/ 252 h 503"/>
                <a:gd name="T66" fmla="*/ 10056 w 10059"/>
                <a:gd name="T67" fmla="*/ 214 h 503"/>
                <a:gd name="T68" fmla="*/ 10048 w 10059"/>
                <a:gd name="T69" fmla="*/ 177 h 503"/>
                <a:gd name="T70" fmla="*/ 10034 w 10059"/>
                <a:gd name="T71" fmla="*/ 143 h 503"/>
                <a:gd name="T72" fmla="*/ 10016 w 10059"/>
                <a:gd name="T73" fmla="*/ 112 h 503"/>
                <a:gd name="T74" fmla="*/ 9994 w 10059"/>
                <a:gd name="T75" fmla="*/ 83 h 503"/>
                <a:gd name="T76" fmla="*/ 9968 w 10059"/>
                <a:gd name="T77" fmla="*/ 58 h 503"/>
                <a:gd name="T78" fmla="*/ 9938 w 10059"/>
                <a:gd name="T79" fmla="*/ 37 h 503"/>
                <a:gd name="T80" fmla="*/ 9905 w 10059"/>
                <a:gd name="T81" fmla="*/ 21 h 503"/>
                <a:gd name="T82" fmla="*/ 9870 w 10059"/>
                <a:gd name="T83" fmla="*/ 8 h 503"/>
                <a:gd name="T84" fmla="*/ 9834 w 10059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59" h="503">
                  <a:moveTo>
                    <a:pt x="9808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2"/>
                  </a:lnTo>
                  <a:lnTo>
                    <a:pt x="165" y="16"/>
                  </a:lnTo>
                  <a:lnTo>
                    <a:pt x="154" y="21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0" y="37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2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90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2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4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9808" y="503"/>
                  </a:lnTo>
                  <a:lnTo>
                    <a:pt x="9821" y="503"/>
                  </a:lnTo>
                  <a:lnTo>
                    <a:pt x="9834" y="502"/>
                  </a:lnTo>
                  <a:lnTo>
                    <a:pt x="9846" y="500"/>
                  </a:lnTo>
                  <a:lnTo>
                    <a:pt x="9858" y="498"/>
                  </a:lnTo>
                  <a:lnTo>
                    <a:pt x="9870" y="495"/>
                  </a:lnTo>
                  <a:lnTo>
                    <a:pt x="9882" y="492"/>
                  </a:lnTo>
                  <a:lnTo>
                    <a:pt x="9894" y="488"/>
                  </a:lnTo>
                  <a:lnTo>
                    <a:pt x="9905" y="483"/>
                  </a:lnTo>
                  <a:lnTo>
                    <a:pt x="9916" y="478"/>
                  </a:lnTo>
                  <a:lnTo>
                    <a:pt x="9927" y="473"/>
                  </a:lnTo>
                  <a:lnTo>
                    <a:pt x="9938" y="467"/>
                  </a:lnTo>
                  <a:lnTo>
                    <a:pt x="9948" y="460"/>
                  </a:lnTo>
                  <a:lnTo>
                    <a:pt x="9959" y="454"/>
                  </a:lnTo>
                  <a:lnTo>
                    <a:pt x="9968" y="446"/>
                  </a:lnTo>
                  <a:lnTo>
                    <a:pt x="9977" y="438"/>
                  </a:lnTo>
                  <a:lnTo>
                    <a:pt x="9986" y="430"/>
                  </a:lnTo>
                  <a:lnTo>
                    <a:pt x="9994" y="421"/>
                  </a:lnTo>
                  <a:lnTo>
                    <a:pt x="10002" y="412"/>
                  </a:lnTo>
                  <a:lnTo>
                    <a:pt x="10009" y="403"/>
                  </a:lnTo>
                  <a:lnTo>
                    <a:pt x="10016" y="393"/>
                  </a:lnTo>
                  <a:lnTo>
                    <a:pt x="10023" y="383"/>
                  </a:lnTo>
                  <a:lnTo>
                    <a:pt x="10029" y="372"/>
                  </a:lnTo>
                  <a:lnTo>
                    <a:pt x="10034" y="362"/>
                  </a:lnTo>
                  <a:lnTo>
                    <a:pt x="10039" y="350"/>
                  </a:lnTo>
                  <a:lnTo>
                    <a:pt x="10044" y="338"/>
                  </a:lnTo>
                  <a:lnTo>
                    <a:pt x="10048" y="326"/>
                  </a:lnTo>
                  <a:lnTo>
                    <a:pt x="10051" y="315"/>
                  </a:lnTo>
                  <a:lnTo>
                    <a:pt x="10054" y="302"/>
                  </a:lnTo>
                  <a:lnTo>
                    <a:pt x="10056" y="290"/>
                  </a:lnTo>
                  <a:lnTo>
                    <a:pt x="10058" y="278"/>
                  </a:lnTo>
                  <a:lnTo>
                    <a:pt x="10059" y="265"/>
                  </a:lnTo>
                  <a:lnTo>
                    <a:pt x="10059" y="252"/>
                  </a:lnTo>
                  <a:lnTo>
                    <a:pt x="10059" y="239"/>
                  </a:lnTo>
                  <a:lnTo>
                    <a:pt x="10058" y="227"/>
                  </a:lnTo>
                  <a:lnTo>
                    <a:pt x="10056" y="214"/>
                  </a:lnTo>
                  <a:lnTo>
                    <a:pt x="10054" y="202"/>
                  </a:lnTo>
                  <a:lnTo>
                    <a:pt x="10051" y="190"/>
                  </a:lnTo>
                  <a:lnTo>
                    <a:pt x="10048" y="177"/>
                  </a:lnTo>
                  <a:lnTo>
                    <a:pt x="10044" y="165"/>
                  </a:lnTo>
                  <a:lnTo>
                    <a:pt x="10039" y="154"/>
                  </a:lnTo>
                  <a:lnTo>
                    <a:pt x="10034" y="143"/>
                  </a:lnTo>
                  <a:lnTo>
                    <a:pt x="10029" y="132"/>
                  </a:lnTo>
                  <a:lnTo>
                    <a:pt x="10023" y="122"/>
                  </a:lnTo>
                  <a:lnTo>
                    <a:pt x="10016" y="112"/>
                  </a:lnTo>
                  <a:lnTo>
                    <a:pt x="10009" y="102"/>
                  </a:lnTo>
                  <a:lnTo>
                    <a:pt x="10002" y="92"/>
                  </a:lnTo>
                  <a:lnTo>
                    <a:pt x="9994" y="83"/>
                  </a:lnTo>
                  <a:lnTo>
                    <a:pt x="9986" y="74"/>
                  </a:lnTo>
                  <a:lnTo>
                    <a:pt x="9977" y="66"/>
                  </a:lnTo>
                  <a:lnTo>
                    <a:pt x="9968" y="58"/>
                  </a:lnTo>
                  <a:lnTo>
                    <a:pt x="9959" y="51"/>
                  </a:lnTo>
                  <a:lnTo>
                    <a:pt x="9948" y="44"/>
                  </a:lnTo>
                  <a:lnTo>
                    <a:pt x="9938" y="37"/>
                  </a:lnTo>
                  <a:lnTo>
                    <a:pt x="9927" y="31"/>
                  </a:lnTo>
                  <a:lnTo>
                    <a:pt x="9916" y="26"/>
                  </a:lnTo>
                  <a:lnTo>
                    <a:pt x="9905" y="21"/>
                  </a:lnTo>
                  <a:lnTo>
                    <a:pt x="9894" y="16"/>
                  </a:lnTo>
                  <a:lnTo>
                    <a:pt x="9882" y="12"/>
                  </a:lnTo>
                  <a:lnTo>
                    <a:pt x="9870" y="8"/>
                  </a:lnTo>
                  <a:lnTo>
                    <a:pt x="9858" y="5"/>
                  </a:lnTo>
                  <a:lnTo>
                    <a:pt x="9846" y="3"/>
                  </a:lnTo>
                  <a:lnTo>
                    <a:pt x="9834" y="1"/>
                  </a:lnTo>
                  <a:lnTo>
                    <a:pt x="9821" y="0"/>
                  </a:lnTo>
                  <a:lnTo>
                    <a:pt x="980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407" name="îś1iďe">
              <a:extLst>
                <a:ext uri="{FF2B5EF4-FFF2-40B4-BE49-F238E27FC236}">
                  <a16:creationId xmlns:a16="http://schemas.microsoft.com/office/drawing/2014/main" id="{91E468C7-41C7-4D2C-BD5F-52EA7CBFEAA9}"/>
                </a:ext>
              </a:extLst>
            </p:cNvPr>
            <p:cNvSpPr/>
            <p:nvPr/>
          </p:nvSpPr>
          <p:spPr bwMode="auto">
            <a:xfrm>
              <a:off x="9864172" y="1915441"/>
              <a:ext cx="64804" cy="65335"/>
            </a:xfrm>
            <a:custGeom>
              <a:avLst/>
              <a:gdLst>
                <a:gd name="T0" fmla="*/ 3521 w 4526"/>
                <a:gd name="T1" fmla="*/ 3519 h 4525"/>
                <a:gd name="T2" fmla="*/ 503 w 4526"/>
                <a:gd name="T3" fmla="*/ 4525 h 4525"/>
                <a:gd name="T4" fmla="*/ 4075 w 4526"/>
                <a:gd name="T5" fmla="*/ 4522 h 4525"/>
                <a:gd name="T6" fmla="*/ 4149 w 4526"/>
                <a:gd name="T7" fmla="*/ 4508 h 4525"/>
                <a:gd name="T8" fmla="*/ 4220 w 4526"/>
                <a:gd name="T9" fmla="*/ 4485 h 4525"/>
                <a:gd name="T10" fmla="*/ 4284 w 4526"/>
                <a:gd name="T11" fmla="*/ 4452 h 4525"/>
                <a:gd name="T12" fmla="*/ 4343 w 4526"/>
                <a:gd name="T13" fmla="*/ 4410 h 4525"/>
                <a:gd name="T14" fmla="*/ 4396 w 4526"/>
                <a:gd name="T15" fmla="*/ 4360 h 4525"/>
                <a:gd name="T16" fmla="*/ 4441 w 4526"/>
                <a:gd name="T17" fmla="*/ 4302 h 4525"/>
                <a:gd name="T18" fmla="*/ 4477 w 4526"/>
                <a:gd name="T19" fmla="*/ 4240 h 4525"/>
                <a:gd name="T20" fmla="*/ 4504 w 4526"/>
                <a:gd name="T21" fmla="*/ 4172 h 4525"/>
                <a:gd name="T22" fmla="*/ 4520 w 4526"/>
                <a:gd name="T23" fmla="*/ 4098 h 4525"/>
                <a:gd name="T24" fmla="*/ 4526 w 4526"/>
                <a:gd name="T25" fmla="*/ 4022 h 4525"/>
                <a:gd name="T26" fmla="*/ 4523 w 4526"/>
                <a:gd name="T27" fmla="*/ 452 h 4525"/>
                <a:gd name="T28" fmla="*/ 4510 w 4526"/>
                <a:gd name="T29" fmla="*/ 377 h 4525"/>
                <a:gd name="T30" fmla="*/ 4487 w 4526"/>
                <a:gd name="T31" fmla="*/ 308 h 4525"/>
                <a:gd name="T32" fmla="*/ 4454 w 4526"/>
                <a:gd name="T33" fmla="*/ 242 h 4525"/>
                <a:gd name="T34" fmla="*/ 4412 w 4526"/>
                <a:gd name="T35" fmla="*/ 183 h 4525"/>
                <a:gd name="T36" fmla="*/ 4361 w 4526"/>
                <a:gd name="T37" fmla="*/ 131 h 4525"/>
                <a:gd name="T38" fmla="*/ 4305 w 4526"/>
                <a:gd name="T39" fmla="*/ 85 h 4525"/>
                <a:gd name="T40" fmla="*/ 4242 w 4526"/>
                <a:gd name="T41" fmla="*/ 49 h 4525"/>
                <a:gd name="T42" fmla="*/ 4173 w 4526"/>
                <a:gd name="T43" fmla="*/ 22 h 4525"/>
                <a:gd name="T44" fmla="*/ 4100 w 4526"/>
                <a:gd name="T45" fmla="*/ 6 h 4525"/>
                <a:gd name="T46" fmla="*/ 4024 w 4526"/>
                <a:gd name="T47" fmla="*/ 0 h 4525"/>
                <a:gd name="T48" fmla="*/ 451 w 4526"/>
                <a:gd name="T49" fmla="*/ 3 h 4525"/>
                <a:gd name="T50" fmla="*/ 377 w 4526"/>
                <a:gd name="T51" fmla="*/ 16 h 4525"/>
                <a:gd name="T52" fmla="*/ 307 w 4526"/>
                <a:gd name="T53" fmla="*/ 39 h 4525"/>
                <a:gd name="T54" fmla="*/ 242 w 4526"/>
                <a:gd name="T55" fmla="*/ 72 h 4525"/>
                <a:gd name="T56" fmla="*/ 183 w 4526"/>
                <a:gd name="T57" fmla="*/ 115 h 4525"/>
                <a:gd name="T58" fmla="*/ 131 w 4526"/>
                <a:gd name="T59" fmla="*/ 165 h 4525"/>
                <a:gd name="T60" fmla="*/ 85 w 4526"/>
                <a:gd name="T61" fmla="*/ 222 h 4525"/>
                <a:gd name="T62" fmla="*/ 49 w 4526"/>
                <a:gd name="T63" fmla="*/ 285 h 4525"/>
                <a:gd name="T64" fmla="*/ 22 w 4526"/>
                <a:gd name="T65" fmla="*/ 353 h 4525"/>
                <a:gd name="T66" fmla="*/ 6 w 4526"/>
                <a:gd name="T67" fmla="*/ 426 h 4525"/>
                <a:gd name="T68" fmla="*/ 0 w 4526"/>
                <a:gd name="T69" fmla="*/ 503 h 4525"/>
                <a:gd name="T70" fmla="*/ 3 w 4526"/>
                <a:gd name="T71" fmla="*/ 4073 h 4525"/>
                <a:gd name="T72" fmla="*/ 16 w 4526"/>
                <a:gd name="T73" fmla="*/ 4147 h 4525"/>
                <a:gd name="T74" fmla="*/ 39 w 4526"/>
                <a:gd name="T75" fmla="*/ 4218 h 4525"/>
                <a:gd name="T76" fmla="*/ 72 w 4526"/>
                <a:gd name="T77" fmla="*/ 4282 h 4525"/>
                <a:gd name="T78" fmla="*/ 114 w 4526"/>
                <a:gd name="T79" fmla="*/ 4342 h 4525"/>
                <a:gd name="T80" fmla="*/ 165 w 4526"/>
                <a:gd name="T81" fmla="*/ 4394 h 4525"/>
                <a:gd name="T82" fmla="*/ 221 w 4526"/>
                <a:gd name="T83" fmla="*/ 4439 h 4525"/>
                <a:gd name="T84" fmla="*/ 284 w 4526"/>
                <a:gd name="T85" fmla="*/ 4475 h 4525"/>
                <a:gd name="T86" fmla="*/ 353 w 4526"/>
                <a:gd name="T87" fmla="*/ 4501 h 4525"/>
                <a:gd name="T88" fmla="*/ 426 w 4526"/>
                <a:gd name="T89" fmla="*/ 4519 h 4525"/>
                <a:gd name="T90" fmla="*/ 503 w 4526"/>
                <a:gd name="T91" fmla="*/ 4525 h 4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526" h="4525">
                  <a:moveTo>
                    <a:pt x="1006" y="1004"/>
                  </a:moveTo>
                  <a:lnTo>
                    <a:pt x="3521" y="1004"/>
                  </a:lnTo>
                  <a:lnTo>
                    <a:pt x="3521" y="3519"/>
                  </a:lnTo>
                  <a:lnTo>
                    <a:pt x="1006" y="3519"/>
                  </a:lnTo>
                  <a:lnTo>
                    <a:pt x="1006" y="1004"/>
                  </a:lnTo>
                  <a:close/>
                  <a:moveTo>
                    <a:pt x="503" y="4525"/>
                  </a:moveTo>
                  <a:lnTo>
                    <a:pt x="4024" y="4525"/>
                  </a:lnTo>
                  <a:lnTo>
                    <a:pt x="4050" y="4524"/>
                  </a:lnTo>
                  <a:lnTo>
                    <a:pt x="4075" y="4522"/>
                  </a:lnTo>
                  <a:lnTo>
                    <a:pt x="4100" y="4519"/>
                  </a:lnTo>
                  <a:lnTo>
                    <a:pt x="4125" y="4515"/>
                  </a:lnTo>
                  <a:lnTo>
                    <a:pt x="4149" y="4508"/>
                  </a:lnTo>
                  <a:lnTo>
                    <a:pt x="4173" y="4501"/>
                  </a:lnTo>
                  <a:lnTo>
                    <a:pt x="4197" y="4494"/>
                  </a:lnTo>
                  <a:lnTo>
                    <a:pt x="4220" y="4485"/>
                  </a:lnTo>
                  <a:lnTo>
                    <a:pt x="4242" y="4475"/>
                  </a:lnTo>
                  <a:lnTo>
                    <a:pt x="4263" y="4464"/>
                  </a:lnTo>
                  <a:lnTo>
                    <a:pt x="4284" y="4452"/>
                  </a:lnTo>
                  <a:lnTo>
                    <a:pt x="4305" y="4439"/>
                  </a:lnTo>
                  <a:lnTo>
                    <a:pt x="4324" y="4425"/>
                  </a:lnTo>
                  <a:lnTo>
                    <a:pt x="4343" y="4410"/>
                  </a:lnTo>
                  <a:lnTo>
                    <a:pt x="4361" y="4394"/>
                  </a:lnTo>
                  <a:lnTo>
                    <a:pt x="4380" y="4378"/>
                  </a:lnTo>
                  <a:lnTo>
                    <a:pt x="4396" y="4360"/>
                  </a:lnTo>
                  <a:lnTo>
                    <a:pt x="4412" y="4342"/>
                  </a:lnTo>
                  <a:lnTo>
                    <a:pt x="4427" y="4322"/>
                  </a:lnTo>
                  <a:lnTo>
                    <a:pt x="4441" y="4302"/>
                  </a:lnTo>
                  <a:lnTo>
                    <a:pt x="4454" y="4282"/>
                  </a:lnTo>
                  <a:lnTo>
                    <a:pt x="4466" y="4261"/>
                  </a:lnTo>
                  <a:lnTo>
                    <a:pt x="4477" y="4240"/>
                  </a:lnTo>
                  <a:lnTo>
                    <a:pt x="4487" y="4218"/>
                  </a:lnTo>
                  <a:lnTo>
                    <a:pt x="4496" y="4195"/>
                  </a:lnTo>
                  <a:lnTo>
                    <a:pt x="4504" y="4172"/>
                  </a:lnTo>
                  <a:lnTo>
                    <a:pt x="4510" y="4147"/>
                  </a:lnTo>
                  <a:lnTo>
                    <a:pt x="4516" y="4123"/>
                  </a:lnTo>
                  <a:lnTo>
                    <a:pt x="4520" y="4098"/>
                  </a:lnTo>
                  <a:lnTo>
                    <a:pt x="4523" y="4073"/>
                  </a:lnTo>
                  <a:lnTo>
                    <a:pt x="4525" y="4048"/>
                  </a:lnTo>
                  <a:lnTo>
                    <a:pt x="4526" y="4022"/>
                  </a:lnTo>
                  <a:lnTo>
                    <a:pt x="4526" y="503"/>
                  </a:lnTo>
                  <a:lnTo>
                    <a:pt x="4525" y="477"/>
                  </a:lnTo>
                  <a:lnTo>
                    <a:pt x="4523" y="452"/>
                  </a:lnTo>
                  <a:lnTo>
                    <a:pt x="4520" y="426"/>
                  </a:lnTo>
                  <a:lnTo>
                    <a:pt x="4516" y="401"/>
                  </a:lnTo>
                  <a:lnTo>
                    <a:pt x="4510" y="377"/>
                  </a:lnTo>
                  <a:lnTo>
                    <a:pt x="4504" y="353"/>
                  </a:lnTo>
                  <a:lnTo>
                    <a:pt x="4496" y="330"/>
                  </a:lnTo>
                  <a:lnTo>
                    <a:pt x="4487" y="308"/>
                  </a:lnTo>
                  <a:lnTo>
                    <a:pt x="4477" y="285"/>
                  </a:lnTo>
                  <a:lnTo>
                    <a:pt x="4466" y="263"/>
                  </a:lnTo>
                  <a:lnTo>
                    <a:pt x="4454" y="242"/>
                  </a:lnTo>
                  <a:lnTo>
                    <a:pt x="4441" y="222"/>
                  </a:lnTo>
                  <a:lnTo>
                    <a:pt x="4427" y="202"/>
                  </a:lnTo>
                  <a:lnTo>
                    <a:pt x="4412" y="183"/>
                  </a:lnTo>
                  <a:lnTo>
                    <a:pt x="4396" y="165"/>
                  </a:lnTo>
                  <a:lnTo>
                    <a:pt x="4380" y="148"/>
                  </a:lnTo>
                  <a:lnTo>
                    <a:pt x="4361" y="131"/>
                  </a:lnTo>
                  <a:lnTo>
                    <a:pt x="4343" y="115"/>
                  </a:lnTo>
                  <a:lnTo>
                    <a:pt x="4324" y="99"/>
                  </a:lnTo>
                  <a:lnTo>
                    <a:pt x="4305" y="85"/>
                  </a:lnTo>
                  <a:lnTo>
                    <a:pt x="4284" y="72"/>
                  </a:lnTo>
                  <a:lnTo>
                    <a:pt x="4263" y="60"/>
                  </a:lnTo>
                  <a:lnTo>
                    <a:pt x="4242" y="49"/>
                  </a:lnTo>
                  <a:lnTo>
                    <a:pt x="4220" y="39"/>
                  </a:lnTo>
                  <a:lnTo>
                    <a:pt x="4197" y="30"/>
                  </a:lnTo>
                  <a:lnTo>
                    <a:pt x="4173" y="22"/>
                  </a:lnTo>
                  <a:lnTo>
                    <a:pt x="4149" y="16"/>
                  </a:lnTo>
                  <a:lnTo>
                    <a:pt x="4125" y="10"/>
                  </a:lnTo>
                  <a:lnTo>
                    <a:pt x="4100" y="6"/>
                  </a:lnTo>
                  <a:lnTo>
                    <a:pt x="4075" y="3"/>
                  </a:lnTo>
                  <a:lnTo>
                    <a:pt x="4050" y="1"/>
                  </a:lnTo>
                  <a:lnTo>
                    <a:pt x="4024" y="0"/>
                  </a:lnTo>
                  <a:lnTo>
                    <a:pt x="503" y="0"/>
                  </a:lnTo>
                  <a:lnTo>
                    <a:pt x="477" y="1"/>
                  </a:lnTo>
                  <a:lnTo>
                    <a:pt x="451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4" y="49"/>
                  </a:lnTo>
                  <a:lnTo>
                    <a:pt x="262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8"/>
                  </a:lnTo>
                  <a:lnTo>
                    <a:pt x="131" y="165"/>
                  </a:lnTo>
                  <a:lnTo>
                    <a:pt x="114" y="183"/>
                  </a:lnTo>
                  <a:lnTo>
                    <a:pt x="99" y="202"/>
                  </a:lnTo>
                  <a:lnTo>
                    <a:pt x="85" y="222"/>
                  </a:lnTo>
                  <a:lnTo>
                    <a:pt x="72" y="242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8"/>
                  </a:lnTo>
                  <a:lnTo>
                    <a:pt x="30" y="330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0" y="4022"/>
                  </a:lnTo>
                  <a:lnTo>
                    <a:pt x="1" y="4048"/>
                  </a:lnTo>
                  <a:lnTo>
                    <a:pt x="3" y="4073"/>
                  </a:lnTo>
                  <a:lnTo>
                    <a:pt x="6" y="4098"/>
                  </a:lnTo>
                  <a:lnTo>
                    <a:pt x="10" y="4123"/>
                  </a:lnTo>
                  <a:lnTo>
                    <a:pt x="16" y="4147"/>
                  </a:lnTo>
                  <a:lnTo>
                    <a:pt x="22" y="4172"/>
                  </a:lnTo>
                  <a:lnTo>
                    <a:pt x="30" y="4195"/>
                  </a:lnTo>
                  <a:lnTo>
                    <a:pt x="39" y="4218"/>
                  </a:lnTo>
                  <a:lnTo>
                    <a:pt x="49" y="4240"/>
                  </a:lnTo>
                  <a:lnTo>
                    <a:pt x="60" y="4261"/>
                  </a:lnTo>
                  <a:lnTo>
                    <a:pt x="72" y="4282"/>
                  </a:lnTo>
                  <a:lnTo>
                    <a:pt x="85" y="4302"/>
                  </a:lnTo>
                  <a:lnTo>
                    <a:pt x="99" y="4322"/>
                  </a:lnTo>
                  <a:lnTo>
                    <a:pt x="114" y="4342"/>
                  </a:lnTo>
                  <a:lnTo>
                    <a:pt x="131" y="4360"/>
                  </a:lnTo>
                  <a:lnTo>
                    <a:pt x="147" y="4378"/>
                  </a:lnTo>
                  <a:lnTo>
                    <a:pt x="165" y="4394"/>
                  </a:lnTo>
                  <a:lnTo>
                    <a:pt x="183" y="4410"/>
                  </a:lnTo>
                  <a:lnTo>
                    <a:pt x="202" y="4425"/>
                  </a:lnTo>
                  <a:lnTo>
                    <a:pt x="221" y="4439"/>
                  </a:lnTo>
                  <a:lnTo>
                    <a:pt x="242" y="4452"/>
                  </a:lnTo>
                  <a:lnTo>
                    <a:pt x="262" y="4464"/>
                  </a:lnTo>
                  <a:lnTo>
                    <a:pt x="284" y="4475"/>
                  </a:lnTo>
                  <a:lnTo>
                    <a:pt x="307" y="4485"/>
                  </a:lnTo>
                  <a:lnTo>
                    <a:pt x="330" y="4494"/>
                  </a:lnTo>
                  <a:lnTo>
                    <a:pt x="353" y="4501"/>
                  </a:lnTo>
                  <a:lnTo>
                    <a:pt x="377" y="4508"/>
                  </a:lnTo>
                  <a:lnTo>
                    <a:pt x="401" y="4515"/>
                  </a:lnTo>
                  <a:lnTo>
                    <a:pt x="426" y="4519"/>
                  </a:lnTo>
                  <a:lnTo>
                    <a:pt x="451" y="4522"/>
                  </a:lnTo>
                  <a:lnTo>
                    <a:pt x="477" y="4524"/>
                  </a:lnTo>
                  <a:lnTo>
                    <a:pt x="503" y="45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408" name="îsḻïďe">
              <a:extLst>
                <a:ext uri="{FF2B5EF4-FFF2-40B4-BE49-F238E27FC236}">
                  <a16:creationId xmlns:a16="http://schemas.microsoft.com/office/drawing/2014/main" id="{7834434F-2401-441A-BAA7-126361F294B1}"/>
                </a:ext>
              </a:extLst>
            </p:cNvPr>
            <p:cNvSpPr/>
            <p:nvPr/>
          </p:nvSpPr>
          <p:spPr bwMode="auto">
            <a:xfrm>
              <a:off x="10934630" y="51645"/>
              <a:ext cx="613338" cy="401842"/>
            </a:xfrm>
            <a:custGeom>
              <a:avLst/>
              <a:gdLst>
                <a:gd name="T0" fmla="*/ 8477 w 16095"/>
                <a:gd name="T1" fmla="*/ 6935 h 10545"/>
                <a:gd name="T2" fmla="*/ 8249 w 16095"/>
                <a:gd name="T3" fmla="*/ 7011 h 10545"/>
                <a:gd name="T4" fmla="*/ 8006 w 16095"/>
                <a:gd name="T5" fmla="*/ 7030 h 10545"/>
                <a:gd name="T6" fmla="*/ 7768 w 16095"/>
                <a:gd name="T7" fmla="*/ 6992 h 10545"/>
                <a:gd name="T8" fmla="*/ 7547 w 16095"/>
                <a:gd name="T9" fmla="*/ 6897 h 10545"/>
                <a:gd name="T10" fmla="*/ 1006 w 16095"/>
                <a:gd name="T11" fmla="*/ 2010 h 10545"/>
                <a:gd name="T12" fmla="*/ 1038 w 16095"/>
                <a:gd name="T13" fmla="*/ 1758 h 10545"/>
                <a:gd name="T14" fmla="*/ 1152 w 16095"/>
                <a:gd name="T15" fmla="*/ 1488 h 10545"/>
                <a:gd name="T16" fmla="*/ 1336 w 16095"/>
                <a:gd name="T17" fmla="*/ 1265 h 10545"/>
                <a:gd name="T18" fmla="*/ 1576 w 16095"/>
                <a:gd name="T19" fmla="*/ 1104 h 10545"/>
                <a:gd name="T20" fmla="*/ 1859 w 16095"/>
                <a:gd name="T21" fmla="*/ 1016 h 10545"/>
                <a:gd name="T22" fmla="*/ 14186 w 16095"/>
                <a:gd name="T23" fmla="*/ 1009 h 10545"/>
                <a:gd name="T24" fmla="*/ 14474 w 16095"/>
                <a:gd name="T25" fmla="*/ 1084 h 10545"/>
                <a:gd name="T26" fmla="*/ 14723 w 16095"/>
                <a:gd name="T27" fmla="*/ 1234 h 10545"/>
                <a:gd name="T28" fmla="*/ 14917 w 16095"/>
                <a:gd name="T29" fmla="*/ 1447 h 10545"/>
                <a:gd name="T30" fmla="*/ 15044 w 16095"/>
                <a:gd name="T31" fmla="*/ 1710 h 10545"/>
                <a:gd name="T32" fmla="*/ 15089 w 16095"/>
                <a:gd name="T33" fmla="*/ 2009 h 10545"/>
                <a:gd name="T34" fmla="*/ 15089 w 16095"/>
                <a:gd name="T35" fmla="*/ 8535 h 10545"/>
                <a:gd name="T36" fmla="*/ 15044 w 16095"/>
                <a:gd name="T37" fmla="*/ 8835 h 10545"/>
                <a:gd name="T38" fmla="*/ 14917 w 16095"/>
                <a:gd name="T39" fmla="*/ 9097 h 10545"/>
                <a:gd name="T40" fmla="*/ 14723 w 16095"/>
                <a:gd name="T41" fmla="*/ 9311 h 10545"/>
                <a:gd name="T42" fmla="*/ 14474 w 16095"/>
                <a:gd name="T43" fmla="*/ 9461 h 10545"/>
                <a:gd name="T44" fmla="*/ 14186 w 16095"/>
                <a:gd name="T45" fmla="*/ 9535 h 10545"/>
                <a:gd name="T46" fmla="*/ 1859 w 16095"/>
                <a:gd name="T47" fmla="*/ 9529 h 10545"/>
                <a:gd name="T48" fmla="*/ 1576 w 16095"/>
                <a:gd name="T49" fmla="*/ 9441 h 10545"/>
                <a:gd name="T50" fmla="*/ 1336 w 16095"/>
                <a:gd name="T51" fmla="*/ 9280 h 10545"/>
                <a:gd name="T52" fmla="*/ 1152 w 16095"/>
                <a:gd name="T53" fmla="*/ 9057 h 10545"/>
                <a:gd name="T54" fmla="*/ 1038 w 16095"/>
                <a:gd name="T55" fmla="*/ 8786 h 10545"/>
                <a:gd name="T56" fmla="*/ 4945 w 16095"/>
                <a:gd name="T57" fmla="*/ 5587 h 10545"/>
                <a:gd name="T58" fmla="*/ 7271 w 16095"/>
                <a:gd name="T59" fmla="*/ 7318 h 10545"/>
                <a:gd name="T60" fmla="*/ 7435 w 16095"/>
                <a:gd name="T61" fmla="*/ 7403 h 10545"/>
                <a:gd name="T62" fmla="*/ 7605 w 16095"/>
                <a:gd name="T63" fmla="*/ 7466 h 10545"/>
                <a:gd name="T64" fmla="*/ 7780 w 16095"/>
                <a:gd name="T65" fmla="*/ 7509 h 10545"/>
                <a:gd name="T66" fmla="*/ 7958 w 16095"/>
                <a:gd name="T67" fmla="*/ 7530 h 10545"/>
                <a:gd name="T68" fmla="*/ 8137 w 16095"/>
                <a:gd name="T69" fmla="*/ 7530 h 10545"/>
                <a:gd name="T70" fmla="*/ 8315 w 16095"/>
                <a:gd name="T71" fmla="*/ 7509 h 10545"/>
                <a:gd name="T72" fmla="*/ 8490 w 16095"/>
                <a:gd name="T73" fmla="*/ 7466 h 10545"/>
                <a:gd name="T74" fmla="*/ 8660 w 16095"/>
                <a:gd name="T75" fmla="*/ 7403 h 10545"/>
                <a:gd name="T76" fmla="*/ 8823 w 16095"/>
                <a:gd name="T77" fmla="*/ 7318 h 10545"/>
                <a:gd name="T78" fmla="*/ 11150 w 16095"/>
                <a:gd name="T79" fmla="*/ 5587 h 10545"/>
                <a:gd name="T80" fmla="*/ 14083 w 16095"/>
                <a:gd name="T81" fmla="*/ 0 h 10545"/>
                <a:gd name="T82" fmla="*/ 1509 w 16095"/>
                <a:gd name="T83" fmla="*/ 63 h 10545"/>
                <a:gd name="T84" fmla="*/ 969 w 16095"/>
                <a:gd name="T85" fmla="*/ 291 h 10545"/>
                <a:gd name="T86" fmla="*/ 523 w 16095"/>
                <a:gd name="T87" fmla="*/ 658 h 10545"/>
                <a:gd name="T88" fmla="*/ 198 w 16095"/>
                <a:gd name="T89" fmla="*/ 1138 h 10545"/>
                <a:gd name="T90" fmla="*/ 23 w 16095"/>
                <a:gd name="T91" fmla="*/ 1702 h 10545"/>
                <a:gd name="T92" fmla="*/ 10 w 16095"/>
                <a:gd name="T93" fmla="*/ 8741 h 10545"/>
                <a:gd name="T94" fmla="*/ 158 w 16095"/>
                <a:gd name="T95" fmla="*/ 9318 h 10545"/>
                <a:gd name="T96" fmla="*/ 460 w 16095"/>
                <a:gd name="T97" fmla="*/ 9814 h 10545"/>
                <a:gd name="T98" fmla="*/ 887 w 16095"/>
                <a:gd name="T99" fmla="*/ 10202 h 10545"/>
                <a:gd name="T100" fmla="*/ 1413 w 16095"/>
                <a:gd name="T101" fmla="*/ 10455 h 10545"/>
                <a:gd name="T102" fmla="*/ 2012 w 16095"/>
                <a:gd name="T103" fmla="*/ 10545 h 10545"/>
                <a:gd name="T104" fmla="*/ 14586 w 16095"/>
                <a:gd name="T105" fmla="*/ 10482 h 10545"/>
                <a:gd name="T106" fmla="*/ 15126 w 16095"/>
                <a:gd name="T107" fmla="*/ 10254 h 10545"/>
                <a:gd name="T108" fmla="*/ 15572 w 16095"/>
                <a:gd name="T109" fmla="*/ 9886 h 10545"/>
                <a:gd name="T110" fmla="*/ 15897 w 16095"/>
                <a:gd name="T111" fmla="*/ 9407 h 10545"/>
                <a:gd name="T112" fmla="*/ 16072 w 16095"/>
                <a:gd name="T113" fmla="*/ 8842 h 10545"/>
                <a:gd name="T114" fmla="*/ 16085 w 16095"/>
                <a:gd name="T115" fmla="*/ 1803 h 10545"/>
                <a:gd name="T116" fmla="*/ 15937 w 16095"/>
                <a:gd name="T117" fmla="*/ 1227 h 10545"/>
                <a:gd name="T118" fmla="*/ 15635 w 16095"/>
                <a:gd name="T119" fmla="*/ 731 h 10545"/>
                <a:gd name="T120" fmla="*/ 15208 w 16095"/>
                <a:gd name="T121" fmla="*/ 343 h 10545"/>
                <a:gd name="T122" fmla="*/ 14682 w 16095"/>
                <a:gd name="T123" fmla="*/ 90 h 10545"/>
                <a:gd name="T124" fmla="*/ 14083 w 16095"/>
                <a:gd name="T125" fmla="*/ 0 h 10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95" h="10545">
                  <a:moveTo>
                    <a:pt x="8651" y="6830"/>
                  </a:moveTo>
                  <a:lnTo>
                    <a:pt x="8618" y="6853"/>
                  </a:lnTo>
                  <a:lnTo>
                    <a:pt x="8584" y="6876"/>
                  </a:lnTo>
                  <a:lnTo>
                    <a:pt x="8548" y="6897"/>
                  </a:lnTo>
                  <a:lnTo>
                    <a:pt x="8513" y="6917"/>
                  </a:lnTo>
                  <a:lnTo>
                    <a:pt x="8477" y="6935"/>
                  </a:lnTo>
                  <a:lnTo>
                    <a:pt x="8441" y="6951"/>
                  </a:lnTo>
                  <a:lnTo>
                    <a:pt x="8404" y="6966"/>
                  </a:lnTo>
                  <a:lnTo>
                    <a:pt x="8365" y="6980"/>
                  </a:lnTo>
                  <a:lnTo>
                    <a:pt x="8327" y="6992"/>
                  </a:lnTo>
                  <a:lnTo>
                    <a:pt x="8288" y="7002"/>
                  </a:lnTo>
                  <a:lnTo>
                    <a:pt x="8249" y="7011"/>
                  </a:lnTo>
                  <a:lnTo>
                    <a:pt x="8209" y="7018"/>
                  </a:lnTo>
                  <a:lnTo>
                    <a:pt x="8169" y="7023"/>
                  </a:lnTo>
                  <a:lnTo>
                    <a:pt x="8129" y="7027"/>
                  </a:lnTo>
                  <a:lnTo>
                    <a:pt x="8089" y="7030"/>
                  </a:lnTo>
                  <a:lnTo>
                    <a:pt x="8048" y="7031"/>
                  </a:lnTo>
                  <a:lnTo>
                    <a:pt x="8006" y="7030"/>
                  </a:lnTo>
                  <a:lnTo>
                    <a:pt x="7966" y="7027"/>
                  </a:lnTo>
                  <a:lnTo>
                    <a:pt x="7926" y="7023"/>
                  </a:lnTo>
                  <a:lnTo>
                    <a:pt x="7886" y="7018"/>
                  </a:lnTo>
                  <a:lnTo>
                    <a:pt x="7845" y="7011"/>
                  </a:lnTo>
                  <a:lnTo>
                    <a:pt x="7806" y="7002"/>
                  </a:lnTo>
                  <a:lnTo>
                    <a:pt x="7768" y="6992"/>
                  </a:lnTo>
                  <a:lnTo>
                    <a:pt x="7730" y="6980"/>
                  </a:lnTo>
                  <a:lnTo>
                    <a:pt x="7691" y="6966"/>
                  </a:lnTo>
                  <a:lnTo>
                    <a:pt x="7654" y="6951"/>
                  </a:lnTo>
                  <a:lnTo>
                    <a:pt x="7618" y="6935"/>
                  </a:lnTo>
                  <a:lnTo>
                    <a:pt x="7582" y="6917"/>
                  </a:lnTo>
                  <a:lnTo>
                    <a:pt x="7547" y="6897"/>
                  </a:lnTo>
                  <a:lnTo>
                    <a:pt x="7511" y="6876"/>
                  </a:lnTo>
                  <a:lnTo>
                    <a:pt x="7477" y="6853"/>
                  </a:lnTo>
                  <a:lnTo>
                    <a:pt x="7444" y="6830"/>
                  </a:lnTo>
                  <a:lnTo>
                    <a:pt x="5364" y="5273"/>
                  </a:lnTo>
                  <a:lnTo>
                    <a:pt x="4945" y="4958"/>
                  </a:lnTo>
                  <a:lnTo>
                    <a:pt x="1006" y="2010"/>
                  </a:lnTo>
                  <a:lnTo>
                    <a:pt x="1006" y="2009"/>
                  </a:lnTo>
                  <a:lnTo>
                    <a:pt x="1007" y="1957"/>
                  </a:lnTo>
                  <a:lnTo>
                    <a:pt x="1011" y="1906"/>
                  </a:lnTo>
                  <a:lnTo>
                    <a:pt x="1018" y="1856"/>
                  </a:lnTo>
                  <a:lnTo>
                    <a:pt x="1026" y="1807"/>
                  </a:lnTo>
                  <a:lnTo>
                    <a:pt x="1038" y="1758"/>
                  </a:lnTo>
                  <a:lnTo>
                    <a:pt x="1051" y="1710"/>
                  </a:lnTo>
                  <a:lnTo>
                    <a:pt x="1067" y="1663"/>
                  </a:lnTo>
                  <a:lnTo>
                    <a:pt x="1085" y="1618"/>
                  </a:lnTo>
                  <a:lnTo>
                    <a:pt x="1106" y="1574"/>
                  </a:lnTo>
                  <a:lnTo>
                    <a:pt x="1128" y="1531"/>
                  </a:lnTo>
                  <a:lnTo>
                    <a:pt x="1152" y="1488"/>
                  </a:lnTo>
                  <a:lnTo>
                    <a:pt x="1178" y="1447"/>
                  </a:lnTo>
                  <a:lnTo>
                    <a:pt x="1206" y="1408"/>
                  </a:lnTo>
                  <a:lnTo>
                    <a:pt x="1236" y="1370"/>
                  </a:lnTo>
                  <a:lnTo>
                    <a:pt x="1267" y="1334"/>
                  </a:lnTo>
                  <a:lnTo>
                    <a:pt x="1301" y="1299"/>
                  </a:lnTo>
                  <a:lnTo>
                    <a:pt x="1336" y="1265"/>
                  </a:lnTo>
                  <a:lnTo>
                    <a:pt x="1372" y="1234"/>
                  </a:lnTo>
                  <a:lnTo>
                    <a:pt x="1410" y="1204"/>
                  </a:lnTo>
                  <a:lnTo>
                    <a:pt x="1450" y="1176"/>
                  </a:lnTo>
                  <a:lnTo>
                    <a:pt x="1491" y="1150"/>
                  </a:lnTo>
                  <a:lnTo>
                    <a:pt x="1533" y="1126"/>
                  </a:lnTo>
                  <a:lnTo>
                    <a:pt x="1576" y="1104"/>
                  </a:lnTo>
                  <a:lnTo>
                    <a:pt x="1621" y="1084"/>
                  </a:lnTo>
                  <a:lnTo>
                    <a:pt x="1666" y="1066"/>
                  </a:lnTo>
                  <a:lnTo>
                    <a:pt x="1713" y="1049"/>
                  </a:lnTo>
                  <a:lnTo>
                    <a:pt x="1760" y="1036"/>
                  </a:lnTo>
                  <a:lnTo>
                    <a:pt x="1810" y="1024"/>
                  </a:lnTo>
                  <a:lnTo>
                    <a:pt x="1859" y="1016"/>
                  </a:lnTo>
                  <a:lnTo>
                    <a:pt x="1909" y="1009"/>
                  </a:lnTo>
                  <a:lnTo>
                    <a:pt x="1961" y="1005"/>
                  </a:lnTo>
                  <a:lnTo>
                    <a:pt x="2012" y="1004"/>
                  </a:lnTo>
                  <a:lnTo>
                    <a:pt x="14083" y="1004"/>
                  </a:lnTo>
                  <a:lnTo>
                    <a:pt x="14134" y="1005"/>
                  </a:lnTo>
                  <a:lnTo>
                    <a:pt x="14186" y="1009"/>
                  </a:lnTo>
                  <a:lnTo>
                    <a:pt x="14236" y="1016"/>
                  </a:lnTo>
                  <a:lnTo>
                    <a:pt x="14285" y="1024"/>
                  </a:lnTo>
                  <a:lnTo>
                    <a:pt x="14335" y="1036"/>
                  </a:lnTo>
                  <a:lnTo>
                    <a:pt x="14382" y="1049"/>
                  </a:lnTo>
                  <a:lnTo>
                    <a:pt x="14428" y="1066"/>
                  </a:lnTo>
                  <a:lnTo>
                    <a:pt x="14474" y="1084"/>
                  </a:lnTo>
                  <a:lnTo>
                    <a:pt x="14519" y="1104"/>
                  </a:lnTo>
                  <a:lnTo>
                    <a:pt x="14562" y="1126"/>
                  </a:lnTo>
                  <a:lnTo>
                    <a:pt x="14604" y="1150"/>
                  </a:lnTo>
                  <a:lnTo>
                    <a:pt x="14645" y="1176"/>
                  </a:lnTo>
                  <a:lnTo>
                    <a:pt x="14685" y="1204"/>
                  </a:lnTo>
                  <a:lnTo>
                    <a:pt x="14723" y="1234"/>
                  </a:lnTo>
                  <a:lnTo>
                    <a:pt x="14759" y="1265"/>
                  </a:lnTo>
                  <a:lnTo>
                    <a:pt x="14794" y="1299"/>
                  </a:lnTo>
                  <a:lnTo>
                    <a:pt x="14828" y="1334"/>
                  </a:lnTo>
                  <a:lnTo>
                    <a:pt x="14859" y="1370"/>
                  </a:lnTo>
                  <a:lnTo>
                    <a:pt x="14889" y="1408"/>
                  </a:lnTo>
                  <a:lnTo>
                    <a:pt x="14917" y="1447"/>
                  </a:lnTo>
                  <a:lnTo>
                    <a:pt x="14943" y="1488"/>
                  </a:lnTo>
                  <a:lnTo>
                    <a:pt x="14967" y="1531"/>
                  </a:lnTo>
                  <a:lnTo>
                    <a:pt x="14989" y="1574"/>
                  </a:lnTo>
                  <a:lnTo>
                    <a:pt x="15010" y="1618"/>
                  </a:lnTo>
                  <a:lnTo>
                    <a:pt x="15028" y="1663"/>
                  </a:lnTo>
                  <a:lnTo>
                    <a:pt x="15044" y="1710"/>
                  </a:lnTo>
                  <a:lnTo>
                    <a:pt x="15058" y="1758"/>
                  </a:lnTo>
                  <a:lnTo>
                    <a:pt x="15069" y="1807"/>
                  </a:lnTo>
                  <a:lnTo>
                    <a:pt x="15078" y="1856"/>
                  </a:lnTo>
                  <a:lnTo>
                    <a:pt x="15084" y="1906"/>
                  </a:lnTo>
                  <a:lnTo>
                    <a:pt x="15088" y="1957"/>
                  </a:lnTo>
                  <a:lnTo>
                    <a:pt x="15089" y="2009"/>
                  </a:lnTo>
                  <a:lnTo>
                    <a:pt x="8651" y="6830"/>
                  </a:lnTo>
                  <a:close/>
                  <a:moveTo>
                    <a:pt x="15089" y="7908"/>
                  </a:moveTo>
                  <a:lnTo>
                    <a:pt x="11569" y="5273"/>
                  </a:lnTo>
                  <a:lnTo>
                    <a:pt x="15089" y="2636"/>
                  </a:lnTo>
                  <a:lnTo>
                    <a:pt x="15089" y="7908"/>
                  </a:lnTo>
                  <a:close/>
                  <a:moveTo>
                    <a:pt x="15089" y="8535"/>
                  </a:moveTo>
                  <a:lnTo>
                    <a:pt x="15088" y="8588"/>
                  </a:lnTo>
                  <a:lnTo>
                    <a:pt x="15084" y="8639"/>
                  </a:lnTo>
                  <a:lnTo>
                    <a:pt x="15078" y="8689"/>
                  </a:lnTo>
                  <a:lnTo>
                    <a:pt x="15069" y="8738"/>
                  </a:lnTo>
                  <a:lnTo>
                    <a:pt x="15058" y="8786"/>
                  </a:lnTo>
                  <a:lnTo>
                    <a:pt x="15044" y="8835"/>
                  </a:lnTo>
                  <a:lnTo>
                    <a:pt x="15028" y="8881"/>
                  </a:lnTo>
                  <a:lnTo>
                    <a:pt x="15010" y="8927"/>
                  </a:lnTo>
                  <a:lnTo>
                    <a:pt x="14989" y="8971"/>
                  </a:lnTo>
                  <a:lnTo>
                    <a:pt x="14967" y="9014"/>
                  </a:lnTo>
                  <a:lnTo>
                    <a:pt x="14943" y="9057"/>
                  </a:lnTo>
                  <a:lnTo>
                    <a:pt x="14917" y="9097"/>
                  </a:lnTo>
                  <a:lnTo>
                    <a:pt x="14889" y="9137"/>
                  </a:lnTo>
                  <a:lnTo>
                    <a:pt x="14859" y="9174"/>
                  </a:lnTo>
                  <a:lnTo>
                    <a:pt x="14828" y="9211"/>
                  </a:lnTo>
                  <a:lnTo>
                    <a:pt x="14794" y="9246"/>
                  </a:lnTo>
                  <a:lnTo>
                    <a:pt x="14759" y="9280"/>
                  </a:lnTo>
                  <a:lnTo>
                    <a:pt x="14723" y="9311"/>
                  </a:lnTo>
                  <a:lnTo>
                    <a:pt x="14685" y="9341"/>
                  </a:lnTo>
                  <a:lnTo>
                    <a:pt x="14645" y="9369"/>
                  </a:lnTo>
                  <a:lnTo>
                    <a:pt x="14604" y="9395"/>
                  </a:lnTo>
                  <a:lnTo>
                    <a:pt x="14562" y="9419"/>
                  </a:lnTo>
                  <a:lnTo>
                    <a:pt x="14519" y="9441"/>
                  </a:lnTo>
                  <a:lnTo>
                    <a:pt x="14474" y="9461"/>
                  </a:lnTo>
                  <a:lnTo>
                    <a:pt x="14428" y="9479"/>
                  </a:lnTo>
                  <a:lnTo>
                    <a:pt x="14382" y="9496"/>
                  </a:lnTo>
                  <a:lnTo>
                    <a:pt x="14335" y="9509"/>
                  </a:lnTo>
                  <a:lnTo>
                    <a:pt x="14285" y="9520"/>
                  </a:lnTo>
                  <a:lnTo>
                    <a:pt x="14236" y="9529"/>
                  </a:lnTo>
                  <a:lnTo>
                    <a:pt x="14186" y="9535"/>
                  </a:lnTo>
                  <a:lnTo>
                    <a:pt x="14134" y="9539"/>
                  </a:lnTo>
                  <a:lnTo>
                    <a:pt x="14083" y="9540"/>
                  </a:lnTo>
                  <a:lnTo>
                    <a:pt x="2012" y="9540"/>
                  </a:lnTo>
                  <a:lnTo>
                    <a:pt x="1961" y="9539"/>
                  </a:lnTo>
                  <a:lnTo>
                    <a:pt x="1909" y="9535"/>
                  </a:lnTo>
                  <a:lnTo>
                    <a:pt x="1859" y="9529"/>
                  </a:lnTo>
                  <a:lnTo>
                    <a:pt x="1810" y="9520"/>
                  </a:lnTo>
                  <a:lnTo>
                    <a:pt x="1760" y="9509"/>
                  </a:lnTo>
                  <a:lnTo>
                    <a:pt x="1713" y="9496"/>
                  </a:lnTo>
                  <a:lnTo>
                    <a:pt x="1666" y="9479"/>
                  </a:lnTo>
                  <a:lnTo>
                    <a:pt x="1621" y="9461"/>
                  </a:lnTo>
                  <a:lnTo>
                    <a:pt x="1576" y="9441"/>
                  </a:lnTo>
                  <a:lnTo>
                    <a:pt x="1533" y="9419"/>
                  </a:lnTo>
                  <a:lnTo>
                    <a:pt x="1491" y="9395"/>
                  </a:lnTo>
                  <a:lnTo>
                    <a:pt x="1450" y="9369"/>
                  </a:lnTo>
                  <a:lnTo>
                    <a:pt x="1410" y="9341"/>
                  </a:lnTo>
                  <a:lnTo>
                    <a:pt x="1372" y="9311"/>
                  </a:lnTo>
                  <a:lnTo>
                    <a:pt x="1336" y="9280"/>
                  </a:lnTo>
                  <a:lnTo>
                    <a:pt x="1301" y="9246"/>
                  </a:lnTo>
                  <a:lnTo>
                    <a:pt x="1267" y="9211"/>
                  </a:lnTo>
                  <a:lnTo>
                    <a:pt x="1236" y="9174"/>
                  </a:lnTo>
                  <a:lnTo>
                    <a:pt x="1206" y="9137"/>
                  </a:lnTo>
                  <a:lnTo>
                    <a:pt x="1178" y="9097"/>
                  </a:lnTo>
                  <a:lnTo>
                    <a:pt x="1152" y="9057"/>
                  </a:lnTo>
                  <a:lnTo>
                    <a:pt x="1128" y="9014"/>
                  </a:lnTo>
                  <a:lnTo>
                    <a:pt x="1106" y="8971"/>
                  </a:lnTo>
                  <a:lnTo>
                    <a:pt x="1085" y="8927"/>
                  </a:lnTo>
                  <a:lnTo>
                    <a:pt x="1067" y="8881"/>
                  </a:lnTo>
                  <a:lnTo>
                    <a:pt x="1051" y="8835"/>
                  </a:lnTo>
                  <a:lnTo>
                    <a:pt x="1038" y="8786"/>
                  </a:lnTo>
                  <a:lnTo>
                    <a:pt x="1026" y="8738"/>
                  </a:lnTo>
                  <a:lnTo>
                    <a:pt x="1018" y="8689"/>
                  </a:lnTo>
                  <a:lnTo>
                    <a:pt x="1011" y="8639"/>
                  </a:lnTo>
                  <a:lnTo>
                    <a:pt x="1007" y="8588"/>
                  </a:lnTo>
                  <a:lnTo>
                    <a:pt x="1006" y="8535"/>
                  </a:lnTo>
                  <a:lnTo>
                    <a:pt x="4945" y="5587"/>
                  </a:lnTo>
                  <a:lnTo>
                    <a:pt x="7142" y="7232"/>
                  </a:lnTo>
                  <a:lnTo>
                    <a:pt x="7167" y="7250"/>
                  </a:lnTo>
                  <a:lnTo>
                    <a:pt x="7193" y="7268"/>
                  </a:lnTo>
                  <a:lnTo>
                    <a:pt x="7219" y="7285"/>
                  </a:lnTo>
                  <a:lnTo>
                    <a:pt x="7245" y="7302"/>
                  </a:lnTo>
                  <a:lnTo>
                    <a:pt x="7271" y="7318"/>
                  </a:lnTo>
                  <a:lnTo>
                    <a:pt x="7298" y="7333"/>
                  </a:lnTo>
                  <a:lnTo>
                    <a:pt x="7325" y="7348"/>
                  </a:lnTo>
                  <a:lnTo>
                    <a:pt x="7352" y="7363"/>
                  </a:lnTo>
                  <a:lnTo>
                    <a:pt x="7380" y="7376"/>
                  </a:lnTo>
                  <a:lnTo>
                    <a:pt x="7407" y="7391"/>
                  </a:lnTo>
                  <a:lnTo>
                    <a:pt x="7435" y="7403"/>
                  </a:lnTo>
                  <a:lnTo>
                    <a:pt x="7462" y="7415"/>
                  </a:lnTo>
                  <a:lnTo>
                    <a:pt x="7490" y="7427"/>
                  </a:lnTo>
                  <a:lnTo>
                    <a:pt x="7518" y="7437"/>
                  </a:lnTo>
                  <a:lnTo>
                    <a:pt x="7548" y="7448"/>
                  </a:lnTo>
                  <a:lnTo>
                    <a:pt x="7576" y="7457"/>
                  </a:lnTo>
                  <a:lnTo>
                    <a:pt x="7605" y="7466"/>
                  </a:lnTo>
                  <a:lnTo>
                    <a:pt x="7633" y="7475"/>
                  </a:lnTo>
                  <a:lnTo>
                    <a:pt x="7662" y="7483"/>
                  </a:lnTo>
                  <a:lnTo>
                    <a:pt x="7691" y="7490"/>
                  </a:lnTo>
                  <a:lnTo>
                    <a:pt x="7721" y="7497"/>
                  </a:lnTo>
                  <a:lnTo>
                    <a:pt x="7750" y="7503"/>
                  </a:lnTo>
                  <a:lnTo>
                    <a:pt x="7780" y="7509"/>
                  </a:lnTo>
                  <a:lnTo>
                    <a:pt x="7809" y="7514"/>
                  </a:lnTo>
                  <a:lnTo>
                    <a:pt x="7839" y="7518"/>
                  </a:lnTo>
                  <a:lnTo>
                    <a:pt x="7868" y="7522"/>
                  </a:lnTo>
                  <a:lnTo>
                    <a:pt x="7899" y="7525"/>
                  </a:lnTo>
                  <a:lnTo>
                    <a:pt x="7928" y="7528"/>
                  </a:lnTo>
                  <a:lnTo>
                    <a:pt x="7958" y="7530"/>
                  </a:lnTo>
                  <a:lnTo>
                    <a:pt x="7988" y="7531"/>
                  </a:lnTo>
                  <a:lnTo>
                    <a:pt x="8017" y="7532"/>
                  </a:lnTo>
                  <a:lnTo>
                    <a:pt x="8048" y="7532"/>
                  </a:lnTo>
                  <a:lnTo>
                    <a:pt x="8078" y="7532"/>
                  </a:lnTo>
                  <a:lnTo>
                    <a:pt x="8107" y="7531"/>
                  </a:lnTo>
                  <a:lnTo>
                    <a:pt x="8137" y="7530"/>
                  </a:lnTo>
                  <a:lnTo>
                    <a:pt x="8167" y="7528"/>
                  </a:lnTo>
                  <a:lnTo>
                    <a:pt x="8196" y="7525"/>
                  </a:lnTo>
                  <a:lnTo>
                    <a:pt x="8227" y="7522"/>
                  </a:lnTo>
                  <a:lnTo>
                    <a:pt x="8256" y="7518"/>
                  </a:lnTo>
                  <a:lnTo>
                    <a:pt x="8286" y="7514"/>
                  </a:lnTo>
                  <a:lnTo>
                    <a:pt x="8315" y="7509"/>
                  </a:lnTo>
                  <a:lnTo>
                    <a:pt x="8344" y="7503"/>
                  </a:lnTo>
                  <a:lnTo>
                    <a:pt x="8374" y="7497"/>
                  </a:lnTo>
                  <a:lnTo>
                    <a:pt x="8404" y="7490"/>
                  </a:lnTo>
                  <a:lnTo>
                    <a:pt x="8433" y="7483"/>
                  </a:lnTo>
                  <a:lnTo>
                    <a:pt x="8461" y="7475"/>
                  </a:lnTo>
                  <a:lnTo>
                    <a:pt x="8490" y="7466"/>
                  </a:lnTo>
                  <a:lnTo>
                    <a:pt x="8519" y="7457"/>
                  </a:lnTo>
                  <a:lnTo>
                    <a:pt x="8547" y="7448"/>
                  </a:lnTo>
                  <a:lnTo>
                    <a:pt x="8576" y="7437"/>
                  </a:lnTo>
                  <a:lnTo>
                    <a:pt x="8605" y="7427"/>
                  </a:lnTo>
                  <a:lnTo>
                    <a:pt x="8632" y="7415"/>
                  </a:lnTo>
                  <a:lnTo>
                    <a:pt x="8660" y="7403"/>
                  </a:lnTo>
                  <a:lnTo>
                    <a:pt x="8688" y="7391"/>
                  </a:lnTo>
                  <a:lnTo>
                    <a:pt x="8715" y="7376"/>
                  </a:lnTo>
                  <a:lnTo>
                    <a:pt x="8743" y="7363"/>
                  </a:lnTo>
                  <a:lnTo>
                    <a:pt x="8770" y="7348"/>
                  </a:lnTo>
                  <a:lnTo>
                    <a:pt x="8797" y="7333"/>
                  </a:lnTo>
                  <a:lnTo>
                    <a:pt x="8823" y="7318"/>
                  </a:lnTo>
                  <a:lnTo>
                    <a:pt x="8850" y="7302"/>
                  </a:lnTo>
                  <a:lnTo>
                    <a:pt x="8876" y="7285"/>
                  </a:lnTo>
                  <a:lnTo>
                    <a:pt x="8902" y="7268"/>
                  </a:lnTo>
                  <a:lnTo>
                    <a:pt x="8928" y="7250"/>
                  </a:lnTo>
                  <a:lnTo>
                    <a:pt x="8953" y="7232"/>
                  </a:lnTo>
                  <a:lnTo>
                    <a:pt x="11150" y="5587"/>
                  </a:lnTo>
                  <a:lnTo>
                    <a:pt x="15089" y="8535"/>
                  </a:lnTo>
                  <a:close/>
                  <a:moveTo>
                    <a:pt x="1006" y="2636"/>
                  </a:moveTo>
                  <a:lnTo>
                    <a:pt x="4527" y="5273"/>
                  </a:lnTo>
                  <a:lnTo>
                    <a:pt x="1006" y="7908"/>
                  </a:lnTo>
                  <a:lnTo>
                    <a:pt x="1006" y="2636"/>
                  </a:lnTo>
                  <a:close/>
                  <a:moveTo>
                    <a:pt x="14083" y="0"/>
                  </a:moveTo>
                  <a:lnTo>
                    <a:pt x="2012" y="0"/>
                  </a:lnTo>
                  <a:lnTo>
                    <a:pt x="1908" y="3"/>
                  </a:lnTo>
                  <a:lnTo>
                    <a:pt x="1806" y="10"/>
                  </a:lnTo>
                  <a:lnTo>
                    <a:pt x="1705" y="23"/>
                  </a:lnTo>
                  <a:lnTo>
                    <a:pt x="1606" y="41"/>
                  </a:lnTo>
                  <a:lnTo>
                    <a:pt x="1509" y="63"/>
                  </a:lnTo>
                  <a:lnTo>
                    <a:pt x="1413" y="90"/>
                  </a:lnTo>
                  <a:lnTo>
                    <a:pt x="1320" y="122"/>
                  </a:lnTo>
                  <a:lnTo>
                    <a:pt x="1229" y="158"/>
                  </a:lnTo>
                  <a:lnTo>
                    <a:pt x="1140" y="198"/>
                  </a:lnTo>
                  <a:lnTo>
                    <a:pt x="1053" y="242"/>
                  </a:lnTo>
                  <a:lnTo>
                    <a:pt x="969" y="291"/>
                  </a:lnTo>
                  <a:lnTo>
                    <a:pt x="887" y="343"/>
                  </a:lnTo>
                  <a:lnTo>
                    <a:pt x="808" y="399"/>
                  </a:lnTo>
                  <a:lnTo>
                    <a:pt x="732" y="459"/>
                  </a:lnTo>
                  <a:lnTo>
                    <a:pt x="659" y="522"/>
                  </a:lnTo>
                  <a:lnTo>
                    <a:pt x="589" y="589"/>
                  </a:lnTo>
                  <a:lnTo>
                    <a:pt x="523" y="658"/>
                  </a:lnTo>
                  <a:lnTo>
                    <a:pt x="460" y="731"/>
                  </a:lnTo>
                  <a:lnTo>
                    <a:pt x="399" y="806"/>
                  </a:lnTo>
                  <a:lnTo>
                    <a:pt x="344" y="886"/>
                  </a:lnTo>
                  <a:lnTo>
                    <a:pt x="292" y="967"/>
                  </a:lnTo>
                  <a:lnTo>
                    <a:pt x="242" y="1051"/>
                  </a:lnTo>
                  <a:lnTo>
                    <a:pt x="198" y="1138"/>
                  </a:lnTo>
                  <a:lnTo>
                    <a:pt x="158" y="1227"/>
                  </a:lnTo>
                  <a:lnTo>
                    <a:pt x="122" y="1318"/>
                  </a:lnTo>
                  <a:lnTo>
                    <a:pt x="91" y="1411"/>
                  </a:lnTo>
                  <a:lnTo>
                    <a:pt x="63" y="1506"/>
                  </a:lnTo>
                  <a:lnTo>
                    <a:pt x="41" y="1604"/>
                  </a:lnTo>
                  <a:lnTo>
                    <a:pt x="23" y="1702"/>
                  </a:lnTo>
                  <a:lnTo>
                    <a:pt x="10" y="1803"/>
                  </a:lnTo>
                  <a:lnTo>
                    <a:pt x="3" y="1905"/>
                  </a:lnTo>
                  <a:lnTo>
                    <a:pt x="0" y="2009"/>
                  </a:lnTo>
                  <a:lnTo>
                    <a:pt x="0" y="8535"/>
                  </a:lnTo>
                  <a:lnTo>
                    <a:pt x="3" y="8639"/>
                  </a:lnTo>
                  <a:lnTo>
                    <a:pt x="10" y="8741"/>
                  </a:lnTo>
                  <a:lnTo>
                    <a:pt x="23" y="8842"/>
                  </a:lnTo>
                  <a:lnTo>
                    <a:pt x="41" y="8941"/>
                  </a:lnTo>
                  <a:lnTo>
                    <a:pt x="63" y="9038"/>
                  </a:lnTo>
                  <a:lnTo>
                    <a:pt x="91" y="9133"/>
                  </a:lnTo>
                  <a:lnTo>
                    <a:pt x="122" y="9226"/>
                  </a:lnTo>
                  <a:lnTo>
                    <a:pt x="158" y="9318"/>
                  </a:lnTo>
                  <a:lnTo>
                    <a:pt x="198" y="9407"/>
                  </a:lnTo>
                  <a:lnTo>
                    <a:pt x="242" y="9494"/>
                  </a:lnTo>
                  <a:lnTo>
                    <a:pt x="292" y="9578"/>
                  </a:lnTo>
                  <a:lnTo>
                    <a:pt x="344" y="9659"/>
                  </a:lnTo>
                  <a:lnTo>
                    <a:pt x="399" y="9738"/>
                  </a:lnTo>
                  <a:lnTo>
                    <a:pt x="460" y="9814"/>
                  </a:lnTo>
                  <a:lnTo>
                    <a:pt x="523" y="9886"/>
                  </a:lnTo>
                  <a:lnTo>
                    <a:pt x="589" y="9956"/>
                  </a:lnTo>
                  <a:lnTo>
                    <a:pt x="659" y="10023"/>
                  </a:lnTo>
                  <a:lnTo>
                    <a:pt x="732" y="10086"/>
                  </a:lnTo>
                  <a:lnTo>
                    <a:pt x="808" y="10145"/>
                  </a:lnTo>
                  <a:lnTo>
                    <a:pt x="887" y="10202"/>
                  </a:lnTo>
                  <a:lnTo>
                    <a:pt x="969" y="10254"/>
                  </a:lnTo>
                  <a:lnTo>
                    <a:pt x="1053" y="10303"/>
                  </a:lnTo>
                  <a:lnTo>
                    <a:pt x="1140" y="10347"/>
                  </a:lnTo>
                  <a:lnTo>
                    <a:pt x="1229" y="10387"/>
                  </a:lnTo>
                  <a:lnTo>
                    <a:pt x="1320" y="10423"/>
                  </a:lnTo>
                  <a:lnTo>
                    <a:pt x="1413" y="10455"/>
                  </a:lnTo>
                  <a:lnTo>
                    <a:pt x="1509" y="10482"/>
                  </a:lnTo>
                  <a:lnTo>
                    <a:pt x="1606" y="10504"/>
                  </a:lnTo>
                  <a:lnTo>
                    <a:pt x="1705" y="10522"/>
                  </a:lnTo>
                  <a:lnTo>
                    <a:pt x="1806" y="10535"/>
                  </a:lnTo>
                  <a:lnTo>
                    <a:pt x="1908" y="10542"/>
                  </a:lnTo>
                  <a:lnTo>
                    <a:pt x="2012" y="10545"/>
                  </a:lnTo>
                  <a:lnTo>
                    <a:pt x="14083" y="10545"/>
                  </a:lnTo>
                  <a:lnTo>
                    <a:pt x="14187" y="10542"/>
                  </a:lnTo>
                  <a:lnTo>
                    <a:pt x="14289" y="10535"/>
                  </a:lnTo>
                  <a:lnTo>
                    <a:pt x="14390" y="10522"/>
                  </a:lnTo>
                  <a:lnTo>
                    <a:pt x="14489" y="10504"/>
                  </a:lnTo>
                  <a:lnTo>
                    <a:pt x="14586" y="10482"/>
                  </a:lnTo>
                  <a:lnTo>
                    <a:pt x="14682" y="10455"/>
                  </a:lnTo>
                  <a:lnTo>
                    <a:pt x="14775" y="10423"/>
                  </a:lnTo>
                  <a:lnTo>
                    <a:pt x="14867" y="10387"/>
                  </a:lnTo>
                  <a:lnTo>
                    <a:pt x="14955" y="10347"/>
                  </a:lnTo>
                  <a:lnTo>
                    <a:pt x="15042" y="10303"/>
                  </a:lnTo>
                  <a:lnTo>
                    <a:pt x="15126" y="10254"/>
                  </a:lnTo>
                  <a:lnTo>
                    <a:pt x="15208" y="10202"/>
                  </a:lnTo>
                  <a:lnTo>
                    <a:pt x="15287" y="10145"/>
                  </a:lnTo>
                  <a:lnTo>
                    <a:pt x="15363" y="10086"/>
                  </a:lnTo>
                  <a:lnTo>
                    <a:pt x="15436" y="10023"/>
                  </a:lnTo>
                  <a:lnTo>
                    <a:pt x="15506" y="9956"/>
                  </a:lnTo>
                  <a:lnTo>
                    <a:pt x="15572" y="9886"/>
                  </a:lnTo>
                  <a:lnTo>
                    <a:pt x="15635" y="9814"/>
                  </a:lnTo>
                  <a:lnTo>
                    <a:pt x="15696" y="9738"/>
                  </a:lnTo>
                  <a:lnTo>
                    <a:pt x="15751" y="9659"/>
                  </a:lnTo>
                  <a:lnTo>
                    <a:pt x="15803" y="9578"/>
                  </a:lnTo>
                  <a:lnTo>
                    <a:pt x="15853" y="9494"/>
                  </a:lnTo>
                  <a:lnTo>
                    <a:pt x="15897" y="9407"/>
                  </a:lnTo>
                  <a:lnTo>
                    <a:pt x="15937" y="9318"/>
                  </a:lnTo>
                  <a:lnTo>
                    <a:pt x="15973" y="9226"/>
                  </a:lnTo>
                  <a:lnTo>
                    <a:pt x="16004" y="9133"/>
                  </a:lnTo>
                  <a:lnTo>
                    <a:pt x="16032" y="9038"/>
                  </a:lnTo>
                  <a:lnTo>
                    <a:pt x="16054" y="8941"/>
                  </a:lnTo>
                  <a:lnTo>
                    <a:pt x="16072" y="8842"/>
                  </a:lnTo>
                  <a:lnTo>
                    <a:pt x="16085" y="8741"/>
                  </a:lnTo>
                  <a:lnTo>
                    <a:pt x="16092" y="8639"/>
                  </a:lnTo>
                  <a:lnTo>
                    <a:pt x="16095" y="8535"/>
                  </a:lnTo>
                  <a:lnTo>
                    <a:pt x="16095" y="2009"/>
                  </a:lnTo>
                  <a:lnTo>
                    <a:pt x="16092" y="1905"/>
                  </a:lnTo>
                  <a:lnTo>
                    <a:pt x="16085" y="1803"/>
                  </a:lnTo>
                  <a:lnTo>
                    <a:pt x="16072" y="1702"/>
                  </a:lnTo>
                  <a:lnTo>
                    <a:pt x="16054" y="1604"/>
                  </a:lnTo>
                  <a:lnTo>
                    <a:pt x="16032" y="1506"/>
                  </a:lnTo>
                  <a:lnTo>
                    <a:pt x="16004" y="1411"/>
                  </a:lnTo>
                  <a:lnTo>
                    <a:pt x="15973" y="1318"/>
                  </a:lnTo>
                  <a:lnTo>
                    <a:pt x="15937" y="1227"/>
                  </a:lnTo>
                  <a:lnTo>
                    <a:pt x="15897" y="1138"/>
                  </a:lnTo>
                  <a:lnTo>
                    <a:pt x="15853" y="1051"/>
                  </a:lnTo>
                  <a:lnTo>
                    <a:pt x="15803" y="967"/>
                  </a:lnTo>
                  <a:lnTo>
                    <a:pt x="15751" y="886"/>
                  </a:lnTo>
                  <a:lnTo>
                    <a:pt x="15696" y="806"/>
                  </a:lnTo>
                  <a:lnTo>
                    <a:pt x="15635" y="731"/>
                  </a:lnTo>
                  <a:lnTo>
                    <a:pt x="15572" y="658"/>
                  </a:lnTo>
                  <a:lnTo>
                    <a:pt x="15506" y="589"/>
                  </a:lnTo>
                  <a:lnTo>
                    <a:pt x="15436" y="522"/>
                  </a:lnTo>
                  <a:lnTo>
                    <a:pt x="15363" y="459"/>
                  </a:lnTo>
                  <a:lnTo>
                    <a:pt x="15287" y="399"/>
                  </a:lnTo>
                  <a:lnTo>
                    <a:pt x="15208" y="343"/>
                  </a:lnTo>
                  <a:lnTo>
                    <a:pt x="15126" y="291"/>
                  </a:lnTo>
                  <a:lnTo>
                    <a:pt x="15042" y="242"/>
                  </a:lnTo>
                  <a:lnTo>
                    <a:pt x="14955" y="198"/>
                  </a:lnTo>
                  <a:lnTo>
                    <a:pt x="14867" y="158"/>
                  </a:lnTo>
                  <a:lnTo>
                    <a:pt x="14775" y="122"/>
                  </a:lnTo>
                  <a:lnTo>
                    <a:pt x="14682" y="90"/>
                  </a:lnTo>
                  <a:lnTo>
                    <a:pt x="14586" y="63"/>
                  </a:lnTo>
                  <a:lnTo>
                    <a:pt x="14489" y="41"/>
                  </a:lnTo>
                  <a:lnTo>
                    <a:pt x="14390" y="23"/>
                  </a:lnTo>
                  <a:lnTo>
                    <a:pt x="14289" y="10"/>
                  </a:lnTo>
                  <a:lnTo>
                    <a:pt x="14187" y="3"/>
                  </a:lnTo>
                  <a:lnTo>
                    <a:pt x="1408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409" name="iSľidê">
              <a:extLst>
                <a:ext uri="{FF2B5EF4-FFF2-40B4-BE49-F238E27FC236}">
                  <a16:creationId xmlns:a16="http://schemas.microsoft.com/office/drawing/2014/main" id="{B368D4CB-00E1-4B18-BF02-4E26F8EA481B}"/>
                </a:ext>
              </a:extLst>
            </p:cNvPr>
            <p:cNvSpPr/>
            <p:nvPr/>
          </p:nvSpPr>
          <p:spPr bwMode="auto">
            <a:xfrm>
              <a:off x="11077917" y="494925"/>
              <a:ext cx="323916" cy="345350"/>
            </a:xfrm>
            <a:custGeom>
              <a:avLst/>
              <a:gdLst>
                <a:gd name="T0" fmla="*/ 14069 w 15096"/>
                <a:gd name="T1" fmla="*/ 14285 h 16095"/>
                <a:gd name="T2" fmla="*/ 13990 w 15096"/>
                <a:gd name="T3" fmla="*/ 14519 h 16095"/>
                <a:gd name="T4" fmla="*/ 13859 w 15096"/>
                <a:gd name="T5" fmla="*/ 14723 h 16095"/>
                <a:gd name="T6" fmla="*/ 13685 w 15096"/>
                <a:gd name="T7" fmla="*/ 14889 h 16095"/>
                <a:gd name="T8" fmla="*/ 13475 w 15096"/>
                <a:gd name="T9" fmla="*/ 15010 h 16095"/>
                <a:gd name="T10" fmla="*/ 13236 w 15096"/>
                <a:gd name="T11" fmla="*/ 15077 h 16095"/>
                <a:gd name="T12" fmla="*/ 1961 w 15096"/>
                <a:gd name="T13" fmla="*/ 15088 h 16095"/>
                <a:gd name="T14" fmla="*/ 1714 w 15096"/>
                <a:gd name="T15" fmla="*/ 15044 h 16095"/>
                <a:gd name="T16" fmla="*/ 1491 w 15096"/>
                <a:gd name="T17" fmla="*/ 14943 h 16095"/>
                <a:gd name="T18" fmla="*/ 1301 w 15096"/>
                <a:gd name="T19" fmla="*/ 14794 h 16095"/>
                <a:gd name="T20" fmla="*/ 1152 w 15096"/>
                <a:gd name="T21" fmla="*/ 14604 h 16095"/>
                <a:gd name="T22" fmla="*/ 1052 w 15096"/>
                <a:gd name="T23" fmla="*/ 14382 h 16095"/>
                <a:gd name="T24" fmla="*/ 1007 w 15096"/>
                <a:gd name="T25" fmla="*/ 14134 h 16095"/>
                <a:gd name="T26" fmla="*/ 1018 w 15096"/>
                <a:gd name="T27" fmla="*/ 1859 h 16095"/>
                <a:gd name="T28" fmla="*/ 1086 w 15096"/>
                <a:gd name="T29" fmla="*/ 1621 h 16095"/>
                <a:gd name="T30" fmla="*/ 1207 w 15096"/>
                <a:gd name="T31" fmla="*/ 1410 h 16095"/>
                <a:gd name="T32" fmla="*/ 1373 w 15096"/>
                <a:gd name="T33" fmla="*/ 1236 h 16095"/>
                <a:gd name="T34" fmla="*/ 1577 w 15096"/>
                <a:gd name="T35" fmla="*/ 1106 h 16095"/>
                <a:gd name="T36" fmla="*/ 1811 w 15096"/>
                <a:gd name="T37" fmla="*/ 1026 h 16095"/>
                <a:gd name="T38" fmla="*/ 13083 w 15096"/>
                <a:gd name="T39" fmla="*/ 1006 h 16095"/>
                <a:gd name="T40" fmla="*/ 13335 w 15096"/>
                <a:gd name="T41" fmla="*/ 1038 h 16095"/>
                <a:gd name="T42" fmla="*/ 13562 w 15096"/>
                <a:gd name="T43" fmla="*/ 1128 h 16095"/>
                <a:gd name="T44" fmla="*/ 13760 w 15096"/>
                <a:gd name="T45" fmla="*/ 1267 h 16095"/>
                <a:gd name="T46" fmla="*/ 13918 w 15096"/>
                <a:gd name="T47" fmla="*/ 1450 h 16095"/>
                <a:gd name="T48" fmla="*/ 14028 w 15096"/>
                <a:gd name="T49" fmla="*/ 1667 h 16095"/>
                <a:gd name="T50" fmla="*/ 14085 w 15096"/>
                <a:gd name="T51" fmla="*/ 1909 h 16095"/>
                <a:gd name="T52" fmla="*/ 2013 w 15096"/>
                <a:gd name="T53" fmla="*/ 0 h 16095"/>
                <a:gd name="T54" fmla="*/ 1510 w 15096"/>
                <a:gd name="T55" fmla="*/ 63 h 16095"/>
                <a:gd name="T56" fmla="*/ 1054 w 15096"/>
                <a:gd name="T57" fmla="*/ 242 h 16095"/>
                <a:gd name="T58" fmla="*/ 659 w 15096"/>
                <a:gd name="T59" fmla="*/ 523 h 16095"/>
                <a:gd name="T60" fmla="*/ 344 w 15096"/>
                <a:gd name="T61" fmla="*/ 887 h 16095"/>
                <a:gd name="T62" fmla="*/ 122 w 15096"/>
                <a:gd name="T63" fmla="*/ 1320 h 16095"/>
                <a:gd name="T64" fmla="*/ 10 w 15096"/>
                <a:gd name="T65" fmla="*/ 1807 h 16095"/>
                <a:gd name="T66" fmla="*/ 10 w 15096"/>
                <a:gd name="T67" fmla="*/ 14289 h 16095"/>
                <a:gd name="T68" fmla="*/ 122 w 15096"/>
                <a:gd name="T69" fmla="*/ 14775 h 16095"/>
                <a:gd name="T70" fmla="*/ 344 w 15096"/>
                <a:gd name="T71" fmla="*/ 15208 h 16095"/>
                <a:gd name="T72" fmla="*/ 659 w 15096"/>
                <a:gd name="T73" fmla="*/ 15572 h 16095"/>
                <a:gd name="T74" fmla="*/ 1054 w 15096"/>
                <a:gd name="T75" fmla="*/ 15853 h 16095"/>
                <a:gd name="T76" fmla="*/ 1510 w 15096"/>
                <a:gd name="T77" fmla="*/ 16032 h 16095"/>
                <a:gd name="T78" fmla="*/ 2013 w 15096"/>
                <a:gd name="T79" fmla="*/ 16095 h 16095"/>
                <a:gd name="T80" fmla="*/ 13489 w 15096"/>
                <a:gd name="T81" fmla="*/ 16054 h 16095"/>
                <a:gd name="T82" fmla="*/ 13956 w 15096"/>
                <a:gd name="T83" fmla="*/ 15897 h 16095"/>
                <a:gd name="T84" fmla="*/ 14363 w 15096"/>
                <a:gd name="T85" fmla="*/ 15635 h 16095"/>
                <a:gd name="T86" fmla="*/ 14696 w 15096"/>
                <a:gd name="T87" fmla="*/ 15287 h 16095"/>
                <a:gd name="T88" fmla="*/ 14938 w 15096"/>
                <a:gd name="T89" fmla="*/ 14867 h 16095"/>
                <a:gd name="T90" fmla="*/ 15073 w 15096"/>
                <a:gd name="T91" fmla="*/ 14390 h 16095"/>
                <a:gd name="T92" fmla="*/ 15093 w 15096"/>
                <a:gd name="T93" fmla="*/ 1908 h 16095"/>
                <a:gd name="T94" fmla="*/ 15005 w 15096"/>
                <a:gd name="T95" fmla="*/ 1413 h 16095"/>
                <a:gd name="T96" fmla="*/ 14804 w 15096"/>
                <a:gd name="T97" fmla="*/ 969 h 16095"/>
                <a:gd name="T98" fmla="*/ 14506 w 15096"/>
                <a:gd name="T99" fmla="*/ 589 h 16095"/>
                <a:gd name="T100" fmla="*/ 14127 w 15096"/>
                <a:gd name="T101" fmla="*/ 292 h 16095"/>
                <a:gd name="T102" fmla="*/ 13682 w 15096"/>
                <a:gd name="T103" fmla="*/ 91 h 16095"/>
                <a:gd name="T104" fmla="*/ 13187 w 15096"/>
                <a:gd name="T105" fmla="*/ 3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096" h="16095">
                  <a:moveTo>
                    <a:pt x="14090" y="14083"/>
                  </a:moveTo>
                  <a:lnTo>
                    <a:pt x="14089" y="14134"/>
                  </a:lnTo>
                  <a:lnTo>
                    <a:pt x="14085" y="14186"/>
                  </a:lnTo>
                  <a:lnTo>
                    <a:pt x="14079" y="14236"/>
                  </a:lnTo>
                  <a:lnTo>
                    <a:pt x="14069" y="14285"/>
                  </a:lnTo>
                  <a:lnTo>
                    <a:pt x="14058" y="14334"/>
                  </a:lnTo>
                  <a:lnTo>
                    <a:pt x="14044" y="14382"/>
                  </a:lnTo>
                  <a:lnTo>
                    <a:pt x="14028" y="14428"/>
                  </a:lnTo>
                  <a:lnTo>
                    <a:pt x="14010" y="14474"/>
                  </a:lnTo>
                  <a:lnTo>
                    <a:pt x="13990" y="14519"/>
                  </a:lnTo>
                  <a:lnTo>
                    <a:pt x="13968" y="14562"/>
                  </a:lnTo>
                  <a:lnTo>
                    <a:pt x="13944" y="14604"/>
                  </a:lnTo>
                  <a:lnTo>
                    <a:pt x="13918" y="14645"/>
                  </a:lnTo>
                  <a:lnTo>
                    <a:pt x="13889" y="14685"/>
                  </a:lnTo>
                  <a:lnTo>
                    <a:pt x="13859" y="14723"/>
                  </a:lnTo>
                  <a:lnTo>
                    <a:pt x="13828" y="14759"/>
                  </a:lnTo>
                  <a:lnTo>
                    <a:pt x="13795" y="14794"/>
                  </a:lnTo>
                  <a:lnTo>
                    <a:pt x="13760" y="14828"/>
                  </a:lnTo>
                  <a:lnTo>
                    <a:pt x="13723" y="14859"/>
                  </a:lnTo>
                  <a:lnTo>
                    <a:pt x="13685" y="14889"/>
                  </a:lnTo>
                  <a:lnTo>
                    <a:pt x="13646" y="14917"/>
                  </a:lnTo>
                  <a:lnTo>
                    <a:pt x="13605" y="14943"/>
                  </a:lnTo>
                  <a:lnTo>
                    <a:pt x="13562" y="14967"/>
                  </a:lnTo>
                  <a:lnTo>
                    <a:pt x="13519" y="14989"/>
                  </a:lnTo>
                  <a:lnTo>
                    <a:pt x="13475" y="15010"/>
                  </a:lnTo>
                  <a:lnTo>
                    <a:pt x="13428" y="15028"/>
                  </a:lnTo>
                  <a:lnTo>
                    <a:pt x="13382" y="15044"/>
                  </a:lnTo>
                  <a:lnTo>
                    <a:pt x="13335" y="15057"/>
                  </a:lnTo>
                  <a:lnTo>
                    <a:pt x="13285" y="15069"/>
                  </a:lnTo>
                  <a:lnTo>
                    <a:pt x="13236" y="15077"/>
                  </a:lnTo>
                  <a:lnTo>
                    <a:pt x="13186" y="15084"/>
                  </a:lnTo>
                  <a:lnTo>
                    <a:pt x="13135" y="15088"/>
                  </a:lnTo>
                  <a:lnTo>
                    <a:pt x="13083" y="15089"/>
                  </a:lnTo>
                  <a:lnTo>
                    <a:pt x="2013" y="15089"/>
                  </a:lnTo>
                  <a:lnTo>
                    <a:pt x="1961" y="15088"/>
                  </a:lnTo>
                  <a:lnTo>
                    <a:pt x="1910" y="15084"/>
                  </a:lnTo>
                  <a:lnTo>
                    <a:pt x="1860" y="15077"/>
                  </a:lnTo>
                  <a:lnTo>
                    <a:pt x="1811" y="15069"/>
                  </a:lnTo>
                  <a:lnTo>
                    <a:pt x="1761" y="15057"/>
                  </a:lnTo>
                  <a:lnTo>
                    <a:pt x="1714" y="15044"/>
                  </a:lnTo>
                  <a:lnTo>
                    <a:pt x="1667" y="15028"/>
                  </a:lnTo>
                  <a:lnTo>
                    <a:pt x="1621" y="15010"/>
                  </a:lnTo>
                  <a:lnTo>
                    <a:pt x="1577" y="14989"/>
                  </a:lnTo>
                  <a:lnTo>
                    <a:pt x="1534" y="14967"/>
                  </a:lnTo>
                  <a:lnTo>
                    <a:pt x="1491" y="14943"/>
                  </a:lnTo>
                  <a:lnTo>
                    <a:pt x="1450" y="14917"/>
                  </a:lnTo>
                  <a:lnTo>
                    <a:pt x="1411" y="14889"/>
                  </a:lnTo>
                  <a:lnTo>
                    <a:pt x="1373" y="14859"/>
                  </a:lnTo>
                  <a:lnTo>
                    <a:pt x="1336" y="14828"/>
                  </a:lnTo>
                  <a:lnTo>
                    <a:pt x="1301" y="14794"/>
                  </a:lnTo>
                  <a:lnTo>
                    <a:pt x="1268" y="14759"/>
                  </a:lnTo>
                  <a:lnTo>
                    <a:pt x="1237" y="14723"/>
                  </a:lnTo>
                  <a:lnTo>
                    <a:pt x="1207" y="14685"/>
                  </a:lnTo>
                  <a:lnTo>
                    <a:pt x="1178" y="14645"/>
                  </a:lnTo>
                  <a:lnTo>
                    <a:pt x="1152" y="14604"/>
                  </a:lnTo>
                  <a:lnTo>
                    <a:pt x="1128" y="14562"/>
                  </a:lnTo>
                  <a:lnTo>
                    <a:pt x="1106" y="14519"/>
                  </a:lnTo>
                  <a:lnTo>
                    <a:pt x="1086" y="14474"/>
                  </a:lnTo>
                  <a:lnTo>
                    <a:pt x="1068" y="14428"/>
                  </a:lnTo>
                  <a:lnTo>
                    <a:pt x="1052" y="14382"/>
                  </a:lnTo>
                  <a:lnTo>
                    <a:pt x="1039" y="14334"/>
                  </a:lnTo>
                  <a:lnTo>
                    <a:pt x="1027" y="14285"/>
                  </a:lnTo>
                  <a:lnTo>
                    <a:pt x="1018" y="14236"/>
                  </a:lnTo>
                  <a:lnTo>
                    <a:pt x="1011" y="14186"/>
                  </a:lnTo>
                  <a:lnTo>
                    <a:pt x="1007" y="14134"/>
                  </a:lnTo>
                  <a:lnTo>
                    <a:pt x="1006" y="14083"/>
                  </a:lnTo>
                  <a:lnTo>
                    <a:pt x="1006" y="2012"/>
                  </a:lnTo>
                  <a:lnTo>
                    <a:pt x="1007" y="1961"/>
                  </a:lnTo>
                  <a:lnTo>
                    <a:pt x="1011" y="1909"/>
                  </a:lnTo>
                  <a:lnTo>
                    <a:pt x="1018" y="1859"/>
                  </a:lnTo>
                  <a:lnTo>
                    <a:pt x="1027" y="1810"/>
                  </a:lnTo>
                  <a:lnTo>
                    <a:pt x="1039" y="1760"/>
                  </a:lnTo>
                  <a:lnTo>
                    <a:pt x="1052" y="1713"/>
                  </a:lnTo>
                  <a:lnTo>
                    <a:pt x="1068" y="1667"/>
                  </a:lnTo>
                  <a:lnTo>
                    <a:pt x="1086" y="1621"/>
                  </a:lnTo>
                  <a:lnTo>
                    <a:pt x="1106" y="1576"/>
                  </a:lnTo>
                  <a:lnTo>
                    <a:pt x="1128" y="1533"/>
                  </a:lnTo>
                  <a:lnTo>
                    <a:pt x="1152" y="1491"/>
                  </a:lnTo>
                  <a:lnTo>
                    <a:pt x="1178" y="1450"/>
                  </a:lnTo>
                  <a:lnTo>
                    <a:pt x="1207" y="1410"/>
                  </a:lnTo>
                  <a:lnTo>
                    <a:pt x="1237" y="1372"/>
                  </a:lnTo>
                  <a:lnTo>
                    <a:pt x="1268" y="1336"/>
                  </a:lnTo>
                  <a:lnTo>
                    <a:pt x="1301" y="1301"/>
                  </a:lnTo>
                  <a:lnTo>
                    <a:pt x="1336" y="1267"/>
                  </a:lnTo>
                  <a:lnTo>
                    <a:pt x="1373" y="1236"/>
                  </a:lnTo>
                  <a:lnTo>
                    <a:pt x="1411" y="1206"/>
                  </a:lnTo>
                  <a:lnTo>
                    <a:pt x="1450" y="1178"/>
                  </a:lnTo>
                  <a:lnTo>
                    <a:pt x="1491" y="1152"/>
                  </a:lnTo>
                  <a:lnTo>
                    <a:pt x="1534" y="1128"/>
                  </a:lnTo>
                  <a:lnTo>
                    <a:pt x="1577" y="1106"/>
                  </a:lnTo>
                  <a:lnTo>
                    <a:pt x="1621" y="1085"/>
                  </a:lnTo>
                  <a:lnTo>
                    <a:pt x="1667" y="1067"/>
                  </a:lnTo>
                  <a:lnTo>
                    <a:pt x="1714" y="1051"/>
                  </a:lnTo>
                  <a:lnTo>
                    <a:pt x="1761" y="1038"/>
                  </a:lnTo>
                  <a:lnTo>
                    <a:pt x="1811" y="1026"/>
                  </a:lnTo>
                  <a:lnTo>
                    <a:pt x="1860" y="1018"/>
                  </a:lnTo>
                  <a:lnTo>
                    <a:pt x="1910" y="1011"/>
                  </a:lnTo>
                  <a:lnTo>
                    <a:pt x="1961" y="1007"/>
                  </a:lnTo>
                  <a:lnTo>
                    <a:pt x="2013" y="1006"/>
                  </a:lnTo>
                  <a:lnTo>
                    <a:pt x="13083" y="1006"/>
                  </a:lnTo>
                  <a:lnTo>
                    <a:pt x="13135" y="1007"/>
                  </a:lnTo>
                  <a:lnTo>
                    <a:pt x="13186" y="1011"/>
                  </a:lnTo>
                  <a:lnTo>
                    <a:pt x="13236" y="1018"/>
                  </a:lnTo>
                  <a:lnTo>
                    <a:pt x="13285" y="1026"/>
                  </a:lnTo>
                  <a:lnTo>
                    <a:pt x="13335" y="1038"/>
                  </a:lnTo>
                  <a:lnTo>
                    <a:pt x="13382" y="1051"/>
                  </a:lnTo>
                  <a:lnTo>
                    <a:pt x="13428" y="1067"/>
                  </a:lnTo>
                  <a:lnTo>
                    <a:pt x="13475" y="1085"/>
                  </a:lnTo>
                  <a:lnTo>
                    <a:pt x="13519" y="1106"/>
                  </a:lnTo>
                  <a:lnTo>
                    <a:pt x="13562" y="1128"/>
                  </a:lnTo>
                  <a:lnTo>
                    <a:pt x="13605" y="1152"/>
                  </a:lnTo>
                  <a:lnTo>
                    <a:pt x="13646" y="1178"/>
                  </a:lnTo>
                  <a:lnTo>
                    <a:pt x="13685" y="1206"/>
                  </a:lnTo>
                  <a:lnTo>
                    <a:pt x="13723" y="1236"/>
                  </a:lnTo>
                  <a:lnTo>
                    <a:pt x="13760" y="1267"/>
                  </a:lnTo>
                  <a:lnTo>
                    <a:pt x="13795" y="1301"/>
                  </a:lnTo>
                  <a:lnTo>
                    <a:pt x="13828" y="1336"/>
                  </a:lnTo>
                  <a:lnTo>
                    <a:pt x="13859" y="1372"/>
                  </a:lnTo>
                  <a:lnTo>
                    <a:pt x="13889" y="1410"/>
                  </a:lnTo>
                  <a:lnTo>
                    <a:pt x="13918" y="1450"/>
                  </a:lnTo>
                  <a:lnTo>
                    <a:pt x="13944" y="1491"/>
                  </a:lnTo>
                  <a:lnTo>
                    <a:pt x="13968" y="1533"/>
                  </a:lnTo>
                  <a:lnTo>
                    <a:pt x="13990" y="1576"/>
                  </a:lnTo>
                  <a:lnTo>
                    <a:pt x="14010" y="1621"/>
                  </a:lnTo>
                  <a:lnTo>
                    <a:pt x="14028" y="1667"/>
                  </a:lnTo>
                  <a:lnTo>
                    <a:pt x="14044" y="1713"/>
                  </a:lnTo>
                  <a:lnTo>
                    <a:pt x="14058" y="1760"/>
                  </a:lnTo>
                  <a:lnTo>
                    <a:pt x="14069" y="1810"/>
                  </a:lnTo>
                  <a:lnTo>
                    <a:pt x="14079" y="1859"/>
                  </a:lnTo>
                  <a:lnTo>
                    <a:pt x="14085" y="1909"/>
                  </a:lnTo>
                  <a:lnTo>
                    <a:pt x="14089" y="1961"/>
                  </a:lnTo>
                  <a:lnTo>
                    <a:pt x="14090" y="2012"/>
                  </a:lnTo>
                  <a:lnTo>
                    <a:pt x="14090" y="14083"/>
                  </a:lnTo>
                  <a:close/>
                  <a:moveTo>
                    <a:pt x="13083" y="0"/>
                  </a:moveTo>
                  <a:lnTo>
                    <a:pt x="2013" y="0"/>
                  </a:lnTo>
                  <a:lnTo>
                    <a:pt x="1909" y="3"/>
                  </a:lnTo>
                  <a:lnTo>
                    <a:pt x="1806" y="10"/>
                  </a:lnTo>
                  <a:lnTo>
                    <a:pt x="1706" y="23"/>
                  </a:lnTo>
                  <a:lnTo>
                    <a:pt x="1607" y="41"/>
                  </a:lnTo>
                  <a:lnTo>
                    <a:pt x="1510" y="63"/>
                  </a:lnTo>
                  <a:lnTo>
                    <a:pt x="1414" y="91"/>
                  </a:lnTo>
                  <a:lnTo>
                    <a:pt x="1320" y="122"/>
                  </a:lnTo>
                  <a:lnTo>
                    <a:pt x="1229" y="158"/>
                  </a:lnTo>
                  <a:lnTo>
                    <a:pt x="1140" y="198"/>
                  </a:lnTo>
                  <a:lnTo>
                    <a:pt x="1054" y="242"/>
                  </a:lnTo>
                  <a:lnTo>
                    <a:pt x="969" y="292"/>
                  </a:lnTo>
                  <a:lnTo>
                    <a:pt x="888" y="344"/>
                  </a:lnTo>
                  <a:lnTo>
                    <a:pt x="808" y="399"/>
                  </a:lnTo>
                  <a:lnTo>
                    <a:pt x="733" y="460"/>
                  </a:lnTo>
                  <a:lnTo>
                    <a:pt x="659" y="523"/>
                  </a:lnTo>
                  <a:lnTo>
                    <a:pt x="590" y="589"/>
                  </a:lnTo>
                  <a:lnTo>
                    <a:pt x="523" y="659"/>
                  </a:lnTo>
                  <a:lnTo>
                    <a:pt x="460" y="732"/>
                  </a:lnTo>
                  <a:lnTo>
                    <a:pt x="400" y="808"/>
                  </a:lnTo>
                  <a:lnTo>
                    <a:pt x="344" y="887"/>
                  </a:lnTo>
                  <a:lnTo>
                    <a:pt x="292" y="969"/>
                  </a:lnTo>
                  <a:lnTo>
                    <a:pt x="243" y="1053"/>
                  </a:lnTo>
                  <a:lnTo>
                    <a:pt x="198" y="1140"/>
                  </a:lnTo>
                  <a:lnTo>
                    <a:pt x="158" y="1229"/>
                  </a:lnTo>
                  <a:lnTo>
                    <a:pt x="122" y="1320"/>
                  </a:lnTo>
                  <a:lnTo>
                    <a:pt x="91" y="1413"/>
                  </a:lnTo>
                  <a:lnTo>
                    <a:pt x="63" y="1509"/>
                  </a:lnTo>
                  <a:lnTo>
                    <a:pt x="41" y="1606"/>
                  </a:lnTo>
                  <a:lnTo>
                    <a:pt x="23" y="1705"/>
                  </a:lnTo>
                  <a:lnTo>
                    <a:pt x="10" y="1807"/>
                  </a:lnTo>
                  <a:lnTo>
                    <a:pt x="3" y="1908"/>
                  </a:lnTo>
                  <a:lnTo>
                    <a:pt x="0" y="2012"/>
                  </a:lnTo>
                  <a:lnTo>
                    <a:pt x="0" y="14083"/>
                  </a:lnTo>
                  <a:lnTo>
                    <a:pt x="3" y="14187"/>
                  </a:lnTo>
                  <a:lnTo>
                    <a:pt x="10" y="14289"/>
                  </a:lnTo>
                  <a:lnTo>
                    <a:pt x="23" y="14390"/>
                  </a:lnTo>
                  <a:lnTo>
                    <a:pt x="41" y="14489"/>
                  </a:lnTo>
                  <a:lnTo>
                    <a:pt x="63" y="14586"/>
                  </a:lnTo>
                  <a:lnTo>
                    <a:pt x="91" y="14682"/>
                  </a:lnTo>
                  <a:lnTo>
                    <a:pt x="122" y="14775"/>
                  </a:lnTo>
                  <a:lnTo>
                    <a:pt x="158" y="14867"/>
                  </a:lnTo>
                  <a:lnTo>
                    <a:pt x="198" y="14955"/>
                  </a:lnTo>
                  <a:lnTo>
                    <a:pt x="243" y="15042"/>
                  </a:lnTo>
                  <a:lnTo>
                    <a:pt x="292" y="15126"/>
                  </a:lnTo>
                  <a:lnTo>
                    <a:pt x="344" y="15208"/>
                  </a:lnTo>
                  <a:lnTo>
                    <a:pt x="400" y="15287"/>
                  </a:lnTo>
                  <a:lnTo>
                    <a:pt x="460" y="15363"/>
                  </a:lnTo>
                  <a:lnTo>
                    <a:pt x="523" y="15436"/>
                  </a:lnTo>
                  <a:lnTo>
                    <a:pt x="590" y="15506"/>
                  </a:lnTo>
                  <a:lnTo>
                    <a:pt x="659" y="15572"/>
                  </a:lnTo>
                  <a:lnTo>
                    <a:pt x="733" y="15635"/>
                  </a:lnTo>
                  <a:lnTo>
                    <a:pt x="808" y="15696"/>
                  </a:lnTo>
                  <a:lnTo>
                    <a:pt x="888" y="15751"/>
                  </a:lnTo>
                  <a:lnTo>
                    <a:pt x="969" y="15803"/>
                  </a:lnTo>
                  <a:lnTo>
                    <a:pt x="1054" y="15853"/>
                  </a:lnTo>
                  <a:lnTo>
                    <a:pt x="1140" y="15897"/>
                  </a:lnTo>
                  <a:lnTo>
                    <a:pt x="1229" y="15937"/>
                  </a:lnTo>
                  <a:lnTo>
                    <a:pt x="1320" y="15973"/>
                  </a:lnTo>
                  <a:lnTo>
                    <a:pt x="1414" y="16004"/>
                  </a:lnTo>
                  <a:lnTo>
                    <a:pt x="1510" y="16032"/>
                  </a:lnTo>
                  <a:lnTo>
                    <a:pt x="1607" y="16054"/>
                  </a:lnTo>
                  <a:lnTo>
                    <a:pt x="1706" y="16072"/>
                  </a:lnTo>
                  <a:lnTo>
                    <a:pt x="1806" y="16085"/>
                  </a:lnTo>
                  <a:lnTo>
                    <a:pt x="1909" y="16092"/>
                  </a:lnTo>
                  <a:lnTo>
                    <a:pt x="2013" y="16095"/>
                  </a:lnTo>
                  <a:lnTo>
                    <a:pt x="13083" y="16095"/>
                  </a:lnTo>
                  <a:lnTo>
                    <a:pt x="13187" y="16092"/>
                  </a:lnTo>
                  <a:lnTo>
                    <a:pt x="13289" y="16085"/>
                  </a:lnTo>
                  <a:lnTo>
                    <a:pt x="13390" y="16072"/>
                  </a:lnTo>
                  <a:lnTo>
                    <a:pt x="13489" y="16054"/>
                  </a:lnTo>
                  <a:lnTo>
                    <a:pt x="13586" y="16032"/>
                  </a:lnTo>
                  <a:lnTo>
                    <a:pt x="13682" y="16004"/>
                  </a:lnTo>
                  <a:lnTo>
                    <a:pt x="13776" y="15973"/>
                  </a:lnTo>
                  <a:lnTo>
                    <a:pt x="13866" y="15937"/>
                  </a:lnTo>
                  <a:lnTo>
                    <a:pt x="13956" y="15897"/>
                  </a:lnTo>
                  <a:lnTo>
                    <a:pt x="14042" y="15853"/>
                  </a:lnTo>
                  <a:lnTo>
                    <a:pt x="14127" y="15803"/>
                  </a:lnTo>
                  <a:lnTo>
                    <a:pt x="14208" y="15751"/>
                  </a:lnTo>
                  <a:lnTo>
                    <a:pt x="14288" y="15696"/>
                  </a:lnTo>
                  <a:lnTo>
                    <a:pt x="14363" y="15635"/>
                  </a:lnTo>
                  <a:lnTo>
                    <a:pt x="14437" y="15572"/>
                  </a:lnTo>
                  <a:lnTo>
                    <a:pt x="14506" y="15506"/>
                  </a:lnTo>
                  <a:lnTo>
                    <a:pt x="14573" y="15436"/>
                  </a:lnTo>
                  <a:lnTo>
                    <a:pt x="14636" y="15363"/>
                  </a:lnTo>
                  <a:lnTo>
                    <a:pt x="14696" y="15287"/>
                  </a:lnTo>
                  <a:lnTo>
                    <a:pt x="14752" y="15208"/>
                  </a:lnTo>
                  <a:lnTo>
                    <a:pt x="14804" y="15126"/>
                  </a:lnTo>
                  <a:lnTo>
                    <a:pt x="14853" y="15042"/>
                  </a:lnTo>
                  <a:lnTo>
                    <a:pt x="14898" y="14955"/>
                  </a:lnTo>
                  <a:lnTo>
                    <a:pt x="14938" y="14867"/>
                  </a:lnTo>
                  <a:lnTo>
                    <a:pt x="14974" y="14775"/>
                  </a:lnTo>
                  <a:lnTo>
                    <a:pt x="15005" y="14682"/>
                  </a:lnTo>
                  <a:lnTo>
                    <a:pt x="15033" y="14586"/>
                  </a:lnTo>
                  <a:lnTo>
                    <a:pt x="15055" y="14489"/>
                  </a:lnTo>
                  <a:lnTo>
                    <a:pt x="15073" y="14390"/>
                  </a:lnTo>
                  <a:lnTo>
                    <a:pt x="15086" y="14289"/>
                  </a:lnTo>
                  <a:lnTo>
                    <a:pt x="15093" y="14187"/>
                  </a:lnTo>
                  <a:lnTo>
                    <a:pt x="15096" y="14083"/>
                  </a:lnTo>
                  <a:lnTo>
                    <a:pt x="15096" y="2012"/>
                  </a:lnTo>
                  <a:lnTo>
                    <a:pt x="15093" y="1908"/>
                  </a:lnTo>
                  <a:lnTo>
                    <a:pt x="15086" y="1807"/>
                  </a:lnTo>
                  <a:lnTo>
                    <a:pt x="15073" y="1705"/>
                  </a:lnTo>
                  <a:lnTo>
                    <a:pt x="15055" y="1606"/>
                  </a:lnTo>
                  <a:lnTo>
                    <a:pt x="15033" y="1509"/>
                  </a:lnTo>
                  <a:lnTo>
                    <a:pt x="15005" y="1413"/>
                  </a:lnTo>
                  <a:lnTo>
                    <a:pt x="14974" y="1320"/>
                  </a:lnTo>
                  <a:lnTo>
                    <a:pt x="14938" y="1229"/>
                  </a:lnTo>
                  <a:lnTo>
                    <a:pt x="14898" y="1140"/>
                  </a:lnTo>
                  <a:lnTo>
                    <a:pt x="14853" y="1053"/>
                  </a:lnTo>
                  <a:lnTo>
                    <a:pt x="14804" y="969"/>
                  </a:lnTo>
                  <a:lnTo>
                    <a:pt x="14752" y="887"/>
                  </a:lnTo>
                  <a:lnTo>
                    <a:pt x="14696" y="808"/>
                  </a:lnTo>
                  <a:lnTo>
                    <a:pt x="14636" y="732"/>
                  </a:lnTo>
                  <a:lnTo>
                    <a:pt x="14573" y="659"/>
                  </a:lnTo>
                  <a:lnTo>
                    <a:pt x="14506" y="589"/>
                  </a:lnTo>
                  <a:lnTo>
                    <a:pt x="14437" y="523"/>
                  </a:lnTo>
                  <a:lnTo>
                    <a:pt x="14363" y="460"/>
                  </a:lnTo>
                  <a:lnTo>
                    <a:pt x="14288" y="399"/>
                  </a:lnTo>
                  <a:lnTo>
                    <a:pt x="14208" y="344"/>
                  </a:lnTo>
                  <a:lnTo>
                    <a:pt x="14127" y="292"/>
                  </a:lnTo>
                  <a:lnTo>
                    <a:pt x="14042" y="242"/>
                  </a:lnTo>
                  <a:lnTo>
                    <a:pt x="13956" y="198"/>
                  </a:lnTo>
                  <a:lnTo>
                    <a:pt x="13866" y="158"/>
                  </a:lnTo>
                  <a:lnTo>
                    <a:pt x="13776" y="122"/>
                  </a:lnTo>
                  <a:lnTo>
                    <a:pt x="13682" y="91"/>
                  </a:lnTo>
                  <a:lnTo>
                    <a:pt x="13586" y="63"/>
                  </a:lnTo>
                  <a:lnTo>
                    <a:pt x="13489" y="41"/>
                  </a:lnTo>
                  <a:lnTo>
                    <a:pt x="13390" y="23"/>
                  </a:lnTo>
                  <a:lnTo>
                    <a:pt x="13289" y="10"/>
                  </a:lnTo>
                  <a:lnTo>
                    <a:pt x="13187" y="3"/>
                  </a:lnTo>
                  <a:lnTo>
                    <a:pt x="1308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410" name="iṩḻïḋè">
              <a:extLst>
                <a:ext uri="{FF2B5EF4-FFF2-40B4-BE49-F238E27FC236}">
                  <a16:creationId xmlns:a16="http://schemas.microsoft.com/office/drawing/2014/main" id="{C38D8FF5-E2C5-486E-AA3B-72E2E6A42921}"/>
                </a:ext>
              </a:extLst>
            </p:cNvPr>
            <p:cNvSpPr/>
            <p:nvPr/>
          </p:nvSpPr>
          <p:spPr bwMode="auto">
            <a:xfrm>
              <a:off x="11120788" y="537796"/>
              <a:ext cx="238174" cy="215943"/>
            </a:xfrm>
            <a:custGeom>
              <a:avLst/>
              <a:gdLst>
                <a:gd name="T0" fmla="*/ 10567 w 11070"/>
                <a:gd name="T1" fmla="*/ 8239 h 10059"/>
                <a:gd name="T2" fmla="*/ 2516 w 11070"/>
                <a:gd name="T3" fmla="*/ 3018 h 10059"/>
                <a:gd name="T4" fmla="*/ 503 w 11070"/>
                <a:gd name="T5" fmla="*/ 9556 h 10059"/>
                <a:gd name="T6" fmla="*/ 8932 w 11070"/>
                <a:gd name="T7" fmla="*/ 5703 h 10059"/>
                <a:gd name="T8" fmla="*/ 8852 w 11070"/>
                <a:gd name="T9" fmla="*/ 5630 h 10059"/>
                <a:gd name="T10" fmla="*/ 8762 w 11070"/>
                <a:gd name="T11" fmla="*/ 5577 h 10059"/>
                <a:gd name="T12" fmla="*/ 8661 w 11070"/>
                <a:gd name="T13" fmla="*/ 5544 h 10059"/>
                <a:gd name="T14" fmla="*/ 8554 w 11070"/>
                <a:gd name="T15" fmla="*/ 5533 h 10059"/>
                <a:gd name="T16" fmla="*/ 8448 w 11070"/>
                <a:gd name="T17" fmla="*/ 5544 h 10059"/>
                <a:gd name="T18" fmla="*/ 8347 w 11070"/>
                <a:gd name="T19" fmla="*/ 5577 h 10059"/>
                <a:gd name="T20" fmla="*/ 8256 w 11070"/>
                <a:gd name="T21" fmla="*/ 5630 h 10059"/>
                <a:gd name="T22" fmla="*/ 8177 w 11070"/>
                <a:gd name="T23" fmla="*/ 5703 h 10059"/>
                <a:gd name="T24" fmla="*/ 2856 w 11070"/>
                <a:gd name="T25" fmla="*/ 2646 h 10059"/>
                <a:gd name="T26" fmla="*/ 2769 w 11070"/>
                <a:gd name="T27" fmla="*/ 2583 h 10059"/>
                <a:gd name="T28" fmla="*/ 2674 w 11070"/>
                <a:gd name="T29" fmla="*/ 2540 h 10059"/>
                <a:gd name="T30" fmla="*/ 2570 w 11070"/>
                <a:gd name="T31" fmla="*/ 2518 h 10059"/>
                <a:gd name="T32" fmla="*/ 2462 w 11070"/>
                <a:gd name="T33" fmla="*/ 2518 h 10059"/>
                <a:gd name="T34" fmla="*/ 2358 w 11070"/>
                <a:gd name="T35" fmla="*/ 2540 h 10059"/>
                <a:gd name="T36" fmla="*/ 2262 w 11070"/>
                <a:gd name="T37" fmla="*/ 2583 h 10059"/>
                <a:gd name="T38" fmla="*/ 2177 w 11070"/>
                <a:gd name="T39" fmla="*/ 2646 h 10059"/>
                <a:gd name="T40" fmla="*/ 503 w 11070"/>
                <a:gd name="T41" fmla="*/ 503 h 10059"/>
                <a:gd name="T42" fmla="*/ 477 w 11070"/>
                <a:gd name="T43" fmla="*/ 1 h 10059"/>
                <a:gd name="T44" fmla="*/ 377 w 11070"/>
                <a:gd name="T45" fmla="*/ 16 h 10059"/>
                <a:gd name="T46" fmla="*/ 285 w 11070"/>
                <a:gd name="T47" fmla="*/ 49 h 10059"/>
                <a:gd name="T48" fmla="*/ 202 w 11070"/>
                <a:gd name="T49" fmla="*/ 99 h 10059"/>
                <a:gd name="T50" fmla="*/ 131 w 11070"/>
                <a:gd name="T51" fmla="*/ 165 h 10059"/>
                <a:gd name="T52" fmla="*/ 72 w 11070"/>
                <a:gd name="T53" fmla="*/ 242 h 10059"/>
                <a:gd name="T54" fmla="*/ 30 w 11070"/>
                <a:gd name="T55" fmla="*/ 330 h 10059"/>
                <a:gd name="T56" fmla="*/ 6 w 11070"/>
                <a:gd name="T57" fmla="*/ 426 h 10059"/>
                <a:gd name="T58" fmla="*/ 0 w 11070"/>
                <a:gd name="T59" fmla="*/ 9556 h 10059"/>
                <a:gd name="T60" fmla="*/ 10 w 11070"/>
                <a:gd name="T61" fmla="*/ 9658 h 10059"/>
                <a:gd name="T62" fmla="*/ 39 w 11070"/>
                <a:gd name="T63" fmla="*/ 9752 h 10059"/>
                <a:gd name="T64" fmla="*/ 85 w 11070"/>
                <a:gd name="T65" fmla="*/ 9838 h 10059"/>
                <a:gd name="T66" fmla="*/ 147 w 11070"/>
                <a:gd name="T67" fmla="*/ 9912 h 10059"/>
                <a:gd name="T68" fmla="*/ 221 w 11070"/>
                <a:gd name="T69" fmla="*/ 9974 h 10059"/>
                <a:gd name="T70" fmla="*/ 307 w 11070"/>
                <a:gd name="T71" fmla="*/ 10020 h 10059"/>
                <a:gd name="T72" fmla="*/ 401 w 11070"/>
                <a:gd name="T73" fmla="*/ 10049 h 10059"/>
                <a:gd name="T74" fmla="*/ 503 w 11070"/>
                <a:gd name="T75" fmla="*/ 10059 h 10059"/>
                <a:gd name="T76" fmla="*/ 10643 w 11070"/>
                <a:gd name="T77" fmla="*/ 10053 h 10059"/>
                <a:gd name="T78" fmla="*/ 10740 w 11070"/>
                <a:gd name="T79" fmla="*/ 10029 h 10059"/>
                <a:gd name="T80" fmla="*/ 10829 w 11070"/>
                <a:gd name="T81" fmla="*/ 9987 h 10059"/>
                <a:gd name="T82" fmla="*/ 10905 w 11070"/>
                <a:gd name="T83" fmla="*/ 9928 h 10059"/>
                <a:gd name="T84" fmla="*/ 10971 w 11070"/>
                <a:gd name="T85" fmla="*/ 9857 h 10059"/>
                <a:gd name="T86" fmla="*/ 11021 w 11070"/>
                <a:gd name="T87" fmla="*/ 9775 h 10059"/>
                <a:gd name="T88" fmla="*/ 11054 w 11070"/>
                <a:gd name="T89" fmla="*/ 9682 h 10059"/>
                <a:gd name="T90" fmla="*/ 11069 w 11070"/>
                <a:gd name="T91" fmla="*/ 9582 h 10059"/>
                <a:gd name="T92" fmla="*/ 11068 w 11070"/>
                <a:gd name="T93" fmla="*/ 452 h 10059"/>
                <a:gd name="T94" fmla="*/ 11048 w 11070"/>
                <a:gd name="T95" fmla="*/ 353 h 10059"/>
                <a:gd name="T96" fmla="*/ 11010 w 11070"/>
                <a:gd name="T97" fmla="*/ 263 h 10059"/>
                <a:gd name="T98" fmla="*/ 10955 w 11070"/>
                <a:gd name="T99" fmla="*/ 183 h 10059"/>
                <a:gd name="T100" fmla="*/ 10887 w 11070"/>
                <a:gd name="T101" fmla="*/ 115 h 10059"/>
                <a:gd name="T102" fmla="*/ 10808 w 11070"/>
                <a:gd name="T103" fmla="*/ 60 h 10059"/>
                <a:gd name="T104" fmla="*/ 10717 w 11070"/>
                <a:gd name="T105" fmla="*/ 22 h 10059"/>
                <a:gd name="T106" fmla="*/ 10618 w 11070"/>
                <a:gd name="T107" fmla="*/ 3 h 10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070" h="10059">
                  <a:moveTo>
                    <a:pt x="8928" y="9556"/>
                  </a:moveTo>
                  <a:lnTo>
                    <a:pt x="7203" y="7568"/>
                  </a:lnTo>
                  <a:lnTo>
                    <a:pt x="8554" y="6036"/>
                  </a:lnTo>
                  <a:lnTo>
                    <a:pt x="10567" y="8239"/>
                  </a:lnTo>
                  <a:lnTo>
                    <a:pt x="10567" y="9556"/>
                  </a:lnTo>
                  <a:lnTo>
                    <a:pt x="8928" y="9556"/>
                  </a:lnTo>
                  <a:close/>
                  <a:moveTo>
                    <a:pt x="503" y="5330"/>
                  </a:moveTo>
                  <a:lnTo>
                    <a:pt x="2516" y="3018"/>
                  </a:lnTo>
                  <a:lnTo>
                    <a:pt x="6575" y="7616"/>
                  </a:lnTo>
                  <a:lnTo>
                    <a:pt x="6866" y="7948"/>
                  </a:lnTo>
                  <a:lnTo>
                    <a:pt x="8256" y="9556"/>
                  </a:lnTo>
                  <a:lnTo>
                    <a:pt x="503" y="9556"/>
                  </a:lnTo>
                  <a:lnTo>
                    <a:pt x="503" y="5330"/>
                  </a:lnTo>
                  <a:close/>
                  <a:moveTo>
                    <a:pt x="10567" y="503"/>
                  </a:moveTo>
                  <a:lnTo>
                    <a:pt x="10567" y="7479"/>
                  </a:lnTo>
                  <a:lnTo>
                    <a:pt x="8932" y="5703"/>
                  </a:lnTo>
                  <a:lnTo>
                    <a:pt x="8913" y="5682"/>
                  </a:lnTo>
                  <a:lnTo>
                    <a:pt x="8894" y="5664"/>
                  </a:lnTo>
                  <a:lnTo>
                    <a:pt x="8873" y="5647"/>
                  </a:lnTo>
                  <a:lnTo>
                    <a:pt x="8852" y="5630"/>
                  </a:lnTo>
                  <a:lnTo>
                    <a:pt x="8831" y="5615"/>
                  </a:lnTo>
                  <a:lnTo>
                    <a:pt x="8808" y="5601"/>
                  </a:lnTo>
                  <a:lnTo>
                    <a:pt x="8785" y="5589"/>
                  </a:lnTo>
                  <a:lnTo>
                    <a:pt x="8762" y="5577"/>
                  </a:lnTo>
                  <a:lnTo>
                    <a:pt x="8736" y="5567"/>
                  </a:lnTo>
                  <a:lnTo>
                    <a:pt x="8712" y="5558"/>
                  </a:lnTo>
                  <a:lnTo>
                    <a:pt x="8686" y="5551"/>
                  </a:lnTo>
                  <a:lnTo>
                    <a:pt x="8661" y="5544"/>
                  </a:lnTo>
                  <a:lnTo>
                    <a:pt x="8635" y="5539"/>
                  </a:lnTo>
                  <a:lnTo>
                    <a:pt x="8608" y="5536"/>
                  </a:lnTo>
                  <a:lnTo>
                    <a:pt x="8581" y="5534"/>
                  </a:lnTo>
                  <a:lnTo>
                    <a:pt x="8554" y="5533"/>
                  </a:lnTo>
                  <a:lnTo>
                    <a:pt x="8527" y="5534"/>
                  </a:lnTo>
                  <a:lnTo>
                    <a:pt x="8501" y="5536"/>
                  </a:lnTo>
                  <a:lnTo>
                    <a:pt x="8474" y="5539"/>
                  </a:lnTo>
                  <a:lnTo>
                    <a:pt x="8448" y="5544"/>
                  </a:lnTo>
                  <a:lnTo>
                    <a:pt x="8422" y="5551"/>
                  </a:lnTo>
                  <a:lnTo>
                    <a:pt x="8396" y="5558"/>
                  </a:lnTo>
                  <a:lnTo>
                    <a:pt x="8372" y="5567"/>
                  </a:lnTo>
                  <a:lnTo>
                    <a:pt x="8347" y="5577"/>
                  </a:lnTo>
                  <a:lnTo>
                    <a:pt x="8324" y="5589"/>
                  </a:lnTo>
                  <a:lnTo>
                    <a:pt x="8301" y="5601"/>
                  </a:lnTo>
                  <a:lnTo>
                    <a:pt x="8277" y="5615"/>
                  </a:lnTo>
                  <a:lnTo>
                    <a:pt x="8256" y="5630"/>
                  </a:lnTo>
                  <a:lnTo>
                    <a:pt x="8235" y="5647"/>
                  </a:lnTo>
                  <a:lnTo>
                    <a:pt x="8215" y="5664"/>
                  </a:lnTo>
                  <a:lnTo>
                    <a:pt x="8195" y="5682"/>
                  </a:lnTo>
                  <a:lnTo>
                    <a:pt x="8177" y="5703"/>
                  </a:lnTo>
                  <a:lnTo>
                    <a:pt x="6867" y="7187"/>
                  </a:lnTo>
                  <a:lnTo>
                    <a:pt x="2893" y="2685"/>
                  </a:lnTo>
                  <a:lnTo>
                    <a:pt x="2875" y="2665"/>
                  </a:lnTo>
                  <a:lnTo>
                    <a:pt x="2856" y="2646"/>
                  </a:lnTo>
                  <a:lnTo>
                    <a:pt x="2835" y="2629"/>
                  </a:lnTo>
                  <a:lnTo>
                    <a:pt x="2814" y="2612"/>
                  </a:lnTo>
                  <a:lnTo>
                    <a:pt x="2793" y="2597"/>
                  </a:lnTo>
                  <a:lnTo>
                    <a:pt x="2769" y="2583"/>
                  </a:lnTo>
                  <a:lnTo>
                    <a:pt x="2746" y="2571"/>
                  </a:lnTo>
                  <a:lnTo>
                    <a:pt x="2723" y="2559"/>
                  </a:lnTo>
                  <a:lnTo>
                    <a:pt x="2698" y="2549"/>
                  </a:lnTo>
                  <a:lnTo>
                    <a:pt x="2674" y="2540"/>
                  </a:lnTo>
                  <a:lnTo>
                    <a:pt x="2648" y="2533"/>
                  </a:lnTo>
                  <a:lnTo>
                    <a:pt x="2622" y="2526"/>
                  </a:lnTo>
                  <a:lnTo>
                    <a:pt x="2596" y="2521"/>
                  </a:lnTo>
                  <a:lnTo>
                    <a:pt x="2570" y="2518"/>
                  </a:lnTo>
                  <a:lnTo>
                    <a:pt x="2543" y="2516"/>
                  </a:lnTo>
                  <a:lnTo>
                    <a:pt x="2516" y="2515"/>
                  </a:lnTo>
                  <a:lnTo>
                    <a:pt x="2489" y="2516"/>
                  </a:lnTo>
                  <a:lnTo>
                    <a:pt x="2462" y="2518"/>
                  </a:lnTo>
                  <a:lnTo>
                    <a:pt x="2435" y="2521"/>
                  </a:lnTo>
                  <a:lnTo>
                    <a:pt x="2409" y="2526"/>
                  </a:lnTo>
                  <a:lnTo>
                    <a:pt x="2384" y="2533"/>
                  </a:lnTo>
                  <a:lnTo>
                    <a:pt x="2358" y="2540"/>
                  </a:lnTo>
                  <a:lnTo>
                    <a:pt x="2334" y="2549"/>
                  </a:lnTo>
                  <a:lnTo>
                    <a:pt x="2308" y="2559"/>
                  </a:lnTo>
                  <a:lnTo>
                    <a:pt x="2285" y="2571"/>
                  </a:lnTo>
                  <a:lnTo>
                    <a:pt x="2262" y="2583"/>
                  </a:lnTo>
                  <a:lnTo>
                    <a:pt x="2239" y="2597"/>
                  </a:lnTo>
                  <a:lnTo>
                    <a:pt x="2218" y="2612"/>
                  </a:lnTo>
                  <a:lnTo>
                    <a:pt x="2197" y="2629"/>
                  </a:lnTo>
                  <a:lnTo>
                    <a:pt x="2177" y="2646"/>
                  </a:lnTo>
                  <a:lnTo>
                    <a:pt x="2157" y="2665"/>
                  </a:lnTo>
                  <a:lnTo>
                    <a:pt x="2138" y="2685"/>
                  </a:lnTo>
                  <a:lnTo>
                    <a:pt x="503" y="4570"/>
                  </a:lnTo>
                  <a:lnTo>
                    <a:pt x="503" y="503"/>
                  </a:lnTo>
                  <a:lnTo>
                    <a:pt x="10567" y="503"/>
                  </a:lnTo>
                  <a:close/>
                  <a:moveTo>
                    <a:pt x="10567" y="0"/>
                  </a:moveTo>
                  <a:lnTo>
                    <a:pt x="503" y="0"/>
                  </a:lnTo>
                  <a:lnTo>
                    <a:pt x="477" y="1"/>
                  </a:lnTo>
                  <a:lnTo>
                    <a:pt x="452" y="3"/>
                  </a:lnTo>
                  <a:lnTo>
                    <a:pt x="427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5" y="49"/>
                  </a:lnTo>
                  <a:lnTo>
                    <a:pt x="263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99" y="202"/>
                  </a:lnTo>
                  <a:lnTo>
                    <a:pt x="85" y="221"/>
                  </a:lnTo>
                  <a:lnTo>
                    <a:pt x="72" y="242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3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0" y="9556"/>
                  </a:lnTo>
                  <a:lnTo>
                    <a:pt x="1" y="9582"/>
                  </a:lnTo>
                  <a:lnTo>
                    <a:pt x="3" y="9608"/>
                  </a:lnTo>
                  <a:lnTo>
                    <a:pt x="6" y="9633"/>
                  </a:lnTo>
                  <a:lnTo>
                    <a:pt x="10" y="9658"/>
                  </a:lnTo>
                  <a:lnTo>
                    <a:pt x="16" y="9682"/>
                  </a:lnTo>
                  <a:lnTo>
                    <a:pt x="23" y="9706"/>
                  </a:lnTo>
                  <a:lnTo>
                    <a:pt x="30" y="9729"/>
                  </a:lnTo>
                  <a:lnTo>
                    <a:pt x="39" y="9752"/>
                  </a:lnTo>
                  <a:lnTo>
                    <a:pt x="49" y="9775"/>
                  </a:lnTo>
                  <a:lnTo>
                    <a:pt x="60" y="9797"/>
                  </a:lnTo>
                  <a:lnTo>
                    <a:pt x="72" y="9817"/>
                  </a:lnTo>
                  <a:lnTo>
                    <a:pt x="85" y="9838"/>
                  </a:lnTo>
                  <a:lnTo>
                    <a:pt x="99" y="9857"/>
                  </a:lnTo>
                  <a:lnTo>
                    <a:pt x="115" y="9876"/>
                  </a:lnTo>
                  <a:lnTo>
                    <a:pt x="131" y="9894"/>
                  </a:lnTo>
                  <a:lnTo>
                    <a:pt x="147" y="9912"/>
                  </a:lnTo>
                  <a:lnTo>
                    <a:pt x="165" y="9928"/>
                  </a:lnTo>
                  <a:lnTo>
                    <a:pt x="183" y="9945"/>
                  </a:lnTo>
                  <a:lnTo>
                    <a:pt x="202" y="9960"/>
                  </a:lnTo>
                  <a:lnTo>
                    <a:pt x="221" y="9974"/>
                  </a:lnTo>
                  <a:lnTo>
                    <a:pt x="242" y="9987"/>
                  </a:lnTo>
                  <a:lnTo>
                    <a:pt x="263" y="9999"/>
                  </a:lnTo>
                  <a:lnTo>
                    <a:pt x="285" y="10010"/>
                  </a:lnTo>
                  <a:lnTo>
                    <a:pt x="307" y="10020"/>
                  </a:lnTo>
                  <a:lnTo>
                    <a:pt x="330" y="10029"/>
                  </a:lnTo>
                  <a:lnTo>
                    <a:pt x="353" y="10037"/>
                  </a:lnTo>
                  <a:lnTo>
                    <a:pt x="377" y="10043"/>
                  </a:lnTo>
                  <a:lnTo>
                    <a:pt x="401" y="10049"/>
                  </a:lnTo>
                  <a:lnTo>
                    <a:pt x="427" y="10053"/>
                  </a:lnTo>
                  <a:lnTo>
                    <a:pt x="452" y="10056"/>
                  </a:lnTo>
                  <a:lnTo>
                    <a:pt x="477" y="10058"/>
                  </a:lnTo>
                  <a:lnTo>
                    <a:pt x="503" y="10059"/>
                  </a:lnTo>
                  <a:lnTo>
                    <a:pt x="10567" y="10059"/>
                  </a:lnTo>
                  <a:lnTo>
                    <a:pt x="10593" y="10058"/>
                  </a:lnTo>
                  <a:lnTo>
                    <a:pt x="10618" y="10056"/>
                  </a:lnTo>
                  <a:lnTo>
                    <a:pt x="10643" y="10053"/>
                  </a:lnTo>
                  <a:lnTo>
                    <a:pt x="10669" y="10049"/>
                  </a:lnTo>
                  <a:lnTo>
                    <a:pt x="10693" y="10043"/>
                  </a:lnTo>
                  <a:lnTo>
                    <a:pt x="10717" y="10037"/>
                  </a:lnTo>
                  <a:lnTo>
                    <a:pt x="10740" y="10029"/>
                  </a:lnTo>
                  <a:lnTo>
                    <a:pt x="10763" y="10020"/>
                  </a:lnTo>
                  <a:lnTo>
                    <a:pt x="10785" y="10010"/>
                  </a:lnTo>
                  <a:lnTo>
                    <a:pt x="10808" y="9999"/>
                  </a:lnTo>
                  <a:lnTo>
                    <a:pt x="10829" y="9987"/>
                  </a:lnTo>
                  <a:lnTo>
                    <a:pt x="10849" y="9974"/>
                  </a:lnTo>
                  <a:lnTo>
                    <a:pt x="10868" y="9960"/>
                  </a:lnTo>
                  <a:lnTo>
                    <a:pt x="10887" y="9945"/>
                  </a:lnTo>
                  <a:lnTo>
                    <a:pt x="10905" y="9928"/>
                  </a:lnTo>
                  <a:lnTo>
                    <a:pt x="10923" y="9912"/>
                  </a:lnTo>
                  <a:lnTo>
                    <a:pt x="10939" y="9894"/>
                  </a:lnTo>
                  <a:lnTo>
                    <a:pt x="10955" y="9876"/>
                  </a:lnTo>
                  <a:lnTo>
                    <a:pt x="10971" y="9857"/>
                  </a:lnTo>
                  <a:lnTo>
                    <a:pt x="10985" y="9838"/>
                  </a:lnTo>
                  <a:lnTo>
                    <a:pt x="10998" y="9817"/>
                  </a:lnTo>
                  <a:lnTo>
                    <a:pt x="11010" y="9797"/>
                  </a:lnTo>
                  <a:lnTo>
                    <a:pt x="11021" y="9775"/>
                  </a:lnTo>
                  <a:lnTo>
                    <a:pt x="11031" y="9752"/>
                  </a:lnTo>
                  <a:lnTo>
                    <a:pt x="11040" y="9729"/>
                  </a:lnTo>
                  <a:lnTo>
                    <a:pt x="11048" y="9706"/>
                  </a:lnTo>
                  <a:lnTo>
                    <a:pt x="11054" y="9682"/>
                  </a:lnTo>
                  <a:lnTo>
                    <a:pt x="11060" y="9658"/>
                  </a:lnTo>
                  <a:lnTo>
                    <a:pt x="11064" y="9633"/>
                  </a:lnTo>
                  <a:lnTo>
                    <a:pt x="11068" y="9608"/>
                  </a:lnTo>
                  <a:lnTo>
                    <a:pt x="11069" y="9582"/>
                  </a:lnTo>
                  <a:lnTo>
                    <a:pt x="11070" y="9556"/>
                  </a:lnTo>
                  <a:lnTo>
                    <a:pt x="11070" y="503"/>
                  </a:lnTo>
                  <a:lnTo>
                    <a:pt x="11069" y="477"/>
                  </a:lnTo>
                  <a:lnTo>
                    <a:pt x="11068" y="452"/>
                  </a:lnTo>
                  <a:lnTo>
                    <a:pt x="11064" y="426"/>
                  </a:lnTo>
                  <a:lnTo>
                    <a:pt x="11060" y="401"/>
                  </a:lnTo>
                  <a:lnTo>
                    <a:pt x="11054" y="377"/>
                  </a:lnTo>
                  <a:lnTo>
                    <a:pt x="11048" y="353"/>
                  </a:lnTo>
                  <a:lnTo>
                    <a:pt x="11040" y="330"/>
                  </a:lnTo>
                  <a:lnTo>
                    <a:pt x="11031" y="307"/>
                  </a:lnTo>
                  <a:lnTo>
                    <a:pt x="11021" y="285"/>
                  </a:lnTo>
                  <a:lnTo>
                    <a:pt x="11010" y="263"/>
                  </a:lnTo>
                  <a:lnTo>
                    <a:pt x="10998" y="242"/>
                  </a:lnTo>
                  <a:lnTo>
                    <a:pt x="10985" y="221"/>
                  </a:lnTo>
                  <a:lnTo>
                    <a:pt x="10971" y="202"/>
                  </a:lnTo>
                  <a:lnTo>
                    <a:pt x="10955" y="183"/>
                  </a:lnTo>
                  <a:lnTo>
                    <a:pt x="10939" y="165"/>
                  </a:lnTo>
                  <a:lnTo>
                    <a:pt x="10923" y="147"/>
                  </a:lnTo>
                  <a:lnTo>
                    <a:pt x="10905" y="131"/>
                  </a:lnTo>
                  <a:lnTo>
                    <a:pt x="10887" y="115"/>
                  </a:lnTo>
                  <a:lnTo>
                    <a:pt x="10868" y="99"/>
                  </a:lnTo>
                  <a:lnTo>
                    <a:pt x="10849" y="85"/>
                  </a:lnTo>
                  <a:lnTo>
                    <a:pt x="10829" y="72"/>
                  </a:lnTo>
                  <a:lnTo>
                    <a:pt x="10808" y="60"/>
                  </a:lnTo>
                  <a:lnTo>
                    <a:pt x="10785" y="49"/>
                  </a:lnTo>
                  <a:lnTo>
                    <a:pt x="10763" y="39"/>
                  </a:lnTo>
                  <a:lnTo>
                    <a:pt x="10740" y="30"/>
                  </a:lnTo>
                  <a:lnTo>
                    <a:pt x="10717" y="22"/>
                  </a:lnTo>
                  <a:lnTo>
                    <a:pt x="10693" y="16"/>
                  </a:lnTo>
                  <a:lnTo>
                    <a:pt x="10669" y="10"/>
                  </a:lnTo>
                  <a:lnTo>
                    <a:pt x="10643" y="6"/>
                  </a:lnTo>
                  <a:lnTo>
                    <a:pt x="10618" y="3"/>
                  </a:lnTo>
                  <a:lnTo>
                    <a:pt x="10593" y="1"/>
                  </a:lnTo>
                  <a:lnTo>
                    <a:pt x="105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5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411" name="iṥḷiḋê">
              <a:extLst>
                <a:ext uri="{FF2B5EF4-FFF2-40B4-BE49-F238E27FC236}">
                  <a16:creationId xmlns:a16="http://schemas.microsoft.com/office/drawing/2014/main" id="{4743D812-1654-4AEC-B355-E191536343A6}"/>
                </a:ext>
              </a:extLst>
            </p:cNvPr>
            <p:cNvSpPr/>
            <p:nvPr/>
          </p:nvSpPr>
          <p:spPr bwMode="auto">
            <a:xfrm>
              <a:off x="11250990" y="570346"/>
              <a:ext cx="64307" cy="65100"/>
            </a:xfrm>
            <a:custGeom>
              <a:avLst/>
              <a:gdLst>
                <a:gd name="T0" fmla="*/ 1712 w 3019"/>
                <a:gd name="T1" fmla="*/ 523 h 3018"/>
                <a:gd name="T2" fmla="*/ 1946 w 3019"/>
                <a:gd name="T3" fmla="*/ 602 h 3018"/>
                <a:gd name="T4" fmla="*/ 2150 w 3019"/>
                <a:gd name="T5" fmla="*/ 732 h 3018"/>
                <a:gd name="T6" fmla="*/ 2316 w 3019"/>
                <a:gd name="T7" fmla="*/ 907 h 3018"/>
                <a:gd name="T8" fmla="*/ 2437 w 3019"/>
                <a:gd name="T9" fmla="*/ 1117 h 3018"/>
                <a:gd name="T10" fmla="*/ 2504 w 3019"/>
                <a:gd name="T11" fmla="*/ 1356 h 3018"/>
                <a:gd name="T12" fmla="*/ 2511 w 3019"/>
                <a:gd name="T13" fmla="*/ 1611 h 3018"/>
                <a:gd name="T14" fmla="*/ 2455 w 3019"/>
                <a:gd name="T15" fmla="*/ 1854 h 3018"/>
                <a:gd name="T16" fmla="*/ 2344 w 3019"/>
                <a:gd name="T17" fmla="*/ 2071 h 3018"/>
                <a:gd name="T18" fmla="*/ 2186 w 3019"/>
                <a:gd name="T19" fmla="*/ 2253 h 3018"/>
                <a:gd name="T20" fmla="*/ 1989 w 3019"/>
                <a:gd name="T21" fmla="*/ 2393 h 3018"/>
                <a:gd name="T22" fmla="*/ 1761 w 3019"/>
                <a:gd name="T23" fmla="*/ 2482 h 3018"/>
                <a:gd name="T24" fmla="*/ 1510 w 3019"/>
                <a:gd name="T25" fmla="*/ 2515 h 3018"/>
                <a:gd name="T26" fmla="*/ 1258 w 3019"/>
                <a:gd name="T27" fmla="*/ 2482 h 3018"/>
                <a:gd name="T28" fmla="*/ 1031 w 3019"/>
                <a:gd name="T29" fmla="*/ 2393 h 3018"/>
                <a:gd name="T30" fmla="*/ 833 w 3019"/>
                <a:gd name="T31" fmla="*/ 2253 h 3018"/>
                <a:gd name="T32" fmla="*/ 675 w 3019"/>
                <a:gd name="T33" fmla="*/ 2071 h 3018"/>
                <a:gd name="T34" fmla="*/ 565 w 3019"/>
                <a:gd name="T35" fmla="*/ 1854 h 3018"/>
                <a:gd name="T36" fmla="*/ 508 w 3019"/>
                <a:gd name="T37" fmla="*/ 1611 h 3018"/>
                <a:gd name="T38" fmla="*/ 514 w 3019"/>
                <a:gd name="T39" fmla="*/ 1356 h 3018"/>
                <a:gd name="T40" fmla="*/ 583 w 3019"/>
                <a:gd name="T41" fmla="*/ 1117 h 3018"/>
                <a:gd name="T42" fmla="*/ 704 w 3019"/>
                <a:gd name="T43" fmla="*/ 907 h 3018"/>
                <a:gd name="T44" fmla="*/ 870 w 3019"/>
                <a:gd name="T45" fmla="*/ 732 h 3018"/>
                <a:gd name="T46" fmla="*/ 1074 w 3019"/>
                <a:gd name="T47" fmla="*/ 602 h 3018"/>
                <a:gd name="T48" fmla="*/ 1308 w 3019"/>
                <a:gd name="T49" fmla="*/ 523 h 3018"/>
                <a:gd name="T50" fmla="*/ 1510 w 3019"/>
                <a:gd name="T51" fmla="*/ 3018 h 3018"/>
                <a:gd name="T52" fmla="*/ 1887 w 3019"/>
                <a:gd name="T53" fmla="*/ 2969 h 3018"/>
                <a:gd name="T54" fmla="*/ 2229 w 3019"/>
                <a:gd name="T55" fmla="*/ 2836 h 3018"/>
                <a:gd name="T56" fmla="*/ 2525 w 3019"/>
                <a:gd name="T57" fmla="*/ 2625 h 3018"/>
                <a:gd name="T58" fmla="*/ 2762 w 3019"/>
                <a:gd name="T59" fmla="*/ 2352 h 3018"/>
                <a:gd name="T60" fmla="*/ 2928 w 3019"/>
                <a:gd name="T61" fmla="*/ 2028 h 3018"/>
                <a:gd name="T62" fmla="*/ 3011 w 3019"/>
                <a:gd name="T63" fmla="*/ 1663 h 3018"/>
                <a:gd name="T64" fmla="*/ 3002 w 3019"/>
                <a:gd name="T65" fmla="*/ 1278 h 3018"/>
                <a:gd name="T66" fmla="*/ 2901 w 3019"/>
                <a:gd name="T67" fmla="*/ 921 h 3018"/>
                <a:gd name="T68" fmla="*/ 2719 w 3019"/>
                <a:gd name="T69" fmla="*/ 605 h 3018"/>
                <a:gd name="T70" fmla="*/ 2470 w 3019"/>
                <a:gd name="T71" fmla="*/ 344 h 3018"/>
                <a:gd name="T72" fmla="*/ 2164 w 3019"/>
                <a:gd name="T73" fmla="*/ 149 h 3018"/>
                <a:gd name="T74" fmla="*/ 1814 w 3019"/>
                <a:gd name="T75" fmla="*/ 30 h 3018"/>
                <a:gd name="T76" fmla="*/ 1432 w 3019"/>
                <a:gd name="T77" fmla="*/ 2 h 3018"/>
                <a:gd name="T78" fmla="*/ 1061 w 3019"/>
                <a:gd name="T79" fmla="*/ 67 h 3018"/>
                <a:gd name="T80" fmla="*/ 727 w 3019"/>
                <a:gd name="T81" fmla="*/ 218 h 3018"/>
                <a:gd name="T82" fmla="*/ 442 w 3019"/>
                <a:gd name="T83" fmla="*/ 441 h 3018"/>
                <a:gd name="T84" fmla="*/ 219 w 3019"/>
                <a:gd name="T85" fmla="*/ 726 h 3018"/>
                <a:gd name="T86" fmla="*/ 68 w 3019"/>
                <a:gd name="T87" fmla="*/ 1060 h 3018"/>
                <a:gd name="T88" fmla="*/ 2 w 3019"/>
                <a:gd name="T89" fmla="*/ 1431 h 3018"/>
                <a:gd name="T90" fmla="*/ 30 w 3019"/>
                <a:gd name="T91" fmla="*/ 1812 h 3018"/>
                <a:gd name="T92" fmla="*/ 149 w 3019"/>
                <a:gd name="T93" fmla="*/ 2163 h 3018"/>
                <a:gd name="T94" fmla="*/ 344 w 3019"/>
                <a:gd name="T95" fmla="*/ 2468 h 3018"/>
                <a:gd name="T96" fmla="*/ 606 w 3019"/>
                <a:gd name="T97" fmla="*/ 2718 h 3018"/>
                <a:gd name="T98" fmla="*/ 922 w 3019"/>
                <a:gd name="T99" fmla="*/ 2899 h 3018"/>
                <a:gd name="T100" fmla="*/ 1280 w 3019"/>
                <a:gd name="T101" fmla="*/ 2999 h 30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019" h="3018">
                  <a:moveTo>
                    <a:pt x="1510" y="503"/>
                  </a:moveTo>
                  <a:lnTo>
                    <a:pt x="1561" y="504"/>
                  </a:lnTo>
                  <a:lnTo>
                    <a:pt x="1612" y="508"/>
                  </a:lnTo>
                  <a:lnTo>
                    <a:pt x="1663" y="514"/>
                  </a:lnTo>
                  <a:lnTo>
                    <a:pt x="1712" y="523"/>
                  </a:lnTo>
                  <a:lnTo>
                    <a:pt x="1761" y="534"/>
                  </a:lnTo>
                  <a:lnTo>
                    <a:pt x="1809" y="548"/>
                  </a:lnTo>
                  <a:lnTo>
                    <a:pt x="1856" y="564"/>
                  </a:lnTo>
                  <a:lnTo>
                    <a:pt x="1901" y="581"/>
                  </a:lnTo>
                  <a:lnTo>
                    <a:pt x="1946" y="602"/>
                  </a:lnTo>
                  <a:lnTo>
                    <a:pt x="1989" y="624"/>
                  </a:lnTo>
                  <a:lnTo>
                    <a:pt x="2031" y="649"/>
                  </a:lnTo>
                  <a:lnTo>
                    <a:pt x="2072" y="675"/>
                  </a:lnTo>
                  <a:lnTo>
                    <a:pt x="2112" y="703"/>
                  </a:lnTo>
                  <a:lnTo>
                    <a:pt x="2150" y="732"/>
                  </a:lnTo>
                  <a:lnTo>
                    <a:pt x="2186" y="764"/>
                  </a:lnTo>
                  <a:lnTo>
                    <a:pt x="2221" y="797"/>
                  </a:lnTo>
                  <a:lnTo>
                    <a:pt x="2255" y="833"/>
                  </a:lnTo>
                  <a:lnTo>
                    <a:pt x="2286" y="869"/>
                  </a:lnTo>
                  <a:lnTo>
                    <a:pt x="2316" y="907"/>
                  </a:lnTo>
                  <a:lnTo>
                    <a:pt x="2344" y="946"/>
                  </a:lnTo>
                  <a:lnTo>
                    <a:pt x="2370" y="988"/>
                  </a:lnTo>
                  <a:lnTo>
                    <a:pt x="2394" y="1029"/>
                  </a:lnTo>
                  <a:lnTo>
                    <a:pt x="2417" y="1073"/>
                  </a:lnTo>
                  <a:lnTo>
                    <a:pt x="2437" y="1117"/>
                  </a:lnTo>
                  <a:lnTo>
                    <a:pt x="2455" y="1163"/>
                  </a:lnTo>
                  <a:lnTo>
                    <a:pt x="2471" y="1210"/>
                  </a:lnTo>
                  <a:lnTo>
                    <a:pt x="2484" y="1257"/>
                  </a:lnTo>
                  <a:lnTo>
                    <a:pt x="2496" y="1305"/>
                  </a:lnTo>
                  <a:lnTo>
                    <a:pt x="2504" y="1356"/>
                  </a:lnTo>
                  <a:lnTo>
                    <a:pt x="2511" y="1406"/>
                  </a:lnTo>
                  <a:lnTo>
                    <a:pt x="2515" y="1456"/>
                  </a:lnTo>
                  <a:lnTo>
                    <a:pt x="2516" y="1509"/>
                  </a:lnTo>
                  <a:lnTo>
                    <a:pt x="2515" y="1560"/>
                  </a:lnTo>
                  <a:lnTo>
                    <a:pt x="2511" y="1611"/>
                  </a:lnTo>
                  <a:lnTo>
                    <a:pt x="2504" y="1662"/>
                  </a:lnTo>
                  <a:lnTo>
                    <a:pt x="2496" y="1711"/>
                  </a:lnTo>
                  <a:lnTo>
                    <a:pt x="2484" y="1759"/>
                  </a:lnTo>
                  <a:lnTo>
                    <a:pt x="2471" y="1807"/>
                  </a:lnTo>
                  <a:lnTo>
                    <a:pt x="2455" y="1854"/>
                  </a:lnTo>
                  <a:lnTo>
                    <a:pt x="2437" y="1900"/>
                  </a:lnTo>
                  <a:lnTo>
                    <a:pt x="2417" y="1944"/>
                  </a:lnTo>
                  <a:lnTo>
                    <a:pt x="2394" y="1988"/>
                  </a:lnTo>
                  <a:lnTo>
                    <a:pt x="2370" y="2030"/>
                  </a:lnTo>
                  <a:lnTo>
                    <a:pt x="2344" y="2071"/>
                  </a:lnTo>
                  <a:lnTo>
                    <a:pt x="2316" y="2110"/>
                  </a:lnTo>
                  <a:lnTo>
                    <a:pt x="2286" y="2148"/>
                  </a:lnTo>
                  <a:lnTo>
                    <a:pt x="2255" y="2185"/>
                  </a:lnTo>
                  <a:lnTo>
                    <a:pt x="2221" y="2220"/>
                  </a:lnTo>
                  <a:lnTo>
                    <a:pt x="2186" y="2253"/>
                  </a:lnTo>
                  <a:lnTo>
                    <a:pt x="2150" y="2284"/>
                  </a:lnTo>
                  <a:lnTo>
                    <a:pt x="2112" y="2314"/>
                  </a:lnTo>
                  <a:lnTo>
                    <a:pt x="2072" y="2343"/>
                  </a:lnTo>
                  <a:lnTo>
                    <a:pt x="2031" y="2369"/>
                  </a:lnTo>
                  <a:lnTo>
                    <a:pt x="1989" y="2393"/>
                  </a:lnTo>
                  <a:lnTo>
                    <a:pt x="1946" y="2415"/>
                  </a:lnTo>
                  <a:lnTo>
                    <a:pt x="1901" y="2435"/>
                  </a:lnTo>
                  <a:lnTo>
                    <a:pt x="1856" y="2453"/>
                  </a:lnTo>
                  <a:lnTo>
                    <a:pt x="1809" y="2469"/>
                  </a:lnTo>
                  <a:lnTo>
                    <a:pt x="1761" y="2482"/>
                  </a:lnTo>
                  <a:lnTo>
                    <a:pt x="1712" y="2494"/>
                  </a:lnTo>
                  <a:lnTo>
                    <a:pt x="1663" y="2503"/>
                  </a:lnTo>
                  <a:lnTo>
                    <a:pt x="1612" y="2510"/>
                  </a:lnTo>
                  <a:lnTo>
                    <a:pt x="1561" y="2514"/>
                  </a:lnTo>
                  <a:lnTo>
                    <a:pt x="1510" y="2515"/>
                  </a:lnTo>
                  <a:lnTo>
                    <a:pt x="1458" y="2514"/>
                  </a:lnTo>
                  <a:lnTo>
                    <a:pt x="1407" y="2510"/>
                  </a:lnTo>
                  <a:lnTo>
                    <a:pt x="1357" y="2503"/>
                  </a:lnTo>
                  <a:lnTo>
                    <a:pt x="1308" y="2494"/>
                  </a:lnTo>
                  <a:lnTo>
                    <a:pt x="1258" y="2482"/>
                  </a:lnTo>
                  <a:lnTo>
                    <a:pt x="1211" y="2469"/>
                  </a:lnTo>
                  <a:lnTo>
                    <a:pt x="1165" y="2453"/>
                  </a:lnTo>
                  <a:lnTo>
                    <a:pt x="1118" y="2435"/>
                  </a:lnTo>
                  <a:lnTo>
                    <a:pt x="1074" y="2415"/>
                  </a:lnTo>
                  <a:lnTo>
                    <a:pt x="1031" y="2393"/>
                  </a:lnTo>
                  <a:lnTo>
                    <a:pt x="988" y="2369"/>
                  </a:lnTo>
                  <a:lnTo>
                    <a:pt x="947" y="2343"/>
                  </a:lnTo>
                  <a:lnTo>
                    <a:pt x="908" y="2314"/>
                  </a:lnTo>
                  <a:lnTo>
                    <a:pt x="870" y="2284"/>
                  </a:lnTo>
                  <a:lnTo>
                    <a:pt x="833" y="2253"/>
                  </a:lnTo>
                  <a:lnTo>
                    <a:pt x="798" y="2220"/>
                  </a:lnTo>
                  <a:lnTo>
                    <a:pt x="765" y="2185"/>
                  </a:lnTo>
                  <a:lnTo>
                    <a:pt x="734" y="2148"/>
                  </a:lnTo>
                  <a:lnTo>
                    <a:pt x="704" y="2110"/>
                  </a:lnTo>
                  <a:lnTo>
                    <a:pt x="675" y="2071"/>
                  </a:lnTo>
                  <a:lnTo>
                    <a:pt x="649" y="2030"/>
                  </a:lnTo>
                  <a:lnTo>
                    <a:pt x="625" y="1988"/>
                  </a:lnTo>
                  <a:lnTo>
                    <a:pt x="603" y="1944"/>
                  </a:lnTo>
                  <a:lnTo>
                    <a:pt x="583" y="1900"/>
                  </a:lnTo>
                  <a:lnTo>
                    <a:pt x="565" y="1854"/>
                  </a:lnTo>
                  <a:lnTo>
                    <a:pt x="549" y="1807"/>
                  </a:lnTo>
                  <a:lnTo>
                    <a:pt x="536" y="1759"/>
                  </a:lnTo>
                  <a:lnTo>
                    <a:pt x="524" y="1711"/>
                  </a:lnTo>
                  <a:lnTo>
                    <a:pt x="514" y="1662"/>
                  </a:lnTo>
                  <a:lnTo>
                    <a:pt x="508" y="1611"/>
                  </a:lnTo>
                  <a:lnTo>
                    <a:pt x="504" y="1560"/>
                  </a:lnTo>
                  <a:lnTo>
                    <a:pt x="503" y="1509"/>
                  </a:lnTo>
                  <a:lnTo>
                    <a:pt x="504" y="1456"/>
                  </a:lnTo>
                  <a:lnTo>
                    <a:pt x="508" y="1406"/>
                  </a:lnTo>
                  <a:lnTo>
                    <a:pt x="514" y="1356"/>
                  </a:lnTo>
                  <a:lnTo>
                    <a:pt x="524" y="1305"/>
                  </a:lnTo>
                  <a:lnTo>
                    <a:pt x="536" y="1257"/>
                  </a:lnTo>
                  <a:lnTo>
                    <a:pt x="549" y="1210"/>
                  </a:lnTo>
                  <a:lnTo>
                    <a:pt x="565" y="1163"/>
                  </a:lnTo>
                  <a:lnTo>
                    <a:pt x="583" y="1117"/>
                  </a:lnTo>
                  <a:lnTo>
                    <a:pt x="603" y="1073"/>
                  </a:lnTo>
                  <a:lnTo>
                    <a:pt x="625" y="1029"/>
                  </a:lnTo>
                  <a:lnTo>
                    <a:pt x="649" y="988"/>
                  </a:lnTo>
                  <a:lnTo>
                    <a:pt x="675" y="946"/>
                  </a:lnTo>
                  <a:lnTo>
                    <a:pt x="704" y="907"/>
                  </a:lnTo>
                  <a:lnTo>
                    <a:pt x="734" y="869"/>
                  </a:lnTo>
                  <a:lnTo>
                    <a:pt x="765" y="833"/>
                  </a:lnTo>
                  <a:lnTo>
                    <a:pt x="798" y="797"/>
                  </a:lnTo>
                  <a:lnTo>
                    <a:pt x="833" y="764"/>
                  </a:lnTo>
                  <a:lnTo>
                    <a:pt x="870" y="732"/>
                  </a:lnTo>
                  <a:lnTo>
                    <a:pt x="908" y="703"/>
                  </a:lnTo>
                  <a:lnTo>
                    <a:pt x="947" y="675"/>
                  </a:lnTo>
                  <a:lnTo>
                    <a:pt x="988" y="649"/>
                  </a:lnTo>
                  <a:lnTo>
                    <a:pt x="1031" y="624"/>
                  </a:lnTo>
                  <a:lnTo>
                    <a:pt x="1074" y="602"/>
                  </a:lnTo>
                  <a:lnTo>
                    <a:pt x="1118" y="581"/>
                  </a:lnTo>
                  <a:lnTo>
                    <a:pt x="1165" y="564"/>
                  </a:lnTo>
                  <a:lnTo>
                    <a:pt x="1211" y="548"/>
                  </a:lnTo>
                  <a:lnTo>
                    <a:pt x="1258" y="534"/>
                  </a:lnTo>
                  <a:lnTo>
                    <a:pt x="1308" y="523"/>
                  </a:lnTo>
                  <a:lnTo>
                    <a:pt x="1357" y="514"/>
                  </a:lnTo>
                  <a:lnTo>
                    <a:pt x="1407" y="508"/>
                  </a:lnTo>
                  <a:lnTo>
                    <a:pt x="1458" y="504"/>
                  </a:lnTo>
                  <a:lnTo>
                    <a:pt x="1510" y="503"/>
                  </a:lnTo>
                  <a:close/>
                  <a:moveTo>
                    <a:pt x="1510" y="3018"/>
                  </a:moveTo>
                  <a:lnTo>
                    <a:pt x="1587" y="3016"/>
                  </a:lnTo>
                  <a:lnTo>
                    <a:pt x="1664" y="3010"/>
                  </a:lnTo>
                  <a:lnTo>
                    <a:pt x="1739" y="2999"/>
                  </a:lnTo>
                  <a:lnTo>
                    <a:pt x="1814" y="2986"/>
                  </a:lnTo>
                  <a:lnTo>
                    <a:pt x="1887" y="2969"/>
                  </a:lnTo>
                  <a:lnTo>
                    <a:pt x="1959" y="2949"/>
                  </a:lnTo>
                  <a:lnTo>
                    <a:pt x="2029" y="2926"/>
                  </a:lnTo>
                  <a:lnTo>
                    <a:pt x="2098" y="2899"/>
                  </a:lnTo>
                  <a:lnTo>
                    <a:pt x="2164" y="2869"/>
                  </a:lnTo>
                  <a:lnTo>
                    <a:pt x="2229" y="2836"/>
                  </a:lnTo>
                  <a:lnTo>
                    <a:pt x="2293" y="2799"/>
                  </a:lnTo>
                  <a:lnTo>
                    <a:pt x="2354" y="2760"/>
                  </a:lnTo>
                  <a:lnTo>
                    <a:pt x="2413" y="2718"/>
                  </a:lnTo>
                  <a:lnTo>
                    <a:pt x="2470" y="2673"/>
                  </a:lnTo>
                  <a:lnTo>
                    <a:pt x="2525" y="2625"/>
                  </a:lnTo>
                  <a:lnTo>
                    <a:pt x="2578" y="2575"/>
                  </a:lnTo>
                  <a:lnTo>
                    <a:pt x="2627" y="2523"/>
                  </a:lnTo>
                  <a:lnTo>
                    <a:pt x="2675" y="2468"/>
                  </a:lnTo>
                  <a:lnTo>
                    <a:pt x="2719" y="2411"/>
                  </a:lnTo>
                  <a:lnTo>
                    <a:pt x="2762" y="2352"/>
                  </a:lnTo>
                  <a:lnTo>
                    <a:pt x="2801" y="2291"/>
                  </a:lnTo>
                  <a:lnTo>
                    <a:pt x="2837" y="2228"/>
                  </a:lnTo>
                  <a:lnTo>
                    <a:pt x="2870" y="2163"/>
                  </a:lnTo>
                  <a:lnTo>
                    <a:pt x="2901" y="2096"/>
                  </a:lnTo>
                  <a:lnTo>
                    <a:pt x="2928" y="2028"/>
                  </a:lnTo>
                  <a:lnTo>
                    <a:pt x="2952" y="1957"/>
                  </a:lnTo>
                  <a:lnTo>
                    <a:pt x="2972" y="1886"/>
                  </a:lnTo>
                  <a:lnTo>
                    <a:pt x="2989" y="1812"/>
                  </a:lnTo>
                  <a:lnTo>
                    <a:pt x="3002" y="1738"/>
                  </a:lnTo>
                  <a:lnTo>
                    <a:pt x="3011" y="1663"/>
                  </a:lnTo>
                  <a:lnTo>
                    <a:pt x="3017" y="1586"/>
                  </a:lnTo>
                  <a:lnTo>
                    <a:pt x="3019" y="1509"/>
                  </a:lnTo>
                  <a:lnTo>
                    <a:pt x="3017" y="1431"/>
                  </a:lnTo>
                  <a:lnTo>
                    <a:pt x="3011" y="1354"/>
                  </a:lnTo>
                  <a:lnTo>
                    <a:pt x="3002" y="1278"/>
                  </a:lnTo>
                  <a:lnTo>
                    <a:pt x="2989" y="1204"/>
                  </a:lnTo>
                  <a:lnTo>
                    <a:pt x="2972" y="1131"/>
                  </a:lnTo>
                  <a:lnTo>
                    <a:pt x="2952" y="1060"/>
                  </a:lnTo>
                  <a:lnTo>
                    <a:pt x="2928" y="990"/>
                  </a:lnTo>
                  <a:lnTo>
                    <a:pt x="2901" y="921"/>
                  </a:lnTo>
                  <a:lnTo>
                    <a:pt x="2870" y="854"/>
                  </a:lnTo>
                  <a:lnTo>
                    <a:pt x="2837" y="789"/>
                  </a:lnTo>
                  <a:lnTo>
                    <a:pt x="2801" y="726"/>
                  </a:lnTo>
                  <a:lnTo>
                    <a:pt x="2762" y="665"/>
                  </a:lnTo>
                  <a:lnTo>
                    <a:pt x="2719" y="605"/>
                  </a:lnTo>
                  <a:lnTo>
                    <a:pt x="2675" y="549"/>
                  </a:lnTo>
                  <a:lnTo>
                    <a:pt x="2627" y="494"/>
                  </a:lnTo>
                  <a:lnTo>
                    <a:pt x="2578" y="441"/>
                  </a:lnTo>
                  <a:lnTo>
                    <a:pt x="2525" y="391"/>
                  </a:lnTo>
                  <a:lnTo>
                    <a:pt x="2470" y="344"/>
                  </a:lnTo>
                  <a:lnTo>
                    <a:pt x="2413" y="300"/>
                  </a:lnTo>
                  <a:lnTo>
                    <a:pt x="2354" y="257"/>
                  </a:lnTo>
                  <a:lnTo>
                    <a:pt x="2293" y="218"/>
                  </a:lnTo>
                  <a:lnTo>
                    <a:pt x="2229" y="182"/>
                  </a:lnTo>
                  <a:lnTo>
                    <a:pt x="2164" y="149"/>
                  </a:lnTo>
                  <a:lnTo>
                    <a:pt x="2098" y="118"/>
                  </a:lnTo>
                  <a:lnTo>
                    <a:pt x="2029" y="91"/>
                  </a:lnTo>
                  <a:lnTo>
                    <a:pt x="1959" y="67"/>
                  </a:lnTo>
                  <a:lnTo>
                    <a:pt x="1887" y="47"/>
                  </a:lnTo>
                  <a:lnTo>
                    <a:pt x="1814" y="30"/>
                  </a:lnTo>
                  <a:lnTo>
                    <a:pt x="1739" y="17"/>
                  </a:lnTo>
                  <a:lnTo>
                    <a:pt x="1664" y="8"/>
                  </a:lnTo>
                  <a:lnTo>
                    <a:pt x="1587" y="2"/>
                  </a:lnTo>
                  <a:lnTo>
                    <a:pt x="1510" y="0"/>
                  </a:lnTo>
                  <a:lnTo>
                    <a:pt x="1432" y="2"/>
                  </a:lnTo>
                  <a:lnTo>
                    <a:pt x="1356" y="8"/>
                  </a:lnTo>
                  <a:lnTo>
                    <a:pt x="1280" y="17"/>
                  </a:lnTo>
                  <a:lnTo>
                    <a:pt x="1206" y="30"/>
                  </a:lnTo>
                  <a:lnTo>
                    <a:pt x="1132" y="47"/>
                  </a:lnTo>
                  <a:lnTo>
                    <a:pt x="1061" y="67"/>
                  </a:lnTo>
                  <a:lnTo>
                    <a:pt x="990" y="91"/>
                  </a:lnTo>
                  <a:lnTo>
                    <a:pt x="922" y="118"/>
                  </a:lnTo>
                  <a:lnTo>
                    <a:pt x="856" y="149"/>
                  </a:lnTo>
                  <a:lnTo>
                    <a:pt x="790" y="182"/>
                  </a:lnTo>
                  <a:lnTo>
                    <a:pt x="727" y="218"/>
                  </a:lnTo>
                  <a:lnTo>
                    <a:pt x="665" y="257"/>
                  </a:lnTo>
                  <a:lnTo>
                    <a:pt x="606" y="300"/>
                  </a:lnTo>
                  <a:lnTo>
                    <a:pt x="550" y="344"/>
                  </a:lnTo>
                  <a:lnTo>
                    <a:pt x="494" y="391"/>
                  </a:lnTo>
                  <a:lnTo>
                    <a:pt x="442" y="441"/>
                  </a:lnTo>
                  <a:lnTo>
                    <a:pt x="393" y="494"/>
                  </a:lnTo>
                  <a:lnTo>
                    <a:pt x="344" y="549"/>
                  </a:lnTo>
                  <a:lnTo>
                    <a:pt x="300" y="605"/>
                  </a:lnTo>
                  <a:lnTo>
                    <a:pt x="258" y="665"/>
                  </a:lnTo>
                  <a:lnTo>
                    <a:pt x="219" y="726"/>
                  </a:lnTo>
                  <a:lnTo>
                    <a:pt x="182" y="789"/>
                  </a:lnTo>
                  <a:lnTo>
                    <a:pt x="149" y="854"/>
                  </a:lnTo>
                  <a:lnTo>
                    <a:pt x="119" y="921"/>
                  </a:lnTo>
                  <a:lnTo>
                    <a:pt x="92" y="990"/>
                  </a:lnTo>
                  <a:lnTo>
                    <a:pt x="68" y="1060"/>
                  </a:lnTo>
                  <a:lnTo>
                    <a:pt x="48" y="1131"/>
                  </a:lnTo>
                  <a:lnTo>
                    <a:pt x="30" y="1204"/>
                  </a:lnTo>
                  <a:lnTo>
                    <a:pt x="17" y="1278"/>
                  </a:lnTo>
                  <a:lnTo>
                    <a:pt x="8" y="1354"/>
                  </a:lnTo>
                  <a:lnTo>
                    <a:pt x="2" y="1431"/>
                  </a:lnTo>
                  <a:lnTo>
                    <a:pt x="0" y="1509"/>
                  </a:lnTo>
                  <a:lnTo>
                    <a:pt x="2" y="1586"/>
                  </a:lnTo>
                  <a:lnTo>
                    <a:pt x="8" y="1663"/>
                  </a:lnTo>
                  <a:lnTo>
                    <a:pt x="17" y="1738"/>
                  </a:lnTo>
                  <a:lnTo>
                    <a:pt x="30" y="1812"/>
                  </a:lnTo>
                  <a:lnTo>
                    <a:pt x="48" y="1886"/>
                  </a:lnTo>
                  <a:lnTo>
                    <a:pt x="68" y="1957"/>
                  </a:lnTo>
                  <a:lnTo>
                    <a:pt x="92" y="2028"/>
                  </a:lnTo>
                  <a:lnTo>
                    <a:pt x="119" y="2096"/>
                  </a:lnTo>
                  <a:lnTo>
                    <a:pt x="149" y="2163"/>
                  </a:lnTo>
                  <a:lnTo>
                    <a:pt x="182" y="2228"/>
                  </a:lnTo>
                  <a:lnTo>
                    <a:pt x="219" y="2291"/>
                  </a:lnTo>
                  <a:lnTo>
                    <a:pt x="258" y="2352"/>
                  </a:lnTo>
                  <a:lnTo>
                    <a:pt x="300" y="2411"/>
                  </a:lnTo>
                  <a:lnTo>
                    <a:pt x="344" y="2468"/>
                  </a:lnTo>
                  <a:lnTo>
                    <a:pt x="393" y="2523"/>
                  </a:lnTo>
                  <a:lnTo>
                    <a:pt x="442" y="2575"/>
                  </a:lnTo>
                  <a:lnTo>
                    <a:pt x="494" y="2625"/>
                  </a:lnTo>
                  <a:lnTo>
                    <a:pt x="550" y="2673"/>
                  </a:lnTo>
                  <a:lnTo>
                    <a:pt x="606" y="2718"/>
                  </a:lnTo>
                  <a:lnTo>
                    <a:pt x="665" y="2760"/>
                  </a:lnTo>
                  <a:lnTo>
                    <a:pt x="727" y="2799"/>
                  </a:lnTo>
                  <a:lnTo>
                    <a:pt x="790" y="2836"/>
                  </a:lnTo>
                  <a:lnTo>
                    <a:pt x="856" y="2869"/>
                  </a:lnTo>
                  <a:lnTo>
                    <a:pt x="922" y="2899"/>
                  </a:lnTo>
                  <a:lnTo>
                    <a:pt x="990" y="2926"/>
                  </a:lnTo>
                  <a:lnTo>
                    <a:pt x="1061" y="2949"/>
                  </a:lnTo>
                  <a:lnTo>
                    <a:pt x="1132" y="2969"/>
                  </a:lnTo>
                  <a:lnTo>
                    <a:pt x="1206" y="2986"/>
                  </a:lnTo>
                  <a:lnTo>
                    <a:pt x="1280" y="2999"/>
                  </a:lnTo>
                  <a:lnTo>
                    <a:pt x="1356" y="3010"/>
                  </a:lnTo>
                  <a:lnTo>
                    <a:pt x="1432" y="3016"/>
                  </a:lnTo>
                  <a:lnTo>
                    <a:pt x="1510" y="30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412" name="ïṩḷidé">
              <a:extLst>
                <a:ext uri="{FF2B5EF4-FFF2-40B4-BE49-F238E27FC236}">
                  <a16:creationId xmlns:a16="http://schemas.microsoft.com/office/drawing/2014/main" id="{76FC9677-C537-4BD7-9DE4-6AA77A54AA88}"/>
                </a:ext>
              </a:extLst>
            </p:cNvPr>
            <p:cNvSpPr/>
            <p:nvPr/>
          </p:nvSpPr>
          <p:spPr bwMode="auto">
            <a:xfrm>
              <a:off x="10998418" y="902706"/>
              <a:ext cx="231062" cy="231062"/>
            </a:xfrm>
            <a:custGeom>
              <a:avLst/>
              <a:gdLst>
                <a:gd name="T0" fmla="*/ 15044 w 16095"/>
                <a:gd name="T1" fmla="*/ 14382 h 16095"/>
                <a:gd name="T2" fmla="*/ 14889 w 16095"/>
                <a:gd name="T3" fmla="*/ 14685 h 16095"/>
                <a:gd name="T4" fmla="*/ 14645 w 16095"/>
                <a:gd name="T5" fmla="*/ 14917 h 16095"/>
                <a:gd name="T6" fmla="*/ 14335 w 16095"/>
                <a:gd name="T7" fmla="*/ 15057 h 16095"/>
                <a:gd name="T8" fmla="*/ 1961 w 16095"/>
                <a:gd name="T9" fmla="*/ 15088 h 16095"/>
                <a:gd name="T10" fmla="*/ 1621 w 16095"/>
                <a:gd name="T11" fmla="*/ 15010 h 16095"/>
                <a:gd name="T12" fmla="*/ 1336 w 16095"/>
                <a:gd name="T13" fmla="*/ 14828 h 16095"/>
                <a:gd name="T14" fmla="*/ 1128 w 16095"/>
                <a:gd name="T15" fmla="*/ 14562 h 16095"/>
                <a:gd name="T16" fmla="*/ 1017 w 16095"/>
                <a:gd name="T17" fmla="*/ 14236 h 16095"/>
                <a:gd name="T18" fmla="*/ 1012 w 16095"/>
                <a:gd name="T19" fmla="*/ 3947 h 16095"/>
                <a:gd name="T20" fmla="*/ 1066 w 16095"/>
                <a:gd name="T21" fmla="*/ 3784 h 16095"/>
                <a:gd name="T22" fmla="*/ 1171 w 16095"/>
                <a:gd name="T23" fmla="*/ 3652 h 16095"/>
                <a:gd name="T24" fmla="*/ 1313 w 16095"/>
                <a:gd name="T25" fmla="*/ 3560 h 16095"/>
                <a:gd name="T26" fmla="*/ 1483 w 16095"/>
                <a:gd name="T27" fmla="*/ 3522 h 16095"/>
                <a:gd name="T28" fmla="*/ 2022 w 16095"/>
                <a:gd name="T29" fmla="*/ 13682 h 16095"/>
                <a:gd name="T30" fmla="*/ 2084 w 16095"/>
                <a:gd name="T31" fmla="*/ 13841 h 16095"/>
                <a:gd name="T32" fmla="*/ 2195 w 16095"/>
                <a:gd name="T33" fmla="*/ 13968 h 16095"/>
                <a:gd name="T34" fmla="*/ 2342 w 16095"/>
                <a:gd name="T35" fmla="*/ 14053 h 16095"/>
                <a:gd name="T36" fmla="*/ 2515 w 16095"/>
                <a:gd name="T37" fmla="*/ 14083 h 16095"/>
                <a:gd name="T38" fmla="*/ 2688 w 16095"/>
                <a:gd name="T39" fmla="*/ 14053 h 16095"/>
                <a:gd name="T40" fmla="*/ 2835 w 16095"/>
                <a:gd name="T41" fmla="*/ 13968 h 16095"/>
                <a:gd name="T42" fmla="*/ 2945 w 16095"/>
                <a:gd name="T43" fmla="*/ 13841 h 16095"/>
                <a:gd name="T44" fmla="*/ 3008 w 16095"/>
                <a:gd name="T45" fmla="*/ 13682 h 16095"/>
                <a:gd name="T46" fmla="*/ 3021 w 16095"/>
                <a:gd name="T47" fmla="*/ 1458 h 16095"/>
                <a:gd name="T48" fmla="*/ 3067 w 16095"/>
                <a:gd name="T49" fmla="*/ 1291 h 16095"/>
                <a:gd name="T50" fmla="*/ 3166 w 16095"/>
                <a:gd name="T51" fmla="*/ 1154 h 16095"/>
                <a:gd name="T52" fmla="*/ 3302 w 16095"/>
                <a:gd name="T53" fmla="*/ 1055 h 16095"/>
                <a:gd name="T54" fmla="*/ 3469 w 16095"/>
                <a:gd name="T55" fmla="*/ 1009 h 16095"/>
                <a:gd name="T56" fmla="*/ 14688 w 16095"/>
                <a:gd name="T57" fmla="*/ 1016 h 16095"/>
                <a:gd name="T58" fmla="*/ 14847 w 16095"/>
                <a:gd name="T59" fmla="*/ 1079 h 16095"/>
                <a:gd name="T60" fmla="*/ 14974 w 16095"/>
                <a:gd name="T61" fmla="*/ 1189 h 16095"/>
                <a:gd name="T62" fmla="*/ 15059 w 16095"/>
                <a:gd name="T63" fmla="*/ 1336 h 16095"/>
                <a:gd name="T64" fmla="*/ 15089 w 16095"/>
                <a:gd name="T65" fmla="*/ 1509 h 16095"/>
                <a:gd name="T66" fmla="*/ 3217 w 16095"/>
                <a:gd name="T67" fmla="*/ 30 h 16095"/>
                <a:gd name="T68" fmla="*/ 2738 w 16095"/>
                <a:gd name="T69" fmla="*/ 218 h 16095"/>
                <a:gd name="T70" fmla="*/ 2356 w 16095"/>
                <a:gd name="T71" fmla="*/ 549 h 16095"/>
                <a:gd name="T72" fmla="*/ 2103 w 16095"/>
                <a:gd name="T73" fmla="*/ 990 h 16095"/>
                <a:gd name="T74" fmla="*/ 2012 w 16095"/>
                <a:gd name="T75" fmla="*/ 1509 h 16095"/>
                <a:gd name="T76" fmla="*/ 1132 w 16095"/>
                <a:gd name="T77" fmla="*/ 2562 h 16095"/>
                <a:gd name="T78" fmla="*/ 665 w 16095"/>
                <a:gd name="T79" fmla="*/ 2772 h 16095"/>
                <a:gd name="T80" fmla="*/ 300 w 16095"/>
                <a:gd name="T81" fmla="*/ 3120 h 16095"/>
                <a:gd name="T82" fmla="*/ 67 w 16095"/>
                <a:gd name="T83" fmla="*/ 3575 h 16095"/>
                <a:gd name="T84" fmla="*/ 0 w 16095"/>
                <a:gd name="T85" fmla="*/ 14083 h 16095"/>
                <a:gd name="T86" fmla="*/ 122 w 16095"/>
                <a:gd name="T87" fmla="*/ 14775 h 16095"/>
                <a:gd name="T88" fmla="*/ 460 w 16095"/>
                <a:gd name="T89" fmla="*/ 15363 h 16095"/>
                <a:gd name="T90" fmla="*/ 969 w 16095"/>
                <a:gd name="T91" fmla="*/ 15803 h 16095"/>
                <a:gd name="T92" fmla="*/ 1606 w 16095"/>
                <a:gd name="T93" fmla="*/ 16054 h 16095"/>
                <a:gd name="T94" fmla="*/ 14289 w 16095"/>
                <a:gd name="T95" fmla="*/ 16085 h 16095"/>
                <a:gd name="T96" fmla="*/ 14955 w 16095"/>
                <a:gd name="T97" fmla="*/ 15897 h 16095"/>
                <a:gd name="T98" fmla="*/ 15506 w 16095"/>
                <a:gd name="T99" fmla="*/ 15506 h 16095"/>
                <a:gd name="T100" fmla="*/ 15897 w 16095"/>
                <a:gd name="T101" fmla="*/ 14955 h 16095"/>
                <a:gd name="T102" fmla="*/ 16085 w 16095"/>
                <a:gd name="T103" fmla="*/ 14289 h 16095"/>
                <a:gd name="T104" fmla="*/ 16065 w 16095"/>
                <a:gd name="T105" fmla="*/ 1204 h 16095"/>
                <a:gd name="T106" fmla="*/ 15877 w 16095"/>
                <a:gd name="T107" fmla="*/ 726 h 16095"/>
                <a:gd name="T108" fmla="*/ 15546 w 16095"/>
                <a:gd name="T109" fmla="*/ 344 h 16095"/>
                <a:gd name="T110" fmla="*/ 15105 w 16095"/>
                <a:gd name="T111" fmla="*/ 92 h 16095"/>
                <a:gd name="T112" fmla="*/ 14586 w 16095"/>
                <a:gd name="T113" fmla="*/ 0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6095">
                  <a:moveTo>
                    <a:pt x="15089" y="14083"/>
                  </a:moveTo>
                  <a:lnTo>
                    <a:pt x="15088" y="14134"/>
                  </a:lnTo>
                  <a:lnTo>
                    <a:pt x="15084" y="14186"/>
                  </a:lnTo>
                  <a:lnTo>
                    <a:pt x="15077" y="14236"/>
                  </a:lnTo>
                  <a:lnTo>
                    <a:pt x="15069" y="14285"/>
                  </a:lnTo>
                  <a:lnTo>
                    <a:pt x="15057" y="14334"/>
                  </a:lnTo>
                  <a:lnTo>
                    <a:pt x="15044" y="14382"/>
                  </a:lnTo>
                  <a:lnTo>
                    <a:pt x="15028" y="14428"/>
                  </a:lnTo>
                  <a:lnTo>
                    <a:pt x="15010" y="14474"/>
                  </a:lnTo>
                  <a:lnTo>
                    <a:pt x="14989" y="14519"/>
                  </a:lnTo>
                  <a:lnTo>
                    <a:pt x="14967" y="14562"/>
                  </a:lnTo>
                  <a:lnTo>
                    <a:pt x="14943" y="14604"/>
                  </a:lnTo>
                  <a:lnTo>
                    <a:pt x="14917" y="14645"/>
                  </a:lnTo>
                  <a:lnTo>
                    <a:pt x="14889" y="14685"/>
                  </a:lnTo>
                  <a:lnTo>
                    <a:pt x="14859" y="14723"/>
                  </a:lnTo>
                  <a:lnTo>
                    <a:pt x="14828" y="14759"/>
                  </a:lnTo>
                  <a:lnTo>
                    <a:pt x="14794" y="14794"/>
                  </a:lnTo>
                  <a:lnTo>
                    <a:pt x="14759" y="14828"/>
                  </a:lnTo>
                  <a:lnTo>
                    <a:pt x="14723" y="14859"/>
                  </a:lnTo>
                  <a:lnTo>
                    <a:pt x="14685" y="14889"/>
                  </a:lnTo>
                  <a:lnTo>
                    <a:pt x="14645" y="14917"/>
                  </a:lnTo>
                  <a:lnTo>
                    <a:pt x="14604" y="14943"/>
                  </a:lnTo>
                  <a:lnTo>
                    <a:pt x="14562" y="14967"/>
                  </a:lnTo>
                  <a:lnTo>
                    <a:pt x="14519" y="14989"/>
                  </a:lnTo>
                  <a:lnTo>
                    <a:pt x="14474" y="15010"/>
                  </a:lnTo>
                  <a:lnTo>
                    <a:pt x="14429" y="15028"/>
                  </a:lnTo>
                  <a:lnTo>
                    <a:pt x="14382" y="15044"/>
                  </a:lnTo>
                  <a:lnTo>
                    <a:pt x="14335" y="15057"/>
                  </a:lnTo>
                  <a:lnTo>
                    <a:pt x="14285" y="15069"/>
                  </a:lnTo>
                  <a:lnTo>
                    <a:pt x="14236" y="15077"/>
                  </a:lnTo>
                  <a:lnTo>
                    <a:pt x="14186" y="15084"/>
                  </a:lnTo>
                  <a:lnTo>
                    <a:pt x="14134" y="15088"/>
                  </a:lnTo>
                  <a:lnTo>
                    <a:pt x="14083" y="15089"/>
                  </a:lnTo>
                  <a:lnTo>
                    <a:pt x="2012" y="15089"/>
                  </a:lnTo>
                  <a:lnTo>
                    <a:pt x="1961" y="15088"/>
                  </a:lnTo>
                  <a:lnTo>
                    <a:pt x="1909" y="15084"/>
                  </a:lnTo>
                  <a:lnTo>
                    <a:pt x="1859" y="15077"/>
                  </a:lnTo>
                  <a:lnTo>
                    <a:pt x="1810" y="15069"/>
                  </a:lnTo>
                  <a:lnTo>
                    <a:pt x="1760" y="15057"/>
                  </a:lnTo>
                  <a:lnTo>
                    <a:pt x="1713" y="15044"/>
                  </a:lnTo>
                  <a:lnTo>
                    <a:pt x="1666" y="15028"/>
                  </a:lnTo>
                  <a:lnTo>
                    <a:pt x="1621" y="15010"/>
                  </a:lnTo>
                  <a:lnTo>
                    <a:pt x="1576" y="14989"/>
                  </a:lnTo>
                  <a:lnTo>
                    <a:pt x="1533" y="14967"/>
                  </a:lnTo>
                  <a:lnTo>
                    <a:pt x="1491" y="14943"/>
                  </a:lnTo>
                  <a:lnTo>
                    <a:pt x="1450" y="14917"/>
                  </a:lnTo>
                  <a:lnTo>
                    <a:pt x="1410" y="14889"/>
                  </a:lnTo>
                  <a:lnTo>
                    <a:pt x="1372" y="14859"/>
                  </a:lnTo>
                  <a:lnTo>
                    <a:pt x="1336" y="14828"/>
                  </a:lnTo>
                  <a:lnTo>
                    <a:pt x="1301" y="14794"/>
                  </a:lnTo>
                  <a:lnTo>
                    <a:pt x="1267" y="14759"/>
                  </a:lnTo>
                  <a:lnTo>
                    <a:pt x="1236" y="14723"/>
                  </a:lnTo>
                  <a:lnTo>
                    <a:pt x="1206" y="14685"/>
                  </a:lnTo>
                  <a:lnTo>
                    <a:pt x="1178" y="14645"/>
                  </a:lnTo>
                  <a:lnTo>
                    <a:pt x="1152" y="14604"/>
                  </a:lnTo>
                  <a:lnTo>
                    <a:pt x="1128" y="14562"/>
                  </a:lnTo>
                  <a:lnTo>
                    <a:pt x="1106" y="14519"/>
                  </a:lnTo>
                  <a:lnTo>
                    <a:pt x="1085" y="14474"/>
                  </a:lnTo>
                  <a:lnTo>
                    <a:pt x="1067" y="14428"/>
                  </a:lnTo>
                  <a:lnTo>
                    <a:pt x="1051" y="14382"/>
                  </a:lnTo>
                  <a:lnTo>
                    <a:pt x="1037" y="14334"/>
                  </a:lnTo>
                  <a:lnTo>
                    <a:pt x="1026" y="14285"/>
                  </a:lnTo>
                  <a:lnTo>
                    <a:pt x="1017" y="14236"/>
                  </a:lnTo>
                  <a:lnTo>
                    <a:pt x="1011" y="14186"/>
                  </a:lnTo>
                  <a:lnTo>
                    <a:pt x="1007" y="14134"/>
                  </a:lnTo>
                  <a:lnTo>
                    <a:pt x="1006" y="14083"/>
                  </a:lnTo>
                  <a:lnTo>
                    <a:pt x="1006" y="4024"/>
                  </a:lnTo>
                  <a:lnTo>
                    <a:pt x="1007" y="3998"/>
                  </a:lnTo>
                  <a:lnTo>
                    <a:pt x="1009" y="3972"/>
                  </a:lnTo>
                  <a:lnTo>
                    <a:pt x="1012" y="3947"/>
                  </a:lnTo>
                  <a:lnTo>
                    <a:pt x="1016" y="3922"/>
                  </a:lnTo>
                  <a:lnTo>
                    <a:pt x="1022" y="3898"/>
                  </a:lnTo>
                  <a:lnTo>
                    <a:pt x="1028" y="3874"/>
                  </a:lnTo>
                  <a:lnTo>
                    <a:pt x="1036" y="3851"/>
                  </a:lnTo>
                  <a:lnTo>
                    <a:pt x="1045" y="3828"/>
                  </a:lnTo>
                  <a:lnTo>
                    <a:pt x="1055" y="3805"/>
                  </a:lnTo>
                  <a:lnTo>
                    <a:pt x="1066" y="3784"/>
                  </a:lnTo>
                  <a:lnTo>
                    <a:pt x="1078" y="3763"/>
                  </a:lnTo>
                  <a:lnTo>
                    <a:pt x="1091" y="3743"/>
                  </a:lnTo>
                  <a:lnTo>
                    <a:pt x="1106" y="3723"/>
                  </a:lnTo>
                  <a:lnTo>
                    <a:pt x="1121" y="3704"/>
                  </a:lnTo>
                  <a:lnTo>
                    <a:pt x="1137" y="3686"/>
                  </a:lnTo>
                  <a:lnTo>
                    <a:pt x="1153" y="3669"/>
                  </a:lnTo>
                  <a:lnTo>
                    <a:pt x="1171" y="3652"/>
                  </a:lnTo>
                  <a:lnTo>
                    <a:pt x="1189" y="3635"/>
                  </a:lnTo>
                  <a:lnTo>
                    <a:pt x="1208" y="3620"/>
                  </a:lnTo>
                  <a:lnTo>
                    <a:pt x="1227" y="3606"/>
                  </a:lnTo>
                  <a:lnTo>
                    <a:pt x="1248" y="3593"/>
                  </a:lnTo>
                  <a:lnTo>
                    <a:pt x="1269" y="3581"/>
                  </a:lnTo>
                  <a:lnTo>
                    <a:pt x="1291" y="3570"/>
                  </a:lnTo>
                  <a:lnTo>
                    <a:pt x="1313" y="3560"/>
                  </a:lnTo>
                  <a:lnTo>
                    <a:pt x="1336" y="3551"/>
                  </a:lnTo>
                  <a:lnTo>
                    <a:pt x="1359" y="3544"/>
                  </a:lnTo>
                  <a:lnTo>
                    <a:pt x="1383" y="3537"/>
                  </a:lnTo>
                  <a:lnTo>
                    <a:pt x="1407" y="3531"/>
                  </a:lnTo>
                  <a:lnTo>
                    <a:pt x="1432" y="3527"/>
                  </a:lnTo>
                  <a:lnTo>
                    <a:pt x="1458" y="3524"/>
                  </a:lnTo>
                  <a:lnTo>
                    <a:pt x="1483" y="3522"/>
                  </a:lnTo>
                  <a:lnTo>
                    <a:pt x="1509" y="3521"/>
                  </a:lnTo>
                  <a:lnTo>
                    <a:pt x="2012" y="3521"/>
                  </a:lnTo>
                  <a:lnTo>
                    <a:pt x="2012" y="13580"/>
                  </a:lnTo>
                  <a:lnTo>
                    <a:pt x="2013" y="13606"/>
                  </a:lnTo>
                  <a:lnTo>
                    <a:pt x="2015" y="13631"/>
                  </a:lnTo>
                  <a:lnTo>
                    <a:pt x="2018" y="13657"/>
                  </a:lnTo>
                  <a:lnTo>
                    <a:pt x="2022" y="13682"/>
                  </a:lnTo>
                  <a:lnTo>
                    <a:pt x="2028" y="13706"/>
                  </a:lnTo>
                  <a:lnTo>
                    <a:pt x="2034" y="13730"/>
                  </a:lnTo>
                  <a:lnTo>
                    <a:pt x="2042" y="13753"/>
                  </a:lnTo>
                  <a:lnTo>
                    <a:pt x="2051" y="13776"/>
                  </a:lnTo>
                  <a:lnTo>
                    <a:pt x="2061" y="13798"/>
                  </a:lnTo>
                  <a:lnTo>
                    <a:pt x="2072" y="13821"/>
                  </a:lnTo>
                  <a:lnTo>
                    <a:pt x="2084" y="13841"/>
                  </a:lnTo>
                  <a:lnTo>
                    <a:pt x="2097" y="13862"/>
                  </a:lnTo>
                  <a:lnTo>
                    <a:pt x="2111" y="13881"/>
                  </a:lnTo>
                  <a:lnTo>
                    <a:pt x="2127" y="13900"/>
                  </a:lnTo>
                  <a:lnTo>
                    <a:pt x="2143" y="13918"/>
                  </a:lnTo>
                  <a:lnTo>
                    <a:pt x="2159" y="13936"/>
                  </a:lnTo>
                  <a:lnTo>
                    <a:pt x="2177" y="13952"/>
                  </a:lnTo>
                  <a:lnTo>
                    <a:pt x="2195" y="13968"/>
                  </a:lnTo>
                  <a:lnTo>
                    <a:pt x="2214" y="13984"/>
                  </a:lnTo>
                  <a:lnTo>
                    <a:pt x="2233" y="13998"/>
                  </a:lnTo>
                  <a:lnTo>
                    <a:pt x="2254" y="14011"/>
                  </a:lnTo>
                  <a:lnTo>
                    <a:pt x="2275" y="14023"/>
                  </a:lnTo>
                  <a:lnTo>
                    <a:pt x="2297" y="14034"/>
                  </a:lnTo>
                  <a:lnTo>
                    <a:pt x="2319" y="14044"/>
                  </a:lnTo>
                  <a:lnTo>
                    <a:pt x="2342" y="14053"/>
                  </a:lnTo>
                  <a:lnTo>
                    <a:pt x="2365" y="14061"/>
                  </a:lnTo>
                  <a:lnTo>
                    <a:pt x="2389" y="14067"/>
                  </a:lnTo>
                  <a:lnTo>
                    <a:pt x="2413" y="14073"/>
                  </a:lnTo>
                  <a:lnTo>
                    <a:pt x="2438" y="14077"/>
                  </a:lnTo>
                  <a:lnTo>
                    <a:pt x="2464" y="14080"/>
                  </a:lnTo>
                  <a:lnTo>
                    <a:pt x="2489" y="14082"/>
                  </a:lnTo>
                  <a:lnTo>
                    <a:pt x="2515" y="14083"/>
                  </a:lnTo>
                  <a:lnTo>
                    <a:pt x="2541" y="14082"/>
                  </a:lnTo>
                  <a:lnTo>
                    <a:pt x="2566" y="14080"/>
                  </a:lnTo>
                  <a:lnTo>
                    <a:pt x="2591" y="14077"/>
                  </a:lnTo>
                  <a:lnTo>
                    <a:pt x="2616" y="14073"/>
                  </a:lnTo>
                  <a:lnTo>
                    <a:pt x="2641" y="14067"/>
                  </a:lnTo>
                  <a:lnTo>
                    <a:pt x="2665" y="14061"/>
                  </a:lnTo>
                  <a:lnTo>
                    <a:pt x="2688" y="14053"/>
                  </a:lnTo>
                  <a:lnTo>
                    <a:pt x="2711" y="14044"/>
                  </a:lnTo>
                  <a:lnTo>
                    <a:pt x="2733" y="14034"/>
                  </a:lnTo>
                  <a:lnTo>
                    <a:pt x="2755" y="14023"/>
                  </a:lnTo>
                  <a:lnTo>
                    <a:pt x="2775" y="14011"/>
                  </a:lnTo>
                  <a:lnTo>
                    <a:pt x="2797" y="13998"/>
                  </a:lnTo>
                  <a:lnTo>
                    <a:pt x="2816" y="13984"/>
                  </a:lnTo>
                  <a:lnTo>
                    <a:pt x="2835" y="13968"/>
                  </a:lnTo>
                  <a:lnTo>
                    <a:pt x="2853" y="13952"/>
                  </a:lnTo>
                  <a:lnTo>
                    <a:pt x="2871" y="13936"/>
                  </a:lnTo>
                  <a:lnTo>
                    <a:pt x="2887" y="13918"/>
                  </a:lnTo>
                  <a:lnTo>
                    <a:pt x="2903" y="13900"/>
                  </a:lnTo>
                  <a:lnTo>
                    <a:pt x="2918" y="13881"/>
                  </a:lnTo>
                  <a:lnTo>
                    <a:pt x="2932" y="13862"/>
                  </a:lnTo>
                  <a:lnTo>
                    <a:pt x="2945" y="13841"/>
                  </a:lnTo>
                  <a:lnTo>
                    <a:pt x="2957" y="13821"/>
                  </a:lnTo>
                  <a:lnTo>
                    <a:pt x="2969" y="13798"/>
                  </a:lnTo>
                  <a:lnTo>
                    <a:pt x="2979" y="13776"/>
                  </a:lnTo>
                  <a:lnTo>
                    <a:pt x="2988" y="13753"/>
                  </a:lnTo>
                  <a:lnTo>
                    <a:pt x="2996" y="13730"/>
                  </a:lnTo>
                  <a:lnTo>
                    <a:pt x="3002" y="13706"/>
                  </a:lnTo>
                  <a:lnTo>
                    <a:pt x="3008" y="13682"/>
                  </a:lnTo>
                  <a:lnTo>
                    <a:pt x="3012" y="13657"/>
                  </a:lnTo>
                  <a:lnTo>
                    <a:pt x="3015" y="13631"/>
                  </a:lnTo>
                  <a:lnTo>
                    <a:pt x="3017" y="13606"/>
                  </a:lnTo>
                  <a:lnTo>
                    <a:pt x="3018" y="13580"/>
                  </a:lnTo>
                  <a:lnTo>
                    <a:pt x="3018" y="1509"/>
                  </a:lnTo>
                  <a:lnTo>
                    <a:pt x="3019" y="1483"/>
                  </a:lnTo>
                  <a:lnTo>
                    <a:pt x="3021" y="1458"/>
                  </a:lnTo>
                  <a:lnTo>
                    <a:pt x="3024" y="1432"/>
                  </a:lnTo>
                  <a:lnTo>
                    <a:pt x="3028" y="1407"/>
                  </a:lnTo>
                  <a:lnTo>
                    <a:pt x="3034" y="1383"/>
                  </a:lnTo>
                  <a:lnTo>
                    <a:pt x="3041" y="1359"/>
                  </a:lnTo>
                  <a:lnTo>
                    <a:pt x="3048" y="1336"/>
                  </a:lnTo>
                  <a:lnTo>
                    <a:pt x="3057" y="1313"/>
                  </a:lnTo>
                  <a:lnTo>
                    <a:pt x="3067" y="1291"/>
                  </a:lnTo>
                  <a:lnTo>
                    <a:pt x="3078" y="1269"/>
                  </a:lnTo>
                  <a:lnTo>
                    <a:pt x="3090" y="1248"/>
                  </a:lnTo>
                  <a:lnTo>
                    <a:pt x="3103" y="1227"/>
                  </a:lnTo>
                  <a:lnTo>
                    <a:pt x="3117" y="1208"/>
                  </a:lnTo>
                  <a:lnTo>
                    <a:pt x="3132" y="1189"/>
                  </a:lnTo>
                  <a:lnTo>
                    <a:pt x="3149" y="1171"/>
                  </a:lnTo>
                  <a:lnTo>
                    <a:pt x="3166" y="1154"/>
                  </a:lnTo>
                  <a:lnTo>
                    <a:pt x="3183" y="1137"/>
                  </a:lnTo>
                  <a:lnTo>
                    <a:pt x="3201" y="1121"/>
                  </a:lnTo>
                  <a:lnTo>
                    <a:pt x="3220" y="1106"/>
                  </a:lnTo>
                  <a:lnTo>
                    <a:pt x="3240" y="1092"/>
                  </a:lnTo>
                  <a:lnTo>
                    <a:pt x="3260" y="1079"/>
                  </a:lnTo>
                  <a:lnTo>
                    <a:pt x="3281" y="1066"/>
                  </a:lnTo>
                  <a:lnTo>
                    <a:pt x="3302" y="1055"/>
                  </a:lnTo>
                  <a:lnTo>
                    <a:pt x="3325" y="1045"/>
                  </a:lnTo>
                  <a:lnTo>
                    <a:pt x="3348" y="1036"/>
                  </a:lnTo>
                  <a:lnTo>
                    <a:pt x="3371" y="1029"/>
                  </a:lnTo>
                  <a:lnTo>
                    <a:pt x="3395" y="1022"/>
                  </a:lnTo>
                  <a:lnTo>
                    <a:pt x="3419" y="1016"/>
                  </a:lnTo>
                  <a:lnTo>
                    <a:pt x="3444" y="1012"/>
                  </a:lnTo>
                  <a:lnTo>
                    <a:pt x="3469" y="1009"/>
                  </a:lnTo>
                  <a:lnTo>
                    <a:pt x="3495" y="1007"/>
                  </a:lnTo>
                  <a:lnTo>
                    <a:pt x="3521" y="1006"/>
                  </a:lnTo>
                  <a:lnTo>
                    <a:pt x="14586" y="1006"/>
                  </a:lnTo>
                  <a:lnTo>
                    <a:pt x="14612" y="1007"/>
                  </a:lnTo>
                  <a:lnTo>
                    <a:pt x="14637" y="1009"/>
                  </a:lnTo>
                  <a:lnTo>
                    <a:pt x="14663" y="1012"/>
                  </a:lnTo>
                  <a:lnTo>
                    <a:pt x="14688" y="1016"/>
                  </a:lnTo>
                  <a:lnTo>
                    <a:pt x="14712" y="1022"/>
                  </a:lnTo>
                  <a:lnTo>
                    <a:pt x="14736" y="1029"/>
                  </a:lnTo>
                  <a:lnTo>
                    <a:pt x="14759" y="1036"/>
                  </a:lnTo>
                  <a:lnTo>
                    <a:pt x="14782" y="1045"/>
                  </a:lnTo>
                  <a:lnTo>
                    <a:pt x="14804" y="1055"/>
                  </a:lnTo>
                  <a:lnTo>
                    <a:pt x="14826" y="1066"/>
                  </a:lnTo>
                  <a:lnTo>
                    <a:pt x="14847" y="1079"/>
                  </a:lnTo>
                  <a:lnTo>
                    <a:pt x="14867" y="1092"/>
                  </a:lnTo>
                  <a:lnTo>
                    <a:pt x="14887" y="1106"/>
                  </a:lnTo>
                  <a:lnTo>
                    <a:pt x="14906" y="1121"/>
                  </a:lnTo>
                  <a:lnTo>
                    <a:pt x="14924" y="1137"/>
                  </a:lnTo>
                  <a:lnTo>
                    <a:pt x="14942" y="1154"/>
                  </a:lnTo>
                  <a:lnTo>
                    <a:pt x="14958" y="1171"/>
                  </a:lnTo>
                  <a:lnTo>
                    <a:pt x="14974" y="1189"/>
                  </a:lnTo>
                  <a:lnTo>
                    <a:pt x="14989" y="1208"/>
                  </a:lnTo>
                  <a:lnTo>
                    <a:pt x="15004" y="1227"/>
                  </a:lnTo>
                  <a:lnTo>
                    <a:pt x="15017" y="1248"/>
                  </a:lnTo>
                  <a:lnTo>
                    <a:pt x="15029" y="1269"/>
                  </a:lnTo>
                  <a:lnTo>
                    <a:pt x="15040" y="1291"/>
                  </a:lnTo>
                  <a:lnTo>
                    <a:pt x="15050" y="1313"/>
                  </a:lnTo>
                  <a:lnTo>
                    <a:pt x="15059" y="1336"/>
                  </a:lnTo>
                  <a:lnTo>
                    <a:pt x="15066" y="1359"/>
                  </a:lnTo>
                  <a:lnTo>
                    <a:pt x="15073" y="1383"/>
                  </a:lnTo>
                  <a:lnTo>
                    <a:pt x="15079" y="1407"/>
                  </a:lnTo>
                  <a:lnTo>
                    <a:pt x="15083" y="1432"/>
                  </a:lnTo>
                  <a:lnTo>
                    <a:pt x="15086" y="1458"/>
                  </a:lnTo>
                  <a:lnTo>
                    <a:pt x="15088" y="1483"/>
                  </a:lnTo>
                  <a:lnTo>
                    <a:pt x="15089" y="1509"/>
                  </a:lnTo>
                  <a:lnTo>
                    <a:pt x="15089" y="14083"/>
                  </a:lnTo>
                  <a:close/>
                  <a:moveTo>
                    <a:pt x="14586" y="0"/>
                  </a:moveTo>
                  <a:lnTo>
                    <a:pt x="3521" y="0"/>
                  </a:lnTo>
                  <a:lnTo>
                    <a:pt x="3443" y="2"/>
                  </a:lnTo>
                  <a:lnTo>
                    <a:pt x="3367" y="8"/>
                  </a:lnTo>
                  <a:lnTo>
                    <a:pt x="3291" y="17"/>
                  </a:lnTo>
                  <a:lnTo>
                    <a:pt x="3217" y="30"/>
                  </a:lnTo>
                  <a:lnTo>
                    <a:pt x="3144" y="47"/>
                  </a:lnTo>
                  <a:lnTo>
                    <a:pt x="3072" y="67"/>
                  </a:lnTo>
                  <a:lnTo>
                    <a:pt x="3002" y="92"/>
                  </a:lnTo>
                  <a:lnTo>
                    <a:pt x="2933" y="119"/>
                  </a:lnTo>
                  <a:lnTo>
                    <a:pt x="2867" y="149"/>
                  </a:lnTo>
                  <a:lnTo>
                    <a:pt x="2802" y="182"/>
                  </a:lnTo>
                  <a:lnTo>
                    <a:pt x="2738" y="218"/>
                  </a:lnTo>
                  <a:lnTo>
                    <a:pt x="2677" y="258"/>
                  </a:lnTo>
                  <a:lnTo>
                    <a:pt x="2617" y="300"/>
                  </a:lnTo>
                  <a:lnTo>
                    <a:pt x="2561" y="344"/>
                  </a:lnTo>
                  <a:lnTo>
                    <a:pt x="2506" y="391"/>
                  </a:lnTo>
                  <a:lnTo>
                    <a:pt x="2453" y="442"/>
                  </a:lnTo>
                  <a:lnTo>
                    <a:pt x="2404" y="494"/>
                  </a:lnTo>
                  <a:lnTo>
                    <a:pt x="2356" y="549"/>
                  </a:lnTo>
                  <a:lnTo>
                    <a:pt x="2312" y="606"/>
                  </a:lnTo>
                  <a:lnTo>
                    <a:pt x="2269" y="665"/>
                  </a:lnTo>
                  <a:lnTo>
                    <a:pt x="2230" y="726"/>
                  </a:lnTo>
                  <a:lnTo>
                    <a:pt x="2194" y="790"/>
                  </a:lnTo>
                  <a:lnTo>
                    <a:pt x="2161" y="854"/>
                  </a:lnTo>
                  <a:lnTo>
                    <a:pt x="2131" y="921"/>
                  </a:lnTo>
                  <a:lnTo>
                    <a:pt x="2103" y="990"/>
                  </a:lnTo>
                  <a:lnTo>
                    <a:pt x="2079" y="1060"/>
                  </a:lnTo>
                  <a:lnTo>
                    <a:pt x="2059" y="1132"/>
                  </a:lnTo>
                  <a:lnTo>
                    <a:pt x="2042" y="1204"/>
                  </a:lnTo>
                  <a:lnTo>
                    <a:pt x="2029" y="1279"/>
                  </a:lnTo>
                  <a:lnTo>
                    <a:pt x="2020" y="1354"/>
                  </a:lnTo>
                  <a:lnTo>
                    <a:pt x="2014" y="1431"/>
                  </a:lnTo>
                  <a:lnTo>
                    <a:pt x="2012" y="1509"/>
                  </a:lnTo>
                  <a:lnTo>
                    <a:pt x="2012" y="2515"/>
                  </a:lnTo>
                  <a:lnTo>
                    <a:pt x="1509" y="2515"/>
                  </a:lnTo>
                  <a:lnTo>
                    <a:pt x="1431" y="2517"/>
                  </a:lnTo>
                  <a:lnTo>
                    <a:pt x="1355" y="2523"/>
                  </a:lnTo>
                  <a:lnTo>
                    <a:pt x="1280" y="2532"/>
                  </a:lnTo>
                  <a:lnTo>
                    <a:pt x="1205" y="2545"/>
                  </a:lnTo>
                  <a:lnTo>
                    <a:pt x="1132" y="2562"/>
                  </a:lnTo>
                  <a:lnTo>
                    <a:pt x="1060" y="2582"/>
                  </a:lnTo>
                  <a:lnTo>
                    <a:pt x="990" y="2606"/>
                  </a:lnTo>
                  <a:lnTo>
                    <a:pt x="921" y="2634"/>
                  </a:lnTo>
                  <a:lnTo>
                    <a:pt x="855" y="2664"/>
                  </a:lnTo>
                  <a:lnTo>
                    <a:pt x="790" y="2697"/>
                  </a:lnTo>
                  <a:lnTo>
                    <a:pt x="726" y="2733"/>
                  </a:lnTo>
                  <a:lnTo>
                    <a:pt x="665" y="2772"/>
                  </a:lnTo>
                  <a:lnTo>
                    <a:pt x="607" y="2815"/>
                  </a:lnTo>
                  <a:lnTo>
                    <a:pt x="549" y="2859"/>
                  </a:lnTo>
                  <a:lnTo>
                    <a:pt x="494" y="2907"/>
                  </a:lnTo>
                  <a:lnTo>
                    <a:pt x="442" y="2956"/>
                  </a:lnTo>
                  <a:lnTo>
                    <a:pt x="392" y="3009"/>
                  </a:lnTo>
                  <a:lnTo>
                    <a:pt x="345" y="3064"/>
                  </a:lnTo>
                  <a:lnTo>
                    <a:pt x="300" y="3120"/>
                  </a:lnTo>
                  <a:lnTo>
                    <a:pt x="258" y="3180"/>
                  </a:lnTo>
                  <a:lnTo>
                    <a:pt x="218" y="3241"/>
                  </a:lnTo>
                  <a:lnTo>
                    <a:pt x="182" y="3305"/>
                  </a:lnTo>
                  <a:lnTo>
                    <a:pt x="149" y="3369"/>
                  </a:lnTo>
                  <a:lnTo>
                    <a:pt x="119" y="3436"/>
                  </a:lnTo>
                  <a:lnTo>
                    <a:pt x="92" y="3505"/>
                  </a:lnTo>
                  <a:lnTo>
                    <a:pt x="67" y="3575"/>
                  </a:lnTo>
                  <a:lnTo>
                    <a:pt x="47" y="3647"/>
                  </a:lnTo>
                  <a:lnTo>
                    <a:pt x="30" y="3720"/>
                  </a:lnTo>
                  <a:lnTo>
                    <a:pt x="17" y="3793"/>
                  </a:lnTo>
                  <a:lnTo>
                    <a:pt x="8" y="3869"/>
                  </a:lnTo>
                  <a:lnTo>
                    <a:pt x="2" y="3946"/>
                  </a:lnTo>
                  <a:lnTo>
                    <a:pt x="0" y="4024"/>
                  </a:lnTo>
                  <a:lnTo>
                    <a:pt x="0" y="14083"/>
                  </a:lnTo>
                  <a:lnTo>
                    <a:pt x="3" y="14187"/>
                  </a:lnTo>
                  <a:lnTo>
                    <a:pt x="10" y="14289"/>
                  </a:lnTo>
                  <a:lnTo>
                    <a:pt x="23" y="14390"/>
                  </a:lnTo>
                  <a:lnTo>
                    <a:pt x="41" y="14489"/>
                  </a:lnTo>
                  <a:lnTo>
                    <a:pt x="63" y="14586"/>
                  </a:lnTo>
                  <a:lnTo>
                    <a:pt x="91" y="14682"/>
                  </a:lnTo>
                  <a:lnTo>
                    <a:pt x="122" y="14775"/>
                  </a:lnTo>
                  <a:lnTo>
                    <a:pt x="158" y="14867"/>
                  </a:lnTo>
                  <a:lnTo>
                    <a:pt x="198" y="14955"/>
                  </a:lnTo>
                  <a:lnTo>
                    <a:pt x="242" y="15042"/>
                  </a:lnTo>
                  <a:lnTo>
                    <a:pt x="292" y="15126"/>
                  </a:lnTo>
                  <a:lnTo>
                    <a:pt x="344" y="15208"/>
                  </a:lnTo>
                  <a:lnTo>
                    <a:pt x="399" y="15287"/>
                  </a:lnTo>
                  <a:lnTo>
                    <a:pt x="460" y="15363"/>
                  </a:lnTo>
                  <a:lnTo>
                    <a:pt x="523" y="15436"/>
                  </a:lnTo>
                  <a:lnTo>
                    <a:pt x="589" y="15506"/>
                  </a:lnTo>
                  <a:lnTo>
                    <a:pt x="659" y="15572"/>
                  </a:lnTo>
                  <a:lnTo>
                    <a:pt x="732" y="15635"/>
                  </a:lnTo>
                  <a:lnTo>
                    <a:pt x="808" y="15696"/>
                  </a:lnTo>
                  <a:lnTo>
                    <a:pt x="887" y="15751"/>
                  </a:lnTo>
                  <a:lnTo>
                    <a:pt x="969" y="15803"/>
                  </a:lnTo>
                  <a:lnTo>
                    <a:pt x="1053" y="15853"/>
                  </a:lnTo>
                  <a:lnTo>
                    <a:pt x="1140" y="15897"/>
                  </a:lnTo>
                  <a:lnTo>
                    <a:pt x="1228" y="15937"/>
                  </a:lnTo>
                  <a:lnTo>
                    <a:pt x="1320" y="15973"/>
                  </a:lnTo>
                  <a:lnTo>
                    <a:pt x="1413" y="16004"/>
                  </a:lnTo>
                  <a:lnTo>
                    <a:pt x="1509" y="16032"/>
                  </a:lnTo>
                  <a:lnTo>
                    <a:pt x="1606" y="16054"/>
                  </a:lnTo>
                  <a:lnTo>
                    <a:pt x="1705" y="16072"/>
                  </a:lnTo>
                  <a:lnTo>
                    <a:pt x="1806" y="16085"/>
                  </a:lnTo>
                  <a:lnTo>
                    <a:pt x="1908" y="16092"/>
                  </a:lnTo>
                  <a:lnTo>
                    <a:pt x="2012" y="16095"/>
                  </a:lnTo>
                  <a:lnTo>
                    <a:pt x="14083" y="16095"/>
                  </a:lnTo>
                  <a:lnTo>
                    <a:pt x="14187" y="16092"/>
                  </a:lnTo>
                  <a:lnTo>
                    <a:pt x="14289" y="16085"/>
                  </a:lnTo>
                  <a:lnTo>
                    <a:pt x="14390" y="16072"/>
                  </a:lnTo>
                  <a:lnTo>
                    <a:pt x="14489" y="16054"/>
                  </a:lnTo>
                  <a:lnTo>
                    <a:pt x="14586" y="16032"/>
                  </a:lnTo>
                  <a:lnTo>
                    <a:pt x="14682" y="16004"/>
                  </a:lnTo>
                  <a:lnTo>
                    <a:pt x="14775" y="15973"/>
                  </a:lnTo>
                  <a:lnTo>
                    <a:pt x="14867" y="15937"/>
                  </a:lnTo>
                  <a:lnTo>
                    <a:pt x="14955" y="15897"/>
                  </a:lnTo>
                  <a:lnTo>
                    <a:pt x="15042" y="15853"/>
                  </a:lnTo>
                  <a:lnTo>
                    <a:pt x="15126" y="15803"/>
                  </a:lnTo>
                  <a:lnTo>
                    <a:pt x="15208" y="15751"/>
                  </a:lnTo>
                  <a:lnTo>
                    <a:pt x="15287" y="15696"/>
                  </a:lnTo>
                  <a:lnTo>
                    <a:pt x="15363" y="15635"/>
                  </a:lnTo>
                  <a:lnTo>
                    <a:pt x="15436" y="15572"/>
                  </a:lnTo>
                  <a:lnTo>
                    <a:pt x="15506" y="15506"/>
                  </a:lnTo>
                  <a:lnTo>
                    <a:pt x="15572" y="15436"/>
                  </a:lnTo>
                  <a:lnTo>
                    <a:pt x="15635" y="15363"/>
                  </a:lnTo>
                  <a:lnTo>
                    <a:pt x="15696" y="15287"/>
                  </a:lnTo>
                  <a:lnTo>
                    <a:pt x="15751" y="15208"/>
                  </a:lnTo>
                  <a:lnTo>
                    <a:pt x="15803" y="15126"/>
                  </a:lnTo>
                  <a:lnTo>
                    <a:pt x="15853" y="15042"/>
                  </a:lnTo>
                  <a:lnTo>
                    <a:pt x="15897" y="14955"/>
                  </a:lnTo>
                  <a:lnTo>
                    <a:pt x="15937" y="14867"/>
                  </a:lnTo>
                  <a:lnTo>
                    <a:pt x="15973" y="14775"/>
                  </a:lnTo>
                  <a:lnTo>
                    <a:pt x="16004" y="14682"/>
                  </a:lnTo>
                  <a:lnTo>
                    <a:pt x="16032" y="14586"/>
                  </a:lnTo>
                  <a:lnTo>
                    <a:pt x="16054" y="14489"/>
                  </a:lnTo>
                  <a:lnTo>
                    <a:pt x="16072" y="14390"/>
                  </a:lnTo>
                  <a:lnTo>
                    <a:pt x="16085" y="14289"/>
                  </a:lnTo>
                  <a:lnTo>
                    <a:pt x="16092" y="14187"/>
                  </a:lnTo>
                  <a:lnTo>
                    <a:pt x="16095" y="14083"/>
                  </a:lnTo>
                  <a:lnTo>
                    <a:pt x="16095" y="1509"/>
                  </a:lnTo>
                  <a:lnTo>
                    <a:pt x="16093" y="1431"/>
                  </a:lnTo>
                  <a:lnTo>
                    <a:pt x="16087" y="1354"/>
                  </a:lnTo>
                  <a:lnTo>
                    <a:pt x="16078" y="1279"/>
                  </a:lnTo>
                  <a:lnTo>
                    <a:pt x="16065" y="1204"/>
                  </a:lnTo>
                  <a:lnTo>
                    <a:pt x="16048" y="1132"/>
                  </a:lnTo>
                  <a:lnTo>
                    <a:pt x="16028" y="1060"/>
                  </a:lnTo>
                  <a:lnTo>
                    <a:pt x="16003" y="990"/>
                  </a:lnTo>
                  <a:lnTo>
                    <a:pt x="15976" y="921"/>
                  </a:lnTo>
                  <a:lnTo>
                    <a:pt x="15946" y="854"/>
                  </a:lnTo>
                  <a:lnTo>
                    <a:pt x="15913" y="790"/>
                  </a:lnTo>
                  <a:lnTo>
                    <a:pt x="15877" y="726"/>
                  </a:lnTo>
                  <a:lnTo>
                    <a:pt x="15837" y="665"/>
                  </a:lnTo>
                  <a:lnTo>
                    <a:pt x="15795" y="606"/>
                  </a:lnTo>
                  <a:lnTo>
                    <a:pt x="15750" y="549"/>
                  </a:lnTo>
                  <a:lnTo>
                    <a:pt x="15703" y="494"/>
                  </a:lnTo>
                  <a:lnTo>
                    <a:pt x="15653" y="442"/>
                  </a:lnTo>
                  <a:lnTo>
                    <a:pt x="15601" y="391"/>
                  </a:lnTo>
                  <a:lnTo>
                    <a:pt x="15546" y="344"/>
                  </a:lnTo>
                  <a:lnTo>
                    <a:pt x="15488" y="300"/>
                  </a:lnTo>
                  <a:lnTo>
                    <a:pt x="15430" y="258"/>
                  </a:lnTo>
                  <a:lnTo>
                    <a:pt x="15369" y="218"/>
                  </a:lnTo>
                  <a:lnTo>
                    <a:pt x="15305" y="182"/>
                  </a:lnTo>
                  <a:lnTo>
                    <a:pt x="15240" y="149"/>
                  </a:lnTo>
                  <a:lnTo>
                    <a:pt x="15174" y="119"/>
                  </a:lnTo>
                  <a:lnTo>
                    <a:pt x="15105" y="92"/>
                  </a:lnTo>
                  <a:lnTo>
                    <a:pt x="15035" y="67"/>
                  </a:lnTo>
                  <a:lnTo>
                    <a:pt x="14963" y="47"/>
                  </a:lnTo>
                  <a:lnTo>
                    <a:pt x="14890" y="30"/>
                  </a:lnTo>
                  <a:lnTo>
                    <a:pt x="14815" y="17"/>
                  </a:lnTo>
                  <a:lnTo>
                    <a:pt x="14740" y="8"/>
                  </a:lnTo>
                  <a:lnTo>
                    <a:pt x="14664" y="2"/>
                  </a:lnTo>
                  <a:lnTo>
                    <a:pt x="1458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413" name="iSliḋê">
              <a:extLst>
                <a:ext uri="{FF2B5EF4-FFF2-40B4-BE49-F238E27FC236}">
                  <a16:creationId xmlns:a16="http://schemas.microsoft.com/office/drawing/2014/main" id="{9C930ED0-F8B0-455B-927E-473D819B9D48}"/>
                </a:ext>
              </a:extLst>
            </p:cNvPr>
            <p:cNvSpPr/>
            <p:nvPr/>
          </p:nvSpPr>
          <p:spPr bwMode="auto">
            <a:xfrm>
              <a:off x="11135462" y="989288"/>
              <a:ext cx="65335" cy="7436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1 h 503"/>
                <a:gd name="T8" fmla="*/ 4427 w 4527"/>
                <a:gd name="T9" fmla="*/ 452 h 503"/>
                <a:gd name="T10" fmla="*/ 4454 w 4527"/>
                <a:gd name="T11" fmla="*/ 428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1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0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1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89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1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5 h 503"/>
                <a:gd name="T80" fmla="*/ 154 w 4527"/>
                <a:gd name="T81" fmla="*/ 482 h 503"/>
                <a:gd name="T82" fmla="*/ 190 w 4527"/>
                <a:gd name="T83" fmla="*/ 495 h 503"/>
                <a:gd name="T84" fmla="*/ 227 w 4527"/>
                <a:gd name="T85" fmla="*/ 50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1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1"/>
                  </a:lnTo>
                  <a:lnTo>
                    <a:pt x="4362" y="488"/>
                  </a:lnTo>
                  <a:lnTo>
                    <a:pt x="4374" y="482"/>
                  </a:lnTo>
                  <a:lnTo>
                    <a:pt x="4385" y="477"/>
                  </a:lnTo>
                  <a:lnTo>
                    <a:pt x="4396" y="471"/>
                  </a:lnTo>
                  <a:lnTo>
                    <a:pt x="4406" y="465"/>
                  </a:lnTo>
                  <a:lnTo>
                    <a:pt x="4416" y="459"/>
                  </a:lnTo>
                  <a:lnTo>
                    <a:pt x="4427" y="452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8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1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3"/>
                  </a:lnTo>
                  <a:lnTo>
                    <a:pt x="4522" y="301"/>
                  </a:lnTo>
                  <a:lnTo>
                    <a:pt x="4525" y="289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1"/>
                  </a:lnTo>
                  <a:lnTo>
                    <a:pt x="4497" y="131"/>
                  </a:lnTo>
                  <a:lnTo>
                    <a:pt x="4491" y="120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0"/>
                  </a:lnTo>
                  <a:lnTo>
                    <a:pt x="32" y="131"/>
                  </a:lnTo>
                  <a:lnTo>
                    <a:pt x="26" y="141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89"/>
                  </a:lnTo>
                  <a:lnTo>
                    <a:pt x="6" y="301"/>
                  </a:lnTo>
                  <a:lnTo>
                    <a:pt x="8" y="313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1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8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2"/>
                  </a:lnTo>
                  <a:lnTo>
                    <a:pt x="112" y="459"/>
                  </a:lnTo>
                  <a:lnTo>
                    <a:pt x="122" y="465"/>
                  </a:lnTo>
                  <a:lnTo>
                    <a:pt x="132" y="471"/>
                  </a:lnTo>
                  <a:lnTo>
                    <a:pt x="143" y="477"/>
                  </a:lnTo>
                  <a:lnTo>
                    <a:pt x="154" y="482"/>
                  </a:lnTo>
                  <a:lnTo>
                    <a:pt x="166" y="488"/>
                  </a:lnTo>
                  <a:lnTo>
                    <a:pt x="177" y="491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1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414" name="ïSľíďé">
              <a:extLst>
                <a:ext uri="{FF2B5EF4-FFF2-40B4-BE49-F238E27FC236}">
                  <a16:creationId xmlns:a16="http://schemas.microsoft.com/office/drawing/2014/main" id="{C11F4F8D-7053-4851-B1A8-D9947EAF18CB}"/>
                </a:ext>
              </a:extLst>
            </p:cNvPr>
            <p:cNvSpPr/>
            <p:nvPr/>
          </p:nvSpPr>
          <p:spPr bwMode="auto">
            <a:xfrm>
              <a:off x="11135462" y="967510"/>
              <a:ext cx="65335" cy="7436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3 h 503"/>
                <a:gd name="T8" fmla="*/ 4427 w 4527"/>
                <a:gd name="T9" fmla="*/ 452 h 503"/>
                <a:gd name="T10" fmla="*/ 4454 w 4527"/>
                <a:gd name="T11" fmla="*/ 429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2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0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2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89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2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6 h 503"/>
                <a:gd name="T80" fmla="*/ 154 w 4527"/>
                <a:gd name="T81" fmla="*/ 483 h 503"/>
                <a:gd name="T82" fmla="*/ 190 w 4527"/>
                <a:gd name="T83" fmla="*/ 495 h 503"/>
                <a:gd name="T84" fmla="*/ 227 w 4527"/>
                <a:gd name="T85" fmla="*/ 50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1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1"/>
                  </a:lnTo>
                  <a:lnTo>
                    <a:pt x="4362" y="488"/>
                  </a:lnTo>
                  <a:lnTo>
                    <a:pt x="4374" y="483"/>
                  </a:lnTo>
                  <a:lnTo>
                    <a:pt x="4385" y="478"/>
                  </a:lnTo>
                  <a:lnTo>
                    <a:pt x="4396" y="473"/>
                  </a:lnTo>
                  <a:lnTo>
                    <a:pt x="4406" y="466"/>
                  </a:lnTo>
                  <a:lnTo>
                    <a:pt x="4416" y="459"/>
                  </a:lnTo>
                  <a:lnTo>
                    <a:pt x="4427" y="452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9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2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4"/>
                  </a:lnTo>
                  <a:lnTo>
                    <a:pt x="4522" y="302"/>
                  </a:lnTo>
                  <a:lnTo>
                    <a:pt x="4525" y="289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2"/>
                  </a:lnTo>
                  <a:lnTo>
                    <a:pt x="4497" y="132"/>
                  </a:lnTo>
                  <a:lnTo>
                    <a:pt x="4491" y="120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0"/>
                  </a:lnTo>
                  <a:lnTo>
                    <a:pt x="32" y="132"/>
                  </a:lnTo>
                  <a:lnTo>
                    <a:pt x="26" y="142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89"/>
                  </a:lnTo>
                  <a:lnTo>
                    <a:pt x="6" y="302"/>
                  </a:lnTo>
                  <a:lnTo>
                    <a:pt x="8" y="314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2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9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2"/>
                  </a:lnTo>
                  <a:lnTo>
                    <a:pt x="112" y="459"/>
                  </a:lnTo>
                  <a:lnTo>
                    <a:pt x="122" y="466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6" y="488"/>
                  </a:lnTo>
                  <a:lnTo>
                    <a:pt x="177" y="491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1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415" name="isļîḍé">
              <a:extLst>
                <a:ext uri="{FF2B5EF4-FFF2-40B4-BE49-F238E27FC236}">
                  <a16:creationId xmlns:a16="http://schemas.microsoft.com/office/drawing/2014/main" id="{135F874F-48CB-4E7F-A860-19E6728798A0}"/>
                </a:ext>
              </a:extLst>
            </p:cNvPr>
            <p:cNvSpPr/>
            <p:nvPr/>
          </p:nvSpPr>
          <p:spPr bwMode="auto">
            <a:xfrm>
              <a:off x="11135462" y="946262"/>
              <a:ext cx="65335" cy="6905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3 h 503"/>
                <a:gd name="T8" fmla="*/ 4427 w 4527"/>
                <a:gd name="T9" fmla="*/ 453 h 503"/>
                <a:gd name="T10" fmla="*/ 4454 w 4527"/>
                <a:gd name="T11" fmla="*/ 428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2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1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2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90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2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7 h 503"/>
                <a:gd name="T80" fmla="*/ 154 w 4527"/>
                <a:gd name="T81" fmla="*/ 483 h 503"/>
                <a:gd name="T82" fmla="*/ 190 w 4527"/>
                <a:gd name="T83" fmla="*/ 495 h 503"/>
                <a:gd name="T84" fmla="*/ 227 w 4527"/>
                <a:gd name="T85" fmla="*/ 50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2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2"/>
                  </a:lnTo>
                  <a:lnTo>
                    <a:pt x="4362" y="488"/>
                  </a:lnTo>
                  <a:lnTo>
                    <a:pt x="4374" y="483"/>
                  </a:lnTo>
                  <a:lnTo>
                    <a:pt x="4385" y="478"/>
                  </a:lnTo>
                  <a:lnTo>
                    <a:pt x="4396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8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2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4"/>
                  </a:lnTo>
                  <a:lnTo>
                    <a:pt x="4522" y="302"/>
                  </a:lnTo>
                  <a:lnTo>
                    <a:pt x="4525" y="290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2"/>
                  </a:lnTo>
                  <a:lnTo>
                    <a:pt x="4497" y="132"/>
                  </a:lnTo>
                  <a:lnTo>
                    <a:pt x="4491" y="121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1"/>
                  </a:lnTo>
                  <a:lnTo>
                    <a:pt x="32" y="132"/>
                  </a:lnTo>
                  <a:lnTo>
                    <a:pt x="26" y="142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90"/>
                  </a:lnTo>
                  <a:lnTo>
                    <a:pt x="6" y="302"/>
                  </a:lnTo>
                  <a:lnTo>
                    <a:pt x="8" y="314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2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8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3"/>
                  </a:lnTo>
                  <a:lnTo>
                    <a:pt x="112" y="460"/>
                  </a:lnTo>
                  <a:lnTo>
                    <a:pt x="122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6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416" name="îṧ1îďè">
              <a:extLst>
                <a:ext uri="{FF2B5EF4-FFF2-40B4-BE49-F238E27FC236}">
                  <a16:creationId xmlns:a16="http://schemas.microsoft.com/office/drawing/2014/main" id="{D3C1C843-ED72-4D00-B2DC-8BC450182B14}"/>
                </a:ext>
              </a:extLst>
            </p:cNvPr>
            <p:cNvSpPr/>
            <p:nvPr/>
          </p:nvSpPr>
          <p:spPr bwMode="auto">
            <a:xfrm>
              <a:off x="11056316" y="1097648"/>
              <a:ext cx="64804" cy="7436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0 h 503"/>
                <a:gd name="T8" fmla="*/ 100 w 4526"/>
                <a:gd name="T9" fmla="*/ 50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1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50 h 503"/>
                <a:gd name="T28" fmla="*/ 36 w 4526"/>
                <a:gd name="T29" fmla="*/ 382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2 h 503"/>
                <a:gd name="T58" fmla="*/ 4501 w 4526"/>
                <a:gd name="T59" fmla="*/ 361 h 503"/>
                <a:gd name="T60" fmla="*/ 4515 w 4526"/>
                <a:gd name="T61" fmla="*/ 327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3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6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3"/>
                  </a:lnTo>
                  <a:lnTo>
                    <a:pt x="100" y="50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7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4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4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2"/>
                  </a:lnTo>
                  <a:lnTo>
                    <a:pt x="4490" y="382"/>
                  </a:lnTo>
                  <a:lnTo>
                    <a:pt x="4496" y="371"/>
                  </a:lnTo>
                  <a:lnTo>
                    <a:pt x="4501" y="361"/>
                  </a:lnTo>
                  <a:lnTo>
                    <a:pt x="4506" y="350"/>
                  </a:lnTo>
                  <a:lnTo>
                    <a:pt x="4511" y="338"/>
                  </a:lnTo>
                  <a:lnTo>
                    <a:pt x="4515" y="327"/>
                  </a:lnTo>
                  <a:lnTo>
                    <a:pt x="4518" y="315"/>
                  </a:lnTo>
                  <a:lnTo>
                    <a:pt x="4521" y="303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3"/>
                  </a:lnTo>
                  <a:lnTo>
                    <a:pt x="4521" y="201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0"/>
                  </a:lnTo>
                  <a:lnTo>
                    <a:pt x="4416" y="43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417" name="íṣḻïdé">
              <a:extLst>
                <a:ext uri="{FF2B5EF4-FFF2-40B4-BE49-F238E27FC236}">
                  <a16:creationId xmlns:a16="http://schemas.microsoft.com/office/drawing/2014/main" id="{D0B712A5-39BA-40E0-9162-B61A8F98C021}"/>
                </a:ext>
              </a:extLst>
            </p:cNvPr>
            <p:cNvSpPr/>
            <p:nvPr/>
          </p:nvSpPr>
          <p:spPr bwMode="auto">
            <a:xfrm>
              <a:off x="11056316" y="1075870"/>
              <a:ext cx="64804" cy="7436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0 h 503"/>
                <a:gd name="T8" fmla="*/ 100 w 4526"/>
                <a:gd name="T9" fmla="*/ 51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1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49 h 503"/>
                <a:gd name="T28" fmla="*/ 36 w 4526"/>
                <a:gd name="T29" fmla="*/ 383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3 h 503"/>
                <a:gd name="T58" fmla="*/ 4501 w 4526"/>
                <a:gd name="T59" fmla="*/ 361 h 503"/>
                <a:gd name="T60" fmla="*/ 4515 w 4526"/>
                <a:gd name="T61" fmla="*/ 326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4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6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3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3"/>
                  </a:lnTo>
                  <a:lnTo>
                    <a:pt x="4490" y="383"/>
                  </a:lnTo>
                  <a:lnTo>
                    <a:pt x="4496" y="371"/>
                  </a:lnTo>
                  <a:lnTo>
                    <a:pt x="4501" y="361"/>
                  </a:lnTo>
                  <a:lnTo>
                    <a:pt x="4506" y="349"/>
                  </a:lnTo>
                  <a:lnTo>
                    <a:pt x="4511" y="338"/>
                  </a:lnTo>
                  <a:lnTo>
                    <a:pt x="4515" y="326"/>
                  </a:lnTo>
                  <a:lnTo>
                    <a:pt x="4518" y="315"/>
                  </a:lnTo>
                  <a:lnTo>
                    <a:pt x="4521" y="302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4"/>
                  </a:lnTo>
                  <a:lnTo>
                    <a:pt x="4521" y="201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1"/>
                  </a:lnTo>
                  <a:lnTo>
                    <a:pt x="4416" y="44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418" name="íş1ïdê">
              <a:extLst>
                <a:ext uri="{FF2B5EF4-FFF2-40B4-BE49-F238E27FC236}">
                  <a16:creationId xmlns:a16="http://schemas.microsoft.com/office/drawing/2014/main" id="{3B579C5C-AC8B-4E34-8C12-897B1FE2C1E2}"/>
                </a:ext>
              </a:extLst>
            </p:cNvPr>
            <p:cNvSpPr/>
            <p:nvPr/>
          </p:nvSpPr>
          <p:spPr bwMode="auto">
            <a:xfrm>
              <a:off x="11056316" y="1054623"/>
              <a:ext cx="64804" cy="6905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1 h 503"/>
                <a:gd name="T8" fmla="*/ 100 w 4526"/>
                <a:gd name="T9" fmla="*/ 51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2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50 h 503"/>
                <a:gd name="T28" fmla="*/ 36 w 4526"/>
                <a:gd name="T29" fmla="*/ 383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3 h 503"/>
                <a:gd name="T58" fmla="*/ 4501 w 4526"/>
                <a:gd name="T59" fmla="*/ 361 h 503"/>
                <a:gd name="T60" fmla="*/ 4515 w 4526"/>
                <a:gd name="T61" fmla="*/ 326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4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7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0" y="37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1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3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3"/>
                  </a:lnTo>
                  <a:lnTo>
                    <a:pt x="4490" y="383"/>
                  </a:lnTo>
                  <a:lnTo>
                    <a:pt x="4496" y="372"/>
                  </a:lnTo>
                  <a:lnTo>
                    <a:pt x="4501" y="361"/>
                  </a:lnTo>
                  <a:lnTo>
                    <a:pt x="4506" y="350"/>
                  </a:lnTo>
                  <a:lnTo>
                    <a:pt x="4511" y="338"/>
                  </a:lnTo>
                  <a:lnTo>
                    <a:pt x="4515" y="326"/>
                  </a:lnTo>
                  <a:lnTo>
                    <a:pt x="4518" y="315"/>
                  </a:lnTo>
                  <a:lnTo>
                    <a:pt x="4521" y="302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4"/>
                  </a:lnTo>
                  <a:lnTo>
                    <a:pt x="4521" y="202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1"/>
                  </a:lnTo>
                  <a:lnTo>
                    <a:pt x="4416" y="44"/>
                  </a:lnTo>
                  <a:lnTo>
                    <a:pt x="4406" y="37"/>
                  </a:lnTo>
                  <a:lnTo>
                    <a:pt x="4395" y="31"/>
                  </a:lnTo>
                  <a:lnTo>
                    <a:pt x="4384" y="26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419" name="îslide">
              <a:extLst>
                <a:ext uri="{FF2B5EF4-FFF2-40B4-BE49-F238E27FC236}">
                  <a16:creationId xmlns:a16="http://schemas.microsoft.com/office/drawing/2014/main" id="{76473B59-F342-48A6-A9B2-C22C52D66761}"/>
                </a:ext>
              </a:extLst>
            </p:cNvPr>
            <p:cNvSpPr/>
            <p:nvPr/>
          </p:nvSpPr>
          <p:spPr bwMode="auto">
            <a:xfrm>
              <a:off x="11135462" y="1097648"/>
              <a:ext cx="65335" cy="7436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0 h 503"/>
                <a:gd name="T8" fmla="*/ 102 w 4527"/>
                <a:gd name="T9" fmla="*/ 50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1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50 h 503"/>
                <a:gd name="T28" fmla="*/ 37 w 4527"/>
                <a:gd name="T29" fmla="*/ 382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2 h 503"/>
                <a:gd name="T58" fmla="*/ 4502 w 4527"/>
                <a:gd name="T59" fmla="*/ 361 h 503"/>
                <a:gd name="T60" fmla="*/ 4516 w 4527"/>
                <a:gd name="T61" fmla="*/ 327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3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6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3"/>
                  </a:lnTo>
                  <a:lnTo>
                    <a:pt x="102" y="50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7"/>
                  </a:lnTo>
                  <a:lnTo>
                    <a:pt x="15" y="338"/>
                  </a:lnTo>
                  <a:lnTo>
                    <a:pt x="21" y="350"/>
                  </a:lnTo>
                  <a:lnTo>
                    <a:pt x="26" y="361"/>
                  </a:lnTo>
                  <a:lnTo>
                    <a:pt x="31" y="371"/>
                  </a:lnTo>
                  <a:lnTo>
                    <a:pt x="37" y="382"/>
                  </a:lnTo>
                  <a:lnTo>
                    <a:pt x="44" y="392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4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4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2"/>
                  </a:lnTo>
                  <a:lnTo>
                    <a:pt x="4491" y="382"/>
                  </a:lnTo>
                  <a:lnTo>
                    <a:pt x="4497" y="371"/>
                  </a:lnTo>
                  <a:lnTo>
                    <a:pt x="4502" y="361"/>
                  </a:lnTo>
                  <a:lnTo>
                    <a:pt x="4507" y="350"/>
                  </a:lnTo>
                  <a:lnTo>
                    <a:pt x="4512" y="338"/>
                  </a:lnTo>
                  <a:lnTo>
                    <a:pt x="4516" y="327"/>
                  </a:lnTo>
                  <a:lnTo>
                    <a:pt x="4519" y="315"/>
                  </a:lnTo>
                  <a:lnTo>
                    <a:pt x="4522" y="303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3"/>
                  </a:lnTo>
                  <a:lnTo>
                    <a:pt x="4522" y="201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0"/>
                  </a:lnTo>
                  <a:lnTo>
                    <a:pt x="4416" y="43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420" name="ïšļïḓe">
              <a:extLst>
                <a:ext uri="{FF2B5EF4-FFF2-40B4-BE49-F238E27FC236}">
                  <a16:creationId xmlns:a16="http://schemas.microsoft.com/office/drawing/2014/main" id="{D7740367-103B-4E86-B8D6-7A1A3B1B6F72}"/>
                </a:ext>
              </a:extLst>
            </p:cNvPr>
            <p:cNvSpPr/>
            <p:nvPr/>
          </p:nvSpPr>
          <p:spPr bwMode="auto">
            <a:xfrm>
              <a:off x="11135462" y="1075870"/>
              <a:ext cx="65335" cy="7436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0 h 503"/>
                <a:gd name="T8" fmla="*/ 102 w 4527"/>
                <a:gd name="T9" fmla="*/ 51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1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49 h 503"/>
                <a:gd name="T28" fmla="*/ 37 w 4527"/>
                <a:gd name="T29" fmla="*/ 383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3 h 503"/>
                <a:gd name="T58" fmla="*/ 4502 w 4527"/>
                <a:gd name="T59" fmla="*/ 361 h 503"/>
                <a:gd name="T60" fmla="*/ 4516 w 4527"/>
                <a:gd name="T61" fmla="*/ 326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4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6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4"/>
                  </a:lnTo>
                  <a:lnTo>
                    <a:pt x="102" y="51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1" y="349"/>
                  </a:lnTo>
                  <a:lnTo>
                    <a:pt x="26" y="361"/>
                  </a:lnTo>
                  <a:lnTo>
                    <a:pt x="31" y="371"/>
                  </a:lnTo>
                  <a:lnTo>
                    <a:pt x="37" y="383"/>
                  </a:lnTo>
                  <a:lnTo>
                    <a:pt x="44" y="393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3"/>
                  </a:lnTo>
                  <a:lnTo>
                    <a:pt x="4491" y="383"/>
                  </a:lnTo>
                  <a:lnTo>
                    <a:pt x="4497" y="371"/>
                  </a:lnTo>
                  <a:lnTo>
                    <a:pt x="4502" y="361"/>
                  </a:lnTo>
                  <a:lnTo>
                    <a:pt x="4507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19" y="315"/>
                  </a:lnTo>
                  <a:lnTo>
                    <a:pt x="4522" y="302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4"/>
                  </a:lnTo>
                  <a:lnTo>
                    <a:pt x="4522" y="201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1"/>
                  </a:lnTo>
                  <a:lnTo>
                    <a:pt x="4416" y="44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421" name="í$ḻiḍe">
              <a:extLst>
                <a:ext uri="{FF2B5EF4-FFF2-40B4-BE49-F238E27FC236}">
                  <a16:creationId xmlns:a16="http://schemas.microsoft.com/office/drawing/2014/main" id="{8440EE0B-6997-464B-B2F0-015AB96E4436}"/>
                </a:ext>
              </a:extLst>
            </p:cNvPr>
            <p:cNvSpPr/>
            <p:nvPr/>
          </p:nvSpPr>
          <p:spPr bwMode="auto">
            <a:xfrm>
              <a:off x="11135462" y="1054623"/>
              <a:ext cx="65335" cy="6905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1 h 503"/>
                <a:gd name="T8" fmla="*/ 102 w 4527"/>
                <a:gd name="T9" fmla="*/ 51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2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50 h 503"/>
                <a:gd name="T28" fmla="*/ 37 w 4527"/>
                <a:gd name="T29" fmla="*/ 383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3 h 503"/>
                <a:gd name="T58" fmla="*/ 4502 w 4527"/>
                <a:gd name="T59" fmla="*/ 361 h 503"/>
                <a:gd name="T60" fmla="*/ 4516 w 4527"/>
                <a:gd name="T61" fmla="*/ 326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4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7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1" y="37"/>
                  </a:lnTo>
                  <a:lnTo>
                    <a:pt x="111" y="44"/>
                  </a:lnTo>
                  <a:lnTo>
                    <a:pt x="102" y="51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1" y="350"/>
                  </a:lnTo>
                  <a:lnTo>
                    <a:pt x="26" y="361"/>
                  </a:lnTo>
                  <a:lnTo>
                    <a:pt x="31" y="372"/>
                  </a:lnTo>
                  <a:lnTo>
                    <a:pt x="37" y="383"/>
                  </a:lnTo>
                  <a:lnTo>
                    <a:pt x="44" y="393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3"/>
                  </a:lnTo>
                  <a:lnTo>
                    <a:pt x="4491" y="383"/>
                  </a:lnTo>
                  <a:lnTo>
                    <a:pt x="4497" y="372"/>
                  </a:lnTo>
                  <a:lnTo>
                    <a:pt x="4502" y="361"/>
                  </a:lnTo>
                  <a:lnTo>
                    <a:pt x="4507" y="350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19" y="315"/>
                  </a:lnTo>
                  <a:lnTo>
                    <a:pt x="4522" y="302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4"/>
                  </a:lnTo>
                  <a:lnTo>
                    <a:pt x="4522" y="202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1"/>
                  </a:lnTo>
                  <a:lnTo>
                    <a:pt x="4416" y="44"/>
                  </a:lnTo>
                  <a:lnTo>
                    <a:pt x="4406" y="37"/>
                  </a:lnTo>
                  <a:lnTo>
                    <a:pt x="4395" y="31"/>
                  </a:lnTo>
                  <a:lnTo>
                    <a:pt x="4384" y="26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422" name="îś1îḑé">
              <a:extLst>
                <a:ext uri="{FF2B5EF4-FFF2-40B4-BE49-F238E27FC236}">
                  <a16:creationId xmlns:a16="http://schemas.microsoft.com/office/drawing/2014/main" id="{8C92B830-D4A3-4AC1-88B1-53193CC23A2D}"/>
                </a:ext>
              </a:extLst>
            </p:cNvPr>
            <p:cNvSpPr/>
            <p:nvPr/>
          </p:nvSpPr>
          <p:spPr bwMode="auto">
            <a:xfrm>
              <a:off x="11056316" y="1011066"/>
              <a:ext cx="144480" cy="7436"/>
            </a:xfrm>
            <a:custGeom>
              <a:avLst/>
              <a:gdLst>
                <a:gd name="T0" fmla="*/ 238 w 10059"/>
                <a:gd name="T1" fmla="*/ 1 h 503"/>
                <a:gd name="T2" fmla="*/ 201 w 10059"/>
                <a:gd name="T3" fmla="*/ 5 h 503"/>
                <a:gd name="T4" fmla="*/ 165 w 10059"/>
                <a:gd name="T5" fmla="*/ 15 h 503"/>
                <a:gd name="T6" fmla="*/ 132 w 10059"/>
                <a:gd name="T7" fmla="*/ 30 h 503"/>
                <a:gd name="T8" fmla="*/ 100 w 10059"/>
                <a:gd name="T9" fmla="*/ 50 h 503"/>
                <a:gd name="T10" fmla="*/ 73 w 10059"/>
                <a:gd name="T11" fmla="*/ 73 h 503"/>
                <a:gd name="T12" fmla="*/ 50 w 10059"/>
                <a:gd name="T13" fmla="*/ 101 h 503"/>
                <a:gd name="T14" fmla="*/ 30 w 10059"/>
                <a:gd name="T15" fmla="*/ 131 h 503"/>
                <a:gd name="T16" fmla="*/ 15 w 10059"/>
                <a:gd name="T17" fmla="*/ 165 h 503"/>
                <a:gd name="T18" fmla="*/ 5 w 10059"/>
                <a:gd name="T19" fmla="*/ 201 h 503"/>
                <a:gd name="T20" fmla="*/ 0 w 10059"/>
                <a:gd name="T21" fmla="*/ 238 h 503"/>
                <a:gd name="T22" fmla="*/ 1 w 10059"/>
                <a:gd name="T23" fmla="*/ 277 h 503"/>
                <a:gd name="T24" fmla="*/ 8 w 10059"/>
                <a:gd name="T25" fmla="*/ 314 h 503"/>
                <a:gd name="T26" fmla="*/ 20 w 10059"/>
                <a:gd name="T27" fmla="*/ 349 h 503"/>
                <a:gd name="T28" fmla="*/ 36 w 10059"/>
                <a:gd name="T29" fmla="*/ 382 h 503"/>
                <a:gd name="T30" fmla="*/ 57 w 10059"/>
                <a:gd name="T31" fmla="*/ 411 h 503"/>
                <a:gd name="T32" fmla="*/ 82 w 10059"/>
                <a:gd name="T33" fmla="*/ 437 h 503"/>
                <a:gd name="T34" fmla="*/ 110 w 10059"/>
                <a:gd name="T35" fmla="*/ 460 h 503"/>
                <a:gd name="T36" fmla="*/ 143 w 10059"/>
                <a:gd name="T37" fmla="*/ 478 h 503"/>
                <a:gd name="T38" fmla="*/ 177 w 10059"/>
                <a:gd name="T39" fmla="*/ 491 h 503"/>
                <a:gd name="T40" fmla="*/ 213 w 10059"/>
                <a:gd name="T41" fmla="*/ 499 h 503"/>
                <a:gd name="T42" fmla="*/ 251 w 10059"/>
                <a:gd name="T43" fmla="*/ 503 h 503"/>
                <a:gd name="T44" fmla="*/ 9834 w 10059"/>
                <a:gd name="T45" fmla="*/ 502 h 503"/>
                <a:gd name="T46" fmla="*/ 9870 w 10059"/>
                <a:gd name="T47" fmla="*/ 494 h 503"/>
                <a:gd name="T48" fmla="*/ 9905 w 10059"/>
                <a:gd name="T49" fmla="*/ 483 h 503"/>
                <a:gd name="T50" fmla="*/ 9938 w 10059"/>
                <a:gd name="T51" fmla="*/ 466 h 503"/>
                <a:gd name="T52" fmla="*/ 9968 w 10059"/>
                <a:gd name="T53" fmla="*/ 445 h 503"/>
                <a:gd name="T54" fmla="*/ 9994 w 10059"/>
                <a:gd name="T55" fmla="*/ 420 h 503"/>
                <a:gd name="T56" fmla="*/ 10016 w 10059"/>
                <a:gd name="T57" fmla="*/ 392 h 503"/>
                <a:gd name="T58" fmla="*/ 10034 w 10059"/>
                <a:gd name="T59" fmla="*/ 361 h 503"/>
                <a:gd name="T60" fmla="*/ 10048 w 10059"/>
                <a:gd name="T61" fmla="*/ 326 h 503"/>
                <a:gd name="T62" fmla="*/ 10056 w 10059"/>
                <a:gd name="T63" fmla="*/ 289 h 503"/>
                <a:gd name="T64" fmla="*/ 10059 w 10059"/>
                <a:gd name="T65" fmla="*/ 251 h 503"/>
                <a:gd name="T66" fmla="*/ 10056 w 10059"/>
                <a:gd name="T67" fmla="*/ 213 h 503"/>
                <a:gd name="T68" fmla="*/ 10048 w 10059"/>
                <a:gd name="T69" fmla="*/ 177 h 503"/>
                <a:gd name="T70" fmla="*/ 10034 w 10059"/>
                <a:gd name="T71" fmla="*/ 142 h 503"/>
                <a:gd name="T72" fmla="*/ 10016 w 10059"/>
                <a:gd name="T73" fmla="*/ 110 h 503"/>
                <a:gd name="T74" fmla="*/ 9994 w 10059"/>
                <a:gd name="T75" fmla="*/ 82 h 503"/>
                <a:gd name="T76" fmla="*/ 9968 w 10059"/>
                <a:gd name="T77" fmla="*/ 57 h 503"/>
                <a:gd name="T78" fmla="*/ 9938 w 10059"/>
                <a:gd name="T79" fmla="*/ 36 h 503"/>
                <a:gd name="T80" fmla="*/ 9905 w 10059"/>
                <a:gd name="T81" fmla="*/ 20 h 503"/>
                <a:gd name="T82" fmla="*/ 9870 w 10059"/>
                <a:gd name="T83" fmla="*/ 8 h 503"/>
                <a:gd name="T84" fmla="*/ 9834 w 10059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59" h="503">
                  <a:moveTo>
                    <a:pt x="9808" y="0"/>
                  </a:moveTo>
                  <a:lnTo>
                    <a:pt x="251" y="0"/>
                  </a:lnTo>
                  <a:lnTo>
                    <a:pt x="238" y="1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3"/>
                  </a:lnTo>
                  <a:lnTo>
                    <a:pt x="100" y="50"/>
                  </a:lnTo>
                  <a:lnTo>
                    <a:pt x="91" y="57"/>
                  </a:lnTo>
                  <a:lnTo>
                    <a:pt x="82" y="65"/>
                  </a:lnTo>
                  <a:lnTo>
                    <a:pt x="73" y="73"/>
                  </a:lnTo>
                  <a:lnTo>
                    <a:pt x="65" y="82"/>
                  </a:lnTo>
                  <a:lnTo>
                    <a:pt x="57" y="91"/>
                  </a:lnTo>
                  <a:lnTo>
                    <a:pt x="50" y="101"/>
                  </a:lnTo>
                  <a:lnTo>
                    <a:pt x="43" y="110"/>
                  </a:lnTo>
                  <a:lnTo>
                    <a:pt x="36" y="121"/>
                  </a:lnTo>
                  <a:lnTo>
                    <a:pt x="30" y="131"/>
                  </a:lnTo>
                  <a:lnTo>
                    <a:pt x="25" y="142"/>
                  </a:lnTo>
                  <a:lnTo>
                    <a:pt x="20" y="153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6"/>
                  </a:lnTo>
                  <a:lnTo>
                    <a:pt x="0" y="238"/>
                  </a:lnTo>
                  <a:lnTo>
                    <a:pt x="0" y="251"/>
                  </a:lnTo>
                  <a:lnTo>
                    <a:pt x="0" y="264"/>
                  </a:lnTo>
                  <a:lnTo>
                    <a:pt x="1" y="277"/>
                  </a:lnTo>
                  <a:lnTo>
                    <a:pt x="3" y="289"/>
                  </a:lnTo>
                  <a:lnTo>
                    <a:pt x="5" y="302"/>
                  </a:lnTo>
                  <a:lnTo>
                    <a:pt x="8" y="314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2"/>
                  </a:lnTo>
                  <a:lnTo>
                    <a:pt x="57" y="411"/>
                  </a:lnTo>
                  <a:lnTo>
                    <a:pt x="65" y="420"/>
                  </a:lnTo>
                  <a:lnTo>
                    <a:pt x="73" y="429"/>
                  </a:lnTo>
                  <a:lnTo>
                    <a:pt x="82" y="437"/>
                  </a:lnTo>
                  <a:lnTo>
                    <a:pt x="91" y="445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6"/>
                  </a:lnTo>
                  <a:lnTo>
                    <a:pt x="132" y="472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7"/>
                  </a:lnTo>
                  <a:lnTo>
                    <a:pt x="177" y="491"/>
                  </a:lnTo>
                  <a:lnTo>
                    <a:pt x="189" y="494"/>
                  </a:lnTo>
                  <a:lnTo>
                    <a:pt x="201" y="497"/>
                  </a:lnTo>
                  <a:lnTo>
                    <a:pt x="213" y="499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9808" y="503"/>
                  </a:lnTo>
                  <a:lnTo>
                    <a:pt x="9821" y="503"/>
                  </a:lnTo>
                  <a:lnTo>
                    <a:pt x="9834" y="502"/>
                  </a:lnTo>
                  <a:lnTo>
                    <a:pt x="9846" y="499"/>
                  </a:lnTo>
                  <a:lnTo>
                    <a:pt x="9858" y="497"/>
                  </a:lnTo>
                  <a:lnTo>
                    <a:pt x="9870" y="494"/>
                  </a:lnTo>
                  <a:lnTo>
                    <a:pt x="9882" y="491"/>
                  </a:lnTo>
                  <a:lnTo>
                    <a:pt x="9894" y="487"/>
                  </a:lnTo>
                  <a:lnTo>
                    <a:pt x="9905" y="483"/>
                  </a:lnTo>
                  <a:lnTo>
                    <a:pt x="9916" y="478"/>
                  </a:lnTo>
                  <a:lnTo>
                    <a:pt x="9927" y="472"/>
                  </a:lnTo>
                  <a:lnTo>
                    <a:pt x="9938" y="466"/>
                  </a:lnTo>
                  <a:lnTo>
                    <a:pt x="9948" y="460"/>
                  </a:lnTo>
                  <a:lnTo>
                    <a:pt x="9959" y="453"/>
                  </a:lnTo>
                  <a:lnTo>
                    <a:pt x="9968" y="445"/>
                  </a:lnTo>
                  <a:lnTo>
                    <a:pt x="9977" y="437"/>
                  </a:lnTo>
                  <a:lnTo>
                    <a:pt x="9986" y="429"/>
                  </a:lnTo>
                  <a:lnTo>
                    <a:pt x="9994" y="420"/>
                  </a:lnTo>
                  <a:lnTo>
                    <a:pt x="10002" y="411"/>
                  </a:lnTo>
                  <a:lnTo>
                    <a:pt x="10009" y="402"/>
                  </a:lnTo>
                  <a:lnTo>
                    <a:pt x="10016" y="392"/>
                  </a:lnTo>
                  <a:lnTo>
                    <a:pt x="10023" y="382"/>
                  </a:lnTo>
                  <a:lnTo>
                    <a:pt x="10029" y="371"/>
                  </a:lnTo>
                  <a:lnTo>
                    <a:pt x="10034" y="361"/>
                  </a:lnTo>
                  <a:lnTo>
                    <a:pt x="10039" y="349"/>
                  </a:lnTo>
                  <a:lnTo>
                    <a:pt x="10044" y="338"/>
                  </a:lnTo>
                  <a:lnTo>
                    <a:pt x="10048" y="326"/>
                  </a:lnTo>
                  <a:lnTo>
                    <a:pt x="10051" y="314"/>
                  </a:lnTo>
                  <a:lnTo>
                    <a:pt x="10054" y="302"/>
                  </a:lnTo>
                  <a:lnTo>
                    <a:pt x="10056" y="289"/>
                  </a:lnTo>
                  <a:lnTo>
                    <a:pt x="10058" y="277"/>
                  </a:lnTo>
                  <a:lnTo>
                    <a:pt x="10059" y="264"/>
                  </a:lnTo>
                  <a:lnTo>
                    <a:pt x="10059" y="251"/>
                  </a:lnTo>
                  <a:lnTo>
                    <a:pt x="10059" y="238"/>
                  </a:lnTo>
                  <a:lnTo>
                    <a:pt x="10058" y="226"/>
                  </a:lnTo>
                  <a:lnTo>
                    <a:pt x="10056" y="213"/>
                  </a:lnTo>
                  <a:lnTo>
                    <a:pt x="10054" y="201"/>
                  </a:lnTo>
                  <a:lnTo>
                    <a:pt x="10051" y="189"/>
                  </a:lnTo>
                  <a:lnTo>
                    <a:pt x="10048" y="177"/>
                  </a:lnTo>
                  <a:lnTo>
                    <a:pt x="10044" y="165"/>
                  </a:lnTo>
                  <a:lnTo>
                    <a:pt x="10039" y="153"/>
                  </a:lnTo>
                  <a:lnTo>
                    <a:pt x="10034" y="142"/>
                  </a:lnTo>
                  <a:lnTo>
                    <a:pt x="10029" y="131"/>
                  </a:lnTo>
                  <a:lnTo>
                    <a:pt x="10023" y="121"/>
                  </a:lnTo>
                  <a:lnTo>
                    <a:pt x="10016" y="110"/>
                  </a:lnTo>
                  <a:lnTo>
                    <a:pt x="10009" y="101"/>
                  </a:lnTo>
                  <a:lnTo>
                    <a:pt x="10002" y="91"/>
                  </a:lnTo>
                  <a:lnTo>
                    <a:pt x="9994" y="82"/>
                  </a:lnTo>
                  <a:lnTo>
                    <a:pt x="9986" y="73"/>
                  </a:lnTo>
                  <a:lnTo>
                    <a:pt x="9977" y="65"/>
                  </a:lnTo>
                  <a:lnTo>
                    <a:pt x="9968" y="57"/>
                  </a:lnTo>
                  <a:lnTo>
                    <a:pt x="9959" y="50"/>
                  </a:lnTo>
                  <a:lnTo>
                    <a:pt x="9948" y="43"/>
                  </a:lnTo>
                  <a:lnTo>
                    <a:pt x="9938" y="36"/>
                  </a:lnTo>
                  <a:lnTo>
                    <a:pt x="9927" y="30"/>
                  </a:lnTo>
                  <a:lnTo>
                    <a:pt x="9916" y="25"/>
                  </a:lnTo>
                  <a:lnTo>
                    <a:pt x="9905" y="20"/>
                  </a:lnTo>
                  <a:lnTo>
                    <a:pt x="9894" y="15"/>
                  </a:lnTo>
                  <a:lnTo>
                    <a:pt x="9882" y="11"/>
                  </a:lnTo>
                  <a:lnTo>
                    <a:pt x="9870" y="8"/>
                  </a:lnTo>
                  <a:lnTo>
                    <a:pt x="9858" y="5"/>
                  </a:lnTo>
                  <a:lnTo>
                    <a:pt x="9846" y="3"/>
                  </a:lnTo>
                  <a:lnTo>
                    <a:pt x="9834" y="1"/>
                  </a:lnTo>
                  <a:lnTo>
                    <a:pt x="9821" y="1"/>
                  </a:lnTo>
                  <a:lnTo>
                    <a:pt x="980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423" name="ïṧḻïde">
              <a:extLst>
                <a:ext uri="{FF2B5EF4-FFF2-40B4-BE49-F238E27FC236}">
                  <a16:creationId xmlns:a16="http://schemas.microsoft.com/office/drawing/2014/main" id="{70ED8BEE-CF05-4E60-8A78-6C3EBB0FD2AF}"/>
                </a:ext>
              </a:extLst>
            </p:cNvPr>
            <p:cNvSpPr/>
            <p:nvPr/>
          </p:nvSpPr>
          <p:spPr bwMode="auto">
            <a:xfrm>
              <a:off x="11056316" y="1032844"/>
              <a:ext cx="144480" cy="6905"/>
            </a:xfrm>
            <a:custGeom>
              <a:avLst/>
              <a:gdLst>
                <a:gd name="T0" fmla="*/ 238 w 10059"/>
                <a:gd name="T1" fmla="*/ 0 h 503"/>
                <a:gd name="T2" fmla="*/ 201 w 10059"/>
                <a:gd name="T3" fmla="*/ 5 h 503"/>
                <a:gd name="T4" fmla="*/ 165 w 10059"/>
                <a:gd name="T5" fmla="*/ 16 h 503"/>
                <a:gd name="T6" fmla="*/ 132 w 10059"/>
                <a:gd name="T7" fmla="*/ 31 h 503"/>
                <a:gd name="T8" fmla="*/ 100 w 10059"/>
                <a:gd name="T9" fmla="*/ 51 h 503"/>
                <a:gd name="T10" fmla="*/ 73 w 10059"/>
                <a:gd name="T11" fmla="*/ 74 h 503"/>
                <a:gd name="T12" fmla="*/ 50 w 10059"/>
                <a:gd name="T13" fmla="*/ 102 h 503"/>
                <a:gd name="T14" fmla="*/ 30 w 10059"/>
                <a:gd name="T15" fmla="*/ 132 h 503"/>
                <a:gd name="T16" fmla="*/ 15 w 10059"/>
                <a:gd name="T17" fmla="*/ 165 h 503"/>
                <a:gd name="T18" fmla="*/ 5 w 10059"/>
                <a:gd name="T19" fmla="*/ 202 h 503"/>
                <a:gd name="T20" fmla="*/ 0 w 10059"/>
                <a:gd name="T21" fmla="*/ 239 h 503"/>
                <a:gd name="T22" fmla="*/ 1 w 10059"/>
                <a:gd name="T23" fmla="*/ 278 h 503"/>
                <a:gd name="T24" fmla="*/ 8 w 10059"/>
                <a:gd name="T25" fmla="*/ 315 h 503"/>
                <a:gd name="T26" fmla="*/ 20 w 10059"/>
                <a:gd name="T27" fmla="*/ 350 h 503"/>
                <a:gd name="T28" fmla="*/ 36 w 10059"/>
                <a:gd name="T29" fmla="*/ 383 h 503"/>
                <a:gd name="T30" fmla="*/ 57 w 10059"/>
                <a:gd name="T31" fmla="*/ 412 h 503"/>
                <a:gd name="T32" fmla="*/ 82 w 10059"/>
                <a:gd name="T33" fmla="*/ 438 h 503"/>
                <a:gd name="T34" fmla="*/ 110 w 10059"/>
                <a:gd name="T35" fmla="*/ 460 h 503"/>
                <a:gd name="T36" fmla="*/ 143 w 10059"/>
                <a:gd name="T37" fmla="*/ 478 h 503"/>
                <a:gd name="T38" fmla="*/ 177 w 10059"/>
                <a:gd name="T39" fmla="*/ 492 h 503"/>
                <a:gd name="T40" fmla="*/ 213 w 10059"/>
                <a:gd name="T41" fmla="*/ 500 h 503"/>
                <a:gd name="T42" fmla="*/ 251 w 10059"/>
                <a:gd name="T43" fmla="*/ 503 h 503"/>
                <a:gd name="T44" fmla="*/ 9834 w 10059"/>
                <a:gd name="T45" fmla="*/ 502 h 503"/>
                <a:gd name="T46" fmla="*/ 9870 w 10059"/>
                <a:gd name="T47" fmla="*/ 495 h 503"/>
                <a:gd name="T48" fmla="*/ 9905 w 10059"/>
                <a:gd name="T49" fmla="*/ 483 h 503"/>
                <a:gd name="T50" fmla="*/ 9938 w 10059"/>
                <a:gd name="T51" fmla="*/ 467 h 503"/>
                <a:gd name="T52" fmla="*/ 9968 w 10059"/>
                <a:gd name="T53" fmla="*/ 446 h 503"/>
                <a:gd name="T54" fmla="*/ 9994 w 10059"/>
                <a:gd name="T55" fmla="*/ 421 h 503"/>
                <a:gd name="T56" fmla="*/ 10016 w 10059"/>
                <a:gd name="T57" fmla="*/ 393 h 503"/>
                <a:gd name="T58" fmla="*/ 10034 w 10059"/>
                <a:gd name="T59" fmla="*/ 362 h 503"/>
                <a:gd name="T60" fmla="*/ 10048 w 10059"/>
                <a:gd name="T61" fmla="*/ 326 h 503"/>
                <a:gd name="T62" fmla="*/ 10056 w 10059"/>
                <a:gd name="T63" fmla="*/ 290 h 503"/>
                <a:gd name="T64" fmla="*/ 10059 w 10059"/>
                <a:gd name="T65" fmla="*/ 252 h 503"/>
                <a:gd name="T66" fmla="*/ 10056 w 10059"/>
                <a:gd name="T67" fmla="*/ 214 h 503"/>
                <a:gd name="T68" fmla="*/ 10048 w 10059"/>
                <a:gd name="T69" fmla="*/ 177 h 503"/>
                <a:gd name="T70" fmla="*/ 10034 w 10059"/>
                <a:gd name="T71" fmla="*/ 143 h 503"/>
                <a:gd name="T72" fmla="*/ 10016 w 10059"/>
                <a:gd name="T73" fmla="*/ 112 h 503"/>
                <a:gd name="T74" fmla="*/ 9994 w 10059"/>
                <a:gd name="T75" fmla="*/ 83 h 503"/>
                <a:gd name="T76" fmla="*/ 9968 w 10059"/>
                <a:gd name="T77" fmla="*/ 58 h 503"/>
                <a:gd name="T78" fmla="*/ 9938 w 10059"/>
                <a:gd name="T79" fmla="*/ 37 h 503"/>
                <a:gd name="T80" fmla="*/ 9905 w 10059"/>
                <a:gd name="T81" fmla="*/ 21 h 503"/>
                <a:gd name="T82" fmla="*/ 9870 w 10059"/>
                <a:gd name="T83" fmla="*/ 8 h 503"/>
                <a:gd name="T84" fmla="*/ 9834 w 10059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59" h="503">
                  <a:moveTo>
                    <a:pt x="9808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2"/>
                  </a:lnTo>
                  <a:lnTo>
                    <a:pt x="165" y="16"/>
                  </a:lnTo>
                  <a:lnTo>
                    <a:pt x="154" y="21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0" y="37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2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90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2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4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9808" y="503"/>
                  </a:lnTo>
                  <a:lnTo>
                    <a:pt x="9821" y="503"/>
                  </a:lnTo>
                  <a:lnTo>
                    <a:pt x="9834" y="502"/>
                  </a:lnTo>
                  <a:lnTo>
                    <a:pt x="9846" y="500"/>
                  </a:lnTo>
                  <a:lnTo>
                    <a:pt x="9858" y="498"/>
                  </a:lnTo>
                  <a:lnTo>
                    <a:pt x="9870" y="495"/>
                  </a:lnTo>
                  <a:lnTo>
                    <a:pt x="9882" y="492"/>
                  </a:lnTo>
                  <a:lnTo>
                    <a:pt x="9894" y="488"/>
                  </a:lnTo>
                  <a:lnTo>
                    <a:pt x="9905" y="483"/>
                  </a:lnTo>
                  <a:lnTo>
                    <a:pt x="9916" y="478"/>
                  </a:lnTo>
                  <a:lnTo>
                    <a:pt x="9927" y="473"/>
                  </a:lnTo>
                  <a:lnTo>
                    <a:pt x="9938" y="467"/>
                  </a:lnTo>
                  <a:lnTo>
                    <a:pt x="9948" y="460"/>
                  </a:lnTo>
                  <a:lnTo>
                    <a:pt x="9959" y="454"/>
                  </a:lnTo>
                  <a:lnTo>
                    <a:pt x="9968" y="446"/>
                  </a:lnTo>
                  <a:lnTo>
                    <a:pt x="9977" y="438"/>
                  </a:lnTo>
                  <a:lnTo>
                    <a:pt x="9986" y="430"/>
                  </a:lnTo>
                  <a:lnTo>
                    <a:pt x="9994" y="421"/>
                  </a:lnTo>
                  <a:lnTo>
                    <a:pt x="10002" y="412"/>
                  </a:lnTo>
                  <a:lnTo>
                    <a:pt x="10009" y="403"/>
                  </a:lnTo>
                  <a:lnTo>
                    <a:pt x="10016" y="393"/>
                  </a:lnTo>
                  <a:lnTo>
                    <a:pt x="10023" y="383"/>
                  </a:lnTo>
                  <a:lnTo>
                    <a:pt x="10029" y="372"/>
                  </a:lnTo>
                  <a:lnTo>
                    <a:pt x="10034" y="362"/>
                  </a:lnTo>
                  <a:lnTo>
                    <a:pt x="10039" y="350"/>
                  </a:lnTo>
                  <a:lnTo>
                    <a:pt x="10044" y="338"/>
                  </a:lnTo>
                  <a:lnTo>
                    <a:pt x="10048" y="326"/>
                  </a:lnTo>
                  <a:lnTo>
                    <a:pt x="10051" y="315"/>
                  </a:lnTo>
                  <a:lnTo>
                    <a:pt x="10054" y="302"/>
                  </a:lnTo>
                  <a:lnTo>
                    <a:pt x="10056" y="290"/>
                  </a:lnTo>
                  <a:lnTo>
                    <a:pt x="10058" y="278"/>
                  </a:lnTo>
                  <a:lnTo>
                    <a:pt x="10059" y="265"/>
                  </a:lnTo>
                  <a:lnTo>
                    <a:pt x="10059" y="252"/>
                  </a:lnTo>
                  <a:lnTo>
                    <a:pt x="10059" y="239"/>
                  </a:lnTo>
                  <a:lnTo>
                    <a:pt x="10058" y="227"/>
                  </a:lnTo>
                  <a:lnTo>
                    <a:pt x="10056" y="214"/>
                  </a:lnTo>
                  <a:lnTo>
                    <a:pt x="10054" y="202"/>
                  </a:lnTo>
                  <a:lnTo>
                    <a:pt x="10051" y="190"/>
                  </a:lnTo>
                  <a:lnTo>
                    <a:pt x="10048" y="177"/>
                  </a:lnTo>
                  <a:lnTo>
                    <a:pt x="10044" y="165"/>
                  </a:lnTo>
                  <a:lnTo>
                    <a:pt x="10039" y="154"/>
                  </a:lnTo>
                  <a:lnTo>
                    <a:pt x="10034" y="143"/>
                  </a:lnTo>
                  <a:lnTo>
                    <a:pt x="10029" y="132"/>
                  </a:lnTo>
                  <a:lnTo>
                    <a:pt x="10023" y="122"/>
                  </a:lnTo>
                  <a:lnTo>
                    <a:pt x="10016" y="112"/>
                  </a:lnTo>
                  <a:lnTo>
                    <a:pt x="10009" y="102"/>
                  </a:lnTo>
                  <a:lnTo>
                    <a:pt x="10002" y="92"/>
                  </a:lnTo>
                  <a:lnTo>
                    <a:pt x="9994" y="83"/>
                  </a:lnTo>
                  <a:lnTo>
                    <a:pt x="9986" y="74"/>
                  </a:lnTo>
                  <a:lnTo>
                    <a:pt x="9977" y="66"/>
                  </a:lnTo>
                  <a:lnTo>
                    <a:pt x="9968" y="58"/>
                  </a:lnTo>
                  <a:lnTo>
                    <a:pt x="9959" y="51"/>
                  </a:lnTo>
                  <a:lnTo>
                    <a:pt x="9948" y="44"/>
                  </a:lnTo>
                  <a:lnTo>
                    <a:pt x="9938" y="37"/>
                  </a:lnTo>
                  <a:lnTo>
                    <a:pt x="9927" y="31"/>
                  </a:lnTo>
                  <a:lnTo>
                    <a:pt x="9916" y="26"/>
                  </a:lnTo>
                  <a:lnTo>
                    <a:pt x="9905" y="21"/>
                  </a:lnTo>
                  <a:lnTo>
                    <a:pt x="9894" y="16"/>
                  </a:lnTo>
                  <a:lnTo>
                    <a:pt x="9882" y="12"/>
                  </a:lnTo>
                  <a:lnTo>
                    <a:pt x="9870" y="8"/>
                  </a:lnTo>
                  <a:lnTo>
                    <a:pt x="9858" y="5"/>
                  </a:lnTo>
                  <a:lnTo>
                    <a:pt x="9846" y="3"/>
                  </a:lnTo>
                  <a:lnTo>
                    <a:pt x="9834" y="1"/>
                  </a:lnTo>
                  <a:lnTo>
                    <a:pt x="9821" y="0"/>
                  </a:lnTo>
                  <a:lnTo>
                    <a:pt x="980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424" name="îṩ1îdè">
              <a:extLst>
                <a:ext uri="{FF2B5EF4-FFF2-40B4-BE49-F238E27FC236}">
                  <a16:creationId xmlns:a16="http://schemas.microsoft.com/office/drawing/2014/main" id="{50614CE4-FA97-4AB4-92AC-FDE05969FB5B}"/>
                </a:ext>
              </a:extLst>
            </p:cNvPr>
            <p:cNvSpPr/>
            <p:nvPr/>
          </p:nvSpPr>
          <p:spPr bwMode="auto">
            <a:xfrm>
              <a:off x="11056316" y="931390"/>
              <a:ext cx="64804" cy="65335"/>
            </a:xfrm>
            <a:custGeom>
              <a:avLst/>
              <a:gdLst>
                <a:gd name="T0" fmla="*/ 3521 w 4526"/>
                <a:gd name="T1" fmla="*/ 3519 h 4525"/>
                <a:gd name="T2" fmla="*/ 503 w 4526"/>
                <a:gd name="T3" fmla="*/ 4525 h 4525"/>
                <a:gd name="T4" fmla="*/ 4075 w 4526"/>
                <a:gd name="T5" fmla="*/ 4522 h 4525"/>
                <a:gd name="T6" fmla="*/ 4149 w 4526"/>
                <a:gd name="T7" fmla="*/ 4508 h 4525"/>
                <a:gd name="T8" fmla="*/ 4220 w 4526"/>
                <a:gd name="T9" fmla="*/ 4485 h 4525"/>
                <a:gd name="T10" fmla="*/ 4284 w 4526"/>
                <a:gd name="T11" fmla="*/ 4452 h 4525"/>
                <a:gd name="T12" fmla="*/ 4343 w 4526"/>
                <a:gd name="T13" fmla="*/ 4410 h 4525"/>
                <a:gd name="T14" fmla="*/ 4396 w 4526"/>
                <a:gd name="T15" fmla="*/ 4360 h 4525"/>
                <a:gd name="T16" fmla="*/ 4441 w 4526"/>
                <a:gd name="T17" fmla="*/ 4302 h 4525"/>
                <a:gd name="T18" fmla="*/ 4477 w 4526"/>
                <a:gd name="T19" fmla="*/ 4240 h 4525"/>
                <a:gd name="T20" fmla="*/ 4504 w 4526"/>
                <a:gd name="T21" fmla="*/ 4172 h 4525"/>
                <a:gd name="T22" fmla="*/ 4520 w 4526"/>
                <a:gd name="T23" fmla="*/ 4098 h 4525"/>
                <a:gd name="T24" fmla="*/ 4526 w 4526"/>
                <a:gd name="T25" fmla="*/ 4022 h 4525"/>
                <a:gd name="T26" fmla="*/ 4523 w 4526"/>
                <a:gd name="T27" fmla="*/ 452 h 4525"/>
                <a:gd name="T28" fmla="*/ 4510 w 4526"/>
                <a:gd name="T29" fmla="*/ 377 h 4525"/>
                <a:gd name="T30" fmla="*/ 4487 w 4526"/>
                <a:gd name="T31" fmla="*/ 308 h 4525"/>
                <a:gd name="T32" fmla="*/ 4454 w 4526"/>
                <a:gd name="T33" fmla="*/ 242 h 4525"/>
                <a:gd name="T34" fmla="*/ 4412 w 4526"/>
                <a:gd name="T35" fmla="*/ 183 h 4525"/>
                <a:gd name="T36" fmla="*/ 4361 w 4526"/>
                <a:gd name="T37" fmla="*/ 131 h 4525"/>
                <a:gd name="T38" fmla="*/ 4305 w 4526"/>
                <a:gd name="T39" fmla="*/ 85 h 4525"/>
                <a:gd name="T40" fmla="*/ 4242 w 4526"/>
                <a:gd name="T41" fmla="*/ 49 h 4525"/>
                <a:gd name="T42" fmla="*/ 4173 w 4526"/>
                <a:gd name="T43" fmla="*/ 22 h 4525"/>
                <a:gd name="T44" fmla="*/ 4100 w 4526"/>
                <a:gd name="T45" fmla="*/ 6 h 4525"/>
                <a:gd name="T46" fmla="*/ 4024 w 4526"/>
                <a:gd name="T47" fmla="*/ 0 h 4525"/>
                <a:gd name="T48" fmla="*/ 451 w 4526"/>
                <a:gd name="T49" fmla="*/ 3 h 4525"/>
                <a:gd name="T50" fmla="*/ 377 w 4526"/>
                <a:gd name="T51" fmla="*/ 16 h 4525"/>
                <a:gd name="T52" fmla="*/ 307 w 4526"/>
                <a:gd name="T53" fmla="*/ 39 h 4525"/>
                <a:gd name="T54" fmla="*/ 242 w 4526"/>
                <a:gd name="T55" fmla="*/ 72 h 4525"/>
                <a:gd name="T56" fmla="*/ 183 w 4526"/>
                <a:gd name="T57" fmla="*/ 115 h 4525"/>
                <a:gd name="T58" fmla="*/ 131 w 4526"/>
                <a:gd name="T59" fmla="*/ 165 h 4525"/>
                <a:gd name="T60" fmla="*/ 85 w 4526"/>
                <a:gd name="T61" fmla="*/ 222 h 4525"/>
                <a:gd name="T62" fmla="*/ 49 w 4526"/>
                <a:gd name="T63" fmla="*/ 285 h 4525"/>
                <a:gd name="T64" fmla="*/ 22 w 4526"/>
                <a:gd name="T65" fmla="*/ 353 h 4525"/>
                <a:gd name="T66" fmla="*/ 6 w 4526"/>
                <a:gd name="T67" fmla="*/ 426 h 4525"/>
                <a:gd name="T68" fmla="*/ 0 w 4526"/>
                <a:gd name="T69" fmla="*/ 503 h 4525"/>
                <a:gd name="T70" fmla="*/ 3 w 4526"/>
                <a:gd name="T71" fmla="*/ 4073 h 4525"/>
                <a:gd name="T72" fmla="*/ 16 w 4526"/>
                <a:gd name="T73" fmla="*/ 4147 h 4525"/>
                <a:gd name="T74" fmla="*/ 39 w 4526"/>
                <a:gd name="T75" fmla="*/ 4218 h 4525"/>
                <a:gd name="T76" fmla="*/ 72 w 4526"/>
                <a:gd name="T77" fmla="*/ 4282 h 4525"/>
                <a:gd name="T78" fmla="*/ 114 w 4526"/>
                <a:gd name="T79" fmla="*/ 4342 h 4525"/>
                <a:gd name="T80" fmla="*/ 165 w 4526"/>
                <a:gd name="T81" fmla="*/ 4394 h 4525"/>
                <a:gd name="T82" fmla="*/ 221 w 4526"/>
                <a:gd name="T83" fmla="*/ 4439 h 4525"/>
                <a:gd name="T84" fmla="*/ 284 w 4526"/>
                <a:gd name="T85" fmla="*/ 4475 h 4525"/>
                <a:gd name="T86" fmla="*/ 353 w 4526"/>
                <a:gd name="T87" fmla="*/ 4501 h 4525"/>
                <a:gd name="T88" fmla="*/ 426 w 4526"/>
                <a:gd name="T89" fmla="*/ 4519 h 4525"/>
                <a:gd name="T90" fmla="*/ 503 w 4526"/>
                <a:gd name="T91" fmla="*/ 4525 h 4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526" h="4525">
                  <a:moveTo>
                    <a:pt x="1006" y="1004"/>
                  </a:moveTo>
                  <a:lnTo>
                    <a:pt x="3521" y="1004"/>
                  </a:lnTo>
                  <a:lnTo>
                    <a:pt x="3521" y="3519"/>
                  </a:lnTo>
                  <a:lnTo>
                    <a:pt x="1006" y="3519"/>
                  </a:lnTo>
                  <a:lnTo>
                    <a:pt x="1006" y="1004"/>
                  </a:lnTo>
                  <a:close/>
                  <a:moveTo>
                    <a:pt x="503" y="4525"/>
                  </a:moveTo>
                  <a:lnTo>
                    <a:pt x="4024" y="4525"/>
                  </a:lnTo>
                  <a:lnTo>
                    <a:pt x="4050" y="4524"/>
                  </a:lnTo>
                  <a:lnTo>
                    <a:pt x="4075" y="4522"/>
                  </a:lnTo>
                  <a:lnTo>
                    <a:pt x="4100" y="4519"/>
                  </a:lnTo>
                  <a:lnTo>
                    <a:pt x="4125" y="4515"/>
                  </a:lnTo>
                  <a:lnTo>
                    <a:pt x="4149" y="4508"/>
                  </a:lnTo>
                  <a:lnTo>
                    <a:pt x="4173" y="4501"/>
                  </a:lnTo>
                  <a:lnTo>
                    <a:pt x="4197" y="4494"/>
                  </a:lnTo>
                  <a:lnTo>
                    <a:pt x="4220" y="4485"/>
                  </a:lnTo>
                  <a:lnTo>
                    <a:pt x="4242" y="4475"/>
                  </a:lnTo>
                  <a:lnTo>
                    <a:pt x="4263" y="4464"/>
                  </a:lnTo>
                  <a:lnTo>
                    <a:pt x="4284" y="4452"/>
                  </a:lnTo>
                  <a:lnTo>
                    <a:pt x="4305" y="4439"/>
                  </a:lnTo>
                  <a:lnTo>
                    <a:pt x="4324" y="4425"/>
                  </a:lnTo>
                  <a:lnTo>
                    <a:pt x="4343" y="4410"/>
                  </a:lnTo>
                  <a:lnTo>
                    <a:pt x="4361" y="4394"/>
                  </a:lnTo>
                  <a:lnTo>
                    <a:pt x="4380" y="4378"/>
                  </a:lnTo>
                  <a:lnTo>
                    <a:pt x="4396" y="4360"/>
                  </a:lnTo>
                  <a:lnTo>
                    <a:pt x="4412" y="4342"/>
                  </a:lnTo>
                  <a:lnTo>
                    <a:pt x="4427" y="4322"/>
                  </a:lnTo>
                  <a:lnTo>
                    <a:pt x="4441" y="4302"/>
                  </a:lnTo>
                  <a:lnTo>
                    <a:pt x="4454" y="4282"/>
                  </a:lnTo>
                  <a:lnTo>
                    <a:pt x="4466" y="4261"/>
                  </a:lnTo>
                  <a:lnTo>
                    <a:pt x="4477" y="4240"/>
                  </a:lnTo>
                  <a:lnTo>
                    <a:pt x="4487" y="4218"/>
                  </a:lnTo>
                  <a:lnTo>
                    <a:pt x="4496" y="4195"/>
                  </a:lnTo>
                  <a:lnTo>
                    <a:pt x="4504" y="4172"/>
                  </a:lnTo>
                  <a:lnTo>
                    <a:pt x="4510" y="4147"/>
                  </a:lnTo>
                  <a:lnTo>
                    <a:pt x="4516" y="4123"/>
                  </a:lnTo>
                  <a:lnTo>
                    <a:pt x="4520" y="4098"/>
                  </a:lnTo>
                  <a:lnTo>
                    <a:pt x="4523" y="4073"/>
                  </a:lnTo>
                  <a:lnTo>
                    <a:pt x="4525" y="4048"/>
                  </a:lnTo>
                  <a:lnTo>
                    <a:pt x="4526" y="4022"/>
                  </a:lnTo>
                  <a:lnTo>
                    <a:pt x="4526" y="503"/>
                  </a:lnTo>
                  <a:lnTo>
                    <a:pt x="4525" y="477"/>
                  </a:lnTo>
                  <a:lnTo>
                    <a:pt x="4523" y="452"/>
                  </a:lnTo>
                  <a:lnTo>
                    <a:pt x="4520" y="426"/>
                  </a:lnTo>
                  <a:lnTo>
                    <a:pt x="4516" y="401"/>
                  </a:lnTo>
                  <a:lnTo>
                    <a:pt x="4510" y="377"/>
                  </a:lnTo>
                  <a:lnTo>
                    <a:pt x="4504" y="353"/>
                  </a:lnTo>
                  <a:lnTo>
                    <a:pt x="4496" y="330"/>
                  </a:lnTo>
                  <a:lnTo>
                    <a:pt x="4487" y="308"/>
                  </a:lnTo>
                  <a:lnTo>
                    <a:pt x="4477" y="285"/>
                  </a:lnTo>
                  <a:lnTo>
                    <a:pt x="4466" y="263"/>
                  </a:lnTo>
                  <a:lnTo>
                    <a:pt x="4454" y="242"/>
                  </a:lnTo>
                  <a:lnTo>
                    <a:pt x="4441" y="222"/>
                  </a:lnTo>
                  <a:lnTo>
                    <a:pt x="4427" y="202"/>
                  </a:lnTo>
                  <a:lnTo>
                    <a:pt x="4412" y="183"/>
                  </a:lnTo>
                  <a:lnTo>
                    <a:pt x="4396" y="165"/>
                  </a:lnTo>
                  <a:lnTo>
                    <a:pt x="4380" y="148"/>
                  </a:lnTo>
                  <a:lnTo>
                    <a:pt x="4361" y="131"/>
                  </a:lnTo>
                  <a:lnTo>
                    <a:pt x="4343" y="115"/>
                  </a:lnTo>
                  <a:lnTo>
                    <a:pt x="4324" y="99"/>
                  </a:lnTo>
                  <a:lnTo>
                    <a:pt x="4305" y="85"/>
                  </a:lnTo>
                  <a:lnTo>
                    <a:pt x="4284" y="72"/>
                  </a:lnTo>
                  <a:lnTo>
                    <a:pt x="4263" y="60"/>
                  </a:lnTo>
                  <a:lnTo>
                    <a:pt x="4242" y="49"/>
                  </a:lnTo>
                  <a:lnTo>
                    <a:pt x="4220" y="39"/>
                  </a:lnTo>
                  <a:lnTo>
                    <a:pt x="4197" y="30"/>
                  </a:lnTo>
                  <a:lnTo>
                    <a:pt x="4173" y="22"/>
                  </a:lnTo>
                  <a:lnTo>
                    <a:pt x="4149" y="16"/>
                  </a:lnTo>
                  <a:lnTo>
                    <a:pt x="4125" y="10"/>
                  </a:lnTo>
                  <a:lnTo>
                    <a:pt x="4100" y="6"/>
                  </a:lnTo>
                  <a:lnTo>
                    <a:pt x="4075" y="3"/>
                  </a:lnTo>
                  <a:lnTo>
                    <a:pt x="4050" y="1"/>
                  </a:lnTo>
                  <a:lnTo>
                    <a:pt x="4024" y="0"/>
                  </a:lnTo>
                  <a:lnTo>
                    <a:pt x="503" y="0"/>
                  </a:lnTo>
                  <a:lnTo>
                    <a:pt x="477" y="1"/>
                  </a:lnTo>
                  <a:lnTo>
                    <a:pt x="451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4" y="49"/>
                  </a:lnTo>
                  <a:lnTo>
                    <a:pt x="262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8"/>
                  </a:lnTo>
                  <a:lnTo>
                    <a:pt x="131" y="165"/>
                  </a:lnTo>
                  <a:lnTo>
                    <a:pt x="114" y="183"/>
                  </a:lnTo>
                  <a:lnTo>
                    <a:pt x="99" y="202"/>
                  </a:lnTo>
                  <a:lnTo>
                    <a:pt x="85" y="222"/>
                  </a:lnTo>
                  <a:lnTo>
                    <a:pt x="72" y="242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8"/>
                  </a:lnTo>
                  <a:lnTo>
                    <a:pt x="30" y="330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0" y="4022"/>
                  </a:lnTo>
                  <a:lnTo>
                    <a:pt x="1" y="4048"/>
                  </a:lnTo>
                  <a:lnTo>
                    <a:pt x="3" y="4073"/>
                  </a:lnTo>
                  <a:lnTo>
                    <a:pt x="6" y="4098"/>
                  </a:lnTo>
                  <a:lnTo>
                    <a:pt x="10" y="4123"/>
                  </a:lnTo>
                  <a:lnTo>
                    <a:pt x="16" y="4147"/>
                  </a:lnTo>
                  <a:lnTo>
                    <a:pt x="22" y="4172"/>
                  </a:lnTo>
                  <a:lnTo>
                    <a:pt x="30" y="4195"/>
                  </a:lnTo>
                  <a:lnTo>
                    <a:pt x="39" y="4218"/>
                  </a:lnTo>
                  <a:lnTo>
                    <a:pt x="49" y="4240"/>
                  </a:lnTo>
                  <a:lnTo>
                    <a:pt x="60" y="4261"/>
                  </a:lnTo>
                  <a:lnTo>
                    <a:pt x="72" y="4282"/>
                  </a:lnTo>
                  <a:lnTo>
                    <a:pt x="85" y="4302"/>
                  </a:lnTo>
                  <a:lnTo>
                    <a:pt x="99" y="4322"/>
                  </a:lnTo>
                  <a:lnTo>
                    <a:pt x="114" y="4342"/>
                  </a:lnTo>
                  <a:lnTo>
                    <a:pt x="131" y="4360"/>
                  </a:lnTo>
                  <a:lnTo>
                    <a:pt x="147" y="4378"/>
                  </a:lnTo>
                  <a:lnTo>
                    <a:pt x="165" y="4394"/>
                  </a:lnTo>
                  <a:lnTo>
                    <a:pt x="183" y="4410"/>
                  </a:lnTo>
                  <a:lnTo>
                    <a:pt x="202" y="4425"/>
                  </a:lnTo>
                  <a:lnTo>
                    <a:pt x="221" y="4439"/>
                  </a:lnTo>
                  <a:lnTo>
                    <a:pt x="242" y="4452"/>
                  </a:lnTo>
                  <a:lnTo>
                    <a:pt x="262" y="4464"/>
                  </a:lnTo>
                  <a:lnTo>
                    <a:pt x="284" y="4475"/>
                  </a:lnTo>
                  <a:lnTo>
                    <a:pt x="307" y="4485"/>
                  </a:lnTo>
                  <a:lnTo>
                    <a:pt x="330" y="4494"/>
                  </a:lnTo>
                  <a:lnTo>
                    <a:pt x="353" y="4501"/>
                  </a:lnTo>
                  <a:lnTo>
                    <a:pt x="377" y="4508"/>
                  </a:lnTo>
                  <a:lnTo>
                    <a:pt x="401" y="4515"/>
                  </a:lnTo>
                  <a:lnTo>
                    <a:pt x="426" y="4519"/>
                  </a:lnTo>
                  <a:lnTo>
                    <a:pt x="451" y="4522"/>
                  </a:lnTo>
                  <a:lnTo>
                    <a:pt x="477" y="4524"/>
                  </a:lnTo>
                  <a:lnTo>
                    <a:pt x="503" y="45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425" name="íŝḷïḓe">
              <a:extLst>
                <a:ext uri="{FF2B5EF4-FFF2-40B4-BE49-F238E27FC236}">
                  <a16:creationId xmlns:a16="http://schemas.microsoft.com/office/drawing/2014/main" id="{22F37F19-403D-4AE8-836B-F9062DA66665}"/>
                </a:ext>
              </a:extLst>
            </p:cNvPr>
            <p:cNvSpPr/>
            <p:nvPr/>
          </p:nvSpPr>
          <p:spPr bwMode="auto">
            <a:xfrm>
              <a:off x="10520486" y="1155316"/>
              <a:ext cx="447970" cy="446840"/>
            </a:xfrm>
            <a:custGeom>
              <a:avLst/>
              <a:gdLst>
                <a:gd name="T0" fmla="*/ 12770 w 14656"/>
                <a:gd name="T1" fmla="*/ 6106 h 14620"/>
                <a:gd name="T2" fmla="*/ 12640 w 14656"/>
                <a:gd name="T3" fmla="*/ 6115 h 14620"/>
                <a:gd name="T4" fmla="*/ 12519 w 14656"/>
                <a:gd name="T5" fmla="*/ 6055 h 14620"/>
                <a:gd name="T6" fmla="*/ 9966 w 14656"/>
                <a:gd name="T7" fmla="*/ 5994 h 14620"/>
                <a:gd name="T8" fmla="*/ 8414 w 14656"/>
                <a:gd name="T9" fmla="*/ 5281 h 14620"/>
                <a:gd name="T10" fmla="*/ 6782 w 14656"/>
                <a:gd name="T11" fmla="*/ 4968 h 14620"/>
                <a:gd name="T12" fmla="*/ 5698 w 14656"/>
                <a:gd name="T13" fmla="*/ 4822 h 14620"/>
                <a:gd name="T14" fmla="*/ 8599 w 14656"/>
                <a:gd name="T15" fmla="*/ 2123 h 14620"/>
                <a:gd name="T16" fmla="*/ 8551 w 14656"/>
                <a:gd name="T17" fmla="*/ 1998 h 14620"/>
                <a:gd name="T18" fmla="*/ 8574 w 14656"/>
                <a:gd name="T19" fmla="*/ 1868 h 14620"/>
                <a:gd name="T20" fmla="*/ 9364 w 14656"/>
                <a:gd name="T21" fmla="*/ 1057 h 14620"/>
                <a:gd name="T22" fmla="*/ 9489 w 14656"/>
                <a:gd name="T23" fmla="*/ 1010 h 14620"/>
                <a:gd name="T24" fmla="*/ 9619 w 14656"/>
                <a:gd name="T25" fmla="*/ 1032 h 14620"/>
                <a:gd name="T26" fmla="*/ 13601 w 14656"/>
                <a:gd name="T27" fmla="*/ 5006 h 14620"/>
                <a:gd name="T28" fmla="*/ 13650 w 14656"/>
                <a:gd name="T29" fmla="*/ 5131 h 14620"/>
                <a:gd name="T30" fmla="*/ 13627 w 14656"/>
                <a:gd name="T31" fmla="*/ 5261 h 14620"/>
                <a:gd name="T32" fmla="*/ 8336 w 14656"/>
                <a:gd name="T33" fmla="*/ 13377 h 14620"/>
                <a:gd name="T34" fmla="*/ 8074 w 14656"/>
                <a:gd name="T35" fmla="*/ 13585 h 14620"/>
                <a:gd name="T36" fmla="*/ 7781 w 14656"/>
                <a:gd name="T37" fmla="*/ 13595 h 14620"/>
                <a:gd name="T38" fmla="*/ 7556 w 14656"/>
                <a:gd name="T39" fmla="*/ 13465 h 14620"/>
                <a:gd name="T40" fmla="*/ 1014 w 14656"/>
                <a:gd name="T41" fmla="*/ 6852 h 14620"/>
                <a:gd name="T42" fmla="*/ 1065 w 14656"/>
                <a:gd name="T43" fmla="*/ 6524 h 14620"/>
                <a:gd name="T44" fmla="*/ 1308 w 14656"/>
                <a:gd name="T45" fmla="*/ 6300 h 14620"/>
                <a:gd name="T46" fmla="*/ 6805 w 14656"/>
                <a:gd name="T47" fmla="*/ 5480 h 14620"/>
                <a:gd name="T48" fmla="*/ 8979 w 14656"/>
                <a:gd name="T49" fmla="*/ 6023 h 14620"/>
                <a:gd name="T50" fmla="*/ 10402 w 14656"/>
                <a:gd name="T51" fmla="*/ 369 h 14620"/>
                <a:gd name="T52" fmla="*/ 10132 w 14656"/>
                <a:gd name="T53" fmla="*/ 163 h 14620"/>
                <a:gd name="T54" fmla="*/ 9820 w 14656"/>
                <a:gd name="T55" fmla="*/ 38 h 14620"/>
                <a:gd name="T56" fmla="*/ 9482 w 14656"/>
                <a:gd name="T57" fmla="*/ 0 h 14620"/>
                <a:gd name="T58" fmla="*/ 9147 w 14656"/>
                <a:gd name="T59" fmla="*/ 55 h 14620"/>
                <a:gd name="T60" fmla="*/ 8841 w 14656"/>
                <a:gd name="T61" fmla="*/ 195 h 14620"/>
                <a:gd name="T62" fmla="*/ 7892 w 14656"/>
                <a:gd name="T63" fmla="*/ 1104 h 14620"/>
                <a:gd name="T64" fmla="*/ 7692 w 14656"/>
                <a:gd name="T65" fmla="*/ 1380 h 14620"/>
                <a:gd name="T66" fmla="*/ 7576 w 14656"/>
                <a:gd name="T67" fmla="*/ 1695 h 14620"/>
                <a:gd name="T68" fmla="*/ 7548 w 14656"/>
                <a:gd name="T69" fmla="*/ 2062 h 14620"/>
                <a:gd name="T70" fmla="*/ 7669 w 14656"/>
                <a:gd name="T71" fmla="*/ 2522 h 14620"/>
                <a:gd name="T72" fmla="*/ 623 w 14656"/>
                <a:gd name="T73" fmla="*/ 5539 h 14620"/>
                <a:gd name="T74" fmla="*/ 274 w 14656"/>
                <a:gd name="T75" fmla="*/ 5894 h 14620"/>
                <a:gd name="T76" fmla="*/ 58 w 14656"/>
                <a:gd name="T77" fmla="*/ 6345 h 14620"/>
                <a:gd name="T78" fmla="*/ 3 w 14656"/>
                <a:gd name="T79" fmla="*/ 6850 h 14620"/>
                <a:gd name="T80" fmla="*/ 114 w 14656"/>
                <a:gd name="T81" fmla="*/ 7337 h 14620"/>
                <a:gd name="T82" fmla="*/ 382 w 14656"/>
                <a:gd name="T83" fmla="*/ 7767 h 14620"/>
                <a:gd name="T84" fmla="*/ 7067 w 14656"/>
                <a:gd name="T85" fmla="*/ 14362 h 14620"/>
                <a:gd name="T86" fmla="*/ 7416 w 14656"/>
                <a:gd name="T87" fmla="*/ 14537 h 14620"/>
                <a:gd name="T88" fmla="*/ 7800 w 14656"/>
                <a:gd name="T89" fmla="*/ 14616 h 14620"/>
                <a:gd name="T90" fmla="*/ 8103 w 14656"/>
                <a:gd name="T91" fmla="*/ 14608 h 14620"/>
                <a:gd name="T92" fmla="*/ 8574 w 14656"/>
                <a:gd name="T93" fmla="*/ 14467 h 14620"/>
                <a:gd name="T94" fmla="*/ 8985 w 14656"/>
                <a:gd name="T95" fmla="*/ 14171 h 14620"/>
                <a:gd name="T96" fmla="*/ 9276 w 14656"/>
                <a:gd name="T97" fmla="*/ 13754 h 14620"/>
                <a:gd name="T98" fmla="*/ 12327 w 14656"/>
                <a:gd name="T99" fmla="*/ 7076 h 14620"/>
                <a:gd name="T100" fmla="*/ 12781 w 14656"/>
                <a:gd name="T101" fmla="*/ 7126 h 14620"/>
                <a:gd name="T102" fmla="*/ 13112 w 14656"/>
                <a:gd name="T103" fmla="*/ 7056 h 14620"/>
                <a:gd name="T104" fmla="*/ 13410 w 14656"/>
                <a:gd name="T105" fmla="*/ 6900 h 14620"/>
                <a:gd name="T106" fmla="*/ 14350 w 14656"/>
                <a:gd name="T107" fmla="*/ 5980 h 14620"/>
                <a:gd name="T108" fmla="*/ 14535 w 14656"/>
                <a:gd name="T109" fmla="*/ 5696 h 14620"/>
                <a:gd name="T110" fmla="*/ 14637 w 14656"/>
                <a:gd name="T111" fmla="*/ 5373 h 14620"/>
                <a:gd name="T112" fmla="*/ 14649 w 14656"/>
                <a:gd name="T113" fmla="*/ 5030 h 14620"/>
                <a:gd name="T114" fmla="*/ 14572 w 14656"/>
                <a:gd name="T115" fmla="*/ 4701 h 14620"/>
                <a:gd name="T116" fmla="*/ 14410 w 14656"/>
                <a:gd name="T117" fmla="*/ 4405 h 14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656" h="14620">
                  <a:moveTo>
                    <a:pt x="13576" y="5334"/>
                  </a:moveTo>
                  <a:lnTo>
                    <a:pt x="12866" y="6046"/>
                  </a:lnTo>
                  <a:lnTo>
                    <a:pt x="12856" y="6055"/>
                  </a:lnTo>
                  <a:lnTo>
                    <a:pt x="12847" y="6064"/>
                  </a:lnTo>
                  <a:lnTo>
                    <a:pt x="12837" y="6071"/>
                  </a:lnTo>
                  <a:lnTo>
                    <a:pt x="12826" y="6079"/>
                  </a:lnTo>
                  <a:lnTo>
                    <a:pt x="12816" y="6085"/>
                  </a:lnTo>
                  <a:lnTo>
                    <a:pt x="12805" y="6091"/>
                  </a:lnTo>
                  <a:lnTo>
                    <a:pt x="12794" y="6097"/>
                  </a:lnTo>
                  <a:lnTo>
                    <a:pt x="12782" y="6102"/>
                  </a:lnTo>
                  <a:lnTo>
                    <a:pt x="12770" y="6106"/>
                  </a:lnTo>
                  <a:lnTo>
                    <a:pt x="12759" y="6110"/>
                  </a:lnTo>
                  <a:lnTo>
                    <a:pt x="12747" y="6113"/>
                  </a:lnTo>
                  <a:lnTo>
                    <a:pt x="12735" y="6115"/>
                  </a:lnTo>
                  <a:lnTo>
                    <a:pt x="12723" y="6117"/>
                  </a:lnTo>
                  <a:lnTo>
                    <a:pt x="12712" y="6119"/>
                  </a:lnTo>
                  <a:lnTo>
                    <a:pt x="12700" y="6120"/>
                  </a:lnTo>
                  <a:lnTo>
                    <a:pt x="12688" y="6120"/>
                  </a:lnTo>
                  <a:lnTo>
                    <a:pt x="12676" y="6120"/>
                  </a:lnTo>
                  <a:lnTo>
                    <a:pt x="12664" y="6119"/>
                  </a:lnTo>
                  <a:lnTo>
                    <a:pt x="12652" y="6117"/>
                  </a:lnTo>
                  <a:lnTo>
                    <a:pt x="12640" y="6115"/>
                  </a:lnTo>
                  <a:lnTo>
                    <a:pt x="12628" y="6113"/>
                  </a:lnTo>
                  <a:lnTo>
                    <a:pt x="12615" y="6110"/>
                  </a:lnTo>
                  <a:lnTo>
                    <a:pt x="12604" y="6106"/>
                  </a:lnTo>
                  <a:lnTo>
                    <a:pt x="12593" y="6102"/>
                  </a:lnTo>
                  <a:lnTo>
                    <a:pt x="12581" y="6097"/>
                  </a:lnTo>
                  <a:lnTo>
                    <a:pt x="12571" y="6091"/>
                  </a:lnTo>
                  <a:lnTo>
                    <a:pt x="12560" y="6085"/>
                  </a:lnTo>
                  <a:lnTo>
                    <a:pt x="12549" y="6079"/>
                  </a:lnTo>
                  <a:lnTo>
                    <a:pt x="12539" y="6071"/>
                  </a:lnTo>
                  <a:lnTo>
                    <a:pt x="12529" y="6064"/>
                  </a:lnTo>
                  <a:lnTo>
                    <a:pt x="12519" y="6055"/>
                  </a:lnTo>
                  <a:lnTo>
                    <a:pt x="12510" y="6046"/>
                  </a:lnTo>
                  <a:lnTo>
                    <a:pt x="11621" y="5156"/>
                  </a:lnTo>
                  <a:lnTo>
                    <a:pt x="10900" y="6965"/>
                  </a:lnTo>
                  <a:lnTo>
                    <a:pt x="10961" y="6813"/>
                  </a:lnTo>
                  <a:lnTo>
                    <a:pt x="10819" y="6674"/>
                  </a:lnTo>
                  <a:lnTo>
                    <a:pt x="10677" y="6544"/>
                  </a:lnTo>
                  <a:lnTo>
                    <a:pt x="10534" y="6420"/>
                  </a:lnTo>
                  <a:lnTo>
                    <a:pt x="10392" y="6304"/>
                  </a:lnTo>
                  <a:lnTo>
                    <a:pt x="10251" y="6194"/>
                  </a:lnTo>
                  <a:lnTo>
                    <a:pt x="10108" y="6091"/>
                  </a:lnTo>
                  <a:lnTo>
                    <a:pt x="9966" y="5994"/>
                  </a:lnTo>
                  <a:lnTo>
                    <a:pt x="9823" y="5905"/>
                  </a:lnTo>
                  <a:lnTo>
                    <a:pt x="9681" y="5820"/>
                  </a:lnTo>
                  <a:lnTo>
                    <a:pt x="9539" y="5740"/>
                  </a:lnTo>
                  <a:lnTo>
                    <a:pt x="9397" y="5667"/>
                  </a:lnTo>
                  <a:lnTo>
                    <a:pt x="9257" y="5598"/>
                  </a:lnTo>
                  <a:lnTo>
                    <a:pt x="9115" y="5535"/>
                  </a:lnTo>
                  <a:lnTo>
                    <a:pt x="8974" y="5475"/>
                  </a:lnTo>
                  <a:lnTo>
                    <a:pt x="8833" y="5421"/>
                  </a:lnTo>
                  <a:lnTo>
                    <a:pt x="8693" y="5370"/>
                  </a:lnTo>
                  <a:lnTo>
                    <a:pt x="8553" y="5324"/>
                  </a:lnTo>
                  <a:lnTo>
                    <a:pt x="8414" y="5281"/>
                  </a:lnTo>
                  <a:lnTo>
                    <a:pt x="8275" y="5241"/>
                  </a:lnTo>
                  <a:lnTo>
                    <a:pt x="8136" y="5205"/>
                  </a:lnTo>
                  <a:lnTo>
                    <a:pt x="7997" y="5172"/>
                  </a:lnTo>
                  <a:lnTo>
                    <a:pt x="7860" y="5141"/>
                  </a:lnTo>
                  <a:lnTo>
                    <a:pt x="7723" y="5113"/>
                  </a:lnTo>
                  <a:lnTo>
                    <a:pt x="7587" y="5088"/>
                  </a:lnTo>
                  <a:lnTo>
                    <a:pt x="7451" y="5065"/>
                  </a:lnTo>
                  <a:lnTo>
                    <a:pt x="7315" y="5043"/>
                  </a:lnTo>
                  <a:lnTo>
                    <a:pt x="7180" y="5022"/>
                  </a:lnTo>
                  <a:lnTo>
                    <a:pt x="7047" y="5003"/>
                  </a:lnTo>
                  <a:lnTo>
                    <a:pt x="6782" y="4968"/>
                  </a:lnTo>
                  <a:lnTo>
                    <a:pt x="6519" y="4936"/>
                  </a:lnTo>
                  <a:lnTo>
                    <a:pt x="6436" y="4926"/>
                  </a:lnTo>
                  <a:lnTo>
                    <a:pt x="6354" y="4915"/>
                  </a:lnTo>
                  <a:lnTo>
                    <a:pt x="6270" y="4905"/>
                  </a:lnTo>
                  <a:lnTo>
                    <a:pt x="6188" y="4893"/>
                  </a:lnTo>
                  <a:lnTo>
                    <a:pt x="6105" y="4882"/>
                  </a:lnTo>
                  <a:lnTo>
                    <a:pt x="6024" y="4871"/>
                  </a:lnTo>
                  <a:lnTo>
                    <a:pt x="5942" y="4859"/>
                  </a:lnTo>
                  <a:lnTo>
                    <a:pt x="5861" y="4847"/>
                  </a:lnTo>
                  <a:lnTo>
                    <a:pt x="5779" y="4835"/>
                  </a:lnTo>
                  <a:lnTo>
                    <a:pt x="5698" y="4822"/>
                  </a:lnTo>
                  <a:lnTo>
                    <a:pt x="5617" y="4809"/>
                  </a:lnTo>
                  <a:lnTo>
                    <a:pt x="5537" y="4795"/>
                  </a:lnTo>
                  <a:lnTo>
                    <a:pt x="5456" y="4779"/>
                  </a:lnTo>
                  <a:lnTo>
                    <a:pt x="5376" y="4764"/>
                  </a:lnTo>
                  <a:lnTo>
                    <a:pt x="5296" y="4748"/>
                  </a:lnTo>
                  <a:lnTo>
                    <a:pt x="5216" y="4731"/>
                  </a:lnTo>
                  <a:lnTo>
                    <a:pt x="9487" y="3017"/>
                  </a:lnTo>
                  <a:lnTo>
                    <a:pt x="8624" y="2152"/>
                  </a:lnTo>
                  <a:lnTo>
                    <a:pt x="8615" y="2143"/>
                  </a:lnTo>
                  <a:lnTo>
                    <a:pt x="8607" y="2133"/>
                  </a:lnTo>
                  <a:lnTo>
                    <a:pt x="8599" y="2123"/>
                  </a:lnTo>
                  <a:lnTo>
                    <a:pt x="8592" y="2113"/>
                  </a:lnTo>
                  <a:lnTo>
                    <a:pt x="8586" y="2102"/>
                  </a:lnTo>
                  <a:lnTo>
                    <a:pt x="8580" y="2091"/>
                  </a:lnTo>
                  <a:lnTo>
                    <a:pt x="8574" y="2080"/>
                  </a:lnTo>
                  <a:lnTo>
                    <a:pt x="8569" y="2068"/>
                  </a:lnTo>
                  <a:lnTo>
                    <a:pt x="8565" y="2057"/>
                  </a:lnTo>
                  <a:lnTo>
                    <a:pt x="8561" y="2046"/>
                  </a:lnTo>
                  <a:lnTo>
                    <a:pt x="8558" y="2034"/>
                  </a:lnTo>
                  <a:lnTo>
                    <a:pt x="8555" y="2022"/>
                  </a:lnTo>
                  <a:lnTo>
                    <a:pt x="8553" y="2010"/>
                  </a:lnTo>
                  <a:lnTo>
                    <a:pt x="8551" y="1998"/>
                  </a:lnTo>
                  <a:lnTo>
                    <a:pt x="8550" y="1986"/>
                  </a:lnTo>
                  <a:lnTo>
                    <a:pt x="8550" y="1974"/>
                  </a:lnTo>
                  <a:lnTo>
                    <a:pt x="8550" y="1961"/>
                  </a:lnTo>
                  <a:lnTo>
                    <a:pt x="8551" y="1949"/>
                  </a:lnTo>
                  <a:lnTo>
                    <a:pt x="8553" y="1938"/>
                  </a:lnTo>
                  <a:lnTo>
                    <a:pt x="8555" y="1926"/>
                  </a:lnTo>
                  <a:lnTo>
                    <a:pt x="8558" y="1914"/>
                  </a:lnTo>
                  <a:lnTo>
                    <a:pt x="8562" y="1902"/>
                  </a:lnTo>
                  <a:lnTo>
                    <a:pt x="8565" y="1891"/>
                  </a:lnTo>
                  <a:lnTo>
                    <a:pt x="8570" y="1879"/>
                  </a:lnTo>
                  <a:lnTo>
                    <a:pt x="8574" y="1868"/>
                  </a:lnTo>
                  <a:lnTo>
                    <a:pt x="8580" y="1857"/>
                  </a:lnTo>
                  <a:lnTo>
                    <a:pt x="8586" y="1845"/>
                  </a:lnTo>
                  <a:lnTo>
                    <a:pt x="8593" y="1835"/>
                  </a:lnTo>
                  <a:lnTo>
                    <a:pt x="8600" y="1825"/>
                  </a:lnTo>
                  <a:lnTo>
                    <a:pt x="8608" y="1815"/>
                  </a:lnTo>
                  <a:lnTo>
                    <a:pt x="8616" y="1805"/>
                  </a:lnTo>
                  <a:lnTo>
                    <a:pt x="8625" y="1796"/>
                  </a:lnTo>
                  <a:lnTo>
                    <a:pt x="9335" y="1082"/>
                  </a:lnTo>
                  <a:lnTo>
                    <a:pt x="9344" y="1073"/>
                  </a:lnTo>
                  <a:lnTo>
                    <a:pt x="9354" y="1065"/>
                  </a:lnTo>
                  <a:lnTo>
                    <a:pt x="9364" y="1057"/>
                  </a:lnTo>
                  <a:lnTo>
                    <a:pt x="9374" y="1050"/>
                  </a:lnTo>
                  <a:lnTo>
                    <a:pt x="9385" y="1043"/>
                  </a:lnTo>
                  <a:lnTo>
                    <a:pt x="9396" y="1037"/>
                  </a:lnTo>
                  <a:lnTo>
                    <a:pt x="9408" y="1032"/>
                  </a:lnTo>
                  <a:lnTo>
                    <a:pt x="9419" y="1027"/>
                  </a:lnTo>
                  <a:lnTo>
                    <a:pt x="9430" y="1023"/>
                  </a:lnTo>
                  <a:lnTo>
                    <a:pt x="9442" y="1019"/>
                  </a:lnTo>
                  <a:lnTo>
                    <a:pt x="9454" y="1016"/>
                  </a:lnTo>
                  <a:lnTo>
                    <a:pt x="9465" y="1013"/>
                  </a:lnTo>
                  <a:lnTo>
                    <a:pt x="9477" y="1011"/>
                  </a:lnTo>
                  <a:lnTo>
                    <a:pt x="9489" y="1010"/>
                  </a:lnTo>
                  <a:lnTo>
                    <a:pt x="9501" y="1009"/>
                  </a:lnTo>
                  <a:lnTo>
                    <a:pt x="9513" y="1009"/>
                  </a:lnTo>
                  <a:lnTo>
                    <a:pt x="9525" y="1009"/>
                  </a:lnTo>
                  <a:lnTo>
                    <a:pt x="9537" y="1010"/>
                  </a:lnTo>
                  <a:lnTo>
                    <a:pt x="9549" y="1011"/>
                  </a:lnTo>
                  <a:lnTo>
                    <a:pt x="9561" y="1013"/>
                  </a:lnTo>
                  <a:lnTo>
                    <a:pt x="9574" y="1016"/>
                  </a:lnTo>
                  <a:lnTo>
                    <a:pt x="9585" y="1019"/>
                  </a:lnTo>
                  <a:lnTo>
                    <a:pt x="9597" y="1023"/>
                  </a:lnTo>
                  <a:lnTo>
                    <a:pt x="9608" y="1027"/>
                  </a:lnTo>
                  <a:lnTo>
                    <a:pt x="9619" y="1032"/>
                  </a:lnTo>
                  <a:lnTo>
                    <a:pt x="9630" y="1037"/>
                  </a:lnTo>
                  <a:lnTo>
                    <a:pt x="9641" y="1043"/>
                  </a:lnTo>
                  <a:lnTo>
                    <a:pt x="9651" y="1050"/>
                  </a:lnTo>
                  <a:lnTo>
                    <a:pt x="9662" y="1057"/>
                  </a:lnTo>
                  <a:lnTo>
                    <a:pt x="9672" y="1065"/>
                  </a:lnTo>
                  <a:lnTo>
                    <a:pt x="9681" y="1073"/>
                  </a:lnTo>
                  <a:lnTo>
                    <a:pt x="9691" y="1082"/>
                  </a:lnTo>
                  <a:lnTo>
                    <a:pt x="13576" y="4978"/>
                  </a:lnTo>
                  <a:lnTo>
                    <a:pt x="13585" y="4987"/>
                  </a:lnTo>
                  <a:lnTo>
                    <a:pt x="13593" y="4996"/>
                  </a:lnTo>
                  <a:lnTo>
                    <a:pt x="13601" y="5006"/>
                  </a:lnTo>
                  <a:lnTo>
                    <a:pt x="13608" y="5017"/>
                  </a:lnTo>
                  <a:lnTo>
                    <a:pt x="13615" y="5028"/>
                  </a:lnTo>
                  <a:lnTo>
                    <a:pt x="13621" y="5039"/>
                  </a:lnTo>
                  <a:lnTo>
                    <a:pt x="13627" y="5050"/>
                  </a:lnTo>
                  <a:lnTo>
                    <a:pt x="13631" y="5061"/>
                  </a:lnTo>
                  <a:lnTo>
                    <a:pt x="13636" y="5073"/>
                  </a:lnTo>
                  <a:lnTo>
                    <a:pt x="13641" y="5084"/>
                  </a:lnTo>
                  <a:lnTo>
                    <a:pt x="13644" y="5096"/>
                  </a:lnTo>
                  <a:lnTo>
                    <a:pt x="13646" y="5107"/>
                  </a:lnTo>
                  <a:lnTo>
                    <a:pt x="13648" y="5119"/>
                  </a:lnTo>
                  <a:lnTo>
                    <a:pt x="13650" y="5131"/>
                  </a:lnTo>
                  <a:lnTo>
                    <a:pt x="13651" y="5143"/>
                  </a:lnTo>
                  <a:lnTo>
                    <a:pt x="13651" y="5156"/>
                  </a:lnTo>
                  <a:lnTo>
                    <a:pt x="13651" y="5168"/>
                  </a:lnTo>
                  <a:lnTo>
                    <a:pt x="13650" y="5180"/>
                  </a:lnTo>
                  <a:lnTo>
                    <a:pt x="13648" y="5192"/>
                  </a:lnTo>
                  <a:lnTo>
                    <a:pt x="13646" y="5204"/>
                  </a:lnTo>
                  <a:lnTo>
                    <a:pt x="13644" y="5216"/>
                  </a:lnTo>
                  <a:lnTo>
                    <a:pt x="13641" y="5227"/>
                  </a:lnTo>
                  <a:lnTo>
                    <a:pt x="13636" y="5239"/>
                  </a:lnTo>
                  <a:lnTo>
                    <a:pt x="13631" y="5250"/>
                  </a:lnTo>
                  <a:lnTo>
                    <a:pt x="13627" y="5261"/>
                  </a:lnTo>
                  <a:lnTo>
                    <a:pt x="13621" y="5273"/>
                  </a:lnTo>
                  <a:lnTo>
                    <a:pt x="13615" y="5284"/>
                  </a:lnTo>
                  <a:lnTo>
                    <a:pt x="13608" y="5295"/>
                  </a:lnTo>
                  <a:lnTo>
                    <a:pt x="13601" y="5305"/>
                  </a:lnTo>
                  <a:lnTo>
                    <a:pt x="13593" y="5315"/>
                  </a:lnTo>
                  <a:lnTo>
                    <a:pt x="13585" y="5325"/>
                  </a:lnTo>
                  <a:lnTo>
                    <a:pt x="13576" y="5334"/>
                  </a:lnTo>
                  <a:close/>
                  <a:moveTo>
                    <a:pt x="8378" y="13292"/>
                  </a:moveTo>
                  <a:lnTo>
                    <a:pt x="8366" y="13321"/>
                  </a:lnTo>
                  <a:lnTo>
                    <a:pt x="8352" y="13350"/>
                  </a:lnTo>
                  <a:lnTo>
                    <a:pt x="8336" y="13377"/>
                  </a:lnTo>
                  <a:lnTo>
                    <a:pt x="8318" y="13403"/>
                  </a:lnTo>
                  <a:lnTo>
                    <a:pt x="8300" y="13427"/>
                  </a:lnTo>
                  <a:lnTo>
                    <a:pt x="8280" y="13450"/>
                  </a:lnTo>
                  <a:lnTo>
                    <a:pt x="8258" y="13473"/>
                  </a:lnTo>
                  <a:lnTo>
                    <a:pt x="8235" y="13494"/>
                  </a:lnTo>
                  <a:lnTo>
                    <a:pt x="8210" y="13513"/>
                  </a:lnTo>
                  <a:lnTo>
                    <a:pt x="8185" y="13530"/>
                  </a:lnTo>
                  <a:lnTo>
                    <a:pt x="8159" y="13546"/>
                  </a:lnTo>
                  <a:lnTo>
                    <a:pt x="8132" y="13560"/>
                  </a:lnTo>
                  <a:lnTo>
                    <a:pt x="8104" y="13573"/>
                  </a:lnTo>
                  <a:lnTo>
                    <a:pt x="8074" y="13585"/>
                  </a:lnTo>
                  <a:lnTo>
                    <a:pt x="8044" y="13594"/>
                  </a:lnTo>
                  <a:lnTo>
                    <a:pt x="8013" y="13601"/>
                  </a:lnTo>
                  <a:lnTo>
                    <a:pt x="7985" y="13607"/>
                  </a:lnTo>
                  <a:lnTo>
                    <a:pt x="7956" y="13610"/>
                  </a:lnTo>
                  <a:lnTo>
                    <a:pt x="7927" y="13612"/>
                  </a:lnTo>
                  <a:lnTo>
                    <a:pt x="7899" y="13612"/>
                  </a:lnTo>
                  <a:lnTo>
                    <a:pt x="7874" y="13611"/>
                  </a:lnTo>
                  <a:lnTo>
                    <a:pt x="7850" y="13609"/>
                  </a:lnTo>
                  <a:lnTo>
                    <a:pt x="7827" y="13605"/>
                  </a:lnTo>
                  <a:lnTo>
                    <a:pt x="7804" y="13601"/>
                  </a:lnTo>
                  <a:lnTo>
                    <a:pt x="7781" y="13595"/>
                  </a:lnTo>
                  <a:lnTo>
                    <a:pt x="7758" y="13589"/>
                  </a:lnTo>
                  <a:lnTo>
                    <a:pt x="7736" y="13580"/>
                  </a:lnTo>
                  <a:lnTo>
                    <a:pt x="7714" y="13571"/>
                  </a:lnTo>
                  <a:lnTo>
                    <a:pt x="7691" y="13562"/>
                  </a:lnTo>
                  <a:lnTo>
                    <a:pt x="7670" y="13551"/>
                  </a:lnTo>
                  <a:lnTo>
                    <a:pt x="7650" y="13539"/>
                  </a:lnTo>
                  <a:lnTo>
                    <a:pt x="7630" y="13526"/>
                  </a:lnTo>
                  <a:lnTo>
                    <a:pt x="7610" y="13512"/>
                  </a:lnTo>
                  <a:lnTo>
                    <a:pt x="7591" y="13497"/>
                  </a:lnTo>
                  <a:lnTo>
                    <a:pt x="7573" y="13482"/>
                  </a:lnTo>
                  <a:lnTo>
                    <a:pt x="7556" y="13465"/>
                  </a:lnTo>
                  <a:lnTo>
                    <a:pt x="1154" y="7119"/>
                  </a:lnTo>
                  <a:lnTo>
                    <a:pt x="1133" y="7096"/>
                  </a:lnTo>
                  <a:lnTo>
                    <a:pt x="1113" y="7072"/>
                  </a:lnTo>
                  <a:lnTo>
                    <a:pt x="1094" y="7048"/>
                  </a:lnTo>
                  <a:lnTo>
                    <a:pt x="1078" y="7022"/>
                  </a:lnTo>
                  <a:lnTo>
                    <a:pt x="1063" y="6996"/>
                  </a:lnTo>
                  <a:lnTo>
                    <a:pt x="1050" y="6967"/>
                  </a:lnTo>
                  <a:lnTo>
                    <a:pt x="1038" y="6940"/>
                  </a:lnTo>
                  <a:lnTo>
                    <a:pt x="1029" y="6911"/>
                  </a:lnTo>
                  <a:lnTo>
                    <a:pt x="1021" y="6882"/>
                  </a:lnTo>
                  <a:lnTo>
                    <a:pt x="1014" y="6852"/>
                  </a:lnTo>
                  <a:lnTo>
                    <a:pt x="1010" y="6822"/>
                  </a:lnTo>
                  <a:lnTo>
                    <a:pt x="1007" y="6792"/>
                  </a:lnTo>
                  <a:lnTo>
                    <a:pt x="1006" y="6761"/>
                  </a:lnTo>
                  <a:lnTo>
                    <a:pt x="1007" y="6730"/>
                  </a:lnTo>
                  <a:lnTo>
                    <a:pt x="1010" y="6699"/>
                  </a:lnTo>
                  <a:lnTo>
                    <a:pt x="1015" y="6668"/>
                  </a:lnTo>
                  <a:lnTo>
                    <a:pt x="1022" y="6638"/>
                  </a:lnTo>
                  <a:lnTo>
                    <a:pt x="1030" y="6608"/>
                  </a:lnTo>
                  <a:lnTo>
                    <a:pt x="1040" y="6579"/>
                  </a:lnTo>
                  <a:lnTo>
                    <a:pt x="1052" y="6551"/>
                  </a:lnTo>
                  <a:lnTo>
                    <a:pt x="1065" y="6524"/>
                  </a:lnTo>
                  <a:lnTo>
                    <a:pt x="1080" y="6498"/>
                  </a:lnTo>
                  <a:lnTo>
                    <a:pt x="1097" y="6472"/>
                  </a:lnTo>
                  <a:lnTo>
                    <a:pt x="1116" y="6448"/>
                  </a:lnTo>
                  <a:lnTo>
                    <a:pt x="1136" y="6425"/>
                  </a:lnTo>
                  <a:lnTo>
                    <a:pt x="1156" y="6403"/>
                  </a:lnTo>
                  <a:lnTo>
                    <a:pt x="1179" y="6383"/>
                  </a:lnTo>
                  <a:lnTo>
                    <a:pt x="1202" y="6363"/>
                  </a:lnTo>
                  <a:lnTo>
                    <a:pt x="1227" y="6345"/>
                  </a:lnTo>
                  <a:lnTo>
                    <a:pt x="1252" y="6329"/>
                  </a:lnTo>
                  <a:lnTo>
                    <a:pt x="1280" y="6314"/>
                  </a:lnTo>
                  <a:lnTo>
                    <a:pt x="1308" y="6300"/>
                  </a:lnTo>
                  <a:lnTo>
                    <a:pt x="4434" y="5046"/>
                  </a:lnTo>
                  <a:lnTo>
                    <a:pt x="4632" y="5107"/>
                  </a:lnTo>
                  <a:lnTo>
                    <a:pt x="4830" y="5162"/>
                  </a:lnTo>
                  <a:lnTo>
                    <a:pt x="5027" y="5210"/>
                  </a:lnTo>
                  <a:lnTo>
                    <a:pt x="5225" y="5252"/>
                  </a:lnTo>
                  <a:lnTo>
                    <a:pt x="5422" y="5290"/>
                  </a:lnTo>
                  <a:lnTo>
                    <a:pt x="5620" y="5323"/>
                  </a:lnTo>
                  <a:lnTo>
                    <a:pt x="5817" y="5353"/>
                  </a:lnTo>
                  <a:lnTo>
                    <a:pt x="6016" y="5380"/>
                  </a:lnTo>
                  <a:lnTo>
                    <a:pt x="6410" y="5431"/>
                  </a:lnTo>
                  <a:lnTo>
                    <a:pt x="6805" y="5480"/>
                  </a:lnTo>
                  <a:lnTo>
                    <a:pt x="7003" y="5507"/>
                  </a:lnTo>
                  <a:lnTo>
                    <a:pt x="7201" y="5536"/>
                  </a:lnTo>
                  <a:lnTo>
                    <a:pt x="7398" y="5568"/>
                  </a:lnTo>
                  <a:lnTo>
                    <a:pt x="7596" y="5603"/>
                  </a:lnTo>
                  <a:lnTo>
                    <a:pt x="7793" y="5643"/>
                  </a:lnTo>
                  <a:lnTo>
                    <a:pt x="7991" y="5688"/>
                  </a:lnTo>
                  <a:lnTo>
                    <a:pt x="8188" y="5739"/>
                  </a:lnTo>
                  <a:lnTo>
                    <a:pt x="8385" y="5798"/>
                  </a:lnTo>
                  <a:lnTo>
                    <a:pt x="8584" y="5864"/>
                  </a:lnTo>
                  <a:lnTo>
                    <a:pt x="8781" y="5939"/>
                  </a:lnTo>
                  <a:lnTo>
                    <a:pt x="8979" y="6023"/>
                  </a:lnTo>
                  <a:lnTo>
                    <a:pt x="9176" y="6116"/>
                  </a:lnTo>
                  <a:lnTo>
                    <a:pt x="9373" y="6221"/>
                  </a:lnTo>
                  <a:lnTo>
                    <a:pt x="9571" y="6337"/>
                  </a:lnTo>
                  <a:lnTo>
                    <a:pt x="9769" y="6466"/>
                  </a:lnTo>
                  <a:lnTo>
                    <a:pt x="9967" y="6608"/>
                  </a:lnTo>
                  <a:lnTo>
                    <a:pt x="10164" y="6765"/>
                  </a:lnTo>
                  <a:lnTo>
                    <a:pt x="10361" y="6935"/>
                  </a:lnTo>
                  <a:lnTo>
                    <a:pt x="10559" y="7122"/>
                  </a:lnTo>
                  <a:lnTo>
                    <a:pt x="10756" y="7324"/>
                  </a:lnTo>
                  <a:lnTo>
                    <a:pt x="8378" y="13292"/>
                  </a:lnTo>
                  <a:close/>
                  <a:moveTo>
                    <a:pt x="10402" y="369"/>
                  </a:moveTo>
                  <a:lnTo>
                    <a:pt x="10379" y="347"/>
                  </a:lnTo>
                  <a:lnTo>
                    <a:pt x="10356" y="326"/>
                  </a:lnTo>
                  <a:lnTo>
                    <a:pt x="10333" y="305"/>
                  </a:lnTo>
                  <a:lnTo>
                    <a:pt x="10310" y="286"/>
                  </a:lnTo>
                  <a:lnTo>
                    <a:pt x="10286" y="266"/>
                  </a:lnTo>
                  <a:lnTo>
                    <a:pt x="10261" y="247"/>
                  </a:lnTo>
                  <a:lnTo>
                    <a:pt x="10235" y="229"/>
                  </a:lnTo>
                  <a:lnTo>
                    <a:pt x="10210" y="211"/>
                  </a:lnTo>
                  <a:lnTo>
                    <a:pt x="10184" y="195"/>
                  </a:lnTo>
                  <a:lnTo>
                    <a:pt x="10158" y="179"/>
                  </a:lnTo>
                  <a:lnTo>
                    <a:pt x="10132" y="163"/>
                  </a:lnTo>
                  <a:lnTo>
                    <a:pt x="10105" y="148"/>
                  </a:lnTo>
                  <a:lnTo>
                    <a:pt x="10077" y="133"/>
                  </a:lnTo>
                  <a:lnTo>
                    <a:pt x="10050" y="120"/>
                  </a:lnTo>
                  <a:lnTo>
                    <a:pt x="10022" y="108"/>
                  </a:lnTo>
                  <a:lnTo>
                    <a:pt x="9994" y="96"/>
                  </a:lnTo>
                  <a:lnTo>
                    <a:pt x="9966" y="84"/>
                  </a:lnTo>
                  <a:lnTo>
                    <a:pt x="9938" y="74"/>
                  </a:lnTo>
                  <a:lnTo>
                    <a:pt x="9908" y="64"/>
                  </a:lnTo>
                  <a:lnTo>
                    <a:pt x="9879" y="55"/>
                  </a:lnTo>
                  <a:lnTo>
                    <a:pt x="9850" y="46"/>
                  </a:lnTo>
                  <a:lnTo>
                    <a:pt x="9820" y="38"/>
                  </a:lnTo>
                  <a:lnTo>
                    <a:pt x="9791" y="31"/>
                  </a:lnTo>
                  <a:lnTo>
                    <a:pt x="9761" y="25"/>
                  </a:lnTo>
                  <a:lnTo>
                    <a:pt x="9730" y="19"/>
                  </a:lnTo>
                  <a:lnTo>
                    <a:pt x="9699" y="14"/>
                  </a:lnTo>
                  <a:lnTo>
                    <a:pt x="9669" y="9"/>
                  </a:lnTo>
                  <a:lnTo>
                    <a:pt x="9638" y="6"/>
                  </a:lnTo>
                  <a:lnTo>
                    <a:pt x="9607" y="3"/>
                  </a:lnTo>
                  <a:lnTo>
                    <a:pt x="9577" y="2"/>
                  </a:lnTo>
                  <a:lnTo>
                    <a:pt x="9544" y="0"/>
                  </a:lnTo>
                  <a:lnTo>
                    <a:pt x="9513" y="0"/>
                  </a:lnTo>
                  <a:lnTo>
                    <a:pt x="9482" y="0"/>
                  </a:lnTo>
                  <a:lnTo>
                    <a:pt x="9451" y="2"/>
                  </a:lnTo>
                  <a:lnTo>
                    <a:pt x="9420" y="3"/>
                  </a:lnTo>
                  <a:lnTo>
                    <a:pt x="9388" y="6"/>
                  </a:lnTo>
                  <a:lnTo>
                    <a:pt x="9357" y="9"/>
                  </a:lnTo>
                  <a:lnTo>
                    <a:pt x="9327" y="14"/>
                  </a:lnTo>
                  <a:lnTo>
                    <a:pt x="9297" y="19"/>
                  </a:lnTo>
                  <a:lnTo>
                    <a:pt x="9266" y="25"/>
                  </a:lnTo>
                  <a:lnTo>
                    <a:pt x="9236" y="31"/>
                  </a:lnTo>
                  <a:lnTo>
                    <a:pt x="9206" y="38"/>
                  </a:lnTo>
                  <a:lnTo>
                    <a:pt x="9176" y="46"/>
                  </a:lnTo>
                  <a:lnTo>
                    <a:pt x="9147" y="55"/>
                  </a:lnTo>
                  <a:lnTo>
                    <a:pt x="9118" y="64"/>
                  </a:lnTo>
                  <a:lnTo>
                    <a:pt x="9089" y="74"/>
                  </a:lnTo>
                  <a:lnTo>
                    <a:pt x="9060" y="84"/>
                  </a:lnTo>
                  <a:lnTo>
                    <a:pt x="9031" y="96"/>
                  </a:lnTo>
                  <a:lnTo>
                    <a:pt x="9003" y="108"/>
                  </a:lnTo>
                  <a:lnTo>
                    <a:pt x="8976" y="120"/>
                  </a:lnTo>
                  <a:lnTo>
                    <a:pt x="8948" y="134"/>
                  </a:lnTo>
                  <a:lnTo>
                    <a:pt x="8921" y="149"/>
                  </a:lnTo>
                  <a:lnTo>
                    <a:pt x="8894" y="163"/>
                  </a:lnTo>
                  <a:lnTo>
                    <a:pt x="8867" y="179"/>
                  </a:lnTo>
                  <a:lnTo>
                    <a:pt x="8841" y="195"/>
                  </a:lnTo>
                  <a:lnTo>
                    <a:pt x="8816" y="211"/>
                  </a:lnTo>
                  <a:lnTo>
                    <a:pt x="8790" y="229"/>
                  </a:lnTo>
                  <a:lnTo>
                    <a:pt x="8766" y="247"/>
                  </a:lnTo>
                  <a:lnTo>
                    <a:pt x="8741" y="267"/>
                  </a:lnTo>
                  <a:lnTo>
                    <a:pt x="8716" y="286"/>
                  </a:lnTo>
                  <a:lnTo>
                    <a:pt x="8692" y="306"/>
                  </a:lnTo>
                  <a:lnTo>
                    <a:pt x="8669" y="326"/>
                  </a:lnTo>
                  <a:lnTo>
                    <a:pt x="8646" y="348"/>
                  </a:lnTo>
                  <a:lnTo>
                    <a:pt x="8624" y="369"/>
                  </a:lnTo>
                  <a:lnTo>
                    <a:pt x="7914" y="1081"/>
                  </a:lnTo>
                  <a:lnTo>
                    <a:pt x="7892" y="1104"/>
                  </a:lnTo>
                  <a:lnTo>
                    <a:pt x="7870" y="1128"/>
                  </a:lnTo>
                  <a:lnTo>
                    <a:pt x="7850" y="1151"/>
                  </a:lnTo>
                  <a:lnTo>
                    <a:pt x="7829" y="1174"/>
                  </a:lnTo>
                  <a:lnTo>
                    <a:pt x="7810" y="1199"/>
                  </a:lnTo>
                  <a:lnTo>
                    <a:pt x="7792" y="1223"/>
                  </a:lnTo>
                  <a:lnTo>
                    <a:pt x="7773" y="1249"/>
                  </a:lnTo>
                  <a:lnTo>
                    <a:pt x="7756" y="1274"/>
                  </a:lnTo>
                  <a:lnTo>
                    <a:pt x="7739" y="1300"/>
                  </a:lnTo>
                  <a:lnTo>
                    <a:pt x="7723" y="1326"/>
                  </a:lnTo>
                  <a:lnTo>
                    <a:pt x="7707" y="1352"/>
                  </a:lnTo>
                  <a:lnTo>
                    <a:pt x="7692" y="1380"/>
                  </a:lnTo>
                  <a:lnTo>
                    <a:pt x="7678" y="1407"/>
                  </a:lnTo>
                  <a:lnTo>
                    <a:pt x="7665" y="1434"/>
                  </a:lnTo>
                  <a:lnTo>
                    <a:pt x="7652" y="1462"/>
                  </a:lnTo>
                  <a:lnTo>
                    <a:pt x="7640" y="1491"/>
                  </a:lnTo>
                  <a:lnTo>
                    <a:pt x="7629" y="1519"/>
                  </a:lnTo>
                  <a:lnTo>
                    <a:pt x="7618" y="1547"/>
                  </a:lnTo>
                  <a:lnTo>
                    <a:pt x="7608" y="1576"/>
                  </a:lnTo>
                  <a:lnTo>
                    <a:pt x="7599" y="1606"/>
                  </a:lnTo>
                  <a:lnTo>
                    <a:pt x="7591" y="1636"/>
                  </a:lnTo>
                  <a:lnTo>
                    <a:pt x="7583" y="1665"/>
                  </a:lnTo>
                  <a:lnTo>
                    <a:pt x="7576" y="1695"/>
                  </a:lnTo>
                  <a:lnTo>
                    <a:pt x="7569" y="1725"/>
                  </a:lnTo>
                  <a:lnTo>
                    <a:pt x="7564" y="1756"/>
                  </a:lnTo>
                  <a:lnTo>
                    <a:pt x="7559" y="1786"/>
                  </a:lnTo>
                  <a:lnTo>
                    <a:pt x="7555" y="1817"/>
                  </a:lnTo>
                  <a:lnTo>
                    <a:pt x="7551" y="1848"/>
                  </a:lnTo>
                  <a:lnTo>
                    <a:pt x="7549" y="1879"/>
                  </a:lnTo>
                  <a:lnTo>
                    <a:pt x="7547" y="1911"/>
                  </a:lnTo>
                  <a:lnTo>
                    <a:pt x="7546" y="1942"/>
                  </a:lnTo>
                  <a:lnTo>
                    <a:pt x="7545" y="1974"/>
                  </a:lnTo>
                  <a:lnTo>
                    <a:pt x="7546" y="2018"/>
                  </a:lnTo>
                  <a:lnTo>
                    <a:pt x="7548" y="2062"/>
                  </a:lnTo>
                  <a:lnTo>
                    <a:pt x="7552" y="2106"/>
                  </a:lnTo>
                  <a:lnTo>
                    <a:pt x="7557" y="2150"/>
                  </a:lnTo>
                  <a:lnTo>
                    <a:pt x="7564" y="2192"/>
                  </a:lnTo>
                  <a:lnTo>
                    <a:pt x="7572" y="2236"/>
                  </a:lnTo>
                  <a:lnTo>
                    <a:pt x="7582" y="2278"/>
                  </a:lnTo>
                  <a:lnTo>
                    <a:pt x="7593" y="2319"/>
                  </a:lnTo>
                  <a:lnTo>
                    <a:pt x="7605" y="2361"/>
                  </a:lnTo>
                  <a:lnTo>
                    <a:pt x="7619" y="2402"/>
                  </a:lnTo>
                  <a:lnTo>
                    <a:pt x="7634" y="2442"/>
                  </a:lnTo>
                  <a:lnTo>
                    <a:pt x="7651" y="2483"/>
                  </a:lnTo>
                  <a:lnTo>
                    <a:pt x="7669" y="2522"/>
                  </a:lnTo>
                  <a:lnTo>
                    <a:pt x="7688" y="2560"/>
                  </a:lnTo>
                  <a:lnTo>
                    <a:pt x="7710" y="2599"/>
                  </a:lnTo>
                  <a:lnTo>
                    <a:pt x="7732" y="2635"/>
                  </a:lnTo>
                  <a:lnTo>
                    <a:pt x="902" y="5377"/>
                  </a:lnTo>
                  <a:lnTo>
                    <a:pt x="860" y="5397"/>
                  </a:lnTo>
                  <a:lnTo>
                    <a:pt x="819" y="5418"/>
                  </a:lnTo>
                  <a:lnTo>
                    <a:pt x="778" y="5440"/>
                  </a:lnTo>
                  <a:lnTo>
                    <a:pt x="737" y="5462"/>
                  </a:lnTo>
                  <a:lnTo>
                    <a:pt x="699" y="5486"/>
                  </a:lnTo>
                  <a:lnTo>
                    <a:pt x="660" y="5511"/>
                  </a:lnTo>
                  <a:lnTo>
                    <a:pt x="623" y="5539"/>
                  </a:lnTo>
                  <a:lnTo>
                    <a:pt x="586" y="5566"/>
                  </a:lnTo>
                  <a:lnTo>
                    <a:pt x="550" y="5594"/>
                  </a:lnTo>
                  <a:lnTo>
                    <a:pt x="516" y="5623"/>
                  </a:lnTo>
                  <a:lnTo>
                    <a:pt x="482" y="5655"/>
                  </a:lnTo>
                  <a:lnTo>
                    <a:pt x="450" y="5686"/>
                  </a:lnTo>
                  <a:lnTo>
                    <a:pt x="417" y="5718"/>
                  </a:lnTo>
                  <a:lnTo>
                    <a:pt x="386" y="5751"/>
                  </a:lnTo>
                  <a:lnTo>
                    <a:pt x="357" y="5786"/>
                  </a:lnTo>
                  <a:lnTo>
                    <a:pt x="328" y="5821"/>
                  </a:lnTo>
                  <a:lnTo>
                    <a:pt x="301" y="5857"/>
                  </a:lnTo>
                  <a:lnTo>
                    <a:pt x="274" y="5894"/>
                  </a:lnTo>
                  <a:lnTo>
                    <a:pt x="248" y="5931"/>
                  </a:lnTo>
                  <a:lnTo>
                    <a:pt x="224" y="5969"/>
                  </a:lnTo>
                  <a:lnTo>
                    <a:pt x="200" y="6009"/>
                  </a:lnTo>
                  <a:lnTo>
                    <a:pt x="179" y="6049"/>
                  </a:lnTo>
                  <a:lnTo>
                    <a:pt x="158" y="6089"/>
                  </a:lnTo>
                  <a:lnTo>
                    <a:pt x="138" y="6131"/>
                  </a:lnTo>
                  <a:lnTo>
                    <a:pt x="120" y="6172"/>
                  </a:lnTo>
                  <a:lnTo>
                    <a:pt x="103" y="6214"/>
                  </a:lnTo>
                  <a:lnTo>
                    <a:pt x="87" y="6258"/>
                  </a:lnTo>
                  <a:lnTo>
                    <a:pt x="71" y="6301"/>
                  </a:lnTo>
                  <a:lnTo>
                    <a:pt x="58" y="6345"/>
                  </a:lnTo>
                  <a:lnTo>
                    <a:pt x="46" y="6390"/>
                  </a:lnTo>
                  <a:lnTo>
                    <a:pt x="36" y="6435"/>
                  </a:lnTo>
                  <a:lnTo>
                    <a:pt x="26" y="6481"/>
                  </a:lnTo>
                  <a:lnTo>
                    <a:pt x="18" y="6527"/>
                  </a:lnTo>
                  <a:lnTo>
                    <a:pt x="12" y="6573"/>
                  </a:lnTo>
                  <a:lnTo>
                    <a:pt x="7" y="6620"/>
                  </a:lnTo>
                  <a:lnTo>
                    <a:pt x="3" y="6666"/>
                  </a:lnTo>
                  <a:lnTo>
                    <a:pt x="1" y="6712"/>
                  </a:lnTo>
                  <a:lnTo>
                    <a:pt x="0" y="6759"/>
                  </a:lnTo>
                  <a:lnTo>
                    <a:pt x="1" y="6804"/>
                  </a:lnTo>
                  <a:lnTo>
                    <a:pt x="3" y="6850"/>
                  </a:lnTo>
                  <a:lnTo>
                    <a:pt x="6" y="6896"/>
                  </a:lnTo>
                  <a:lnTo>
                    <a:pt x="11" y="6941"/>
                  </a:lnTo>
                  <a:lnTo>
                    <a:pt x="17" y="6987"/>
                  </a:lnTo>
                  <a:lnTo>
                    <a:pt x="24" y="7032"/>
                  </a:lnTo>
                  <a:lnTo>
                    <a:pt x="33" y="7076"/>
                  </a:lnTo>
                  <a:lnTo>
                    <a:pt x="43" y="7121"/>
                  </a:lnTo>
                  <a:lnTo>
                    <a:pt x="55" y="7165"/>
                  </a:lnTo>
                  <a:lnTo>
                    <a:pt x="67" y="7209"/>
                  </a:lnTo>
                  <a:lnTo>
                    <a:pt x="81" y="7253"/>
                  </a:lnTo>
                  <a:lnTo>
                    <a:pt x="98" y="7295"/>
                  </a:lnTo>
                  <a:lnTo>
                    <a:pt x="114" y="7337"/>
                  </a:lnTo>
                  <a:lnTo>
                    <a:pt x="132" y="7380"/>
                  </a:lnTo>
                  <a:lnTo>
                    <a:pt x="152" y="7421"/>
                  </a:lnTo>
                  <a:lnTo>
                    <a:pt x="172" y="7462"/>
                  </a:lnTo>
                  <a:lnTo>
                    <a:pt x="194" y="7503"/>
                  </a:lnTo>
                  <a:lnTo>
                    <a:pt x="217" y="7542"/>
                  </a:lnTo>
                  <a:lnTo>
                    <a:pt x="241" y="7581"/>
                  </a:lnTo>
                  <a:lnTo>
                    <a:pt x="268" y="7620"/>
                  </a:lnTo>
                  <a:lnTo>
                    <a:pt x="294" y="7658"/>
                  </a:lnTo>
                  <a:lnTo>
                    <a:pt x="322" y="7695"/>
                  </a:lnTo>
                  <a:lnTo>
                    <a:pt x="351" y="7732"/>
                  </a:lnTo>
                  <a:lnTo>
                    <a:pt x="382" y="7767"/>
                  </a:lnTo>
                  <a:lnTo>
                    <a:pt x="413" y="7801"/>
                  </a:lnTo>
                  <a:lnTo>
                    <a:pt x="447" y="7835"/>
                  </a:lnTo>
                  <a:lnTo>
                    <a:pt x="6844" y="14177"/>
                  </a:lnTo>
                  <a:lnTo>
                    <a:pt x="6871" y="14203"/>
                  </a:lnTo>
                  <a:lnTo>
                    <a:pt x="6897" y="14228"/>
                  </a:lnTo>
                  <a:lnTo>
                    <a:pt x="6924" y="14252"/>
                  </a:lnTo>
                  <a:lnTo>
                    <a:pt x="6952" y="14275"/>
                  </a:lnTo>
                  <a:lnTo>
                    <a:pt x="6979" y="14298"/>
                  </a:lnTo>
                  <a:lnTo>
                    <a:pt x="7008" y="14320"/>
                  </a:lnTo>
                  <a:lnTo>
                    <a:pt x="7038" y="14341"/>
                  </a:lnTo>
                  <a:lnTo>
                    <a:pt x="7067" y="14362"/>
                  </a:lnTo>
                  <a:lnTo>
                    <a:pt x="7097" y="14381"/>
                  </a:lnTo>
                  <a:lnTo>
                    <a:pt x="7127" y="14400"/>
                  </a:lnTo>
                  <a:lnTo>
                    <a:pt x="7157" y="14418"/>
                  </a:lnTo>
                  <a:lnTo>
                    <a:pt x="7188" y="14436"/>
                  </a:lnTo>
                  <a:lnTo>
                    <a:pt x="7221" y="14453"/>
                  </a:lnTo>
                  <a:lnTo>
                    <a:pt x="7252" y="14469"/>
                  </a:lnTo>
                  <a:lnTo>
                    <a:pt x="7284" y="14484"/>
                  </a:lnTo>
                  <a:lnTo>
                    <a:pt x="7316" y="14499"/>
                  </a:lnTo>
                  <a:lnTo>
                    <a:pt x="7349" y="14512"/>
                  </a:lnTo>
                  <a:lnTo>
                    <a:pt x="7383" y="14525"/>
                  </a:lnTo>
                  <a:lnTo>
                    <a:pt x="7416" y="14537"/>
                  </a:lnTo>
                  <a:lnTo>
                    <a:pt x="7450" y="14548"/>
                  </a:lnTo>
                  <a:lnTo>
                    <a:pt x="7484" y="14558"/>
                  </a:lnTo>
                  <a:lnTo>
                    <a:pt x="7518" y="14569"/>
                  </a:lnTo>
                  <a:lnTo>
                    <a:pt x="7553" y="14578"/>
                  </a:lnTo>
                  <a:lnTo>
                    <a:pt x="7588" y="14586"/>
                  </a:lnTo>
                  <a:lnTo>
                    <a:pt x="7623" y="14593"/>
                  </a:lnTo>
                  <a:lnTo>
                    <a:pt x="7657" y="14599"/>
                  </a:lnTo>
                  <a:lnTo>
                    <a:pt x="7693" y="14605"/>
                  </a:lnTo>
                  <a:lnTo>
                    <a:pt x="7729" y="14609"/>
                  </a:lnTo>
                  <a:lnTo>
                    <a:pt x="7765" y="14613"/>
                  </a:lnTo>
                  <a:lnTo>
                    <a:pt x="7800" y="14616"/>
                  </a:lnTo>
                  <a:lnTo>
                    <a:pt x="7836" y="14618"/>
                  </a:lnTo>
                  <a:lnTo>
                    <a:pt x="7872" y="14619"/>
                  </a:lnTo>
                  <a:lnTo>
                    <a:pt x="7882" y="14620"/>
                  </a:lnTo>
                  <a:lnTo>
                    <a:pt x="7892" y="14620"/>
                  </a:lnTo>
                  <a:lnTo>
                    <a:pt x="7903" y="14620"/>
                  </a:lnTo>
                  <a:lnTo>
                    <a:pt x="7911" y="14620"/>
                  </a:lnTo>
                  <a:lnTo>
                    <a:pt x="7949" y="14619"/>
                  </a:lnTo>
                  <a:lnTo>
                    <a:pt x="7987" y="14618"/>
                  </a:lnTo>
                  <a:lnTo>
                    <a:pt x="8025" y="14616"/>
                  </a:lnTo>
                  <a:lnTo>
                    <a:pt x="8065" y="14612"/>
                  </a:lnTo>
                  <a:lnTo>
                    <a:pt x="8103" y="14608"/>
                  </a:lnTo>
                  <a:lnTo>
                    <a:pt x="8141" y="14602"/>
                  </a:lnTo>
                  <a:lnTo>
                    <a:pt x="8179" y="14596"/>
                  </a:lnTo>
                  <a:lnTo>
                    <a:pt x="8219" y="14589"/>
                  </a:lnTo>
                  <a:lnTo>
                    <a:pt x="8265" y="14578"/>
                  </a:lnTo>
                  <a:lnTo>
                    <a:pt x="8311" y="14566"/>
                  </a:lnTo>
                  <a:lnTo>
                    <a:pt x="8356" y="14552"/>
                  </a:lnTo>
                  <a:lnTo>
                    <a:pt x="8401" y="14538"/>
                  </a:lnTo>
                  <a:lnTo>
                    <a:pt x="8445" y="14522"/>
                  </a:lnTo>
                  <a:lnTo>
                    <a:pt x="8489" y="14505"/>
                  </a:lnTo>
                  <a:lnTo>
                    <a:pt x="8531" y="14487"/>
                  </a:lnTo>
                  <a:lnTo>
                    <a:pt x="8574" y="14467"/>
                  </a:lnTo>
                  <a:lnTo>
                    <a:pt x="8616" y="14446"/>
                  </a:lnTo>
                  <a:lnTo>
                    <a:pt x="8656" y="14423"/>
                  </a:lnTo>
                  <a:lnTo>
                    <a:pt x="8696" y="14400"/>
                  </a:lnTo>
                  <a:lnTo>
                    <a:pt x="8736" y="14375"/>
                  </a:lnTo>
                  <a:lnTo>
                    <a:pt x="8774" y="14350"/>
                  </a:lnTo>
                  <a:lnTo>
                    <a:pt x="8811" y="14323"/>
                  </a:lnTo>
                  <a:lnTo>
                    <a:pt x="8847" y="14294"/>
                  </a:lnTo>
                  <a:lnTo>
                    <a:pt x="8883" y="14265"/>
                  </a:lnTo>
                  <a:lnTo>
                    <a:pt x="8918" y="14235"/>
                  </a:lnTo>
                  <a:lnTo>
                    <a:pt x="8952" y="14204"/>
                  </a:lnTo>
                  <a:lnTo>
                    <a:pt x="8985" y="14171"/>
                  </a:lnTo>
                  <a:lnTo>
                    <a:pt x="9017" y="14138"/>
                  </a:lnTo>
                  <a:lnTo>
                    <a:pt x="9047" y="14104"/>
                  </a:lnTo>
                  <a:lnTo>
                    <a:pt x="9078" y="14068"/>
                  </a:lnTo>
                  <a:lnTo>
                    <a:pt x="9106" y="14032"/>
                  </a:lnTo>
                  <a:lnTo>
                    <a:pt x="9134" y="13995"/>
                  </a:lnTo>
                  <a:lnTo>
                    <a:pt x="9160" y="13957"/>
                  </a:lnTo>
                  <a:lnTo>
                    <a:pt x="9186" y="13918"/>
                  </a:lnTo>
                  <a:lnTo>
                    <a:pt x="9210" y="13878"/>
                  </a:lnTo>
                  <a:lnTo>
                    <a:pt x="9232" y="13838"/>
                  </a:lnTo>
                  <a:lnTo>
                    <a:pt x="9255" y="13796"/>
                  </a:lnTo>
                  <a:lnTo>
                    <a:pt x="9276" y="13754"/>
                  </a:lnTo>
                  <a:lnTo>
                    <a:pt x="9295" y="13711"/>
                  </a:lnTo>
                  <a:lnTo>
                    <a:pt x="9313" y="13666"/>
                  </a:lnTo>
                  <a:lnTo>
                    <a:pt x="12000" y="6923"/>
                  </a:lnTo>
                  <a:lnTo>
                    <a:pt x="12038" y="6948"/>
                  </a:lnTo>
                  <a:lnTo>
                    <a:pt x="12077" y="6970"/>
                  </a:lnTo>
                  <a:lnTo>
                    <a:pt x="12118" y="6993"/>
                  </a:lnTo>
                  <a:lnTo>
                    <a:pt x="12158" y="7012"/>
                  </a:lnTo>
                  <a:lnTo>
                    <a:pt x="12199" y="7031"/>
                  </a:lnTo>
                  <a:lnTo>
                    <a:pt x="12241" y="7047"/>
                  </a:lnTo>
                  <a:lnTo>
                    <a:pt x="12284" y="7063"/>
                  </a:lnTo>
                  <a:lnTo>
                    <a:pt x="12327" y="7076"/>
                  </a:lnTo>
                  <a:lnTo>
                    <a:pt x="12370" y="7088"/>
                  </a:lnTo>
                  <a:lnTo>
                    <a:pt x="12414" y="7099"/>
                  </a:lnTo>
                  <a:lnTo>
                    <a:pt x="12459" y="7109"/>
                  </a:lnTo>
                  <a:lnTo>
                    <a:pt x="12504" y="7116"/>
                  </a:lnTo>
                  <a:lnTo>
                    <a:pt x="12549" y="7122"/>
                  </a:lnTo>
                  <a:lnTo>
                    <a:pt x="12595" y="7126"/>
                  </a:lnTo>
                  <a:lnTo>
                    <a:pt x="12642" y="7129"/>
                  </a:lnTo>
                  <a:lnTo>
                    <a:pt x="12688" y="7130"/>
                  </a:lnTo>
                  <a:lnTo>
                    <a:pt x="12719" y="7129"/>
                  </a:lnTo>
                  <a:lnTo>
                    <a:pt x="12750" y="7128"/>
                  </a:lnTo>
                  <a:lnTo>
                    <a:pt x="12781" y="7126"/>
                  </a:lnTo>
                  <a:lnTo>
                    <a:pt x="12813" y="7123"/>
                  </a:lnTo>
                  <a:lnTo>
                    <a:pt x="12844" y="7120"/>
                  </a:lnTo>
                  <a:lnTo>
                    <a:pt x="12874" y="7116"/>
                  </a:lnTo>
                  <a:lnTo>
                    <a:pt x="12905" y="7111"/>
                  </a:lnTo>
                  <a:lnTo>
                    <a:pt x="12935" y="7105"/>
                  </a:lnTo>
                  <a:lnTo>
                    <a:pt x="12966" y="7098"/>
                  </a:lnTo>
                  <a:lnTo>
                    <a:pt x="12995" y="7091"/>
                  </a:lnTo>
                  <a:lnTo>
                    <a:pt x="13025" y="7083"/>
                  </a:lnTo>
                  <a:lnTo>
                    <a:pt x="13054" y="7075"/>
                  </a:lnTo>
                  <a:lnTo>
                    <a:pt x="13083" y="7066"/>
                  </a:lnTo>
                  <a:lnTo>
                    <a:pt x="13112" y="7056"/>
                  </a:lnTo>
                  <a:lnTo>
                    <a:pt x="13141" y="7045"/>
                  </a:lnTo>
                  <a:lnTo>
                    <a:pt x="13170" y="7034"/>
                  </a:lnTo>
                  <a:lnTo>
                    <a:pt x="13198" y="7022"/>
                  </a:lnTo>
                  <a:lnTo>
                    <a:pt x="13225" y="7009"/>
                  </a:lnTo>
                  <a:lnTo>
                    <a:pt x="13253" y="6996"/>
                  </a:lnTo>
                  <a:lnTo>
                    <a:pt x="13280" y="6981"/>
                  </a:lnTo>
                  <a:lnTo>
                    <a:pt x="13307" y="6966"/>
                  </a:lnTo>
                  <a:lnTo>
                    <a:pt x="13334" y="6950"/>
                  </a:lnTo>
                  <a:lnTo>
                    <a:pt x="13360" y="6934"/>
                  </a:lnTo>
                  <a:lnTo>
                    <a:pt x="13385" y="6918"/>
                  </a:lnTo>
                  <a:lnTo>
                    <a:pt x="13410" y="6900"/>
                  </a:lnTo>
                  <a:lnTo>
                    <a:pt x="13435" y="6882"/>
                  </a:lnTo>
                  <a:lnTo>
                    <a:pt x="13460" y="6863"/>
                  </a:lnTo>
                  <a:lnTo>
                    <a:pt x="13485" y="6843"/>
                  </a:lnTo>
                  <a:lnTo>
                    <a:pt x="13508" y="6823"/>
                  </a:lnTo>
                  <a:lnTo>
                    <a:pt x="13532" y="6803"/>
                  </a:lnTo>
                  <a:lnTo>
                    <a:pt x="13554" y="6781"/>
                  </a:lnTo>
                  <a:lnTo>
                    <a:pt x="13577" y="6759"/>
                  </a:lnTo>
                  <a:lnTo>
                    <a:pt x="14285" y="6050"/>
                  </a:lnTo>
                  <a:lnTo>
                    <a:pt x="14307" y="6028"/>
                  </a:lnTo>
                  <a:lnTo>
                    <a:pt x="14329" y="6005"/>
                  </a:lnTo>
                  <a:lnTo>
                    <a:pt x="14350" y="5980"/>
                  </a:lnTo>
                  <a:lnTo>
                    <a:pt x="14370" y="5957"/>
                  </a:lnTo>
                  <a:lnTo>
                    <a:pt x="14389" y="5932"/>
                  </a:lnTo>
                  <a:lnTo>
                    <a:pt x="14408" y="5908"/>
                  </a:lnTo>
                  <a:lnTo>
                    <a:pt x="14426" y="5883"/>
                  </a:lnTo>
                  <a:lnTo>
                    <a:pt x="14444" y="5857"/>
                  </a:lnTo>
                  <a:lnTo>
                    <a:pt x="14460" y="5831"/>
                  </a:lnTo>
                  <a:lnTo>
                    <a:pt x="14477" y="5805"/>
                  </a:lnTo>
                  <a:lnTo>
                    <a:pt x="14493" y="5778"/>
                  </a:lnTo>
                  <a:lnTo>
                    <a:pt x="14508" y="5751"/>
                  </a:lnTo>
                  <a:lnTo>
                    <a:pt x="14522" y="5724"/>
                  </a:lnTo>
                  <a:lnTo>
                    <a:pt x="14535" y="5696"/>
                  </a:lnTo>
                  <a:lnTo>
                    <a:pt x="14548" y="5668"/>
                  </a:lnTo>
                  <a:lnTo>
                    <a:pt x="14560" y="5640"/>
                  </a:lnTo>
                  <a:lnTo>
                    <a:pt x="14572" y="5611"/>
                  </a:lnTo>
                  <a:lnTo>
                    <a:pt x="14582" y="5583"/>
                  </a:lnTo>
                  <a:lnTo>
                    <a:pt x="14592" y="5554"/>
                  </a:lnTo>
                  <a:lnTo>
                    <a:pt x="14602" y="5525"/>
                  </a:lnTo>
                  <a:lnTo>
                    <a:pt x="14610" y="5494"/>
                  </a:lnTo>
                  <a:lnTo>
                    <a:pt x="14618" y="5465"/>
                  </a:lnTo>
                  <a:lnTo>
                    <a:pt x="14625" y="5435"/>
                  </a:lnTo>
                  <a:lnTo>
                    <a:pt x="14631" y="5405"/>
                  </a:lnTo>
                  <a:lnTo>
                    <a:pt x="14637" y="5373"/>
                  </a:lnTo>
                  <a:lnTo>
                    <a:pt x="14642" y="5343"/>
                  </a:lnTo>
                  <a:lnTo>
                    <a:pt x="14646" y="5312"/>
                  </a:lnTo>
                  <a:lnTo>
                    <a:pt x="14649" y="5282"/>
                  </a:lnTo>
                  <a:lnTo>
                    <a:pt x="14652" y="5250"/>
                  </a:lnTo>
                  <a:lnTo>
                    <a:pt x="14654" y="5219"/>
                  </a:lnTo>
                  <a:lnTo>
                    <a:pt x="14656" y="5187"/>
                  </a:lnTo>
                  <a:lnTo>
                    <a:pt x="14656" y="5156"/>
                  </a:lnTo>
                  <a:lnTo>
                    <a:pt x="14656" y="5124"/>
                  </a:lnTo>
                  <a:lnTo>
                    <a:pt x="14654" y="5092"/>
                  </a:lnTo>
                  <a:lnTo>
                    <a:pt x="14652" y="5061"/>
                  </a:lnTo>
                  <a:lnTo>
                    <a:pt x="14649" y="5030"/>
                  </a:lnTo>
                  <a:lnTo>
                    <a:pt x="14646" y="4999"/>
                  </a:lnTo>
                  <a:lnTo>
                    <a:pt x="14642" y="4968"/>
                  </a:lnTo>
                  <a:lnTo>
                    <a:pt x="14637" y="4938"/>
                  </a:lnTo>
                  <a:lnTo>
                    <a:pt x="14631" y="4908"/>
                  </a:lnTo>
                  <a:lnTo>
                    <a:pt x="14625" y="4877"/>
                  </a:lnTo>
                  <a:lnTo>
                    <a:pt x="14618" y="4847"/>
                  </a:lnTo>
                  <a:lnTo>
                    <a:pt x="14610" y="4817"/>
                  </a:lnTo>
                  <a:lnTo>
                    <a:pt x="14602" y="4788"/>
                  </a:lnTo>
                  <a:lnTo>
                    <a:pt x="14592" y="4758"/>
                  </a:lnTo>
                  <a:lnTo>
                    <a:pt x="14583" y="4729"/>
                  </a:lnTo>
                  <a:lnTo>
                    <a:pt x="14572" y="4701"/>
                  </a:lnTo>
                  <a:lnTo>
                    <a:pt x="14561" y="4672"/>
                  </a:lnTo>
                  <a:lnTo>
                    <a:pt x="14549" y="4643"/>
                  </a:lnTo>
                  <a:lnTo>
                    <a:pt x="14536" y="4616"/>
                  </a:lnTo>
                  <a:lnTo>
                    <a:pt x="14523" y="4589"/>
                  </a:lnTo>
                  <a:lnTo>
                    <a:pt x="14509" y="4562"/>
                  </a:lnTo>
                  <a:lnTo>
                    <a:pt x="14494" y="4534"/>
                  </a:lnTo>
                  <a:lnTo>
                    <a:pt x="14478" y="4508"/>
                  </a:lnTo>
                  <a:lnTo>
                    <a:pt x="14462" y="4482"/>
                  </a:lnTo>
                  <a:lnTo>
                    <a:pt x="14445" y="4456"/>
                  </a:lnTo>
                  <a:lnTo>
                    <a:pt x="14428" y="4431"/>
                  </a:lnTo>
                  <a:lnTo>
                    <a:pt x="14410" y="4405"/>
                  </a:lnTo>
                  <a:lnTo>
                    <a:pt x="14391" y="4381"/>
                  </a:lnTo>
                  <a:lnTo>
                    <a:pt x="14372" y="4357"/>
                  </a:lnTo>
                  <a:lnTo>
                    <a:pt x="14352" y="4333"/>
                  </a:lnTo>
                  <a:lnTo>
                    <a:pt x="14331" y="4310"/>
                  </a:lnTo>
                  <a:lnTo>
                    <a:pt x="14309" y="4287"/>
                  </a:lnTo>
                  <a:lnTo>
                    <a:pt x="14288" y="4265"/>
                  </a:lnTo>
                  <a:lnTo>
                    <a:pt x="10402" y="3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426" name="ïṥḻïḓê">
              <a:extLst>
                <a:ext uri="{FF2B5EF4-FFF2-40B4-BE49-F238E27FC236}">
                  <a16:creationId xmlns:a16="http://schemas.microsoft.com/office/drawing/2014/main" id="{75C9BA63-5D7C-4A04-B92F-7292736CB4C2}"/>
                </a:ext>
              </a:extLst>
            </p:cNvPr>
            <p:cNvSpPr/>
            <p:nvPr/>
          </p:nvSpPr>
          <p:spPr bwMode="auto">
            <a:xfrm>
              <a:off x="10735421" y="1355545"/>
              <a:ext cx="76924" cy="76924"/>
            </a:xfrm>
            <a:custGeom>
              <a:avLst/>
              <a:gdLst>
                <a:gd name="T0" fmla="*/ 1409 w 2514"/>
                <a:gd name="T1" fmla="*/ 519 h 2521"/>
                <a:gd name="T2" fmla="*/ 1584 w 2514"/>
                <a:gd name="T3" fmla="*/ 579 h 2521"/>
                <a:gd name="T4" fmla="*/ 1737 w 2514"/>
                <a:gd name="T5" fmla="*/ 677 h 2521"/>
                <a:gd name="T6" fmla="*/ 1862 w 2514"/>
                <a:gd name="T7" fmla="*/ 808 h 2521"/>
                <a:gd name="T8" fmla="*/ 1952 w 2514"/>
                <a:gd name="T9" fmla="*/ 966 h 2521"/>
                <a:gd name="T10" fmla="*/ 2002 w 2514"/>
                <a:gd name="T11" fmla="*/ 1145 h 2521"/>
                <a:gd name="T12" fmla="*/ 2007 w 2514"/>
                <a:gd name="T13" fmla="*/ 1338 h 2521"/>
                <a:gd name="T14" fmla="*/ 1966 w 2514"/>
                <a:gd name="T15" fmla="*/ 1520 h 2521"/>
                <a:gd name="T16" fmla="*/ 1883 w 2514"/>
                <a:gd name="T17" fmla="*/ 1683 h 2521"/>
                <a:gd name="T18" fmla="*/ 1765 w 2514"/>
                <a:gd name="T19" fmla="*/ 1820 h 2521"/>
                <a:gd name="T20" fmla="*/ 1617 w 2514"/>
                <a:gd name="T21" fmla="*/ 1925 h 2521"/>
                <a:gd name="T22" fmla="*/ 1446 w 2514"/>
                <a:gd name="T23" fmla="*/ 1992 h 2521"/>
                <a:gd name="T24" fmla="*/ 1257 w 2514"/>
                <a:gd name="T25" fmla="*/ 2017 h 2521"/>
                <a:gd name="T26" fmla="*/ 1069 w 2514"/>
                <a:gd name="T27" fmla="*/ 1992 h 2521"/>
                <a:gd name="T28" fmla="*/ 897 w 2514"/>
                <a:gd name="T29" fmla="*/ 1925 h 2521"/>
                <a:gd name="T30" fmla="*/ 750 w 2514"/>
                <a:gd name="T31" fmla="*/ 1820 h 2521"/>
                <a:gd name="T32" fmla="*/ 631 w 2514"/>
                <a:gd name="T33" fmla="*/ 1683 h 2521"/>
                <a:gd name="T34" fmla="*/ 549 w 2514"/>
                <a:gd name="T35" fmla="*/ 1520 h 2521"/>
                <a:gd name="T36" fmla="*/ 507 w 2514"/>
                <a:gd name="T37" fmla="*/ 1338 h 2521"/>
                <a:gd name="T38" fmla="*/ 512 w 2514"/>
                <a:gd name="T39" fmla="*/ 1145 h 2521"/>
                <a:gd name="T40" fmla="*/ 562 w 2514"/>
                <a:gd name="T41" fmla="*/ 966 h 2521"/>
                <a:gd name="T42" fmla="*/ 652 w 2514"/>
                <a:gd name="T43" fmla="*/ 808 h 2521"/>
                <a:gd name="T44" fmla="*/ 777 w 2514"/>
                <a:gd name="T45" fmla="*/ 677 h 2521"/>
                <a:gd name="T46" fmla="*/ 930 w 2514"/>
                <a:gd name="T47" fmla="*/ 579 h 2521"/>
                <a:gd name="T48" fmla="*/ 1105 w 2514"/>
                <a:gd name="T49" fmla="*/ 519 h 2521"/>
                <a:gd name="T50" fmla="*/ 1257 w 2514"/>
                <a:gd name="T51" fmla="*/ 2521 h 2521"/>
                <a:gd name="T52" fmla="*/ 1571 w 2514"/>
                <a:gd name="T53" fmla="*/ 2481 h 2521"/>
                <a:gd name="T54" fmla="*/ 1856 w 2514"/>
                <a:gd name="T55" fmla="*/ 2368 h 2521"/>
                <a:gd name="T56" fmla="*/ 2102 w 2514"/>
                <a:gd name="T57" fmla="*/ 2193 h 2521"/>
                <a:gd name="T58" fmla="*/ 2299 w 2514"/>
                <a:gd name="T59" fmla="*/ 1964 h 2521"/>
                <a:gd name="T60" fmla="*/ 2438 w 2514"/>
                <a:gd name="T61" fmla="*/ 1693 h 2521"/>
                <a:gd name="T62" fmla="*/ 2508 w 2514"/>
                <a:gd name="T63" fmla="*/ 1389 h 2521"/>
                <a:gd name="T64" fmla="*/ 2500 w 2514"/>
                <a:gd name="T65" fmla="*/ 1069 h 2521"/>
                <a:gd name="T66" fmla="*/ 2416 w 2514"/>
                <a:gd name="T67" fmla="*/ 770 h 2521"/>
                <a:gd name="T68" fmla="*/ 2264 w 2514"/>
                <a:gd name="T69" fmla="*/ 506 h 2521"/>
                <a:gd name="T70" fmla="*/ 2057 w 2514"/>
                <a:gd name="T71" fmla="*/ 288 h 2521"/>
                <a:gd name="T72" fmla="*/ 1801 w 2514"/>
                <a:gd name="T73" fmla="*/ 124 h 2521"/>
                <a:gd name="T74" fmla="*/ 1510 w 2514"/>
                <a:gd name="T75" fmla="*/ 25 h 2521"/>
                <a:gd name="T76" fmla="*/ 1193 w 2514"/>
                <a:gd name="T77" fmla="*/ 2 h 2521"/>
                <a:gd name="T78" fmla="*/ 884 w 2514"/>
                <a:gd name="T79" fmla="*/ 56 h 2521"/>
                <a:gd name="T80" fmla="*/ 606 w 2514"/>
                <a:gd name="T81" fmla="*/ 182 h 2521"/>
                <a:gd name="T82" fmla="*/ 369 w 2514"/>
                <a:gd name="T83" fmla="*/ 369 h 2521"/>
                <a:gd name="T84" fmla="*/ 182 w 2514"/>
                <a:gd name="T85" fmla="*/ 607 h 2521"/>
                <a:gd name="T86" fmla="*/ 57 w 2514"/>
                <a:gd name="T87" fmla="*/ 886 h 2521"/>
                <a:gd name="T88" fmla="*/ 2 w 2514"/>
                <a:gd name="T89" fmla="*/ 1196 h 2521"/>
                <a:gd name="T90" fmla="*/ 26 w 2514"/>
                <a:gd name="T91" fmla="*/ 1514 h 2521"/>
                <a:gd name="T92" fmla="*/ 124 w 2514"/>
                <a:gd name="T93" fmla="*/ 1806 h 2521"/>
                <a:gd name="T94" fmla="*/ 287 w 2514"/>
                <a:gd name="T95" fmla="*/ 2062 h 2521"/>
                <a:gd name="T96" fmla="*/ 506 w 2514"/>
                <a:gd name="T97" fmla="*/ 2270 h 2521"/>
                <a:gd name="T98" fmla="*/ 768 w 2514"/>
                <a:gd name="T99" fmla="*/ 2422 h 2521"/>
                <a:gd name="T100" fmla="*/ 1066 w 2514"/>
                <a:gd name="T101" fmla="*/ 2507 h 2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14" h="2521">
                  <a:moveTo>
                    <a:pt x="1257" y="504"/>
                  </a:moveTo>
                  <a:lnTo>
                    <a:pt x="1296" y="505"/>
                  </a:lnTo>
                  <a:lnTo>
                    <a:pt x="1334" y="508"/>
                  </a:lnTo>
                  <a:lnTo>
                    <a:pt x="1372" y="513"/>
                  </a:lnTo>
                  <a:lnTo>
                    <a:pt x="1409" y="519"/>
                  </a:lnTo>
                  <a:lnTo>
                    <a:pt x="1446" y="528"/>
                  </a:lnTo>
                  <a:lnTo>
                    <a:pt x="1481" y="538"/>
                  </a:lnTo>
                  <a:lnTo>
                    <a:pt x="1517" y="551"/>
                  </a:lnTo>
                  <a:lnTo>
                    <a:pt x="1551" y="564"/>
                  </a:lnTo>
                  <a:lnTo>
                    <a:pt x="1584" y="579"/>
                  </a:lnTo>
                  <a:lnTo>
                    <a:pt x="1617" y="596"/>
                  </a:lnTo>
                  <a:lnTo>
                    <a:pt x="1648" y="614"/>
                  </a:lnTo>
                  <a:lnTo>
                    <a:pt x="1679" y="633"/>
                  </a:lnTo>
                  <a:lnTo>
                    <a:pt x="1709" y="654"/>
                  </a:lnTo>
                  <a:lnTo>
                    <a:pt x="1737" y="677"/>
                  </a:lnTo>
                  <a:lnTo>
                    <a:pt x="1765" y="701"/>
                  </a:lnTo>
                  <a:lnTo>
                    <a:pt x="1791" y="726"/>
                  </a:lnTo>
                  <a:lnTo>
                    <a:pt x="1815" y="752"/>
                  </a:lnTo>
                  <a:lnTo>
                    <a:pt x="1839" y="779"/>
                  </a:lnTo>
                  <a:lnTo>
                    <a:pt x="1862" y="808"/>
                  </a:lnTo>
                  <a:lnTo>
                    <a:pt x="1883" y="838"/>
                  </a:lnTo>
                  <a:lnTo>
                    <a:pt x="1903" y="868"/>
                  </a:lnTo>
                  <a:lnTo>
                    <a:pt x="1921" y="900"/>
                  </a:lnTo>
                  <a:lnTo>
                    <a:pt x="1937" y="933"/>
                  </a:lnTo>
                  <a:lnTo>
                    <a:pt x="1952" y="966"/>
                  </a:lnTo>
                  <a:lnTo>
                    <a:pt x="1966" y="1000"/>
                  </a:lnTo>
                  <a:lnTo>
                    <a:pt x="1977" y="1035"/>
                  </a:lnTo>
                  <a:lnTo>
                    <a:pt x="1988" y="1072"/>
                  </a:lnTo>
                  <a:lnTo>
                    <a:pt x="1996" y="1108"/>
                  </a:lnTo>
                  <a:lnTo>
                    <a:pt x="2002" y="1145"/>
                  </a:lnTo>
                  <a:lnTo>
                    <a:pt x="2007" y="1183"/>
                  </a:lnTo>
                  <a:lnTo>
                    <a:pt x="2010" y="1221"/>
                  </a:lnTo>
                  <a:lnTo>
                    <a:pt x="2011" y="1260"/>
                  </a:lnTo>
                  <a:lnTo>
                    <a:pt x="2010" y="1300"/>
                  </a:lnTo>
                  <a:lnTo>
                    <a:pt x="2007" y="1338"/>
                  </a:lnTo>
                  <a:lnTo>
                    <a:pt x="2002" y="1375"/>
                  </a:lnTo>
                  <a:lnTo>
                    <a:pt x="1996" y="1413"/>
                  </a:lnTo>
                  <a:lnTo>
                    <a:pt x="1988" y="1449"/>
                  </a:lnTo>
                  <a:lnTo>
                    <a:pt x="1977" y="1485"/>
                  </a:lnTo>
                  <a:lnTo>
                    <a:pt x="1966" y="1520"/>
                  </a:lnTo>
                  <a:lnTo>
                    <a:pt x="1952" y="1555"/>
                  </a:lnTo>
                  <a:lnTo>
                    <a:pt x="1937" y="1588"/>
                  </a:lnTo>
                  <a:lnTo>
                    <a:pt x="1921" y="1620"/>
                  </a:lnTo>
                  <a:lnTo>
                    <a:pt x="1903" y="1653"/>
                  </a:lnTo>
                  <a:lnTo>
                    <a:pt x="1883" y="1683"/>
                  </a:lnTo>
                  <a:lnTo>
                    <a:pt x="1862" y="1713"/>
                  </a:lnTo>
                  <a:lnTo>
                    <a:pt x="1839" y="1741"/>
                  </a:lnTo>
                  <a:lnTo>
                    <a:pt x="1815" y="1768"/>
                  </a:lnTo>
                  <a:lnTo>
                    <a:pt x="1791" y="1795"/>
                  </a:lnTo>
                  <a:lnTo>
                    <a:pt x="1765" y="1820"/>
                  </a:lnTo>
                  <a:lnTo>
                    <a:pt x="1737" y="1844"/>
                  </a:lnTo>
                  <a:lnTo>
                    <a:pt x="1709" y="1866"/>
                  </a:lnTo>
                  <a:lnTo>
                    <a:pt x="1679" y="1887"/>
                  </a:lnTo>
                  <a:lnTo>
                    <a:pt x="1648" y="1907"/>
                  </a:lnTo>
                  <a:lnTo>
                    <a:pt x="1617" y="1925"/>
                  </a:lnTo>
                  <a:lnTo>
                    <a:pt x="1584" y="1942"/>
                  </a:lnTo>
                  <a:lnTo>
                    <a:pt x="1551" y="1957"/>
                  </a:lnTo>
                  <a:lnTo>
                    <a:pt x="1517" y="1970"/>
                  </a:lnTo>
                  <a:lnTo>
                    <a:pt x="1481" y="1982"/>
                  </a:lnTo>
                  <a:lnTo>
                    <a:pt x="1446" y="1992"/>
                  </a:lnTo>
                  <a:lnTo>
                    <a:pt x="1409" y="2001"/>
                  </a:lnTo>
                  <a:lnTo>
                    <a:pt x="1372" y="2007"/>
                  </a:lnTo>
                  <a:lnTo>
                    <a:pt x="1334" y="2012"/>
                  </a:lnTo>
                  <a:lnTo>
                    <a:pt x="1296" y="2015"/>
                  </a:lnTo>
                  <a:lnTo>
                    <a:pt x="1257" y="2017"/>
                  </a:lnTo>
                  <a:lnTo>
                    <a:pt x="1219" y="2015"/>
                  </a:lnTo>
                  <a:lnTo>
                    <a:pt x="1180" y="2012"/>
                  </a:lnTo>
                  <a:lnTo>
                    <a:pt x="1142" y="2007"/>
                  </a:lnTo>
                  <a:lnTo>
                    <a:pt x="1105" y="2001"/>
                  </a:lnTo>
                  <a:lnTo>
                    <a:pt x="1069" y="1992"/>
                  </a:lnTo>
                  <a:lnTo>
                    <a:pt x="1033" y="1982"/>
                  </a:lnTo>
                  <a:lnTo>
                    <a:pt x="997" y="1970"/>
                  </a:lnTo>
                  <a:lnTo>
                    <a:pt x="963" y="1957"/>
                  </a:lnTo>
                  <a:lnTo>
                    <a:pt x="930" y="1942"/>
                  </a:lnTo>
                  <a:lnTo>
                    <a:pt x="897" y="1925"/>
                  </a:lnTo>
                  <a:lnTo>
                    <a:pt x="866" y="1907"/>
                  </a:lnTo>
                  <a:lnTo>
                    <a:pt x="835" y="1887"/>
                  </a:lnTo>
                  <a:lnTo>
                    <a:pt x="805" y="1866"/>
                  </a:lnTo>
                  <a:lnTo>
                    <a:pt x="777" y="1844"/>
                  </a:lnTo>
                  <a:lnTo>
                    <a:pt x="750" y="1820"/>
                  </a:lnTo>
                  <a:lnTo>
                    <a:pt x="724" y="1795"/>
                  </a:lnTo>
                  <a:lnTo>
                    <a:pt x="699" y="1768"/>
                  </a:lnTo>
                  <a:lnTo>
                    <a:pt x="675" y="1741"/>
                  </a:lnTo>
                  <a:lnTo>
                    <a:pt x="652" y="1713"/>
                  </a:lnTo>
                  <a:lnTo>
                    <a:pt x="631" y="1683"/>
                  </a:lnTo>
                  <a:lnTo>
                    <a:pt x="612" y="1653"/>
                  </a:lnTo>
                  <a:lnTo>
                    <a:pt x="594" y="1620"/>
                  </a:lnTo>
                  <a:lnTo>
                    <a:pt x="577" y="1588"/>
                  </a:lnTo>
                  <a:lnTo>
                    <a:pt x="562" y="1555"/>
                  </a:lnTo>
                  <a:lnTo>
                    <a:pt x="549" y="1520"/>
                  </a:lnTo>
                  <a:lnTo>
                    <a:pt x="537" y="1485"/>
                  </a:lnTo>
                  <a:lnTo>
                    <a:pt x="527" y="1449"/>
                  </a:lnTo>
                  <a:lnTo>
                    <a:pt x="518" y="1413"/>
                  </a:lnTo>
                  <a:lnTo>
                    <a:pt x="512" y="1375"/>
                  </a:lnTo>
                  <a:lnTo>
                    <a:pt x="507" y="1338"/>
                  </a:lnTo>
                  <a:lnTo>
                    <a:pt x="504" y="1300"/>
                  </a:lnTo>
                  <a:lnTo>
                    <a:pt x="503" y="1260"/>
                  </a:lnTo>
                  <a:lnTo>
                    <a:pt x="504" y="1221"/>
                  </a:lnTo>
                  <a:lnTo>
                    <a:pt x="507" y="1183"/>
                  </a:lnTo>
                  <a:lnTo>
                    <a:pt x="512" y="1145"/>
                  </a:lnTo>
                  <a:lnTo>
                    <a:pt x="518" y="1108"/>
                  </a:lnTo>
                  <a:lnTo>
                    <a:pt x="527" y="1072"/>
                  </a:lnTo>
                  <a:lnTo>
                    <a:pt x="537" y="1035"/>
                  </a:lnTo>
                  <a:lnTo>
                    <a:pt x="549" y="1000"/>
                  </a:lnTo>
                  <a:lnTo>
                    <a:pt x="562" y="966"/>
                  </a:lnTo>
                  <a:lnTo>
                    <a:pt x="577" y="933"/>
                  </a:lnTo>
                  <a:lnTo>
                    <a:pt x="594" y="900"/>
                  </a:lnTo>
                  <a:lnTo>
                    <a:pt x="612" y="868"/>
                  </a:lnTo>
                  <a:lnTo>
                    <a:pt x="631" y="838"/>
                  </a:lnTo>
                  <a:lnTo>
                    <a:pt x="652" y="808"/>
                  </a:lnTo>
                  <a:lnTo>
                    <a:pt x="675" y="779"/>
                  </a:lnTo>
                  <a:lnTo>
                    <a:pt x="699" y="752"/>
                  </a:lnTo>
                  <a:lnTo>
                    <a:pt x="724" y="726"/>
                  </a:lnTo>
                  <a:lnTo>
                    <a:pt x="750" y="701"/>
                  </a:lnTo>
                  <a:lnTo>
                    <a:pt x="777" y="677"/>
                  </a:lnTo>
                  <a:lnTo>
                    <a:pt x="805" y="654"/>
                  </a:lnTo>
                  <a:lnTo>
                    <a:pt x="835" y="633"/>
                  </a:lnTo>
                  <a:lnTo>
                    <a:pt x="866" y="614"/>
                  </a:lnTo>
                  <a:lnTo>
                    <a:pt x="897" y="596"/>
                  </a:lnTo>
                  <a:lnTo>
                    <a:pt x="930" y="579"/>
                  </a:lnTo>
                  <a:lnTo>
                    <a:pt x="963" y="564"/>
                  </a:lnTo>
                  <a:lnTo>
                    <a:pt x="997" y="551"/>
                  </a:lnTo>
                  <a:lnTo>
                    <a:pt x="1033" y="538"/>
                  </a:lnTo>
                  <a:lnTo>
                    <a:pt x="1069" y="528"/>
                  </a:lnTo>
                  <a:lnTo>
                    <a:pt x="1105" y="519"/>
                  </a:lnTo>
                  <a:lnTo>
                    <a:pt x="1142" y="513"/>
                  </a:lnTo>
                  <a:lnTo>
                    <a:pt x="1180" y="508"/>
                  </a:lnTo>
                  <a:lnTo>
                    <a:pt x="1219" y="505"/>
                  </a:lnTo>
                  <a:lnTo>
                    <a:pt x="1257" y="504"/>
                  </a:lnTo>
                  <a:close/>
                  <a:moveTo>
                    <a:pt x="1257" y="2521"/>
                  </a:moveTo>
                  <a:lnTo>
                    <a:pt x="1321" y="2519"/>
                  </a:lnTo>
                  <a:lnTo>
                    <a:pt x="1386" y="2515"/>
                  </a:lnTo>
                  <a:lnTo>
                    <a:pt x="1448" y="2507"/>
                  </a:lnTo>
                  <a:lnTo>
                    <a:pt x="1510" y="2495"/>
                  </a:lnTo>
                  <a:lnTo>
                    <a:pt x="1571" y="2481"/>
                  </a:lnTo>
                  <a:lnTo>
                    <a:pt x="1630" y="2464"/>
                  </a:lnTo>
                  <a:lnTo>
                    <a:pt x="1689" y="2444"/>
                  </a:lnTo>
                  <a:lnTo>
                    <a:pt x="1746" y="2422"/>
                  </a:lnTo>
                  <a:lnTo>
                    <a:pt x="1801" y="2396"/>
                  </a:lnTo>
                  <a:lnTo>
                    <a:pt x="1856" y="2368"/>
                  </a:lnTo>
                  <a:lnTo>
                    <a:pt x="1909" y="2338"/>
                  </a:lnTo>
                  <a:lnTo>
                    <a:pt x="1959" y="2305"/>
                  </a:lnTo>
                  <a:lnTo>
                    <a:pt x="2008" y="2270"/>
                  </a:lnTo>
                  <a:lnTo>
                    <a:pt x="2057" y="2232"/>
                  </a:lnTo>
                  <a:lnTo>
                    <a:pt x="2102" y="2193"/>
                  </a:lnTo>
                  <a:lnTo>
                    <a:pt x="2145" y="2151"/>
                  </a:lnTo>
                  <a:lnTo>
                    <a:pt x="2187" y="2107"/>
                  </a:lnTo>
                  <a:lnTo>
                    <a:pt x="2227" y="2062"/>
                  </a:lnTo>
                  <a:lnTo>
                    <a:pt x="2264" y="2013"/>
                  </a:lnTo>
                  <a:lnTo>
                    <a:pt x="2299" y="1964"/>
                  </a:lnTo>
                  <a:lnTo>
                    <a:pt x="2332" y="1914"/>
                  </a:lnTo>
                  <a:lnTo>
                    <a:pt x="2363" y="1860"/>
                  </a:lnTo>
                  <a:lnTo>
                    <a:pt x="2391" y="1806"/>
                  </a:lnTo>
                  <a:lnTo>
                    <a:pt x="2416" y="1750"/>
                  </a:lnTo>
                  <a:lnTo>
                    <a:pt x="2438" y="1693"/>
                  </a:lnTo>
                  <a:lnTo>
                    <a:pt x="2458" y="1634"/>
                  </a:lnTo>
                  <a:lnTo>
                    <a:pt x="2475" y="1575"/>
                  </a:lnTo>
                  <a:lnTo>
                    <a:pt x="2489" y="1514"/>
                  </a:lnTo>
                  <a:lnTo>
                    <a:pt x="2500" y="1452"/>
                  </a:lnTo>
                  <a:lnTo>
                    <a:pt x="2508" y="1389"/>
                  </a:lnTo>
                  <a:lnTo>
                    <a:pt x="2512" y="1325"/>
                  </a:lnTo>
                  <a:lnTo>
                    <a:pt x="2514" y="1260"/>
                  </a:lnTo>
                  <a:lnTo>
                    <a:pt x="2512" y="1196"/>
                  </a:lnTo>
                  <a:lnTo>
                    <a:pt x="2508" y="1131"/>
                  </a:lnTo>
                  <a:lnTo>
                    <a:pt x="2500" y="1069"/>
                  </a:lnTo>
                  <a:lnTo>
                    <a:pt x="2489" y="1006"/>
                  </a:lnTo>
                  <a:lnTo>
                    <a:pt x="2475" y="946"/>
                  </a:lnTo>
                  <a:lnTo>
                    <a:pt x="2458" y="886"/>
                  </a:lnTo>
                  <a:lnTo>
                    <a:pt x="2438" y="828"/>
                  </a:lnTo>
                  <a:lnTo>
                    <a:pt x="2416" y="770"/>
                  </a:lnTo>
                  <a:lnTo>
                    <a:pt x="2391" y="714"/>
                  </a:lnTo>
                  <a:lnTo>
                    <a:pt x="2363" y="659"/>
                  </a:lnTo>
                  <a:lnTo>
                    <a:pt x="2332" y="607"/>
                  </a:lnTo>
                  <a:lnTo>
                    <a:pt x="2299" y="556"/>
                  </a:lnTo>
                  <a:lnTo>
                    <a:pt x="2264" y="506"/>
                  </a:lnTo>
                  <a:lnTo>
                    <a:pt x="2227" y="459"/>
                  </a:lnTo>
                  <a:lnTo>
                    <a:pt x="2187" y="413"/>
                  </a:lnTo>
                  <a:lnTo>
                    <a:pt x="2145" y="369"/>
                  </a:lnTo>
                  <a:lnTo>
                    <a:pt x="2102" y="328"/>
                  </a:lnTo>
                  <a:lnTo>
                    <a:pt x="2057" y="288"/>
                  </a:lnTo>
                  <a:lnTo>
                    <a:pt x="2008" y="251"/>
                  </a:lnTo>
                  <a:lnTo>
                    <a:pt x="1959" y="216"/>
                  </a:lnTo>
                  <a:lnTo>
                    <a:pt x="1909" y="182"/>
                  </a:lnTo>
                  <a:lnTo>
                    <a:pt x="1856" y="152"/>
                  </a:lnTo>
                  <a:lnTo>
                    <a:pt x="1801" y="124"/>
                  </a:lnTo>
                  <a:lnTo>
                    <a:pt x="1746" y="99"/>
                  </a:lnTo>
                  <a:lnTo>
                    <a:pt x="1689" y="77"/>
                  </a:lnTo>
                  <a:lnTo>
                    <a:pt x="1630" y="56"/>
                  </a:lnTo>
                  <a:lnTo>
                    <a:pt x="1571" y="39"/>
                  </a:lnTo>
                  <a:lnTo>
                    <a:pt x="1510" y="25"/>
                  </a:lnTo>
                  <a:lnTo>
                    <a:pt x="1448" y="14"/>
                  </a:lnTo>
                  <a:lnTo>
                    <a:pt x="1386" y="6"/>
                  </a:lnTo>
                  <a:lnTo>
                    <a:pt x="1321" y="2"/>
                  </a:lnTo>
                  <a:lnTo>
                    <a:pt x="1257" y="0"/>
                  </a:lnTo>
                  <a:lnTo>
                    <a:pt x="1193" y="2"/>
                  </a:lnTo>
                  <a:lnTo>
                    <a:pt x="1129" y="6"/>
                  </a:lnTo>
                  <a:lnTo>
                    <a:pt x="1066" y="14"/>
                  </a:lnTo>
                  <a:lnTo>
                    <a:pt x="1004" y="25"/>
                  </a:lnTo>
                  <a:lnTo>
                    <a:pt x="943" y="39"/>
                  </a:lnTo>
                  <a:lnTo>
                    <a:pt x="884" y="56"/>
                  </a:lnTo>
                  <a:lnTo>
                    <a:pt x="825" y="77"/>
                  </a:lnTo>
                  <a:lnTo>
                    <a:pt x="768" y="99"/>
                  </a:lnTo>
                  <a:lnTo>
                    <a:pt x="713" y="124"/>
                  </a:lnTo>
                  <a:lnTo>
                    <a:pt x="658" y="152"/>
                  </a:lnTo>
                  <a:lnTo>
                    <a:pt x="606" y="182"/>
                  </a:lnTo>
                  <a:lnTo>
                    <a:pt x="555" y="216"/>
                  </a:lnTo>
                  <a:lnTo>
                    <a:pt x="506" y="251"/>
                  </a:lnTo>
                  <a:lnTo>
                    <a:pt x="458" y="288"/>
                  </a:lnTo>
                  <a:lnTo>
                    <a:pt x="412" y="328"/>
                  </a:lnTo>
                  <a:lnTo>
                    <a:pt x="369" y="369"/>
                  </a:lnTo>
                  <a:lnTo>
                    <a:pt x="326" y="413"/>
                  </a:lnTo>
                  <a:lnTo>
                    <a:pt x="287" y="459"/>
                  </a:lnTo>
                  <a:lnTo>
                    <a:pt x="250" y="506"/>
                  </a:lnTo>
                  <a:lnTo>
                    <a:pt x="215" y="556"/>
                  </a:lnTo>
                  <a:lnTo>
                    <a:pt x="182" y="607"/>
                  </a:lnTo>
                  <a:lnTo>
                    <a:pt x="151" y="659"/>
                  </a:lnTo>
                  <a:lnTo>
                    <a:pt x="124" y="714"/>
                  </a:lnTo>
                  <a:lnTo>
                    <a:pt x="99" y="770"/>
                  </a:lnTo>
                  <a:lnTo>
                    <a:pt x="76" y="828"/>
                  </a:lnTo>
                  <a:lnTo>
                    <a:pt x="57" y="886"/>
                  </a:lnTo>
                  <a:lnTo>
                    <a:pt x="40" y="946"/>
                  </a:lnTo>
                  <a:lnTo>
                    <a:pt x="26" y="1006"/>
                  </a:lnTo>
                  <a:lnTo>
                    <a:pt x="15" y="1069"/>
                  </a:lnTo>
                  <a:lnTo>
                    <a:pt x="7" y="1131"/>
                  </a:lnTo>
                  <a:lnTo>
                    <a:pt x="2" y="1196"/>
                  </a:lnTo>
                  <a:lnTo>
                    <a:pt x="0" y="1260"/>
                  </a:lnTo>
                  <a:lnTo>
                    <a:pt x="2" y="1325"/>
                  </a:lnTo>
                  <a:lnTo>
                    <a:pt x="7" y="1389"/>
                  </a:lnTo>
                  <a:lnTo>
                    <a:pt x="15" y="1452"/>
                  </a:lnTo>
                  <a:lnTo>
                    <a:pt x="26" y="1514"/>
                  </a:lnTo>
                  <a:lnTo>
                    <a:pt x="40" y="1575"/>
                  </a:lnTo>
                  <a:lnTo>
                    <a:pt x="57" y="1634"/>
                  </a:lnTo>
                  <a:lnTo>
                    <a:pt x="76" y="1693"/>
                  </a:lnTo>
                  <a:lnTo>
                    <a:pt x="99" y="1750"/>
                  </a:lnTo>
                  <a:lnTo>
                    <a:pt x="124" y="1806"/>
                  </a:lnTo>
                  <a:lnTo>
                    <a:pt x="151" y="1860"/>
                  </a:lnTo>
                  <a:lnTo>
                    <a:pt x="182" y="1914"/>
                  </a:lnTo>
                  <a:lnTo>
                    <a:pt x="215" y="1964"/>
                  </a:lnTo>
                  <a:lnTo>
                    <a:pt x="250" y="2013"/>
                  </a:lnTo>
                  <a:lnTo>
                    <a:pt x="287" y="2062"/>
                  </a:lnTo>
                  <a:lnTo>
                    <a:pt x="326" y="2107"/>
                  </a:lnTo>
                  <a:lnTo>
                    <a:pt x="369" y="2151"/>
                  </a:lnTo>
                  <a:lnTo>
                    <a:pt x="412" y="2193"/>
                  </a:lnTo>
                  <a:lnTo>
                    <a:pt x="458" y="2232"/>
                  </a:lnTo>
                  <a:lnTo>
                    <a:pt x="506" y="2270"/>
                  </a:lnTo>
                  <a:lnTo>
                    <a:pt x="555" y="2305"/>
                  </a:lnTo>
                  <a:lnTo>
                    <a:pt x="606" y="2338"/>
                  </a:lnTo>
                  <a:lnTo>
                    <a:pt x="658" y="2368"/>
                  </a:lnTo>
                  <a:lnTo>
                    <a:pt x="713" y="2396"/>
                  </a:lnTo>
                  <a:lnTo>
                    <a:pt x="768" y="2422"/>
                  </a:lnTo>
                  <a:lnTo>
                    <a:pt x="825" y="2444"/>
                  </a:lnTo>
                  <a:lnTo>
                    <a:pt x="884" y="2464"/>
                  </a:lnTo>
                  <a:lnTo>
                    <a:pt x="943" y="2481"/>
                  </a:lnTo>
                  <a:lnTo>
                    <a:pt x="1004" y="2495"/>
                  </a:lnTo>
                  <a:lnTo>
                    <a:pt x="1066" y="2507"/>
                  </a:lnTo>
                  <a:lnTo>
                    <a:pt x="1129" y="2515"/>
                  </a:lnTo>
                  <a:lnTo>
                    <a:pt x="1193" y="2519"/>
                  </a:lnTo>
                  <a:lnTo>
                    <a:pt x="1257" y="25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427" name="îsļïdé">
              <a:extLst>
                <a:ext uri="{FF2B5EF4-FFF2-40B4-BE49-F238E27FC236}">
                  <a16:creationId xmlns:a16="http://schemas.microsoft.com/office/drawing/2014/main" id="{79C55524-CE16-4C78-B87B-26D78E822D96}"/>
                </a:ext>
              </a:extLst>
            </p:cNvPr>
            <p:cNvSpPr/>
            <p:nvPr/>
          </p:nvSpPr>
          <p:spPr bwMode="auto">
            <a:xfrm>
              <a:off x="10935651" y="1108935"/>
              <a:ext cx="76924" cy="76924"/>
            </a:xfrm>
            <a:custGeom>
              <a:avLst/>
              <a:gdLst>
                <a:gd name="T0" fmla="*/ 1106 w 2515"/>
                <a:gd name="T1" fmla="*/ 2001 h 2521"/>
                <a:gd name="T2" fmla="*/ 931 w 2515"/>
                <a:gd name="T3" fmla="*/ 1942 h 2521"/>
                <a:gd name="T4" fmla="*/ 778 w 2515"/>
                <a:gd name="T5" fmla="*/ 1844 h 2521"/>
                <a:gd name="T6" fmla="*/ 653 w 2515"/>
                <a:gd name="T7" fmla="*/ 1713 h 2521"/>
                <a:gd name="T8" fmla="*/ 562 w 2515"/>
                <a:gd name="T9" fmla="*/ 1555 h 2521"/>
                <a:gd name="T10" fmla="*/ 512 w 2515"/>
                <a:gd name="T11" fmla="*/ 1375 h 2521"/>
                <a:gd name="T12" fmla="*/ 507 w 2515"/>
                <a:gd name="T13" fmla="*/ 1183 h 2521"/>
                <a:gd name="T14" fmla="*/ 548 w 2515"/>
                <a:gd name="T15" fmla="*/ 1000 h 2521"/>
                <a:gd name="T16" fmla="*/ 632 w 2515"/>
                <a:gd name="T17" fmla="*/ 838 h 2521"/>
                <a:gd name="T18" fmla="*/ 751 w 2515"/>
                <a:gd name="T19" fmla="*/ 701 h 2521"/>
                <a:gd name="T20" fmla="*/ 897 w 2515"/>
                <a:gd name="T21" fmla="*/ 596 h 2521"/>
                <a:gd name="T22" fmla="*/ 1068 w 2515"/>
                <a:gd name="T23" fmla="*/ 528 h 2521"/>
                <a:gd name="T24" fmla="*/ 1258 w 2515"/>
                <a:gd name="T25" fmla="*/ 504 h 2521"/>
                <a:gd name="T26" fmla="*/ 1447 w 2515"/>
                <a:gd name="T27" fmla="*/ 528 h 2521"/>
                <a:gd name="T28" fmla="*/ 1618 w 2515"/>
                <a:gd name="T29" fmla="*/ 596 h 2521"/>
                <a:gd name="T30" fmla="*/ 1765 w 2515"/>
                <a:gd name="T31" fmla="*/ 701 h 2521"/>
                <a:gd name="T32" fmla="*/ 1883 w 2515"/>
                <a:gd name="T33" fmla="*/ 838 h 2521"/>
                <a:gd name="T34" fmla="*/ 1967 w 2515"/>
                <a:gd name="T35" fmla="*/ 1000 h 2521"/>
                <a:gd name="T36" fmla="*/ 2008 w 2515"/>
                <a:gd name="T37" fmla="*/ 1183 h 2521"/>
                <a:gd name="T38" fmla="*/ 2003 w 2515"/>
                <a:gd name="T39" fmla="*/ 1375 h 2521"/>
                <a:gd name="T40" fmla="*/ 1953 w 2515"/>
                <a:gd name="T41" fmla="*/ 1555 h 2521"/>
                <a:gd name="T42" fmla="*/ 1862 w 2515"/>
                <a:gd name="T43" fmla="*/ 1713 h 2521"/>
                <a:gd name="T44" fmla="*/ 1737 w 2515"/>
                <a:gd name="T45" fmla="*/ 1844 h 2521"/>
                <a:gd name="T46" fmla="*/ 1585 w 2515"/>
                <a:gd name="T47" fmla="*/ 1942 h 2521"/>
                <a:gd name="T48" fmla="*/ 1409 w 2515"/>
                <a:gd name="T49" fmla="*/ 2001 h 2521"/>
                <a:gd name="T50" fmla="*/ 1258 w 2515"/>
                <a:gd name="T51" fmla="*/ 0 h 2521"/>
                <a:gd name="T52" fmla="*/ 944 w 2515"/>
                <a:gd name="T53" fmla="*/ 39 h 2521"/>
                <a:gd name="T54" fmla="*/ 659 w 2515"/>
                <a:gd name="T55" fmla="*/ 152 h 2521"/>
                <a:gd name="T56" fmla="*/ 413 w 2515"/>
                <a:gd name="T57" fmla="*/ 328 h 2521"/>
                <a:gd name="T58" fmla="*/ 215 w 2515"/>
                <a:gd name="T59" fmla="*/ 556 h 2521"/>
                <a:gd name="T60" fmla="*/ 77 w 2515"/>
                <a:gd name="T61" fmla="*/ 827 h 2521"/>
                <a:gd name="T62" fmla="*/ 7 w 2515"/>
                <a:gd name="T63" fmla="*/ 1131 h 2521"/>
                <a:gd name="T64" fmla="*/ 14 w 2515"/>
                <a:gd name="T65" fmla="*/ 1452 h 2521"/>
                <a:gd name="T66" fmla="*/ 99 w 2515"/>
                <a:gd name="T67" fmla="*/ 1750 h 2521"/>
                <a:gd name="T68" fmla="*/ 251 w 2515"/>
                <a:gd name="T69" fmla="*/ 2014 h 2521"/>
                <a:gd name="T70" fmla="*/ 458 w 2515"/>
                <a:gd name="T71" fmla="*/ 2232 h 2521"/>
                <a:gd name="T72" fmla="*/ 713 w 2515"/>
                <a:gd name="T73" fmla="*/ 2397 h 2521"/>
                <a:gd name="T74" fmla="*/ 1004 w 2515"/>
                <a:gd name="T75" fmla="*/ 2495 h 2521"/>
                <a:gd name="T76" fmla="*/ 1322 w 2515"/>
                <a:gd name="T77" fmla="*/ 2519 h 2521"/>
                <a:gd name="T78" fmla="*/ 1631 w 2515"/>
                <a:gd name="T79" fmla="*/ 2464 h 2521"/>
                <a:gd name="T80" fmla="*/ 1908 w 2515"/>
                <a:gd name="T81" fmla="*/ 2338 h 2521"/>
                <a:gd name="T82" fmla="*/ 2146 w 2515"/>
                <a:gd name="T83" fmla="*/ 2152 h 2521"/>
                <a:gd name="T84" fmla="*/ 2333 w 2515"/>
                <a:gd name="T85" fmla="*/ 1914 h 2521"/>
                <a:gd name="T86" fmla="*/ 2459 w 2515"/>
                <a:gd name="T87" fmla="*/ 1634 h 2521"/>
                <a:gd name="T88" fmla="*/ 2513 w 2515"/>
                <a:gd name="T89" fmla="*/ 1325 h 2521"/>
                <a:gd name="T90" fmla="*/ 2490 w 2515"/>
                <a:gd name="T91" fmla="*/ 1006 h 2521"/>
                <a:gd name="T92" fmla="*/ 2390 w 2515"/>
                <a:gd name="T93" fmla="*/ 714 h 2521"/>
                <a:gd name="T94" fmla="*/ 2227 w 2515"/>
                <a:gd name="T95" fmla="*/ 459 h 2521"/>
                <a:gd name="T96" fmla="*/ 2009 w 2515"/>
                <a:gd name="T97" fmla="*/ 251 h 2521"/>
                <a:gd name="T98" fmla="*/ 1746 w 2515"/>
                <a:gd name="T99" fmla="*/ 99 h 2521"/>
                <a:gd name="T100" fmla="*/ 1449 w 2515"/>
                <a:gd name="T101" fmla="*/ 14 h 2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15" h="2521">
                  <a:moveTo>
                    <a:pt x="1258" y="2017"/>
                  </a:moveTo>
                  <a:lnTo>
                    <a:pt x="1218" y="2015"/>
                  </a:lnTo>
                  <a:lnTo>
                    <a:pt x="1180" y="2012"/>
                  </a:lnTo>
                  <a:lnTo>
                    <a:pt x="1143" y="2007"/>
                  </a:lnTo>
                  <a:lnTo>
                    <a:pt x="1106" y="2001"/>
                  </a:lnTo>
                  <a:lnTo>
                    <a:pt x="1068" y="1992"/>
                  </a:lnTo>
                  <a:lnTo>
                    <a:pt x="1033" y="1982"/>
                  </a:lnTo>
                  <a:lnTo>
                    <a:pt x="998" y="1970"/>
                  </a:lnTo>
                  <a:lnTo>
                    <a:pt x="964" y="1957"/>
                  </a:lnTo>
                  <a:lnTo>
                    <a:pt x="931" y="1942"/>
                  </a:lnTo>
                  <a:lnTo>
                    <a:pt x="897" y="1925"/>
                  </a:lnTo>
                  <a:lnTo>
                    <a:pt x="866" y="1907"/>
                  </a:lnTo>
                  <a:lnTo>
                    <a:pt x="836" y="1887"/>
                  </a:lnTo>
                  <a:lnTo>
                    <a:pt x="806" y="1866"/>
                  </a:lnTo>
                  <a:lnTo>
                    <a:pt x="778" y="1844"/>
                  </a:lnTo>
                  <a:lnTo>
                    <a:pt x="751" y="1820"/>
                  </a:lnTo>
                  <a:lnTo>
                    <a:pt x="723" y="1795"/>
                  </a:lnTo>
                  <a:lnTo>
                    <a:pt x="699" y="1768"/>
                  </a:lnTo>
                  <a:lnTo>
                    <a:pt x="675" y="1741"/>
                  </a:lnTo>
                  <a:lnTo>
                    <a:pt x="653" y="1713"/>
                  </a:lnTo>
                  <a:lnTo>
                    <a:pt x="632" y="1683"/>
                  </a:lnTo>
                  <a:lnTo>
                    <a:pt x="612" y="1653"/>
                  </a:lnTo>
                  <a:lnTo>
                    <a:pt x="594" y="1620"/>
                  </a:lnTo>
                  <a:lnTo>
                    <a:pt x="578" y="1588"/>
                  </a:lnTo>
                  <a:lnTo>
                    <a:pt x="562" y="1555"/>
                  </a:lnTo>
                  <a:lnTo>
                    <a:pt x="548" y="1520"/>
                  </a:lnTo>
                  <a:lnTo>
                    <a:pt x="537" y="1485"/>
                  </a:lnTo>
                  <a:lnTo>
                    <a:pt x="527" y="1449"/>
                  </a:lnTo>
                  <a:lnTo>
                    <a:pt x="518" y="1413"/>
                  </a:lnTo>
                  <a:lnTo>
                    <a:pt x="512" y="1375"/>
                  </a:lnTo>
                  <a:lnTo>
                    <a:pt x="507" y="1338"/>
                  </a:lnTo>
                  <a:lnTo>
                    <a:pt x="504" y="1299"/>
                  </a:lnTo>
                  <a:lnTo>
                    <a:pt x="503" y="1260"/>
                  </a:lnTo>
                  <a:lnTo>
                    <a:pt x="504" y="1221"/>
                  </a:lnTo>
                  <a:lnTo>
                    <a:pt x="507" y="1183"/>
                  </a:lnTo>
                  <a:lnTo>
                    <a:pt x="512" y="1145"/>
                  </a:lnTo>
                  <a:lnTo>
                    <a:pt x="518" y="1108"/>
                  </a:lnTo>
                  <a:lnTo>
                    <a:pt x="527" y="1072"/>
                  </a:lnTo>
                  <a:lnTo>
                    <a:pt x="537" y="1035"/>
                  </a:lnTo>
                  <a:lnTo>
                    <a:pt x="548" y="1000"/>
                  </a:lnTo>
                  <a:lnTo>
                    <a:pt x="562" y="966"/>
                  </a:lnTo>
                  <a:lnTo>
                    <a:pt x="578" y="933"/>
                  </a:lnTo>
                  <a:lnTo>
                    <a:pt x="594" y="900"/>
                  </a:lnTo>
                  <a:lnTo>
                    <a:pt x="612" y="868"/>
                  </a:lnTo>
                  <a:lnTo>
                    <a:pt x="632" y="838"/>
                  </a:lnTo>
                  <a:lnTo>
                    <a:pt x="653" y="808"/>
                  </a:lnTo>
                  <a:lnTo>
                    <a:pt x="675" y="779"/>
                  </a:lnTo>
                  <a:lnTo>
                    <a:pt x="699" y="752"/>
                  </a:lnTo>
                  <a:lnTo>
                    <a:pt x="723" y="726"/>
                  </a:lnTo>
                  <a:lnTo>
                    <a:pt x="751" y="701"/>
                  </a:lnTo>
                  <a:lnTo>
                    <a:pt x="778" y="677"/>
                  </a:lnTo>
                  <a:lnTo>
                    <a:pt x="806" y="654"/>
                  </a:lnTo>
                  <a:lnTo>
                    <a:pt x="836" y="633"/>
                  </a:lnTo>
                  <a:lnTo>
                    <a:pt x="866" y="614"/>
                  </a:lnTo>
                  <a:lnTo>
                    <a:pt x="897" y="596"/>
                  </a:lnTo>
                  <a:lnTo>
                    <a:pt x="931" y="579"/>
                  </a:lnTo>
                  <a:lnTo>
                    <a:pt x="964" y="564"/>
                  </a:lnTo>
                  <a:lnTo>
                    <a:pt x="998" y="549"/>
                  </a:lnTo>
                  <a:lnTo>
                    <a:pt x="1033" y="538"/>
                  </a:lnTo>
                  <a:lnTo>
                    <a:pt x="1068" y="528"/>
                  </a:lnTo>
                  <a:lnTo>
                    <a:pt x="1106" y="519"/>
                  </a:lnTo>
                  <a:lnTo>
                    <a:pt x="1143" y="513"/>
                  </a:lnTo>
                  <a:lnTo>
                    <a:pt x="1180" y="508"/>
                  </a:lnTo>
                  <a:lnTo>
                    <a:pt x="1218" y="505"/>
                  </a:lnTo>
                  <a:lnTo>
                    <a:pt x="1258" y="504"/>
                  </a:lnTo>
                  <a:lnTo>
                    <a:pt x="1297" y="505"/>
                  </a:lnTo>
                  <a:lnTo>
                    <a:pt x="1335" y="508"/>
                  </a:lnTo>
                  <a:lnTo>
                    <a:pt x="1372" y="513"/>
                  </a:lnTo>
                  <a:lnTo>
                    <a:pt x="1409" y="519"/>
                  </a:lnTo>
                  <a:lnTo>
                    <a:pt x="1447" y="528"/>
                  </a:lnTo>
                  <a:lnTo>
                    <a:pt x="1482" y="538"/>
                  </a:lnTo>
                  <a:lnTo>
                    <a:pt x="1517" y="549"/>
                  </a:lnTo>
                  <a:lnTo>
                    <a:pt x="1551" y="564"/>
                  </a:lnTo>
                  <a:lnTo>
                    <a:pt x="1585" y="579"/>
                  </a:lnTo>
                  <a:lnTo>
                    <a:pt x="1618" y="596"/>
                  </a:lnTo>
                  <a:lnTo>
                    <a:pt x="1649" y="614"/>
                  </a:lnTo>
                  <a:lnTo>
                    <a:pt x="1679" y="633"/>
                  </a:lnTo>
                  <a:lnTo>
                    <a:pt x="1709" y="654"/>
                  </a:lnTo>
                  <a:lnTo>
                    <a:pt x="1737" y="677"/>
                  </a:lnTo>
                  <a:lnTo>
                    <a:pt x="1765" y="701"/>
                  </a:lnTo>
                  <a:lnTo>
                    <a:pt x="1791" y="726"/>
                  </a:lnTo>
                  <a:lnTo>
                    <a:pt x="1816" y="752"/>
                  </a:lnTo>
                  <a:lnTo>
                    <a:pt x="1840" y="779"/>
                  </a:lnTo>
                  <a:lnTo>
                    <a:pt x="1862" y="808"/>
                  </a:lnTo>
                  <a:lnTo>
                    <a:pt x="1883" y="838"/>
                  </a:lnTo>
                  <a:lnTo>
                    <a:pt x="1902" y="868"/>
                  </a:lnTo>
                  <a:lnTo>
                    <a:pt x="1920" y="900"/>
                  </a:lnTo>
                  <a:lnTo>
                    <a:pt x="1938" y="933"/>
                  </a:lnTo>
                  <a:lnTo>
                    <a:pt x="1953" y="966"/>
                  </a:lnTo>
                  <a:lnTo>
                    <a:pt x="1967" y="1000"/>
                  </a:lnTo>
                  <a:lnTo>
                    <a:pt x="1978" y="1035"/>
                  </a:lnTo>
                  <a:lnTo>
                    <a:pt x="1988" y="1072"/>
                  </a:lnTo>
                  <a:lnTo>
                    <a:pt x="1997" y="1108"/>
                  </a:lnTo>
                  <a:lnTo>
                    <a:pt x="2003" y="1145"/>
                  </a:lnTo>
                  <a:lnTo>
                    <a:pt x="2008" y="1183"/>
                  </a:lnTo>
                  <a:lnTo>
                    <a:pt x="2011" y="1221"/>
                  </a:lnTo>
                  <a:lnTo>
                    <a:pt x="2012" y="1260"/>
                  </a:lnTo>
                  <a:lnTo>
                    <a:pt x="2011" y="1299"/>
                  </a:lnTo>
                  <a:lnTo>
                    <a:pt x="2008" y="1338"/>
                  </a:lnTo>
                  <a:lnTo>
                    <a:pt x="2003" y="1375"/>
                  </a:lnTo>
                  <a:lnTo>
                    <a:pt x="1997" y="1413"/>
                  </a:lnTo>
                  <a:lnTo>
                    <a:pt x="1988" y="1449"/>
                  </a:lnTo>
                  <a:lnTo>
                    <a:pt x="1978" y="1485"/>
                  </a:lnTo>
                  <a:lnTo>
                    <a:pt x="1967" y="1520"/>
                  </a:lnTo>
                  <a:lnTo>
                    <a:pt x="1953" y="1555"/>
                  </a:lnTo>
                  <a:lnTo>
                    <a:pt x="1938" y="1588"/>
                  </a:lnTo>
                  <a:lnTo>
                    <a:pt x="1920" y="1620"/>
                  </a:lnTo>
                  <a:lnTo>
                    <a:pt x="1902" y="1653"/>
                  </a:lnTo>
                  <a:lnTo>
                    <a:pt x="1883" y="1683"/>
                  </a:lnTo>
                  <a:lnTo>
                    <a:pt x="1862" y="1713"/>
                  </a:lnTo>
                  <a:lnTo>
                    <a:pt x="1840" y="1741"/>
                  </a:lnTo>
                  <a:lnTo>
                    <a:pt x="1816" y="1768"/>
                  </a:lnTo>
                  <a:lnTo>
                    <a:pt x="1791" y="1795"/>
                  </a:lnTo>
                  <a:lnTo>
                    <a:pt x="1765" y="1820"/>
                  </a:lnTo>
                  <a:lnTo>
                    <a:pt x="1737" y="1844"/>
                  </a:lnTo>
                  <a:lnTo>
                    <a:pt x="1709" y="1866"/>
                  </a:lnTo>
                  <a:lnTo>
                    <a:pt x="1679" y="1887"/>
                  </a:lnTo>
                  <a:lnTo>
                    <a:pt x="1649" y="1907"/>
                  </a:lnTo>
                  <a:lnTo>
                    <a:pt x="1618" y="1925"/>
                  </a:lnTo>
                  <a:lnTo>
                    <a:pt x="1585" y="1942"/>
                  </a:lnTo>
                  <a:lnTo>
                    <a:pt x="1551" y="1957"/>
                  </a:lnTo>
                  <a:lnTo>
                    <a:pt x="1517" y="1970"/>
                  </a:lnTo>
                  <a:lnTo>
                    <a:pt x="1482" y="1982"/>
                  </a:lnTo>
                  <a:lnTo>
                    <a:pt x="1447" y="1992"/>
                  </a:lnTo>
                  <a:lnTo>
                    <a:pt x="1409" y="2001"/>
                  </a:lnTo>
                  <a:lnTo>
                    <a:pt x="1372" y="2007"/>
                  </a:lnTo>
                  <a:lnTo>
                    <a:pt x="1335" y="2012"/>
                  </a:lnTo>
                  <a:lnTo>
                    <a:pt x="1297" y="2015"/>
                  </a:lnTo>
                  <a:lnTo>
                    <a:pt x="1258" y="2017"/>
                  </a:lnTo>
                  <a:close/>
                  <a:moveTo>
                    <a:pt x="1258" y="0"/>
                  </a:moveTo>
                  <a:lnTo>
                    <a:pt x="1193" y="2"/>
                  </a:lnTo>
                  <a:lnTo>
                    <a:pt x="1129" y="6"/>
                  </a:lnTo>
                  <a:lnTo>
                    <a:pt x="1066" y="14"/>
                  </a:lnTo>
                  <a:lnTo>
                    <a:pt x="1004" y="25"/>
                  </a:lnTo>
                  <a:lnTo>
                    <a:pt x="944" y="39"/>
                  </a:lnTo>
                  <a:lnTo>
                    <a:pt x="884" y="56"/>
                  </a:lnTo>
                  <a:lnTo>
                    <a:pt x="826" y="77"/>
                  </a:lnTo>
                  <a:lnTo>
                    <a:pt x="769" y="99"/>
                  </a:lnTo>
                  <a:lnTo>
                    <a:pt x="713" y="124"/>
                  </a:lnTo>
                  <a:lnTo>
                    <a:pt x="659" y="152"/>
                  </a:lnTo>
                  <a:lnTo>
                    <a:pt x="606" y="182"/>
                  </a:lnTo>
                  <a:lnTo>
                    <a:pt x="555" y="216"/>
                  </a:lnTo>
                  <a:lnTo>
                    <a:pt x="506" y="251"/>
                  </a:lnTo>
                  <a:lnTo>
                    <a:pt x="458" y="288"/>
                  </a:lnTo>
                  <a:lnTo>
                    <a:pt x="413" y="328"/>
                  </a:lnTo>
                  <a:lnTo>
                    <a:pt x="369" y="369"/>
                  </a:lnTo>
                  <a:lnTo>
                    <a:pt x="327" y="413"/>
                  </a:lnTo>
                  <a:lnTo>
                    <a:pt x="288" y="459"/>
                  </a:lnTo>
                  <a:lnTo>
                    <a:pt x="251" y="506"/>
                  </a:lnTo>
                  <a:lnTo>
                    <a:pt x="215" y="556"/>
                  </a:lnTo>
                  <a:lnTo>
                    <a:pt x="182" y="607"/>
                  </a:lnTo>
                  <a:lnTo>
                    <a:pt x="152" y="659"/>
                  </a:lnTo>
                  <a:lnTo>
                    <a:pt x="124" y="714"/>
                  </a:lnTo>
                  <a:lnTo>
                    <a:pt x="99" y="770"/>
                  </a:lnTo>
                  <a:lnTo>
                    <a:pt x="77" y="827"/>
                  </a:lnTo>
                  <a:lnTo>
                    <a:pt x="56" y="886"/>
                  </a:lnTo>
                  <a:lnTo>
                    <a:pt x="39" y="946"/>
                  </a:lnTo>
                  <a:lnTo>
                    <a:pt x="25" y="1006"/>
                  </a:lnTo>
                  <a:lnTo>
                    <a:pt x="14" y="1069"/>
                  </a:lnTo>
                  <a:lnTo>
                    <a:pt x="7" y="1131"/>
                  </a:lnTo>
                  <a:lnTo>
                    <a:pt x="2" y="1196"/>
                  </a:lnTo>
                  <a:lnTo>
                    <a:pt x="0" y="1260"/>
                  </a:lnTo>
                  <a:lnTo>
                    <a:pt x="2" y="1325"/>
                  </a:lnTo>
                  <a:lnTo>
                    <a:pt x="7" y="1389"/>
                  </a:lnTo>
                  <a:lnTo>
                    <a:pt x="14" y="1452"/>
                  </a:lnTo>
                  <a:lnTo>
                    <a:pt x="25" y="1514"/>
                  </a:lnTo>
                  <a:lnTo>
                    <a:pt x="39" y="1575"/>
                  </a:lnTo>
                  <a:lnTo>
                    <a:pt x="56" y="1634"/>
                  </a:lnTo>
                  <a:lnTo>
                    <a:pt x="77" y="1693"/>
                  </a:lnTo>
                  <a:lnTo>
                    <a:pt x="99" y="1750"/>
                  </a:lnTo>
                  <a:lnTo>
                    <a:pt x="124" y="1806"/>
                  </a:lnTo>
                  <a:lnTo>
                    <a:pt x="152" y="1860"/>
                  </a:lnTo>
                  <a:lnTo>
                    <a:pt x="182" y="1914"/>
                  </a:lnTo>
                  <a:lnTo>
                    <a:pt x="215" y="1964"/>
                  </a:lnTo>
                  <a:lnTo>
                    <a:pt x="251" y="2014"/>
                  </a:lnTo>
                  <a:lnTo>
                    <a:pt x="288" y="2062"/>
                  </a:lnTo>
                  <a:lnTo>
                    <a:pt x="327" y="2107"/>
                  </a:lnTo>
                  <a:lnTo>
                    <a:pt x="369" y="2152"/>
                  </a:lnTo>
                  <a:lnTo>
                    <a:pt x="413" y="2193"/>
                  </a:lnTo>
                  <a:lnTo>
                    <a:pt x="458" y="2232"/>
                  </a:lnTo>
                  <a:lnTo>
                    <a:pt x="506" y="2270"/>
                  </a:lnTo>
                  <a:lnTo>
                    <a:pt x="555" y="2305"/>
                  </a:lnTo>
                  <a:lnTo>
                    <a:pt x="606" y="2338"/>
                  </a:lnTo>
                  <a:lnTo>
                    <a:pt x="659" y="2368"/>
                  </a:lnTo>
                  <a:lnTo>
                    <a:pt x="713" y="2397"/>
                  </a:lnTo>
                  <a:lnTo>
                    <a:pt x="769" y="2422"/>
                  </a:lnTo>
                  <a:lnTo>
                    <a:pt x="826" y="2444"/>
                  </a:lnTo>
                  <a:lnTo>
                    <a:pt x="884" y="2464"/>
                  </a:lnTo>
                  <a:lnTo>
                    <a:pt x="944" y="2481"/>
                  </a:lnTo>
                  <a:lnTo>
                    <a:pt x="1004" y="2495"/>
                  </a:lnTo>
                  <a:lnTo>
                    <a:pt x="1066" y="2507"/>
                  </a:lnTo>
                  <a:lnTo>
                    <a:pt x="1129" y="2515"/>
                  </a:lnTo>
                  <a:lnTo>
                    <a:pt x="1193" y="2519"/>
                  </a:lnTo>
                  <a:lnTo>
                    <a:pt x="1258" y="2521"/>
                  </a:lnTo>
                  <a:lnTo>
                    <a:pt x="1322" y="2519"/>
                  </a:lnTo>
                  <a:lnTo>
                    <a:pt x="1385" y="2515"/>
                  </a:lnTo>
                  <a:lnTo>
                    <a:pt x="1449" y="2507"/>
                  </a:lnTo>
                  <a:lnTo>
                    <a:pt x="1510" y="2495"/>
                  </a:lnTo>
                  <a:lnTo>
                    <a:pt x="1571" y="2481"/>
                  </a:lnTo>
                  <a:lnTo>
                    <a:pt x="1631" y="2464"/>
                  </a:lnTo>
                  <a:lnTo>
                    <a:pt x="1689" y="2444"/>
                  </a:lnTo>
                  <a:lnTo>
                    <a:pt x="1746" y="2422"/>
                  </a:lnTo>
                  <a:lnTo>
                    <a:pt x="1802" y="2397"/>
                  </a:lnTo>
                  <a:lnTo>
                    <a:pt x="1856" y="2368"/>
                  </a:lnTo>
                  <a:lnTo>
                    <a:pt x="1908" y="2338"/>
                  </a:lnTo>
                  <a:lnTo>
                    <a:pt x="1960" y="2305"/>
                  </a:lnTo>
                  <a:lnTo>
                    <a:pt x="2009" y="2270"/>
                  </a:lnTo>
                  <a:lnTo>
                    <a:pt x="2056" y="2232"/>
                  </a:lnTo>
                  <a:lnTo>
                    <a:pt x="2103" y="2193"/>
                  </a:lnTo>
                  <a:lnTo>
                    <a:pt x="2146" y="2152"/>
                  </a:lnTo>
                  <a:lnTo>
                    <a:pt x="2188" y="2107"/>
                  </a:lnTo>
                  <a:lnTo>
                    <a:pt x="2227" y="2062"/>
                  </a:lnTo>
                  <a:lnTo>
                    <a:pt x="2265" y="2014"/>
                  </a:lnTo>
                  <a:lnTo>
                    <a:pt x="2300" y="1964"/>
                  </a:lnTo>
                  <a:lnTo>
                    <a:pt x="2333" y="1914"/>
                  </a:lnTo>
                  <a:lnTo>
                    <a:pt x="2363" y="1860"/>
                  </a:lnTo>
                  <a:lnTo>
                    <a:pt x="2390" y="1806"/>
                  </a:lnTo>
                  <a:lnTo>
                    <a:pt x="2416" y="1750"/>
                  </a:lnTo>
                  <a:lnTo>
                    <a:pt x="2439" y="1693"/>
                  </a:lnTo>
                  <a:lnTo>
                    <a:pt x="2459" y="1634"/>
                  </a:lnTo>
                  <a:lnTo>
                    <a:pt x="2476" y="1575"/>
                  </a:lnTo>
                  <a:lnTo>
                    <a:pt x="2490" y="1514"/>
                  </a:lnTo>
                  <a:lnTo>
                    <a:pt x="2501" y="1452"/>
                  </a:lnTo>
                  <a:lnTo>
                    <a:pt x="2508" y="1389"/>
                  </a:lnTo>
                  <a:lnTo>
                    <a:pt x="2513" y="1325"/>
                  </a:lnTo>
                  <a:lnTo>
                    <a:pt x="2515" y="1260"/>
                  </a:lnTo>
                  <a:lnTo>
                    <a:pt x="2513" y="1196"/>
                  </a:lnTo>
                  <a:lnTo>
                    <a:pt x="2508" y="1131"/>
                  </a:lnTo>
                  <a:lnTo>
                    <a:pt x="2501" y="1069"/>
                  </a:lnTo>
                  <a:lnTo>
                    <a:pt x="2490" y="1006"/>
                  </a:lnTo>
                  <a:lnTo>
                    <a:pt x="2476" y="946"/>
                  </a:lnTo>
                  <a:lnTo>
                    <a:pt x="2459" y="886"/>
                  </a:lnTo>
                  <a:lnTo>
                    <a:pt x="2439" y="827"/>
                  </a:lnTo>
                  <a:lnTo>
                    <a:pt x="2416" y="770"/>
                  </a:lnTo>
                  <a:lnTo>
                    <a:pt x="2390" y="714"/>
                  </a:lnTo>
                  <a:lnTo>
                    <a:pt x="2363" y="659"/>
                  </a:lnTo>
                  <a:lnTo>
                    <a:pt x="2333" y="607"/>
                  </a:lnTo>
                  <a:lnTo>
                    <a:pt x="2300" y="556"/>
                  </a:lnTo>
                  <a:lnTo>
                    <a:pt x="2265" y="506"/>
                  </a:lnTo>
                  <a:lnTo>
                    <a:pt x="2227" y="459"/>
                  </a:lnTo>
                  <a:lnTo>
                    <a:pt x="2188" y="413"/>
                  </a:lnTo>
                  <a:lnTo>
                    <a:pt x="2146" y="369"/>
                  </a:lnTo>
                  <a:lnTo>
                    <a:pt x="2103" y="328"/>
                  </a:lnTo>
                  <a:lnTo>
                    <a:pt x="2056" y="288"/>
                  </a:lnTo>
                  <a:lnTo>
                    <a:pt x="2009" y="251"/>
                  </a:lnTo>
                  <a:lnTo>
                    <a:pt x="1960" y="216"/>
                  </a:lnTo>
                  <a:lnTo>
                    <a:pt x="1908" y="182"/>
                  </a:lnTo>
                  <a:lnTo>
                    <a:pt x="1856" y="152"/>
                  </a:lnTo>
                  <a:lnTo>
                    <a:pt x="1802" y="124"/>
                  </a:lnTo>
                  <a:lnTo>
                    <a:pt x="1746" y="99"/>
                  </a:lnTo>
                  <a:lnTo>
                    <a:pt x="1689" y="77"/>
                  </a:lnTo>
                  <a:lnTo>
                    <a:pt x="1631" y="56"/>
                  </a:lnTo>
                  <a:lnTo>
                    <a:pt x="1571" y="39"/>
                  </a:lnTo>
                  <a:lnTo>
                    <a:pt x="1510" y="25"/>
                  </a:lnTo>
                  <a:lnTo>
                    <a:pt x="1449" y="14"/>
                  </a:lnTo>
                  <a:lnTo>
                    <a:pt x="1385" y="6"/>
                  </a:lnTo>
                  <a:lnTo>
                    <a:pt x="1322" y="2"/>
                  </a:lnTo>
                  <a:lnTo>
                    <a:pt x="125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428" name="ïšļîdè">
              <a:extLst>
                <a:ext uri="{FF2B5EF4-FFF2-40B4-BE49-F238E27FC236}">
                  <a16:creationId xmlns:a16="http://schemas.microsoft.com/office/drawing/2014/main" id="{94869437-A96E-4F9E-8346-12C2385F8F8C}"/>
                </a:ext>
              </a:extLst>
            </p:cNvPr>
            <p:cNvSpPr/>
            <p:nvPr/>
          </p:nvSpPr>
          <p:spPr bwMode="auto">
            <a:xfrm>
              <a:off x="10643791" y="1339708"/>
              <a:ext cx="61087" cy="62219"/>
            </a:xfrm>
            <a:custGeom>
              <a:avLst/>
              <a:gdLst>
                <a:gd name="T0" fmla="*/ 1107 w 2012"/>
                <a:gd name="T1" fmla="*/ 514 h 2016"/>
                <a:gd name="T2" fmla="*/ 1224 w 2012"/>
                <a:gd name="T3" fmla="*/ 553 h 2016"/>
                <a:gd name="T4" fmla="*/ 1326 w 2012"/>
                <a:gd name="T5" fmla="*/ 619 h 2016"/>
                <a:gd name="T6" fmla="*/ 1409 w 2012"/>
                <a:gd name="T7" fmla="*/ 707 h 2016"/>
                <a:gd name="T8" fmla="*/ 1469 w 2012"/>
                <a:gd name="T9" fmla="*/ 812 h 2016"/>
                <a:gd name="T10" fmla="*/ 1503 w 2012"/>
                <a:gd name="T11" fmla="*/ 931 h 2016"/>
                <a:gd name="T12" fmla="*/ 1507 w 2012"/>
                <a:gd name="T13" fmla="*/ 1060 h 2016"/>
                <a:gd name="T14" fmla="*/ 1478 w 2012"/>
                <a:gd name="T15" fmla="*/ 1182 h 2016"/>
                <a:gd name="T16" fmla="*/ 1423 w 2012"/>
                <a:gd name="T17" fmla="*/ 1290 h 2016"/>
                <a:gd name="T18" fmla="*/ 1344 w 2012"/>
                <a:gd name="T19" fmla="*/ 1381 h 2016"/>
                <a:gd name="T20" fmla="*/ 1245 w 2012"/>
                <a:gd name="T21" fmla="*/ 1452 h 2016"/>
                <a:gd name="T22" fmla="*/ 1131 w 2012"/>
                <a:gd name="T23" fmla="*/ 1496 h 2016"/>
                <a:gd name="T24" fmla="*/ 1006 w 2012"/>
                <a:gd name="T25" fmla="*/ 1512 h 2016"/>
                <a:gd name="T26" fmla="*/ 880 w 2012"/>
                <a:gd name="T27" fmla="*/ 1496 h 2016"/>
                <a:gd name="T28" fmla="*/ 766 w 2012"/>
                <a:gd name="T29" fmla="*/ 1452 h 2016"/>
                <a:gd name="T30" fmla="*/ 668 w 2012"/>
                <a:gd name="T31" fmla="*/ 1381 h 2016"/>
                <a:gd name="T32" fmla="*/ 589 w 2012"/>
                <a:gd name="T33" fmla="*/ 1290 h 2016"/>
                <a:gd name="T34" fmla="*/ 534 w 2012"/>
                <a:gd name="T35" fmla="*/ 1182 h 2016"/>
                <a:gd name="T36" fmla="*/ 506 w 2012"/>
                <a:gd name="T37" fmla="*/ 1060 h 2016"/>
                <a:gd name="T38" fmla="*/ 509 w 2012"/>
                <a:gd name="T39" fmla="*/ 931 h 2016"/>
                <a:gd name="T40" fmla="*/ 543 w 2012"/>
                <a:gd name="T41" fmla="*/ 812 h 2016"/>
                <a:gd name="T42" fmla="*/ 603 w 2012"/>
                <a:gd name="T43" fmla="*/ 707 h 2016"/>
                <a:gd name="T44" fmla="*/ 686 w 2012"/>
                <a:gd name="T45" fmla="*/ 619 h 2016"/>
                <a:gd name="T46" fmla="*/ 787 w 2012"/>
                <a:gd name="T47" fmla="*/ 553 h 2016"/>
                <a:gd name="T48" fmla="*/ 904 w 2012"/>
                <a:gd name="T49" fmla="*/ 514 h 2016"/>
                <a:gd name="T50" fmla="*/ 0 w 2012"/>
                <a:gd name="T51" fmla="*/ 1008 h 2016"/>
                <a:gd name="T52" fmla="*/ 32 w 2012"/>
                <a:gd name="T53" fmla="*/ 1260 h 2016"/>
                <a:gd name="T54" fmla="*/ 121 w 2012"/>
                <a:gd name="T55" fmla="*/ 1488 h 2016"/>
                <a:gd name="T56" fmla="*/ 261 w 2012"/>
                <a:gd name="T57" fmla="*/ 1686 h 2016"/>
                <a:gd name="T58" fmla="*/ 443 w 2012"/>
                <a:gd name="T59" fmla="*/ 1844 h 2016"/>
                <a:gd name="T60" fmla="*/ 661 w 2012"/>
                <a:gd name="T61" fmla="*/ 1955 h 2016"/>
                <a:gd name="T62" fmla="*/ 903 w 2012"/>
                <a:gd name="T63" fmla="*/ 2011 h 2016"/>
                <a:gd name="T64" fmla="*/ 1159 w 2012"/>
                <a:gd name="T65" fmla="*/ 2004 h 2016"/>
                <a:gd name="T66" fmla="*/ 1397 w 2012"/>
                <a:gd name="T67" fmla="*/ 1937 h 2016"/>
                <a:gd name="T68" fmla="*/ 1607 w 2012"/>
                <a:gd name="T69" fmla="*/ 1816 h 2016"/>
                <a:gd name="T70" fmla="*/ 1782 w 2012"/>
                <a:gd name="T71" fmla="*/ 1649 h 2016"/>
                <a:gd name="T72" fmla="*/ 1912 w 2012"/>
                <a:gd name="T73" fmla="*/ 1445 h 2016"/>
                <a:gd name="T74" fmla="*/ 1992 w 2012"/>
                <a:gd name="T75" fmla="*/ 1211 h 2016"/>
                <a:gd name="T76" fmla="*/ 2011 w 2012"/>
                <a:gd name="T77" fmla="*/ 957 h 2016"/>
                <a:gd name="T78" fmla="*/ 1966 w 2012"/>
                <a:gd name="T79" fmla="*/ 709 h 2016"/>
                <a:gd name="T80" fmla="*/ 1866 w 2012"/>
                <a:gd name="T81" fmla="*/ 486 h 2016"/>
                <a:gd name="T82" fmla="*/ 1717 w 2012"/>
                <a:gd name="T83" fmla="*/ 295 h 2016"/>
                <a:gd name="T84" fmla="*/ 1527 w 2012"/>
                <a:gd name="T85" fmla="*/ 146 h 2016"/>
                <a:gd name="T86" fmla="*/ 1304 w 2012"/>
                <a:gd name="T87" fmla="*/ 45 h 2016"/>
                <a:gd name="T88" fmla="*/ 1057 w 2012"/>
                <a:gd name="T89" fmla="*/ 1 h 2016"/>
                <a:gd name="T90" fmla="*/ 803 w 2012"/>
                <a:gd name="T91" fmla="*/ 20 h 2016"/>
                <a:gd name="T92" fmla="*/ 570 w 2012"/>
                <a:gd name="T93" fmla="*/ 100 h 2016"/>
                <a:gd name="T94" fmla="*/ 366 w 2012"/>
                <a:gd name="T95" fmla="*/ 231 h 2016"/>
                <a:gd name="T96" fmla="*/ 200 w 2012"/>
                <a:gd name="T97" fmla="*/ 405 h 2016"/>
                <a:gd name="T98" fmla="*/ 79 w 2012"/>
                <a:gd name="T99" fmla="*/ 616 h 2016"/>
                <a:gd name="T100" fmla="*/ 12 w 2012"/>
                <a:gd name="T101" fmla="*/ 855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012" h="2016">
                  <a:moveTo>
                    <a:pt x="1006" y="504"/>
                  </a:moveTo>
                  <a:lnTo>
                    <a:pt x="1032" y="505"/>
                  </a:lnTo>
                  <a:lnTo>
                    <a:pt x="1057" y="507"/>
                  </a:lnTo>
                  <a:lnTo>
                    <a:pt x="1082" y="510"/>
                  </a:lnTo>
                  <a:lnTo>
                    <a:pt x="1107" y="514"/>
                  </a:lnTo>
                  <a:lnTo>
                    <a:pt x="1131" y="520"/>
                  </a:lnTo>
                  <a:lnTo>
                    <a:pt x="1156" y="526"/>
                  </a:lnTo>
                  <a:lnTo>
                    <a:pt x="1179" y="534"/>
                  </a:lnTo>
                  <a:lnTo>
                    <a:pt x="1202" y="543"/>
                  </a:lnTo>
                  <a:lnTo>
                    <a:pt x="1224" y="553"/>
                  </a:lnTo>
                  <a:lnTo>
                    <a:pt x="1245" y="564"/>
                  </a:lnTo>
                  <a:lnTo>
                    <a:pt x="1266" y="577"/>
                  </a:lnTo>
                  <a:lnTo>
                    <a:pt x="1287" y="590"/>
                  </a:lnTo>
                  <a:lnTo>
                    <a:pt x="1306" y="604"/>
                  </a:lnTo>
                  <a:lnTo>
                    <a:pt x="1326" y="619"/>
                  </a:lnTo>
                  <a:lnTo>
                    <a:pt x="1344" y="635"/>
                  </a:lnTo>
                  <a:lnTo>
                    <a:pt x="1362" y="651"/>
                  </a:lnTo>
                  <a:lnTo>
                    <a:pt x="1378" y="669"/>
                  </a:lnTo>
                  <a:lnTo>
                    <a:pt x="1394" y="688"/>
                  </a:lnTo>
                  <a:lnTo>
                    <a:pt x="1409" y="707"/>
                  </a:lnTo>
                  <a:lnTo>
                    <a:pt x="1423" y="726"/>
                  </a:lnTo>
                  <a:lnTo>
                    <a:pt x="1436" y="747"/>
                  </a:lnTo>
                  <a:lnTo>
                    <a:pt x="1448" y="768"/>
                  </a:lnTo>
                  <a:lnTo>
                    <a:pt x="1459" y="789"/>
                  </a:lnTo>
                  <a:lnTo>
                    <a:pt x="1469" y="812"/>
                  </a:lnTo>
                  <a:lnTo>
                    <a:pt x="1478" y="835"/>
                  </a:lnTo>
                  <a:lnTo>
                    <a:pt x="1487" y="858"/>
                  </a:lnTo>
                  <a:lnTo>
                    <a:pt x="1493" y="882"/>
                  </a:lnTo>
                  <a:lnTo>
                    <a:pt x="1499" y="906"/>
                  </a:lnTo>
                  <a:lnTo>
                    <a:pt x="1503" y="931"/>
                  </a:lnTo>
                  <a:lnTo>
                    <a:pt x="1507" y="957"/>
                  </a:lnTo>
                  <a:lnTo>
                    <a:pt x="1508" y="982"/>
                  </a:lnTo>
                  <a:lnTo>
                    <a:pt x="1509" y="1008"/>
                  </a:lnTo>
                  <a:lnTo>
                    <a:pt x="1508" y="1034"/>
                  </a:lnTo>
                  <a:lnTo>
                    <a:pt x="1507" y="1060"/>
                  </a:lnTo>
                  <a:lnTo>
                    <a:pt x="1503" y="1085"/>
                  </a:lnTo>
                  <a:lnTo>
                    <a:pt x="1499" y="1110"/>
                  </a:lnTo>
                  <a:lnTo>
                    <a:pt x="1493" y="1134"/>
                  </a:lnTo>
                  <a:lnTo>
                    <a:pt x="1487" y="1158"/>
                  </a:lnTo>
                  <a:lnTo>
                    <a:pt x="1478" y="1182"/>
                  </a:lnTo>
                  <a:lnTo>
                    <a:pt x="1469" y="1205"/>
                  </a:lnTo>
                  <a:lnTo>
                    <a:pt x="1459" y="1227"/>
                  </a:lnTo>
                  <a:lnTo>
                    <a:pt x="1448" y="1248"/>
                  </a:lnTo>
                  <a:lnTo>
                    <a:pt x="1436" y="1269"/>
                  </a:lnTo>
                  <a:lnTo>
                    <a:pt x="1423" y="1290"/>
                  </a:lnTo>
                  <a:lnTo>
                    <a:pt x="1409" y="1310"/>
                  </a:lnTo>
                  <a:lnTo>
                    <a:pt x="1394" y="1329"/>
                  </a:lnTo>
                  <a:lnTo>
                    <a:pt x="1378" y="1347"/>
                  </a:lnTo>
                  <a:lnTo>
                    <a:pt x="1362" y="1365"/>
                  </a:lnTo>
                  <a:lnTo>
                    <a:pt x="1344" y="1381"/>
                  </a:lnTo>
                  <a:lnTo>
                    <a:pt x="1326" y="1397"/>
                  </a:lnTo>
                  <a:lnTo>
                    <a:pt x="1306" y="1412"/>
                  </a:lnTo>
                  <a:lnTo>
                    <a:pt x="1287" y="1427"/>
                  </a:lnTo>
                  <a:lnTo>
                    <a:pt x="1266" y="1440"/>
                  </a:lnTo>
                  <a:lnTo>
                    <a:pt x="1245" y="1452"/>
                  </a:lnTo>
                  <a:lnTo>
                    <a:pt x="1224" y="1463"/>
                  </a:lnTo>
                  <a:lnTo>
                    <a:pt x="1202" y="1473"/>
                  </a:lnTo>
                  <a:lnTo>
                    <a:pt x="1179" y="1482"/>
                  </a:lnTo>
                  <a:lnTo>
                    <a:pt x="1156" y="1490"/>
                  </a:lnTo>
                  <a:lnTo>
                    <a:pt x="1131" y="1496"/>
                  </a:lnTo>
                  <a:lnTo>
                    <a:pt x="1107" y="1502"/>
                  </a:lnTo>
                  <a:lnTo>
                    <a:pt x="1082" y="1506"/>
                  </a:lnTo>
                  <a:lnTo>
                    <a:pt x="1057" y="1509"/>
                  </a:lnTo>
                  <a:lnTo>
                    <a:pt x="1032" y="1511"/>
                  </a:lnTo>
                  <a:lnTo>
                    <a:pt x="1006" y="1512"/>
                  </a:lnTo>
                  <a:lnTo>
                    <a:pt x="980" y="1511"/>
                  </a:lnTo>
                  <a:lnTo>
                    <a:pt x="954" y="1509"/>
                  </a:lnTo>
                  <a:lnTo>
                    <a:pt x="929" y="1506"/>
                  </a:lnTo>
                  <a:lnTo>
                    <a:pt x="904" y="1502"/>
                  </a:lnTo>
                  <a:lnTo>
                    <a:pt x="880" y="1496"/>
                  </a:lnTo>
                  <a:lnTo>
                    <a:pt x="856" y="1490"/>
                  </a:lnTo>
                  <a:lnTo>
                    <a:pt x="833" y="1482"/>
                  </a:lnTo>
                  <a:lnTo>
                    <a:pt x="811" y="1473"/>
                  </a:lnTo>
                  <a:lnTo>
                    <a:pt x="787" y="1463"/>
                  </a:lnTo>
                  <a:lnTo>
                    <a:pt x="766" y="1452"/>
                  </a:lnTo>
                  <a:lnTo>
                    <a:pt x="745" y="1440"/>
                  </a:lnTo>
                  <a:lnTo>
                    <a:pt x="725" y="1427"/>
                  </a:lnTo>
                  <a:lnTo>
                    <a:pt x="705" y="1412"/>
                  </a:lnTo>
                  <a:lnTo>
                    <a:pt x="686" y="1397"/>
                  </a:lnTo>
                  <a:lnTo>
                    <a:pt x="668" y="1381"/>
                  </a:lnTo>
                  <a:lnTo>
                    <a:pt x="651" y="1365"/>
                  </a:lnTo>
                  <a:lnTo>
                    <a:pt x="633" y="1347"/>
                  </a:lnTo>
                  <a:lnTo>
                    <a:pt x="617" y="1329"/>
                  </a:lnTo>
                  <a:lnTo>
                    <a:pt x="603" y="1310"/>
                  </a:lnTo>
                  <a:lnTo>
                    <a:pt x="589" y="1290"/>
                  </a:lnTo>
                  <a:lnTo>
                    <a:pt x="576" y="1269"/>
                  </a:lnTo>
                  <a:lnTo>
                    <a:pt x="564" y="1248"/>
                  </a:lnTo>
                  <a:lnTo>
                    <a:pt x="553" y="1227"/>
                  </a:lnTo>
                  <a:lnTo>
                    <a:pt x="543" y="1205"/>
                  </a:lnTo>
                  <a:lnTo>
                    <a:pt x="534" y="1182"/>
                  </a:lnTo>
                  <a:lnTo>
                    <a:pt x="526" y="1158"/>
                  </a:lnTo>
                  <a:lnTo>
                    <a:pt x="519" y="1134"/>
                  </a:lnTo>
                  <a:lnTo>
                    <a:pt x="513" y="1110"/>
                  </a:lnTo>
                  <a:lnTo>
                    <a:pt x="509" y="1085"/>
                  </a:lnTo>
                  <a:lnTo>
                    <a:pt x="506" y="1060"/>
                  </a:lnTo>
                  <a:lnTo>
                    <a:pt x="504" y="1034"/>
                  </a:lnTo>
                  <a:lnTo>
                    <a:pt x="503" y="1008"/>
                  </a:lnTo>
                  <a:lnTo>
                    <a:pt x="504" y="982"/>
                  </a:lnTo>
                  <a:lnTo>
                    <a:pt x="506" y="957"/>
                  </a:lnTo>
                  <a:lnTo>
                    <a:pt x="509" y="931"/>
                  </a:lnTo>
                  <a:lnTo>
                    <a:pt x="513" y="906"/>
                  </a:lnTo>
                  <a:lnTo>
                    <a:pt x="519" y="882"/>
                  </a:lnTo>
                  <a:lnTo>
                    <a:pt x="526" y="858"/>
                  </a:lnTo>
                  <a:lnTo>
                    <a:pt x="534" y="835"/>
                  </a:lnTo>
                  <a:lnTo>
                    <a:pt x="543" y="812"/>
                  </a:lnTo>
                  <a:lnTo>
                    <a:pt x="553" y="789"/>
                  </a:lnTo>
                  <a:lnTo>
                    <a:pt x="564" y="768"/>
                  </a:lnTo>
                  <a:lnTo>
                    <a:pt x="576" y="747"/>
                  </a:lnTo>
                  <a:lnTo>
                    <a:pt x="589" y="726"/>
                  </a:lnTo>
                  <a:lnTo>
                    <a:pt x="603" y="707"/>
                  </a:lnTo>
                  <a:lnTo>
                    <a:pt x="617" y="688"/>
                  </a:lnTo>
                  <a:lnTo>
                    <a:pt x="633" y="669"/>
                  </a:lnTo>
                  <a:lnTo>
                    <a:pt x="651" y="651"/>
                  </a:lnTo>
                  <a:lnTo>
                    <a:pt x="668" y="635"/>
                  </a:lnTo>
                  <a:lnTo>
                    <a:pt x="686" y="619"/>
                  </a:lnTo>
                  <a:lnTo>
                    <a:pt x="705" y="604"/>
                  </a:lnTo>
                  <a:lnTo>
                    <a:pt x="725" y="590"/>
                  </a:lnTo>
                  <a:lnTo>
                    <a:pt x="745" y="577"/>
                  </a:lnTo>
                  <a:lnTo>
                    <a:pt x="766" y="564"/>
                  </a:lnTo>
                  <a:lnTo>
                    <a:pt x="787" y="553"/>
                  </a:lnTo>
                  <a:lnTo>
                    <a:pt x="811" y="543"/>
                  </a:lnTo>
                  <a:lnTo>
                    <a:pt x="833" y="534"/>
                  </a:lnTo>
                  <a:lnTo>
                    <a:pt x="856" y="526"/>
                  </a:lnTo>
                  <a:lnTo>
                    <a:pt x="880" y="520"/>
                  </a:lnTo>
                  <a:lnTo>
                    <a:pt x="904" y="514"/>
                  </a:lnTo>
                  <a:lnTo>
                    <a:pt x="929" y="510"/>
                  </a:lnTo>
                  <a:lnTo>
                    <a:pt x="954" y="507"/>
                  </a:lnTo>
                  <a:lnTo>
                    <a:pt x="980" y="505"/>
                  </a:lnTo>
                  <a:lnTo>
                    <a:pt x="1006" y="504"/>
                  </a:lnTo>
                  <a:close/>
                  <a:moveTo>
                    <a:pt x="0" y="1008"/>
                  </a:moveTo>
                  <a:lnTo>
                    <a:pt x="2" y="1060"/>
                  </a:lnTo>
                  <a:lnTo>
                    <a:pt x="5" y="1111"/>
                  </a:lnTo>
                  <a:lnTo>
                    <a:pt x="12" y="1161"/>
                  </a:lnTo>
                  <a:lnTo>
                    <a:pt x="21" y="1211"/>
                  </a:lnTo>
                  <a:lnTo>
                    <a:pt x="32" y="1260"/>
                  </a:lnTo>
                  <a:lnTo>
                    <a:pt x="45" y="1308"/>
                  </a:lnTo>
                  <a:lnTo>
                    <a:pt x="61" y="1355"/>
                  </a:lnTo>
                  <a:lnTo>
                    <a:pt x="79" y="1400"/>
                  </a:lnTo>
                  <a:lnTo>
                    <a:pt x="99" y="1445"/>
                  </a:lnTo>
                  <a:lnTo>
                    <a:pt x="121" y="1488"/>
                  </a:lnTo>
                  <a:lnTo>
                    <a:pt x="146" y="1530"/>
                  </a:lnTo>
                  <a:lnTo>
                    <a:pt x="172" y="1572"/>
                  </a:lnTo>
                  <a:lnTo>
                    <a:pt x="200" y="1611"/>
                  </a:lnTo>
                  <a:lnTo>
                    <a:pt x="230" y="1649"/>
                  </a:lnTo>
                  <a:lnTo>
                    <a:pt x="261" y="1686"/>
                  </a:lnTo>
                  <a:lnTo>
                    <a:pt x="294" y="1721"/>
                  </a:lnTo>
                  <a:lnTo>
                    <a:pt x="330" y="1754"/>
                  </a:lnTo>
                  <a:lnTo>
                    <a:pt x="366" y="1785"/>
                  </a:lnTo>
                  <a:lnTo>
                    <a:pt x="404" y="1816"/>
                  </a:lnTo>
                  <a:lnTo>
                    <a:pt x="443" y="1844"/>
                  </a:lnTo>
                  <a:lnTo>
                    <a:pt x="485" y="1870"/>
                  </a:lnTo>
                  <a:lnTo>
                    <a:pt x="527" y="1894"/>
                  </a:lnTo>
                  <a:lnTo>
                    <a:pt x="570" y="1917"/>
                  </a:lnTo>
                  <a:lnTo>
                    <a:pt x="614" y="1937"/>
                  </a:lnTo>
                  <a:lnTo>
                    <a:pt x="661" y="1955"/>
                  </a:lnTo>
                  <a:lnTo>
                    <a:pt x="707" y="1971"/>
                  </a:lnTo>
                  <a:lnTo>
                    <a:pt x="754" y="1984"/>
                  </a:lnTo>
                  <a:lnTo>
                    <a:pt x="803" y="1995"/>
                  </a:lnTo>
                  <a:lnTo>
                    <a:pt x="853" y="2004"/>
                  </a:lnTo>
                  <a:lnTo>
                    <a:pt x="903" y="2011"/>
                  </a:lnTo>
                  <a:lnTo>
                    <a:pt x="954" y="2015"/>
                  </a:lnTo>
                  <a:lnTo>
                    <a:pt x="1006" y="2016"/>
                  </a:lnTo>
                  <a:lnTo>
                    <a:pt x="1057" y="2015"/>
                  </a:lnTo>
                  <a:lnTo>
                    <a:pt x="1108" y="2011"/>
                  </a:lnTo>
                  <a:lnTo>
                    <a:pt x="1159" y="2004"/>
                  </a:lnTo>
                  <a:lnTo>
                    <a:pt x="1208" y="1995"/>
                  </a:lnTo>
                  <a:lnTo>
                    <a:pt x="1257" y="1984"/>
                  </a:lnTo>
                  <a:lnTo>
                    <a:pt x="1304" y="1971"/>
                  </a:lnTo>
                  <a:lnTo>
                    <a:pt x="1352" y="1955"/>
                  </a:lnTo>
                  <a:lnTo>
                    <a:pt x="1397" y="1937"/>
                  </a:lnTo>
                  <a:lnTo>
                    <a:pt x="1441" y="1917"/>
                  </a:lnTo>
                  <a:lnTo>
                    <a:pt x="1485" y="1894"/>
                  </a:lnTo>
                  <a:lnTo>
                    <a:pt x="1527" y="1870"/>
                  </a:lnTo>
                  <a:lnTo>
                    <a:pt x="1568" y="1844"/>
                  </a:lnTo>
                  <a:lnTo>
                    <a:pt x="1607" y="1816"/>
                  </a:lnTo>
                  <a:lnTo>
                    <a:pt x="1645" y="1785"/>
                  </a:lnTo>
                  <a:lnTo>
                    <a:pt x="1682" y="1754"/>
                  </a:lnTo>
                  <a:lnTo>
                    <a:pt x="1717" y="1721"/>
                  </a:lnTo>
                  <a:lnTo>
                    <a:pt x="1750" y="1686"/>
                  </a:lnTo>
                  <a:lnTo>
                    <a:pt x="1782" y="1649"/>
                  </a:lnTo>
                  <a:lnTo>
                    <a:pt x="1811" y="1611"/>
                  </a:lnTo>
                  <a:lnTo>
                    <a:pt x="1840" y="1572"/>
                  </a:lnTo>
                  <a:lnTo>
                    <a:pt x="1866" y="1530"/>
                  </a:lnTo>
                  <a:lnTo>
                    <a:pt x="1890" y="1488"/>
                  </a:lnTo>
                  <a:lnTo>
                    <a:pt x="1912" y="1445"/>
                  </a:lnTo>
                  <a:lnTo>
                    <a:pt x="1932" y="1400"/>
                  </a:lnTo>
                  <a:lnTo>
                    <a:pt x="1950" y="1355"/>
                  </a:lnTo>
                  <a:lnTo>
                    <a:pt x="1966" y="1308"/>
                  </a:lnTo>
                  <a:lnTo>
                    <a:pt x="1980" y="1260"/>
                  </a:lnTo>
                  <a:lnTo>
                    <a:pt x="1992" y="1211"/>
                  </a:lnTo>
                  <a:lnTo>
                    <a:pt x="2001" y="1161"/>
                  </a:lnTo>
                  <a:lnTo>
                    <a:pt x="2007" y="1111"/>
                  </a:lnTo>
                  <a:lnTo>
                    <a:pt x="2011" y="1060"/>
                  </a:lnTo>
                  <a:lnTo>
                    <a:pt x="2012" y="1008"/>
                  </a:lnTo>
                  <a:lnTo>
                    <a:pt x="2011" y="957"/>
                  </a:lnTo>
                  <a:lnTo>
                    <a:pt x="2007" y="905"/>
                  </a:lnTo>
                  <a:lnTo>
                    <a:pt x="2001" y="855"/>
                  </a:lnTo>
                  <a:lnTo>
                    <a:pt x="1992" y="805"/>
                  </a:lnTo>
                  <a:lnTo>
                    <a:pt x="1980" y="756"/>
                  </a:lnTo>
                  <a:lnTo>
                    <a:pt x="1966" y="709"/>
                  </a:lnTo>
                  <a:lnTo>
                    <a:pt x="1950" y="661"/>
                  </a:lnTo>
                  <a:lnTo>
                    <a:pt x="1932" y="616"/>
                  </a:lnTo>
                  <a:lnTo>
                    <a:pt x="1912" y="572"/>
                  </a:lnTo>
                  <a:lnTo>
                    <a:pt x="1890" y="528"/>
                  </a:lnTo>
                  <a:lnTo>
                    <a:pt x="1866" y="486"/>
                  </a:lnTo>
                  <a:lnTo>
                    <a:pt x="1840" y="445"/>
                  </a:lnTo>
                  <a:lnTo>
                    <a:pt x="1811" y="405"/>
                  </a:lnTo>
                  <a:lnTo>
                    <a:pt x="1782" y="367"/>
                  </a:lnTo>
                  <a:lnTo>
                    <a:pt x="1750" y="331"/>
                  </a:lnTo>
                  <a:lnTo>
                    <a:pt x="1717" y="295"/>
                  </a:lnTo>
                  <a:lnTo>
                    <a:pt x="1682" y="262"/>
                  </a:lnTo>
                  <a:lnTo>
                    <a:pt x="1645" y="231"/>
                  </a:lnTo>
                  <a:lnTo>
                    <a:pt x="1607" y="201"/>
                  </a:lnTo>
                  <a:lnTo>
                    <a:pt x="1568" y="172"/>
                  </a:lnTo>
                  <a:lnTo>
                    <a:pt x="1527" y="146"/>
                  </a:lnTo>
                  <a:lnTo>
                    <a:pt x="1485" y="122"/>
                  </a:lnTo>
                  <a:lnTo>
                    <a:pt x="1441" y="100"/>
                  </a:lnTo>
                  <a:lnTo>
                    <a:pt x="1397" y="80"/>
                  </a:lnTo>
                  <a:lnTo>
                    <a:pt x="1352" y="61"/>
                  </a:lnTo>
                  <a:lnTo>
                    <a:pt x="1304" y="45"/>
                  </a:lnTo>
                  <a:lnTo>
                    <a:pt x="1257" y="31"/>
                  </a:lnTo>
                  <a:lnTo>
                    <a:pt x="1208" y="20"/>
                  </a:lnTo>
                  <a:lnTo>
                    <a:pt x="1159" y="11"/>
                  </a:lnTo>
                  <a:lnTo>
                    <a:pt x="1108" y="5"/>
                  </a:lnTo>
                  <a:lnTo>
                    <a:pt x="1057" y="1"/>
                  </a:lnTo>
                  <a:lnTo>
                    <a:pt x="1006" y="0"/>
                  </a:lnTo>
                  <a:lnTo>
                    <a:pt x="954" y="1"/>
                  </a:lnTo>
                  <a:lnTo>
                    <a:pt x="903" y="5"/>
                  </a:lnTo>
                  <a:lnTo>
                    <a:pt x="853" y="11"/>
                  </a:lnTo>
                  <a:lnTo>
                    <a:pt x="803" y="20"/>
                  </a:lnTo>
                  <a:lnTo>
                    <a:pt x="754" y="31"/>
                  </a:lnTo>
                  <a:lnTo>
                    <a:pt x="707" y="45"/>
                  </a:lnTo>
                  <a:lnTo>
                    <a:pt x="661" y="61"/>
                  </a:lnTo>
                  <a:lnTo>
                    <a:pt x="614" y="80"/>
                  </a:lnTo>
                  <a:lnTo>
                    <a:pt x="570" y="100"/>
                  </a:lnTo>
                  <a:lnTo>
                    <a:pt x="527" y="122"/>
                  </a:lnTo>
                  <a:lnTo>
                    <a:pt x="485" y="146"/>
                  </a:lnTo>
                  <a:lnTo>
                    <a:pt x="443" y="172"/>
                  </a:lnTo>
                  <a:lnTo>
                    <a:pt x="404" y="201"/>
                  </a:lnTo>
                  <a:lnTo>
                    <a:pt x="366" y="231"/>
                  </a:lnTo>
                  <a:lnTo>
                    <a:pt x="330" y="262"/>
                  </a:lnTo>
                  <a:lnTo>
                    <a:pt x="294" y="295"/>
                  </a:lnTo>
                  <a:lnTo>
                    <a:pt x="261" y="331"/>
                  </a:lnTo>
                  <a:lnTo>
                    <a:pt x="230" y="367"/>
                  </a:lnTo>
                  <a:lnTo>
                    <a:pt x="200" y="405"/>
                  </a:lnTo>
                  <a:lnTo>
                    <a:pt x="172" y="445"/>
                  </a:lnTo>
                  <a:lnTo>
                    <a:pt x="146" y="486"/>
                  </a:lnTo>
                  <a:lnTo>
                    <a:pt x="121" y="528"/>
                  </a:lnTo>
                  <a:lnTo>
                    <a:pt x="99" y="572"/>
                  </a:lnTo>
                  <a:lnTo>
                    <a:pt x="79" y="616"/>
                  </a:lnTo>
                  <a:lnTo>
                    <a:pt x="61" y="661"/>
                  </a:lnTo>
                  <a:lnTo>
                    <a:pt x="45" y="709"/>
                  </a:lnTo>
                  <a:lnTo>
                    <a:pt x="32" y="756"/>
                  </a:lnTo>
                  <a:lnTo>
                    <a:pt x="21" y="805"/>
                  </a:lnTo>
                  <a:lnTo>
                    <a:pt x="12" y="855"/>
                  </a:lnTo>
                  <a:lnTo>
                    <a:pt x="5" y="905"/>
                  </a:lnTo>
                  <a:lnTo>
                    <a:pt x="2" y="957"/>
                  </a:lnTo>
                  <a:lnTo>
                    <a:pt x="0" y="10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429" name="íSḻíḋè">
              <a:extLst>
                <a:ext uri="{FF2B5EF4-FFF2-40B4-BE49-F238E27FC236}">
                  <a16:creationId xmlns:a16="http://schemas.microsoft.com/office/drawing/2014/main" id="{5A737556-3092-4CEE-AE8A-3220CB87EAEB}"/>
                </a:ext>
              </a:extLst>
            </p:cNvPr>
            <p:cNvSpPr/>
            <p:nvPr/>
          </p:nvSpPr>
          <p:spPr bwMode="auto">
            <a:xfrm>
              <a:off x="10704878" y="1448307"/>
              <a:ext cx="30544" cy="30544"/>
            </a:xfrm>
            <a:custGeom>
              <a:avLst/>
              <a:gdLst>
                <a:gd name="T0" fmla="*/ 554 w 1006"/>
                <a:gd name="T1" fmla="*/ 1005 h 1008"/>
                <a:gd name="T2" fmla="*/ 628 w 1006"/>
                <a:gd name="T3" fmla="*/ 992 h 1008"/>
                <a:gd name="T4" fmla="*/ 699 w 1006"/>
                <a:gd name="T5" fmla="*/ 969 h 1008"/>
                <a:gd name="T6" fmla="*/ 763 w 1006"/>
                <a:gd name="T7" fmla="*/ 935 h 1008"/>
                <a:gd name="T8" fmla="*/ 822 w 1006"/>
                <a:gd name="T9" fmla="*/ 893 h 1008"/>
                <a:gd name="T10" fmla="*/ 875 w 1006"/>
                <a:gd name="T11" fmla="*/ 843 h 1008"/>
                <a:gd name="T12" fmla="*/ 920 w 1006"/>
                <a:gd name="T13" fmla="*/ 786 h 1008"/>
                <a:gd name="T14" fmla="*/ 956 w 1006"/>
                <a:gd name="T15" fmla="*/ 723 h 1008"/>
                <a:gd name="T16" fmla="*/ 983 w 1006"/>
                <a:gd name="T17" fmla="*/ 654 h 1008"/>
                <a:gd name="T18" fmla="*/ 1000 w 1006"/>
                <a:gd name="T19" fmla="*/ 581 h 1008"/>
                <a:gd name="T20" fmla="*/ 1006 w 1006"/>
                <a:gd name="T21" fmla="*/ 504 h 1008"/>
                <a:gd name="T22" fmla="*/ 1000 w 1006"/>
                <a:gd name="T23" fmla="*/ 427 h 1008"/>
                <a:gd name="T24" fmla="*/ 983 w 1006"/>
                <a:gd name="T25" fmla="*/ 354 h 1008"/>
                <a:gd name="T26" fmla="*/ 956 w 1006"/>
                <a:gd name="T27" fmla="*/ 285 h 1008"/>
                <a:gd name="T28" fmla="*/ 920 w 1006"/>
                <a:gd name="T29" fmla="*/ 222 h 1008"/>
                <a:gd name="T30" fmla="*/ 875 w 1006"/>
                <a:gd name="T31" fmla="*/ 165 h 1008"/>
                <a:gd name="T32" fmla="*/ 822 w 1006"/>
                <a:gd name="T33" fmla="*/ 115 h 1008"/>
                <a:gd name="T34" fmla="*/ 763 w 1006"/>
                <a:gd name="T35" fmla="*/ 72 h 1008"/>
                <a:gd name="T36" fmla="*/ 699 w 1006"/>
                <a:gd name="T37" fmla="*/ 39 h 1008"/>
                <a:gd name="T38" fmla="*/ 628 w 1006"/>
                <a:gd name="T39" fmla="*/ 16 h 1008"/>
                <a:gd name="T40" fmla="*/ 554 w 1006"/>
                <a:gd name="T41" fmla="*/ 3 h 1008"/>
                <a:gd name="T42" fmla="*/ 476 w 1006"/>
                <a:gd name="T43" fmla="*/ 1 h 1008"/>
                <a:gd name="T44" fmla="*/ 401 w 1006"/>
                <a:gd name="T45" fmla="*/ 10 h 1008"/>
                <a:gd name="T46" fmla="*/ 330 w 1006"/>
                <a:gd name="T47" fmla="*/ 30 h 1008"/>
                <a:gd name="T48" fmla="*/ 263 w 1006"/>
                <a:gd name="T49" fmla="*/ 60 h 1008"/>
                <a:gd name="T50" fmla="*/ 202 w 1006"/>
                <a:gd name="T51" fmla="*/ 100 h 1008"/>
                <a:gd name="T52" fmla="*/ 147 w 1006"/>
                <a:gd name="T53" fmla="*/ 147 h 1008"/>
                <a:gd name="T54" fmla="*/ 99 w 1006"/>
                <a:gd name="T55" fmla="*/ 202 h 1008"/>
                <a:gd name="T56" fmla="*/ 61 w 1006"/>
                <a:gd name="T57" fmla="*/ 264 h 1008"/>
                <a:gd name="T58" fmla="*/ 30 w 1006"/>
                <a:gd name="T59" fmla="*/ 330 h 1008"/>
                <a:gd name="T60" fmla="*/ 10 w 1006"/>
                <a:gd name="T61" fmla="*/ 402 h 1008"/>
                <a:gd name="T62" fmla="*/ 1 w 1006"/>
                <a:gd name="T63" fmla="*/ 478 h 1008"/>
                <a:gd name="T64" fmla="*/ 3 w 1006"/>
                <a:gd name="T65" fmla="*/ 555 h 1008"/>
                <a:gd name="T66" fmla="*/ 16 w 1006"/>
                <a:gd name="T67" fmla="*/ 630 h 1008"/>
                <a:gd name="T68" fmla="*/ 39 w 1006"/>
                <a:gd name="T69" fmla="*/ 700 h 1008"/>
                <a:gd name="T70" fmla="*/ 73 w 1006"/>
                <a:gd name="T71" fmla="*/ 765 h 1008"/>
                <a:gd name="T72" fmla="*/ 114 w 1006"/>
                <a:gd name="T73" fmla="*/ 824 h 1008"/>
                <a:gd name="T74" fmla="*/ 165 w 1006"/>
                <a:gd name="T75" fmla="*/ 877 h 1008"/>
                <a:gd name="T76" fmla="*/ 222 w 1006"/>
                <a:gd name="T77" fmla="*/ 922 h 1008"/>
                <a:gd name="T78" fmla="*/ 284 w 1006"/>
                <a:gd name="T79" fmla="*/ 959 h 1008"/>
                <a:gd name="T80" fmla="*/ 353 w 1006"/>
                <a:gd name="T81" fmla="*/ 985 h 1008"/>
                <a:gd name="T82" fmla="*/ 426 w 1006"/>
                <a:gd name="T83" fmla="*/ 1002 h 1008"/>
                <a:gd name="T84" fmla="*/ 503 w 1006"/>
                <a:gd name="T85" fmla="*/ 1008 h 1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" h="1008">
                  <a:moveTo>
                    <a:pt x="503" y="1008"/>
                  </a:moveTo>
                  <a:lnTo>
                    <a:pt x="529" y="1007"/>
                  </a:lnTo>
                  <a:lnTo>
                    <a:pt x="554" y="1005"/>
                  </a:lnTo>
                  <a:lnTo>
                    <a:pt x="579" y="1002"/>
                  </a:lnTo>
                  <a:lnTo>
                    <a:pt x="604" y="998"/>
                  </a:lnTo>
                  <a:lnTo>
                    <a:pt x="628" y="992"/>
                  </a:lnTo>
                  <a:lnTo>
                    <a:pt x="652" y="985"/>
                  </a:lnTo>
                  <a:lnTo>
                    <a:pt x="676" y="978"/>
                  </a:lnTo>
                  <a:lnTo>
                    <a:pt x="699" y="969"/>
                  </a:lnTo>
                  <a:lnTo>
                    <a:pt x="721" y="959"/>
                  </a:lnTo>
                  <a:lnTo>
                    <a:pt x="742" y="948"/>
                  </a:lnTo>
                  <a:lnTo>
                    <a:pt x="763" y="935"/>
                  </a:lnTo>
                  <a:lnTo>
                    <a:pt x="784" y="922"/>
                  </a:lnTo>
                  <a:lnTo>
                    <a:pt x="803" y="908"/>
                  </a:lnTo>
                  <a:lnTo>
                    <a:pt x="822" y="893"/>
                  </a:lnTo>
                  <a:lnTo>
                    <a:pt x="841" y="877"/>
                  </a:lnTo>
                  <a:lnTo>
                    <a:pt x="859" y="861"/>
                  </a:lnTo>
                  <a:lnTo>
                    <a:pt x="875" y="843"/>
                  </a:lnTo>
                  <a:lnTo>
                    <a:pt x="891" y="824"/>
                  </a:lnTo>
                  <a:lnTo>
                    <a:pt x="906" y="805"/>
                  </a:lnTo>
                  <a:lnTo>
                    <a:pt x="920" y="786"/>
                  </a:lnTo>
                  <a:lnTo>
                    <a:pt x="933" y="765"/>
                  </a:lnTo>
                  <a:lnTo>
                    <a:pt x="945" y="744"/>
                  </a:lnTo>
                  <a:lnTo>
                    <a:pt x="956" y="723"/>
                  </a:lnTo>
                  <a:lnTo>
                    <a:pt x="966" y="700"/>
                  </a:lnTo>
                  <a:lnTo>
                    <a:pt x="975" y="677"/>
                  </a:lnTo>
                  <a:lnTo>
                    <a:pt x="983" y="654"/>
                  </a:lnTo>
                  <a:lnTo>
                    <a:pt x="989" y="630"/>
                  </a:lnTo>
                  <a:lnTo>
                    <a:pt x="996" y="606"/>
                  </a:lnTo>
                  <a:lnTo>
                    <a:pt x="1000" y="581"/>
                  </a:lnTo>
                  <a:lnTo>
                    <a:pt x="1004" y="555"/>
                  </a:lnTo>
                  <a:lnTo>
                    <a:pt x="1006" y="530"/>
                  </a:lnTo>
                  <a:lnTo>
                    <a:pt x="1006" y="504"/>
                  </a:lnTo>
                  <a:lnTo>
                    <a:pt x="1006" y="478"/>
                  </a:lnTo>
                  <a:lnTo>
                    <a:pt x="1004" y="452"/>
                  </a:lnTo>
                  <a:lnTo>
                    <a:pt x="1000" y="427"/>
                  </a:lnTo>
                  <a:lnTo>
                    <a:pt x="996" y="402"/>
                  </a:lnTo>
                  <a:lnTo>
                    <a:pt x="989" y="378"/>
                  </a:lnTo>
                  <a:lnTo>
                    <a:pt x="983" y="354"/>
                  </a:lnTo>
                  <a:lnTo>
                    <a:pt x="975" y="330"/>
                  </a:lnTo>
                  <a:lnTo>
                    <a:pt x="966" y="307"/>
                  </a:lnTo>
                  <a:lnTo>
                    <a:pt x="956" y="285"/>
                  </a:lnTo>
                  <a:lnTo>
                    <a:pt x="945" y="264"/>
                  </a:lnTo>
                  <a:lnTo>
                    <a:pt x="933" y="243"/>
                  </a:lnTo>
                  <a:lnTo>
                    <a:pt x="920" y="222"/>
                  </a:lnTo>
                  <a:lnTo>
                    <a:pt x="906" y="202"/>
                  </a:lnTo>
                  <a:lnTo>
                    <a:pt x="891" y="183"/>
                  </a:lnTo>
                  <a:lnTo>
                    <a:pt x="875" y="165"/>
                  </a:lnTo>
                  <a:lnTo>
                    <a:pt x="859" y="147"/>
                  </a:lnTo>
                  <a:lnTo>
                    <a:pt x="841" y="131"/>
                  </a:lnTo>
                  <a:lnTo>
                    <a:pt x="822" y="115"/>
                  </a:lnTo>
                  <a:lnTo>
                    <a:pt x="803" y="100"/>
                  </a:lnTo>
                  <a:lnTo>
                    <a:pt x="784" y="85"/>
                  </a:lnTo>
                  <a:lnTo>
                    <a:pt x="763" y="72"/>
                  </a:lnTo>
                  <a:lnTo>
                    <a:pt x="742" y="60"/>
                  </a:lnTo>
                  <a:lnTo>
                    <a:pt x="721" y="49"/>
                  </a:lnTo>
                  <a:lnTo>
                    <a:pt x="699" y="39"/>
                  </a:lnTo>
                  <a:lnTo>
                    <a:pt x="676" y="30"/>
                  </a:lnTo>
                  <a:lnTo>
                    <a:pt x="652" y="22"/>
                  </a:lnTo>
                  <a:lnTo>
                    <a:pt x="628" y="16"/>
                  </a:lnTo>
                  <a:lnTo>
                    <a:pt x="604" y="10"/>
                  </a:lnTo>
                  <a:lnTo>
                    <a:pt x="579" y="6"/>
                  </a:lnTo>
                  <a:lnTo>
                    <a:pt x="554" y="3"/>
                  </a:lnTo>
                  <a:lnTo>
                    <a:pt x="529" y="1"/>
                  </a:lnTo>
                  <a:lnTo>
                    <a:pt x="503" y="0"/>
                  </a:lnTo>
                  <a:lnTo>
                    <a:pt x="476" y="1"/>
                  </a:lnTo>
                  <a:lnTo>
                    <a:pt x="451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4" y="49"/>
                  </a:lnTo>
                  <a:lnTo>
                    <a:pt x="263" y="60"/>
                  </a:lnTo>
                  <a:lnTo>
                    <a:pt x="242" y="72"/>
                  </a:lnTo>
                  <a:lnTo>
                    <a:pt x="222" y="85"/>
                  </a:lnTo>
                  <a:lnTo>
                    <a:pt x="202" y="100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0" y="165"/>
                  </a:lnTo>
                  <a:lnTo>
                    <a:pt x="114" y="183"/>
                  </a:lnTo>
                  <a:lnTo>
                    <a:pt x="99" y="202"/>
                  </a:lnTo>
                  <a:lnTo>
                    <a:pt x="86" y="222"/>
                  </a:lnTo>
                  <a:lnTo>
                    <a:pt x="73" y="243"/>
                  </a:lnTo>
                  <a:lnTo>
                    <a:pt x="61" y="264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3" y="354"/>
                  </a:lnTo>
                  <a:lnTo>
                    <a:pt x="16" y="378"/>
                  </a:lnTo>
                  <a:lnTo>
                    <a:pt x="10" y="402"/>
                  </a:lnTo>
                  <a:lnTo>
                    <a:pt x="6" y="427"/>
                  </a:lnTo>
                  <a:lnTo>
                    <a:pt x="3" y="452"/>
                  </a:lnTo>
                  <a:lnTo>
                    <a:pt x="1" y="478"/>
                  </a:lnTo>
                  <a:lnTo>
                    <a:pt x="0" y="504"/>
                  </a:lnTo>
                  <a:lnTo>
                    <a:pt x="1" y="530"/>
                  </a:lnTo>
                  <a:lnTo>
                    <a:pt x="3" y="555"/>
                  </a:lnTo>
                  <a:lnTo>
                    <a:pt x="6" y="581"/>
                  </a:lnTo>
                  <a:lnTo>
                    <a:pt x="10" y="606"/>
                  </a:lnTo>
                  <a:lnTo>
                    <a:pt x="16" y="630"/>
                  </a:lnTo>
                  <a:lnTo>
                    <a:pt x="23" y="654"/>
                  </a:lnTo>
                  <a:lnTo>
                    <a:pt x="30" y="677"/>
                  </a:lnTo>
                  <a:lnTo>
                    <a:pt x="39" y="700"/>
                  </a:lnTo>
                  <a:lnTo>
                    <a:pt x="49" y="723"/>
                  </a:lnTo>
                  <a:lnTo>
                    <a:pt x="61" y="744"/>
                  </a:lnTo>
                  <a:lnTo>
                    <a:pt x="73" y="765"/>
                  </a:lnTo>
                  <a:lnTo>
                    <a:pt x="86" y="786"/>
                  </a:lnTo>
                  <a:lnTo>
                    <a:pt x="99" y="805"/>
                  </a:lnTo>
                  <a:lnTo>
                    <a:pt x="114" y="824"/>
                  </a:lnTo>
                  <a:lnTo>
                    <a:pt x="130" y="843"/>
                  </a:lnTo>
                  <a:lnTo>
                    <a:pt x="147" y="861"/>
                  </a:lnTo>
                  <a:lnTo>
                    <a:pt x="165" y="877"/>
                  </a:lnTo>
                  <a:lnTo>
                    <a:pt x="183" y="893"/>
                  </a:lnTo>
                  <a:lnTo>
                    <a:pt x="202" y="908"/>
                  </a:lnTo>
                  <a:lnTo>
                    <a:pt x="222" y="922"/>
                  </a:lnTo>
                  <a:lnTo>
                    <a:pt x="242" y="935"/>
                  </a:lnTo>
                  <a:lnTo>
                    <a:pt x="263" y="948"/>
                  </a:lnTo>
                  <a:lnTo>
                    <a:pt x="284" y="959"/>
                  </a:lnTo>
                  <a:lnTo>
                    <a:pt x="307" y="969"/>
                  </a:lnTo>
                  <a:lnTo>
                    <a:pt x="330" y="978"/>
                  </a:lnTo>
                  <a:lnTo>
                    <a:pt x="353" y="985"/>
                  </a:lnTo>
                  <a:lnTo>
                    <a:pt x="377" y="992"/>
                  </a:lnTo>
                  <a:lnTo>
                    <a:pt x="401" y="998"/>
                  </a:lnTo>
                  <a:lnTo>
                    <a:pt x="426" y="1002"/>
                  </a:lnTo>
                  <a:lnTo>
                    <a:pt x="451" y="1005"/>
                  </a:lnTo>
                  <a:lnTo>
                    <a:pt x="476" y="1007"/>
                  </a:lnTo>
                  <a:lnTo>
                    <a:pt x="503" y="10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430" name="iṣ1îḓé">
              <a:extLst>
                <a:ext uri="{FF2B5EF4-FFF2-40B4-BE49-F238E27FC236}">
                  <a16:creationId xmlns:a16="http://schemas.microsoft.com/office/drawing/2014/main" id="{2501515B-1013-406E-9D0A-91AA807A0821}"/>
                </a:ext>
              </a:extLst>
            </p:cNvPr>
            <p:cNvSpPr/>
            <p:nvPr/>
          </p:nvSpPr>
          <p:spPr bwMode="auto">
            <a:xfrm>
              <a:off x="10951488" y="1216403"/>
              <a:ext cx="30544" cy="31675"/>
            </a:xfrm>
            <a:custGeom>
              <a:avLst/>
              <a:gdLst>
                <a:gd name="T0" fmla="*/ 452 w 1006"/>
                <a:gd name="T1" fmla="*/ 3 h 1008"/>
                <a:gd name="T2" fmla="*/ 377 w 1006"/>
                <a:gd name="T3" fmla="*/ 16 h 1008"/>
                <a:gd name="T4" fmla="*/ 307 w 1006"/>
                <a:gd name="T5" fmla="*/ 39 h 1008"/>
                <a:gd name="T6" fmla="*/ 243 w 1006"/>
                <a:gd name="T7" fmla="*/ 72 h 1008"/>
                <a:gd name="T8" fmla="*/ 183 w 1006"/>
                <a:gd name="T9" fmla="*/ 115 h 1008"/>
                <a:gd name="T10" fmla="*/ 131 w 1006"/>
                <a:gd name="T11" fmla="*/ 165 h 1008"/>
                <a:gd name="T12" fmla="*/ 86 w 1006"/>
                <a:gd name="T13" fmla="*/ 222 h 1008"/>
                <a:gd name="T14" fmla="*/ 49 w 1006"/>
                <a:gd name="T15" fmla="*/ 285 h 1008"/>
                <a:gd name="T16" fmla="*/ 22 w 1006"/>
                <a:gd name="T17" fmla="*/ 354 h 1008"/>
                <a:gd name="T18" fmla="*/ 6 w 1006"/>
                <a:gd name="T19" fmla="*/ 427 h 1008"/>
                <a:gd name="T20" fmla="*/ 0 w 1006"/>
                <a:gd name="T21" fmla="*/ 504 h 1008"/>
                <a:gd name="T22" fmla="*/ 6 w 1006"/>
                <a:gd name="T23" fmla="*/ 581 h 1008"/>
                <a:gd name="T24" fmla="*/ 22 w 1006"/>
                <a:gd name="T25" fmla="*/ 654 h 1008"/>
                <a:gd name="T26" fmla="*/ 49 w 1006"/>
                <a:gd name="T27" fmla="*/ 723 h 1008"/>
                <a:gd name="T28" fmla="*/ 86 w 1006"/>
                <a:gd name="T29" fmla="*/ 786 h 1008"/>
                <a:gd name="T30" fmla="*/ 131 w 1006"/>
                <a:gd name="T31" fmla="*/ 843 h 1008"/>
                <a:gd name="T32" fmla="*/ 183 w 1006"/>
                <a:gd name="T33" fmla="*/ 893 h 1008"/>
                <a:gd name="T34" fmla="*/ 243 w 1006"/>
                <a:gd name="T35" fmla="*/ 936 h 1008"/>
                <a:gd name="T36" fmla="*/ 307 w 1006"/>
                <a:gd name="T37" fmla="*/ 969 h 1008"/>
                <a:gd name="T38" fmla="*/ 377 w 1006"/>
                <a:gd name="T39" fmla="*/ 992 h 1008"/>
                <a:gd name="T40" fmla="*/ 452 w 1006"/>
                <a:gd name="T41" fmla="*/ 1005 h 1008"/>
                <a:gd name="T42" fmla="*/ 529 w 1006"/>
                <a:gd name="T43" fmla="*/ 1007 h 1008"/>
                <a:gd name="T44" fmla="*/ 605 w 1006"/>
                <a:gd name="T45" fmla="*/ 998 h 1008"/>
                <a:gd name="T46" fmla="*/ 676 w 1006"/>
                <a:gd name="T47" fmla="*/ 978 h 1008"/>
                <a:gd name="T48" fmla="*/ 743 w 1006"/>
                <a:gd name="T49" fmla="*/ 948 h 1008"/>
                <a:gd name="T50" fmla="*/ 804 w 1006"/>
                <a:gd name="T51" fmla="*/ 908 h 1008"/>
                <a:gd name="T52" fmla="*/ 858 w 1006"/>
                <a:gd name="T53" fmla="*/ 861 h 1008"/>
                <a:gd name="T54" fmla="*/ 906 w 1006"/>
                <a:gd name="T55" fmla="*/ 805 h 1008"/>
                <a:gd name="T56" fmla="*/ 946 w 1006"/>
                <a:gd name="T57" fmla="*/ 744 h 1008"/>
                <a:gd name="T58" fmla="*/ 976 w 1006"/>
                <a:gd name="T59" fmla="*/ 677 h 1008"/>
                <a:gd name="T60" fmla="*/ 996 w 1006"/>
                <a:gd name="T61" fmla="*/ 606 h 1008"/>
                <a:gd name="T62" fmla="*/ 1005 w 1006"/>
                <a:gd name="T63" fmla="*/ 530 h 1008"/>
                <a:gd name="T64" fmla="*/ 1003 w 1006"/>
                <a:gd name="T65" fmla="*/ 453 h 1008"/>
                <a:gd name="T66" fmla="*/ 990 w 1006"/>
                <a:gd name="T67" fmla="*/ 378 h 1008"/>
                <a:gd name="T68" fmla="*/ 967 w 1006"/>
                <a:gd name="T69" fmla="*/ 307 h 1008"/>
                <a:gd name="T70" fmla="*/ 934 w 1006"/>
                <a:gd name="T71" fmla="*/ 243 h 1008"/>
                <a:gd name="T72" fmla="*/ 891 w 1006"/>
                <a:gd name="T73" fmla="*/ 183 h 1008"/>
                <a:gd name="T74" fmla="*/ 841 w 1006"/>
                <a:gd name="T75" fmla="*/ 131 h 1008"/>
                <a:gd name="T76" fmla="*/ 784 w 1006"/>
                <a:gd name="T77" fmla="*/ 86 h 1008"/>
                <a:gd name="T78" fmla="*/ 721 w 1006"/>
                <a:gd name="T79" fmla="*/ 49 h 1008"/>
                <a:gd name="T80" fmla="*/ 653 w 1006"/>
                <a:gd name="T81" fmla="*/ 22 h 1008"/>
                <a:gd name="T82" fmla="*/ 580 w 1006"/>
                <a:gd name="T83" fmla="*/ 6 h 1008"/>
                <a:gd name="T84" fmla="*/ 503 w 1006"/>
                <a:gd name="T85" fmla="*/ 0 h 1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" h="1008">
                  <a:moveTo>
                    <a:pt x="503" y="0"/>
                  </a:moveTo>
                  <a:lnTo>
                    <a:pt x="477" y="1"/>
                  </a:lnTo>
                  <a:lnTo>
                    <a:pt x="452" y="3"/>
                  </a:lnTo>
                  <a:lnTo>
                    <a:pt x="427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5" y="49"/>
                  </a:lnTo>
                  <a:lnTo>
                    <a:pt x="264" y="60"/>
                  </a:lnTo>
                  <a:lnTo>
                    <a:pt x="243" y="72"/>
                  </a:lnTo>
                  <a:lnTo>
                    <a:pt x="221" y="86"/>
                  </a:lnTo>
                  <a:lnTo>
                    <a:pt x="202" y="100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100" y="203"/>
                  </a:lnTo>
                  <a:lnTo>
                    <a:pt x="86" y="222"/>
                  </a:lnTo>
                  <a:lnTo>
                    <a:pt x="73" y="243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1"/>
                  </a:lnTo>
                  <a:lnTo>
                    <a:pt x="22" y="354"/>
                  </a:lnTo>
                  <a:lnTo>
                    <a:pt x="16" y="378"/>
                  </a:lnTo>
                  <a:lnTo>
                    <a:pt x="10" y="402"/>
                  </a:lnTo>
                  <a:lnTo>
                    <a:pt x="6" y="427"/>
                  </a:lnTo>
                  <a:lnTo>
                    <a:pt x="3" y="453"/>
                  </a:lnTo>
                  <a:lnTo>
                    <a:pt x="1" y="478"/>
                  </a:lnTo>
                  <a:lnTo>
                    <a:pt x="0" y="504"/>
                  </a:lnTo>
                  <a:lnTo>
                    <a:pt x="1" y="530"/>
                  </a:lnTo>
                  <a:lnTo>
                    <a:pt x="3" y="555"/>
                  </a:lnTo>
                  <a:lnTo>
                    <a:pt x="6" y="581"/>
                  </a:lnTo>
                  <a:lnTo>
                    <a:pt x="10" y="606"/>
                  </a:lnTo>
                  <a:lnTo>
                    <a:pt x="16" y="630"/>
                  </a:lnTo>
                  <a:lnTo>
                    <a:pt x="22" y="654"/>
                  </a:lnTo>
                  <a:lnTo>
                    <a:pt x="30" y="677"/>
                  </a:lnTo>
                  <a:lnTo>
                    <a:pt x="39" y="701"/>
                  </a:lnTo>
                  <a:lnTo>
                    <a:pt x="49" y="723"/>
                  </a:lnTo>
                  <a:lnTo>
                    <a:pt x="60" y="744"/>
                  </a:lnTo>
                  <a:lnTo>
                    <a:pt x="73" y="765"/>
                  </a:lnTo>
                  <a:lnTo>
                    <a:pt x="86" y="786"/>
                  </a:lnTo>
                  <a:lnTo>
                    <a:pt x="100" y="805"/>
                  </a:lnTo>
                  <a:lnTo>
                    <a:pt x="115" y="825"/>
                  </a:lnTo>
                  <a:lnTo>
                    <a:pt x="131" y="843"/>
                  </a:lnTo>
                  <a:lnTo>
                    <a:pt x="147" y="861"/>
                  </a:lnTo>
                  <a:lnTo>
                    <a:pt x="165" y="877"/>
                  </a:lnTo>
                  <a:lnTo>
                    <a:pt x="183" y="893"/>
                  </a:lnTo>
                  <a:lnTo>
                    <a:pt x="202" y="908"/>
                  </a:lnTo>
                  <a:lnTo>
                    <a:pt x="221" y="922"/>
                  </a:lnTo>
                  <a:lnTo>
                    <a:pt x="243" y="936"/>
                  </a:lnTo>
                  <a:lnTo>
                    <a:pt x="264" y="948"/>
                  </a:lnTo>
                  <a:lnTo>
                    <a:pt x="285" y="959"/>
                  </a:lnTo>
                  <a:lnTo>
                    <a:pt x="307" y="969"/>
                  </a:lnTo>
                  <a:lnTo>
                    <a:pt x="330" y="978"/>
                  </a:lnTo>
                  <a:lnTo>
                    <a:pt x="353" y="986"/>
                  </a:lnTo>
                  <a:lnTo>
                    <a:pt x="377" y="992"/>
                  </a:lnTo>
                  <a:lnTo>
                    <a:pt x="401" y="998"/>
                  </a:lnTo>
                  <a:lnTo>
                    <a:pt x="427" y="1002"/>
                  </a:lnTo>
                  <a:lnTo>
                    <a:pt x="452" y="1005"/>
                  </a:lnTo>
                  <a:lnTo>
                    <a:pt x="477" y="1007"/>
                  </a:lnTo>
                  <a:lnTo>
                    <a:pt x="503" y="1008"/>
                  </a:lnTo>
                  <a:lnTo>
                    <a:pt x="529" y="1007"/>
                  </a:lnTo>
                  <a:lnTo>
                    <a:pt x="554" y="1005"/>
                  </a:lnTo>
                  <a:lnTo>
                    <a:pt x="580" y="1002"/>
                  </a:lnTo>
                  <a:lnTo>
                    <a:pt x="605" y="998"/>
                  </a:lnTo>
                  <a:lnTo>
                    <a:pt x="629" y="992"/>
                  </a:lnTo>
                  <a:lnTo>
                    <a:pt x="653" y="986"/>
                  </a:lnTo>
                  <a:lnTo>
                    <a:pt x="676" y="978"/>
                  </a:lnTo>
                  <a:lnTo>
                    <a:pt x="699" y="969"/>
                  </a:lnTo>
                  <a:lnTo>
                    <a:pt x="721" y="959"/>
                  </a:lnTo>
                  <a:lnTo>
                    <a:pt x="743" y="948"/>
                  </a:lnTo>
                  <a:lnTo>
                    <a:pt x="764" y="936"/>
                  </a:lnTo>
                  <a:lnTo>
                    <a:pt x="784" y="922"/>
                  </a:lnTo>
                  <a:lnTo>
                    <a:pt x="804" y="908"/>
                  </a:lnTo>
                  <a:lnTo>
                    <a:pt x="823" y="893"/>
                  </a:lnTo>
                  <a:lnTo>
                    <a:pt x="841" y="877"/>
                  </a:lnTo>
                  <a:lnTo>
                    <a:pt x="858" y="861"/>
                  </a:lnTo>
                  <a:lnTo>
                    <a:pt x="875" y="843"/>
                  </a:lnTo>
                  <a:lnTo>
                    <a:pt x="891" y="825"/>
                  </a:lnTo>
                  <a:lnTo>
                    <a:pt x="906" y="805"/>
                  </a:lnTo>
                  <a:lnTo>
                    <a:pt x="921" y="786"/>
                  </a:lnTo>
                  <a:lnTo>
                    <a:pt x="934" y="765"/>
                  </a:lnTo>
                  <a:lnTo>
                    <a:pt x="946" y="744"/>
                  </a:lnTo>
                  <a:lnTo>
                    <a:pt x="957" y="723"/>
                  </a:lnTo>
                  <a:lnTo>
                    <a:pt x="967" y="701"/>
                  </a:lnTo>
                  <a:lnTo>
                    <a:pt x="976" y="677"/>
                  </a:lnTo>
                  <a:lnTo>
                    <a:pt x="983" y="654"/>
                  </a:lnTo>
                  <a:lnTo>
                    <a:pt x="990" y="630"/>
                  </a:lnTo>
                  <a:lnTo>
                    <a:pt x="996" y="606"/>
                  </a:lnTo>
                  <a:lnTo>
                    <a:pt x="1000" y="581"/>
                  </a:lnTo>
                  <a:lnTo>
                    <a:pt x="1003" y="555"/>
                  </a:lnTo>
                  <a:lnTo>
                    <a:pt x="1005" y="530"/>
                  </a:lnTo>
                  <a:lnTo>
                    <a:pt x="1006" y="504"/>
                  </a:lnTo>
                  <a:lnTo>
                    <a:pt x="1005" y="478"/>
                  </a:lnTo>
                  <a:lnTo>
                    <a:pt x="1003" y="453"/>
                  </a:lnTo>
                  <a:lnTo>
                    <a:pt x="1000" y="427"/>
                  </a:lnTo>
                  <a:lnTo>
                    <a:pt x="996" y="402"/>
                  </a:lnTo>
                  <a:lnTo>
                    <a:pt x="990" y="378"/>
                  </a:lnTo>
                  <a:lnTo>
                    <a:pt x="983" y="354"/>
                  </a:lnTo>
                  <a:lnTo>
                    <a:pt x="976" y="331"/>
                  </a:lnTo>
                  <a:lnTo>
                    <a:pt x="967" y="307"/>
                  </a:lnTo>
                  <a:lnTo>
                    <a:pt x="957" y="285"/>
                  </a:lnTo>
                  <a:lnTo>
                    <a:pt x="946" y="263"/>
                  </a:lnTo>
                  <a:lnTo>
                    <a:pt x="934" y="243"/>
                  </a:lnTo>
                  <a:lnTo>
                    <a:pt x="921" y="222"/>
                  </a:lnTo>
                  <a:lnTo>
                    <a:pt x="906" y="203"/>
                  </a:lnTo>
                  <a:lnTo>
                    <a:pt x="891" y="183"/>
                  </a:lnTo>
                  <a:lnTo>
                    <a:pt x="875" y="165"/>
                  </a:lnTo>
                  <a:lnTo>
                    <a:pt x="858" y="147"/>
                  </a:lnTo>
                  <a:lnTo>
                    <a:pt x="841" y="131"/>
                  </a:lnTo>
                  <a:lnTo>
                    <a:pt x="823" y="115"/>
                  </a:lnTo>
                  <a:lnTo>
                    <a:pt x="804" y="100"/>
                  </a:lnTo>
                  <a:lnTo>
                    <a:pt x="784" y="86"/>
                  </a:lnTo>
                  <a:lnTo>
                    <a:pt x="764" y="72"/>
                  </a:lnTo>
                  <a:lnTo>
                    <a:pt x="743" y="60"/>
                  </a:lnTo>
                  <a:lnTo>
                    <a:pt x="721" y="49"/>
                  </a:lnTo>
                  <a:lnTo>
                    <a:pt x="699" y="39"/>
                  </a:lnTo>
                  <a:lnTo>
                    <a:pt x="676" y="30"/>
                  </a:lnTo>
                  <a:lnTo>
                    <a:pt x="653" y="22"/>
                  </a:lnTo>
                  <a:lnTo>
                    <a:pt x="629" y="16"/>
                  </a:lnTo>
                  <a:lnTo>
                    <a:pt x="605" y="10"/>
                  </a:lnTo>
                  <a:lnTo>
                    <a:pt x="580" y="6"/>
                  </a:lnTo>
                  <a:lnTo>
                    <a:pt x="554" y="3"/>
                  </a:lnTo>
                  <a:lnTo>
                    <a:pt x="529" y="1"/>
                  </a:lnTo>
                  <a:lnTo>
                    <a:pt x="50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431" name="îšļiḓe">
              <a:extLst>
                <a:ext uri="{FF2B5EF4-FFF2-40B4-BE49-F238E27FC236}">
                  <a16:creationId xmlns:a16="http://schemas.microsoft.com/office/drawing/2014/main" id="{9B02743E-0EFC-43EE-8684-C70D341F45C5}"/>
                </a:ext>
              </a:extLst>
            </p:cNvPr>
            <p:cNvSpPr/>
            <p:nvPr/>
          </p:nvSpPr>
          <p:spPr bwMode="auto">
            <a:xfrm>
              <a:off x="5951154" y="3800489"/>
              <a:ext cx="159468" cy="102588"/>
            </a:xfrm>
            <a:custGeom>
              <a:avLst/>
              <a:gdLst>
                <a:gd name="T0" fmla="*/ 4713 w 5797"/>
                <a:gd name="T1" fmla="*/ 41 h 3756"/>
                <a:gd name="T2" fmla="*/ 3661 w 5797"/>
                <a:gd name="T3" fmla="*/ 216 h 3756"/>
                <a:gd name="T4" fmla="*/ 2695 w 5797"/>
                <a:gd name="T5" fmla="*/ 516 h 3756"/>
                <a:gd name="T6" fmla="*/ 1839 w 5797"/>
                <a:gd name="T7" fmla="*/ 924 h 3756"/>
                <a:gd name="T8" fmla="*/ 1118 w 5797"/>
                <a:gd name="T9" fmla="*/ 1423 h 3756"/>
                <a:gd name="T10" fmla="*/ 556 w 5797"/>
                <a:gd name="T11" fmla="*/ 2001 h 3756"/>
                <a:gd name="T12" fmla="*/ 178 w 5797"/>
                <a:gd name="T13" fmla="*/ 2641 h 3756"/>
                <a:gd name="T14" fmla="*/ 7 w 5797"/>
                <a:gd name="T15" fmla="*/ 3329 h 3756"/>
                <a:gd name="T16" fmla="*/ 3 w 5797"/>
                <a:gd name="T17" fmla="*/ 3544 h 3756"/>
                <a:gd name="T18" fmla="*/ 15 w 5797"/>
                <a:gd name="T19" fmla="*/ 3592 h 3756"/>
                <a:gd name="T20" fmla="*/ 36 w 5797"/>
                <a:gd name="T21" fmla="*/ 3636 h 3756"/>
                <a:gd name="T22" fmla="*/ 65 w 5797"/>
                <a:gd name="T23" fmla="*/ 3674 h 3756"/>
                <a:gd name="T24" fmla="*/ 100 w 5797"/>
                <a:gd name="T25" fmla="*/ 3706 h 3756"/>
                <a:gd name="T26" fmla="*/ 143 w 5797"/>
                <a:gd name="T27" fmla="*/ 3731 h 3756"/>
                <a:gd name="T28" fmla="*/ 189 w 5797"/>
                <a:gd name="T29" fmla="*/ 3748 h 3756"/>
                <a:gd name="T30" fmla="*/ 239 w 5797"/>
                <a:gd name="T31" fmla="*/ 3756 h 3756"/>
                <a:gd name="T32" fmla="*/ 290 w 5797"/>
                <a:gd name="T33" fmla="*/ 3753 h 3756"/>
                <a:gd name="T34" fmla="*/ 338 w 5797"/>
                <a:gd name="T35" fmla="*/ 3741 h 3756"/>
                <a:gd name="T36" fmla="*/ 383 w 5797"/>
                <a:gd name="T37" fmla="*/ 3720 h 3756"/>
                <a:gd name="T38" fmla="*/ 421 w 5797"/>
                <a:gd name="T39" fmla="*/ 3691 h 3756"/>
                <a:gd name="T40" fmla="*/ 453 w 5797"/>
                <a:gd name="T41" fmla="*/ 3655 h 3756"/>
                <a:gd name="T42" fmla="*/ 479 w 5797"/>
                <a:gd name="T43" fmla="*/ 3614 h 3756"/>
                <a:gd name="T44" fmla="*/ 496 w 5797"/>
                <a:gd name="T45" fmla="*/ 3568 h 3756"/>
                <a:gd name="T46" fmla="*/ 504 w 5797"/>
                <a:gd name="T47" fmla="*/ 3519 h 3756"/>
                <a:gd name="T48" fmla="*/ 564 w 5797"/>
                <a:gd name="T49" fmla="*/ 3062 h 3756"/>
                <a:gd name="T50" fmla="*/ 820 w 5797"/>
                <a:gd name="T51" fmla="*/ 2496 h 3756"/>
                <a:gd name="T52" fmla="*/ 1257 w 5797"/>
                <a:gd name="T53" fmla="*/ 1973 h 3756"/>
                <a:gd name="T54" fmla="*/ 1848 w 5797"/>
                <a:gd name="T55" fmla="*/ 1509 h 3756"/>
                <a:gd name="T56" fmla="*/ 2572 w 5797"/>
                <a:gd name="T57" fmla="*/ 1115 h 3756"/>
                <a:gd name="T58" fmla="*/ 3402 w 5797"/>
                <a:gd name="T59" fmla="*/ 807 h 3756"/>
                <a:gd name="T60" fmla="*/ 4318 w 5797"/>
                <a:gd name="T61" fmla="*/ 599 h 3756"/>
                <a:gd name="T62" fmla="*/ 5294 w 5797"/>
                <a:gd name="T63" fmla="*/ 505 h 3756"/>
                <a:gd name="T64" fmla="*/ 5583 w 5797"/>
                <a:gd name="T65" fmla="*/ 498 h 3756"/>
                <a:gd name="T66" fmla="*/ 5632 w 5797"/>
                <a:gd name="T67" fmla="*/ 486 h 3756"/>
                <a:gd name="T68" fmla="*/ 5676 w 5797"/>
                <a:gd name="T69" fmla="*/ 465 h 3756"/>
                <a:gd name="T70" fmla="*/ 5714 w 5797"/>
                <a:gd name="T71" fmla="*/ 436 h 3756"/>
                <a:gd name="T72" fmla="*/ 5747 w 5797"/>
                <a:gd name="T73" fmla="*/ 401 h 3756"/>
                <a:gd name="T74" fmla="*/ 5772 w 5797"/>
                <a:gd name="T75" fmla="*/ 359 h 3756"/>
                <a:gd name="T76" fmla="*/ 5789 w 5797"/>
                <a:gd name="T77" fmla="*/ 313 h 3756"/>
                <a:gd name="T78" fmla="*/ 5797 w 5797"/>
                <a:gd name="T79" fmla="*/ 264 h 3756"/>
                <a:gd name="T80" fmla="*/ 5794 w 5797"/>
                <a:gd name="T81" fmla="*/ 212 h 3756"/>
                <a:gd name="T82" fmla="*/ 5782 w 5797"/>
                <a:gd name="T83" fmla="*/ 164 h 3756"/>
                <a:gd name="T84" fmla="*/ 5761 w 5797"/>
                <a:gd name="T85" fmla="*/ 120 h 3756"/>
                <a:gd name="T86" fmla="*/ 5732 w 5797"/>
                <a:gd name="T87" fmla="*/ 82 h 3756"/>
                <a:gd name="T88" fmla="*/ 5696 w 5797"/>
                <a:gd name="T89" fmla="*/ 50 h 3756"/>
                <a:gd name="T90" fmla="*/ 5654 w 5797"/>
                <a:gd name="T91" fmla="*/ 25 h 3756"/>
                <a:gd name="T92" fmla="*/ 5609 w 5797"/>
                <a:gd name="T93" fmla="*/ 8 h 3756"/>
                <a:gd name="T94" fmla="*/ 5558 w 5797"/>
                <a:gd name="T95" fmla="*/ 0 h 3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797" h="3756">
                  <a:moveTo>
                    <a:pt x="5545" y="0"/>
                  </a:moveTo>
                  <a:lnTo>
                    <a:pt x="5265" y="5"/>
                  </a:lnTo>
                  <a:lnTo>
                    <a:pt x="4987" y="18"/>
                  </a:lnTo>
                  <a:lnTo>
                    <a:pt x="4713" y="41"/>
                  </a:lnTo>
                  <a:lnTo>
                    <a:pt x="4444" y="73"/>
                  </a:lnTo>
                  <a:lnTo>
                    <a:pt x="4178" y="112"/>
                  </a:lnTo>
                  <a:lnTo>
                    <a:pt x="3917" y="160"/>
                  </a:lnTo>
                  <a:lnTo>
                    <a:pt x="3661" y="216"/>
                  </a:lnTo>
                  <a:lnTo>
                    <a:pt x="3411" y="281"/>
                  </a:lnTo>
                  <a:lnTo>
                    <a:pt x="3166" y="352"/>
                  </a:lnTo>
                  <a:lnTo>
                    <a:pt x="2927" y="431"/>
                  </a:lnTo>
                  <a:lnTo>
                    <a:pt x="2695" y="516"/>
                  </a:lnTo>
                  <a:lnTo>
                    <a:pt x="2470" y="608"/>
                  </a:lnTo>
                  <a:lnTo>
                    <a:pt x="2251" y="707"/>
                  </a:lnTo>
                  <a:lnTo>
                    <a:pt x="2041" y="812"/>
                  </a:lnTo>
                  <a:lnTo>
                    <a:pt x="1839" y="924"/>
                  </a:lnTo>
                  <a:lnTo>
                    <a:pt x="1645" y="1041"/>
                  </a:lnTo>
                  <a:lnTo>
                    <a:pt x="1460" y="1163"/>
                  </a:lnTo>
                  <a:lnTo>
                    <a:pt x="1284" y="1291"/>
                  </a:lnTo>
                  <a:lnTo>
                    <a:pt x="1118" y="1423"/>
                  </a:lnTo>
                  <a:lnTo>
                    <a:pt x="961" y="1562"/>
                  </a:lnTo>
                  <a:lnTo>
                    <a:pt x="815" y="1704"/>
                  </a:lnTo>
                  <a:lnTo>
                    <a:pt x="680" y="1851"/>
                  </a:lnTo>
                  <a:lnTo>
                    <a:pt x="556" y="2001"/>
                  </a:lnTo>
                  <a:lnTo>
                    <a:pt x="443" y="2157"/>
                  </a:lnTo>
                  <a:lnTo>
                    <a:pt x="342" y="2315"/>
                  </a:lnTo>
                  <a:lnTo>
                    <a:pt x="254" y="2477"/>
                  </a:lnTo>
                  <a:lnTo>
                    <a:pt x="178" y="2641"/>
                  </a:lnTo>
                  <a:lnTo>
                    <a:pt x="115" y="2810"/>
                  </a:lnTo>
                  <a:lnTo>
                    <a:pt x="65" y="2980"/>
                  </a:lnTo>
                  <a:lnTo>
                    <a:pt x="29" y="3153"/>
                  </a:lnTo>
                  <a:lnTo>
                    <a:pt x="7" y="3329"/>
                  </a:lnTo>
                  <a:lnTo>
                    <a:pt x="0" y="3506"/>
                  </a:lnTo>
                  <a:lnTo>
                    <a:pt x="0" y="3519"/>
                  </a:lnTo>
                  <a:lnTo>
                    <a:pt x="1" y="3531"/>
                  </a:lnTo>
                  <a:lnTo>
                    <a:pt x="3" y="3544"/>
                  </a:lnTo>
                  <a:lnTo>
                    <a:pt x="5" y="3556"/>
                  </a:lnTo>
                  <a:lnTo>
                    <a:pt x="8" y="3568"/>
                  </a:lnTo>
                  <a:lnTo>
                    <a:pt x="11" y="3580"/>
                  </a:lnTo>
                  <a:lnTo>
                    <a:pt x="15" y="3592"/>
                  </a:lnTo>
                  <a:lnTo>
                    <a:pt x="20" y="3603"/>
                  </a:lnTo>
                  <a:lnTo>
                    <a:pt x="25" y="3614"/>
                  </a:lnTo>
                  <a:lnTo>
                    <a:pt x="30" y="3625"/>
                  </a:lnTo>
                  <a:lnTo>
                    <a:pt x="36" y="3636"/>
                  </a:lnTo>
                  <a:lnTo>
                    <a:pt x="43" y="3646"/>
                  </a:lnTo>
                  <a:lnTo>
                    <a:pt x="50" y="3655"/>
                  </a:lnTo>
                  <a:lnTo>
                    <a:pt x="57" y="3665"/>
                  </a:lnTo>
                  <a:lnTo>
                    <a:pt x="65" y="3674"/>
                  </a:lnTo>
                  <a:lnTo>
                    <a:pt x="73" y="3683"/>
                  </a:lnTo>
                  <a:lnTo>
                    <a:pt x="82" y="3691"/>
                  </a:lnTo>
                  <a:lnTo>
                    <a:pt x="91" y="3699"/>
                  </a:lnTo>
                  <a:lnTo>
                    <a:pt x="100" y="3706"/>
                  </a:lnTo>
                  <a:lnTo>
                    <a:pt x="111" y="3713"/>
                  </a:lnTo>
                  <a:lnTo>
                    <a:pt x="121" y="3720"/>
                  </a:lnTo>
                  <a:lnTo>
                    <a:pt x="132" y="3726"/>
                  </a:lnTo>
                  <a:lnTo>
                    <a:pt x="143" y="3731"/>
                  </a:lnTo>
                  <a:lnTo>
                    <a:pt x="154" y="3736"/>
                  </a:lnTo>
                  <a:lnTo>
                    <a:pt x="165" y="3741"/>
                  </a:lnTo>
                  <a:lnTo>
                    <a:pt x="177" y="3745"/>
                  </a:lnTo>
                  <a:lnTo>
                    <a:pt x="189" y="3748"/>
                  </a:lnTo>
                  <a:lnTo>
                    <a:pt x="201" y="3751"/>
                  </a:lnTo>
                  <a:lnTo>
                    <a:pt x="213" y="3753"/>
                  </a:lnTo>
                  <a:lnTo>
                    <a:pt x="226" y="3755"/>
                  </a:lnTo>
                  <a:lnTo>
                    <a:pt x="239" y="3756"/>
                  </a:lnTo>
                  <a:lnTo>
                    <a:pt x="252" y="3756"/>
                  </a:lnTo>
                  <a:lnTo>
                    <a:pt x="265" y="3756"/>
                  </a:lnTo>
                  <a:lnTo>
                    <a:pt x="278" y="3755"/>
                  </a:lnTo>
                  <a:lnTo>
                    <a:pt x="290" y="3753"/>
                  </a:lnTo>
                  <a:lnTo>
                    <a:pt x="302" y="3751"/>
                  </a:lnTo>
                  <a:lnTo>
                    <a:pt x="315" y="3748"/>
                  </a:lnTo>
                  <a:lnTo>
                    <a:pt x="326" y="3745"/>
                  </a:lnTo>
                  <a:lnTo>
                    <a:pt x="338" y="3741"/>
                  </a:lnTo>
                  <a:lnTo>
                    <a:pt x="349" y="3736"/>
                  </a:lnTo>
                  <a:lnTo>
                    <a:pt x="361" y="3731"/>
                  </a:lnTo>
                  <a:lnTo>
                    <a:pt x="372" y="3726"/>
                  </a:lnTo>
                  <a:lnTo>
                    <a:pt x="383" y="3720"/>
                  </a:lnTo>
                  <a:lnTo>
                    <a:pt x="393" y="3713"/>
                  </a:lnTo>
                  <a:lnTo>
                    <a:pt x="403" y="3706"/>
                  </a:lnTo>
                  <a:lnTo>
                    <a:pt x="412" y="3699"/>
                  </a:lnTo>
                  <a:lnTo>
                    <a:pt x="421" y="3691"/>
                  </a:lnTo>
                  <a:lnTo>
                    <a:pt x="430" y="3683"/>
                  </a:lnTo>
                  <a:lnTo>
                    <a:pt x="438" y="3674"/>
                  </a:lnTo>
                  <a:lnTo>
                    <a:pt x="446" y="3665"/>
                  </a:lnTo>
                  <a:lnTo>
                    <a:pt x="453" y="3655"/>
                  </a:lnTo>
                  <a:lnTo>
                    <a:pt x="460" y="3646"/>
                  </a:lnTo>
                  <a:lnTo>
                    <a:pt x="467" y="3636"/>
                  </a:lnTo>
                  <a:lnTo>
                    <a:pt x="474" y="3625"/>
                  </a:lnTo>
                  <a:lnTo>
                    <a:pt x="479" y="3614"/>
                  </a:lnTo>
                  <a:lnTo>
                    <a:pt x="484" y="3603"/>
                  </a:lnTo>
                  <a:lnTo>
                    <a:pt x="489" y="3592"/>
                  </a:lnTo>
                  <a:lnTo>
                    <a:pt x="493" y="3580"/>
                  </a:lnTo>
                  <a:lnTo>
                    <a:pt x="496" y="3568"/>
                  </a:lnTo>
                  <a:lnTo>
                    <a:pt x="499" y="3556"/>
                  </a:lnTo>
                  <a:lnTo>
                    <a:pt x="501" y="3544"/>
                  </a:lnTo>
                  <a:lnTo>
                    <a:pt x="503" y="3531"/>
                  </a:lnTo>
                  <a:lnTo>
                    <a:pt x="504" y="3519"/>
                  </a:lnTo>
                  <a:lnTo>
                    <a:pt x="504" y="3506"/>
                  </a:lnTo>
                  <a:lnTo>
                    <a:pt x="511" y="3357"/>
                  </a:lnTo>
                  <a:lnTo>
                    <a:pt x="531" y="3208"/>
                  </a:lnTo>
                  <a:lnTo>
                    <a:pt x="564" y="3062"/>
                  </a:lnTo>
                  <a:lnTo>
                    <a:pt x="611" y="2917"/>
                  </a:lnTo>
                  <a:lnTo>
                    <a:pt x="669" y="2775"/>
                  </a:lnTo>
                  <a:lnTo>
                    <a:pt x="739" y="2634"/>
                  </a:lnTo>
                  <a:lnTo>
                    <a:pt x="820" y="2496"/>
                  </a:lnTo>
                  <a:lnTo>
                    <a:pt x="914" y="2361"/>
                  </a:lnTo>
                  <a:lnTo>
                    <a:pt x="1018" y="2229"/>
                  </a:lnTo>
                  <a:lnTo>
                    <a:pt x="1132" y="2100"/>
                  </a:lnTo>
                  <a:lnTo>
                    <a:pt x="1257" y="1973"/>
                  </a:lnTo>
                  <a:lnTo>
                    <a:pt x="1391" y="1851"/>
                  </a:lnTo>
                  <a:lnTo>
                    <a:pt x="1534" y="1733"/>
                  </a:lnTo>
                  <a:lnTo>
                    <a:pt x="1686" y="1619"/>
                  </a:lnTo>
                  <a:lnTo>
                    <a:pt x="1848" y="1509"/>
                  </a:lnTo>
                  <a:lnTo>
                    <a:pt x="2017" y="1403"/>
                  </a:lnTo>
                  <a:lnTo>
                    <a:pt x="2195" y="1302"/>
                  </a:lnTo>
                  <a:lnTo>
                    <a:pt x="2379" y="1206"/>
                  </a:lnTo>
                  <a:lnTo>
                    <a:pt x="2572" y="1115"/>
                  </a:lnTo>
                  <a:lnTo>
                    <a:pt x="2769" y="1030"/>
                  </a:lnTo>
                  <a:lnTo>
                    <a:pt x="2975" y="950"/>
                  </a:lnTo>
                  <a:lnTo>
                    <a:pt x="3186" y="876"/>
                  </a:lnTo>
                  <a:lnTo>
                    <a:pt x="3402" y="807"/>
                  </a:lnTo>
                  <a:lnTo>
                    <a:pt x="3624" y="745"/>
                  </a:lnTo>
                  <a:lnTo>
                    <a:pt x="3851" y="690"/>
                  </a:lnTo>
                  <a:lnTo>
                    <a:pt x="4083" y="641"/>
                  </a:lnTo>
                  <a:lnTo>
                    <a:pt x="4318" y="599"/>
                  </a:lnTo>
                  <a:lnTo>
                    <a:pt x="4557" y="564"/>
                  </a:lnTo>
                  <a:lnTo>
                    <a:pt x="4800" y="537"/>
                  </a:lnTo>
                  <a:lnTo>
                    <a:pt x="5046" y="517"/>
                  </a:lnTo>
                  <a:lnTo>
                    <a:pt x="5294" y="505"/>
                  </a:lnTo>
                  <a:lnTo>
                    <a:pt x="5545" y="501"/>
                  </a:lnTo>
                  <a:lnTo>
                    <a:pt x="5558" y="501"/>
                  </a:lnTo>
                  <a:lnTo>
                    <a:pt x="5571" y="500"/>
                  </a:lnTo>
                  <a:lnTo>
                    <a:pt x="5583" y="498"/>
                  </a:lnTo>
                  <a:lnTo>
                    <a:pt x="5595" y="496"/>
                  </a:lnTo>
                  <a:lnTo>
                    <a:pt x="5609" y="493"/>
                  </a:lnTo>
                  <a:lnTo>
                    <a:pt x="5620" y="490"/>
                  </a:lnTo>
                  <a:lnTo>
                    <a:pt x="5632" y="486"/>
                  </a:lnTo>
                  <a:lnTo>
                    <a:pt x="5643" y="481"/>
                  </a:lnTo>
                  <a:lnTo>
                    <a:pt x="5654" y="476"/>
                  </a:lnTo>
                  <a:lnTo>
                    <a:pt x="5665" y="471"/>
                  </a:lnTo>
                  <a:lnTo>
                    <a:pt x="5676" y="465"/>
                  </a:lnTo>
                  <a:lnTo>
                    <a:pt x="5686" y="458"/>
                  </a:lnTo>
                  <a:lnTo>
                    <a:pt x="5696" y="451"/>
                  </a:lnTo>
                  <a:lnTo>
                    <a:pt x="5705" y="444"/>
                  </a:lnTo>
                  <a:lnTo>
                    <a:pt x="5714" y="436"/>
                  </a:lnTo>
                  <a:lnTo>
                    <a:pt x="5723" y="428"/>
                  </a:lnTo>
                  <a:lnTo>
                    <a:pt x="5732" y="419"/>
                  </a:lnTo>
                  <a:lnTo>
                    <a:pt x="5740" y="410"/>
                  </a:lnTo>
                  <a:lnTo>
                    <a:pt x="5747" y="401"/>
                  </a:lnTo>
                  <a:lnTo>
                    <a:pt x="5754" y="391"/>
                  </a:lnTo>
                  <a:lnTo>
                    <a:pt x="5761" y="381"/>
                  </a:lnTo>
                  <a:lnTo>
                    <a:pt x="5767" y="370"/>
                  </a:lnTo>
                  <a:lnTo>
                    <a:pt x="5772" y="359"/>
                  </a:lnTo>
                  <a:lnTo>
                    <a:pt x="5777" y="348"/>
                  </a:lnTo>
                  <a:lnTo>
                    <a:pt x="5782" y="337"/>
                  </a:lnTo>
                  <a:lnTo>
                    <a:pt x="5786" y="325"/>
                  </a:lnTo>
                  <a:lnTo>
                    <a:pt x="5789" y="313"/>
                  </a:lnTo>
                  <a:lnTo>
                    <a:pt x="5792" y="301"/>
                  </a:lnTo>
                  <a:lnTo>
                    <a:pt x="5794" y="289"/>
                  </a:lnTo>
                  <a:lnTo>
                    <a:pt x="5796" y="277"/>
                  </a:lnTo>
                  <a:lnTo>
                    <a:pt x="5797" y="264"/>
                  </a:lnTo>
                  <a:lnTo>
                    <a:pt x="5797" y="251"/>
                  </a:lnTo>
                  <a:lnTo>
                    <a:pt x="5797" y="237"/>
                  </a:lnTo>
                  <a:lnTo>
                    <a:pt x="5796" y="225"/>
                  </a:lnTo>
                  <a:lnTo>
                    <a:pt x="5794" y="212"/>
                  </a:lnTo>
                  <a:lnTo>
                    <a:pt x="5792" y="200"/>
                  </a:lnTo>
                  <a:lnTo>
                    <a:pt x="5789" y="188"/>
                  </a:lnTo>
                  <a:lnTo>
                    <a:pt x="5786" y="176"/>
                  </a:lnTo>
                  <a:lnTo>
                    <a:pt x="5782" y="164"/>
                  </a:lnTo>
                  <a:lnTo>
                    <a:pt x="5777" y="153"/>
                  </a:lnTo>
                  <a:lnTo>
                    <a:pt x="5772" y="142"/>
                  </a:lnTo>
                  <a:lnTo>
                    <a:pt x="5767" y="131"/>
                  </a:lnTo>
                  <a:lnTo>
                    <a:pt x="5761" y="120"/>
                  </a:lnTo>
                  <a:lnTo>
                    <a:pt x="5754" y="110"/>
                  </a:lnTo>
                  <a:lnTo>
                    <a:pt x="5747" y="100"/>
                  </a:lnTo>
                  <a:lnTo>
                    <a:pt x="5740" y="91"/>
                  </a:lnTo>
                  <a:lnTo>
                    <a:pt x="5732" y="82"/>
                  </a:lnTo>
                  <a:lnTo>
                    <a:pt x="5723" y="73"/>
                  </a:lnTo>
                  <a:lnTo>
                    <a:pt x="5714" y="65"/>
                  </a:lnTo>
                  <a:lnTo>
                    <a:pt x="5705" y="57"/>
                  </a:lnTo>
                  <a:lnTo>
                    <a:pt x="5696" y="50"/>
                  </a:lnTo>
                  <a:lnTo>
                    <a:pt x="5686" y="43"/>
                  </a:lnTo>
                  <a:lnTo>
                    <a:pt x="5676" y="36"/>
                  </a:lnTo>
                  <a:lnTo>
                    <a:pt x="5665" y="30"/>
                  </a:lnTo>
                  <a:lnTo>
                    <a:pt x="5654" y="25"/>
                  </a:lnTo>
                  <a:lnTo>
                    <a:pt x="5643" y="20"/>
                  </a:lnTo>
                  <a:lnTo>
                    <a:pt x="5632" y="15"/>
                  </a:lnTo>
                  <a:lnTo>
                    <a:pt x="5620" y="11"/>
                  </a:lnTo>
                  <a:lnTo>
                    <a:pt x="5609" y="8"/>
                  </a:lnTo>
                  <a:lnTo>
                    <a:pt x="5595" y="5"/>
                  </a:lnTo>
                  <a:lnTo>
                    <a:pt x="5583" y="3"/>
                  </a:lnTo>
                  <a:lnTo>
                    <a:pt x="5571" y="1"/>
                  </a:lnTo>
                  <a:lnTo>
                    <a:pt x="5558" y="0"/>
                  </a:lnTo>
                  <a:lnTo>
                    <a:pt x="55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432" name="î$1iḋê">
              <a:extLst>
                <a:ext uri="{FF2B5EF4-FFF2-40B4-BE49-F238E27FC236}">
                  <a16:creationId xmlns:a16="http://schemas.microsoft.com/office/drawing/2014/main" id="{337B8878-74F0-41F2-8EB1-130A72F64DBC}"/>
                </a:ext>
              </a:extLst>
            </p:cNvPr>
            <p:cNvSpPr/>
            <p:nvPr/>
          </p:nvSpPr>
          <p:spPr bwMode="auto">
            <a:xfrm>
              <a:off x="5882085" y="3731420"/>
              <a:ext cx="442853" cy="384957"/>
            </a:xfrm>
            <a:custGeom>
              <a:avLst/>
              <a:gdLst>
                <a:gd name="T0" fmla="*/ 7365 w 16132"/>
                <a:gd name="T1" fmla="*/ 10992 h 14023"/>
                <a:gd name="T2" fmla="*/ 6620 w 16132"/>
                <a:gd name="T3" fmla="*/ 10910 h 14023"/>
                <a:gd name="T4" fmla="*/ 6344 w 16132"/>
                <a:gd name="T5" fmla="*/ 10917 h 14023"/>
                <a:gd name="T6" fmla="*/ 6106 w 16132"/>
                <a:gd name="T7" fmla="*/ 10988 h 14023"/>
                <a:gd name="T8" fmla="*/ 5892 w 16132"/>
                <a:gd name="T9" fmla="*/ 11114 h 14023"/>
                <a:gd name="T10" fmla="*/ 5710 w 16132"/>
                <a:gd name="T11" fmla="*/ 11296 h 14023"/>
                <a:gd name="T12" fmla="*/ 5336 w 16132"/>
                <a:gd name="T13" fmla="*/ 11674 h 14023"/>
                <a:gd name="T14" fmla="*/ 4873 w 16132"/>
                <a:gd name="T15" fmla="*/ 12065 h 14023"/>
                <a:gd name="T16" fmla="*/ 4310 w 16132"/>
                <a:gd name="T17" fmla="*/ 12459 h 14023"/>
                <a:gd name="T18" fmla="*/ 4388 w 16132"/>
                <a:gd name="T19" fmla="*/ 11971 h 14023"/>
                <a:gd name="T20" fmla="*/ 4488 w 16132"/>
                <a:gd name="T21" fmla="*/ 11553 h 14023"/>
                <a:gd name="T22" fmla="*/ 4535 w 16132"/>
                <a:gd name="T23" fmla="*/ 11121 h 14023"/>
                <a:gd name="T24" fmla="*/ 4531 w 16132"/>
                <a:gd name="T25" fmla="*/ 10842 h 14023"/>
                <a:gd name="T26" fmla="*/ 4442 w 16132"/>
                <a:gd name="T27" fmla="*/ 10547 h 14023"/>
                <a:gd name="T28" fmla="*/ 4269 w 16132"/>
                <a:gd name="T29" fmla="*/ 10296 h 14023"/>
                <a:gd name="T30" fmla="*/ 4023 w 16132"/>
                <a:gd name="T31" fmla="*/ 10106 h 14023"/>
                <a:gd name="T32" fmla="*/ 2737 w 16132"/>
                <a:gd name="T33" fmla="*/ 9277 h 14023"/>
                <a:gd name="T34" fmla="*/ 1706 w 16132"/>
                <a:gd name="T35" fmla="*/ 8163 h 14023"/>
                <a:gd name="T36" fmla="*/ 1123 w 16132"/>
                <a:gd name="T37" fmla="*/ 6901 h 14023"/>
                <a:gd name="T38" fmla="*/ 1090 w 16132"/>
                <a:gd name="T39" fmla="*/ 5248 h 14023"/>
                <a:gd name="T40" fmla="*/ 2215 w 16132"/>
                <a:gd name="T41" fmla="*/ 3211 h 14023"/>
                <a:gd name="T42" fmla="*/ 4409 w 16132"/>
                <a:gd name="T43" fmla="*/ 1728 h 14023"/>
                <a:gd name="T44" fmla="*/ 7345 w 16132"/>
                <a:gd name="T45" fmla="*/ 1028 h 14023"/>
                <a:gd name="T46" fmla="*/ 10490 w 16132"/>
                <a:gd name="T47" fmla="*/ 1306 h 14023"/>
                <a:gd name="T48" fmla="*/ 13054 w 16132"/>
                <a:gd name="T49" fmla="*/ 2470 h 14023"/>
                <a:gd name="T50" fmla="*/ 14695 w 16132"/>
                <a:gd name="T51" fmla="*/ 4290 h 14023"/>
                <a:gd name="T52" fmla="*/ 15087 w 16132"/>
                <a:gd name="T53" fmla="*/ 6521 h 14023"/>
                <a:gd name="T54" fmla="*/ 14100 w 16132"/>
                <a:gd name="T55" fmla="*/ 8605 h 14023"/>
                <a:gd name="T56" fmla="*/ 12009 w 16132"/>
                <a:gd name="T57" fmla="*/ 10162 h 14023"/>
                <a:gd name="T58" fmla="*/ 9140 w 16132"/>
                <a:gd name="T59" fmla="*/ 10960 h 14023"/>
                <a:gd name="T60" fmla="*/ 6051 w 16132"/>
                <a:gd name="T61" fmla="*/ 189 h 14023"/>
                <a:gd name="T62" fmla="*/ 2935 w 16132"/>
                <a:gd name="T63" fmla="*/ 1372 h 14023"/>
                <a:gd name="T64" fmla="*/ 796 w 16132"/>
                <a:gd name="T65" fmla="*/ 3405 h 14023"/>
                <a:gd name="T66" fmla="*/ 0 w 16132"/>
                <a:gd name="T67" fmla="*/ 6010 h 14023"/>
                <a:gd name="T68" fmla="*/ 318 w 16132"/>
                <a:gd name="T69" fmla="*/ 7685 h 14023"/>
                <a:gd name="T70" fmla="*/ 1211 w 16132"/>
                <a:gd name="T71" fmla="*/ 9177 h 14023"/>
                <a:gd name="T72" fmla="*/ 2590 w 16132"/>
                <a:gd name="T73" fmla="*/ 10421 h 14023"/>
                <a:gd name="T74" fmla="*/ 3529 w 16132"/>
                <a:gd name="T75" fmla="*/ 11018 h 14023"/>
                <a:gd name="T76" fmla="*/ 3392 w 16132"/>
                <a:gd name="T77" fmla="*/ 11780 h 14023"/>
                <a:gd name="T78" fmla="*/ 3075 w 16132"/>
                <a:gd name="T79" fmla="*/ 12505 h 14023"/>
                <a:gd name="T80" fmla="*/ 2616 w 16132"/>
                <a:gd name="T81" fmla="*/ 13290 h 14023"/>
                <a:gd name="T82" fmla="*/ 2522 w 16132"/>
                <a:gd name="T83" fmla="*/ 13545 h 14023"/>
                <a:gd name="T84" fmla="*/ 2556 w 16132"/>
                <a:gd name="T85" fmla="*/ 13746 h 14023"/>
                <a:gd name="T86" fmla="*/ 2670 w 16132"/>
                <a:gd name="T87" fmla="*/ 13905 h 14023"/>
                <a:gd name="T88" fmla="*/ 2841 w 16132"/>
                <a:gd name="T89" fmla="*/ 14003 h 14023"/>
                <a:gd name="T90" fmla="*/ 3078 w 16132"/>
                <a:gd name="T91" fmla="*/ 14016 h 14023"/>
                <a:gd name="T92" fmla="*/ 3690 w 16132"/>
                <a:gd name="T93" fmla="*/ 13870 h 14023"/>
                <a:gd name="T94" fmla="*/ 4910 w 16132"/>
                <a:gd name="T95" fmla="*/ 13267 h 14023"/>
                <a:gd name="T96" fmla="*/ 5885 w 16132"/>
                <a:gd name="T97" fmla="*/ 12528 h 14023"/>
                <a:gd name="T98" fmla="*/ 6475 w 16132"/>
                <a:gd name="T99" fmla="*/ 11947 h 14023"/>
                <a:gd name="T100" fmla="*/ 7278 w 16132"/>
                <a:gd name="T101" fmla="*/ 11990 h 14023"/>
                <a:gd name="T102" fmla="*/ 8481 w 16132"/>
                <a:gd name="T103" fmla="*/ 12012 h 14023"/>
                <a:gd name="T104" fmla="*/ 11910 w 16132"/>
                <a:gd name="T105" fmla="*/ 11295 h 14023"/>
                <a:gd name="T106" fmla="*/ 14530 w 16132"/>
                <a:gd name="T107" fmla="*/ 9606 h 14023"/>
                <a:gd name="T108" fmla="*/ 15968 w 16132"/>
                <a:gd name="T109" fmla="*/ 7221 h 14023"/>
                <a:gd name="T110" fmla="*/ 15878 w 16132"/>
                <a:gd name="T111" fmla="*/ 4508 h 14023"/>
                <a:gd name="T112" fmla="*/ 14290 w 16132"/>
                <a:gd name="T113" fmla="*/ 2188 h 14023"/>
                <a:gd name="T114" fmla="*/ 11563 w 16132"/>
                <a:gd name="T115" fmla="*/ 593 h 14023"/>
                <a:gd name="T116" fmla="*/ 8066 w 16132"/>
                <a:gd name="T117" fmla="*/ 0 h 14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132" h="14023">
                  <a:moveTo>
                    <a:pt x="8066" y="11018"/>
                  </a:moveTo>
                  <a:lnTo>
                    <a:pt x="7979" y="11018"/>
                  </a:lnTo>
                  <a:lnTo>
                    <a:pt x="7893" y="11016"/>
                  </a:lnTo>
                  <a:lnTo>
                    <a:pt x="7805" y="11014"/>
                  </a:lnTo>
                  <a:lnTo>
                    <a:pt x="7717" y="11012"/>
                  </a:lnTo>
                  <a:lnTo>
                    <a:pt x="7629" y="11008"/>
                  </a:lnTo>
                  <a:lnTo>
                    <a:pt x="7542" y="11003"/>
                  </a:lnTo>
                  <a:lnTo>
                    <a:pt x="7454" y="10998"/>
                  </a:lnTo>
                  <a:lnTo>
                    <a:pt x="7365" y="10992"/>
                  </a:lnTo>
                  <a:lnTo>
                    <a:pt x="7278" y="10985"/>
                  </a:lnTo>
                  <a:lnTo>
                    <a:pt x="7189" y="10978"/>
                  </a:lnTo>
                  <a:lnTo>
                    <a:pt x="7100" y="10969"/>
                  </a:lnTo>
                  <a:lnTo>
                    <a:pt x="7011" y="10960"/>
                  </a:lnTo>
                  <a:lnTo>
                    <a:pt x="6923" y="10950"/>
                  </a:lnTo>
                  <a:lnTo>
                    <a:pt x="6834" y="10939"/>
                  </a:lnTo>
                  <a:lnTo>
                    <a:pt x="6745" y="10927"/>
                  </a:lnTo>
                  <a:lnTo>
                    <a:pt x="6656" y="10914"/>
                  </a:lnTo>
                  <a:lnTo>
                    <a:pt x="6620" y="10910"/>
                  </a:lnTo>
                  <a:lnTo>
                    <a:pt x="6583" y="10906"/>
                  </a:lnTo>
                  <a:lnTo>
                    <a:pt x="6547" y="10904"/>
                  </a:lnTo>
                  <a:lnTo>
                    <a:pt x="6510" y="10903"/>
                  </a:lnTo>
                  <a:lnTo>
                    <a:pt x="6482" y="10904"/>
                  </a:lnTo>
                  <a:lnTo>
                    <a:pt x="6455" y="10905"/>
                  </a:lnTo>
                  <a:lnTo>
                    <a:pt x="6427" y="10907"/>
                  </a:lnTo>
                  <a:lnTo>
                    <a:pt x="6398" y="10910"/>
                  </a:lnTo>
                  <a:lnTo>
                    <a:pt x="6371" y="10913"/>
                  </a:lnTo>
                  <a:lnTo>
                    <a:pt x="6344" y="10917"/>
                  </a:lnTo>
                  <a:lnTo>
                    <a:pt x="6317" y="10922"/>
                  </a:lnTo>
                  <a:lnTo>
                    <a:pt x="6289" y="10928"/>
                  </a:lnTo>
                  <a:lnTo>
                    <a:pt x="6262" y="10934"/>
                  </a:lnTo>
                  <a:lnTo>
                    <a:pt x="6236" y="10941"/>
                  </a:lnTo>
                  <a:lnTo>
                    <a:pt x="6210" y="10949"/>
                  </a:lnTo>
                  <a:lnTo>
                    <a:pt x="6183" y="10958"/>
                  </a:lnTo>
                  <a:lnTo>
                    <a:pt x="6157" y="10967"/>
                  </a:lnTo>
                  <a:lnTo>
                    <a:pt x="6131" y="10977"/>
                  </a:lnTo>
                  <a:lnTo>
                    <a:pt x="6106" y="10988"/>
                  </a:lnTo>
                  <a:lnTo>
                    <a:pt x="6081" y="10999"/>
                  </a:lnTo>
                  <a:lnTo>
                    <a:pt x="6056" y="11011"/>
                  </a:lnTo>
                  <a:lnTo>
                    <a:pt x="6031" y="11024"/>
                  </a:lnTo>
                  <a:lnTo>
                    <a:pt x="6007" y="11037"/>
                  </a:lnTo>
                  <a:lnTo>
                    <a:pt x="5983" y="11051"/>
                  </a:lnTo>
                  <a:lnTo>
                    <a:pt x="5960" y="11066"/>
                  </a:lnTo>
                  <a:lnTo>
                    <a:pt x="5937" y="11081"/>
                  </a:lnTo>
                  <a:lnTo>
                    <a:pt x="5914" y="11097"/>
                  </a:lnTo>
                  <a:lnTo>
                    <a:pt x="5892" y="11114"/>
                  </a:lnTo>
                  <a:lnTo>
                    <a:pt x="5870" y="11131"/>
                  </a:lnTo>
                  <a:lnTo>
                    <a:pt x="5849" y="11149"/>
                  </a:lnTo>
                  <a:lnTo>
                    <a:pt x="5828" y="11167"/>
                  </a:lnTo>
                  <a:lnTo>
                    <a:pt x="5808" y="11187"/>
                  </a:lnTo>
                  <a:lnTo>
                    <a:pt x="5787" y="11206"/>
                  </a:lnTo>
                  <a:lnTo>
                    <a:pt x="5768" y="11227"/>
                  </a:lnTo>
                  <a:lnTo>
                    <a:pt x="5749" y="11248"/>
                  </a:lnTo>
                  <a:lnTo>
                    <a:pt x="5731" y="11269"/>
                  </a:lnTo>
                  <a:lnTo>
                    <a:pt x="5710" y="11296"/>
                  </a:lnTo>
                  <a:lnTo>
                    <a:pt x="5686" y="11323"/>
                  </a:lnTo>
                  <a:lnTo>
                    <a:pt x="5660" y="11352"/>
                  </a:lnTo>
                  <a:lnTo>
                    <a:pt x="5632" y="11382"/>
                  </a:lnTo>
                  <a:lnTo>
                    <a:pt x="5570" y="11448"/>
                  </a:lnTo>
                  <a:lnTo>
                    <a:pt x="5499" y="11518"/>
                  </a:lnTo>
                  <a:lnTo>
                    <a:pt x="5461" y="11556"/>
                  </a:lnTo>
                  <a:lnTo>
                    <a:pt x="5420" y="11594"/>
                  </a:lnTo>
                  <a:lnTo>
                    <a:pt x="5379" y="11633"/>
                  </a:lnTo>
                  <a:lnTo>
                    <a:pt x="5336" y="11674"/>
                  </a:lnTo>
                  <a:lnTo>
                    <a:pt x="5290" y="11715"/>
                  </a:lnTo>
                  <a:lnTo>
                    <a:pt x="5243" y="11757"/>
                  </a:lnTo>
                  <a:lnTo>
                    <a:pt x="5195" y="11799"/>
                  </a:lnTo>
                  <a:lnTo>
                    <a:pt x="5145" y="11842"/>
                  </a:lnTo>
                  <a:lnTo>
                    <a:pt x="5093" y="11886"/>
                  </a:lnTo>
                  <a:lnTo>
                    <a:pt x="5040" y="11931"/>
                  </a:lnTo>
                  <a:lnTo>
                    <a:pt x="4986" y="11975"/>
                  </a:lnTo>
                  <a:lnTo>
                    <a:pt x="4930" y="12020"/>
                  </a:lnTo>
                  <a:lnTo>
                    <a:pt x="4873" y="12065"/>
                  </a:lnTo>
                  <a:lnTo>
                    <a:pt x="4814" y="12109"/>
                  </a:lnTo>
                  <a:lnTo>
                    <a:pt x="4755" y="12154"/>
                  </a:lnTo>
                  <a:lnTo>
                    <a:pt x="4694" y="12199"/>
                  </a:lnTo>
                  <a:lnTo>
                    <a:pt x="4633" y="12243"/>
                  </a:lnTo>
                  <a:lnTo>
                    <a:pt x="4570" y="12287"/>
                  </a:lnTo>
                  <a:lnTo>
                    <a:pt x="4507" y="12331"/>
                  </a:lnTo>
                  <a:lnTo>
                    <a:pt x="4442" y="12374"/>
                  </a:lnTo>
                  <a:lnTo>
                    <a:pt x="4377" y="12417"/>
                  </a:lnTo>
                  <a:lnTo>
                    <a:pt x="4310" y="12459"/>
                  </a:lnTo>
                  <a:lnTo>
                    <a:pt x="4244" y="12501"/>
                  </a:lnTo>
                  <a:lnTo>
                    <a:pt x="4176" y="12542"/>
                  </a:lnTo>
                  <a:lnTo>
                    <a:pt x="4212" y="12456"/>
                  </a:lnTo>
                  <a:lnTo>
                    <a:pt x="4248" y="12371"/>
                  </a:lnTo>
                  <a:lnTo>
                    <a:pt x="4281" y="12284"/>
                  </a:lnTo>
                  <a:lnTo>
                    <a:pt x="4313" y="12196"/>
                  </a:lnTo>
                  <a:lnTo>
                    <a:pt x="4345" y="12107"/>
                  </a:lnTo>
                  <a:lnTo>
                    <a:pt x="4374" y="12017"/>
                  </a:lnTo>
                  <a:lnTo>
                    <a:pt x="4388" y="11971"/>
                  </a:lnTo>
                  <a:lnTo>
                    <a:pt x="4401" y="11926"/>
                  </a:lnTo>
                  <a:lnTo>
                    <a:pt x="4414" y="11879"/>
                  </a:lnTo>
                  <a:lnTo>
                    <a:pt x="4426" y="11833"/>
                  </a:lnTo>
                  <a:lnTo>
                    <a:pt x="4438" y="11787"/>
                  </a:lnTo>
                  <a:lnTo>
                    <a:pt x="4449" y="11740"/>
                  </a:lnTo>
                  <a:lnTo>
                    <a:pt x="4459" y="11694"/>
                  </a:lnTo>
                  <a:lnTo>
                    <a:pt x="4470" y="11647"/>
                  </a:lnTo>
                  <a:lnTo>
                    <a:pt x="4480" y="11600"/>
                  </a:lnTo>
                  <a:lnTo>
                    <a:pt x="4488" y="11553"/>
                  </a:lnTo>
                  <a:lnTo>
                    <a:pt x="4496" y="11506"/>
                  </a:lnTo>
                  <a:lnTo>
                    <a:pt x="4504" y="11458"/>
                  </a:lnTo>
                  <a:lnTo>
                    <a:pt x="4510" y="11411"/>
                  </a:lnTo>
                  <a:lnTo>
                    <a:pt x="4516" y="11363"/>
                  </a:lnTo>
                  <a:lnTo>
                    <a:pt x="4522" y="11315"/>
                  </a:lnTo>
                  <a:lnTo>
                    <a:pt x="4526" y="11266"/>
                  </a:lnTo>
                  <a:lnTo>
                    <a:pt x="4530" y="11218"/>
                  </a:lnTo>
                  <a:lnTo>
                    <a:pt x="4533" y="11170"/>
                  </a:lnTo>
                  <a:lnTo>
                    <a:pt x="4535" y="11121"/>
                  </a:lnTo>
                  <a:lnTo>
                    <a:pt x="4537" y="11073"/>
                  </a:lnTo>
                  <a:lnTo>
                    <a:pt x="4538" y="11049"/>
                  </a:lnTo>
                  <a:lnTo>
                    <a:pt x="4540" y="11025"/>
                  </a:lnTo>
                  <a:lnTo>
                    <a:pt x="4541" y="11002"/>
                  </a:lnTo>
                  <a:lnTo>
                    <a:pt x="4541" y="10981"/>
                  </a:lnTo>
                  <a:lnTo>
                    <a:pt x="4540" y="10946"/>
                  </a:lnTo>
                  <a:lnTo>
                    <a:pt x="4539" y="10911"/>
                  </a:lnTo>
                  <a:lnTo>
                    <a:pt x="4536" y="10876"/>
                  </a:lnTo>
                  <a:lnTo>
                    <a:pt x="4531" y="10842"/>
                  </a:lnTo>
                  <a:lnTo>
                    <a:pt x="4526" y="10808"/>
                  </a:lnTo>
                  <a:lnTo>
                    <a:pt x="4519" y="10774"/>
                  </a:lnTo>
                  <a:lnTo>
                    <a:pt x="4512" y="10741"/>
                  </a:lnTo>
                  <a:lnTo>
                    <a:pt x="4503" y="10707"/>
                  </a:lnTo>
                  <a:lnTo>
                    <a:pt x="4493" y="10675"/>
                  </a:lnTo>
                  <a:lnTo>
                    <a:pt x="4482" y="10641"/>
                  </a:lnTo>
                  <a:lnTo>
                    <a:pt x="4470" y="10610"/>
                  </a:lnTo>
                  <a:lnTo>
                    <a:pt x="4456" y="10578"/>
                  </a:lnTo>
                  <a:lnTo>
                    <a:pt x="4442" y="10547"/>
                  </a:lnTo>
                  <a:lnTo>
                    <a:pt x="4426" y="10517"/>
                  </a:lnTo>
                  <a:lnTo>
                    <a:pt x="4410" y="10487"/>
                  </a:lnTo>
                  <a:lnTo>
                    <a:pt x="4393" y="10458"/>
                  </a:lnTo>
                  <a:lnTo>
                    <a:pt x="4375" y="10429"/>
                  </a:lnTo>
                  <a:lnTo>
                    <a:pt x="4356" y="10401"/>
                  </a:lnTo>
                  <a:lnTo>
                    <a:pt x="4334" y="10374"/>
                  </a:lnTo>
                  <a:lnTo>
                    <a:pt x="4313" y="10347"/>
                  </a:lnTo>
                  <a:lnTo>
                    <a:pt x="4291" y="10321"/>
                  </a:lnTo>
                  <a:lnTo>
                    <a:pt x="4269" y="10296"/>
                  </a:lnTo>
                  <a:lnTo>
                    <a:pt x="4245" y="10271"/>
                  </a:lnTo>
                  <a:lnTo>
                    <a:pt x="4220" y="10248"/>
                  </a:lnTo>
                  <a:lnTo>
                    <a:pt x="4194" y="10225"/>
                  </a:lnTo>
                  <a:lnTo>
                    <a:pt x="4168" y="10203"/>
                  </a:lnTo>
                  <a:lnTo>
                    <a:pt x="4140" y="10182"/>
                  </a:lnTo>
                  <a:lnTo>
                    <a:pt x="4112" y="10161"/>
                  </a:lnTo>
                  <a:lnTo>
                    <a:pt x="4083" y="10142"/>
                  </a:lnTo>
                  <a:lnTo>
                    <a:pt x="4053" y="10123"/>
                  </a:lnTo>
                  <a:lnTo>
                    <a:pt x="4023" y="10106"/>
                  </a:lnTo>
                  <a:lnTo>
                    <a:pt x="3992" y="10089"/>
                  </a:lnTo>
                  <a:lnTo>
                    <a:pt x="3819" y="9998"/>
                  </a:lnTo>
                  <a:lnTo>
                    <a:pt x="3650" y="9904"/>
                  </a:lnTo>
                  <a:lnTo>
                    <a:pt x="3487" y="9807"/>
                  </a:lnTo>
                  <a:lnTo>
                    <a:pt x="3327" y="9707"/>
                  </a:lnTo>
                  <a:lnTo>
                    <a:pt x="3173" y="9604"/>
                  </a:lnTo>
                  <a:lnTo>
                    <a:pt x="3023" y="9499"/>
                  </a:lnTo>
                  <a:lnTo>
                    <a:pt x="2878" y="9389"/>
                  </a:lnTo>
                  <a:lnTo>
                    <a:pt x="2737" y="9277"/>
                  </a:lnTo>
                  <a:lnTo>
                    <a:pt x="2602" y="9163"/>
                  </a:lnTo>
                  <a:lnTo>
                    <a:pt x="2472" y="9046"/>
                  </a:lnTo>
                  <a:lnTo>
                    <a:pt x="2346" y="8927"/>
                  </a:lnTo>
                  <a:lnTo>
                    <a:pt x="2226" y="8805"/>
                  </a:lnTo>
                  <a:lnTo>
                    <a:pt x="2112" y="8681"/>
                  </a:lnTo>
                  <a:lnTo>
                    <a:pt x="2002" y="8555"/>
                  </a:lnTo>
                  <a:lnTo>
                    <a:pt x="1899" y="8427"/>
                  </a:lnTo>
                  <a:lnTo>
                    <a:pt x="1800" y="8297"/>
                  </a:lnTo>
                  <a:lnTo>
                    <a:pt x="1706" y="8163"/>
                  </a:lnTo>
                  <a:lnTo>
                    <a:pt x="1618" y="8030"/>
                  </a:lnTo>
                  <a:lnTo>
                    <a:pt x="1537" y="7894"/>
                  </a:lnTo>
                  <a:lnTo>
                    <a:pt x="1460" y="7757"/>
                  </a:lnTo>
                  <a:lnTo>
                    <a:pt x="1388" y="7617"/>
                  </a:lnTo>
                  <a:lnTo>
                    <a:pt x="1324" y="7476"/>
                  </a:lnTo>
                  <a:lnTo>
                    <a:pt x="1264" y="7335"/>
                  </a:lnTo>
                  <a:lnTo>
                    <a:pt x="1212" y="7192"/>
                  </a:lnTo>
                  <a:lnTo>
                    <a:pt x="1165" y="7047"/>
                  </a:lnTo>
                  <a:lnTo>
                    <a:pt x="1123" y="6901"/>
                  </a:lnTo>
                  <a:lnTo>
                    <a:pt x="1089" y="6755"/>
                  </a:lnTo>
                  <a:lnTo>
                    <a:pt x="1060" y="6608"/>
                  </a:lnTo>
                  <a:lnTo>
                    <a:pt x="1037" y="6459"/>
                  </a:lnTo>
                  <a:lnTo>
                    <a:pt x="1021" y="6309"/>
                  </a:lnTo>
                  <a:lnTo>
                    <a:pt x="1011" y="6160"/>
                  </a:lnTo>
                  <a:lnTo>
                    <a:pt x="1008" y="6010"/>
                  </a:lnTo>
                  <a:lnTo>
                    <a:pt x="1017" y="5752"/>
                  </a:lnTo>
                  <a:lnTo>
                    <a:pt x="1045" y="5498"/>
                  </a:lnTo>
                  <a:lnTo>
                    <a:pt x="1090" y="5248"/>
                  </a:lnTo>
                  <a:lnTo>
                    <a:pt x="1151" y="5002"/>
                  </a:lnTo>
                  <a:lnTo>
                    <a:pt x="1231" y="4760"/>
                  </a:lnTo>
                  <a:lnTo>
                    <a:pt x="1326" y="4522"/>
                  </a:lnTo>
                  <a:lnTo>
                    <a:pt x="1437" y="4290"/>
                  </a:lnTo>
                  <a:lnTo>
                    <a:pt x="1564" y="4063"/>
                  </a:lnTo>
                  <a:lnTo>
                    <a:pt x="1705" y="3840"/>
                  </a:lnTo>
                  <a:lnTo>
                    <a:pt x="1861" y="3625"/>
                  </a:lnTo>
                  <a:lnTo>
                    <a:pt x="2032" y="3415"/>
                  </a:lnTo>
                  <a:lnTo>
                    <a:pt x="2215" y="3211"/>
                  </a:lnTo>
                  <a:lnTo>
                    <a:pt x="2412" y="3015"/>
                  </a:lnTo>
                  <a:lnTo>
                    <a:pt x="2621" y="2826"/>
                  </a:lnTo>
                  <a:lnTo>
                    <a:pt x="2844" y="2644"/>
                  </a:lnTo>
                  <a:lnTo>
                    <a:pt x="3078" y="2470"/>
                  </a:lnTo>
                  <a:lnTo>
                    <a:pt x="3323" y="2304"/>
                  </a:lnTo>
                  <a:lnTo>
                    <a:pt x="3579" y="2147"/>
                  </a:lnTo>
                  <a:lnTo>
                    <a:pt x="3845" y="1998"/>
                  </a:lnTo>
                  <a:lnTo>
                    <a:pt x="4123" y="1858"/>
                  </a:lnTo>
                  <a:lnTo>
                    <a:pt x="4409" y="1728"/>
                  </a:lnTo>
                  <a:lnTo>
                    <a:pt x="4704" y="1607"/>
                  </a:lnTo>
                  <a:lnTo>
                    <a:pt x="5009" y="1496"/>
                  </a:lnTo>
                  <a:lnTo>
                    <a:pt x="5322" y="1395"/>
                  </a:lnTo>
                  <a:lnTo>
                    <a:pt x="5642" y="1306"/>
                  </a:lnTo>
                  <a:lnTo>
                    <a:pt x="5970" y="1227"/>
                  </a:lnTo>
                  <a:lnTo>
                    <a:pt x="6305" y="1160"/>
                  </a:lnTo>
                  <a:lnTo>
                    <a:pt x="6645" y="1104"/>
                  </a:lnTo>
                  <a:lnTo>
                    <a:pt x="6992" y="1060"/>
                  </a:lnTo>
                  <a:lnTo>
                    <a:pt x="7345" y="1028"/>
                  </a:lnTo>
                  <a:lnTo>
                    <a:pt x="7703" y="1008"/>
                  </a:lnTo>
                  <a:lnTo>
                    <a:pt x="8066" y="1002"/>
                  </a:lnTo>
                  <a:lnTo>
                    <a:pt x="8429" y="1008"/>
                  </a:lnTo>
                  <a:lnTo>
                    <a:pt x="8787" y="1028"/>
                  </a:lnTo>
                  <a:lnTo>
                    <a:pt x="9140" y="1060"/>
                  </a:lnTo>
                  <a:lnTo>
                    <a:pt x="9487" y="1104"/>
                  </a:lnTo>
                  <a:lnTo>
                    <a:pt x="9827" y="1160"/>
                  </a:lnTo>
                  <a:lnTo>
                    <a:pt x="10162" y="1227"/>
                  </a:lnTo>
                  <a:lnTo>
                    <a:pt x="10490" y="1306"/>
                  </a:lnTo>
                  <a:lnTo>
                    <a:pt x="10810" y="1395"/>
                  </a:lnTo>
                  <a:lnTo>
                    <a:pt x="11123" y="1496"/>
                  </a:lnTo>
                  <a:lnTo>
                    <a:pt x="11428" y="1607"/>
                  </a:lnTo>
                  <a:lnTo>
                    <a:pt x="11723" y="1728"/>
                  </a:lnTo>
                  <a:lnTo>
                    <a:pt x="12009" y="1858"/>
                  </a:lnTo>
                  <a:lnTo>
                    <a:pt x="12287" y="1998"/>
                  </a:lnTo>
                  <a:lnTo>
                    <a:pt x="12553" y="2147"/>
                  </a:lnTo>
                  <a:lnTo>
                    <a:pt x="12809" y="2304"/>
                  </a:lnTo>
                  <a:lnTo>
                    <a:pt x="13054" y="2470"/>
                  </a:lnTo>
                  <a:lnTo>
                    <a:pt x="13288" y="2644"/>
                  </a:lnTo>
                  <a:lnTo>
                    <a:pt x="13511" y="2826"/>
                  </a:lnTo>
                  <a:lnTo>
                    <a:pt x="13720" y="3015"/>
                  </a:lnTo>
                  <a:lnTo>
                    <a:pt x="13917" y="3211"/>
                  </a:lnTo>
                  <a:lnTo>
                    <a:pt x="14100" y="3415"/>
                  </a:lnTo>
                  <a:lnTo>
                    <a:pt x="14271" y="3625"/>
                  </a:lnTo>
                  <a:lnTo>
                    <a:pt x="14427" y="3840"/>
                  </a:lnTo>
                  <a:lnTo>
                    <a:pt x="14568" y="4063"/>
                  </a:lnTo>
                  <a:lnTo>
                    <a:pt x="14695" y="4290"/>
                  </a:lnTo>
                  <a:lnTo>
                    <a:pt x="14806" y="4522"/>
                  </a:lnTo>
                  <a:lnTo>
                    <a:pt x="14901" y="4760"/>
                  </a:lnTo>
                  <a:lnTo>
                    <a:pt x="14981" y="5002"/>
                  </a:lnTo>
                  <a:lnTo>
                    <a:pt x="15042" y="5248"/>
                  </a:lnTo>
                  <a:lnTo>
                    <a:pt x="15087" y="5498"/>
                  </a:lnTo>
                  <a:lnTo>
                    <a:pt x="15115" y="5752"/>
                  </a:lnTo>
                  <a:lnTo>
                    <a:pt x="15124" y="6010"/>
                  </a:lnTo>
                  <a:lnTo>
                    <a:pt x="15115" y="6267"/>
                  </a:lnTo>
                  <a:lnTo>
                    <a:pt x="15087" y="6521"/>
                  </a:lnTo>
                  <a:lnTo>
                    <a:pt x="15042" y="6771"/>
                  </a:lnTo>
                  <a:lnTo>
                    <a:pt x="14981" y="7018"/>
                  </a:lnTo>
                  <a:lnTo>
                    <a:pt x="14901" y="7260"/>
                  </a:lnTo>
                  <a:lnTo>
                    <a:pt x="14806" y="7497"/>
                  </a:lnTo>
                  <a:lnTo>
                    <a:pt x="14695" y="7730"/>
                  </a:lnTo>
                  <a:lnTo>
                    <a:pt x="14568" y="7957"/>
                  </a:lnTo>
                  <a:lnTo>
                    <a:pt x="14427" y="8179"/>
                  </a:lnTo>
                  <a:lnTo>
                    <a:pt x="14271" y="8395"/>
                  </a:lnTo>
                  <a:lnTo>
                    <a:pt x="14100" y="8605"/>
                  </a:lnTo>
                  <a:lnTo>
                    <a:pt x="13917" y="8807"/>
                  </a:lnTo>
                  <a:lnTo>
                    <a:pt x="13720" y="9005"/>
                  </a:lnTo>
                  <a:lnTo>
                    <a:pt x="13511" y="9194"/>
                  </a:lnTo>
                  <a:lnTo>
                    <a:pt x="13288" y="9375"/>
                  </a:lnTo>
                  <a:lnTo>
                    <a:pt x="13054" y="9550"/>
                  </a:lnTo>
                  <a:lnTo>
                    <a:pt x="12809" y="9715"/>
                  </a:lnTo>
                  <a:lnTo>
                    <a:pt x="12553" y="9873"/>
                  </a:lnTo>
                  <a:lnTo>
                    <a:pt x="12287" y="10021"/>
                  </a:lnTo>
                  <a:lnTo>
                    <a:pt x="12009" y="10162"/>
                  </a:lnTo>
                  <a:lnTo>
                    <a:pt x="11723" y="10292"/>
                  </a:lnTo>
                  <a:lnTo>
                    <a:pt x="11428" y="10413"/>
                  </a:lnTo>
                  <a:lnTo>
                    <a:pt x="11123" y="10523"/>
                  </a:lnTo>
                  <a:lnTo>
                    <a:pt x="10810" y="10623"/>
                  </a:lnTo>
                  <a:lnTo>
                    <a:pt x="10490" y="10714"/>
                  </a:lnTo>
                  <a:lnTo>
                    <a:pt x="10162" y="10793"/>
                  </a:lnTo>
                  <a:lnTo>
                    <a:pt x="9827" y="10860"/>
                  </a:lnTo>
                  <a:lnTo>
                    <a:pt x="9487" y="10916"/>
                  </a:lnTo>
                  <a:lnTo>
                    <a:pt x="9140" y="10960"/>
                  </a:lnTo>
                  <a:lnTo>
                    <a:pt x="8787" y="10992"/>
                  </a:lnTo>
                  <a:lnTo>
                    <a:pt x="8429" y="11011"/>
                  </a:lnTo>
                  <a:lnTo>
                    <a:pt x="8066" y="11018"/>
                  </a:lnTo>
                  <a:close/>
                  <a:moveTo>
                    <a:pt x="8066" y="0"/>
                  </a:moveTo>
                  <a:lnTo>
                    <a:pt x="7651" y="8"/>
                  </a:lnTo>
                  <a:lnTo>
                    <a:pt x="7241" y="31"/>
                  </a:lnTo>
                  <a:lnTo>
                    <a:pt x="6838" y="69"/>
                  </a:lnTo>
                  <a:lnTo>
                    <a:pt x="6441" y="122"/>
                  </a:lnTo>
                  <a:lnTo>
                    <a:pt x="6051" y="189"/>
                  </a:lnTo>
                  <a:lnTo>
                    <a:pt x="5667" y="270"/>
                  </a:lnTo>
                  <a:lnTo>
                    <a:pt x="5292" y="365"/>
                  </a:lnTo>
                  <a:lnTo>
                    <a:pt x="4926" y="473"/>
                  </a:lnTo>
                  <a:lnTo>
                    <a:pt x="4569" y="593"/>
                  </a:lnTo>
                  <a:lnTo>
                    <a:pt x="4222" y="725"/>
                  </a:lnTo>
                  <a:lnTo>
                    <a:pt x="3884" y="870"/>
                  </a:lnTo>
                  <a:lnTo>
                    <a:pt x="3556" y="1027"/>
                  </a:lnTo>
                  <a:lnTo>
                    <a:pt x="3240" y="1194"/>
                  </a:lnTo>
                  <a:lnTo>
                    <a:pt x="2935" y="1372"/>
                  </a:lnTo>
                  <a:lnTo>
                    <a:pt x="2643" y="1562"/>
                  </a:lnTo>
                  <a:lnTo>
                    <a:pt x="2362" y="1760"/>
                  </a:lnTo>
                  <a:lnTo>
                    <a:pt x="2095" y="1969"/>
                  </a:lnTo>
                  <a:lnTo>
                    <a:pt x="1842" y="2188"/>
                  </a:lnTo>
                  <a:lnTo>
                    <a:pt x="1602" y="2414"/>
                  </a:lnTo>
                  <a:lnTo>
                    <a:pt x="1377" y="2649"/>
                  </a:lnTo>
                  <a:lnTo>
                    <a:pt x="1168" y="2894"/>
                  </a:lnTo>
                  <a:lnTo>
                    <a:pt x="974" y="3145"/>
                  </a:lnTo>
                  <a:lnTo>
                    <a:pt x="796" y="3405"/>
                  </a:lnTo>
                  <a:lnTo>
                    <a:pt x="634" y="3671"/>
                  </a:lnTo>
                  <a:lnTo>
                    <a:pt x="489" y="3943"/>
                  </a:lnTo>
                  <a:lnTo>
                    <a:pt x="363" y="4223"/>
                  </a:lnTo>
                  <a:lnTo>
                    <a:pt x="254" y="4508"/>
                  </a:lnTo>
                  <a:lnTo>
                    <a:pt x="163" y="4799"/>
                  </a:lnTo>
                  <a:lnTo>
                    <a:pt x="93" y="5094"/>
                  </a:lnTo>
                  <a:lnTo>
                    <a:pt x="41" y="5396"/>
                  </a:lnTo>
                  <a:lnTo>
                    <a:pt x="10" y="5700"/>
                  </a:lnTo>
                  <a:lnTo>
                    <a:pt x="0" y="6010"/>
                  </a:lnTo>
                  <a:lnTo>
                    <a:pt x="4" y="6203"/>
                  </a:lnTo>
                  <a:lnTo>
                    <a:pt x="16" y="6394"/>
                  </a:lnTo>
                  <a:lnTo>
                    <a:pt x="36" y="6584"/>
                  </a:lnTo>
                  <a:lnTo>
                    <a:pt x="65" y="6772"/>
                  </a:lnTo>
                  <a:lnTo>
                    <a:pt x="100" y="6958"/>
                  </a:lnTo>
                  <a:lnTo>
                    <a:pt x="143" y="7144"/>
                  </a:lnTo>
                  <a:lnTo>
                    <a:pt x="195" y="7326"/>
                  </a:lnTo>
                  <a:lnTo>
                    <a:pt x="252" y="7506"/>
                  </a:lnTo>
                  <a:lnTo>
                    <a:pt x="318" y="7685"/>
                  </a:lnTo>
                  <a:lnTo>
                    <a:pt x="390" y="7861"/>
                  </a:lnTo>
                  <a:lnTo>
                    <a:pt x="470" y="8034"/>
                  </a:lnTo>
                  <a:lnTo>
                    <a:pt x="556" y="8205"/>
                  </a:lnTo>
                  <a:lnTo>
                    <a:pt x="648" y="8375"/>
                  </a:lnTo>
                  <a:lnTo>
                    <a:pt x="748" y="8541"/>
                  </a:lnTo>
                  <a:lnTo>
                    <a:pt x="855" y="8704"/>
                  </a:lnTo>
                  <a:lnTo>
                    <a:pt x="967" y="8865"/>
                  </a:lnTo>
                  <a:lnTo>
                    <a:pt x="1086" y="9023"/>
                  </a:lnTo>
                  <a:lnTo>
                    <a:pt x="1211" y="9177"/>
                  </a:lnTo>
                  <a:lnTo>
                    <a:pt x="1341" y="9329"/>
                  </a:lnTo>
                  <a:lnTo>
                    <a:pt x="1478" y="9478"/>
                  </a:lnTo>
                  <a:lnTo>
                    <a:pt x="1620" y="9623"/>
                  </a:lnTo>
                  <a:lnTo>
                    <a:pt x="1768" y="9765"/>
                  </a:lnTo>
                  <a:lnTo>
                    <a:pt x="1923" y="9903"/>
                  </a:lnTo>
                  <a:lnTo>
                    <a:pt x="2081" y="10038"/>
                  </a:lnTo>
                  <a:lnTo>
                    <a:pt x="2245" y="10170"/>
                  </a:lnTo>
                  <a:lnTo>
                    <a:pt x="2415" y="10298"/>
                  </a:lnTo>
                  <a:lnTo>
                    <a:pt x="2590" y="10421"/>
                  </a:lnTo>
                  <a:lnTo>
                    <a:pt x="2769" y="10541"/>
                  </a:lnTo>
                  <a:lnTo>
                    <a:pt x="2953" y="10657"/>
                  </a:lnTo>
                  <a:lnTo>
                    <a:pt x="3142" y="10770"/>
                  </a:lnTo>
                  <a:lnTo>
                    <a:pt x="3335" y="10878"/>
                  </a:lnTo>
                  <a:lnTo>
                    <a:pt x="3533" y="10981"/>
                  </a:lnTo>
                  <a:lnTo>
                    <a:pt x="3532" y="10990"/>
                  </a:lnTo>
                  <a:lnTo>
                    <a:pt x="3531" y="10999"/>
                  </a:lnTo>
                  <a:lnTo>
                    <a:pt x="3530" y="11008"/>
                  </a:lnTo>
                  <a:lnTo>
                    <a:pt x="3529" y="11018"/>
                  </a:lnTo>
                  <a:lnTo>
                    <a:pt x="3527" y="11102"/>
                  </a:lnTo>
                  <a:lnTo>
                    <a:pt x="3521" y="11187"/>
                  </a:lnTo>
                  <a:lnTo>
                    <a:pt x="3512" y="11271"/>
                  </a:lnTo>
                  <a:lnTo>
                    <a:pt x="3500" y="11357"/>
                  </a:lnTo>
                  <a:lnTo>
                    <a:pt x="3484" y="11442"/>
                  </a:lnTo>
                  <a:lnTo>
                    <a:pt x="3464" y="11527"/>
                  </a:lnTo>
                  <a:lnTo>
                    <a:pt x="3443" y="11612"/>
                  </a:lnTo>
                  <a:lnTo>
                    <a:pt x="3419" y="11696"/>
                  </a:lnTo>
                  <a:lnTo>
                    <a:pt x="3392" y="11780"/>
                  </a:lnTo>
                  <a:lnTo>
                    <a:pt x="3364" y="11863"/>
                  </a:lnTo>
                  <a:lnTo>
                    <a:pt x="3332" y="11947"/>
                  </a:lnTo>
                  <a:lnTo>
                    <a:pt x="3300" y="12030"/>
                  </a:lnTo>
                  <a:lnTo>
                    <a:pt x="3266" y="12111"/>
                  </a:lnTo>
                  <a:lnTo>
                    <a:pt x="3229" y="12192"/>
                  </a:lnTo>
                  <a:lnTo>
                    <a:pt x="3192" y="12271"/>
                  </a:lnTo>
                  <a:lnTo>
                    <a:pt x="3155" y="12350"/>
                  </a:lnTo>
                  <a:lnTo>
                    <a:pt x="3115" y="12428"/>
                  </a:lnTo>
                  <a:lnTo>
                    <a:pt x="3075" y="12505"/>
                  </a:lnTo>
                  <a:lnTo>
                    <a:pt x="3036" y="12580"/>
                  </a:lnTo>
                  <a:lnTo>
                    <a:pt x="2995" y="12653"/>
                  </a:lnTo>
                  <a:lnTo>
                    <a:pt x="2954" y="12726"/>
                  </a:lnTo>
                  <a:lnTo>
                    <a:pt x="2914" y="12796"/>
                  </a:lnTo>
                  <a:lnTo>
                    <a:pt x="2874" y="12864"/>
                  </a:lnTo>
                  <a:lnTo>
                    <a:pt x="2834" y="12931"/>
                  </a:lnTo>
                  <a:lnTo>
                    <a:pt x="2757" y="13059"/>
                  </a:lnTo>
                  <a:lnTo>
                    <a:pt x="2684" y="13180"/>
                  </a:lnTo>
                  <a:lnTo>
                    <a:pt x="2616" y="13290"/>
                  </a:lnTo>
                  <a:lnTo>
                    <a:pt x="2557" y="13390"/>
                  </a:lnTo>
                  <a:lnTo>
                    <a:pt x="2558" y="13390"/>
                  </a:lnTo>
                  <a:lnTo>
                    <a:pt x="2550" y="13411"/>
                  </a:lnTo>
                  <a:lnTo>
                    <a:pt x="2542" y="13432"/>
                  </a:lnTo>
                  <a:lnTo>
                    <a:pt x="2536" y="13454"/>
                  </a:lnTo>
                  <a:lnTo>
                    <a:pt x="2531" y="13476"/>
                  </a:lnTo>
                  <a:lnTo>
                    <a:pt x="2527" y="13499"/>
                  </a:lnTo>
                  <a:lnTo>
                    <a:pt x="2523" y="13522"/>
                  </a:lnTo>
                  <a:lnTo>
                    <a:pt x="2522" y="13545"/>
                  </a:lnTo>
                  <a:lnTo>
                    <a:pt x="2521" y="13569"/>
                  </a:lnTo>
                  <a:lnTo>
                    <a:pt x="2522" y="13592"/>
                  </a:lnTo>
                  <a:lnTo>
                    <a:pt x="2523" y="13615"/>
                  </a:lnTo>
                  <a:lnTo>
                    <a:pt x="2526" y="13638"/>
                  </a:lnTo>
                  <a:lnTo>
                    <a:pt x="2530" y="13660"/>
                  </a:lnTo>
                  <a:lnTo>
                    <a:pt x="2535" y="13682"/>
                  </a:lnTo>
                  <a:lnTo>
                    <a:pt x="2541" y="13704"/>
                  </a:lnTo>
                  <a:lnTo>
                    <a:pt x="2548" y="13726"/>
                  </a:lnTo>
                  <a:lnTo>
                    <a:pt x="2556" y="13746"/>
                  </a:lnTo>
                  <a:lnTo>
                    <a:pt x="2566" y="13766"/>
                  </a:lnTo>
                  <a:lnTo>
                    <a:pt x="2576" y="13786"/>
                  </a:lnTo>
                  <a:lnTo>
                    <a:pt x="2586" y="13805"/>
                  </a:lnTo>
                  <a:lnTo>
                    <a:pt x="2598" y="13823"/>
                  </a:lnTo>
                  <a:lnTo>
                    <a:pt x="2611" y="13841"/>
                  </a:lnTo>
                  <a:lnTo>
                    <a:pt x="2624" y="13858"/>
                  </a:lnTo>
                  <a:lnTo>
                    <a:pt x="2640" y="13875"/>
                  </a:lnTo>
                  <a:lnTo>
                    <a:pt x="2655" y="13890"/>
                  </a:lnTo>
                  <a:lnTo>
                    <a:pt x="2670" y="13905"/>
                  </a:lnTo>
                  <a:lnTo>
                    <a:pt x="2687" y="13920"/>
                  </a:lnTo>
                  <a:lnTo>
                    <a:pt x="2704" y="13933"/>
                  </a:lnTo>
                  <a:lnTo>
                    <a:pt x="2722" y="13946"/>
                  </a:lnTo>
                  <a:lnTo>
                    <a:pt x="2740" y="13958"/>
                  </a:lnTo>
                  <a:lnTo>
                    <a:pt x="2760" y="13968"/>
                  </a:lnTo>
                  <a:lnTo>
                    <a:pt x="2779" y="13978"/>
                  </a:lnTo>
                  <a:lnTo>
                    <a:pt x="2800" y="13987"/>
                  </a:lnTo>
                  <a:lnTo>
                    <a:pt x="2820" y="13996"/>
                  </a:lnTo>
                  <a:lnTo>
                    <a:pt x="2841" y="14003"/>
                  </a:lnTo>
                  <a:lnTo>
                    <a:pt x="2863" y="14009"/>
                  </a:lnTo>
                  <a:lnTo>
                    <a:pt x="2886" y="14014"/>
                  </a:lnTo>
                  <a:lnTo>
                    <a:pt x="2908" y="14018"/>
                  </a:lnTo>
                  <a:lnTo>
                    <a:pt x="2931" y="14021"/>
                  </a:lnTo>
                  <a:lnTo>
                    <a:pt x="2954" y="14022"/>
                  </a:lnTo>
                  <a:lnTo>
                    <a:pt x="2977" y="14023"/>
                  </a:lnTo>
                  <a:lnTo>
                    <a:pt x="3018" y="14021"/>
                  </a:lnTo>
                  <a:lnTo>
                    <a:pt x="3060" y="14017"/>
                  </a:lnTo>
                  <a:lnTo>
                    <a:pt x="3078" y="14016"/>
                  </a:lnTo>
                  <a:lnTo>
                    <a:pt x="3093" y="14015"/>
                  </a:lnTo>
                  <a:lnTo>
                    <a:pt x="3099" y="14015"/>
                  </a:lnTo>
                  <a:lnTo>
                    <a:pt x="3103" y="14015"/>
                  </a:lnTo>
                  <a:lnTo>
                    <a:pt x="3105" y="14016"/>
                  </a:lnTo>
                  <a:lnTo>
                    <a:pt x="3106" y="14016"/>
                  </a:lnTo>
                  <a:lnTo>
                    <a:pt x="3254" y="13989"/>
                  </a:lnTo>
                  <a:lnTo>
                    <a:pt x="3400" y="13955"/>
                  </a:lnTo>
                  <a:lnTo>
                    <a:pt x="3546" y="13915"/>
                  </a:lnTo>
                  <a:lnTo>
                    <a:pt x="3690" y="13870"/>
                  </a:lnTo>
                  <a:lnTo>
                    <a:pt x="3833" y="13819"/>
                  </a:lnTo>
                  <a:lnTo>
                    <a:pt x="3976" y="13763"/>
                  </a:lnTo>
                  <a:lnTo>
                    <a:pt x="4116" y="13701"/>
                  </a:lnTo>
                  <a:lnTo>
                    <a:pt x="4254" y="13637"/>
                  </a:lnTo>
                  <a:lnTo>
                    <a:pt x="4390" y="13569"/>
                  </a:lnTo>
                  <a:lnTo>
                    <a:pt x="4524" y="13497"/>
                  </a:lnTo>
                  <a:lnTo>
                    <a:pt x="4656" y="13423"/>
                  </a:lnTo>
                  <a:lnTo>
                    <a:pt x="4784" y="13346"/>
                  </a:lnTo>
                  <a:lnTo>
                    <a:pt x="4910" y="13267"/>
                  </a:lnTo>
                  <a:lnTo>
                    <a:pt x="5033" y="13186"/>
                  </a:lnTo>
                  <a:lnTo>
                    <a:pt x="5153" y="13104"/>
                  </a:lnTo>
                  <a:lnTo>
                    <a:pt x="5269" y="13021"/>
                  </a:lnTo>
                  <a:lnTo>
                    <a:pt x="5382" y="12938"/>
                  </a:lnTo>
                  <a:lnTo>
                    <a:pt x="5491" y="12854"/>
                  </a:lnTo>
                  <a:lnTo>
                    <a:pt x="5596" y="12771"/>
                  </a:lnTo>
                  <a:lnTo>
                    <a:pt x="5697" y="12689"/>
                  </a:lnTo>
                  <a:lnTo>
                    <a:pt x="5793" y="12608"/>
                  </a:lnTo>
                  <a:lnTo>
                    <a:pt x="5885" y="12528"/>
                  </a:lnTo>
                  <a:lnTo>
                    <a:pt x="5972" y="12450"/>
                  </a:lnTo>
                  <a:lnTo>
                    <a:pt x="6055" y="12375"/>
                  </a:lnTo>
                  <a:lnTo>
                    <a:pt x="6131" y="12302"/>
                  </a:lnTo>
                  <a:lnTo>
                    <a:pt x="6203" y="12233"/>
                  </a:lnTo>
                  <a:lnTo>
                    <a:pt x="6269" y="12167"/>
                  </a:lnTo>
                  <a:lnTo>
                    <a:pt x="6330" y="12105"/>
                  </a:lnTo>
                  <a:lnTo>
                    <a:pt x="6384" y="12048"/>
                  </a:lnTo>
                  <a:lnTo>
                    <a:pt x="6433" y="11995"/>
                  </a:lnTo>
                  <a:lnTo>
                    <a:pt x="6475" y="11947"/>
                  </a:lnTo>
                  <a:lnTo>
                    <a:pt x="6510" y="11906"/>
                  </a:lnTo>
                  <a:lnTo>
                    <a:pt x="6605" y="11919"/>
                  </a:lnTo>
                  <a:lnTo>
                    <a:pt x="6700" y="11932"/>
                  </a:lnTo>
                  <a:lnTo>
                    <a:pt x="6796" y="11943"/>
                  </a:lnTo>
                  <a:lnTo>
                    <a:pt x="6891" y="11954"/>
                  </a:lnTo>
                  <a:lnTo>
                    <a:pt x="6987" y="11965"/>
                  </a:lnTo>
                  <a:lnTo>
                    <a:pt x="7083" y="11974"/>
                  </a:lnTo>
                  <a:lnTo>
                    <a:pt x="7180" y="11983"/>
                  </a:lnTo>
                  <a:lnTo>
                    <a:pt x="7278" y="11990"/>
                  </a:lnTo>
                  <a:lnTo>
                    <a:pt x="7374" y="11997"/>
                  </a:lnTo>
                  <a:lnTo>
                    <a:pt x="7472" y="12003"/>
                  </a:lnTo>
                  <a:lnTo>
                    <a:pt x="7571" y="12008"/>
                  </a:lnTo>
                  <a:lnTo>
                    <a:pt x="7669" y="12012"/>
                  </a:lnTo>
                  <a:lnTo>
                    <a:pt x="7768" y="12016"/>
                  </a:lnTo>
                  <a:lnTo>
                    <a:pt x="7867" y="12018"/>
                  </a:lnTo>
                  <a:lnTo>
                    <a:pt x="7966" y="12019"/>
                  </a:lnTo>
                  <a:lnTo>
                    <a:pt x="8066" y="12020"/>
                  </a:lnTo>
                  <a:lnTo>
                    <a:pt x="8481" y="12012"/>
                  </a:lnTo>
                  <a:lnTo>
                    <a:pt x="8891" y="11989"/>
                  </a:lnTo>
                  <a:lnTo>
                    <a:pt x="9294" y="11951"/>
                  </a:lnTo>
                  <a:lnTo>
                    <a:pt x="9691" y="11898"/>
                  </a:lnTo>
                  <a:lnTo>
                    <a:pt x="10081" y="11830"/>
                  </a:lnTo>
                  <a:lnTo>
                    <a:pt x="10465" y="11749"/>
                  </a:lnTo>
                  <a:lnTo>
                    <a:pt x="10840" y="11655"/>
                  </a:lnTo>
                  <a:lnTo>
                    <a:pt x="11206" y="11547"/>
                  </a:lnTo>
                  <a:lnTo>
                    <a:pt x="11563" y="11427"/>
                  </a:lnTo>
                  <a:lnTo>
                    <a:pt x="11910" y="11295"/>
                  </a:lnTo>
                  <a:lnTo>
                    <a:pt x="12248" y="11149"/>
                  </a:lnTo>
                  <a:lnTo>
                    <a:pt x="12576" y="10993"/>
                  </a:lnTo>
                  <a:lnTo>
                    <a:pt x="12891" y="10826"/>
                  </a:lnTo>
                  <a:lnTo>
                    <a:pt x="13197" y="10647"/>
                  </a:lnTo>
                  <a:lnTo>
                    <a:pt x="13489" y="10458"/>
                  </a:lnTo>
                  <a:lnTo>
                    <a:pt x="13770" y="10260"/>
                  </a:lnTo>
                  <a:lnTo>
                    <a:pt x="14037" y="10050"/>
                  </a:lnTo>
                  <a:lnTo>
                    <a:pt x="14290" y="9832"/>
                  </a:lnTo>
                  <a:lnTo>
                    <a:pt x="14530" y="9606"/>
                  </a:lnTo>
                  <a:lnTo>
                    <a:pt x="14755" y="9370"/>
                  </a:lnTo>
                  <a:lnTo>
                    <a:pt x="14964" y="9126"/>
                  </a:lnTo>
                  <a:lnTo>
                    <a:pt x="15158" y="8875"/>
                  </a:lnTo>
                  <a:lnTo>
                    <a:pt x="15336" y="8615"/>
                  </a:lnTo>
                  <a:lnTo>
                    <a:pt x="15498" y="8349"/>
                  </a:lnTo>
                  <a:lnTo>
                    <a:pt x="15643" y="8076"/>
                  </a:lnTo>
                  <a:lnTo>
                    <a:pt x="15769" y="7797"/>
                  </a:lnTo>
                  <a:lnTo>
                    <a:pt x="15878" y="7511"/>
                  </a:lnTo>
                  <a:lnTo>
                    <a:pt x="15968" y="7221"/>
                  </a:lnTo>
                  <a:lnTo>
                    <a:pt x="16039" y="6925"/>
                  </a:lnTo>
                  <a:lnTo>
                    <a:pt x="16091" y="6624"/>
                  </a:lnTo>
                  <a:lnTo>
                    <a:pt x="16122" y="6319"/>
                  </a:lnTo>
                  <a:lnTo>
                    <a:pt x="16132" y="6010"/>
                  </a:lnTo>
                  <a:lnTo>
                    <a:pt x="16122" y="5700"/>
                  </a:lnTo>
                  <a:lnTo>
                    <a:pt x="16091" y="5396"/>
                  </a:lnTo>
                  <a:lnTo>
                    <a:pt x="16039" y="5094"/>
                  </a:lnTo>
                  <a:lnTo>
                    <a:pt x="15968" y="4799"/>
                  </a:lnTo>
                  <a:lnTo>
                    <a:pt x="15878" y="4508"/>
                  </a:lnTo>
                  <a:lnTo>
                    <a:pt x="15769" y="4223"/>
                  </a:lnTo>
                  <a:lnTo>
                    <a:pt x="15643" y="3943"/>
                  </a:lnTo>
                  <a:lnTo>
                    <a:pt x="15498" y="3671"/>
                  </a:lnTo>
                  <a:lnTo>
                    <a:pt x="15336" y="3405"/>
                  </a:lnTo>
                  <a:lnTo>
                    <a:pt x="15158" y="3145"/>
                  </a:lnTo>
                  <a:lnTo>
                    <a:pt x="14964" y="2894"/>
                  </a:lnTo>
                  <a:lnTo>
                    <a:pt x="14755" y="2649"/>
                  </a:lnTo>
                  <a:lnTo>
                    <a:pt x="14530" y="2414"/>
                  </a:lnTo>
                  <a:lnTo>
                    <a:pt x="14290" y="2188"/>
                  </a:lnTo>
                  <a:lnTo>
                    <a:pt x="14037" y="1969"/>
                  </a:lnTo>
                  <a:lnTo>
                    <a:pt x="13770" y="1760"/>
                  </a:lnTo>
                  <a:lnTo>
                    <a:pt x="13489" y="1562"/>
                  </a:lnTo>
                  <a:lnTo>
                    <a:pt x="13197" y="1372"/>
                  </a:lnTo>
                  <a:lnTo>
                    <a:pt x="12891" y="1194"/>
                  </a:lnTo>
                  <a:lnTo>
                    <a:pt x="12576" y="1027"/>
                  </a:lnTo>
                  <a:lnTo>
                    <a:pt x="12248" y="870"/>
                  </a:lnTo>
                  <a:lnTo>
                    <a:pt x="11910" y="725"/>
                  </a:lnTo>
                  <a:lnTo>
                    <a:pt x="11563" y="593"/>
                  </a:lnTo>
                  <a:lnTo>
                    <a:pt x="11206" y="473"/>
                  </a:lnTo>
                  <a:lnTo>
                    <a:pt x="10840" y="365"/>
                  </a:lnTo>
                  <a:lnTo>
                    <a:pt x="10465" y="270"/>
                  </a:lnTo>
                  <a:lnTo>
                    <a:pt x="10081" y="189"/>
                  </a:lnTo>
                  <a:lnTo>
                    <a:pt x="9691" y="122"/>
                  </a:lnTo>
                  <a:lnTo>
                    <a:pt x="9294" y="69"/>
                  </a:lnTo>
                  <a:lnTo>
                    <a:pt x="8891" y="31"/>
                  </a:lnTo>
                  <a:lnTo>
                    <a:pt x="8481" y="8"/>
                  </a:lnTo>
                  <a:lnTo>
                    <a:pt x="80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433" name="îšľíḓe">
              <a:extLst>
                <a:ext uri="{FF2B5EF4-FFF2-40B4-BE49-F238E27FC236}">
                  <a16:creationId xmlns:a16="http://schemas.microsoft.com/office/drawing/2014/main" id="{D7DED266-235A-4083-A04A-D87CC20057F7}"/>
                </a:ext>
              </a:extLst>
            </p:cNvPr>
            <p:cNvSpPr/>
            <p:nvPr/>
          </p:nvSpPr>
          <p:spPr bwMode="auto">
            <a:xfrm>
              <a:off x="6105438" y="4001553"/>
              <a:ext cx="346999" cy="346201"/>
            </a:xfrm>
            <a:custGeom>
              <a:avLst/>
              <a:gdLst>
                <a:gd name="T0" fmla="*/ 13537 w 16094"/>
                <a:gd name="T1" fmla="*/ 6059 h 16058"/>
                <a:gd name="T2" fmla="*/ 13105 w 16094"/>
                <a:gd name="T3" fmla="*/ 4843 h 16058"/>
                <a:gd name="T4" fmla="*/ 12309 w 16094"/>
                <a:gd name="T5" fmla="*/ 3778 h 16058"/>
                <a:gd name="T6" fmla="*/ 11103 w 16094"/>
                <a:gd name="T7" fmla="*/ 2914 h 16058"/>
                <a:gd name="T8" fmla="*/ 9730 w 16094"/>
                <a:gd name="T9" fmla="*/ 2510 h 16058"/>
                <a:gd name="T10" fmla="*/ 10548 w 16094"/>
                <a:gd name="T11" fmla="*/ 1344 h 16058"/>
                <a:gd name="T12" fmla="*/ 11273 w 16094"/>
                <a:gd name="T13" fmla="*/ 1058 h 16058"/>
                <a:gd name="T14" fmla="*/ 12175 w 16094"/>
                <a:gd name="T15" fmla="*/ 1030 h 16058"/>
                <a:gd name="T16" fmla="*/ 13215 w 16094"/>
                <a:gd name="T17" fmla="*/ 1370 h 16058"/>
                <a:gd name="T18" fmla="*/ 14130 w 16094"/>
                <a:gd name="T19" fmla="*/ 2061 h 16058"/>
                <a:gd name="T20" fmla="*/ 14752 w 16094"/>
                <a:gd name="T21" fmla="*/ 2927 h 16058"/>
                <a:gd name="T22" fmla="*/ 15061 w 16094"/>
                <a:gd name="T23" fmla="*/ 3885 h 16058"/>
                <a:gd name="T24" fmla="*/ 15035 w 16094"/>
                <a:gd name="T25" fmla="*/ 4794 h 16058"/>
                <a:gd name="T26" fmla="*/ 14704 w 16094"/>
                <a:gd name="T27" fmla="*/ 5577 h 16058"/>
                <a:gd name="T28" fmla="*/ 4429 w 16094"/>
                <a:gd name="T29" fmla="*/ 13990 h 16058"/>
                <a:gd name="T30" fmla="*/ 4128 w 16094"/>
                <a:gd name="T31" fmla="*/ 13119 h 16058"/>
                <a:gd name="T32" fmla="*/ 3522 w 16094"/>
                <a:gd name="T33" fmla="*/ 12349 h 16058"/>
                <a:gd name="T34" fmla="*/ 2735 w 16094"/>
                <a:gd name="T35" fmla="*/ 11832 h 16058"/>
                <a:gd name="T36" fmla="*/ 1857 w 16094"/>
                <a:gd name="T37" fmla="*/ 11600 h 16058"/>
                <a:gd name="T38" fmla="*/ 2349 w 16094"/>
                <a:gd name="T39" fmla="*/ 9539 h 16058"/>
                <a:gd name="T40" fmla="*/ 3383 w 16094"/>
                <a:gd name="T41" fmla="*/ 9051 h 16058"/>
                <a:gd name="T42" fmla="*/ 5065 w 16094"/>
                <a:gd name="T43" fmla="*/ 9305 h 16058"/>
                <a:gd name="T44" fmla="*/ 6529 w 16094"/>
                <a:gd name="T45" fmla="*/ 10574 h 16058"/>
                <a:gd name="T46" fmla="*/ 7057 w 16094"/>
                <a:gd name="T47" fmla="*/ 12341 h 16058"/>
                <a:gd name="T48" fmla="*/ 6481 w 16094"/>
                <a:gd name="T49" fmla="*/ 13816 h 16058"/>
                <a:gd name="T50" fmla="*/ 1899 w 16094"/>
                <a:gd name="T51" fmla="*/ 15034 h 16058"/>
                <a:gd name="T52" fmla="*/ 1430 w 16094"/>
                <a:gd name="T53" fmla="*/ 14978 h 16058"/>
                <a:gd name="T54" fmla="*/ 1080 w 16094"/>
                <a:gd name="T55" fmla="*/ 14626 h 16058"/>
                <a:gd name="T56" fmla="*/ 1037 w 16094"/>
                <a:gd name="T57" fmla="*/ 14110 h 16058"/>
                <a:gd name="T58" fmla="*/ 2133 w 16094"/>
                <a:gd name="T59" fmla="*/ 12161 h 16058"/>
                <a:gd name="T60" fmla="*/ 2879 w 16094"/>
                <a:gd name="T61" fmla="*/ 12483 h 16058"/>
                <a:gd name="T62" fmla="*/ 3517 w 16094"/>
                <a:gd name="T63" fmla="*/ 13089 h 16058"/>
                <a:gd name="T64" fmla="*/ 3887 w 16094"/>
                <a:gd name="T65" fmla="*/ 13837 h 16058"/>
                <a:gd name="T66" fmla="*/ 5275 w 16094"/>
                <a:gd name="T67" fmla="*/ 8311 h 16058"/>
                <a:gd name="T68" fmla="*/ 4471 w 16094"/>
                <a:gd name="T69" fmla="*/ 8075 h 16058"/>
                <a:gd name="T70" fmla="*/ 3832 w 16094"/>
                <a:gd name="T71" fmla="*/ 8011 h 16058"/>
                <a:gd name="T72" fmla="*/ 8544 w 16094"/>
                <a:gd name="T73" fmla="*/ 3613 h 16058"/>
                <a:gd name="T74" fmla="*/ 9615 w 16094"/>
                <a:gd name="T75" fmla="*/ 3512 h 16058"/>
                <a:gd name="T76" fmla="*/ 7177 w 16094"/>
                <a:gd name="T77" fmla="*/ 9768 h 16058"/>
                <a:gd name="T78" fmla="*/ 6475 w 16094"/>
                <a:gd name="T79" fmla="*/ 9029 h 16058"/>
                <a:gd name="T80" fmla="*/ 10683 w 16094"/>
                <a:gd name="T81" fmla="*/ 3831 h 16058"/>
                <a:gd name="T82" fmla="*/ 11597 w 16094"/>
                <a:gd name="T83" fmla="*/ 4487 h 16058"/>
                <a:gd name="T84" fmla="*/ 12178 w 16094"/>
                <a:gd name="T85" fmla="*/ 5258 h 16058"/>
                <a:gd name="T86" fmla="*/ 7882 w 16094"/>
                <a:gd name="T87" fmla="*/ 11105 h 16058"/>
                <a:gd name="T88" fmla="*/ 12576 w 16094"/>
                <a:gd name="T89" fmla="*/ 6482 h 16058"/>
                <a:gd name="T90" fmla="*/ 12439 w 16094"/>
                <a:gd name="T91" fmla="*/ 7635 h 16058"/>
                <a:gd name="T92" fmla="*/ 11948 w 16094"/>
                <a:gd name="T93" fmla="*/ 8406 h 16058"/>
                <a:gd name="T94" fmla="*/ 14463 w 16094"/>
                <a:gd name="T95" fmla="*/ 1003 h 16058"/>
                <a:gd name="T96" fmla="*/ 13190 w 16094"/>
                <a:gd name="T97" fmla="*/ 260 h 16058"/>
                <a:gd name="T98" fmla="*/ 11795 w 16094"/>
                <a:gd name="T99" fmla="*/ 0 h 16058"/>
                <a:gd name="T100" fmla="*/ 10660 w 16094"/>
                <a:gd name="T101" fmla="*/ 187 h 16058"/>
                <a:gd name="T102" fmla="*/ 9684 w 16094"/>
                <a:gd name="T103" fmla="*/ 727 h 16058"/>
                <a:gd name="T104" fmla="*/ 1704 w 16094"/>
                <a:gd name="T105" fmla="*/ 8728 h 16058"/>
                <a:gd name="T106" fmla="*/ 1279 w 16094"/>
                <a:gd name="T107" fmla="*/ 9454 h 16058"/>
                <a:gd name="T108" fmla="*/ 0 w 16094"/>
                <a:gd name="T109" fmla="*/ 14302 h 16058"/>
                <a:gd name="T110" fmla="*/ 402 w 16094"/>
                <a:gd name="T111" fmla="*/ 15419 h 16058"/>
                <a:gd name="T112" fmla="*/ 1407 w 16094"/>
                <a:gd name="T113" fmla="*/ 16022 h 16058"/>
                <a:gd name="T114" fmla="*/ 2275 w 16094"/>
                <a:gd name="T115" fmla="*/ 15980 h 16058"/>
                <a:gd name="T116" fmla="*/ 7227 w 16094"/>
                <a:gd name="T117" fmla="*/ 14541 h 16058"/>
                <a:gd name="T118" fmla="*/ 15901 w 16094"/>
                <a:gd name="T119" fmla="*/ 5421 h 16058"/>
                <a:gd name="T120" fmla="*/ 15857 w 16094"/>
                <a:gd name="T121" fmla="*/ 2953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094" h="16058">
                  <a:moveTo>
                    <a:pt x="14431" y="5907"/>
                  </a:moveTo>
                  <a:lnTo>
                    <a:pt x="13584" y="6759"/>
                  </a:lnTo>
                  <a:lnTo>
                    <a:pt x="13585" y="6717"/>
                  </a:lnTo>
                  <a:lnTo>
                    <a:pt x="13586" y="6675"/>
                  </a:lnTo>
                  <a:lnTo>
                    <a:pt x="13588" y="6633"/>
                  </a:lnTo>
                  <a:lnTo>
                    <a:pt x="13590" y="6591"/>
                  </a:lnTo>
                  <a:lnTo>
                    <a:pt x="13591" y="6549"/>
                  </a:lnTo>
                  <a:lnTo>
                    <a:pt x="13591" y="6507"/>
                  </a:lnTo>
                  <a:lnTo>
                    <a:pt x="13590" y="6464"/>
                  </a:lnTo>
                  <a:lnTo>
                    <a:pt x="13587" y="6420"/>
                  </a:lnTo>
                  <a:lnTo>
                    <a:pt x="13578" y="6330"/>
                  </a:lnTo>
                  <a:lnTo>
                    <a:pt x="13566" y="6240"/>
                  </a:lnTo>
                  <a:lnTo>
                    <a:pt x="13553" y="6148"/>
                  </a:lnTo>
                  <a:lnTo>
                    <a:pt x="13537" y="6059"/>
                  </a:lnTo>
                  <a:lnTo>
                    <a:pt x="13520" y="5969"/>
                  </a:lnTo>
                  <a:lnTo>
                    <a:pt x="13500" y="5879"/>
                  </a:lnTo>
                  <a:lnTo>
                    <a:pt x="13478" y="5790"/>
                  </a:lnTo>
                  <a:lnTo>
                    <a:pt x="13453" y="5702"/>
                  </a:lnTo>
                  <a:lnTo>
                    <a:pt x="13427" y="5613"/>
                  </a:lnTo>
                  <a:lnTo>
                    <a:pt x="13400" y="5525"/>
                  </a:lnTo>
                  <a:lnTo>
                    <a:pt x="13370" y="5439"/>
                  </a:lnTo>
                  <a:lnTo>
                    <a:pt x="13338" y="5351"/>
                  </a:lnTo>
                  <a:lnTo>
                    <a:pt x="13305" y="5265"/>
                  </a:lnTo>
                  <a:lnTo>
                    <a:pt x="13268" y="5180"/>
                  </a:lnTo>
                  <a:lnTo>
                    <a:pt x="13230" y="5094"/>
                  </a:lnTo>
                  <a:lnTo>
                    <a:pt x="13191" y="5010"/>
                  </a:lnTo>
                  <a:lnTo>
                    <a:pt x="13150" y="4927"/>
                  </a:lnTo>
                  <a:lnTo>
                    <a:pt x="13105" y="4843"/>
                  </a:lnTo>
                  <a:lnTo>
                    <a:pt x="13060" y="4761"/>
                  </a:lnTo>
                  <a:lnTo>
                    <a:pt x="13014" y="4680"/>
                  </a:lnTo>
                  <a:lnTo>
                    <a:pt x="12965" y="4600"/>
                  </a:lnTo>
                  <a:lnTo>
                    <a:pt x="12913" y="4520"/>
                  </a:lnTo>
                  <a:lnTo>
                    <a:pt x="12861" y="4441"/>
                  </a:lnTo>
                  <a:lnTo>
                    <a:pt x="12807" y="4364"/>
                  </a:lnTo>
                  <a:lnTo>
                    <a:pt x="12750" y="4286"/>
                  </a:lnTo>
                  <a:lnTo>
                    <a:pt x="12692" y="4210"/>
                  </a:lnTo>
                  <a:lnTo>
                    <a:pt x="12633" y="4136"/>
                  </a:lnTo>
                  <a:lnTo>
                    <a:pt x="12571" y="4062"/>
                  </a:lnTo>
                  <a:lnTo>
                    <a:pt x="12508" y="3989"/>
                  </a:lnTo>
                  <a:lnTo>
                    <a:pt x="12443" y="3917"/>
                  </a:lnTo>
                  <a:lnTo>
                    <a:pt x="12376" y="3847"/>
                  </a:lnTo>
                  <a:lnTo>
                    <a:pt x="12309" y="3778"/>
                  </a:lnTo>
                  <a:lnTo>
                    <a:pt x="12230" y="3701"/>
                  </a:lnTo>
                  <a:lnTo>
                    <a:pt x="12152" y="3628"/>
                  </a:lnTo>
                  <a:lnTo>
                    <a:pt x="12071" y="3557"/>
                  </a:lnTo>
                  <a:lnTo>
                    <a:pt x="11989" y="3487"/>
                  </a:lnTo>
                  <a:lnTo>
                    <a:pt x="11905" y="3419"/>
                  </a:lnTo>
                  <a:lnTo>
                    <a:pt x="11821" y="3354"/>
                  </a:lnTo>
                  <a:lnTo>
                    <a:pt x="11735" y="3292"/>
                  </a:lnTo>
                  <a:lnTo>
                    <a:pt x="11648" y="3231"/>
                  </a:lnTo>
                  <a:lnTo>
                    <a:pt x="11560" y="3172"/>
                  </a:lnTo>
                  <a:lnTo>
                    <a:pt x="11471" y="3116"/>
                  </a:lnTo>
                  <a:lnTo>
                    <a:pt x="11380" y="3062"/>
                  </a:lnTo>
                  <a:lnTo>
                    <a:pt x="11289" y="3010"/>
                  </a:lnTo>
                  <a:lnTo>
                    <a:pt x="11196" y="2961"/>
                  </a:lnTo>
                  <a:lnTo>
                    <a:pt x="11103" y="2914"/>
                  </a:lnTo>
                  <a:lnTo>
                    <a:pt x="11009" y="2868"/>
                  </a:lnTo>
                  <a:lnTo>
                    <a:pt x="10913" y="2826"/>
                  </a:lnTo>
                  <a:lnTo>
                    <a:pt x="10818" y="2786"/>
                  </a:lnTo>
                  <a:lnTo>
                    <a:pt x="10721" y="2749"/>
                  </a:lnTo>
                  <a:lnTo>
                    <a:pt x="10625" y="2714"/>
                  </a:lnTo>
                  <a:lnTo>
                    <a:pt x="10527" y="2681"/>
                  </a:lnTo>
                  <a:lnTo>
                    <a:pt x="10429" y="2651"/>
                  </a:lnTo>
                  <a:lnTo>
                    <a:pt x="10330" y="2622"/>
                  </a:lnTo>
                  <a:lnTo>
                    <a:pt x="10231" y="2597"/>
                  </a:lnTo>
                  <a:lnTo>
                    <a:pt x="10132" y="2574"/>
                  </a:lnTo>
                  <a:lnTo>
                    <a:pt x="10031" y="2554"/>
                  </a:lnTo>
                  <a:lnTo>
                    <a:pt x="9932" y="2537"/>
                  </a:lnTo>
                  <a:lnTo>
                    <a:pt x="9831" y="2522"/>
                  </a:lnTo>
                  <a:lnTo>
                    <a:pt x="9730" y="2510"/>
                  </a:lnTo>
                  <a:lnTo>
                    <a:pt x="9630" y="2500"/>
                  </a:lnTo>
                  <a:lnTo>
                    <a:pt x="9529" y="2493"/>
                  </a:lnTo>
                  <a:lnTo>
                    <a:pt x="9428" y="2489"/>
                  </a:lnTo>
                  <a:lnTo>
                    <a:pt x="9327" y="2487"/>
                  </a:lnTo>
                  <a:lnTo>
                    <a:pt x="10160" y="1649"/>
                  </a:lnTo>
                  <a:lnTo>
                    <a:pt x="10199" y="1611"/>
                  </a:lnTo>
                  <a:lnTo>
                    <a:pt x="10240" y="1574"/>
                  </a:lnTo>
                  <a:lnTo>
                    <a:pt x="10282" y="1538"/>
                  </a:lnTo>
                  <a:lnTo>
                    <a:pt x="10324" y="1502"/>
                  </a:lnTo>
                  <a:lnTo>
                    <a:pt x="10367" y="1468"/>
                  </a:lnTo>
                  <a:lnTo>
                    <a:pt x="10411" y="1435"/>
                  </a:lnTo>
                  <a:lnTo>
                    <a:pt x="10456" y="1404"/>
                  </a:lnTo>
                  <a:lnTo>
                    <a:pt x="10502" y="1373"/>
                  </a:lnTo>
                  <a:lnTo>
                    <a:pt x="10548" y="1344"/>
                  </a:lnTo>
                  <a:lnTo>
                    <a:pt x="10596" y="1316"/>
                  </a:lnTo>
                  <a:lnTo>
                    <a:pt x="10644" y="1289"/>
                  </a:lnTo>
                  <a:lnTo>
                    <a:pt x="10692" y="1263"/>
                  </a:lnTo>
                  <a:lnTo>
                    <a:pt x="10742" y="1237"/>
                  </a:lnTo>
                  <a:lnTo>
                    <a:pt x="10793" y="1214"/>
                  </a:lnTo>
                  <a:lnTo>
                    <a:pt x="10843" y="1192"/>
                  </a:lnTo>
                  <a:lnTo>
                    <a:pt x="10894" y="1171"/>
                  </a:lnTo>
                  <a:lnTo>
                    <a:pt x="10947" y="1151"/>
                  </a:lnTo>
                  <a:lnTo>
                    <a:pt x="11000" y="1132"/>
                  </a:lnTo>
                  <a:lnTo>
                    <a:pt x="11053" y="1115"/>
                  </a:lnTo>
                  <a:lnTo>
                    <a:pt x="11108" y="1099"/>
                  </a:lnTo>
                  <a:lnTo>
                    <a:pt x="11162" y="1084"/>
                  </a:lnTo>
                  <a:lnTo>
                    <a:pt x="11217" y="1070"/>
                  </a:lnTo>
                  <a:lnTo>
                    <a:pt x="11273" y="1058"/>
                  </a:lnTo>
                  <a:lnTo>
                    <a:pt x="11329" y="1046"/>
                  </a:lnTo>
                  <a:lnTo>
                    <a:pt x="11386" y="1037"/>
                  </a:lnTo>
                  <a:lnTo>
                    <a:pt x="11444" y="1028"/>
                  </a:lnTo>
                  <a:lnTo>
                    <a:pt x="11501" y="1021"/>
                  </a:lnTo>
                  <a:lnTo>
                    <a:pt x="11559" y="1015"/>
                  </a:lnTo>
                  <a:lnTo>
                    <a:pt x="11618" y="1010"/>
                  </a:lnTo>
                  <a:lnTo>
                    <a:pt x="11676" y="1007"/>
                  </a:lnTo>
                  <a:lnTo>
                    <a:pt x="11735" y="1005"/>
                  </a:lnTo>
                  <a:lnTo>
                    <a:pt x="11795" y="1004"/>
                  </a:lnTo>
                  <a:lnTo>
                    <a:pt x="11871" y="1005"/>
                  </a:lnTo>
                  <a:lnTo>
                    <a:pt x="11947" y="1008"/>
                  </a:lnTo>
                  <a:lnTo>
                    <a:pt x="12023" y="1014"/>
                  </a:lnTo>
                  <a:lnTo>
                    <a:pt x="12098" y="1021"/>
                  </a:lnTo>
                  <a:lnTo>
                    <a:pt x="12175" y="1030"/>
                  </a:lnTo>
                  <a:lnTo>
                    <a:pt x="12251" y="1042"/>
                  </a:lnTo>
                  <a:lnTo>
                    <a:pt x="12327" y="1055"/>
                  </a:lnTo>
                  <a:lnTo>
                    <a:pt x="12402" y="1071"/>
                  </a:lnTo>
                  <a:lnTo>
                    <a:pt x="12478" y="1088"/>
                  </a:lnTo>
                  <a:lnTo>
                    <a:pt x="12553" y="1108"/>
                  </a:lnTo>
                  <a:lnTo>
                    <a:pt x="12629" y="1129"/>
                  </a:lnTo>
                  <a:lnTo>
                    <a:pt x="12703" y="1153"/>
                  </a:lnTo>
                  <a:lnTo>
                    <a:pt x="12777" y="1178"/>
                  </a:lnTo>
                  <a:lnTo>
                    <a:pt x="12852" y="1205"/>
                  </a:lnTo>
                  <a:lnTo>
                    <a:pt x="12925" y="1234"/>
                  </a:lnTo>
                  <a:lnTo>
                    <a:pt x="12999" y="1266"/>
                  </a:lnTo>
                  <a:lnTo>
                    <a:pt x="13071" y="1299"/>
                  </a:lnTo>
                  <a:lnTo>
                    <a:pt x="13144" y="1334"/>
                  </a:lnTo>
                  <a:lnTo>
                    <a:pt x="13215" y="1370"/>
                  </a:lnTo>
                  <a:lnTo>
                    <a:pt x="13285" y="1408"/>
                  </a:lnTo>
                  <a:lnTo>
                    <a:pt x="13356" y="1448"/>
                  </a:lnTo>
                  <a:lnTo>
                    <a:pt x="13425" y="1490"/>
                  </a:lnTo>
                  <a:lnTo>
                    <a:pt x="13495" y="1535"/>
                  </a:lnTo>
                  <a:lnTo>
                    <a:pt x="13562" y="1580"/>
                  </a:lnTo>
                  <a:lnTo>
                    <a:pt x="13629" y="1627"/>
                  </a:lnTo>
                  <a:lnTo>
                    <a:pt x="13696" y="1676"/>
                  </a:lnTo>
                  <a:lnTo>
                    <a:pt x="13761" y="1727"/>
                  </a:lnTo>
                  <a:lnTo>
                    <a:pt x="13827" y="1779"/>
                  </a:lnTo>
                  <a:lnTo>
                    <a:pt x="13890" y="1834"/>
                  </a:lnTo>
                  <a:lnTo>
                    <a:pt x="13952" y="1889"/>
                  </a:lnTo>
                  <a:lnTo>
                    <a:pt x="14014" y="1946"/>
                  </a:lnTo>
                  <a:lnTo>
                    <a:pt x="14075" y="2005"/>
                  </a:lnTo>
                  <a:lnTo>
                    <a:pt x="14130" y="2061"/>
                  </a:lnTo>
                  <a:lnTo>
                    <a:pt x="14185" y="2119"/>
                  </a:lnTo>
                  <a:lnTo>
                    <a:pt x="14237" y="2177"/>
                  </a:lnTo>
                  <a:lnTo>
                    <a:pt x="14288" y="2235"/>
                  </a:lnTo>
                  <a:lnTo>
                    <a:pt x="14338" y="2295"/>
                  </a:lnTo>
                  <a:lnTo>
                    <a:pt x="14386" y="2356"/>
                  </a:lnTo>
                  <a:lnTo>
                    <a:pt x="14433" y="2417"/>
                  </a:lnTo>
                  <a:lnTo>
                    <a:pt x="14478" y="2478"/>
                  </a:lnTo>
                  <a:lnTo>
                    <a:pt x="14522" y="2540"/>
                  </a:lnTo>
                  <a:lnTo>
                    <a:pt x="14564" y="2603"/>
                  </a:lnTo>
                  <a:lnTo>
                    <a:pt x="14605" y="2667"/>
                  </a:lnTo>
                  <a:lnTo>
                    <a:pt x="14644" y="2731"/>
                  </a:lnTo>
                  <a:lnTo>
                    <a:pt x="14682" y="2796"/>
                  </a:lnTo>
                  <a:lnTo>
                    <a:pt x="14718" y="2861"/>
                  </a:lnTo>
                  <a:lnTo>
                    <a:pt x="14752" y="2927"/>
                  </a:lnTo>
                  <a:lnTo>
                    <a:pt x="14785" y="2993"/>
                  </a:lnTo>
                  <a:lnTo>
                    <a:pt x="14816" y="3060"/>
                  </a:lnTo>
                  <a:lnTo>
                    <a:pt x="14846" y="3126"/>
                  </a:lnTo>
                  <a:lnTo>
                    <a:pt x="14874" y="3195"/>
                  </a:lnTo>
                  <a:lnTo>
                    <a:pt x="14900" y="3262"/>
                  </a:lnTo>
                  <a:lnTo>
                    <a:pt x="14925" y="3330"/>
                  </a:lnTo>
                  <a:lnTo>
                    <a:pt x="14948" y="3398"/>
                  </a:lnTo>
                  <a:lnTo>
                    <a:pt x="14969" y="3468"/>
                  </a:lnTo>
                  <a:lnTo>
                    <a:pt x="14988" y="3537"/>
                  </a:lnTo>
                  <a:lnTo>
                    <a:pt x="15007" y="3606"/>
                  </a:lnTo>
                  <a:lnTo>
                    <a:pt x="15023" y="3675"/>
                  </a:lnTo>
                  <a:lnTo>
                    <a:pt x="15038" y="3746"/>
                  </a:lnTo>
                  <a:lnTo>
                    <a:pt x="15050" y="3816"/>
                  </a:lnTo>
                  <a:lnTo>
                    <a:pt x="15061" y="3885"/>
                  </a:lnTo>
                  <a:lnTo>
                    <a:pt x="15070" y="3955"/>
                  </a:lnTo>
                  <a:lnTo>
                    <a:pt x="15078" y="4026"/>
                  </a:lnTo>
                  <a:lnTo>
                    <a:pt x="15084" y="4097"/>
                  </a:lnTo>
                  <a:lnTo>
                    <a:pt x="15087" y="4162"/>
                  </a:lnTo>
                  <a:lnTo>
                    <a:pt x="15089" y="4227"/>
                  </a:lnTo>
                  <a:lnTo>
                    <a:pt x="15089" y="4292"/>
                  </a:lnTo>
                  <a:lnTo>
                    <a:pt x="15088" y="4357"/>
                  </a:lnTo>
                  <a:lnTo>
                    <a:pt x="15085" y="4420"/>
                  </a:lnTo>
                  <a:lnTo>
                    <a:pt x="15081" y="4484"/>
                  </a:lnTo>
                  <a:lnTo>
                    <a:pt x="15075" y="4546"/>
                  </a:lnTo>
                  <a:lnTo>
                    <a:pt x="15067" y="4610"/>
                  </a:lnTo>
                  <a:lnTo>
                    <a:pt x="15058" y="4672"/>
                  </a:lnTo>
                  <a:lnTo>
                    <a:pt x="15048" y="4733"/>
                  </a:lnTo>
                  <a:lnTo>
                    <a:pt x="15035" y="4794"/>
                  </a:lnTo>
                  <a:lnTo>
                    <a:pt x="15022" y="4855"/>
                  </a:lnTo>
                  <a:lnTo>
                    <a:pt x="15006" y="4914"/>
                  </a:lnTo>
                  <a:lnTo>
                    <a:pt x="14989" y="4973"/>
                  </a:lnTo>
                  <a:lnTo>
                    <a:pt x="14970" y="5032"/>
                  </a:lnTo>
                  <a:lnTo>
                    <a:pt x="14950" y="5089"/>
                  </a:lnTo>
                  <a:lnTo>
                    <a:pt x="14929" y="5147"/>
                  </a:lnTo>
                  <a:lnTo>
                    <a:pt x="14906" y="5203"/>
                  </a:lnTo>
                  <a:lnTo>
                    <a:pt x="14882" y="5259"/>
                  </a:lnTo>
                  <a:lnTo>
                    <a:pt x="14856" y="5314"/>
                  </a:lnTo>
                  <a:lnTo>
                    <a:pt x="14829" y="5368"/>
                  </a:lnTo>
                  <a:lnTo>
                    <a:pt x="14799" y="5422"/>
                  </a:lnTo>
                  <a:lnTo>
                    <a:pt x="14769" y="5474"/>
                  </a:lnTo>
                  <a:lnTo>
                    <a:pt x="14737" y="5526"/>
                  </a:lnTo>
                  <a:lnTo>
                    <a:pt x="14704" y="5577"/>
                  </a:lnTo>
                  <a:lnTo>
                    <a:pt x="14670" y="5627"/>
                  </a:lnTo>
                  <a:lnTo>
                    <a:pt x="14633" y="5675"/>
                  </a:lnTo>
                  <a:lnTo>
                    <a:pt x="14595" y="5724"/>
                  </a:lnTo>
                  <a:lnTo>
                    <a:pt x="14557" y="5772"/>
                  </a:lnTo>
                  <a:lnTo>
                    <a:pt x="14516" y="5818"/>
                  </a:lnTo>
                  <a:lnTo>
                    <a:pt x="14474" y="5863"/>
                  </a:lnTo>
                  <a:lnTo>
                    <a:pt x="14431" y="5907"/>
                  </a:lnTo>
                  <a:close/>
                  <a:moveTo>
                    <a:pt x="4463" y="14370"/>
                  </a:moveTo>
                  <a:lnTo>
                    <a:pt x="4461" y="14307"/>
                  </a:lnTo>
                  <a:lnTo>
                    <a:pt x="4458" y="14243"/>
                  </a:lnTo>
                  <a:lnTo>
                    <a:pt x="4453" y="14180"/>
                  </a:lnTo>
                  <a:lnTo>
                    <a:pt x="4446" y="14117"/>
                  </a:lnTo>
                  <a:lnTo>
                    <a:pt x="4438" y="14053"/>
                  </a:lnTo>
                  <a:lnTo>
                    <a:pt x="4429" y="13990"/>
                  </a:lnTo>
                  <a:lnTo>
                    <a:pt x="4417" y="13926"/>
                  </a:lnTo>
                  <a:lnTo>
                    <a:pt x="4405" y="13863"/>
                  </a:lnTo>
                  <a:lnTo>
                    <a:pt x="4391" y="13800"/>
                  </a:lnTo>
                  <a:lnTo>
                    <a:pt x="4375" y="13737"/>
                  </a:lnTo>
                  <a:lnTo>
                    <a:pt x="4357" y="13673"/>
                  </a:lnTo>
                  <a:lnTo>
                    <a:pt x="4338" y="13610"/>
                  </a:lnTo>
                  <a:lnTo>
                    <a:pt x="4317" y="13548"/>
                  </a:lnTo>
                  <a:lnTo>
                    <a:pt x="4295" y="13486"/>
                  </a:lnTo>
                  <a:lnTo>
                    <a:pt x="4271" y="13423"/>
                  </a:lnTo>
                  <a:lnTo>
                    <a:pt x="4246" y="13362"/>
                  </a:lnTo>
                  <a:lnTo>
                    <a:pt x="4219" y="13300"/>
                  </a:lnTo>
                  <a:lnTo>
                    <a:pt x="4191" y="13240"/>
                  </a:lnTo>
                  <a:lnTo>
                    <a:pt x="4161" y="13179"/>
                  </a:lnTo>
                  <a:lnTo>
                    <a:pt x="4128" y="13119"/>
                  </a:lnTo>
                  <a:lnTo>
                    <a:pt x="4095" y="13059"/>
                  </a:lnTo>
                  <a:lnTo>
                    <a:pt x="4060" y="13000"/>
                  </a:lnTo>
                  <a:lnTo>
                    <a:pt x="4024" y="12942"/>
                  </a:lnTo>
                  <a:lnTo>
                    <a:pt x="3986" y="12884"/>
                  </a:lnTo>
                  <a:lnTo>
                    <a:pt x="3946" y="12826"/>
                  </a:lnTo>
                  <a:lnTo>
                    <a:pt x="3905" y="12769"/>
                  </a:lnTo>
                  <a:lnTo>
                    <a:pt x="3862" y="12714"/>
                  </a:lnTo>
                  <a:lnTo>
                    <a:pt x="3818" y="12658"/>
                  </a:lnTo>
                  <a:lnTo>
                    <a:pt x="3771" y="12604"/>
                  </a:lnTo>
                  <a:lnTo>
                    <a:pt x="3723" y="12549"/>
                  </a:lnTo>
                  <a:lnTo>
                    <a:pt x="3674" y="12497"/>
                  </a:lnTo>
                  <a:lnTo>
                    <a:pt x="3622" y="12445"/>
                  </a:lnTo>
                  <a:lnTo>
                    <a:pt x="3573" y="12396"/>
                  </a:lnTo>
                  <a:lnTo>
                    <a:pt x="3522" y="12349"/>
                  </a:lnTo>
                  <a:lnTo>
                    <a:pt x="3470" y="12303"/>
                  </a:lnTo>
                  <a:lnTo>
                    <a:pt x="3418" y="12258"/>
                  </a:lnTo>
                  <a:lnTo>
                    <a:pt x="3366" y="12215"/>
                  </a:lnTo>
                  <a:lnTo>
                    <a:pt x="3312" y="12174"/>
                  </a:lnTo>
                  <a:lnTo>
                    <a:pt x="3257" y="12133"/>
                  </a:lnTo>
                  <a:lnTo>
                    <a:pt x="3202" y="12094"/>
                  </a:lnTo>
                  <a:lnTo>
                    <a:pt x="3146" y="12057"/>
                  </a:lnTo>
                  <a:lnTo>
                    <a:pt x="3088" y="12020"/>
                  </a:lnTo>
                  <a:lnTo>
                    <a:pt x="3031" y="11985"/>
                  </a:lnTo>
                  <a:lnTo>
                    <a:pt x="2974" y="11952"/>
                  </a:lnTo>
                  <a:lnTo>
                    <a:pt x="2914" y="11920"/>
                  </a:lnTo>
                  <a:lnTo>
                    <a:pt x="2855" y="11889"/>
                  </a:lnTo>
                  <a:lnTo>
                    <a:pt x="2796" y="11860"/>
                  </a:lnTo>
                  <a:lnTo>
                    <a:pt x="2735" y="11832"/>
                  </a:lnTo>
                  <a:lnTo>
                    <a:pt x="2675" y="11806"/>
                  </a:lnTo>
                  <a:lnTo>
                    <a:pt x="2613" y="11781"/>
                  </a:lnTo>
                  <a:lnTo>
                    <a:pt x="2552" y="11757"/>
                  </a:lnTo>
                  <a:lnTo>
                    <a:pt x="2490" y="11735"/>
                  </a:lnTo>
                  <a:lnTo>
                    <a:pt x="2427" y="11715"/>
                  </a:lnTo>
                  <a:lnTo>
                    <a:pt x="2365" y="11696"/>
                  </a:lnTo>
                  <a:lnTo>
                    <a:pt x="2303" y="11679"/>
                  </a:lnTo>
                  <a:lnTo>
                    <a:pt x="2239" y="11663"/>
                  </a:lnTo>
                  <a:lnTo>
                    <a:pt x="2176" y="11648"/>
                  </a:lnTo>
                  <a:lnTo>
                    <a:pt x="2112" y="11636"/>
                  </a:lnTo>
                  <a:lnTo>
                    <a:pt x="2048" y="11625"/>
                  </a:lnTo>
                  <a:lnTo>
                    <a:pt x="1985" y="11615"/>
                  </a:lnTo>
                  <a:lnTo>
                    <a:pt x="1920" y="11607"/>
                  </a:lnTo>
                  <a:lnTo>
                    <a:pt x="1857" y="11600"/>
                  </a:lnTo>
                  <a:lnTo>
                    <a:pt x="1793" y="11595"/>
                  </a:lnTo>
                  <a:lnTo>
                    <a:pt x="1728" y="11592"/>
                  </a:lnTo>
                  <a:lnTo>
                    <a:pt x="2229" y="9781"/>
                  </a:lnTo>
                  <a:lnTo>
                    <a:pt x="2236" y="9759"/>
                  </a:lnTo>
                  <a:lnTo>
                    <a:pt x="2244" y="9736"/>
                  </a:lnTo>
                  <a:lnTo>
                    <a:pt x="2253" y="9714"/>
                  </a:lnTo>
                  <a:lnTo>
                    <a:pt x="2263" y="9692"/>
                  </a:lnTo>
                  <a:lnTo>
                    <a:pt x="2273" y="9670"/>
                  </a:lnTo>
                  <a:lnTo>
                    <a:pt x="2284" y="9648"/>
                  </a:lnTo>
                  <a:lnTo>
                    <a:pt x="2296" y="9626"/>
                  </a:lnTo>
                  <a:lnTo>
                    <a:pt x="2308" y="9604"/>
                  </a:lnTo>
                  <a:lnTo>
                    <a:pt x="2321" y="9583"/>
                  </a:lnTo>
                  <a:lnTo>
                    <a:pt x="2335" y="9561"/>
                  </a:lnTo>
                  <a:lnTo>
                    <a:pt x="2349" y="9539"/>
                  </a:lnTo>
                  <a:lnTo>
                    <a:pt x="2363" y="9518"/>
                  </a:lnTo>
                  <a:lnTo>
                    <a:pt x="2378" y="9498"/>
                  </a:lnTo>
                  <a:lnTo>
                    <a:pt x="2393" y="9478"/>
                  </a:lnTo>
                  <a:lnTo>
                    <a:pt x="2409" y="9458"/>
                  </a:lnTo>
                  <a:lnTo>
                    <a:pt x="2426" y="9438"/>
                  </a:lnTo>
                  <a:lnTo>
                    <a:pt x="2522" y="9374"/>
                  </a:lnTo>
                  <a:lnTo>
                    <a:pt x="2621" y="9314"/>
                  </a:lnTo>
                  <a:lnTo>
                    <a:pt x="2723" y="9260"/>
                  </a:lnTo>
                  <a:lnTo>
                    <a:pt x="2828" y="9211"/>
                  </a:lnTo>
                  <a:lnTo>
                    <a:pt x="2934" y="9169"/>
                  </a:lnTo>
                  <a:lnTo>
                    <a:pt x="3044" y="9131"/>
                  </a:lnTo>
                  <a:lnTo>
                    <a:pt x="3156" y="9099"/>
                  </a:lnTo>
                  <a:lnTo>
                    <a:pt x="3268" y="9072"/>
                  </a:lnTo>
                  <a:lnTo>
                    <a:pt x="3383" y="9051"/>
                  </a:lnTo>
                  <a:lnTo>
                    <a:pt x="3500" y="9034"/>
                  </a:lnTo>
                  <a:lnTo>
                    <a:pt x="3617" y="9024"/>
                  </a:lnTo>
                  <a:lnTo>
                    <a:pt x="3736" y="9018"/>
                  </a:lnTo>
                  <a:lnTo>
                    <a:pt x="3857" y="9018"/>
                  </a:lnTo>
                  <a:lnTo>
                    <a:pt x="3976" y="9023"/>
                  </a:lnTo>
                  <a:lnTo>
                    <a:pt x="4098" y="9033"/>
                  </a:lnTo>
                  <a:lnTo>
                    <a:pt x="4220" y="9049"/>
                  </a:lnTo>
                  <a:lnTo>
                    <a:pt x="4342" y="9070"/>
                  </a:lnTo>
                  <a:lnTo>
                    <a:pt x="4463" y="9096"/>
                  </a:lnTo>
                  <a:lnTo>
                    <a:pt x="4584" y="9127"/>
                  </a:lnTo>
                  <a:lnTo>
                    <a:pt x="4706" y="9164"/>
                  </a:lnTo>
                  <a:lnTo>
                    <a:pt x="4826" y="9206"/>
                  </a:lnTo>
                  <a:lnTo>
                    <a:pt x="4946" y="9252"/>
                  </a:lnTo>
                  <a:lnTo>
                    <a:pt x="5065" y="9305"/>
                  </a:lnTo>
                  <a:lnTo>
                    <a:pt x="5184" y="9363"/>
                  </a:lnTo>
                  <a:lnTo>
                    <a:pt x="5300" y="9425"/>
                  </a:lnTo>
                  <a:lnTo>
                    <a:pt x="5415" y="9493"/>
                  </a:lnTo>
                  <a:lnTo>
                    <a:pt x="5529" y="9566"/>
                  </a:lnTo>
                  <a:lnTo>
                    <a:pt x="5640" y="9644"/>
                  </a:lnTo>
                  <a:lnTo>
                    <a:pt x="5750" y="9727"/>
                  </a:lnTo>
                  <a:lnTo>
                    <a:pt x="5857" y="9815"/>
                  </a:lnTo>
                  <a:lnTo>
                    <a:pt x="5962" y="9909"/>
                  </a:lnTo>
                  <a:lnTo>
                    <a:pt x="6065" y="10007"/>
                  </a:lnTo>
                  <a:lnTo>
                    <a:pt x="6168" y="10115"/>
                  </a:lnTo>
                  <a:lnTo>
                    <a:pt x="6267" y="10226"/>
                  </a:lnTo>
                  <a:lnTo>
                    <a:pt x="6360" y="10339"/>
                  </a:lnTo>
                  <a:lnTo>
                    <a:pt x="6447" y="10456"/>
                  </a:lnTo>
                  <a:lnTo>
                    <a:pt x="6529" y="10574"/>
                  </a:lnTo>
                  <a:lnTo>
                    <a:pt x="6604" y="10695"/>
                  </a:lnTo>
                  <a:lnTo>
                    <a:pt x="6673" y="10816"/>
                  </a:lnTo>
                  <a:lnTo>
                    <a:pt x="6738" y="10941"/>
                  </a:lnTo>
                  <a:lnTo>
                    <a:pt x="6796" y="11065"/>
                  </a:lnTo>
                  <a:lnTo>
                    <a:pt x="6848" y="11191"/>
                  </a:lnTo>
                  <a:lnTo>
                    <a:pt x="6895" y="11318"/>
                  </a:lnTo>
                  <a:lnTo>
                    <a:pt x="6936" y="11446"/>
                  </a:lnTo>
                  <a:lnTo>
                    <a:pt x="6971" y="11574"/>
                  </a:lnTo>
                  <a:lnTo>
                    <a:pt x="7000" y="11702"/>
                  </a:lnTo>
                  <a:lnTo>
                    <a:pt x="7023" y="11831"/>
                  </a:lnTo>
                  <a:lnTo>
                    <a:pt x="7041" y="11959"/>
                  </a:lnTo>
                  <a:lnTo>
                    <a:pt x="7052" y="12087"/>
                  </a:lnTo>
                  <a:lnTo>
                    <a:pt x="7058" y="12214"/>
                  </a:lnTo>
                  <a:lnTo>
                    <a:pt x="7057" y="12341"/>
                  </a:lnTo>
                  <a:lnTo>
                    <a:pt x="7051" y="12466"/>
                  </a:lnTo>
                  <a:lnTo>
                    <a:pt x="7039" y="12589"/>
                  </a:lnTo>
                  <a:lnTo>
                    <a:pt x="7019" y="12712"/>
                  </a:lnTo>
                  <a:lnTo>
                    <a:pt x="6995" y="12832"/>
                  </a:lnTo>
                  <a:lnTo>
                    <a:pt x="6965" y="12952"/>
                  </a:lnTo>
                  <a:lnTo>
                    <a:pt x="6929" y="13068"/>
                  </a:lnTo>
                  <a:lnTo>
                    <a:pt x="6886" y="13183"/>
                  </a:lnTo>
                  <a:lnTo>
                    <a:pt x="6837" y="13294"/>
                  </a:lnTo>
                  <a:lnTo>
                    <a:pt x="6783" y="13402"/>
                  </a:lnTo>
                  <a:lnTo>
                    <a:pt x="6722" y="13508"/>
                  </a:lnTo>
                  <a:lnTo>
                    <a:pt x="6655" y="13610"/>
                  </a:lnTo>
                  <a:lnTo>
                    <a:pt x="6582" y="13710"/>
                  </a:lnTo>
                  <a:lnTo>
                    <a:pt x="6502" y="13805"/>
                  </a:lnTo>
                  <a:lnTo>
                    <a:pt x="6481" y="13816"/>
                  </a:lnTo>
                  <a:lnTo>
                    <a:pt x="6459" y="13827"/>
                  </a:lnTo>
                  <a:lnTo>
                    <a:pt x="6437" y="13838"/>
                  </a:lnTo>
                  <a:lnTo>
                    <a:pt x="6415" y="13848"/>
                  </a:lnTo>
                  <a:lnTo>
                    <a:pt x="6392" y="13858"/>
                  </a:lnTo>
                  <a:lnTo>
                    <a:pt x="6369" y="13867"/>
                  </a:lnTo>
                  <a:lnTo>
                    <a:pt x="6345" y="13876"/>
                  </a:lnTo>
                  <a:lnTo>
                    <a:pt x="6322" y="13884"/>
                  </a:lnTo>
                  <a:lnTo>
                    <a:pt x="4463" y="14370"/>
                  </a:lnTo>
                  <a:close/>
                  <a:moveTo>
                    <a:pt x="2096" y="14991"/>
                  </a:moveTo>
                  <a:lnTo>
                    <a:pt x="2070" y="14997"/>
                  </a:lnTo>
                  <a:lnTo>
                    <a:pt x="2036" y="15005"/>
                  </a:lnTo>
                  <a:lnTo>
                    <a:pt x="1995" y="15014"/>
                  </a:lnTo>
                  <a:lnTo>
                    <a:pt x="1949" y="15024"/>
                  </a:lnTo>
                  <a:lnTo>
                    <a:pt x="1899" y="15034"/>
                  </a:lnTo>
                  <a:lnTo>
                    <a:pt x="1849" y="15043"/>
                  </a:lnTo>
                  <a:lnTo>
                    <a:pt x="1825" y="15046"/>
                  </a:lnTo>
                  <a:lnTo>
                    <a:pt x="1801" y="15050"/>
                  </a:lnTo>
                  <a:lnTo>
                    <a:pt x="1777" y="15052"/>
                  </a:lnTo>
                  <a:lnTo>
                    <a:pt x="1755" y="15054"/>
                  </a:lnTo>
                  <a:lnTo>
                    <a:pt x="1716" y="15053"/>
                  </a:lnTo>
                  <a:lnTo>
                    <a:pt x="1679" y="15049"/>
                  </a:lnTo>
                  <a:lnTo>
                    <a:pt x="1641" y="15044"/>
                  </a:lnTo>
                  <a:lnTo>
                    <a:pt x="1604" y="15037"/>
                  </a:lnTo>
                  <a:lnTo>
                    <a:pt x="1568" y="15029"/>
                  </a:lnTo>
                  <a:lnTo>
                    <a:pt x="1532" y="15018"/>
                  </a:lnTo>
                  <a:lnTo>
                    <a:pt x="1498" y="15006"/>
                  </a:lnTo>
                  <a:lnTo>
                    <a:pt x="1464" y="14993"/>
                  </a:lnTo>
                  <a:lnTo>
                    <a:pt x="1430" y="14978"/>
                  </a:lnTo>
                  <a:lnTo>
                    <a:pt x="1398" y="14961"/>
                  </a:lnTo>
                  <a:lnTo>
                    <a:pt x="1367" y="14943"/>
                  </a:lnTo>
                  <a:lnTo>
                    <a:pt x="1336" y="14923"/>
                  </a:lnTo>
                  <a:lnTo>
                    <a:pt x="1307" y="14902"/>
                  </a:lnTo>
                  <a:lnTo>
                    <a:pt x="1279" y="14880"/>
                  </a:lnTo>
                  <a:lnTo>
                    <a:pt x="1251" y="14856"/>
                  </a:lnTo>
                  <a:lnTo>
                    <a:pt x="1225" y="14832"/>
                  </a:lnTo>
                  <a:lnTo>
                    <a:pt x="1201" y="14804"/>
                  </a:lnTo>
                  <a:lnTo>
                    <a:pt x="1177" y="14777"/>
                  </a:lnTo>
                  <a:lnTo>
                    <a:pt x="1155" y="14749"/>
                  </a:lnTo>
                  <a:lnTo>
                    <a:pt x="1134" y="14720"/>
                  </a:lnTo>
                  <a:lnTo>
                    <a:pt x="1115" y="14689"/>
                  </a:lnTo>
                  <a:lnTo>
                    <a:pt x="1096" y="14658"/>
                  </a:lnTo>
                  <a:lnTo>
                    <a:pt x="1080" y="14626"/>
                  </a:lnTo>
                  <a:lnTo>
                    <a:pt x="1065" y="14593"/>
                  </a:lnTo>
                  <a:lnTo>
                    <a:pt x="1051" y="14559"/>
                  </a:lnTo>
                  <a:lnTo>
                    <a:pt x="1040" y="14524"/>
                  </a:lnTo>
                  <a:lnTo>
                    <a:pt x="1030" y="14488"/>
                  </a:lnTo>
                  <a:lnTo>
                    <a:pt x="1021" y="14452"/>
                  </a:lnTo>
                  <a:lnTo>
                    <a:pt x="1015" y="14415"/>
                  </a:lnTo>
                  <a:lnTo>
                    <a:pt x="1010" y="14378"/>
                  </a:lnTo>
                  <a:lnTo>
                    <a:pt x="1007" y="14340"/>
                  </a:lnTo>
                  <a:lnTo>
                    <a:pt x="1006" y="14302"/>
                  </a:lnTo>
                  <a:lnTo>
                    <a:pt x="1009" y="14268"/>
                  </a:lnTo>
                  <a:lnTo>
                    <a:pt x="1015" y="14229"/>
                  </a:lnTo>
                  <a:lnTo>
                    <a:pt x="1022" y="14189"/>
                  </a:lnTo>
                  <a:lnTo>
                    <a:pt x="1029" y="14149"/>
                  </a:lnTo>
                  <a:lnTo>
                    <a:pt x="1037" y="14110"/>
                  </a:lnTo>
                  <a:lnTo>
                    <a:pt x="1045" y="14074"/>
                  </a:lnTo>
                  <a:lnTo>
                    <a:pt x="1051" y="14043"/>
                  </a:lnTo>
                  <a:lnTo>
                    <a:pt x="1056" y="14020"/>
                  </a:lnTo>
                  <a:lnTo>
                    <a:pt x="1586" y="12106"/>
                  </a:lnTo>
                  <a:lnTo>
                    <a:pt x="1641" y="12105"/>
                  </a:lnTo>
                  <a:lnTo>
                    <a:pt x="1695" y="12105"/>
                  </a:lnTo>
                  <a:lnTo>
                    <a:pt x="1749" y="12107"/>
                  </a:lnTo>
                  <a:lnTo>
                    <a:pt x="1804" y="12111"/>
                  </a:lnTo>
                  <a:lnTo>
                    <a:pt x="1858" y="12116"/>
                  </a:lnTo>
                  <a:lnTo>
                    <a:pt x="1913" y="12122"/>
                  </a:lnTo>
                  <a:lnTo>
                    <a:pt x="1968" y="12130"/>
                  </a:lnTo>
                  <a:lnTo>
                    <a:pt x="2023" y="12139"/>
                  </a:lnTo>
                  <a:lnTo>
                    <a:pt x="2077" y="12149"/>
                  </a:lnTo>
                  <a:lnTo>
                    <a:pt x="2133" y="12161"/>
                  </a:lnTo>
                  <a:lnTo>
                    <a:pt x="2187" y="12175"/>
                  </a:lnTo>
                  <a:lnTo>
                    <a:pt x="2242" y="12190"/>
                  </a:lnTo>
                  <a:lnTo>
                    <a:pt x="2297" y="12206"/>
                  </a:lnTo>
                  <a:lnTo>
                    <a:pt x="2351" y="12224"/>
                  </a:lnTo>
                  <a:lnTo>
                    <a:pt x="2405" y="12243"/>
                  </a:lnTo>
                  <a:lnTo>
                    <a:pt x="2460" y="12264"/>
                  </a:lnTo>
                  <a:lnTo>
                    <a:pt x="2513" y="12286"/>
                  </a:lnTo>
                  <a:lnTo>
                    <a:pt x="2566" y="12309"/>
                  </a:lnTo>
                  <a:lnTo>
                    <a:pt x="2619" y="12335"/>
                  </a:lnTo>
                  <a:lnTo>
                    <a:pt x="2673" y="12362"/>
                  </a:lnTo>
                  <a:lnTo>
                    <a:pt x="2725" y="12390"/>
                  </a:lnTo>
                  <a:lnTo>
                    <a:pt x="2776" y="12420"/>
                  </a:lnTo>
                  <a:lnTo>
                    <a:pt x="2829" y="12451"/>
                  </a:lnTo>
                  <a:lnTo>
                    <a:pt x="2879" y="12483"/>
                  </a:lnTo>
                  <a:lnTo>
                    <a:pt x="2930" y="12517"/>
                  </a:lnTo>
                  <a:lnTo>
                    <a:pt x="2980" y="12553"/>
                  </a:lnTo>
                  <a:lnTo>
                    <a:pt x="3029" y="12590"/>
                  </a:lnTo>
                  <a:lnTo>
                    <a:pt x="3078" y="12629"/>
                  </a:lnTo>
                  <a:lnTo>
                    <a:pt x="3126" y="12669"/>
                  </a:lnTo>
                  <a:lnTo>
                    <a:pt x="3174" y="12711"/>
                  </a:lnTo>
                  <a:lnTo>
                    <a:pt x="3220" y="12754"/>
                  </a:lnTo>
                  <a:lnTo>
                    <a:pt x="3266" y="12799"/>
                  </a:lnTo>
                  <a:lnTo>
                    <a:pt x="3312" y="12845"/>
                  </a:lnTo>
                  <a:lnTo>
                    <a:pt x="3356" y="12893"/>
                  </a:lnTo>
                  <a:lnTo>
                    <a:pt x="3398" y="12941"/>
                  </a:lnTo>
                  <a:lnTo>
                    <a:pt x="3439" y="12990"/>
                  </a:lnTo>
                  <a:lnTo>
                    <a:pt x="3479" y="13039"/>
                  </a:lnTo>
                  <a:lnTo>
                    <a:pt x="3517" y="13089"/>
                  </a:lnTo>
                  <a:lnTo>
                    <a:pt x="3553" y="13139"/>
                  </a:lnTo>
                  <a:lnTo>
                    <a:pt x="3588" y="13191"/>
                  </a:lnTo>
                  <a:lnTo>
                    <a:pt x="3621" y="13243"/>
                  </a:lnTo>
                  <a:lnTo>
                    <a:pt x="3653" y="13295"/>
                  </a:lnTo>
                  <a:lnTo>
                    <a:pt x="3683" y="13348"/>
                  </a:lnTo>
                  <a:lnTo>
                    <a:pt x="3712" y="13401"/>
                  </a:lnTo>
                  <a:lnTo>
                    <a:pt x="3739" y="13455"/>
                  </a:lnTo>
                  <a:lnTo>
                    <a:pt x="3765" y="13509"/>
                  </a:lnTo>
                  <a:lnTo>
                    <a:pt x="3788" y="13563"/>
                  </a:lnTo>
                  <a:lnTo>
                    <a:pt x="3811" y="13617"/>
                  </a:lnTo>
                  <a:lnTo>
                    <a:pt x="3833" y="13671"/>
                  </a:lnTo>
                  <a:lnTo>
                    <a:pt x="3852" y="13727"/>
                  </a:lnTo>
                  <a:lnTo>
                    <a:pt x="3870" y="13782"/>
                  </a:lnTo>
                  <a:lnTo>
                    <a:pt x="3887" y="13837"/>
                  </a:lnTo>
                  <a:lnTo>
                    <a:pt x="3902" y="13892"/>
                  </a:lnTo>
                  <a:lnTo>
                    <a:pt x="3915" y="13948"/>
                  </a:lnTo>
                  <a:lnTo>
                    <a:pt x="3927" y="14004"/>
                  </a:lnTo>
                  <a:lnTo>
                    <a:pt x="3938" y="14060"/>
                  </a:lnTo>
                  <a:lnTo>
                    <a:pt x="3946" y="14115"/>
                  </a:lnTo>
                  <a:lnTo>
                    <a:pt x="3954" y="14170"/>
                  </a:lnTo>
                  <a:lnTo>
                    <a:pt x="3960" y="14225"/>
                  </a:lnTo>
                  <a:lnTo>
                    <a:pt x="3964" y="14282"/>
                  </a:lnTo>
                  <a:lnTo>
                    <a:pt x="3967" y="14337"/>
                  </a:lnTo>
                  <a:lnTo>
                    <a:pt x="3968" y="14391"/>
                  </a:lnTo>
                  <a:lnTo>
                    <a:pt x="3968" y="14446"/>
                  </a:lnTo>
                  <a:lnTo>
                    <a:pt x="3967" y="14500"/>
                  </a:lnTo>
                  <a:lnTo>
                    <a:pt x="2096" y="14991"/>
                  </a:lnTo>
                  <a:close/>
                  <a:moveTo>
                    <a:pt x="5275" y="8311"/>
                  </a:moveTo>
                  <a:lnTo>
                    <a:pt x="5187" y="8277"/>
                  </a:lnTo>
                  <a:lnTo>
                    <a:pt x="5099" y="8245"/>
                  </a:lnTo>
                  <a:lnTo>
                    <a:pt x="5011" y="8215"/>
                  </a:lnTo>
                  <a:lnTo>
                    <a:pt x="4921" y="8186"/>
                  </a:lnTo>
                  <a:lnTo>
                    <a:pt x="4877" y="8173"/>
                  </a:lnTo>
                  <a:lnTo>
                    <a:pt x="4833" y="8159"/>
                  </a:lnTo>
                  <a:lnTo>
                    <a:pt x="4787" y="8147"/>
                  </a:lnTo>
                  <a:lnTo>
                    <a:pt x="4742" y="8135"/>
                  </a:lnTo>
                  <a:lnTo>
                    <a:pt x="4698" y="8124"/>
                  </a:lnTo>
                  <a:lnTo>
                    <a:pt x="4652" y="8113"/>
                  </a:lnTo>
                  <a:lnTo>
                    <a:pt x="4607" y="8103"/>
                  </a:lnTo>
                  <a:lnTo>
                    <a:pt x="4562" y="8093"/>
                  </a:lnTo>
                  <a:lnTo>
                    <a:pt x="4517" y="8084"/>
                  </a:lnTo>
                  <a:lnTo>
                    <a:pt x="4471" y="8075"/>
                  </a:lnTo>
                  <a:lnTo>
                    <a:pt x="4426" y="8067"/>
                  </a:lnTo>
                  <a:lnTo>
                    <a:pt x="4380" y="8059"/>
                  </a:lnTo>
                  <a:lnTo>
                    <a:pt x="4335" y="8052"/>
                  </a:lnTo>
                  <a:lnTo>
                    <a:pt x="4289" y="8045"/>
                  </a:lnTo>
                  <a:lnTo>
                    <a:pt x="4243" y="8039"/>
                  </a:lnTo>
                  <a:lnTo>
                    <a:pt x="4198" y="8034"/>
                  </a:lnTo>
                  <a:lnTo>
                    <a:pt x="4153" y="8029"/>
                  </a:lnTo>
                  <a:lnTo>
                    <a:pt x="4106" y="8025"/>
                  </a:lnTo>
                  <a:lnTo>
                    <a:pt x="4061" y="8021"/>
                  </a:lnTo>
                  <a:lnTo>
                    <a:pt x="4015" y="8018"/>
                  </a:lnTo>
                  <a:lnTo>
                    <a:pt x="3969" y="8015"/>
                  </a:lnTo>
                  <a:lnTo>
                    <a:pt x="3923" y="8013"/>
                  </a:lnTo>
                  <a:lnTo>
                    <a:pt x="3878" y="8011"/>
                  </a:lnTo>
                  <a:lnTo>
                    <a:pt x="3832" y="8011"/>
                  </a:lnTo>
                  <a:lnTo>
                    <a:pt x="7706" y="4116"/>
                  </a:lnTo>
                  <a:lnTo>
                    <a:pt x="7763" y="4063"/>
                  </a:lnTo>
                  <a:lnTo>
                    <a:pt x="7820" y="4012"/>
                  </a:lnTo>
                  <a:lnTo>
                    <a:pt x="7880" y="3964"/>
                  </a:lnTo>
                  <a:lnTo>
                    <a:pt x="7941" y="3918"/>
                  </a:lnTo>
                  <a:lnTo>
                    <a:pt x="8003" y="3875"/>
                  </a:lnTo>
                  <a:lnTo>
                    <a:pt x="8067" y="3834"/>
                  </a:lnTo>
                  <a:lnTo>
                    <a:pt x="8131" y="3796"/>
                  </a:lnTo>
                  <a:lnTo>
                    <a:pt x="8197" y="3760"/>
                  </a:lnTo>
                  <a:lnTo>
                    <a:pt x="8265" y="3725"/>
                  </a:lnTo>
                  <a:lnTo>
                    <a:pt x="8333" y="3694"/>
                  </a:lnTo>
                  <a:lnTo>
                    <a:pt x="8403" y="3665"/>
                  </a:lnTo>
                  <a:lnTo>
                    <a:pt x="8473" y="3638"/>
                  </a:lnTo>
                  <a:lnTo>
                    <a:pt x="8544" y="3613"/>
                  </a:lnTo>
                  <a:lnTo>
                    <a:pt x="8616" y="3591"/>
                  </a:lnTo>
                  <a:lnTo>
                    <a:pt x="8689" y="3571"/>
                  </a:lnTo>
                  <a:lnTo>
                    <a:pt x="8764" y="3554"/>
                  </a:lnTo>
                  <a:lnTo>
                    <a:pt x="8838" y="3539"/>
                  </a:lnTo>
                  <a:lnTo>
                    <a:pt x="8914" y="3526"/>
                  </a:lnTo>
                  <a:lnTo>
                    <a:pt x="8989" y="3515"/>
                  </a:lnTo>
                  <a:lnTo>
                    <a:pt x="9067" y="3507"/>
                  </a:lnTo>
                  <a:lnTo>
                    <a:pt x="9143" y="3501"/>
                  </a:lnTo>
                  <a:lnTo>
                    <a:pt x="9220" y="3497"/>
                  </a:lnTo>
                  <a:lnTo>
                    <a:pt x="9299" y="3496"/>
                  </a:lnTo>
                  <a:lnTo>
                    <a:pt x="9377" y="3497"/>
                  </a:lnTo>
                  <a:lnTo>
                    <a:pt x="9457" y="3500"/>
                  </a:lnTo>
                  <a:lnTo>
                    <a:pt x="9535" y="3505"/>
                  </a:lnTo>
                  <a:lnTo>
                    <a:pt x="9615" y="3512"/>
                  </a:lnTo>
                  <a:lnTo>
                    <a:pt x="9694" y="3522"/>
                  </a:lnTo>
                  <a:lnTo>
                    <a:pt x="9775" y="3534"/>
                  </a:lnTo>
                  <a:lnTo>
                    <a:pt x="9854" y="3548"/>
                  </a:lnTo>
                  <a:lnTo>
                    <a:pt x="9934" y="3565"/>
                  </a:lnTo>
                  <a:lnTo>
                    <a:pt x="10014" y="3583"/>
                  </a:lnTo>
                  <a:lnTo>
                    <a:pt x="5275" y="8311"/>
                  </a:lnTo>
                  <a:close/>
                  <a:moveTo>
                    <a:pt x="7441" y="10165"/>
                  </a:moveTo>
                  <a:lnTo>
                    <a:pt x="7406" y="10107"/>
                  </a:lnTo>
                  <a:lnTo>
                    <a:pt x="7369" y="10049"/>
                  </a:lnTo>
                  <a:lnTo>
                    <a:pt x="7332" y="9992"/>
                  </a:lnTo>
                  <a:lnTo>
                    <a:pt x="7295" y="9936"/>
                  </a:lnTo>
                  <a:lnTo>
                    <a:pt x="7257" y="9880"/>
                  </a:lnTo>
                  <a:lnTo>
                    <a:pt x="7218" y="9824"/>
                  </a:lnTo>
                  <a:lnTo>
                    <a:pt x="7177" y="9768"/>
                  </a:lnTo>
                  <a:lnTo>
                    <a:pt x="7137" y="9714"/>
                  </a:lnTo>
                  <a:lnTo>
                    <a:pt x="7096" y="9660"/>
                  </a:lnTo>
                  <a:lnTo>
                    <a:pt x="7053" y="9606"/>
                  </a:lnTo>
                  <a:lnTo>
                    <a:pt x="7009" y="9553"/>
                  </a:lnTo>
                  <a:lnTo>
                    <a:pt x="6965" y="9500"/>
                  </a:lnTo>
                  <a:lnTo>
                    <a:pt x="6919" y="9448"/>
                  </a:lnTo>
                  <a:lnTo>
                    <a:pt x="6873" y="9397"/>
                  </a:lnTo>
                  <a:lnTo>
                    <a:pt x="6824" y="9347"/>
                  </a:lnTo>
                  <a:lnTo>
                    <a:pt x="6776" y="9297"/>
                  </a:lnTo>
                  <a:lnTo>
                    <a:pt x="6718" y="9240"/>
                  </a:lnTo>
                  <a:lnTo>
                    <a:pt x="6658" y="9185"/>
                  </a:lnTo>
                  <a:lnTo>
                    <a:pt x="6598" y="9131"/>
                  </a:lnTo>
                  <a:lnTo>
                    <a:pt x="6538" y="9079"/>
                  </a:lnTo>
                  <a:lnTo>
                    <a:pt x="6475" y="9029"/>
                  </a:lnTo>
                  <a:lnTo>
                    <a:pt x="6412" y="8978"/>
                  </a:lnTo>
                  <a:lnTo>
                    <a:pt x="6348" y="8930"/>
                  </a:lnTo>
                  <a:lnTo>
                    <a:pt x="6284" y="8884"/>
                  </a:lnTo>
                  <a:lnTo>
                    <a:pt x="6220" y="8838"/>
                  </a:lnTo>
                  <a:lnTo>
                    <a:pt x="6153" y="8794"/>
                  </a:lnTo>
                  <a:lnTo>
                    <a:pt x="6087" y="8750"/>
                  </a:lnTo>
                  <a:lnTo>
                    <a:pt x="6021" y="8707"/>
                  </a:lnTo>
                  <a:lnTo>
                    <a:pt x="5953" y="8666"/>
                  </a:lnTo>
                  <a:lnTo>
                    <a:pt x="5885" y="8626"/>
                  </a:lnTo>
                  <a:lnTo>
                    <a:pt x="5816" y="8587"/>
                  </a:lnTo>
                  <a:lnTo>
                    <a:pt x="5748" y="8549"/>
                  </a:lnTo>
                  <a:lnTo>
                    <a:pt x="10542" y="3766"/>
                  </a:lnTo>
                  <a:lnTo>
                    <a:pt x="10613" y="3798"/>
                  </a:lnTo>
                  <a:lnTo>
                    <a:pt x="10683" y="3831"/>
                  </a:lnTo>
                  <a:lnTo>
                    <a:pt x="10752" y="3866"/>
                  </a:lnTo>
                  <a:lnTo>
                    <a:pt x="10821" y="3903"/>
                  </a:lnTo>
                  <a:lnTo>
                    <a:pt x="10889" y="3942"/>
                  </a:lnTo>
                  <a:lnTo>
                    <a:pt x="10958" y="3983"/>
                  </a:lnTo>
                  <a:lnTo>
                    <a:pt x="11025" y="4026"/>
                  </a:lnTo>
                  <a:lnTo>
                    <a:pt x="11091" y="4070"/>
                  </a:lnTo>
                  <a:lnTo>
                    <a:pt x="11157" y="4115"/>
                  </a:lnTo>
                  <a:lnTo>
                    <a:pt x="11222" y="4163"/>
                  </a:lnTo>
                  <a:lnTo>
                    <a:pt x="11287" y="4212"/>
                  </a:lnTo>
                  <a:lnTo>
                    <a:pt x="11351" y="4263"/>
                  </a:lnTo>
                  <a:lnTo>
                    <a:pt x="11413" y="4317"/>
                  </a:lnTo>
                  <a:lnTo>
                    <a:pt x="11476" y="4372"/>
                  </a:lnTo>
                  <a:lnTo>
                    <a:pt x="11537" y="4428"/>
                  </a:lnTo>
                  <a:lnTo>
                    <a:pt x="11597" y="4487"/>
                  </a:lnTo>
                  <a:lnTo>
                    <a:pt x="11648" y="4537"/>
                  </a:lnTo>
                  <a:lnTo>
                    <a:pt x="11696" y="4590"/>
                  </a:lnTo>
                  <a:lnTo>
                    <a:pt x="11743" y="4642"/>
                  </a:lnTo>
                  <a:lnTo>
                    <a:pt x="11790" y="4696"/>
                  </a:lnTo>
                  <a:lnTo>
                    <a:pt x="11835" y="4749"/>
                  </a:lnTo>
                  <a:lnTo>
                    <a:pt x="11878" y="4803"/>
                  </a:lnTo>
                  <a:lnTo>
                    <a:pt x="11919" y="4859"/>
                  </a:lnTo>
                  <a:lnTo>
                    <a:pt x="11961" y="4915"/>
                  </a:lnTo>
                  <a:lnTo>
                    <a:pt x="12000" y="4970"/>
                  </a:lnTo>
                  <a:lnTo>
                    <a:pt x="12038" y="5027"/>
                  </a:lnTo>
                  <a:lnTo>
                    <a:pt x="12075" y="5084"/>
                  </a:lnTo>
                  <a:lnTo>
                    <a:pt x="12110" y="5142"/>
                  </a:lnTo>
                  <a:lnTo>
                    <a:pt x="12145" y="5200"/>
                  </a:lnTo>
                  <a:lnTo>
                    <a:pt x="12178" y="5258"/>
                  </a:lnTo>
                  <a:lnTo>
                    <a:pt x="12210" y="5316"/>
                  </a:lnTo>
                  <a:lnTo>
                    <a:pt x="12241" y="5375"/>
                  </a:lnTo>
                  <a:lnTo>
                    <a:pt x="7441" y="10165"/>
                  </a:lnTo>
                  <a:close/>
                  <a:moveTo>
                    <a:pt x="8055" y="11941"/>
                  </a:moveTo>
                  <a:lnTo>
                    <a:pt x="8045" y="11856"/>
                  </a:lnTo>
                  <a:lnTo>
                    <a:pt x="8035" y="11772"/>
                  </a:lnTo>
                  <a:lnTo>
                    <a:pt x="8022" y="11687"/>
                  </a:lnTo>
                  <a:lnTo>
                    <a:pt x="8008" y="11603"/>
                  </a:lnTo>
                  <a:lnTo>
                    <a:pt x="7991" y="11519"/>
                  </a:lnTo>
                  <a:lnTo>
                    <a:pt x="7973" y="11435"/>
                  </a:lnTo>
                  <a:lnTo>
                    <a:pt x="7953" y="11352"/>
                  </a:lnTo>
                  <a:lnTo>
                    <a:pt x="7931" y="11270"/>
                  </a:lnTo>
                  <a:lnTo>
                    <a:pt x="7907" y="11187"/>
                  </a:lnTo>
                  <a:lnTo>
                    <a:pt x="7882" y="11105"/>
                  </a:lnTo>
                  <a:lnTo>
                    <a:pt x="7854" y="11024"/>
                  </a:lnTo>
                  <a:lnTo>
                    <a:pt x="7825" y="10943"/>
                  </a:lnTo>
                  <a:lnTo>
                    <a:pt x="7795" y="10861"/>
                  </a:lnTo>
                  <a:lnTo>
                    <a:pt x="7763" y="10781"/>
                  </a:lnTo>
                  <a:lnTo>
                    <a:pt x="7729" y="10702"/>
                  </a:lnTo>
                  <a:lnTo>
                    <a:pt x="7693" y="10622"/>
                  </a:lnTo>
                  <a:lnTo>
                    <a:pt x="12448" y="5878"/>
                  </a:lnTo>
                  <a:lnTo>
                    <a:pt x="12475" y="5965"/>
                  </a:lnTo>
                  <a:lnTo>
                    <a:pt x="12499" y="6051"/>
                  </a:lnTo>
                  <a:lnTo>
                    <a:pt x="12519" y="6137"/>
                  </a:lnTo>
                  <a:lnTo>
                    <a:pt x="12537" y="6223"/>
                  </a:lnTo>
                  <a:lnTo>
                    <a:pt x="12553" y="6310"/>
                  </a:lnTo>
                  <a:lnTo>
                    <a:pt x="12566" y="6396"/>
                  </a:lnTo>
                  <a:lnTo>
                    <a:pt x="12576" y="6482"/>
                  </a:lnTo>
                  <a:lnTo>
                    <a:pt x="12583" y="6568"/>
                  </a:lnTo>
                  <a:lnTo>
                    <a:pt x="12588" y="6654"/>
                  </a:lnTo>
                  <a:lnTo>
                    <a:pt x="12591" y="6739"/>
                  </a:lnTo>
                  <a:lnTo>
                    <a:pt x="12591" y="6824"/>
                  </a:lnTo>
                  <a:lnTo>
                    <a:pt x="12588" y="6908"/>
                  </a:lnTo>
                  <a:lnTo>
                    <a:pt x="12582" y="6992"/>
                  </a:lnTo>
                  <a:lnTo>
                    <a:pt x="12574" y="7075"/>
                  </a:lnTo>
                  <a:lnTo>
                    <a:pt x="12563" y="7158"/>
                  </a:lnTo>
                  <a:lnTo>
                    <a:pt x="12549" y="7239"/>
                  </a:lnTo>
                  <a:lnTo>
                    <a:pt x="12533" y="7320"/>
                  </a:lnTo>
                  <a:lnTo>
                    <a:pt x="12513" y="7400"/>
                  </a:lnTo>
                  <a:lnTo>
                    <a:pt x="12492" y="7479"/>
                  </a:lnTo>
                  <a:lnTo>
                    <a:pt x="12467" y="7557"/>
                  </a:lnTo>
                  <a:lnTo>
                    <a:pt x="12439" y="7635"/>
                  </a:lnTo>
                  <a:lnTo>
                    <a:pt x="12409" y="7710"/>
                  </a:lnTo>
                  <a:lnTo>
                    <a:pt x="12376" y="7784"/>
                  </a:lnTo>
                  <a:lnTo>
                    <a:pt x="12340" y="7857"/>
                  </a:lnTo>
                  <a:lnTo>
                    <a:pt x="12302" y="7930"/>
                  </a:lnTo>
                  <a:lnTo>
                    <a:pt x="12260" y="8000"/>
                  </a:lnTo>
                  <a:lnTo>
                    <a:pt x="12216" y="8069"/>
                  </a:lnTo>
                  <a:lnTo>
                    <a:pt x="12169" y="8136"/>
                  </a:lnTo>
                  <a:lnTo>
                    <a:pt x="12120" y="8203"/>
                  </a:lnTo>
                  <a:lnTo>
                    <a:pt x="12066" y="8267"/>
                  </a:lnTo>
                  <a:lnTo>
                    <a:pt x="12011" y="8329"/>
                  </a:lnTo>
                  <a:lnTo>
                    <a:pt x="11953" y="8389"/>
                  </a:lnTo>
                  <a:lnTo>
                    <a:pt x="11947" y="8394"/>
                  </a:lnTo>
                  <a:lnTo>
                    <a:pt x="11940" y="8400"/>
                  </a:lnTo>
                  <a:lnTo>
                    <a:pt x="11948" y="8406"/>
                  </a:lnTo>
                  <a:lnTo>
                    <a:pt x="8060" y="12314"/>
                  </a:lnTo>
                  <a:lnTo>
                    <a:pt x="8061" y="12268"/>
                  </a:lnTo>
                  <a:lnTo>
                    <a:pt x="8061" y="12222"/>
                  </a:lnTo>
                  <a:lnTo>
                    <a:pt x="8062" y="12175"/>
                  </a:lnTo>
                  <a:lnTo>
                    <a:pt x="8062" y="12129"/>
                  </a:lnTo>
                  <a:lnTo>
                    <a:pt x="8062" y="12082"/>
                  </a:lnTo>
                  <a:lnTo>
                    <a:pt x="8061" y="12035"/>
                  </a:lnTo>
                  <a:lnTo>
                    <a:pt x="8059" y="11988"/>
                  </a:lnTo>
                  <a:lnTo>
                    <a:pt x="8055" y="11941"/>
                  </a:lnTo>
                  <a:close/>
                  <a:moveTo>
                    <a:pt x="14785" y="1295"/>
                  </a:moveTo>
                  <a:lnTo>
                    <a:pt x="14707" y="1218"/>
                  </a:lnTo>
                  <a:lnTo>
                    <a:pt x="14626" y="1144"/>
                  </a:lnTo>
                  <a:lnTo>
                    <a:pt x="14546" y="1072"/>
                  </a:lnTo>
                  <a:lnTo>
                    <a:pt x="14463" y="1003"/>
                  </a:lnTo>
                  <a:lnTo>
                    <a:pt x="14379" y="934"/>
                  </a:lnTo>
                  <a:lnTo>
                    <a:pt x="14294" y="869"/>
                  </a:lnTo>
                  <a:lnTo>
                    <a:pt x="14208" y="806"/>
                  </a:lnTo>
                  <a:lnTo>
                    <a:pt x="14119" y="745"/>
                  </a:lnTo>
                  <a:lnTo>
                    <a:pt x="14031" y="685"/>
                  </a:lnTo>
                  <a:lnTo>
                    <a:pt x="13941" y="629"/>
                  </a:lnTo>
                  <a:lnTo>
                    <a:pt x="13851" y="575"/>
                  </a:lnTo>
                  <a:lnTo>
                    <a:pt x="13758" y="523"/>
                  </a:lnTo>
                  <a:lnTo>
                    <a:pt x="13666" y="473"/>
                  </a:lnTo>
                  <a:lnTo>
                    <a:pt x="13572" y="426"/>
                  </a:lnTo>
                  <a:lnTo>
                    <a:pt x="13478" y="380"/>
                  </a:lnTo>
                  <a:lnTo>
                    <a:pt x="13382" y="338"/>
                  </a:lnTo>
                  <a:lnTo>
                    <a:pt x="13286" y="298"/>
                  </a:lnTo>
                  <a:lnTo>
                    <a:pt x="13190" y="260"/>
                  </a:lnTo>
                  <a:lnTo>
                    <a:pt x="13092" y="225"/>
                  </a:lnTo>
                  <a:lnTo>
                    <a:pt x="12995" y="193"/>
                  </a:lnTo>
                  <a:lnTo>
                    <a:pt x="12896" y="162"/>
                  </a:lnTo>
                  <a:lnTo>
                    <a:pt x="12798" y="134"/>
                  </a:lnTo>
                  <a:lnTo>
                    <a:pt x="12698" y="109"/>
                  </a:lnTo>
                  <a:lnTo>
                    <a:pt x="12598" y="86"/>
                  </a:lnTo>
                  <a:lnTo>
                    <a:pt x="12499" y="66"/>
                  </a:lnTo>
                  <a:lnTo>
                    <a:pt x="12398" y="49"/>
                  </a:lnTo>
                  <a:lnTo>
                    <a:pt x="12299" y="34"/>
                  </a:lnTo>
                  <a:lnTo>
                    <a:pt x="12198" y="22"/>
                  </a:lnTo>
                  <a:lnTo>
                    <a:pt x="12097" y="12"/>
                  </a:lnTo>
                  <a:lnTo>
                    <a:pt x="11996" y="5"/>
                  </a:lnTo>
                  <a:lnTo>
                    <a:pt x="11895" y="1"/>
                  </a:lnTo>
                  <a:lnTo>
                    <a:pt x="11795" y="0"/>
                  </a:lnTo>
                  <a:lnTo>
                    <a:pt x="11710" y="1"/>
                  </a:lnTo>
                  <a:lnTo>
                    <a:pt x="11626" y="4"/>
                  </a:lnTo>
                  <a:lnTo>
                    <a:pt x="11542" y="9"/>
                  </a:lnTo>
                  <a:lnTo>
                    <a:pt x="11459" y="16"/>
                  </a:lnTo>
                  <a:lnTo>
                    <a:pt x="11376" y="24"/>
                  </a:lnTo>
                  <a:lnTo>
                    <a:pt x="11294" y="35"/>
                  </a:lnTo>
                  <a:lnTo>
                    <a:pt x="11212" y="47"/>
                  </a:lnTo>
                  <a:lnTo>
                    <a:pt x="11131" y="62"/>
                  </a:lnTo>
                  <a:lnTo>
                    <a:pt x="11051" y="78"/>
                  </a:lnTo>
                  <a:lnTo>
                    <a:pt x="10971" y="96"/>
                  </a:lnTo>
                  <a:lnTo>
                    <a:pt x="10892" y="116"/>
                  </a:lnTo>
                  <a:lnTo>
                    <a:pt x="10814" y="139"/>
                  </a:lnTo>
                  <a:lnTo>
                    <a:pt x="10736" y="162"/>
                  </a:lnTo>
                  <a:lnTo>
                    <a:pt x="10660" y="187"/>
                  </a:lnTo>
                  <a:lnTo>
                    <a:pt x="10584" y="215"/>
                  </a:lnTo>
                  <a:lnTo>
                    <a:pt x="10509" y="243"/>
                  </a:lnTo>
                  <a:lnTo>
                    <a:pt x="10435" y="274"/>
                  </a:lnTo>
                  <a:lnTo>
                    <a:pt x="10361" y="307"/>
                  </a:lnTo>
                  <a:lnTo>
                    <a:pt x="10289" y="341"/>
                  </a:lnTo>
                  <a:lnTo>
                    <a:pt x="10217" y="377"/>
                  </a:lnTo>
                  <a:lnTo>
                    <a:pt x="10147" y="416"/>
                  </a:lnTo>
                  <a:lnTo>
                    <a:pt x="10078" y="455"/>
                  </a:lnTo>
                  <a:lnTo>
                    <a:pt x="10010" y="496"/>
                  </a:lnTo>
                  <a:lnTo>
                    <a:pt x="9943" y="539"/>
                  </a:lnTo>
                  <a:lnTo>
                    <a:pt x="9876" y="583"/>
                  </a:lnTo>
                  <a:lnTo>
                    <a:pt x="9811" y="629"/>
                  </a:lnTo>
                  <a:lnTo>
                    <a:pt x="9748" y="677"/>
                  </a:lnTo>
                  <a:lnTo>
                    <a:pt x="9684" y="727"/>
                  </a:lnTo>
                  <a:lnTo>
                    <a:pt x="9623" y="778"/>
                  </a:lnTo>
                  <a:lnTo>
                    <a:pt x="9562" y="831"/>
                  </a:lnTo>
                  <a:lnTo>
                    <a:pt x="9503" y="885"/>
                  </a:lnTo>
                  <a:lnTo>
                    <a:pt x="9446" y="941"/>
                  </a:lnTo>
                  <a:lnTo>
                    <a:pt x="6997" y="3403"/>
                  </a:lnTo>
                  <a:lnTo>
                    <a:pt x="6986" y="3412"/>
                  </a:lnTo>
                  <a:lnTo>
                    <a:pt x="6974" y="3422"/>
                  </a:lnTo>
                  <a:lnTo>
                    <a:pt x="6969" y="3428"/>
                  </a:lnTo>
                  <a:lnTo>
                    <a:pt x="6964" y="3435"/>
                  </a:lnTo>
                  <a:lnTo>
                    <a:pt x="6965" y="3436"/>
                  </a:lnTo>
                  <a:lnTo>
                    <a:pt x="1769" y="8659"/>
                  </a:lnTo>
                  <a:lnTo>
                    <a:pt x="1747" y="8681"/>
                  </a:lnTo>
                  <a:lnTo>
                    <a:pt x="1725" y="8704"/>
                  </a:lnTo>
                  <a:lnTo>
                    <a:pt x="1704" y="8728"/>
                  </a:lnTo>
                  <a:lnTo>
                    <a:pt x="1683" y="8751"/>
                  </a:lnTo>
                  <a:lnTo>
                    <a:pt x="1642" y="8799"/>
                  </a:lnTo>
                  <a:lnTo>
                    <a:pt x="1602" y="8847"/>
                  </a:lnTo>
                  <a:lnTo>
                    <a:pt x="1564" y="8897"/>
                  </a:lnTo>
                  <a:lnTo>
                    <a:pt x="1528" y="8949"/>
                  </a:lnTo>
                  <a:lnTo>
                    <a:pt x="1494" y="9002"/>
                  </a:lnTo>
                  <a:lnTo>
                    <a:pt x="1461" y="9055"/>
                  </a:lnTo>
                  <a:lnTo>
                    <a:pt x="1429" y="9109"/>
                  </a:lnTo>
                  <a:lnTo>
                    <a:pt x="1400" y="9165"/>
                  </a:lnTo>
                  <a:lnTo>
                    <a:pt x="1372" y="9221"/>
                  </a:lnTo>
                  <a:lnTo>
                    <a:pt x="1347" y="9279"/>
                  </a:lnTo>
                  <a:lnTo>
                    <a:pt x="1322" y="9336"/>
                  </a:lnTo>
                  <a:lnTo>
                    <a:pt x="1300" y="9395"/>
                  </a:lnTo>
                  <a:lnTo>
                    <a:pt x="1279" y="9454"/>
                  </a:lnTo>
                  <a:lnTo>
                    <a:pt x="1260" y="9514"/>
                  </a:lnTo>
                  <a:lnTo>
                    <a:pt x="78" y="13784"/>
                  </a:lnTo>
                  <a:lnTo>
                    <a:pt x="74" y="13803"/>
                  </a:lnTo>
                  <a:lnTo>
                    <a:pt x="65" y="13846"/>
                  </a:lnTo>
                  <a:lnTo>
                    <a:pt x="53" y="13908"/>
                  </a:lnTo>
                  <a:lnTo>
                    <a:pt x="38" y="13984"/>
                  </a:lnTo>
                  <a:lnTo>
                    <a:pt x="31" y="14025"/>
                  </a:lnTo>
                  <a:lnTo>
                    <a:pt x="24" y="14066"/>
                  </a:lnTo>
                  <a:lnTo>
                    <a:pt x="18" y="14109"/>
                  </a:lnTo>
                  <a:lnTo>
                    <a:pt x="12" y="14151"/>
                  </a:lnTo>
                  <a:lnTo>
                    <a:pt x="7" y="14192"/>
                  </a:lnTo>
                  <a:lnTo>
                    <a:pt x="3" y="14231"/>
                  </a:lnTo>
                  <a:lnTo>
                    <a:pt x="1" y="14268"/>
                  </a:lnTo>
                  <a:lnTo>
                    <a:pt x="0" y="14302"/>
                  </a:lnTo>
                  <a:lnTo>
                    <a:pt x="2" y="14392"/>
                  </a:lnTo>
                  <a:lnTo>
                    <a:pt x="9" y="14481"/>
                  </a:lnTo>
                  <a:lnTo>
                    <a:pt x="20" y="14569"/>
                  </a:lnTo>
                  <a:lnTo>
                    <a:pt x="36" y="14656"/>
                  </a:lnTo>
                  <a:lnTo>
                    <a:pt x="55" y="14740"/>
                  </a:lnTo>
                  <a:lnTo>
                    <a:pt x="79" y="14824"/>
                  </a:lnTo>
                  <a:lnTo>
                    <a:pt x="107" y="14906"/>
                  </a:lnTo>
                  <a:lnTo>
                    <a:pt x="139" y="14985"/>
                  </a:lnTo>
                  <a:lnTo>
                    <a:pt x="174" y="15063"/>
                  </a:lnTo>
                  <a:lnTo>
                    <a:pt x="212" y="15139"/>
                  </a:lnTo>
                  <a:lnTo>
                    <a:pt x="256" y="15212"/>
                  </a:lnTo>
                  <a:lnTo>
                    <a:pt x="301" y="15283"/>
                  </a:lnTo>
                  <a:lnTo>
                    <a:pt x="350" y="15352"/>
                  </a:lnTo>
                  <a:lnTo>
                    <a:pt x="402" y="15419"/>
                  </a:lnTo>
                  <a:lnTo>
                    <a:pt x="458" y="15483"/>
                  </a:lnTo>
                  <a:lnTo>
                    <a:pt x="516" y="15543"/>
                  </a:lnTo>
                  <a:lnTo>
                    <a:pt x="577" y="15601"/>
                  </a:lnTo>
                  <a:lnTo>
                    <a:pt x="642" y="15657"/>
                  </a:lnTo>
                  <a:lnTo>
                    <a:pt x="708" y="15709"/>
                  </a:lnTo>
                  <a:lnTo>
                    <a:pt x="778" y="15758"/>
                  </a:lnTo>
                  <a:lnTo>
                    <a:pt x="849" y="15804"/>
                  </a:lnTo>
                  <a:lnTo>
                    <a:pt x="922" y="15846"/>
                  </a:lnTo>
                  <a:lnTo>
                    <a:pt x="999" y="15884"/>
                  </a:lnTo>
                  <a:lnTo>
                    <a:pt x="1076" y="15919"/>
                  </a:lnTo>
                  <a:lnTo>
                    <a:pt x="1157" y="15952"/>
                  </a:lnTo>
                  <a:lnTo>
                    <a:pt x="1238" y="15979"/>
                  </a:lnTo>
                  <a:lnTo>
                    <a:pt x="1323" y="16003"/>
                  </a:lnTo>
                  <a:lnTo>
                    <a:pt x="1407" y="16022"/>
                  </a:lnTo>
                  <a:lnTo>
                    <a:pt x="1495" y="16038"/>
                  </a:lnTo>
                  <a:lnTo>
                    <a:pt x="1582" y="16049"/>
                  </a:lnTo>
                  <a:lnTo>
                    <a:pt x="1672" y="16056"/>
                  </a:lnTo>
                  <a:lnTo>
                    <a:pt x="1763" y="16058"/>
                  </a:lnTo>
                  <a:lnTo>
                    <a:pt x="1801" y="16057"/>
                  </a:lnTo>
                  <a:lnTo>
                    <a:pt x="1843" y="16054"/>
                  </a:lnTo>
                  <a:lnTo>
                    <a:pt x="1887" y="16049"/>
                  </a:lnTo>
                  <a:lnTo>
                    <a:pt x="1933" y="16044"/>
                  </a:lnTo>
                  <a:lnTo>
                    <a:pt x="1981" y="16037"/>
                  </a:lnTo>
                  <a:lnTo>
                    <a:pt x="2028" y="16029"/>
                  </a:lnTo>
                  <a:lnTo>
                    <a:pt x="2075" y="16020"/>
                  </a:lnTo>
                  <a:lnTo>
                    <a:pt x="2122" y="16012"/>
                  </a:lnTo>
                  <a:lnTo>
                    <a:pt x="2205" y="15995"/>
                  </a:lnTo>
                  <a:lnTo>
                    <a:pt x="2275" y="15980"/>
                  </a:lnTo>
                  <a:lnTo>
                    <a:pt x="2324" y="15969"/>
                  </a:lnTo>
                  <a:lnTo>
                    <a:pt x="2345" y="15964"/>
                  </a:lnTo>
                  <a:lnTo>
                    <a:pt x="6609" y="14846"/>
                  </a:lnTo>
                  <a:lnTo>
                    <a:pt x="6669" y="14827"/>
                  </a:lnTo>
                  <a:lnTo>
                    <a:pt x="6729" y="14805"/>
                  </a:lnTo>
                  <a:lnTo>
                    <a:pt x="6788" y="14783"/>
                  </a:lnTo>
                  <a:lnTo>
                    <a:pt x="6845" y="14759"/>
                  </a:lnTo>
                  <a:lnTo>
                    <a:pt x="6903" y="14733"/>
                  </a:lnTo>
                  <a:lnTo>
                    <a:pt x="6960" y="14705"/>
                  </a:lnTo>
                  <a:lnTo>
                    <a:pt x="7015" y="14675"/>
                  </a:lnTo>
                  <a:lnTo>
                    <a:pt x="7070" y="14644"/>
                  </a:lnTo>
                  <a:lnTo>
                    <a:pt x="7123" y="14612"/>
                  </a:lnTo>
                  <a:lnTo>
                    <a:pt x="7175" y="14577"/>
                  </a:lnTo>
                  <a:lnTo>
                    <a:pt x="7227" y="14541"/>
                  </a:lnTo>
                  <a:lnTo>
                    <a:pt x="7277" y="14502"/>
                  </a:lnTo>
                  <a:lnTo>
                    <a:pt x="7326" y="14463"/>
                  </a:lnTo>
                  <a:lnTo>
                    <a:pt x="7375" y="14422"/>
                  </a:lnTo>
                  <a:lnTo>
                    <a:pt x="7421" y="14380"/>
                  </a:lnTo>
                  <a:lnTo>
                    <a:pt x="7466" y="14336"/>
                  </a:lnTo>
                  <a:lnTo>
                    <a:pt x="15143" y="6617"/>
                  </a:lnTo>
                  <a:lnTo>
                    <a:pt x="15270" y="6483"/>
                  </a:lnTo>
                  <a:lnTo>
                    <a:pt x="15387" y="6344"/>
                  </a:lnTo>
                  <a:lnTo>
                    <a:pt x="15495" y="6200"/>
                  </a:lnTo>
                  <a:lnTo>
                    <a:pt x="15594" y="6053"/>
                  </a:lnTo>
                  <a:lnTo>
                    <a:pt x="15685" y="5900"/>
                  </a:lnTo>
                  <a:lnTo>
                    <a:pt x="15766" y="5744"/>
                  </a:lnTo>
                  <a:lnTo>
                    <a:pt x="15837" y="5584"/>
                  </a:lnTo>
                  <a:lnTo>
                    <a:pt x="15901" y="5421"/>
                  </a:lnTo>
                  <a:lnTo>
                    <a:pt x="15955" y="5254"/>
                  </a:lnTo>
                  <a:lnTo>
                    <a:pt x="16000" y="5084"/>
                  </a:lnTo>
                  <a:lnTo>
                    <a:pt x="16037" y="4913"/>
                  </a:lnTo>
                  <a:lnTo>
                    <a:pt x="16065" y="4739"/>
                  </a:lnTo>
                  <a:lnTo>
                    <a:pt x="16083" y="4563"/>
                  </a:lnTo>
                  <a:lnTo>
                    <a:pt x="16093" y="4387"/>
                  </a:lnTo>
                  <a:lnTo>
                    <a:pt x="16094" y="4208"/>
                  </a:lnTo>
                  <a:lnTo>
                    <a:pt x="16087" y="4030"/>
                  </a:lnTo>
                  <a:lnTo>
                    <a:pt x="16070" y="3850"/>
                  </a:lnTo>
                  <a:lnTo>
                    <a:pt x="16045" y="3669"/>
                  </a:lnTo>
                  <a:lnTo>
                    <a:pt x="16011" y="3490"/>
                  </a:lnTo>
                  <a:lnTo>
                    <a:pt x="15968" y="3310"/>
                  </a:lnTo>
                  <a:lnTo>
                    <a:pt x="15917" y="3131"/>
                  </a:lnTo>
                  <a:lnTo>
                    <a:pt x="15857" y="2953"/>
                  </a:lnTo>
                  <a:lnTo>
                    <a:pt x="15788" y="2776"/>
                  </a:lnTo>
                  <a:lnTo>
                    <a:pt x="15711" y="2601"/>
                  </a:lnTo>
                  <a:lnTo>
                    <a:pt x="15625" y="2428"/>
                  </a:lnTo>
                  <a:lnTo>
                    <a:pt x="15531" y="2257"/>
                  </a:lnTo>
                  <a:lnTo>
                    <a:pt x="15428" y="2089"/>
                  </a:lnTo>
                  <a:lnTo>
                    <a:pt x="15316" y="1923"/>
                  </a:lnTo>
                  <a:lnTo>
                    <a:pt x="15196" y="1760"/>
                  </a:lnTo>
                  <a:lnTo>
                    <a:pt x="15067" y="1602"/>
                  </a:lnTo>
                  <a:lnTo>
                    <a:pt x="14930" y="1446"/>
                  </a:lnTo>
                  <a:lnTo>
                    <a:pt x="14785" y="129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434" name="îŝļíḑé">
              <a:extLst>
                <a:ext uri="{FF2B5EF4-FFF2-40B4-BE49-F238E27FC236}">
                  <a16:creationId xmlns:a16="http://schemas.microsoft.com/office/drawing/2014/main" id="{0DCD6072-629E-45D5-BE72-4CEE62A42625}"/>
                </a:ext>
              </a:extLst>
            </p:cNvPr>
            <p:cNvSpPr/>
            <p:nvPr/>
          </p:nvSpPr>
          <p:spPr bwMode="auto">
            <a:xfrm>
              <a:off x="6352283" y="3701082"/>
              <a:ext cx="236712" cy="214402"/>
            </a:xfrm>
            <a:custGeom>
              <a:avLst/>
              <a:gdLst>
                <a:gd name="T0" fmla="*/ 13271 w 16095"/>
                <a:gd name="T1" fmla="*/ 332 h 14578"/>
                <a:gd name="T2" fmla="*/ 11351 w 16095"/>
                <a:gd name="T3" fmla="*/ 5 h 14578"/>
                <a:gd name="T4" fmla="*/ 9463 w 16095"/>
                <a:gd name="T5" fmla="*/ 518 h 14578"/>
                <a:gd name="T6" fmla="*/ 789 w 16095"/>
                <a:gd name="T7" fmla="*/ 8840 h 14578"/>
                <a:gd name="T8" fmla="*/ 101 w 16095"/>
                <a:gd name="T9" fmla="*/ 10223 h 14578"/>
                <a:gd name="T10" fmla="*/ 64 w 16095"/>
                <a:gd name="T11" fmla="*/ 11733 h 14578"/>
                <a:gd name="T12" fmla="*/ 680 w 16095"/>
                <a:gd name="T13" fmla="*/ 13142 h 14578"/>
                <a:gd name="T14" fmla="*/ 1881 w 16095"/>
                <a:gd name="T15" fmla="*/ 14176 h 14578"/>
                <a:gd name="T16" fmla="*/ 3350 w 16095"/>
                <a:gd name="T17" fmla="*/ 14574 h 14578"/>
                <a:gd name="T18" fmla="*/ 4844 w 16095"/>
                <a:gd name="T19" fmla="*/ 14321 h 14578"/>
                <a:gd name="T20" fmla="*/ 13346 w 16095"/>
                <a:gd name="T21" fmla="*/ 6301 h 14578"/>
                <a:gd name="T22" fmla="*/ 13942 w 16095"/>
                <a:gd name="T23" fmla="*/ 5355 h 14578"/>
                <a:gd name="T24" fmla="*/ 14071 w 16095"/>
                <a:gd name="T25" fmla="*/ 4284 h 14578"/>
                <a:gd name="T26" fmla="*/ 13735 w 16095"/>
                <a:gd name="T27" fmla="*/ 3247 h 14578"/>
                <a:gd name="T28" fmla="*/ 12951 w 16095"/>
                <a:gd name="T29" fmla="*/ 2425 h 14578"/>
                <a:gd name="T30" fmla="*/ 11928 w 16095"/>
                <a:gd name="T31" fmla="*/ 2037 h 14578"/>
                <a:gd name="T32" fmla="*/ 10852 w 16095"/>
                <a:gd name="T33" fmla="*/ 2115 h 14578"/>
                <a:gd name="T34" fmla="*/ 9884 w 16095"/>
                <a:gd name="T35" fmla="*/ 2658 h 14578"/>
                <a:gd name="T36" fmla="*/ 4173 w 16095"/>
                <a:gd name="T37" fmla="*/ 8404 h 14578"/>
                <a:gd name="T38" fmla="*/ 4125 w 16095"/>
                <a:gd name="T39" fmla="*/ 8617 h 14578"/>
                <a:gd name="T40" fmla="*/ 4173 w 16095"/>
                <a:gd name="T41" fmla="*/ 8828 h 14578"/>
                <a:gd name="T42" fmla="*/ 4311 w 16095"/>
                <a:gd name="T43" fmla="*/ 9007 h 14578"/>
                <a:gd name="T44" fmla="*/ 4509 w 16095"/>
                <a:gd name="T45" fmla="*/ 9105 h 14578"/>
                <a:gd name="T46" fmla="*/ 4725 w 16095"/>
                <a:gd name="T47" fmla="*/ 9110 h 14578"/>
                <a:gd name="T48" fmla="*/ 4926 w 16095"/>
                <a:gd name="T49" fmla="*/ 9022 h 14578"/>
                <a:gd name="T50" fmla="*/ 10802 w 16095"/>
                <a:gd name="T51" fmla="*/ 3226 h 14578"/>
                <a:gd name="T52" fmla="*/ 11423 w 16095"/>
                <a:gd name="T53" fmla="*/ 3024 h 14578"/>
                <a:gd name="T54" fmla="*/ 12067 w 16095"/>
                <a:gd name="T55" fmla="*/ 3101 h 14578"/>
                <a:gd name="T56" fmla="*/ 12635 w 16095"/>
                <a:gd name="T57" fmla="*/ 3458 h 14578"/>
                <a:gd name="T58" fmla="*/ 12992 w 16095"/>
                <a:gd name="T59" fmla="*/ 4025 h 14578"/>
                <a:gd name="T60" fmla="*/ 13069 w 16095"/>
                <a:gd name="T61" fmla="*/ 4669 h 14578"/>
                <a:gd name="T62" fmla="*/ 12868 w 16095"/>
                <a:gd name="T63" fmla="*/ 5291 h 14578"/>
                <a:gd name="T64" fmla="*/ 5006 w 16095"/>
                <a:gd name="T65" fmla="*/ 13088 h 14578"/>
                <a:gd name="T66" fmla="*/ 3999 w 16095"/>
                <a:gd name="T67" fmla="*/ 13528 h 14578"/>
                <a:gd name="T68" fmla="*/ 2920 w 16095"/>
                <a:gd name="T69" fmla="*/ 13502 h 14578"/>
                <a:gd name="T70" fmla="*/ 1931 w 16095"/>
                <a:gd name="T71" fmla="*/ 13011 h 14578"/>
                <a:gd name="T72" fmla="*/ 1237 w 16095"/>
                <a:gd name="T73" fmla="*/ 12119 h 14578"/>
                <a:gd name="T74" fmla="*/ 1004 w 16095"/>
                <a:gd name="T75" fmla="*/ 11060 h 14578"/>
                <a:gd name="T76" fmla="*/ 1237 w 16095"/>
                <a:gd name="T77" fmla="*/ 10003 h 14578"/>
                <a:gd name="T78" fmla="*/ 9139 w 16095"/>
                <a:gd name="T79" fmla="*/ 1982 h 14578"/>
                <a:gd name="T80" fmla="*/ 10495 w 16095"/>
                <a:gd name="T81" fmla="*/ 1221 h 14578"/>
                <a:gd name="T82" fmla="*/ 12003 w 16095"/>
                <a:gd name="T83" fmla="*/ 1113 h 14578"/>
                <a:gd name="T84" fmla="*/ 13433 w 16095"/>
                <a:gd name="T85" fmla="*/ 1657 h 14578"/>
                <a:gd name="T86" fmla="*/ 14530 w 16095"/>
                <a:gd name="T87" fmla="*/ 2808 h 14578"/>
                <a:gd name="T88" fmla="*/ 15002 w 16095"/>
                <a:gd name="T89" fmla="*/ 4258 h 14578"/>
                <a:gd name="T90" fmla="*/ 14820 w 16095"/>
                <a:gd name="T91" fmla="*/ 5759 h 14578"/>
                <a:gd name="T92" fmla="*/ 13987 w 16095"/>
                <a:gd name="T93" fmla="*/ 7083 h 14578"/>
                <a:gd name="T94" fmla="*/ 8431 w 16095"/>
                <a:gd name="T95" fmla="*/ 12692 h 14578"/>
                <a:gd name="T96" fmla="*/ 8395 w 16095"/>
                <a:gd name="T97" fmla="*/ 12905 h 14578"/>
                <a:gd name="T98" fmla="*/ 8451 w 16095"/>
                <a:gd name="T99" fmla="*/ 13115 h 14578"/>
                <a:gd name="T100" fmla="*/ 8600 w 16095"/>
                <a:gd name="T101" fmla="*/ 13286 h 14578"/>
                <a:gd name="T102" fmla="*/ 8801 w 16095"/>
                <a:gd name="T103" fmla="*/ 13375 h 14578"/>
                <a:gd name="T104" fmla="*/ 9017 w 16095"/>
                <a:gd name="T105" fmla="*/ 13370 h 14578"/>
                <a:gd name="T106" fmla="*/ 9214 w 16095"/>
                <a:gd name="T107" fmla="*/ 13271 h 14578"/>
                <a:gd name="T108" fmla="*/ 15577 w 16095"/>
                <a:gd name="T109" fmla="*/ 6628 h 14578"/>
                <a:gd name="T110" fmla="*/ 16090 w 16095"/>
                <a:gd name="T111" fmla="*/ 4742 h 14578"/>
                <a:gd name="T112" fmla="*/ 15763 w 16095"/>
                <a:gd name="T113" fmla="*/ 2822 h 14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4578">
                  <a:moveTo>
                    <a:pt x="14768" y="1326"/>
                  </a:moveTo>
                  <a:lnTo>
                    <a:pt x="14600" y="1165"/>
                  </a:lnTo>
                  <a:lnTo>
                    <a:pt x="14425" y="1015"/>
                  </a:lnTo>
                  <a:lnTo>
                    <a:pt x="14244" y="875"/>
                  </a:lnTo>
                  <a:lnTo>
                    <a:pt x="14059" y="746"/>
                  </a:lnTo>
                  <a:lnTo>
                    <a:pt x="13868" y="626"/>
                  </a:lnTo>
                  <a:lnTo>
                    <a:pt x="13673" y="518"/>
                  </a:lnTo>
                  <a:lnTo>
                    <a:pt x="13474" y="419"/>
                  </a:lnTo>
                  <a:lnTo>
                    <a:pt x="13271" y="332"/>
                  </a:lnTo>
                  <a:lnTo>
                    <a:pt x="13065" y="253"/>
                  </a:lnTo>
                  <a:lnTo>
                    <a:pt x="12857" y="187"/>
                  </a:lnTo>
                  <a:lnTo>
                    <a:pt x="12646" y="130"/>
                  </a:lnTo>
                  <a:lnTo>
                    <a:pt x="12432" y="83"/>
                  </a:lnTo>
                  <a:lnTo>
                    <a:pt x="12218" y="46"/>
                  </a:lnTo>
                  <a:lnTo>
                    <a:pt x="12002" y="21"/>
                  </a:lnTo>
                  <a:lnTo>
                    <a:pt x="11786" y="5"/>
                  </a:lnTo>
                  <a:lnTo>
                    <a:pt x="11568" y="0"/>
                  </a:lnTo>
                  <a:lnTo>
                    <a:pt x="11351" y="5"/>
                  </a:lnTo>
                  <a:lnTo>
                    <a:pt x="11134" y="21"/>
                  </a:lnTo>
                  <a:lnTo>
                    <a:pt x="10918" y="46"/>
                  </a:lnTo>
                  <a:lnTo>
                    <a:pt x="10703" y="83"/>
                  </a:lnTo>
                  <a:lnTo>
                    <a:pt x="10490" y="130"/>
                  </a:lnTo>
                  <a:lnTo>
                    <a:pt x="10280" y="187"/>
                  </a:lnTo>
                  <a:lnTo>
                    <a:pt x="10070" y="253"/>
                  </a:lnTo>
                  <a:lnTo>
                    <a:pt x="9864" y="332"/>
                  </a:lnTo>
                  <a:lnTo>
                    <a:pt x="9662" y="419"/>
                  </a:lnTo>
                  <a:lnTo>
                    <a:pt x="9463" y="518"/>
                  </a:lnTo>
                  <a:lnTo>
                    <a:pt x="9268" y="626"/>
                  </a:lnTo>
                  <a:lnTo>
                    <a:pt x="9078" y="746"/>
                  </a:lnTo>
                  <a:lnTo>
                    <a:pt x="8891" y="875"/>
                  </a:lnTo>
                  <a:lnTo>
                    <a:pt x="8711" y="1015"/>
                  </a:lnTo>
                  <a:lnTo>
                    <a:pt x="8536" y="1165"/>
                  </a:lnTo>
                  <a:lnTo>
                    <a:pt x="8367" y="1326"/>
                  </a:lnTo>
                  <a:lnTo>
                    <a:pt x="1029" y="8572"/>
                  </a:lnTo>
                  <a:lnTo>
                    <a:pt x="904" y="8704"/>
                  </a:lnTo>
                  <a:lnTo>
                    <a:pt x="789" y="8840"/>
                  </a:lnTo>
                  <a:lnTo>
                    <a:pt x="680" y="8979"/>
                  </a:lnTo>
                  <a:lnTo>
                    <a:pt x="579" y="9124"/>
                  </a:lnTo>
                  <a:lnTo>
                    <a:pt x="487" y="9272"/>
                  </a:lnTo>
                  <a:lnTo>
                    <a:pt x="402" y="9424"/>
                  </a:lnTo>
                  <a:lnTo>
                    <a:pt x="326" y="9579"/>
                  </a:lnTo>
                  <a:lnTo>
                    <a:pt x="258" y="9736"/>
                  </a:lnTo>
                  <a:lnTo>
                    <a:pt x="197" y="9896"/>
                  </a:lnTo>
                  <a:lnTo>
                    <a:pt x="145" y="10058"/>
                  </a:lnTo>
                  <a:lnTo>
                    <a:pt x="101" y="10223"/>
                  </a:lnTo>
                  <a:lnTo>
                    <a:pt x="64" y="10388"/>
                  </a:lnTo>
                  <a:lnTo>
                    <a:pt x="36" y="10556"/>
                  </a:lnTo>
                  <a:lnTo>
                    <a:pt x="16" y="10724"/>
                  </a:lnTo>
                  <a:lnTo>
                    <a:pt x="4" y="10892"/>
                  </a:lnTo>
                  <a:lnTo>
                    <a:pt x="0" y="11060"/>
                  </a:lnTo>
                  <a:lnTo>
                    <a:pt x="4" y="11229"/>
                  </a:lnTo>
                  <a:lnTo>
                    <a:pt x="16" y="11398"/>
                  </a:lnTo>
                  <a:lnTo>
                    <a:pt x="36" y="11566"/>
                  </a:lnTo>
                  <a:lnTo>
                    <a:pt x="64" y="11733"/>
                  </a:lnTo>
                  <a:lnTo>
                    <a:pt x="101" y="11899"/>
                  </a:lnTo>
                  <a:lnTo>
                    <a:pt x="145" y="12064"/>
                  </a:lnTo>
                  <a:lnTo>
                    <a:pt x="197" y="12226"/>
                  </a:lnTo>
                  <a:lnTo>
                    <a:pt x="258" y="12385"/>
                  </a:lnTo>
                  <a:lnTo>
                    <a:pt x="326" y="12543"/>
                  </a:lnTo>
                  <a:lnTo>
                    <a:pt x="402" y="12698"/>
                  </a:lnTo>
                  <a:lnTo>
                    <a:pt x="487" y="12850"/>
                  </a:lnTo>
                  <a:lnTo>
                    <a:pt x="579" y="12998"/>
                  </a:lnTo>
                  <a:lnTo>
                    <a:pt x="680" y="13142"/>
                  </a:lnTo>
                  <a:lnTo>
                    <a:pt x="789" y="13282"/>
                  </a:lnTo>
                  <a:lnTo>
                    <a:pt x="904" y="13418"/>
                  </a:lnTo>
                  <a:lnTo>
                    <a:pt x="1029" y="13550"/>
                  </a:lnTo>
                  <a:lnTo>
                    <a:pt x="1161" y="13673"/>
                  </a:lnTo>
                  <a:lnTo>
                    <a:pt x="1297" y="13790"/>
                  </a:lnTo>
                  <a:lnTo>
                    <a:pt x="1436" y="13898"/>
                  </a:lnTo>
                  <a:lnTo>
                    <a:pt x="1581" y="13999"/>
                  </a:lnTo>
                  <a:lnTo>
                    <a:pt x="1729" y="14091"/>
                  </a:lnTo>
                  <a:lnTo>
                    <a:pt x="1881" y="14176"/>
                  </a:lnTo>
                  <a:lnTo>
                    <a:pt x="2036" y="14252"/>
                  </a:lnTo>
                  <a:lnTo>
                    <a:pt x="2193" y="14321"/>
                  </a:lnTo>
                  <a:lnTo>
                    <a:pt x="2354" y="14381"/>
                  </a:lnTo>
                  <a:lnTo>
                    <a:pt x="2516" y="14433"/>
                  </a:lnTo>
                  <a:lnTo>
                    <a:pt x="2680" y="14477"/>
                  </a:lnTo>
                  <a:lnTo>
                    <a:pt x="2846" y="14514"/>
                  </a:lnTo>
                  <a:lnTo>
                    <a:pt x="3013" y="14542"/>
                  </a:lnTo>
                  <a:lnTo>
                    <a:pt x="3181" y="14562"/>
                  </a:lnTo>
                  <a:lnTo>
                    <a:pt x="3350" y="14574"/>
                  </a:lnTo>
                  <a:lnTo>
                    <a:pt x="3519" y="14578"/>
                  </a:lnTo>
                  <a:lnTo>
                    <a:pt x="3688" y="14574"/>
                  </a:lnTo>
                  <a:lnTo>
                    <a:pt x="3857" y="14562"/>
                  </a:lnTo>
                  <a:lnTo>
                    <a:pt x="4025" y="14542"/>
                  </a:lnTo>
                  <a:lnTo>
                    <a:pt x="4192" y="14514"/>
                  </a:lnTo>
                  <a:lnTo>
                    <a:pt x="4358" y="14477"/>
                  </a:lnTo>
                  <a:lnTo>
                    <a:pt x="4522" y="14433"/>
                  </a:lnTo>
                  <a:lnTo>
                    <a:pt x="4684" y="14381"/>
                  </a:lnTo>
                  <a:lnTo>
                    <a:pt x="4844" y="14321"/>
                  </a:lnTo>
                  <a:lnTo>
                    <a:pt x="5002" y="14252"/>
                  </a:lnTo>
                  <a:lnTo>
                    <a:pt x="5156" y="14176"/>
                  </a:lnTo>
                  <a:lnTo>
                    <a:pt x="5308" y="14091"/>
                  </a:lnTo>
                  <a:lnTo>
                    <a:pt x="5456" y="13999"/>
                  </a:lnTo>
                  <a:lnTo>
                    <a:pt x="5601" y="13898"/>
                  </a:lnTo>
                  <a:lnTo>
                    <a:pt x="5741" y="13790"/>
                  </a:lnTo>
                  <a:lnTo>
                    <a:pt x="5877" y="13673"/>
                  </a:lnTo>
                  <a:lnTo>
                    <a:pt x="6007" y="13550"/>
                  </a:lnTo>
                  <a:lnTo>
                    <a:pt x="13346" y="6301"/>
                  </a:lnTo>
                  <a:lnTo>
                    <a:pt x="13435" y="6208"/>
                  </a:lnTo>
                  <a:lnTo>
                    <a:pt x="13519" y="6110"/>
                  </a:lnTo>
                  <a:lnTo>
                    <a:pt x="13596" y="6011"/>
                  </a:lnTo>
                  <a:lnTo>
                    <a:pt x="13669" y="5907"/>
                  </a:lnTo>
                  <a:lnTo>
                    <a:pt x="13735" y="5802"/>
                  </a:lnTo>
                  <a:lnTo>
                    <a:pt x="13795" y="5693"/>
                  </a:lnTo>
                  <a:lnTo>
                    <a:pt x="13850" y="5582"/>
                  </a:lnTo>
                  <a:lnTo>
                    <a:pt x="13899" y="5470"/>
                  </a:lnTo>
                  <a:lnTo>
                    <a:pt x="13942" y="5355"/>
                  </a:lnTo>
                  <a:lnTo>
                    <a:pt x="13980" y="5240"/>
                  </a:lnTo>
                  <a:lnTo>
                    <a:pt x="14011" y="5123"/>
                  </a:lnTo>
                  <a:lnTo>
                    <a:pt x="14037" y="5004"/>
                  </a:lnTo>
                  <a:lnTo>
                    <a:pt x="14057" y="4885"/>
                  </a:lnTo>
                  <a:lnTo>
                    <a:pt x="14071" y="4765"/>
                  </a:lnTo>
                  <a:lnTo>
                    <a:pt x="14080" y="4645"/>
                  </a:lnTo>
                  <a:lnTo>
                    <a:pt x="14083" y="4524"/>
                  </a:lnTo>
                  <a:lnTo>
                    <a:pt x="14080" y="4404"/>
                  </a:lnTo>
                  <a:lnTo>
                    <a:pt x="14071" y="4284"/>
                  </a:lnTo>
                  <a:lnTo>
                    <a:pt x="14057" y="4164"/>
                  </a:lnTo>
                  <a:lnTo>
                    <a:pt x="14037" y="4044"/>
                  </a:lnTo>
                  <a:lnTo>
                    <a:pt x="14011" y="3926"/>
                  </a:lnTo>
                  <a:lnTo>
                    <a:pt x="13980" y="3809"/>
                  </a:lnTo>
                  <a:lnTo>
                    <a:pt x="13942" y="3693"/>
                  </a:lnTo>
                  <a:lnTo>
                    <a:pt x="13899" y="3579"/>
                  </a:lnTo>
                  <a:lnTo>
                    <a:pt x="13850" y="3466"/>
                  </a:lnTo>
                  <a:lnTo>
                    <a:pt x="13795" y="3356"/>
                  </a:lnTo>
                  <a:lnTo>
                    <a:pt x="13735" y="3247"/>
                  </a:lnTo>
                  <a:lnTo>
                    <a:pt x="13669" y="3142"/>
                  </a:lnTo>
                  <a:lnTo>
                    <a:pt x="13596" y="3038"/>
                  </a:lnTo>
                  <a:lnTo>
                    <a:pt x="13519" y="2939"/>
                  </a:lnTo>
                  <a:lnTo>
                    <a:pt x="13435" y="2841"/>
                  </a:lnTo>
                  <a:lnTo>
                    <a:pt x="13346" y="2748"/>
                  </a:lnTo>
                  <a:lnTo>
                    <a:pt x="13252" y="2658"/>
                  </a:lnTo>
                  <a:lnTo>
                    <a:pt x="13156" y="2575"/>
                  </a:lnTo>
                  <a:lnTo>
                    <a:pt x="13055" y="2497"/>
                  </a:lnTo>
                  <a:lnTo>
                    <a:pt x="12951" y="2425"/>
                  </a:lnTo>
                  <a:lnTo>
                    <a:pt x="12846" y="2359"/>
                  </a:lnTo>
                  <a:lnTo>
                    <a:pt x="12737" y="2299"/>
                  </a:lnTo>
                  <a:lnTo>
                    <a:pt x="12627" y="2244"/>
                  </a:lnTo>
                  <a:lnTo>
                    <a:pt x="12514" y="2196"/>
                  </a:lnTo>
                  <a:lnTo>
                    <a:pt x="12400" y="2152"/>
                  </a:lnTo>
                  <a:lnTo>
                    <a:pt x="12284" y="2115"/>
                  </a:lnTo>
                  <a:lnTo>
                    <a:pt x="12167" y="2083"/>
                  </a:lnTo>
                  <a:lnTo>
                    <a:pt x="12048" y="2057"/>
                  </a:lnTo>
                  <a:lnTo>
                    <a:pt x="11928" y="2037"/>
                  </a:lnTo>
                  <a:lnTo>
                    <a:pt x="11809" y="2023"/>
                  </a:lnTo>
                  <a:lnTo>
                    <a:pt x="11689" y="2015"/>
                  </a:lnTo>
                  <a:lnTo>
                    <a:pt x="11568" y="2012"/>
                  </a:lnTo>
                  <a:lnTo>
                    <a:pt x="11448" y="2015"/>
                  </a:lnTo>
                  <a:lnTo>
                    <a:pt x="11327" y="2023"/>
                  </a:lnTo>
                  <a:lnTo>
                    <a:pt x="11207" y="2037"/>
                  </a:lnTo>
                  <a:lnTo>
                    <a:pt x="11087" y="2057"/>
                  </a:lnTo>
                  <a:lnTo>
                    <a:pt x="10969" y="2083"/>
                  </a:lnTo>
                  <a:lnTo>
                    <a:pt x="10852" y="2115"/>
                  </a:lnTo>
                  <a:lnTo>
                    <a:pt x="10736" y="2152"/>
                  </a:lnTo>
                  <a:lnTo>
                    <a:pt x="10622" y="2196"/>
                  </a:lnTo>
                  <a:lnTo>
                    <a:pt x="10509" y="2244"/>
                  </a:lnTo>
                  <a:lnTo>
                    <a:pt x="10398" y="2299"/>
                  </a:lnTo>
                  <a:lnTo>
                    <a:pt x="10291" y="2359"/>
                  </a:lnTo>
                  <a:lnTo>
                    <a:pt x="10184" y="2425"/>
                  </a:lnTo>
                  <a:lnTo>
                    <a:pt x="10082" y="2497"/>
                  </a:lnTo>
                  <a:lnTo>
                    <a:pt x="9981" y="2575"/>
                  </a:lnTo>
                  <a:lnTo>
                    <a:pt x="9884" y="2658"/>
                  </a:lnTo>
                  <a:lnTo>
                    <a:pt x="9790" y="2748"/>
                  </a:lnTo>
                  <a:lnTo>
                    <a:pt x="4273" y="8261"/>
                  </a:lnTo>
                  <a:lnTo>
                    <a:pt x="4255" y="8279"/>
                  </a:lnTo>
                  <a:lnTo>
                    <a:pt x="4239" y="8299"/>
                  </a:lnTo>
                  <a:lnTo>
                    <a:pt x="4223" y="8319"/>
                  </a:lnTo>
                  <a:lnTo>
                    <a:pt x="4209" y="8339"/>
                  </a:lnTo>
                  <a:lnTo>
                    <a:pt x="4196" y="8361"/>
                  </a:lnTo>
                  <a:lnTo>
                    <a:pt x="4184" y="8382"/>
                  </a:lnTo>
                  <a:lnTo>
                    <a:pt x="4173" y="8404"/>
                  </a:lnTo>
                  <a:lnTo>
                    <a:pt x="4163" y="8427"/>
                  </a:lnTo>
                  <a:lnTo>
                    <a:pt x="4154" y="8450"/>
                  </a:lnTo>
                  <a:lnTo>
                    <a:pt x="4146" y="8473"/>
                  </a:lnTo>
                  <a:lnTo>
                    <a:pt x="4140" y="8497"/>
                  </a:lnTo>
                  <a:lnTo>
                    <a:pt x="4134" y="8520"/>
                  </a:lnTo>
                  <a:lnTo>
                    <a:pt x="4130" y="8544"/>
                  </a:lnTo>
                  <a:lnTo>
                    <a:pt x="4128" y="8568"/>
                  </a:lnTo>
                  <a:lnTo>
                    <a:pt x="4126" y="8592"/>
                  </a:lnTo>
                  <a:lnTo>
                    <a:pt x="4125" y="8617"/>
                  </a:lnTo>
                  <a:lnTo>
                    <a:pt x="4126" y="8640"/>
                  </a:lnTo>
                  <a:lnTo>
                    <a:pt x="4128" y="8664"/>
                  </a:lnTo>
                  <a:lnTo>
                    <a:pt x="4130" y="8688"/>
                  </a:lnTo>
                  <a:lnTo>
                    <a:pt x="4134" y="8712"/>
                  </a:lnTo>
                  <a:lnTo>
                    <a:pt x="4140" y="8736"/>
                  </a:lnTo>
                  <a:lnTo>
                    <a:pt x="4146" y="8759"/>
                  </a:lnTo>
                  <a:lnTo>
                    <a:pt x="4154" y="8782"/>
                  </a:lnTo>
                  <a:lnTo>
                    <a:pt x="4163" y="8806"/>
                  </a:lnTo>
                  <a:lnTo>
                    <a:pt x="4173" y="8828"/>
                  </a:lnTo>
                  <a:lnTo>
                    <a:pt x="4184" y="8850"/>
                  </a:lnTo>
                  <a:lnTo>
                    <a:pt x="4196" y="8872"/>
                  </a:lnTo>
                  <a:lnTo>
                    <a:pt x="4209" y="8893"/>
                  </a:lnTo>
                  <a:lnTo>
                    <a:pt x="4223" y="8913"/>
                  </a:lnTo>
                  <a:lnTo>
                    <a:pt x="4239" y="8933"/>
                  </a:lnTo>
                  <a:lnTo>
                    <a:pt x="4255" y="8953"/>
                  </a:lnTo>
                  <a:lnTo>
                    <a:pt x="4273" y="8971"/>
                  </a:lnTo>
                  <a:lnTo>
                    <a:pt x="4292" y="8989"/>
                  </a:lnTo>
                  <a:lnTo>
                    <a:pt x="4311" y="9007"/>
                  </a:lnTo>
                  <a:lnTo>
                    <a:pt x="4332" y="9022"/>
                  </a:lnTo>
                  <a:lnTo>
                    <a:pt x="4352" y="9036"/>
                  </a:lnTo>
                  <a:lnTo>
                    <a:pt x="4373" y="9050"/>
                  </a:lnTo>
                  <a:lnTo>
                    <a:pt x="4395" y="9062"/>
                  </a:lnTo>
                  <a:lnTo>
                    <a:pt x="4417" y="9073"/>
                  </a:lnTo>
                  <a:lnTo>
                    <a:pt x="4439" y="9082"/>
                  </a:lnTo>
                  <a:lnTo>
                    <a:pt x="4462" y="9091"/>
                  </a:lnTo>
                  <a:lnTo>
                    <a:pt x="4485" y="9098"/>
                  </a:lnTo>
                  <a:lnTo>
                    <a:pt x="4509" y="9105"/>
                  </a:lnTo>
                  <a:lnTo>
                    <a:pt x="4533" y="9110"/>
                  </a:lnTo>
                  <a:lnTo>
                    <a:pt x="4557" y="9114"/>
                  </a:lnTo>
                  <a:lnTo>
                    <a:pt x="4580" y="9117"/>
                  </a:lnTo>
                  <a:lnTo>
                    <a:pt x="4604" y="9118"/>
                  </a:lnTo>
                  <a:lnTo>
                    <a:pt x="4628" y="9119"/>
                  </a:lnTo>
                  <a:lnTo>
                    <a:pt x="4652" y="9118"/>
                  </a:lnTo>
                  <a:lnTo>
                    <a:pt x="4677" y="9117"/>
                  </a:lnTo>
                  <a:lnTo>
                    <a:pt x="4701" y="9114"/>
                  </a:lnTo>
                  <a:lnTo>
                    <a:pt x="4725" y="9110"/>
                  </a:lnTo>
                  <a:lnTo>
                    <a:pt x="4748" y="9105"/>
                  </a:lnTo>
                  <a:lnTo>
                    <a:pt x="4772" y="9098"/>
                  </a:lnTo>
                  <a:lnTo>
                    <a:pt x="4795" y="9091"/>
                  </a:lnTo>
                  <a:lnTo>
                    <a:pt x="4817" y="9082"/>
                  </a:lnTo>
                  <a:lnTo>
                    <a:pt x="4841" y="9073"/>
                  </a:lnTo>
                  <a:lnTo>
                    <a:pt x="4863" y="9062"/>
                  </a:lnTo>
                  <a:lnTo>
                    <a:pt x="4884" y="9050"/>
                  </a:lnTo>
                  <a:lnTo>
                    <a:pt x="4905" y="9036"/>
                  </a:lnTo>
                  <a:lnTo>
                    <a:pt x="4926" y="9022"/>
                  </a:lnTo>
                  <a:lnTo>
                    <a:pt x="4946" y="9007"/>
                  </a:lnTo>
                  <a:lnTo>
                    <a:pt x="4965" y="8989"/>
                  </a:lnTo>
                  <a:lnTo>
                    <a:pt x="4984" y="8971"/>
                  </a:lnTo>
                  <a:lnTo>
                    <a:pt x="10501" y="3458"/>
                  </a:lnTo>
                  <a:lnTo>
                    <a:pt x="10557" y="3405"/>
                  </a:lnTo>
                  <a:lnTo>
                    <a:pt x="10616" y="3355"/>
                  </a:lnTo>
                  <a:lnTo>
                    <a:pt x="10676" y="3308"/>
                  </a:lnTo>
                  <a:lnTo>
                    <a:pt x="10738" y="3265"/>
                  </a:lnTo>
                  <a:lnTo>
                    <a:pt x="10802" y="3226"/>
                  </a:lnTo>
                  <a:lnTo>
                    <a:pt x="10866" y="3190"/>
                  </a:lnTo>
                  <a:lnTo>
                    <a:pt x="10933" y="3157"/>
                  </a:lnTo>
                  <a:lnTo>
                    <a:pt x="11000" y="3128"/>
                  </a:lnTo>
                  <a:lnTo>
                    <a:pt x="11069" y="3101"/>
                  </a:lnTo>
                  <a:lnTo>
                    <a:pt x="11139" y="3079"/>
                  </a:lnTo>
                  <a:lnTo>
                    <a:pt x="11209" y="3060"/>
                  </a:lnTo>
                  <a:lnTo>
                    <a:pt x="11280" y="3045"/>
                  </a:lnTo>
                  <a:lnTo>
                    <a:pt x="11352" y="3033"/>
                  </a:lnTo>
                  <a:lnTo>
                    <a:pt x="11423" y="3024"/>
                  </a:lnTo>
                  <a:lnTo>
                    <a:pt x="11496" y="3019"/>
                  </a:lnTo>
                  <a:lnTo>
                    <a:pt x="11568" y="3017"/>
                  </a:lnTo>
                  <a:lnTo>
                    <a:pt x="11641" y="3019"/>
                  </a:lnTo>
                  <a:lnTo>
                    <a:pt x="11713" y="3024"/>
                  </a:lnTo>
                  <a:lnTo>
                    <a:pt x="11785" y="3033"/>
                  </a:lnTo>
                  <a:lnTo>
                    <a:pt x="11857" y="3045"/>
                  </a:lnTo>
                  <a:lnTo>
                    <a:pt x="11927" y="3060"/>
                  </a:lnTo>
                  <a:lnTo>
                    <a:pt x="11998" y="3079"/>
                  </a:lnTo>
                  <a:lnTo>
                    <a:pt x="12067" y="3101"/>
                  </a:lnTo>
                  <a:lnTo>
                    <a:pt x="12137" y="3128"/>
                  </a:lnTo>
                  <a:lnTo>
                    <a:pt x="12204" y="3157"/>
                  </a:lnTo>
                  <a:lnTo>
                    <a:pt x="12270" y="3190"/>
                  </a:lnTo>
                  <a:lnTo>
                    <a:pt x="12335" y="3226"/>
                  </a:lnTo>
                  <a:lnTo>
                    <a:pt x="12398" y="3265"/>
                  </a:lnTo>
                  <a:lnTo>
                    <a:pt x="12461" y="3308"/>
                  </a:lnTo>
                  <a:lnTo>
                    <a:pt x="12521" y="3355"/>
                  </a:lnTo>
                  <a:lnTo>
                    <a:pt x="12579" y="3405"/>
                  </a:lnTo>
                  <a:lnTo>
                    <a:pt x="12635" y="3458"/>
                  </a:lnTo>
                  <a:lnTo>
                    <a:pt x="12689" y="3515"/>
                  </a:lnTo>
                  <a:lnTo>
                    <a:pt x="12738" y="3572"/>
                  </a:lnTo>
                  <a:lnTo>
                    <a:pt x="12785" y="3632"/>
                  </a:lnTo>
                  <a:lnTo>
                    <a:pt x="12828" y="3695"/>
                  </a:lnTo>
                  <a:lnTo>
                    <a:pt x="12868" y="3758"/>
                  </a:lnTo>
                  <a:lnTo>
                    <a:pt x="12904" y="3823"/>
                  </a:lnTo>
                  <a:lnTo>
                    <a:pt x="12936" y="3890"/>
                  </a:lnTo>
                  <a:lnTo>
                    <a:pt x="12967" y="3957"/>
                  </a:lnTo>
                  <a:lnTo>
                    <a:pt x="12992" y="4025"/>
                  </a:lnTo>
                  <a:lnTo>
                    <a:pt x="13015" y="4095"/>
                  </a:lnTo>
                  <a:lnTo>
                    <a:pt x="13033" y="4165"/>
                  </a:lnTo>
                  <a:lnTo>
                    <a:pt x="13049" y="4236"/>
                  </a:lnTo>
                  <a:lnTo>
                    <a:pt x="13061" y="4308"/>
                  </a:lnTo>
                  <a:lnTo>
                    <a:pt x="13069" y="4380"/>
                  </a:lnTo>
                  <a:lnTo>
                    <a:pt x="13075" y="4452"/>
                  </a:lnTo>
                  <a:lnTo>
                    <a:pt x="13076" y="4524"/>
                  </a:lnTo>
                  <a:lnTo>
                    <a:pt x="13075" y="4596"/>
                  </a:lnTo>
                  <a:lnTo>
                    <a:pt x="13069" y="4669"/>
                  </a:lnTo>
                  <a:lnTo>
                    <a:pt x="13061" y="4741"/>
                  </a:lnTo>
                  <a:lnTo>
                    <a:pt x="13049" y="4812"/>
                  </a:lnTo>
                  <a:lnTo>
                    <a:pt x="13033" y="4884"/>
                  </a:lnTo>
                  <a:lnTo>
                    <a:pt x="13015" y="4954"/>
                  </a:lnTo>
                  <a:lnTo>
                    <a:pt x="12992" y="5024"/>
                  </a:lnTo>
                  <a:lnTo>
                    <a:pt x="12967" y="5092"/>
                  </a:lnTo>
                  <a:lnTo>
                    <a:pt x="12936" y="5159"/>
                  </a:lnTo>
                  <a:lnTo>
                    <a:pt x="12904" y="5226"/>
                  </a:lnTo>
                  <a:lnTo>
                    <a:pt x="12868" y="5291"/>
                  </a:lnTo>
                  <a:lnTo>
                    <a:pt x="12828" y="5354"/>
                  </a:lnTo>
                  <a:lnTo>
                    <a:pt x="12785" y="5417"/>
                  </a:lnTo>
                  <a:lnTo>
                    <a:pt x="12738" y="5476"/>
                  </a:lnTo>
                  <a:lnTo>
                    <a:pt x="12689" y="5534"/>
                  </a:lnTo>
                  <a:lnTo>
                    <a:pt x="12635" y="5591"/>
                  </a:lnTo>
                  <a:lnTo>
                    <a:pt x="5297" y="12838"/>
                  </a:lnTo>
                  <a:lnTo>
                    <a:pt x="5203" y="12927"/>
                  </a:lnTo>
                  <a:lnTo>
                    <a:pt x="5106" y="13011"/>
                  </a:lnTo>
                  <a:lnTo>
                    <a:pt x="5006" y="13088"/>
                  </a:lnTo>
                  <a:lnTo>
                    <a:pt x="4902" y="13160"/>
                  </a:lnTo>
                  <a:lnTo>
                    <a:pt x="4796" y="13226"/>
                  </a:lnTo>
                  <a:lnTo>
                    <a:pt x="4688" y="13286"/>
                  </a:lnTo>
                  <a:lnTo>
                    <a:pt x="4577" y="13341"/>
                  </a:lnTo>
                  <a:lnTo>
                    <a:pt x="4465" y="13390"/>
                  </a:lnTo>
                  <a:lnTo>
                    <a:pt x="4351" y="13433"/>
                  </a:lnTo>
                  <a:lnTo>
                    <a:pt x="4235" y="13470"/>
                  </a:lnTo>
                  <a:lnTo>
                    <a:pt x="4117" y="13502"/>
                  </a:lnTo>
                  <a:lnTo>
                    <a:pt x="3999" y="13528"/>
                  </a:lnTo>
                  <a:lnTo>
                    <a:pt x="3880" y="13549"/>
                  </a:lnTo>
                  <a:lnTo>
                    <a:pt x="3760" y="13563"/>
                  </a:lnTo>
                  <a:lnTo>
                    <a:pt x="3639" y="13571"/>
                  </a:lnTo>
                  <a:lnTo>
                    <a:pt x="3519" y="13574"/>
                  </a:lnTo>
                  <a:lnTo>
                    <a:pt x="3398" y="13571"/>
                  </a:lnTo>
                  <a:lnTo>
                    <a:pt x="3277" y="13563"/>
                  </a:lnTo>
                  <a:lnTo>
                    <a:pt x="3158" y="13549"/>
                  </a:lnTo>
                  <a:lnTo>
                    <a:pt x="3039" y="13528"/>
                  </a:lnTo>
                  <a:lnTo>
                    <a:pt x="2920" y="13502"/>
                  </a:lnTo>
                  <a:lnTo>
                    <a:pt x="2803" y="13470"/>
                  </a:lnTo>
                  <a:lnTo>
                    <a:pt x="2687" y="13433"/>
                  </a:lnTo>
                  <a:lnTo>
                    <a:pt x="2572" y="13390"/>
                  </a:lnTo>
                  <a:lnTo>
                    <a:pt x="2460" y="13341"/>
                  </a:lnTo>
                  <a:lnTo>
                    <a:pt x="2350" y="13286"/>
                  </a:lnTo>
                  <a:lnTo>
                    <a:pt x="2241" y="13226"/>
                  </a:lnTo>
                  <a:lnTo>
                    <a:pt x="2136" y="13160"/>
                  </a:lnTo>
                  <a:lnTo>
                    <a:pt x="2032" y="13088"/>
                  </a:lnTo>
                  <a:lnTo>
                    <a:pt x="1931" y="13011"/>
                  </a:lnTo>
                  <a:lnTo>
                    <a:pt x="1835" y="12927"/>
                  </a:lnTo>
                  <a:lnTo>
                    <a:pt x="1740" y="12838"/>
                  </a:lnTo>
                  <a:lnTo>
                    <a:pt x="1652" y="12744"/>
                  </a:lnTo>
                  <a:lnTo>
                    <a:pt x="1568" y="12647"/>
                  </a:lnTo>
                  <a:lnTo>
                    <a:pt x="1491" y="12546"/>
                  </a:lnTo>
                  <a:lnTo>
                    <a:pt x="1418" y="12444"/>
                  </a:lnTo>
                  <a:lnTo>
                    <a:pt x="1352" y="12338"/>
                  </a:lnTo>
                  <a:lnTo>
                    <a:pt x="1292" y="12230"/>
                  </a:lnTo>
                  <a:lnTo>
                    <a:pt x="1237" y="12119"/>
                  </a:lnTo>
                  <a:lnTo>
                    <a:pt x="1188" y="12006"/>
                  </a:lnTo>
                  <a:lnTo>
                    <a:pt x="1145" y="11892"/>
                  </a:lnTo>
                  <a:lnTo>
                    <a:pt x="1108" y="11776"/>
                  </a:lnTo>
                  <a:lnTo>
                    <a:pt x="1076" y="11660"/>
                  </a:lnTo>
                  <a:lnTo>
                    <a:pt x="1050" y="11541"/>
                  </a:lnTo>
                  <a:lnTo>
                    <a:pt x="1030" y="11421"/>
                  </a:lnTo>
                  <a:lnTo>
                    <a:pt x="1016" y="11302"/>
                  </a:lnTo>
                  <a:lnTo>
                    <a:pt x="1007" y="11181"/>
                  </a:lnTo>
                  <a:lnTo>
                    <a:pt x="1004" y="11060"/>
                  </a:lnTo>
                  <a:lnTo>
                    <a:pt x="1007" y="10940"/>
                  </a:lnTo>
                  <a:lnTo>
                    <a:pt x="1016" y="10820"/>
                  </a:lnTo>
                  <a:lnTo>
                    <a:pt x="1030" y="10701"/>
                  </a:lnTo>
                  <a:lnTo>
                    <a:pt x="1050" y="10581"/>
                  </a:lnTo>
                  <a:lnTo>
                    <a:pt x="1076" y="10462"/>
                  </a:lnTo>
                  <a:lnTo>
                    <a:pt x="1108" y="10346"/>
                  </a:lnTo>
                  <a:lnTo>
                    <a:pt x="1145" y="10229"/>
                  </a:lnTo>
                  <a:lnTo>
                    <a:pt x="1188" y="10115"/>
                  </a:lnTo>
                  <a:lnTo>
                    <a:pt x="1237" y="10003"/>
                  </a:lnTo>
                  <a:lnTo>
                    <a:pt x="1292" y="9892"/>
                  </a:lnTo>
                  <a:lnTo>
                    <a:pt x="1352" y="9784"/>
                  </a:lnTo>
                  <a:lnTo>
                    <a:pt x="1418" y="9678"/>
                  </a:lnTo>
                  <a:lnTo>
                    <a:pt x="1491" y="9575"/>
                  </a:lnTo>
                  <a:lnTo>
                    <a:pt x="1568" y="9475"/>
                  </a:lnTo>
                  <a:lnTo>
                    <a:pt x="1652" y="9378"/>
                  </a:lnTo>
                  <a:lnTo>
                    <a:pt x="1740" y="9284"/>
                  </a:lnTo>
                  <a:lnTo>
                    <a:pt x="9007" y="2108"/>
                  </a:lnTo>
                  <a:lnTo>
                    <a:pt x="9139" y="1982"/>
                  </a:lnTo>
                  <a:lnTo>
                    <a:pt x="9275" y="1866"/>
                  </a:lnTo>
                  <a:lnTo>
                    <a:pt x="9415" y="1757"/>
                  </a:lnTo>
                  <a:lnTo>
                    <a:pt x="9559" y="1657"/>
                  </a:lnTo>
                  <a:lnTo>
                    <a:pt x="9707" y="1564"/>
                  </a:lnTo>
                  <a:lnTo>
                    <a:pt x="9859" y="1480"/>
                  </a:lnTo>
                  <a:lnTo>
                    <a:pt x="10014" y="1402"/>
                  </a:lnTo>
                  <a:lnTo>
                    <a:pt x="10172" y="1334"/>
                  </a:lnTo>
                  <a:lnTo>
                    <a:pt x="10332" y="1274"/>
                  </a:lnTo>
                  <a:lnTo>
                    <a:pt x="10495" y="1221"/>
                  </a:lnTo>
                  <a:lnTo>
                    <a:pt x="10659" y="1177"/>
                  </a:lnTo>
                  <a:lnTo>
                    <a:pt x="10825" y="1141"/>
                  </a:lnTo>
                  <a:lnTo>
                    <a:pt x="10992" y="1113"/>
                  </a:lnTo>
                  <a:lnTo>
                    <a:pt x="11160" y="1093"/>
                  </a:lnTo>
                  <a:lnTo>
                    <a:pt x="11328" y="1081"/>
                  </a:lnTo>
                  <a:lnTo>
                    <a:pt x="11497" y="1077"/>
                  </a:lnTo>
                  <a:lnTo>
                    <a:pt x="11666" y="1081"/>
                  </a:lnTo>
                  <a:lnTo>
                    <a:pt x="11835" y="1093"/>
                  </a:lnTo>
                  <a:lnTo>
                    <a:pt x="12003" y="1113"/>
                  </a:lnTo>
                  <a:lnTo>
                    <a:pt x="12170" y="1141"/>
                  </a:lnTo>
                  <a:lnTo>
                    <a:pt x="12335" y="1177"/>
                  </a:lnTo>
                  <a:lnTo>
                    <a:pt x="12500" y="1221"/>
                  </a:lnTo>
                  <a:lnTo>
                    <a:pt x="12662" y="1274"/>
                  </a:lnTo>
                  <a:lnTo>
                    <a:pt x="12822" y="1334"/>
                  </a:lnTo>
                  <a:lnTo>
                    <a:pt x="12980" y="1402"/>
                  </a:lnTo>
                  <a:lnTo>
                    <a:pt x="13135" y="1480"/>
                  </a:lnTo>
                  <a:lnTo>
                    <a:pt x="13285" y="1564"/>
                  </a:lnTo>
                  <a:lnTo>
                    <a:pt x="13433" y="1657"/>
                  </a:lnTo>
                  <a:lnTo>
                    <a:pt x="13578" y="1757"/>
                  </a:lnTo>
                  <a:lnTo>
                    <a:pt x="13718" y="1866"/>
                  </a:lnTo>
                  <a:lnTo>
                    <a:pt x="13855" y="1982"/>
                  </a:lnTo>
                  <a:lnTo>
                    <a:pt x="13986" y="2108"/>
                  </a:lnTo>
                  <a:lnTo>
                    <a:pt x="14110" y="2239"/>
                  </a:lnTo>
                  <a:lnTo>
                    <a:pt x="14228" y="2376"/>
                  </a:lnTo>
                  <a:lnTo>
                    <a:pt x="14337" y="2515"/>
                  </a:lnTo>
                  <a:lnTo>
                    <a:pt x="14437" y="2660"/>
                  </a:lnTo>
                  <a:lnTo>
                    <a:pt x="14530" y="2808"/>
                  </a:lnTo>
                  <a:lnTo>
                    <a:pt x="14614" y="2960"/>
                  </a:lnTo>
                  <a:lnTo>
                    <a:pt x="14692" y="3114"/>
                  </a:lnTo>
                  <a:lnTo>
                    <a:pt x="14760" y="3272"/>
                  </a:lnTo>
                  <a:lnTo>
                    <a:pt x="14820" y="3432"/>
                  </a:lnTo>
                  <a:lnTo>
                    <a:pt x="14873" y="3594"/>
                  </a:lnTo>
                  <a:lnTo>
                    <a:pt x="14917" y="3758"/>
                  </a:lnTo>
                  <a:lnTo>
                    <a:pt x="14953" y="3924"/>
                  </a:lnTo>
                  <a:lnTo>
                    <a:pt x="14981" y="4091"/>
                  </a:lnTo>
                  <a:lnTo>
                    <a:pt x="15002" y="4258"/>
                  </a:lnTo>
                  <a:lnTo>
                    <a:pt x="15014" y="4427"/>
                  </a:lnTo>
                  <a:lnTo>
                    <a:pt x="15018" y="4596"/>
                  </a:lnTo>
                  <a:lnTo>
                    <a:pt x="15014" y="4765"/>
                  </a:lnTo>
                  <a:lnTo>
                    <a:pt x="15002" y="4933"/>
                  </a:lnTo>
                  <a:lnTo>
                    <a:pt x="14981" y="5101"/>
                  </a:lnTo>
                  <a:lnTo>
                    <a:pt x="14953" y="5268"/>
                  </a:lnTo>
                  <a:lnTo>
                    <a:pt x="14917" y="5434"/>
                  </a:lnTo>
                  <a:lnTo>
                    <a:pt x="14873" y="5598"/>
                  </a:lnTo>
                  <a:lnTo>
                    <a:pt x="14820" y="5759"/>
                  </a:lnTo>
                  <a:lnTo>
                    <a:pt x="14760" y="5919"/>
                  </a:lnTo>
                  <a:lnTo>
                    <a:pt x="14692" y="6077"/>
                  </a:lnTo>
                  <a:lnTo>
                    <a:pt x="14615" y="6232"/>
                  </a:lnTo>
                  <a:lnTo>
                    <a:pt x="14531" y="6384"/>
                  </a:lnTo>
                  <a:lnTo>
                    <a:pt x="14438" y="6531"/>
                  </a:lnTo>
                  <a:lnTo>
                    <a:pt x="14338" y="6676"/>
                  </a:lnTo>
                  <a:lnTo>
                    <a:pt x="14228" y="6816"/>
                  </a:lnTo>
                  <a:lnTo>
                    <a:pt x="14111" y="6953"/>
                  </a:lnTo>
                  <a:lnTo>
                    <a:pt x="13987" y="7083"/>
                  </a:lnTo>
                  <a:lnTo>
                    <a:pt x="8541" y="12525"/>
                  </a:lnTo>
                  <a:lnTo>
                    <a:pt x="8523" y="12544"/>
                  </a:lnTo>
                  <a:lnTo>
                    <a:pt x="8507" y="12563"/>
                  </a:lnTo>
                  <a:lnTo>
                    <a:pt x="8491" y="12583"/>
                  </a:lnTo>
                  <a:lnTo>
                    <a:pt x="8477" y="12605"/>
                  </a:lnTo>
                  <a:lnTo>
                    <a:pt x="8464" y="12626"/>
                  </a:lnTo>
                  <a:lnTo>
                    <a:pt x="8451" y="12648"/>
                  </a:lnTo>
                  <a:lnTo>
                    <a:pt x="8441" y="12670"/>
                  </a:lnTo>
                  <a:lnTo>
                    <a:pt x="8431" y="12692"/>
                  </a:lnTo>
                  <a:lnTo>
                    <a:pt x="8422" y="12715"/>
                  </a:lnTo>
                  <a:lnTo>
                    <a:pt x="8415" y="12738"/>
                  </a:lnTo>
                  <a:lnTo>
                    <a:pt x="8408" y="12761"/>
                  </a:lnTo>
                  <a:lnTo>
                    <a:pt x="8403" y="12786"/>
                  </a:lnTo>
                  <a:lnTo>
                    <a:pt x="8399" y="12810"/>
                  </a:lnTo>
                  <a:lnTo>
                    <a:pt x="8396" y="12833"/>
                  </a:lnTo>
                  <a:lnTo>
                    <a:pt x="8395" y="12857"/>
                  </a:lnTo>
                  <a:lnTo>
                    <a:pt x="8394" y="12881"/>
                  </a:lnTo>
                  <a:lnTo>
                    <a:pt x="8395" y="12905"/>
                  </a:lnTo>
                  <a:lnTo>
                    <a:pt x="8396" y="12929"/>
                  </a:lnTo>
                  <a:lnTo>
                    <a:pt x="8399" y="12953"/>
                  </a:lnTo>
                  <a:lnTo>
                    <a:pt x="8403" y="12978"/>
                  </a:lnTo>
                  <a:lnTo>
                    <a:pt x="8408" y="13001"/>
                  </a:lnTo>
                  <a:lnTo>
                    <a:pt x="8415" y="13025"/>
                  </a:lnTo>
                  <a:lnTo>
                    <a:pt x="8422" y="13048"/>
                  </a:lnTo>
                  <a:lnTo>
                    <a:pt x="8431" y="13070"/>
                  </a:lnTo>
                  <a:lnTo>
                    <a:pt x="8441" y="13093"/>
                  </a:lnTo>
                  <a:lnTo>
                    <a:pt x="8451" y="13115"/>
                  </a:lnTo>
                  <a:lnTo>
                    <a:pt x="8464" y="13136"/>
                  </a:lnTo>
                  <a:lnTo>
                    <a:pt x="8477" y="13157"/>
                  </a:lnTo>
                  <a:lnTo>
                    <a:pt x="8491" y="13179"/>
                  </a:lnTo>
                  <a:lnTo>
                    <a:pt x="8507" y="13199"/>
                  </a:lnTo>
                  <a:lnTo>
                    <a:pt x="8523" y="13218"/>
                  </a:lnTo>
                  <a:lnTo>
                    <a:pt x="8541" y="13237"/>
                  </a:lnTo>
                  <a:lnTo>
                    <a:pt x="8561" y="13254"/>
                  </a:lnTo>
                  <a:lnTo>
                    <a:pt x="8580" y="13271"/>
                  </a:lnTo>
                  <a:lnTo>
                    <a:pt x="8600" y="13286"/>
                  </a:lnTo>
                  <a:lnTo>
                    <a:pt x="8621" y="13301"/>
                  </a:lnTo>
                  <a:lnTo>
                    <a:pt x="8642" y="13314"/>
                  </a:lnTo>
                  <a:lnTo>
                    <a:pt x="8663" y="13326"/>
                  </a:lnTo>
                  <a:lnTo>
                    <a:pt x="8685" y="13337"/>
                  </a:lnTo>
                  <a:lnTo>
                    <a:pt x="8708" y="13348"/>
                  </a:lnTo>
                  <a:lnTo>
                    <a:pt x="8731" y="13356"/>
                  </a:lnTo>
                  <a:lnTo>
                    <a:pt x="8754" y="13364"/>
                  </a:lnTo>
                  <a:lnTo>
                    <a:pt x="8778" y="13370"/>
                  </a:lnTo>
                  <a:lnTo>
                    <a:pt x="8801" y="13375"/>
                  </a:lnTo>
                  <a:lnTo>
                    <a:pt x="8825" y="13379"/>
                  </a:lnTo>
                  <a:lnTo>
                    <a:pt x="8849" y="13382"/>
                  </a:lnTo>
                  <a:lnTo>
                    <a:pt x="8873" y="13384"/>
                  </a:lnTo>
                  <a:lnTo>
                    <a:pt x="8898" y="13385"/>
                  </a:lnTo>
                  <a:lnTo>
                    <a:pt x="8922" y="13384"/>
                  </a:lnTo>
                  <a:lnTo>
                    <a:pt x="8946" y="13382"/>
                  </a:lnTo>
                  <a:lnTo>
                    <a:pt x="8969" y="13379"/>
                  </a:lnTo>
                  <a:lnTo>
                    <a:pt x="8993" y="13375"/>
                  </a:lnTo>
                  <a:lnTo>
                    <a:pt x="9017" y="13370"/>
                  </a:lnTo>
                  <a:lnTo>
                    <a:pt x="9040" y="13364"/>
                  </a:lnTo>
                  <a:lnTo>
                    <a:pt x="9063" y="13356"/>
                  </a:lnTo>
                  <a:lnTo>
                    <a:pt x="9087" y="13348"/>
                  </a:lnTo>
                  <a:lnTo>
                    <a:pt x="9109" y="13337"/>
                  </a:lnTo>
                  <a:lnTo>
                    <a:pt x="9131" y="13326"/>
                  </a:lnTo>
                  <a:lnTo>
                    <a:pt x="9153" y="13314"/>
                  </a:lnTo>
                  <a:lnTo>
                    <a:pt x="9174" y="13301"/>
                  </a:lnTo>
                  <a:lnTo>
                    <a:pt x="9194" y="13286"/>
                  </a:lnTo>
                  <a:lnTo>
                    <a:pt x="9214" y="13271"/>
                  </a:lnTo>
                  <a:lnTo>
                    <a:pt x="9234" y="13254"/>
                  </a:lnTo>
                  <a:lnTo>
                    <a:pt x="9253" y="13237"/>
                  </a:lnTo>
                  <a:lnTo>
                    <a:pt x="14768" y="7724"/>
                  </a:lnTo>
                  <a:lnTo>
                    <a:pt x="14929" y="7555"/>
                  </a:lnTo>
                  <a:lnTo>
                    <a:pt x="15080" y="7380"/>
                  </a:lnTo>
                  <a:lnTo>
                    <a:pt x="15220" y="7200"/>
                  </a:lnTo>
                  <a:lnTo>
                    <a:pt x="15349" y="7014"/>
                  </a:lnTo>
                  <a:lnTo>
                    <a:pt x="15468" y="6823"/>
                  </a:lnTo>
                  <a:lnTo>
                    <a:pt x="15577" y="6628"/>
                  </a:lnTo>
                  <a:lnTo>
                    <a:pt x="15676" y="6430"/>
                  </a:lnTo>
                  <a:lnTo>
                    <a:pt x="15763" y="6227"/>
                  </a:lnTo>
                  <a:lnTo>
                    <a:pt x="15842" y="6021"/>
                  </a:lnTo>
                  <a:lnTo>
                    <a:pt x="15909" y="5813"/>
                  </a:lnTo>
                  <a:lnTo>
                    <a:pt x="15965" y="5602"/>
                  </a:lnTo>
                  <a:lnTo>
                    <a:pt x="16013" y="5388"/>
                  </a:lnTo>
                  <a:lnTo>
                    <a:pt x="16049" y="5174"/>
                  </a:lnTo>
                  <a:lnTo>
                    <a:pt x="16074" y="4958"/>
                  </a:lnTo>
                  <a:lnTo>
                    <a:pt x="16090" y="4742"/>
                  </a:lnTo>
                  <a:lnTo>
                    <a:pt x="16095" y="4525"/>
                  </a:lnTo>
                  <a:lnTo>
                    <a:pt x="16090" y="4308"/>
                  </a:lnTo>
                  <a:lnTo>
                    <a:pt x="16074" y="4091"/>
                  </a:lnTo>
                  <a:lnTo>
                    <a:pt x="16049" y="3875"/>
                  </a:lnTo>
                  <a:lnTo>
                    <a:pt x="16013" y="3660"/>
                  </a:lnTo>
                  <a:lnTo>
                    <a:pt x="15965" y="3447"/>
                  </a:lnTo>
                  <a:lnTo>
                    <a:pt x="15909" y="3236"/>
                  </a:lnTo>
                  <a:lnTo>
                    <a:pt x="15842" y="3028"/>
                  </a:lnTo>
                  <a:lnTo>
                    <a:pt x="15763" y="2822"/>
                  </a:lnTo>
                  <a:lnTo>
                    <a:pt x="15676" y="2620"/>
                  </a:lnTo>
                  <a:lnTo>
                    <a:pt x="15577" y="2421"/>
                  </a:lnTo>
                  <a:lnTo>
                    <a:pt x="15468" y="2226"/>
                  </a:lnTo>
                  <a:lnTo>
                    <a:pt x="15349" y="2036"/>
                  </a:lnTo>
                  <a:lnTo>
                    <a:pt x="15220" y="1850"/>
                  </a:lnTo>
                  <a:lnTo>
                    <a:pt x="15080" y="1669"/>
                  </a:lnTo>
                  <a:lnTo>
                    <a:pt x="14929" y="1495"/>
                  </a:lnTo>
                  <a:lnTo>
                    <a:pt x="14768" y="13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5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435" name="iṩlîḓe">
              <a:extLst>
                <a:ext uri="{FF2B5EF4-FFF2-40B4-BE49-F238E27FC236}">
                  <a16:creationId xmlns:a16="http://schemas.microsoft.com/office/drawing/2014/main" id="{D4FCE1E6-EC5D-490E-83D3-C35940F7DA19}"/>
                </a:ext>
              </a:extLst>
            </p:cNvPr>
            <p:cNvSpPr/>
            <p:nvPr/>
          </p:nvSpPr>
          <p:spPr bwMode="auto">
            <a:xfrm>
              <a:off x="5364349" y="3857225"/>
              <a:ext cx="489925" cy="458391"/>
            </a:xfrm>
            <a:custGeom>
              <a:avLst/>
              <a:gdLst>
                <a:gd name="T0" fmla="*/ 15066 w 16095"/>
                <a:gd name="T1" fmla="*/ 11696 h 15059"/>
                <a:gd name="T2" fmla="*/ 14988 w 16095"/>
                <a:gd name="T3" fmla="*/ 11847 h 15059"/>
                <a:gd name="T4" fmla="*/ 14867 w 16095"/>
                <a:gd name="T5" fmla="*/ 11963 h 15059"/>
                <a:gd name="T6" fmla="*/ 14712 w 16095"/>
                <a:gd name="T7" fmla="*/ 12033 h 15059"/>
                <a:gd name="T8" fmla="*/ 6036 w 16095"/>
                <a:gd name="T9" fmla="*/ 12049 h 15059"/>
                <a:gd name="T10" fmla="*/ 1359 w 16095"/>
                <a:gd name="T11" fmla="*/ 12027 h 15059"/>
                <a:gd name="T12" fmla="*/ 1208 w 16095"/>
                <a:gd name="T13" fmla="*/ 11949 h 15059"/>
                <a:gd name="T14" fmla="*/ 1091 w 16095"/>
                <a:gd name="T15" fmla="*/ 11828 h 15059"/>
                <a:gd name="T16" fmla="*/ 1022 w 16095"/>
                <a:gd name="T17" fmla="*/ 11672 h 15059"/>
                <a:gd name="T18" fmla="*/ 1007 w 16095"/>
                <a:gd name="T19" fmla="*/ 1480 h 15059"/>
                <a:gd name="T20" fmla="*/ 1045 w 16095"/>
                <a:gd name="T21" fmla="*/ 1310 h 15059"/>
                <a:gd name="T22" fmla="*/ 1137 w 16095"/>
                <a:gd name="T23" fmla="*/ 1169 h 15059"/>
                <a:gd name="T24" fmla="*/ 1268 w 16095"/>
                <a:gd name="T25" fmla="*/ 1064 h 15059"/>
                <a:gd name="T26" fmla="*/ 1432 w 16095"/>
                <a:gd name="T27" fmla="*/ 1010 h 15059"/>
                <a:gd name="T28" fmla="*/ 14663 w 16095"/>
                <a:gd name="T29" fmla="*/ 1010 h 15059"/>
                <a:gd name="T30" fmla="*/ 14826 w 16095"/>
                <a:gd name="T31" fmla="*/ 1064 h 15059"/>
                <a:gd name="T32" fmla="*/ 14958 w 16095"/>
                <a:gd name="T33" fmla="*/ 1169 h 15059"/>
                <a:gd name="T34" fmla="*/ 15050 w 16095"/>
                <a:gd name="T35" fmla="*/ 1310 h 15059"/>
                <a:gd name="T36" fmla="*/ 15088 w 16095"/>
                <a:gd name="T37" fmla="*/ 1480 h 15059"/>
                <a:gd name="T38" fmla="*/ 1279 w 16095"/>
                <a:gd name="T39" fmla="*/ 17 h 15059"/>
                <a:gd name="T40" fmla="*/ 790 w 16095"/>
                <a:gd name="T41" fmla="*/ 182 h 15059"/>
                <a:gd name="T42" fmla="*/ 391 w 16095"/>
                <a:gd name="T43" fmla="*/ 493 h 15059"/>
                <a:gd name="T44" fmla="*/ 119 w 16095"/>
                <a:gd name="T45" fmla="*/ 920 h 15059"/>
                <a:gd name="T46" fmla="*/ 2 w 16095"/>
                <a:gd name="T47" fmla="*/ 1429 h 15059"/>
                <a:gd name="T48" fmla="*/ 47 w 16095"/>
                <a:gd name="T49" fmla="*/ 11922 h 15059"/>
                <a:gd name="T50" fmla="*/ 257 w 16095"/>
                <a:gd name="T51" fmla="*/ 12387 h 15059"/>
                <a:gd name="T52" fmla="*/ 604 w 16095"/>
                <a:gd name="T53" fmla="*/ 12752 h 15059"/>
                <a:gd name="T54" fmla="*/ 1056 w 16095"/>
                <a:gd name="T55" fmla="*/ 12984 h 15059"/>
                <a:gd name="T56" fmla="*/ 6539 w 16095"/>
                <a:gd name="T57" fmla="*/ 13053 h 15059"/>
                <a:gd name="T58" fmla="*/ 3299 w 16095"/>
                <a:gd name="T59" fmla="*/ 14106 h 15059"/>
                <a:gd name="T60" fmla="*/ 3180 w 16095"/>
                <a:gd name="T61" fmla="*/ 14188 h 15059"/>
                <a:gd name="T62" fmla="*/ 3089 w 16095"/>
                <a:gd name="T63" fmla="*/ 14299 h 15059"/>
                <a:gd name="T64" fmla="*/ 3034 w 16095"/>
                <a:gd name="T65" fmla="*/ 14431 h 15059"/>
                <a:gd name="T66" fmla="*/ 3019 w 16095"/>
                <a:gd name="T67" fmla="*/ 14583 h 15059"/>
                <a:gd name="T68" fmla="*/ 3057 w 16095"/>
                <a:gd name="T69" fmla="*/ 14753 h 15059"/>
                <a:gd name="T70" fmla="*/ 3149 w 16095"/>
                <a:gd name="T71" fmla="*/ 14894 h 15059"/>
                <a:gd name="T72" fmla="*/ 3280 w 16095"/>
                <a:gd name="T73" fmla="*/ 14999 h 15059"/>
                <a:gd name="T74" fmla="*/ 3444 w 16095"/>
                <a:gd name="T75" fmla="*/ 15053 h 15059"/>
                <a:gd name="T76" fmla="*/ 12651 w 16095"/>
                <a:gd name="T77" fmla="*/ 15053 h 15059"/>
                <a:gd name="T78" fmla="*/ 12814 w 16095"/>
                <a:gd name="T79" fmla="*/ 14999 h 15059"/>
                <a:gd name="T80" fmla="*/ 12946 w 16095"/>
                <a:gd name="T81" fmla="*/ 14894 h 15059"/>
                <a:gd name="T82" fmla="*/ 13038 w 16095"/>
                <a:gd name="T83" fmla="*/ 14753 h 15059"/>
                <a:gd name="T84" fmla="*/ 13076 w 16095"/>
                <a:gd name="T85" fmla="*/ 14583 h 15059"/>
                <a:gd name="T86" fmla="*/ 13061 w 16095"/>
                <a:gd name="T87" fmla="*/ 14431 h 15059"/>
                <a:gd name="T88" fmla="*/ 13006 w 16095"/>
                <a:gd name="T89" fmla="*/ 14299 h 15059"/>
                <a:gd name="T90" fmla="*/ 12915 w 16095"/>
                <a:gd name="T91" fmla="*/ 14188 h 15059"/>
                <a:gd name="T92" fmla="*/ 12796 w 16095"/>
                <a:gd name="T93" fmla="*/ 14106 h 15059"/>
                <a:gd name="T94" fmla="*/ 9556 w 16095"/>
                <a:gd name="T95" fmla="*/ 13053 h 15059"/>
                <a:gd name="T96" fmla="*/ 15039 w 16095"/>
                <a:gd name="T97" fmla="*/ 12984 h 15059"/>
                <a:gd name="T98" fmla="*/ 15491 w 16095"/>
                <a:gd name="T99" fmla="*/ 12752 h 15059"/>
                <a:gd name="T100" fmla="*/ 15838 w 16095"/>
                <a:gd name="T101" fmla="*/ 12387 h 15059"/>
                <a:gd name="T102" fmla="*/ 16048 w 16095"/>
                <a:gd name="T103" fmla="*/ 11922 h 15059"/>
                <a:gd name="T104" fmla="*/ 16093 w 16095"/>
                <a:gd name="T105" fmla="*/ 1429 h 15059"/>
                <a:gd name="T106" fmla="*/ 15976 w 16095"/>
                <a:gd name="T107" fmla="*/ 920 h 15059"/>
                <a:gd name="T108" fmla="*/ 15703 w 16095"/>
                <a:gd name="T109" fmla="*/ 493 h 15059"/>
                <a:gd name="T110" fmla="*/ 15305 w 16095"/>
                <a:gd name="T111" fmla="*/ 182 h 15059"/>
                <a:gd name="T112" fmla="*/ 14815 w 16095"/>
                <a:gd name="T113" fmla="*/ 17 h 15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5059">
                  <a:moveTo>
                    <a:pt x="15089" y="11547"/>
                  </a:moveTo>
                  <a:lnTo>
                    <a:pt x="15088" y="11573"/>
                  </a:lnTo>
                  <a:lnTo>
                    <a:pt x="15086" y="11598"/>
                  </a:lnTo>
                  <a:lnTo>
                    <a:pt x="15083" y="11623"/>
                  </a:lnTo>
                  <a:lnTo>
                    <a:pt x="15079" y="11648"/>
                  </a:lnTo>
                  <a:lnTo>
                    <a:pt x="15073" y="11672"/>
                  </a:lnTo>
                  <a:lnTo>
                    <a:pt x="15066" y="11696"/>
                  </a:lnTo>
                  <a:lnTo>
                    <a:pt x="15059" y="11719"/>
                  </a:lnTo>
                  <a:lnTo>
                    <a:pt x="15050" y="11743"/>
                  </a:lnTo>
                  <a:lnTo>
                    <a:pt x="15040" y="11765"/>
                  </a:lnTo>
                  <a:lnTo>
                    <a:pt x="15029" y="11786"/>
                  </a:lnTo>
                  <a:lnTo>
                    <a:pt x="15016" y="11807"/>
                  </a:lnTo>
                  <a:lnTo>
                    <a:pt x="15003" y="11828"/>
                  </a:lnTo>
                  <a:lnTo>
                    <a:pt x="14988" y="11847"/>
                  </a:lnTo>
                  <a:lnTo>
                    <a:pt x="14974" y="11866"/>
                  </a:lnTo>
                  <a:lnTo>
                    <a:pt x="14958" y="11884"/>
                  </a:lnTo>
                  <a:lnTo>
                    <a:pt x="14941" y="11902"/>
                  </a:lnTo>
                  <a:lnTo>
                    <a:pt x="14924" y="11918"/>
                  </a:lnTo>
                  <a:lnTo>
                    <a:pt x="14906" y="11934"/>
                  </a:lnTo>
                  <a:lnTo>
                    <a:pt x="14887" y="11949"/>
                  </a:lnTo>
                  <a:lnTo>
                    <a:pt x="14867" y="11963"/>
                  </a:lnTo>
                  <a:lnTo>
                    <a:pt x="14847" y="11977"/>
                  </a:lnTo>
                  <a:lnTo>
                    <a:pt x="14826" y="11989"/>
                  </a:lnTo>
                  <a:lnTo>
                    <a:pt x="14803" y="12000"/>
                  </a:lnTo>
                  <a:lnTo>
                    <a:pt x="14781" y="12010"/>
                  </a:lnTo>
                  <a:lnTo>
                    <a:pt x="14759" y="12019"/>
                  </a:lnTo>
                  <a:lnTo>
                    <a:pt x="14735" y="12027"/>
                  </a:lnTo>
                  <a:lnTo>
                    <a:pt x="14712" y="12033"/>
                  </a:lnTo>
                  <a:lnTo>
                    <a:pt x="14687" y="12039"/>
                  </a:lnTo>
                  <a:lnTo>
                    <a:pt x="14663" y="12043"/>
                  </a:lnTo>
                  <a:lnTo>
                    <a:pt x="14637" y="12047"/>
                  </a:lnTo>
                  <a:lnTo>
                    <a:pt x="14612" y="12048"/>
                  </a:lnTo>
                  <a:lnTo>
                    <a:pt x="14586" y="12049"/>
                  </a:lnTo>
                  <a:lnTo>
                    <a:pt x="10059" y="12049"/>
                  </a:lnTo>
                  <a:lnTo>
                    <a:pt x="6036" y="12049"/>
                  </a:lnTo>
                  <a:lnTo>
                    <a:pt x="1509" y="12049"/>
                  </a:lnTo>
                  <a:lnTo>
                    <a:pt x="1483" y="12048"/>
                  </a:lnTo>
                  <a:lnTo>
                    <a:pt x="1458" y="12047"/>
                  </a:lnTo>
                  <a:lnTo>
                    <a:pt x="1432" y="12043"/>
                  </a:lnTo>
                  <a:lnTo>
                    <a:pt x="1407" y="12039"/>
                  </a:lnTo>
                  <a:lnTo>
                    <a:pt x="1383" y="12033"/>
                  </a:lnTo>
                  <a:lnTo>
                    <a:pt x="1359" y="12027"/>
                  </a:lnTo>
                  <a:lnTo>
                    <a:pt x="1336" y="12019"/>
                  </a:lnTo>
                  <a:lnTo>
                    <a:pt x="1313" y="12010"/>
                  </a:lnTo>
                  <a:lnTo>
                    <a:pt x="1291" y="12000"/>
                  </a:lnTo>
                  <a:lnTo>
                    <a:pt x="1268" y="11989"/>
                  </a:lnTo>
                  <a:lnTo>
                    <a:pt x="1248" y="11977"/>
                  </a:lnTo>
                  <a:lnTo>
                    <a:pt x="1227" y="11963"/>
                  </a:lnTo>
                  <a:lnTo>
                    <a:pt x="1208" y="11949"/>
                  </a:lnTo>
                  <a:lnTo>
                    <a:pt x="1189" y="11934"/>
                  </a:lnTo>
                  <a:lnTo>
                    <a:pt x="1171" y="11918"/>
                  </a:lnTo>
                  <a:lnTo>
                    <a:pt x="1153" y="11902"/>
                  </a:lnTo>
                  <a:lnTo>
                    <a:pt x="1137" y="11884"/>
                  </a:lnTo>
                  <a:lnTo>
                    <a:pt x="1121" y="11866"/>
                  </a:lnTo>
                  <a:lnTo>
                    <a:pt x="1106" y="11847"/>
                  </a:lnTo>
                  <a:lnTo>
                    <a:pt x="1091" y="11828"/>
                  </a:lnTo>
                  <a:lnTo>
                    <a:pt x="1078" y="11807"/>
                  </a:lnTo>
                  <a:lnTo>
                    <a:pt x="1066" y="11786"/>
                  </a:lnTo>
                  <a:lnTo>
                    <a:pt x="1055" y="11765"/>
                  </a:lnTo>
                  <a:lnTo>
                    <a:pt x="1045" y="11743"/>
                  </a:lnTo>
                  <a:lnTo>
                    <a:pt x="1036" y="11719"/>
                  </a:lnTo>
                  <a:lnTo>
                    <a:pt x="1028" y="11696"/>
                  </a:lnTo>
                  <a:lnTo>
                    <a:pt x="1022" y="11672"/>
                  </a:lnTo>
                  <a:lnTo>
                    <a:pt x="1016" y="11648"/>
                  </a:lnTo>
                  <a:lnTo>
                    <a:pt x="1012" y="11623"/>
                  </a:lnTo>
                  <a:lnTo>
                    <a:pt x="1009" y="11598"/>
                  </a:lnTo>
                  <a:lnTo>
                    <a:pt x="1007" y="11573"/>
                  </a:lnTo>
                  <a:lnTo>
                    <a:pt x="1006" y="11547"/>
                  </a:lnTo>
                  <a:lnTo>
                    <a:pt x="1006" y="1506"/>
                  </a:lnTo>
                  <a:lnTo>
                    <a:pt x="1007" y="1480"/>
                  </a:lnTo>
                  <a:lnTo>
                    <a:pt x="1009" y="1455"/>
                  </a:lnTo>
                  <a:lnTo>
                    <a:pt x="1012" y="1430"/>
                  </a:lnTo>
                  <a:lnTo>
                    <a:pt x="1016" y="1405"/>
                  </a:lnTo>
                  <a:lnTo>
                    <a:pt x="1022" y="1381"/>
                  </a:lnTo>
                  <a:lnTo>
                    <a:pt x="1028" y="1356"/>
                  </a:lnTo>
                  <a:lnTo>
                    <a:pt x="1036" y="1333"/>
                  </a:lnTo>
                  <a:lnTo>
                    <a:pt x="1045" y="1310"/>
                  </a:lnTo>
                  <a:lnTo>
                    <a:pt x="1055" y="1288"/>
                  </a:lnTo>
                  <a:lnTo>
                    <a:pt x="1066" y="1267"/>
                  </a:lnTo>
                  <a:lnTo>
                    <a:pt x="1078" y="1246"/>
                  </a:lnTo>
                  <a:lnTo>
                    <a:pt x="1091" y="1225"/>
                  </a:lnTo>
                  <a:lnTo>
                    <a:pt x="1106" y="1206"/>
                  </a:lnTo>
                  <a:lnTo>
                    <a:pt x="1121" y="1187"/>
                  </a:lnTo>
                  <a:lnTo>
                    <a:pt x="1137" y="1169"/>
                  </a:lnTo>
                  <a:lnTo>
                    <a:pt x="1153" y="1151"/>
                  </a:lnTo>
                  <a:lnTo>
                    <a:pt x="1171" y="1135"/>
                  </a:lnTo>
                  <a:lnTo>
                    <a:pt x="1189" y="1119"/>
                  </a:lnTo>
                  <a:lnTo>
                    <a:pt x="1208" y="1103"/>
                  </a:lnTo>
                  <a:lnTo>
                    <a:pt x="1227" y="1090"/>
                  </a:lnTo>
                  <a:lnTo>
                    <a:pt x="1248" y="1077"/>
                  </a:lnTo>
                  <a:lnTo>
                    <a:pt x="1268" y="1064"/>
                  </a:lnTo>
                  <a:lnTo>
                    <a:pt x="1291" y="1053"/>
                  </a:lnTo>
                  <a:lnTo>
                    <a:pt x="1313" y="1043"/>
                  </a:lnTo>
                  <a:lnTo>
                    <a:pt x="1336" y="1034"/>
                  </a:lnTo>
                  <a:lnTo>
                    <a:pt x="1359" y="1027"/>
                  </a:lnTo>
                  <a:lnTo>
                    <a:pt x="1383" y="1020"/>
                  </a:lnTo>
                  <a:lnTo>
                    <a:pt x="1407" y="1014"/>
                  </a:lnTo>
                  <a:lnTo>
                    <a:pt x="1432" y="1010"/>
                  </a:lnTo>
                  <a:lnTo>
                    <a:pt x="1458" y="1007"/>
                  </a:lnTo>
                  <a:lnTo>
                    <a:pt x="1483" y="1005"/>
                  </a:lnTo>
                  <a:lnTo>
                    <a:pt x="1509" y="1004"/>
                  </a:lnTo>
                  <a:lnTo>
                    <a:pt x="14586" y="1004"/>
                  </a:lnTo>
                  <a:lnTo>
                    <a:pt x="14612" y="1005"/>
                  </a:lnTo>
                  <a:lnTo>
                    <a:pt x="14637" y="1007"/>
                  </a:lnTo>
                  <a:lnTo>
                    <a:pt x="14663" y="1010"/>
                  </a:lnTo>
                  <a:lnTo>
                    <a:pt x="14687" y="1014"/>
                  </a:lnTo>
                  <a:lnTo>
                    <a:pt x="14712" y="1020"/>
                  </a:lnTo>
                  <a:lnTo>
                    <a:pt x="14735" y="1027"/>
                  </a:lnTo>
                  <a:lnTo>
                    <a:pt x="14759" y="1034"/>
                  </a:lnTo>
                  <a:lnTo>
                    <a:pt x="14781" y="1043"/>
                  </a:lnTo>
                  <a:lnTo>
                    <a:pt x="14803" y="1053"/>
                  </a:lnTo>
                  <a:lnTo>
                    <a:pt x="14826" y="1064"/>
                  </a:lnTo>
                  <a:lnTo>
                    <a:pt x="14847" y="1077"/>
                  </a:lnTo>
                  <a:lnTo>
                    <a:pt x="14867" y="1090"/>
                  </a:lnTo>
                  <a:lnTo>
                    <a:pt x="14887" y="1103"/>
                  </a:lnTo>
                  <a:lnTo>
                    <a:pt x="14906" y="1119"/>
                  </a:lnTo>
                  <a:lnTo>
                    <a:pt x="14924" y="1135"/>
                  </a:lnTo>
                  <a:lnTo>
                    <a:pt x="14941" y="1151"/>
                  </a:lnTo>
                  <a:lnTo>
                    <a:pt x="14958" y="1169"/>
                  </a:lnTo>
                  <a:lnTo>
                    <a:pt x="14974" y="1187"/>
                  </a:lnTo>
                  <a:lnTo>
                    <a:pt x="14988" y="1206"/>
                  </a:lnTo>
                  <a:lnTo>
                    <a:pt x="15003" y="1225"/>
                  </a:lnTo>
                  <a:lnTo>
                    <a:pt x="15016" y="1246"/>
                  </a:lnTo>
                  <a:lnTo>
                    <a:pt x="15029" y="1267"/>
                  </a:lnTo>
                  <a:lnTo>
                    <a:pt x="15040" y="1288"/>
                  </a:lnTo>
                  <a:lnTo>
                    <a:pt x="15050" y="1310"/>
                  </a:lnTo>
                  <a:lnTo>
                    <a:pt x="15059" y="1333"/>
                  </a:lnTo>
                  <a:lnTo>
                    <a:pt x="15066" y="1356"/>
                  </a:lnTo>
                  <a:lnTo>
                    <a:pt x="15073" y="1381"/>
                  </a:lnTo>
                  <a:lnTo>
                    <a:pt x="15079" y="1405"/>
                  </a:lnTo>
                  <a:lnTo>
                    <a:pt x="15083" y="1430"/>
                  </a:lnTo>
                  <a:lnTo>
                    <a:pt x="15086" y="1455"/>
                  </a:lnTo>
                  <a:lnTo>
                    <a:pt x="15088" y="1480"/>
                  </a:lnTo>
                  <a:lnTo>
                    <a:pt x="15089" y="1506"/>
                  </a:lnTo>
                  <a:lnTo>
                    <a:pt x="15089" y="11547"/>
                  </a:lnTo>
                  <a:close/>
                  <a:moveTo>
                    <a:pt x="14586" y="0"/>
                  </a:moveTo>
                  <a:lnTo>
                    <a:pt x="1509" y="0"/>
                  </a:lnTo>
                  <a:lnTo>
                    <a:pt x="1431" y="2"/>
                  </a:lnTo>
                  <a:lnTo>
                    <a:pt x="1354" y="8"/>
                  </a:lnTo>
                  <a:lnTo>
                    <a:pt x="1279" y="17"/>
                  </a:lnTo>
                  <a:lnTo>
                    <a:pt x="1204" y="30"/>
                  </a:lnTo>
                  <a:lnTo>
                    <a:pt x="1132" y="47"/>
                  </a:lnTo>
                  <a:lnTo>
                    <a:pt x="1060" y="67"/>
                  </a:lnTo>
                  <a:lnTo>
                    <a:pt x="990" y="91"/>
                  </a:lnTo>
                  <a:lnTo>
                    <a:pt x="921" y="118"/>
                  </a:lnTo>
                  <a:lnTo>
                    <a:pt x="854" y="149"/>
                  </a:lnTo>
                  <a:lnTo>
                    <a:pt x="790" y="182"/>
                  </a:lnTo>
                  <a:lnTo>
                    <a:pt x="726" y="218"/>
                  </a:lnTo>
                  <a:lnTo>
                    <a:pt x="665" y="257"/>
                  </a:lnTo>
                  <a:lnTo>
                    <a:pt x="606" y="299"/>
                  </a:lnTo>
                  <a:lnTo>
                    <a:pt x="549" y="344"/>
                  </a:lnTo>
                  <a:lnTo>
                    <a:pt x="494" y="392"/>
                  </a:lnTo>
                  <a:lnTo>
                    <a:pt x="442" y="441"/>
                  </a:lnTo>
                  <a:lnTo>
                    <a:pt x="391" y="493"/>
                  </a:lnTo>
                  <a:lnTo>
                    <a:pt x="344" y="548"/>
                  </a:lnTo>
                  <a:lnTo>
                    <a:pt x="300" y="605"/>
                  </a:lnTo>
                  <a:lnTo>
                    <a:pt x="258" y="664"/>
                  </a:lnTo>
                  <a:lnTo>
                    <a:pt x="218" y="725"/>
                  </a:lnTo>
                  <a:lnTo>
                    <a:pt x="182" y="788"/>
                  </a:lnTo>
                  <a:lnTo>
                    <a:pt x="149" y="853"/>
                  </a:lnTo>
                  <a:lnTo>
                    <a:pt x="119" y="920"/>
                  </a:lnTo>
                  <a:lnTo>
                    <a:pt x="92" y="988"/>
                  </a:lnTo>
                  <a:lnTo>
                    <a:pt x="67" y="1058"/>
                  </a:lnTo>
                  <a:lnTo>
                    <a:pt x="47" y="1130"/>
                  </a:lnTo>
                  <a:lnTo>
                    <a:pt x="30" y="1203"/>
                  </a:lnTo>
                  <a:lnTo>
                    <a:pt x="17" y="1277"/>
                  </a:lnTo>
                  <a:lnTo>
                    <a:pt x="8" y="1352"/>
                  </a:lnTo>
                  <a:lnTo>
                    <a:pt x="2" y="1429"/>
                  </a:lnTo>
                  <a:lnTo>
                    <a:pt x="0" y="1506"/>
                  </a:lnTo>
                  <a:lnTo>
                    <a:pt x="0" y="11547"/>
                  </a:lnTo>
                  <a:lnTo>
                    <a:pt x="2" y="11624"/>
                  </a:lnTo>
                  <a:lnTo>
                    <a:pt x="8" y="11700"/>
                  </a:lnTo>
                  <a:lnTo>
                    <a:pt x="17" y="11776"/>
                  </a:lnTo>
                  <a:lnTo>
                    <a:pt x="30" y="11850"/>
                  </a:lnTo>
                  <a:lnTo>
                    <a:pt x="47" y="11922"/>
                  </a:lnTo>
                  <a:lnTo>
                    <a:pt x="67" y="11994"/>
                  </a:lnTo>
                  <a:lnTo>
                    <a:pt x="92" y="12064"/>
                  </a:lnTo>
                  <a:lnTo>
                    <a:pt x="118" y="12132"/>
                  </a:lnTo>
                  <a:lnTo>
                    <a:pt x="148" y="12198"/>
                  </a:lnTo>
                  <a:lnTo>
                    <a:pt x="181" y="12264"/>
                  </a:lnTo>
                  <a:lnTo>
                    <a:pt x="217" y="12326"/>
                  </a:lnTo>
                  <a:lnTo>
                    <a:pt x="257" y="12387"/>
                  </a:lnTo>
                  <a:lnTo>
                    <a:pt x="299" y="12446"/>
                  </a:lnTo>
                  <a:lnTo>
                    <a:pt x="343" y="12504"/>
                  </a:lnTo>
                  <a:lnTo>
                    <a:pt x="390" y="12558"/>
                  </a:lnTo>
                  <a:lnTo>
                    <a:pt x="441" y="12610"/>
                  </a:lnTo>
                  <a:lnTo>
                    <a:pt x="493" y="12660"/>
                  </a:lnTo>
                  <a:lnTo>
                    <a:pt x="547" y="12707"/>
                  </a:lnTo>
                  <a:lnTo>
                    <a:pt x="604" y="12752"/>
                  </a:lnTo>
                  <a:lnTo>
                    <a:pt x="663" y="12794"/>
                  </a:lnTo>
                  <a:lnTo>
                    <a:pt x="724" y="12833"/>
                  </a:lnTo>
                  <a:lnTo>
                    <a:pt x="787" y="12869"/>
                  </a:lnTo>
                  <a:lnTo>
                    <a:pt x="852" y="12902"/>
                  </a:lnTo>
                  <a:lnTo>
                    <a:pt x="918" y="12933"/>
                  </a:lnTo>
                  <a:lnTo>
                    <a:pt x="987" y="12959"/>
                  </a:lnTo>
                  <a:lnTo>
                    <a:pt x="1056" y="12984"/>
                  </a:lnTo>
                  <a:lnTo>
                    <a:pt x="1128" y="13004"/>
                  </a:lnTo>
                  <a:lnTo>
                    <a:pt x="1201" y="13021"/>
                  </a:lnTo>
                  <a:lnTo>
                    <a:pt x="1275" y="13035"/>
                  </a:lnTo>
                  <a:lnTo>
                    <a:pt x="1350" y="13044"/>
                  </a:lnTo>
                  <a:lnTo>
                    <a:pt x="1426" y="13050"/>
                  </a:lnTo>
                  <a:lnTo>
                    <a:pt x="1504" y="13053"/>
                  </a:lnTo>
                  <a:lnTo>
                    <a:pt x="6539" y="13053"/>
                  </a:lnTo>
                  <a:lnTo>
                    <a:pt x="6539" y="13663"/>
                  </a:lnTo>
                  <a:lnTo>
                    <a:pt x="3399" y="14070"/>
                  </a:lnTo>
                  <a:lnTo>
                    <a:pt x="3378" y="14076"/>
                  </a:lnTo>
                  <a:lnTo>
                    <a:pt x="3358" y="14082"/>
                  </a:lnTo>
                  <a:lnTo>
                    <a:pt x="3338" y="14090"/>
                  </a:lnTo>
                  <a:lnTo>
                    <a:pt x="3319" y="14098"/>
                  </a:lnTo>
                  <a:lnTo>
                    <a:pt x="3299" y="14106"/>
                  </a:lnTo>
                  <a:lnTo>
                    <a:pt x="3280" y="14116"/>
                  </a:lnTo>
                  <a:lnTo>
                    <a:pt x="3262" y="14126"/>
                  </a:lnTo>
                  <a:lnTo>
                    <a:pt x="3245" y="14137"/>
                  </a:lnTo>
                  <a:lnTo>
                    <a:pt x="3228" y="14149"/>
                  </a:lnTo>
                  <a:lnTo>
                    <a:pt x="3211" y="14161"/>
                  </a:lnTo>
                  <a:lnTo>
                    <a:pt x="3196" y="14174"/>
                  </a:lnTo>
                  <a:lnTo>
                    <a:pt x="3180" y="14188"/>
                  </a:lnTo>
                  <a:lnTo>
                    <a:pt x="3166" y="14203"/>
                  </a:lnTo>
                  <a:lnTo>
                    <a:pt x="3151" y="14217"/>
                  </a:lnTo>
                  <a:lnTo>
                    <a:pt x="3138" y="14233"/>
                  </a:lnTo>
                  <a:lnTo>
                    <a:pt x="3124" y="14249"/>
                  </a:lnTo>
                  <a:lnTo>
                    <a:pt x="3112" y="14265"/>
                  </a:lnTo>
                  <a:lnTo>
                    <a:pt x="3100" y="14282"/>
                  </a:lnTo>
                  <a:lnTo>
                    <a:pt x="3089" y="14299"/>
                  </a:lnTo>
                  <a:lnTo>
                    <a:pt x="3079" y="14316"/>
                  </a:lnTo>
                  <a:lnTo>
                    <a:pt x="3070" y="14335"/>
                  </a:lnTo>
                  <a:lnTo>
                    <a:pt x="3061" y="14353"/>
                  </a:lnTo>
                  <a:lnTo>
                    <a:pt x="3053" y="14372"/>
                  </a:lnTo>
                  <a:lnTo>
                    <a:pt x="3046" y="14391"/>
                  </a:lnTo>
                  <a:lnTo>
                    <a:pt x="3039" y="14411"/>
                  </a:lnTo>
                  <a:lnTo>
                    <a:pt x="3034" y="14431"/>
                  </a:lnTo>
                  <a:lnTo>
                    <a:pt x="3029" y="14452"/>
                  </a:lnTo>
                  <a:lnTo>
                    <a:pt x="3025" y="14473"/>
                  </a:lnTo>
                  <a:lnTo>
                    <a:pt x="3022" y="14493"/>
                  </a:lnTo>
                  <a:lnTo>
                    <a:pt x="3020" y="14514"/>
                  </a:lnTo>
                  <a:lnTo>
                    <a:pt x="3018" y="14536"/>
                  </a:lnTo>
                  <a:lnTo>
                    <a:pt x="3018" y="14557"/>
                  </a:lnTo>
                  <a:lnTo>
                    <a:pt x="3019" y="14583"/>
                  </a:lnTo>
                  <a:lnTo>
                    <a:pt x="3020" y="14608"/>
                  </a:lnTo>
                  <a:lnTo>
                    <a:pt x="3024" y="14633"/>
                  </a:lnTo>
                  <a:lnTo>
                    <a:pt x="3028" y="14658"/>
                  </a:lnTo>
                  <a:lnTo>
                    <a:pt x="3034" y="14682"/>
                  </a:lnTo>
                  <a:lnTo>
                    <a:pt x="3040" y="14707"/>
                  </a:lnTo>
                  <a:lnTo>
                    <a:pt x="3048" y="14730"/>
                  </a:lnTo>
                  <a:lnTo>
                    <a:pt x="3057" y="14753"/>
                  </a:lnTo>
                  <a:lnTo>
                    <a:pt x="3067" y="14775"/>
                  </a:lnTo>
                  <a:lnTo>
                    <a:pt x="3078" y="14797"/>
                  </a:lnTo>
                  <a:lnTo>
                    <a:pt x="3090" y="14818"/>
                  </a:lnTo>
                  <a:lnTo>
                    <a:pt x="3103" y="14838"/>
                  </a:lnTo>
                  <a:lnTo>
                    <a:pt x="3117" y="14857"/>
                  </a:lnTo>
                  <a:lnTo>
                    <a:pt x="3132" y="14876"/>
                  </a:lnTo>
                  <a:lnTo>
                    <a:pt x="3149" y="14894"/>
                  </a:lnTo>
                  <a:lnTo>
                    <a:pt x="3165" y="14912"/>
                  </a:lnTo>
                  <a:lnTo>
                    <a:pt x="3183" y="14928"/>
                  </a:lnTo>
                  <a:lnTo>
                    <a:pt x="3201" y="14945"/>
                  </a:lnTo>
                  <a:lnTo>
                    <a:pt x="3220" y="14960"/>
                  </a:lnTo>
                  <a:lnTo>
                    <a:pt x="3239" y="14974"/>
                  </a:lnTo>
                  <a:lnTo>
                    <a:pt x="3260" y="14987"/>
                  </a:lnTo>
                  <a:lnTo>
                    <a:pt x="3280" y="14999"/>
                  </a:lnTo>
                  <a:lnTo>
                    <a:pt x="3302" y="15010"/>
                  </a:lnTo>
                  <a:lnTo>
                    <a:pt x="3325" y="15020"/>
                  </a:lnTo>
                  <a:lnTo>
                    <a:pt x="3348" y="15029"/>
                  </a:lnTo>
                  <a:lnTo>
                    <a:pt x="3371" y="15037"/>
                  </a:lnTo>
                  <a:lnTo>
                    <a:pt x="3395" y="15043"/>
                  </a:lnTo>
                  <a:lnTo>
                    <a:pt x="3419" y="15049"/>
                  </a:lnTo>
                  <a:lnTo>
                    <a:pt x="3444" y="15053"/>
                  </a:lnTo>
                  <a:lnTo>
                    <a:pt x="3469" y="15056"/>
                  </a:lnTo>
                  <a:lnTo>
                    <a:pt x="3495" y="15058"/>
                  </a:lnTo>
                  <a:lnTo>
                    <a:pt x="3521" y="15059"/>
                  </a:lnTo>
                  <a:lnTo>
                    <a:pt x="12574" y="15059"/>
                  </a:lnTo>
                  <a:lnTo>
                    <a:pt x="12600" y="15058"/>
                  </a:lnTo>
                  <a:lnTo>
                    <a:pt x="12626" y="15056"/>
                  </a:lnTo>
                  <a:lnTo>
                    <a:pt x="12651" y="15053"/>
                  </a:lnTo>
                  <a:lnTo>
                    <a:pt x="12676" y="15049"/>
                  </a:lnTo>
                  <a:lnTo>
                    <a:pt x="12700" y="15043"/>
                  </a:lnTo>
                  <a:lnTo>
                    <a:pt x="12724" y="15037"/>
                  </a:lnTo>
                  <a:lnTo>
                    <a:pt x="12747" y="15029"/>
                  </a:lnTo>
                  <a:lnTo>
                    <a:pt x="12770" y="15020"/>
                  </a:lnTo>
                  <a:lnTo>
                    <a:pt x="12793" y="15010"/>
                  </a:lnTo>
                  <a:lnTo>
                    <a:pt x="12814" y="14999"/>
                  </a:lnTo>
                  <a:lnTo>
                    <a:pt x="12835" y="14987"/>
                  </a:lnTo>
                  <a:lnTo>
                    <a:pt x="12856" y="14974"/>
                  </a:lnTo>
                  <a:lnTo>
                    <a:pt x="12875" y="14960"/>
                  </a:lnTo>
                  <a:lnTo>
                    <a:pt x="12894" y="14945"/>
                  </a:lnTo>
                  <a:lnTo>
                    <a:pt x="12912" y="14928"/>
                  </a:lnTo>
                  <a:lnTo>
                    <a:pt x="12930" y="14912"/>
                  </a:lnTo>
                  <a:lnTo>
                    <a:pt x="12946" y="14894"/>
                  </a:lnTo>
                  <a:lnTo>
                    <a:pt x="12963" y="14876"/>
                  </a:lnTo>
                  <a:lnTo>
                    <a:pt x="12978" y="14857"/>
                  </a:lnTo>
                  <a:lnTo>
                    <a:pt x="12992" y="14838"/>
                  </a:lnTo>
                  <a:lnTo>
                    <a:pt x="13005" y="14818"/>
                  </a:lnTo>
                  <a:lnTo>
                    <a:pt x="13017" y="14797"/>
                  </a:lnTo>
                  <a:lnTo>
                    <a:pt x="13028" y="14775"/>
                  </a:lnTo>
                  <a:lnTo>
                    <a:pt x="13038" y="14753"/>
                  </a:lnTo>
                  <a:lnTo>
                    <a:pt x="13047" y="14730"/>
                  </a:lnTo>
                  <a:lnTo>
                    <a:pt x="13055" y="14707"/>
                  </a:lnTo>
                  <a:lnTo>
                    <a:pt x="13061" y="14682"/>
                  </a:lnTo>
                  <a:lnTo>
                    <a:pt x="13067" y="14658"/>
                  </a:lnTo>
                  <a:lnTo>
                    <a:pt x="13071" y="14633"/>
                  </a:lnTo>
                  <a:lnTo>
                    <a:pt x="13074" y="14608"/>
                  </a:lnTo>
                  <a:lnTo>
                    <a:pt x="13076" y="14583"/>
                  </a:lnTo>
                  <a:lnTo>
                    <a:pt x="13077" y="14557"/>
                  </a:lnTo>
                  <a:lnTo>
                    <a:pt x="13077" y="14536"/>
                  </a:lnTo>
                  <a:lnTo>
                    <a:pt x="13075" y="14514"/>
                  </a:lnTo>
                  <a:lnTo>
                    <a:pt x="13073" y="14493"/>
                  </a:lnTo>
                  <a:lnTo>
                    <a:pt x="13070" y="14473"/>
                  </a:lnTo>
                  <a:lnTo>
                    <a:pt x="13066" y="14452"/>
                  </a:lnTo>
                  <a:lnTo>
                    <a:pt x="13061" y="14431"/>
                  </a:lnTo>
                  <a:lnTo>
                    <a:pt x="13056" y="14411"/>
                  </a:lnTo>
                  <a:lnTo>
                    <a:pt x="13049" y="14391"/>
                  </a:lnTo>
                  <a:lnTo>
                    <a:pt x="13042" y="14372"/>
                  </a:lnTo>
                  <a:lnTo>
                    <a:pt x="13034" y="14353"/>
                  </a:lnTo>
                  <a:lnTo>
                    <a:pt x="13025" y="14335"/>
                  </a:lnTo>
                  <a:lnTo>
                    <a:pt x="13016" y="14316"/>
                  </a:lnTo>
                  <a:lnTo>
                    <a:pt x="13006" y="14299"/>
                  </a:lnTo>
                  <a:lnTo>
                    <a:pt x="12995" y="14282"/>
                  </a:lnTo>
                  <a:lnTo>
                    <a:pt x="12983" y="14265"/>
                  </a:lnTo>
                  <a:lnTo>
                    <a:pt x="12971" y="14249"/>
                  </a:lnTo>
                  <a:lnTo>
                    <a:pt x="12957" y="14233"/>
                  </a:lnTo>
                  <a:lnTo>
                    <a:pt x="12944" y="14217"/>
                  </a:lnTo>
                  <a:lnTo>
                    <a:pt x="12930" y="14203"/>
                  </a:lnTo>
                  <a:lnTo>
                    <a:pt x="12915" y="14188"/>
                  </a:lnTo>
                  <a:lnTo>
                    <a:pt x="12900" y="14174"/>
                  </a:lnTo>
                  <a:lnTo>
                    <a:pt x="12884" y="14161"/>
                  </a:lnTo>
                  <a:lnTo>
                    <a:pt x="12867" y="14149"/>
                  </a:lnTo>
                  <a:lnTo>
                    <a:pt x="12850" y="14137"/>
                  </a:lnTo>
                  <a:lnTo>
                    <a:pt x="12833" y="14126"/>
                  </a:lnTo>
                  <a:lnTo>
                    <a:pt x="12815" y="14116"/>
                  </a:lnTo>
                  <a:lnTo>
                    <a:pt x="12796" y="14106"/>
                  </a:lnTo>
                  <a:lnTo>
                    <a:pt x="12776" y="14098"/>
                  </a:lnTo>
                  <a:lnTo>
                    <a:pt x="12757" y="14090"/>
                  </a:lnTo>
                  <a:lnTo>
                    <a:pt x="12737" y="14082"/>
                  </a:lnTo>
                  <a:lnTo>
                    <a:pt x="12717" y="14076"/>
                  </a:lnTo>
                  <a:lnTo>
                    <a:pt x="12696" y="14070"/>
                  </a:lnTo>
                  <a:lnTo>
                    <a:pt x="9556" y="13663"/>
                  </a:lnTo>
                  <a:lnTo>
                    <a:pt x="9556" y="13053"/>
                  </a:lnTo>
                  <a:lnTo>
                    <a:pt x="14591" y="13053"/>
                  </a:lnTo>
                  <a:lnTo>
                    <a:pt x="14669" y="13050"/>
                  </a:lnTo>
                  <a:lnTo>
                    <a:pt x="14745" y="13044"/>
                  </a:lnTo>
                  <a:lnTo>
                    <a:pt x="14820" y="13035"/>
                  </a:lnTo>
                  <a:lnTo>
                    <a:pt x="14894" y="13021"/>
                  </a:lnTo>
                  <a:lnTo>
                    <a:pt x="14967" y="13004"/>
                  </a:lnTo>
                  <a:lnTo>
                    <a:pt x="15039" y="12984"/>
                  </a:lnTo>
                  <a:lnTo>
                    <a:pt x="15108" y="12959"/>
                  </a:lnTo>
                  <a:lnTo>
                    <a:pt x="15177" y="12933"/>
                  </a:lnTo>
                  <a:lnTo>
                    <a:pt x="15243" y="12902"/>
                  </a:lnTo>
                  <a:lnTo>
                    <a:pt x="15308" y="12869"/>
                  </a:lnTo>
                  <a:lnTo>
                    <a:pt x="15371" y="12833"/>
                  </a:lnTo>
                  <a:lnTo>
                    <a:pt x="15432" y="12794"/>
                  </a:lnTo>
                  <a:lnTo>
                    <a:pt x="15491" y="12752"/>
                  </a:lnTo>
                  <a:lnTo>
                    <a:pt x="15548" y="12707"/>
                  </a:lnTo>
                  <a:lnTo>
                    <a:pt x="15602" y="12660"/>
                  </a:lnTo>
                  <a:lnTo>
                    <a:pt x="15654" y="12610"/>
                  </a:lnTo>
                  <a:lnTo>
                    <a:pt x="15705" y="12558"/>
                  </a:lnTo>
                  <a:lnTo>
                    <a:pt x="15752" y="12504"/>
                  </a:lnTo>
                  <a:lnTo>
                    <a:pt x="15796" y="12446"/>
                  </a:lnTo>
                  <a:lnTo>
                    <a:pt x="15838" y="12387"/>
                  </a:lnTo>
                  <a:lnTo>
                    <a:pt x="15878" y="12326"/>
                  </a:lnTo>
                  <a:lnTo>
                    <a:pt x="15914" y="12264"/>
                  </a:lnTo>
                  <a:lnTo>
                    <a:pt x="15947" y="12198"/>
                  </a:lnTo>
                  <a:lnTo>
                    <a:pt x="15977" y="12132"/>
                  </a:lnTo>
                  <a:lnTo>
                    <a:pt x="16003" y="12064"/>
                  </a:lnTo>
                  <a:lnTo>
                    <a:pt x="16028" y="11994"/>
                  </a:lnTo>
                  <a:lnTo>
                    <a:pt x="16048" y="11922"/>
                  </a:lnTo>
                  <a:lnTo>
                    <a:pt x="16065" y="11850"/>
                  </a:lnTo>
                  <a:lnTo>
                    <a:pt x="16078" y="11776"/>
                  </a:lnTo>
                  <a:lnTo>
                    <a:pt x="16087" y="11700"/>
                  </a:lnTo>
                  <a:lnTo>
                    <a:pt x="16093" y="11624"/>
                  </a:lnTo>
                  <a:lnTo>
                    <a:pt x="16095" y="11547"/>
                  </a:lnTo>
                  <a:lnTo>
                    <a:pt x="16095" y="1506"/>
                  </a:lnTo>
                  <a:lnTo>
                    <a:pt x="16093" y="1429"/>
                  </a:lnTo>
                  <a:lnTo>
                    <a:pt x="16087" y="1352"/>
                  </a:lnTo>
                  <a:lnTo>
                    <a:pt x="16078" y="1277"/>
                  </a:lnTo>
                  <a:lnTo>
                    <a:pt x="16064" y="1203"/>
                  </a:lnTo>
                  <a:lnTo>
                    <a:pt x="16048" y="1130"/>
                  </a:lnTo>
                  <a:lnTo>
                    <a:pt x="16028" y="1058"/>
                  </a:lnTo>
                  <a:lnTo>
                    <a:pt x="16003" y="988"/>
                  </a:lnTo>
                  <a:lnTo>
                    <a:pt x="15976" y="920"/>
                  </a:lnTo>
                  <a:lnTo>
                    <a:pt x="15946" y="853"/>
                  </a:lnTo>
                  <a:lnTo>
                    <a:pt x="15913" y="788"/>
                  </a:lnTo>
                  <a:lnTo>
                    <a:pt x="15877" y="725"/>
                  </a:lnTo>
                  <a:lnTo>
                    <a:pt x="15837" y="664"/>
                  </a:lnTo>
                  <a:lnTo>
                    <a:pt x="15795" y="605"/>
                  </a:lnTo>
                  <a:lnTo>
                    <a:pt x="15750" y="548"/>
                  </a:lnTo>
                  <a:lnTo>
                    <a:pt x="15703" y="493"/>
                  </a:lnTo>
                  <a:lnTo>
                    <a:pt x="15652" y="441"/>
                  </a:lnTo>
                  <a:lnTo>
                    <a:pt x="15600" y="392"/>
                  </a:lnTo>
                  <a:lnTo>
                    <a:pt x="15546" y="344"/>
                  </a:lnTo>
                  <a:lnTo>
                    <a:pt x="15488" y="299"/>
                  </a:lnTo>
                  <a:lnTo>
                    <a:pt x="15429" y="257"/>
                  </a:lnTo>
                  <a:lnTo>
                    <a:pt x="15369" y="218"/>
                  </a:lnTo>
                  <a:lnTo>
                    <a:pt x="15305" y="182"/>
                  </a:lnTo>
                  <a:lnTo>
                    <a:pt x="15240" y="149"/>
                  </a:lnTo>
                  <a:lnTo>
                    <a:pt x="15174" y="118"/>
                  </a:lnTo>
                  <a:lnTo>
                    <a:pt x="15105" y="91"/>
                  </a:lnTo>
                  <a:lnTo>
                    <a:pt x="15035" y="67"/>
                  </a:lnTo>
                  <a:lnTo>
                    <a:pt x="14963" y="47"/>
                  </a:lnTo>
                  <a:lnTo>
                    <a:pt x="14890" y="30"/>
                  </a:lnTo>
                  <a:lnTo>
                    <a:pt x="14815" y="17"/>
                  </a:lnTo>
                  <a:lnTo>
                    <a:pt x="14740" y="8"/>
                  </a:lnTo>
                  <a:lnTo>
                    <a:pt x="14664" y="2"/>
                  </a:lnTo>
                  <a:lnTo>
                    <a:pt x="1458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436" name="ïşľïḋe">
              <a:extLst>
                <a:ext uri="{FF2B5EF4-FFF2-40B4-BE49-F238E27FC236}">
                  <a16:creationId xmlns:a16="http://schemas.microsoft.com/office/drawing/2014/main" id="{9C63394D-E055-4F7A-95E8-5A8D3ECBA566}"/>
                </a:ext>
              </a:extLst>
            </p:cNvPr>
            <p:cNvSpPr/>
            <p:nvPr/>
          </p:nvSpPr>
          <p:spPr bwMode="auto">
            <a:xfrm>
              <a:off x="5216180" y="4449191"/>
              <a:ext cx="402604" cy="401680"/>
            </a:xfrm>
            <a:custGeom>
              <a:avLst/>
              <a:gdLst>
                <a:gd name="T0" fmla="*/ 15050 w 16095"/>
                <a:gd name="T1" fmla="*/ 7221 h 16058"/>
                <a:gd name="T2" fmla="*/ 14924 w 16095"/>
                <a:gd name="T3" fmla="*/ 7397 h 16058"/>
                <a:gd name="T4" fmla="*/ 14736 w 16095"/>
                <a:gd name="T5" fmla="*/ 7505 h 16058"/>
                <a:gd name="T6" fmla="*/ 13077 w 16095"/>
                <a:gd name="T7" fmla="*/ 4015 h 16058"/>
                <a:gd name="T8" fmla="*/ 13328 w 16095"/>
                <a:gd name="T9" fmla="*/ 4081 h 16058"/>
                <a:gd name="T10" fmla="*/ 15001 w 16095"/>
                <a:gd name="T11" fmla="*/ 6239 h 16058"/>
                <a:gd name="T12" fmla="*/ 15074 w 16095"/>
                <a:gd name="T13" fmla="*/ 6403 h 16058"/>
                <a:gd name="T14" fmla="*/ 10562 w 16095"/>
                <a:gd name="T15" fmla="*/ 15054 h 16058"/>
                <a:gd name="T16" fmla="*/ 10523 w 16095"/>
                <a:gd name="T17" fmla="*/ 9841 h 16058"/>
                <a:gd name="T18" fmla="*/ 10397 w 16095"/>
                <a:gd name="T19" fmla="*/ 9665 h 16058"/>
                <a:gd name="T20" fmla="*/ 10209 w 16095"/>
                <a:gd name="T21" fmla="*/ 9557 h 16058"/>
                <a:gd name="T22" fmla="*/ 6236 w 16095"/>
                <a:gd name="T23" fmla="*/ 9537 h 16058"/>
                <a:gd name="T24" fmla="*/ 6027 w 16095"/>
                <a:gd name="T25" fmla="*/ 9607 h 16058"/>
                <a:gd name="T26" fmla="*/ 5870 w 16095"/>
                <a:gd name="T27" fmla="*/ 9755 h 16058"/>
                <a:gd name="T28" fmla="*/ 5790 w 16095"/>
                <a:gd name="T29" fmla="*/ 9960 h 16058"/>
                <a:gd name="T30" fmla="*/ 10059 w 16095"/>
                <a:gd name="T31" fmla="*/ 15054 h 16058"/>
                <a:gd name="T32" fmla="*/ 1010 w 16095"/>
                <a:gd name="T33" fmla="*/ 6462 h 16058"/>
                <a:gd name="T34" fmla="*/ 1063 w 16095"/>
                <a:gd name="T35" fmla="*/ 6291 h 16058"/>
                <a:gd name="T36" fmla="*/ 2696 w 16095"/>
                <a:gd name="T37" fmla="*/ 4131 h 16058"/>
                <a:gd name="T38" fmla="*/ 2930 w 16095"/>
                <a:gd name="T39" fmla="*/ 4023 h 16058"/>
                <a:gd name="T40" fmla="*/ 1432 w 16095"/>
                <a:gd name="T41" fmla="*/ 7521 h 16058"/>
                <a:gd name="T42" fmla="*/ 1227 w 16095"/>
                <a:gd name="T43" fmla="*/ 7442 h 16058"/>
                <a:gd name="T44" fmla="*/ 1078 w 16095"/>
                <a:gd name="T45" fmla="*/ 7285 h 16058"/>
                <a:gd name="T46" fmla="*/ 1009 w 16095"/>
                <a:gd name="T47" fmla="*/ 7077 h 16058"/>
                <a:gd name="T48" fmla="*/ 9439 w 16095"/>
                <a:gd name="T49" fmla="*/ 4015 h 16058"/>
                <a:gd name="T50" fmla="*/ 5127 w 16095"/>
                <a:gd name="T51" fmla="*/ 7527 h 16058"/>
                <a:gd name="T52" fmla="*/ 13077 w 16095"/>
                <a:gd name="T53" fmla="*/ 1004 h 16058"/>
                <a:gd name="T54" fmla="*/ 14110 w 16095"/>
                <a:gd name="T55" fmla="*/ 3426 h 16058"/>
                <a:gd name="T56" fmla="*/ 14022 w 16095"/>
                <a:gd name="T57" fmla="*/ 658 h 16058"/>
                <a:gd name="T58" fmla="*/ 13788 w 16095"/>
                <a:gd name="T59" fmla="*/ 294 h 16058"/>
                <a:gd name="T60" fmla="*/ 13423 w 16095"/>
                <a:gd name="T61" fmla="*/ 61 h 16058"/>
                <a:gd name="T62" fmla="*/ 2967 w 16095"/>
                <a:gd name="T63" fmla="*/ 1 h 16058"/>
                <a:gd name="T64" fmla="*/ 2538 w 16095"/>
                <a:gd name="T65" fmla="*/ 121 h 16058"/>
                <a:gd name="T66" fmla="*/ 2212 w 16095"/>
                <a:gd name="T67" fmla="*/ 403 h 16058"/>
                <a:gd name="T68" fmla="*/ 2032 w 16095"/>
                <a:gd name="T69" fmla="*/ 802 h 16058"/>
                <a:gd name="T70" fmla="*/ 1906 w 16095"/>
                <a:gd name="T71" fmla="*/ 3503 h 16058"/>
                <a:gd name="T72" fmla="*/ 233 w 16095"/>
                <a:gd name="T73" fmla="*/ 5720 h 16058"/>
                <a:gd name="T74" fmla="*/ 110 w 16095"/>
                <a:gd name="T75" fmla="*/ 5962 h 16058"/>
                <a:gd name="T76" fmla="*/ 31 w 16095"/>
                <a:gd name="T77" fmla="*/ 6222 h 16058"/>
                <a:gd name="T78" fmla="*/ 0 w 16095"/>
                <a:gd name="T79" fmla="*/ 6493 h 16058"/>
                <a:gd name="T80" fmla="*/ 92 w 16095"/>
                <a:gd name="T81" fmla="*/ 7542 h 16058"/>
                <a:gd name="T82" fmla="*/ 443 w 16095"/>
                <a:gd name="T83" fmla="*/ 8089 h 16058"/>
                <a:gd name="T84" fmla="*/ 991 w 16095"/>
                <a:gd name="T85" fmla="*/ 8439 h 16058"/>
                <a:gd name="T86" fmla="*/ 1510 w 16095"/>
                <a:gd name="T87" fmla="*/ 15106 h 16058"/>
                <a:gd name="T88" fmla="*/ 1631 w 16095"/>
                <a:gd name="T89" fmla="*/ 15533 h 16058"/>
                <a:gd name="T90" fmla="*/ 1913 w 16095"/>
                <a:gd name="T91" fmla="*/ 15858 h 16058"/>
                <a:gd name="T92" fmla="*/ 2312 w 16095"/>
                <a:gd name="T93" fmla="*/ 16038 h 16058"/>
                <a:gd name="T94" fmla="*/ 13782 w 16095"/>
                <a:gd name="T95" fmla="*/ 16038 h 16058"/>
                <a:gd name="T96" fmla="*/ 14182 w 16095"/>
                <a:gd name="T97" fmla="*/ 15858 h 16058"/>
                <a:gd name="T98" fmla="*/ 14464 w 16095"/>
                <a:gd name="T99" fmla="*/ 15533 h 16058"/>
                <a:gd name="T100" fmla="*/ 14585 w 16095"/>
                <a:gd name="T101" fmla="*/ 15106 h 16058"/>
                <a:gd name="T102" fmla="*/ 15104 w 16095"/>
                <a:gd name="T103" fmla="*/ 8439 h 16058"/>
                <a:gd name="T104" fmla="*/ 15652 w 16095"/>
                <a:gd name="T105" fmla="*/ 8089 h 16058"/>
                <a:gd name="T106" fmla="*/ 16003 w 16095"/>
                <a:gd name="T107" fmla="*/ 7542 h 16058"/>
                <a:gd name="T108" fmla="*/ 16095 w 16095"/>
                <a:gd name="T109" fmla="*/ 6493 h 16058"/>
                <a:gd name="T110" fmla="*/ 16064 w 16095"/>
                <a:gd name="T111" fmla="*/ 6222 h 16058"/>
                <a:gd name="T112" fmla="*/ 15985 w 16095"/>
                <a:gd name="T113" fmla="*/ 5963 h 16058"/>
                <a:gd name="T114" fmla="*/ 15862 w 16095"/>
                <a:gd name="T115" fmla="*/ 5720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095" h="16058">
                  <a:moveTo>
                    <a:pt x="15089" y="7025"/>
                  </a:moveTo>
                  <a:lnTo>
                    <a:pt x="15088" y="7051"/>
                  </a:lnTo>
                  <a:lnTo>
                    <a:pt x="15086" y="7077"/>
                  </a:lnTo>
                  <a:lnTo>
                    <a:pt x="15083" y="7102"/>
                  </a:lnTo>
                  <a:lnTo>
                    <a:pt x="15079" y="7127"/>
                  </a:lnTo>
                  <a:lnTo>
                    <a:pt x="15073" y="7151"/>
                  </a:lnTo>
                  <a:lnTo>
                    <a:pt x="15066" y="7175"/>
                  </a:lnTo>
                  <a:lnTo>
                    <a:pt x="15059" y="7198"/>
                  </a:lnTo>
                  <a:lnTo>
                    <a:pt x="15050" y="7221"/>
                  </a:lnTo>
                  <a:lnTo>
                    <a:pt x="15040" y="7243"/>
                  </a:lnTo>
                  <a:lnTo>
                    <a:pt x="15029" y="7264"/>
                  </a:lnTo>
                  <a:lnTo>
                    <a:pt x="15017" y="7285"/>
                  </a:lnTo>
                  <a:lnTo>
                    <a:pt x="15004" y="7306"/>
                  </a:lnTo>
                  <a:lnTo>
                    <a:pt x="14989" y="7325"/>
                  </a:lnTo>
                  <a:lnTo>
                    <a:pt x="14974" y="7345"/>
                  </a:lnTo>
                  <a:lnTo>
                    <a:pt x="14958" y="7363"/>
                  </a:lnTo>
                  <a:lnTo>
                    <a:pt x="14942" y="7381"/>
                  </a:lnTo>
                  <a:lnTo>
                    <a:pt x="14924" y="7397"/>
                  </a:lnTo>
                  <a:lnTo>
                    <a:pt x="14906" y="7413"/>
                  </a:lnTo>
                  <a:lnTo>
                    <a:pt x="14887" y="7428"/>
                  </a:lnTo>
                  <a:lnTo>
                    <a:pt x="14867" y="7442"/>
                  </a:lnTo>
                  <a:lnTo>
                    <a:pt x="14847" y="7455"/>
                  </a:lnTo>
                  <a:lnTo>
                    <a:pt x="14826" y="7467"/>
                  </a:lnTo>
                  <a:lnTo>
                    <a:pt x="14804" y="7478"/>
                  </a:lnTo>
                  <a:lnTo>
                    <a:pt x="14782" y="7488"/>
                  </a:lnTo>
                  <a:lnTo>
                    <a:pt x="14759" y="7497"/>
                  </a:lnTo>
                  <a:lnTo>
                    <a:pt x="14736" y="7505"/>
                  </a:lnTo>
                  <a:lnTo>
                    <a:pt x="14712" y="7511"/>
                  </a:lnTo>
                  <a:lnTo>
                    <a:pt x="14688" y="7517"/>
                  </a:lnTo>
                  <a:lnTo>
                    <a:pt x="14663" y="7521"/>
                  </a:lnTo>
                  <a:lnTo>
                    <a:pt x="14637" y="7524"/>
                  </a:lnTo>
                  <a:lnTo>
                    <a:pt x="14612" y="7526"/>
                  </a:lnTo>
                  <a:lnTo>
                    <a:pt x="14586" y="7527"/>
                  </a:lnTo>
                  <a:lnTo>
                    <a:pt x="13654" y="7527"/>
                  </a:lnTo>
                  <a:lnTo>
                    <a:pt x="11642" y="4015"/>
                  </a:lnTo>
                  <a:lnTo>
                    <a:pt x="13077" y="4015"/>
                  </a:lnTo>
                  <a:lnTo>
                    <a:pt x="13106" y="4016"/>
                  </a:lnTo>
                  <a:lnTo>
                    <a:pt x="13137" y="4018"/>
                  </a:lnTo>
                  <a:lnTo>
                    <a:pt x="13165" y="4023"/>
                  </a:lnTo>
                  <a:lnTo>
                    <a:pt x="13194" y="4029"/>
                  </a:lnTo>
                  <a:lnTo>
                    <a:pt x="13222" y="4036"/>
                  </a:lnTo>
                  <a:lnTo>
                    <a:pt x="13249" y="4045"/>
                  </a:lnTo>
                  <a:lnTo>
                    <a:pt x="13276" y="4056"/>
                  </a:lnTo>
                  <a:lnTo>
                    <a:pt x="13303" y="4068"/>
                  </a:lnTo>
                  <a:lnTo>
                    <a:pt x="13328" y="4081"/>
                  </a:lnTo>
                  <a:lnTo>
                    <a:pt x="13352" y="4096"/>
                  </a:lnTo>
                  <a:lnTo>
                    <a:pt x="13376" y="4113"/>
                  </a:lnTo>
                  <a:lnTo>
                    <a:pt x="13399" y="4131"/>
                  </a:lnTo>
                  <a:lnTo>
                    <a:pt x="13420" y="4150"/>
                  </a:lnTo>
                  <a:lnTo>
                    <a:pt x="13441" y="4170"/>
                  </a:lnTo>
                  <a:lnTo>
                    <a:pt x="13461" y="4192"/>
                  </a:lnTo>
                  <a:lnTo>
                    <a:pt x="13480" y="4215"/>
                  </a:lnTo>
                  <a:lnTo>
                    <a:pt x="14988" y="6222"/>
                  </a:lnTo>
                  <a:lnTo>
                    <a:pt x="15001" y="6239"/>
                  </a:lnTo>
                  <a:lnTo>
                    <a:pt x="15012" y="6256"/>
                  </a:lnTo>
                  <a:lnTo>
                    <a:pt x="15022" y="6274"/>
                  </a:lnTo>
                  <a:lnTo>
                    <a:pt x="15032" y="6291"/>
                  </a:lnTo>
                  <a:lnTo>
                    <a:pt x="15041" y="6309"/>
                  </a:lnTo>
                  <a:lnTo>
                    <a:pt x="15049" y="6327"/>
                  </a:lnTo>
                  <a:lnTo>
                    <a:pt x="15057" y="6346"/>
                  </a:lnTo>
                  <a:lnTo>
                    <a:pt x="15063" y="6365"/>
                  </a:lnTo>
                  <a:lnTo>
                    <a:pt x="15069" y="6384"/>
                  </a:lnTo>
                  <a:lnTo>
                    <a:pt x="15074" y="6403"/>
                  </a:lnTo>
                  <a:lnTo>
                    <a:pt x="15079" y="6423"/>
                  </a:lnTo>
                  <a:lnTo>
                    <a:pt x="15082" y="6443"/>
                  </a:lnTo>
                  <a:lnTo>
                    <a:pt x="15085" y="6462"/>
                  </a:lnTo>
                  <a:lnTo>
                    <a:pt x="15087" y="6483"/>
                  </a:lnTo>
                  <a:lnTo>
                    <a:pt x="15089" y="6503"/>
                  </a:lnTo>
                  <a:lnTo>
                    <a:pt x="15089" y="6524"/>
                  </a:lnTo>
                  <a:lnTo>
                    <a:pt x="15089" y="7025"/>
                  </a:lnTo>
                  <a:close/>
                  <a:moveTo>
                    <a:pt x="13580" y="15054"/>
                  </a:moveTo>
                  <a:lnTo>
                    <a:pt x="10562" y="15054"/>
                  </a:lnTo>
                  <a:lnTo>
                    <a:pt x="10562" y="10036"/>
                  </a:lnTo>
                  <a:lnTo>
                    <a:pt x="10561" y="10010"/>
                  </a:lnTo>
                  <a:lnTo>
                    <a:pt x="10559" y="9985"/>
                  </a:lnTo>
                  <a:lnTo>
                    <a:pt x="10556" y="9960"/>
                  </a:lnTo>
                  <a:lnTo>
                    <a:pt x="10552" y="9935"/>
                  </a:lnTo>
                  <a:lnTo>
                    <a:pt x="10546" y="9911"/>
                  </a:lnTo>
                  <a:lnTo>
                    <a:pt x="10539" y="9887"/>
                  </a:lnTo>
                  <a:lnTo>
                    <a:pt x="10532" y="9864"/>
                  </a:lnTo>
                  <a:lnTo>
                    <a:pt x="10523" y="9841"/>
                  </a:lnTo>
                  <a:lnTo>
                    <a:pt x="10513" y="9818"/>
                  </a:lnTo>
                  <a:lnTo>
                    <a:pt x="10502" y="9797"/>
                  </a:lnTo>
                  <a:lnTo>
                    <a:pt x="10490" y="9776"/>
                  </a:lnTo>
                  <a:lnTo>
                    <a:pt x="10477" y="9755"/>
                  </a:lnTo>
                  <a:lnTo>
                    <a:pt x="10463" y="9736"/>
                  </a:lnTo>
                  <a:lnTo>
                    <a:pt x="10448" y="9717"/>
                  </a:lnTo>
                  <a:lnTo>
                    <a:pt x="10432" y="9699"/>
                  </a:lnTo>
                  <a:lnTo>
                    <a:pt x="10415" y="9681"/>
                  </a:lnTo>
                  <a:lnTo>
                    <a:pt x="10397" y="9665"/>
                  </a:lnTo>
                  <a:lnTo>
                    <a:pt x="10379" y="9649"/>
                  </a:lnTo>
                  <a:lnTo>
                    <a:pt x="10360" y="9634"/>
                  </a:lnTo>
                  <a:lnTo>
                    <a:pt x="10340" y="9620"/>
                  </a:lnTo>
                  <a:lnTo>
                    <a:pt x="10320" y="9607"/>
                  </a:lnTo>
                  <a:lnTo>
                    <a:pt x="10299" y="9595"/>
                  </a:lnTo>
                  <a:lnTo>
                    <a:pt x="10278" y="9584"/>
                  </a:lnTo>
                  <a:lnTo>
                    <a:pt x="10256" y="9574"/>
                  </a:lnTo>
                  <a:lnTo>
                    <a:pt x="10232" y="9565"/>
                  </a:lnTo>
                  <a:lnTo>
                    <a:pt x="10209" y="9557"/>
                  </a:lnTo>
                  <a:lnTo>
                    <a:pt x="10185" y="9550"/>
                  </a:lnTo>
                  <a:lnTo>
                    <a:pt x="10161" y="9544"/>
                  </a:lnTo>
                  <a:lnTo>
                    <a:pt x="10136" y="9540"/>
                  </a:lnTo>
                  <a:lnTo>
                    <a:pt x="10111" y="9537"/>
                  </a:lnTo>
                  <a:lnTo>
                    <a:pt x="10086" y="9535"/>
                  </a:lnTo>
                  <a:lnTo>
                    <a:pt x="10059" y="9534"/>
                  </a:lnTo>
                  <a:lnTo>
                    <a:pt x="6287" y="9534"/>
                  </a:lnTo>
                  <a:lnTo>
                    <a:pt x="6261" y="9535"/>
                  </a:lnTo>
                  <a:lnTo>
                    <a:pt x="6236" y="9537"/>
                  </a:lnTo>
                  <a:lnTo>
                    <a:pt x="6211" y="9540"/>
                  </a:lnTo>
                  <a:lnTo>
                    <a:pt x="6186" y="9544"/>
                  </a:lnTo>
                  <a:lnTo>
                    <a:pt x="6161" y="9550"/>
                  </a:lnTo>
                  <a:lnTo>
                    <a:pt x="6137" y="9557"/>
                  </a:lnTo>
                  <a:lnTo>
                    <a:pt x="6114" y="9565"/>
                  </a:lnTo>
                  <a:lnTo>
                    <a:pt x="6091" y="9574"/>
                  </a:lnTo>
                  <a:lnTo>
                    <a:pt x="6069" y="9584"/>
                  </a:lnTo>
                  <a:lnTo>
                    <a:pt x="6048" y="9595"/>
                  </a:lnTo>
                  <a:lnTo>
                    <a:pt x="6027" y="9607"/>
                  </a:lnTo>
                  <a:lnTo>
                    <a:pt x="6005" y="9620"/>
                  </a:lnTo>
                  <a:lnTo>
                    <a:pt x="5986" y="9634"/>
                  </a:lnTo>
                  <a:lnTo>
                    <a:pt x="5967" y="9649"/>
                  </a:lnTo>
                  <a:lnTo>
                    <a:pt x="5949" y="9665"/>
                  </a:lnTo>
                  <a:lnTo>
                    <a:pt x="5931" y="9681"/>
                  </a:lnTo>
                  <a:lnTo>
                    <a:pt x="5915" y="9699"/>
                  </a:lnTo>
                  <a:lnTo>
                    <a:pt x="5899" y="9717"/>
                  </a:lnTo>
                  <a:lnTo>
                    <a:pt x="5884" y="9736"/>
                  </a:lnTo>
                  <a:lnTo>
                    <a:pt x="5870" y="9755"/>
                  </a:lnTo>
                  <a:lnTo>
                    <a:pt x="5857" y="9776"/>
                  </a:lnTo>
                  <a:lnTo>
                    <a:pt x="5844" y="9797"/>
                  </a:lnTo>
                  <a:lnTo>
                    <a:pt x="5833" y="9818"/>
                  </a:lnTo>
                  <a:lnTo>
                    <a:pt x="5823" y="9841"/>
                  </a:lnTo>
                  <a:lnTo>
                    <a:pt x="5814" y="9864"/>
                  </a:lnTo>
                  <a:lnTo>
                    <a:pt x="5806" y="9887"/>
                  </a:lnTo>
                  <a:lnTo>
                    <a:pt x="5800" y="9911"/>
                  </a:lnTo>
                  <a:lnTo>
                    <a:pt x="5794" y="9935"/>
                  </a:lnTo>
                  <a:lnTo>
                    <a:pt x="5790" y="9960"/>
                  </a:lnTo>
                  <a:lnTo>
                    <a:pt x="5787" y="9985"/>
                  </a:lnTo>
                  <a:lnTo>
                    <a:pt x="5785" y="10010"/>
                  </a:lnTo>
                  <a:lnTo>
                    <a:pt x="5784" y="10036"/>
                  </a:lnTo>
                  <a:lnTo>
                    <a:pt x="5784" y="15054"/>
                  </a:lnTo>
                  <a:lnTo>
                    <a:pt x="2515" y="15054"/>
                  </a:lnTo>
                  <a:lnTo>
                    <a:pt x="2515" y="8531"/>
                  </a:lnTo>
                  <a:lnTo>
                    <a:pt x="13580" y="8531"/>
                  </a:lnTo>
                  <a:lnTo>
                    <a:pt x="13580" y="15054"/>
                  </a:lnTo>
                  <a:close/>
                  <a:moveTo>
                    <a:pt x="10059" y="15054"/>
                  </a:moveTo>
                  <a:lnTo>
                    <a:pt x="6287" y="15054"/>
                  </a:lnTo>
                  <a:lnTo>
                    <a:pt x="6287" y="10036"/>
                  </a:lnTo>
                  <a:lnTo>
                    <a:pt x="10059" y="10036"/>
                  </a:lnTo>
                  <a:lnTo>
                    <a:pt x="10059" y="15054"/>
                  </a:lnTo>
                  <a:close/>
                  <a:moveTo>
                    <a:pt x="1006" y="7025"/>
                  </a:moveTo>
                  <a:lnTo>
                    <a:pt x="1006" y="6524"/>
                  </a:lnTo>
                  <a:lnTo>
                    <a:pt x="1006" y="6503"/>
                  </a:lnTo>
                  <a:lnTo>
                    <a:pt x="1008" y="6483"/>
                  </a:lnTo>
                  <a:lnTo>
                    <a:pt x="1010" y="6462"/>
                  </a:lnTo>
                  <a:lnTo>
                    <a:pt x="1012" y="6443"/>
                  </a:lnTo>
                  <a:lnTo>
                    <a:pt x="1016" y="6423"/>
                  </a:lnTo>
                  <a:lnTo>
                    <a:pt x="1020" y="6403"/>
                  </a:lnTo>
                  <a:lnTo>
                    <a:pt x="1026" y="6384"/>
                  </a:lnTo>
                  <a:lnTo>
                    <a:pt x="1032" y="6365"/>
                  </a:lnTo>
                  <a:lnTo>
                    <a:pt x="1038" y="6346"/>
                  </a:lnTo>
                  <a:lnTo>
                    <a:pt x="1046" y="6327"/>
                  </a:lnTo>
                  <a:lnTo>
                    <a:pt x="1054" y="6309"/>
                  </a:lnTo>
                  <a:lnTo>
                    <a:pt x="1063" y="6291"/>
                  </a:lnTo>
                  <a:lnTo>
                    <a:pt x="1073" y="6274"/>
                  </a:lnTo>
                  <a:lnTo>
                    <a:pt x="1083" y="6256"/>
                  </a:lnTo>
                  <a:lnTo>
                    <a:pt x="1094" y="6239"/>
                  </a:lnTo>
                  <a:lnTo>
                    <a:pt x="1107" y="6222"/>
                  </a:lnTo>
                  <a:lnTo>
                    <a:pt x="2615" y="4215"/>
                  </a:lnTo>
                  <a:lnTo>
                    <a:pt x="2634" y="4192"/>
                  </a:lnTo>
                  <a:lnTo>
                    <a:pt x="2654" y="4170"/>
                  </a:lnTo>
                  <a:lnTo>
                    <a:pt x="2674" y="4150"/>
                  </a:lnTo>
                  <a:lnTo>
                    <a:pt x="2696" y="4131"/>
                  </a:lnTo>
                  <a:lnTo>
                    <a:pt x="2719" y="4113"/>
                  </a:lnTo>
                  <a:lnTo>
                    <a:pt x="2743" y="4096"/>
                  </a:lnTo>
                  <a:lnTo>
                    <a:pt x="2767" y="4081"/>
                  </a:lnTo>
                  <a:lnTo>
                    <a:pt x="2792" y="4068"/>
                  </a:lnTo>
                  <a:lnTo>
                    <a:pt x="2819" y="4056"/>
                  </a:lnTo>
                  <a:lnTo>
                    <a:pt x="2846" y="4045"/>
                  </a:lnTo>
                  <a:lnTo>
                    <a:pt x="2873" y="4036"/>
                  </a:lnTo>
                  <a:lnTo>
                    <a:pt x="2901" y="4029"/>
                  </a:lnTo>
                  <a:lnTo>
                    <a:pt x="2930" y="4023"/>
                  </a:lnTo>
                  <a:lnTo>
                    <a:pt x="2958" y="4018"/>
                  </a:lnTo>
                  <a:lnTo>
                    <a:pt x="2989" y="4016"/>
                  </a:lnTo>
                  <a:lnTo>
                    <a:pt x="3018" y="4015"/>
                  </a:lnTo>
                  <a:lnTo>
                    <a:pt x="4452" y="4015"/>
                  </a:lnTo>
                  <a:lnTo>
                    <a:pt x="2440" y="7527"/>
                  </a:lnTo>
                  <a:lnTo>
                    <a:pt x="1509" y="7527"/>
                  </a:lnTo>
                  <a:lnTo>
                    <a:pt x="1483" y="7526"/>
                  </a:lnTo>
                  <a:lnTo>
                    <a:pt x="1458" y="7524"/>
                  </a:lnTo>
                  <a:lnTo>
                    <a:pt x="1432" y="7521"/>
                  </a:lnTo>
                  <a:lnTo>
                    <a:pt x="1407" y="7517"/>
                  </a:lnTo>
                  <a:lnTo>
                    <a:pt x="1383" y="7511"/>
                  </a:lnTo>
                  <a:lnTo>
                    <a:pt x="1359" y="7505"/>
                  </a:lnTo>
                  <a:lnTo>
                    <a:pt x="1336" y="7497"/>
                  </a:lnTo>
                  <a:lnTo>
                    <a:pt x="1313" y="7488"/>
                  </a:lnTo>
                  <a:lnTo>
                    <a:pt x="1291" y="7478"/>
                  </a:lnTo>
                  <a:lnTo>
                    <a:pt x="1269" y="7467"/>
                  </a:lnTo>
                  <a:lnTo>
                    <a:pt x="1248" y="7455"/>
                  </a:lnTo>
                  <a:lnTo>
                    <a:pt x="1227" y="7442"/>
                  </a:lnTo>
                  <a:lnTo>
                    <a:pt x="1208" y="7428"/>
                  </a:lnTo>
                  <a:lnTo>
                    <a:pt x="1189" y="7413"/>
                  </a:lnTo>
                  <a:lnTo>
                    <a:pt x="1171" y="7397"/>
                  </a:lnTo>
                  <a:lnTo>
                    <a:pt x="1153" y="7381"/>
                  </a:lnTo>
                  <a:lnTo>
                    <a:pt x="1137" y="7363"/>
                  </a:lnTo>
                  <a:lnTo>
                    <a:pt x="1121" y="7345"/>
                  </a:lnTo>
                  <a:lnTo>
                    <a:pt x="1106" y="7325"/>
                  </a:lnTo>
                  <a:lnTo>
                    <a:pt x="1091" y="7306"/>
                  </a:lnTo>
                  <a:lnTo>
                    <a:pt x="1078" y="7285"/>
                  </a:lnTo>
                  <a:lnTo>
                    <a:pt x="1066" y="7264"/>
                  </a:lnTo>
                  <a:lnTo>
                    <a:pt x="1055" y="7243"/>
                  </a:lnTo>
                  <a:lnTo>
                    <a:pt x="1045" y="7221"/>
                  </a:lnTo>
                  <a:lnTo>
                    <a:pt x="1036" y="7198"/>
                  </a:lnTo>
                  <a:lnTo>
                    <a:pt x="1028" y="7175"/>
                  </a:lnTo>
                  <a:lnTo>
                    <a:pt x="1022" y="7151"/>
                  </a:lnTo>
                  <a:lnTo>
                    <a:pt x="1016" y="7127"/>
                  </a:lnTo>
                  <a:lnTo>
                    <a:pt x="1012" y="7102"/>
                  </a:lnTo>
                  <a:lnTo>
                    <a:pt x="1009" y="7077"/>
                  </a:lnTo>
                  <a:lnTo>
                    <a:pt x="1007" y="7051"/>
                  </a:lnTo>
                  <a:lnTo>
                    <a:pt x="1006" y="7025"/>
                  </a:lnTo>
                  <a:close/>
                  <a:moveTo>
                    <a:pt x="9962" y="4015"/>
                  </a:moveTo>
                  <a:lnTo>
                    <a:pt x="11062" y="4015"/>
                  </a:lnTo>
                  <a:lnTo>
                    <a:pt x="13074" y="7527"/>
                  </a:lnTo>
                  <a:lnTo>
                    <a:pt x="10968" y="7527"/>
                  </a:lnTo>
                  <a:lnTo>
                    <a:pt x="9962" y="4015"/>
                  </a:lnTo>
                  <a:close/>
                  <a:moveTo>
                    <a:pt x="8299" y="4015"/>
                  </a:moveTo>
                  <a:lnTo>
                    <a:pt x="9439" y="4015"/>
                  </a:lnTo>
                  <a:lnTo>
                    <a:pt x="10444" y="7527"/>
                  </a:lnTo>
                  <a:lnTo>
                    <a:pt x="8299" y="7527"/>
                  </a:lnTo>
                  <a:lnTo>
                    <a:pt x="8299" y="4015"/>
                  </a:lnTo>
                  <a:close/>
                  <a:moveTo>
                    <a:pt x="6656" y="4015"/>
                  </a:moveTo>
                  <a:lnTo>
                    <a:pt x="7796" y="4015"/>
                  </a:lnTo>
                  <a:lnTo>
                    <a:pt x="7796" y="7527"/>
                  </a:lnTo>
                  <a:lnTo>
                    <a:pt x="5650" y="7527"/>
                  </a:lnTo>
                  <a:lnTo>
                    <a:pt x="6656" y="4015"/>
                  </a:lnTo>
                  <a:close/>
                  <a:moveTo>
                    <a:pt x="5127" y="7527"/>
                  </a:moveTo>
                  <a:lnTo>
                    <a:pt x="3020" y="7527"/>
                  </a:lnTo>
                  <a:lnTo>
                    <a:pt x="5032" y="4015"/>
                  </a:lnTo>
                  <a:lnTo>
                    <a:pt x="6132" y="4015"/>
                  </a:lnTo>
                  <a:lnTo>
                    <a:pt x="5127" y="7527"/>
                  </a:lnTo>
                  <a:close/>
                  <a:moveTo>
                    <a:pt x="13077" y="1004"/>
                  </a:moveTo>
                  <a:lnTo>
                    <a:pt x="13077" y="3011"/>
                  </a:lnTo>
                  <a:lnTo>
                    <a:pt x="3018" y="3011"/>
                  </a:lnTo>
                  <a:lnTo>
                    <a:pt x="3018" y="1004"/>
                  </a:lnTo>
                  <a:lnTo>
                    <a:pt x="13077" y="1004"/>
                  </a:lnTo>
                  <a:close/>
                  <a:moveTo>
                    <a:pt x="15793" y="5620"/>
                  </a:moveTo>
                  <a:lnTo>
                    <a:pt x="14284" y="3614"/>
                  </a:lnTo>
                  <a:lnTo>
                    <a:pt x="14262" y="3585"/>
                  </a:lnTo>
                  <a:lnTo>
                    <a:pt x="14239" y="3557"/>
                  </a:lnTo>
                  <a:lnTo>
                    <a:pt x="14214" y="3530"/>
                  </a:lnTo>
                  <a:lnTo>
                    <a:pt x="14189" y="3503"/>
                  </a:lnTo>
                  <a:lnTo>
                    <a:pt x="14164" y="3477"/>
                  </a:lnTo>
                  <a:lnTo>
                    <a:pt x="14137" y="3451"/>
                  </a:lnTo>
                  <a:lnTo>
                    <a:pt x="14110" y="3426"/>
                  </a:lnTo>
                  <a:lnTo>
                    <a:pt x="14083" y="3401"/>
                  </a:lnTo>
                  <a:lnTo>
                    <a:pt x="14083" y="1004"/>
                  </a:lnTo>
                  <a:lnTo>
                    <a:pt x="14082" y="952"/>
                  </a:lnTo>
                  <a:lnTo>
                    <a:pt x="14078" y="901"/>
                  </a:lnTo>
                  <a:lnTo>
                    <a:pt x="14072" y="851"/>
                  </a:lnTo>
                  <a:lnTo>
                    <a:pt x="14063" y="802"/>
                  </a:lnTo>
                  <a:lnTo>
                    <a:pt x="14052" y="753"/>
                  </a:lnTo>
                  <a:lnTo>
                    <a:pt x="14038" y="706"/>
                  </a:lnTo>
                  <a:lnTo>
                    <a:pt x="14022" y="658"/>
                  </a:lnTo>
                  <a:lnTo>
                    <a:pt x="14004" y="613"/>
                  </a:lnTo>
                  <a:lnTo>
                    <a:pt x="13984" y="569"/>
                  </a:lnTo>
                  <a:lnTo>
                    <a:pt x="13961" y="526"/>
                  </a:lnTo>
                  <a:lnTo>
                    <a:pt x="13937" y="484"/>
                  </a:lnTo>
                  <a:lnTo>
                    <a:pt x="13911" y="443"/>
                  </a:lnTo>
                  <a:lnTo>
                    <a:pt x="13883" y="403"/>
                  </a:lnTo>
                  <a:lnTo>
                    <a:pt x="13854" y="365"/>
                  </a:lnTo>
                  <a:lnTo>
                    <a:pt x="13822" y="329"/>
                  </a:lnTo>
                  <a:lnTo>
                    <a:pt x="13788" y="294"/>
                  </a:lnTo>
                  <a:lnTo>
                    <a:pt x="13753" y="261"/>
                  </a:lnTo>
                  <a:lnTo>
                    <a:pt x="13717" y="229"/>
                  </a:lnTo>
                  <a:lnTo>
                    <a:pt x="13679" y="200"/>
                  </a:lnTo>
                  <a:lnTo>
                    <a:pt x="13640" y="172"/>
                  </a:lnTo>
                  <a:lnTo>
                    <a:pt x="13598" y="146"/>
                  </a:lnTo>
                  <a:lnTo>
                    <a:pt x="13557" y="121"/>
                  </a:lnTo>
                  <a:lnTo>
                    <a:pt x="13513" y="99"/>
                  </a:lnTo>
                  <a:lnTo>
                    <a:pt x="13468" y="79"/>
                  </a:lnTo>
                  <a:lnTo>
                    <a:pt x="13423" y="61"/>
                  </a:lnTo>
                  <a:lnTo>
                    <a:pt x="13376" y="45"/>
                  </a:lnTo>
                  <a:lnTo>
                    <a:pt x="13329" y="32"/>
                  </a:lnTo>
                  <a:lnTo>
                    <a:pt x="13279" y="20"/>
                  </a:lnTo>
                  <a:lnTo>
                    <a:pt x="13230" y="12"/>
                  </a:lnTo>
                  <a:lnTo>
                    <a:pt x="13180" y="5"/>
                  </a:lnTo>
                  <a:lnTo>
                    <a:pt x="13128" y="1"/>
                  </a:lnTo>
                  <a:lnTo>
                    <a:pt x="13077" y="0"/>
                  </a:lnTo>
                  <a:lnTo>
                    <a:pt x="3018" y="0"/>
                  </a:lnTo>
                  <a:lnTo>
                    <a:pt x="2967" y="1"/>
                  </a:lnTo>
                  <a:lnTo>
                    <a:pt x="2915" y="5"/>
                  </a:lnTo>
                  <a:lnTo>
                    <a:pt x="2865" y="12"/>
                  </a:lnTo>
                  <a:lnTo>
                    <a:pt x="2815" y="20"/>
                  </a:lnTo>
                  <a:lnTo>
                    <a:pt x="2766" y="32"/>
                  </a:lnTo>
                  <a:lnTo>
                    <a:pt x="2718" y="45"/>
                  </a:lnTo>
                  <a:lnTo>
                    <a:pt x="2672" y="61"/>
                  </a:lnTo>
                  <a:lnTo>
                    <a:pt x="2627" y="79"/>
                  </a:lnTo>
                  <a:lnTo>
                    <a:pt x="2581" y="99"/>
                  </a:lnTo>
                  <a:lnTo>
                    <a:pt x="2538" y="121"/>
                  </a:lnTo>
                  <a:lnTo>
                    <a:pt x="2496" y="146"/>
                  </a:lnTo>
                  <a:lnTo>
                    <a:pt x="2455" y="172"/>
                  </a:lnTo>
                  <a:lnTo>
                    <a:pt x="2416" y="200"/>
                  </a:lnTo>
                  <a:lnTo>
                    <a:pt x="2378" y="229"/>
                  </a:lnTo>
                  <a:lnTo>
                    <a:pt x="2341" y="261"/>
                  </a:lnTo>
                  <a:lnTo>
                    <a:pt x="2307" y="294"/>
                  </a:lnTo>
                  <a:lnTo>
                    <a:pt x="2273" y="329"/>
                  </a:lnTo>
                  <a:lnTo>
                    <a:pt x="2241" y="365"/>
                  </a:lnTo>
                  <a:lnTo>
                    <a:pt x="2212" y="403"/>
                  </a:lnTo>
                  <a:lnTo>
                    <a:pt x="2184" y="443"/>
                  </a:lnTo>
                  <a:lnTo>
                    <a:pt x="2158" y="484"/>
                  </a:lnTo>
                  <a:lnTo>
                    <a:pt x="2134" y="526"/>
                  </a:lnTo>
                  <a:lnTo>
                    <a:pt x="2111" y="569"/>
                  </a:lnTo>
                  <a:lnTo>
                    <a:pt x="2091" y="613"/>
                  </a:lnTo>
                  <a:lnTo>
                    <a:pt x="2073" y="658"/>
                  </a:lnTo>
                  <a:lnTo>
                    <a:pt x="2057" y="706"/>
                  </a:lnTo>
                  <a:lnTo>
                    <a:pt x="2043" y="753"/>
                  </a:lnTo>
                  <a:lnTo>
                    <a:pt x="2032" y="802"/>
                  </a:lnTo>
                  <a:lnTo>
                    <a:pt x="2023" y="851"/>
                  </a:lnTo>
                  <a:lnTo>
                    <a:pt x="2017" y="901"/>
                  </a:lnTo>
                  <a:lnTo>
                    <a:pt x="2013" y="952"/>
                  </a:lnTo>
                  <a:lnTo>
                    <a:pt x="2012" y="1004"/>
                  </a:lnTo>
                  <a:lnTo>
                    <a:pt x="2012" y="3402"/>
                  </a:lnTo>
                  <a:lnTo>
                    <a:pt x="1985" y="3426"/>
                  </a:lnTo>
                  <a:lnTo>
                    <a:pt x="1959" y="3451"/>
                  </a:lnTo>
                  <a:lnTo>
                    <a:pt x="1931" y="3477"/>
                  </a:lnTo>
                  <a:lnTo>
                    <a:pt x="1906" y="3503"/>
                  </a:lnTo>
                  <a:lnTo>
                    <a:pt x="1881" y="3529"/>
                  </a:lnTo>
                  <a:lnTo>
                    <a:pt x="1857" y="3556"/>
                  </a:lnTo>
                  <a:lnTo>
                    <a:pt x="1833" y="3584"/>
                  </a:lnTo>
                  <a:lnTo>
                    <a:pt x="1811" y="3613"/>
                  </a:lnTo>
                  <a:lnTo>
                    <a:pt x="303" y="5619"/>
                  </a:lnTo>
                  <a:lnTo>
                    <a:pt x="285" y="5644"/>
                  </a:lnTo>
                  <a:lnTo>
                    <a:pt x="268" y="5669"/>
                  </a:lnTo>
                  <a:lnTo>
                    <a:pt x="250" y="5695"/>
                  </a:lnTo>
                  <a:lnTo>
                    <a:pt x="233" y="5720"/>
                  </a:lnTo>
                  <a:lnTo>
                    <a:pt x="217" y="5746"/>
                  </a:lnTo>
                  <a:lnTo>
                    <a:pt x="202" y="5772"/>
                  </a:lnTo>
                  <a:lnTo>
                    <a:pt x="187" y="5798"/>
                  </a:lnTo>
                  <a:lnTo>
                    <a:pt x="173" y="5825"/>
                  </a:lnTo>
                  <a:lnTo>
                    <a:pt x="159" y="5851"/>
                  </a:lnTo>
                  <a:lnTo>
                    <a:pt x="146" y="5879"/>
                  </a:lnTo>
                  <a:lnTo>
                    <a:pt x="133" y="5906"/>
                  </a:lnTo>
                  <a:lnTo>
                    <a:pt x="121" y="5934"/>
                  </a:lnTo>
                  <a:lnTo>
                    <a:pt x="110" y="5962"/>
                  </a:lnTo>
                  <a:lnTo>
                    <a:pt x="99" y="5991"/>
                  </a:lnTo>
                  <a:lnTo>
                    <a:pt x="88" y="6019"/>
                  </a:lnTo>
                  <a:lnTo>
                    <a:pt x="78" y="6047"/>
                  </a:lnTo>
                  <a:lnTo>
                    <a:pt x="68" y="6076"/>
                  </a:lnTo>
                  <a:lnTo>
                    <a:pt x="60" y="6105"/>
                  </a:lnTo>
                  <a:lnTo>
                    <a:pt x="51" y="6134"/>
                  </a:lnTo>
                  <a:lnTo>
                    <a:pt x="44" y="6163"/>
                  </a:lnTo>
                  <a:lnTo>
                    <a:pt x="37" y="6193"/>
                  </a:lnTo>
                  <a:lnTo>
                    <a:pt x="31" y="6222"/>
                  </a:lnTo>
                  <a:lnTo>
                    <a:pt x="25" y="6253"/>
                  </a:lnTo>
                  <a:lnTo>
                    <a:pt x="20" y="6282"/>
                  </a:lnTo>
                  <a:lnTo>
                    <a:pt x="15" y="6312"/>
                  </a:lnTo>
                  <a:lnTo>
                    <a:pt x="11" y="6342"/>
                  </a:lnTo>
                  <a:lnTo>
                    <a:pt x="8" y="6372"/>
                  </a:lnTo>
                  <a:lnTo>
                    <a:pt x="5" y="6402"/>
                  </a:lnTo>
                  <a:lnTo>
                    <a:pt x="3" y="6432"/>
                  </a:lnTo>
                  <a:lnTo>
                    <a:pt x="1" y="6463"/>
                  </a:lnTo>
                  <a:lnTo>
                    <a:pt x="0" y="6493"/>
                  </a:lnTo>
                  <a:lnTo>
                    <a:pt x="0" y="6524"/>
                  </a:lnTo>
                  <a:lnTo>
                    <a:pt x="0" y="7025"/>
                  </a:lnTo>
                  <a:lnTo>
                    <a:pt x="2" y="7103"/>
                  </a:lnTo>
                  <a:lnTo>
                    <a:pt x="8" y="7179"/>
                  </a:lnTo>
                  <a:lnTo>
                    <a:pt x="17" y="7254"/>
                  </a:lnTo>
                  <a:lnTo>
                    <a:pt x="31" y="7328"/>
                  </a:lnTo>
                  <a:lnTo>
                    <a:pt x="47" y="7401"/>
                  </a:lnTo>
                  <a:lnTo>
                    <a:pt x="68" y="7473"/>
                  </a:lnTo>
                  <a:lnTo>
                    <a:pt x="92" y="7542"/>
                  </a:lnTo>
                  <a:lnTo>
                    <a:pt x="119" y="7610"/>
                  </a:lnTo>
                  <a:lnTo>
                    <a:pt x="149" y="7678"/>
                  </a:lnTo>
                  <a:lnTo>
                    <a:pt x="182" y="7742"/>
                  </a:lnTo>
                  <a:lnTo>
                    <a:pt x="218" y="7805"/>
                  </a:lnTo>
                  <a:lnTo>
                    <a:pt x="259" y="7866"/>
                  </a:lnTo>
                  <a:lnTo>
                    <a:pt x="300" y="7926"/>
                  </a:lnTo>
                  <a:lnTo>
                    <a:pt x="345" y="7983"/>
                  </a:lnTo>
                  <a:lnTo>
                    <a:pt x="392" y="8037"/>
                  </a:lnTo>
                  <a:lnTo>
                    <a:pt x="443" y="8089"/>
                  </a:lnTo>
                  <a:lnTo>
                    <a:pt x="495" y="8139"/>
                  </a:lnTo>
                  <a:lnTo>
                    <a:pt x="549" y="8187"/>
                  </a:lnTo>
                  <a:lnTo>
                    <a:pt x="607" y="8232"/>
                  </a:lnTo>
                  <a:lnTo>
                    <a:pt x="666" y="8273"/>
                  </a:lnTo>
                  <a:lnTo>
                    <a:pt x="727" y="8313"/>
                  </a:lnTo>
                  <a:lnTo>
                    <a:pt x="791" y="8349"/>
                  </a:lnTo>
                  <a:lnTo>
                    <a:pt x="855" y="8382"/>
                  </a:lnTo>
                  <a:lnTo>
                    <a:pt x="922" y="8412"/>
                  </a:lnTo>
                  <a:lnTo>
                    <a:pt x="991" y="8439"/>
                  </a:lnTo>
                  <a:lnTo>
                    <a:pt x="1060" y="8464"/>
                  </a:lnTo>
                  <a:lnTo>
                    <a:pt x="1133" y="8484"/>
                  </a:lnTo>
                  <a:lnTo>
                    <a:pt x="1205" y="8501"/>
                  </a:lnTo>
                  <a:lnTo>
                    <a:pt x="1280" y="8514"/>
                  </a:lnTo>
                  <a:lnTo>
                    <a:pt x="1355" y="8523"/>
                  </a:lnTo>
                  <a:lnTo>
                    <a:pt x="1431" y="8529"/>
                  </a:lnTo>
                  <a:lnTo>
                    <a:pt x="1509" y="8531"/>
                  </a:lnTo>
                  <a:lnTo>
                    <a:pt x="1509" y="15054"/>
                  </a:lnTo>
                  <a:lnTo>
                    <a:pt x="1510" y="15106"/>
                  </a:lnTo>
                  <a:lnTo>
                    <a:pt x="1514" y="15157"/>
                  </a:lnTo>
                  <a:lnTo>
                    <a:pt x="1520" y="15207"/>
                  </a:lnTo>
                  <a:lnTo>
                    <a:pt x="1529" y="15257"/>
                  </a:lnTo>
                  <a:lnTo>
                    <a:pt x="1540" y="15305"/>
                  </a:lnTo>
                  <a:lnTo>
                    <a:pt x="1554" y="15352"/>
                  </a:lnTo>
                  <a:lnTo>
                    <a:pt x="1570" y="15400"/>
                  </a:lnTo>
                  <a:lnTo>
                    <a:pt x="1588" y="15445"/>
                  </a:lnTo>
                  <a:lnTo>
                    <a:pt x="1608" y="15489"/>
                  </a:lnTo>
                  <a:lnTo>
                    <a:pt x="1631" y="15533"/>
                  </a:lnTo>
                  <a:lnTo>
                    <a:pt x="1655" y="15574"/>
                  </a:lnTo>
                  <a:lnTo>
                    <a:pt x="1681" y="15615"/>
                  </a:lnTo>
                  <a:lnTo>
                    <a:pt x="1709" y="15655"/>
                  </a:lnTo>
                  <a:lnTo>
                    <a:pt x="1738" y="15693"/>
                  </a:lnTo>
                  <a:lnTo>
                    <a:pt x="1770" y="15729"/>
                  </a:lnTo>
                  <a:lnTo>
                    <a:pt x="1804" y="15764"/>
                  </a:lnTo>
                  <a:lnTo>
                    <a:pt x="1839" y="15797"/>
                  </a:lnTo>
                  <a:lnTo>
                    <a:pt x="1875" y="15829"/>
                  </a:lnTo>
                  <a:lnTo>
                    <a:pt x="1913" y="15858"/>
                  </a:lnTo>
                  <a:lnTo>
                    <a:pt x="1953" y="15886"/>
                  </a:lnTo>
                  <a:lnTo>
                    <a:pt x="1993" y="15912"/>
                  </a:lnTo>
                  <a:lnTo>
                    <a:pt x="2035" y="15937"/>
                  </a:lnTo>
                  <a:lnTo>
                    <a:pt x="2078" y="15959"/>
                  </a:lnTo>
                  <a:lnTo>
                    <a:pt x="2124" y="15979"/>
                  </a:lnTo>
                  <a:lnTo>
                    <a:pt x="2169" y="15997"/>
                  </a:lnTo>
                  <a:lnTo>
                    <a:pt x="2216" y="16013"/>
                  </a:lnTo>
                  <a:lnTo>
                    <a:pt x="2263" y="16026"/>
                  </a:lnTo>
                  <a:lnTo>
                    <a:pt x="2312" y="16038"/>
                  </a:lnTo>
                  <a:lnTo>
                    <a:pt x="2362" y="16046"/>
                  </a:lnTo>
                  <a:lnTo>
                    <a:pt x="2412" y="16053"/>
                  </a:lnTo>
                  <a:lnTo>
                    <a:pt x="2464" y="16057"/>
                  </a:lnTo>
                  <a:lnTo>
                    <a:pt x="2515" y="16058"/>
                  </a:lnTo>
                  <a:lnTo>
                    <a:pt x="13580" y="16058"/>
                  </a:lnTo>
                  <a:lnTo>
                    <a:pt x="13632" y="16057"/>
                  </a:lnTo>
                  <a:lnTo>
                    <a:pt x="13683" y="16053"/>
                  </a:lnTo>
                  <a:lnTo>
                    <a:pt x="13733" y="16046"/>
                  </a:lnTo>
                  <a:lnTo>
                    <a:pt x="13782" y="16038"/>
                  </a:lnTo>
                  <a:lnTo>
                    <a:pt x="13832" y="16026"/>
                  </a:lnTo>
                  <a:lnTo>
                    <a:pt x="13879" y="16013"/>
                  </a:lnTo>
                  <a:lnTo>
                    <a:pt x="13926" y="15997"/>
                  </a:lnTo>
                  <a:lnTo>
                    <a:pt x="13971" y="15979"/>
                  </a:lnTo>
                  <a:lnTo>
                    <a:pt x="14016" y="15959"/>
                  </a:lnTo>
                  <a:lnTo>
                    <a:pt x="14060" y="15937"/>
                  </a:lnTo>
                  <a:lnTo>
                    <a:pt x="14101" y="15912"/>
                  </a:lnTo>
                  <a:lnTo>
                    <a:pt x="14142" y="15886"/>
                  </a:lnTo>
                  <a:lnTo>
                    <a:pt x="14182" y="15858"/>
                  </a:lnTo>
                  <a:lnTo>
                    <a:pt x="14220" y="15829"/>
                  </a:lnTo>
                  <a:lnTo>
                    <a:pt x="14256" y="15797"/>
                  </a:lnTo>
                  <a:lnTo>
                    <a:pt x="14291" y="15764"/>
                  </a:lnTo>
                  <a:lnTo>
                    <a:pt x="14325" y="15729"/>
                  </a:lnTo>
                  <a:lnTo>
                    <a:pt x="14356" y="15693"/>
                  </a:lnTo>
                  <a:lnTo>
                    <a:pt x="14386" y="15655"/>
                  </a:lnTo>
                  <a:lnTo>
                    <a:pt x="14414" y="15615"/>
                  </a:lnTo>
                  <a:lnTo>
                    <a:pt x="14440" y="15574"/>
                  </a:lnTo>
                  <a:lnTo>
                    <a:pt x="14464" y="15533"/>
                  </a:lnTo>
                  <a:lnTo>
                    <a:pt x="14487" y="15489"/>
                  </a:lnTo>
                  <a:lnTo>
                    <a:pt x="14507" y="15445"/>
                  </a:lnTo>
                  <a:lnTo>
                    <a:pt x="14525" y="15400"/>
                  </a:lnTo>
                  <a:lnTo>
                    <a:pt x="14541" y="15352"/>
                  </a:lnTo>
                  <a:lnTo>
                    <a:pt x="14554" y="15305"/>
                  </a:lnTo>
                  <a:lnTo>
                    <a:pt x="14566" y="15257"/>
                  </a:lnTo>
                  <a:lnTo>
                    <a:pt x="14574" y="15207"/>
                  </a:lnTo>
                  <a:lnTo>
                    <a:pt x="14581" y="15157"/>
                  </a:lnTo>
                  <a:lnTo>
                    <a:pt x="14585" y="15106"/>
                  </a:lnTo>
                  <a:lnTo>
                    <a:pt x="14586" y="15054"/>
                  </a:lnTo>
                  <a:lnTo>
                    <a:pt x="14586" y="8531"/>
                  </a:lnTo>
                  <a:lnTo>
                    <a:pt x="14664" y="8529"/>
                  </a:lnTo>
                  <a:lnTo>
                    <a:pt x="14740" y="8523"/>
                  </a:lnTo>
                  <a:lnTo>
                    <a:pt x="14815" y="8514"/>
                  </a:lnTo>
                  <a:lnTo>
                    <a:pt x="14890" y="8501"/>
                  </a:lnTo>
                  <a:lnTo>
                    <a:pt x="14962" y="8484"/>
                  </a:lnTo>
                  <a:lnTo>
                    <a:pt x="15034" y="8464"/>
                  </a:lnTo>
                  <a:lnTo>
                    <a:pt x="15104" y="8439"/>
                  </a:lnTo>
                  <a:lnTo>
                    <a:pt x="15173" y="8412"/>
                  </a:lnTo>
                  <a:lnTo>
                    <a:pt x="15240" y="8382"/>
                  </a:lnTo>
                  <a:lnTo>
                    <a:pt x="15304" y="8349"/>
                  </a:lnTo>
                  <a:lnTo>
                    <a:pt x="15368" y="8313"/>
                  </a:lnTo>
                  <a:lnTo>
                    <a:pt x="15429" y="8273"/>
                  </a:lnTo>
                  <a:lnTo>
                    <a:pt x="15488" y="8232"/>
                  </a:lnTo>
                  <a:lnTo>
                    <a:pt x="15545" y="8187"/>
                  </a:lnTo>
                  <a:lnTo>
                    <a:pt x="15600" y="8139"/>
                  </a:lnTo>
                  <a:lnTo>
                    <a:pt x="15652" y="8089"/>
                  </a:lnTo>
                  <a:lnTo>
                    <a:pt x="15703" y="8037"/>
                  </a:lnTo>
                  <a:lnTo>
                    <a:pt x="15750" y="7983"/>
                  </a:lnTo>
                  <a:lnTo>
                    <a:pt x="15795" y="7926"/>
                  </a:lnTo>
                  <a:lnTo>
                    <a:pt x="15836" y="7866"/>
                  </a:lnTo>
                  <a:lnTo>
                    <a:pt x="15876" y="7805"/>
                  </a:lnTo>
                  <a:lnTo>
                    <a:pt x="15913" y="7742"/>
                  </a:lnTo>
                  <a:lnTo>
                    <a:pt x="15946" y="7678"/>
                  </a:lnTo>
                  <a:lnTo>
                    <a:pt x="15976" y="7610"/>
                  </a:lnTo>
                  <a:lnTo>
                    <a:pt x="16003" y="7542"/>
                  </a:lnTo>
                  <a:lnTo>
                    <a:pt x="16027" y="7473"/>
                  </a:lnTo>
                  <a:lnTo>
                    <a:pt x="16048" y="7401"/>
                  </a:lnTo>
                  <a:lnTo>
                    <a:pt x="16064" y="7328"/>
                  </a:lnTo>
                  <a:lnTo>
                    <a:pt x="16078" y="7254"/>
                  </a:lnTo>
                  <a:lnTo>
                    <a:pt x="16087" y="7179"/>
                  </a:lnTo>
                  <a:lnTo>
                    <a:pt x="16093" y="7103"/>
                  </a:lnTo>
                  <a:lnTo>
                    <a:pt x="16095" y="7025"/>
                  </a:lnTo>
                  <a:lnTo>
                    <a:pt x="16095" y="6524"/>
                  </a:lnTo>
                  <a:lnTo>
                    <a:pt x="16095" y="6493"/>
                  </a:lnTo>
                  <a:lnTo>
                    <a:pt x="16094" y="6463"/>
                  </a:lnTo>
                  <a:lnTo>
                    <a:pt x="16092" y="6432"/>
                  </a:lnTo>
                  <a:lnTo>
                    <a:pt x="16090" y="6402"/>
                  </a:lnTo>
                  <a:lnTo>
                    <a:pt x="16087" y="6372"/>
                  </a:lnTo>
                  <a:lnTo>
                    <a:pt x="16084" y="6342"/>
                  </a:lnTo>
                  <a:lnTo>
                    <a:pt x="16080" y="6312"/>
                  </a:lnTo>
                  <a:lnTo>
                    <a:pt x="16075" y="6282"/>
                  </a:lnTo>
                  <a:lnTo>
                    <a:pt x="16070" y="6253"/>
                  </a:lnTo>
                  <a:lnTo>
                    <a:pt x="16064" y="6222"/>
                  </a:lnTo>
                  <a:lnTo>
                    <a:pt x="16058" y="6193"/>
                  </a:lnTo>
                  <a:lnTo>
                    <a:pt x="16051" y="6163"/>
                  </a:lnTo>
                  <a:lnTo>
                    <a:pt x="16044" y="6134"/>
                  </a:lnTo>
                  <a:lnTo>
                    <a:pt x="16035" y="6105"/>
                  </a:lnTo>
                  <a:lnTo>
                    <a:pt x="16027" y="6076"/>
                  </a:lnTo>
                  <a:lnTo>
                    <a:pt x="16018" y="6047"/>
                  </a:lnTo>
                  <a:lnTo>
                    <a:pt x="16007" y="6019"/>
                  </a:lnTo>
                  <a:lnTo>
                    <a:pt x="15996" y="5991"/>
                  </a:lnTo>
                  <a:lnTo>
                    <a:pt x="15985" y="5963"/>
                  </a:lnTo>
                  <a:lnTo>
                    <a:pt x="15974" y="5934"/>
                  </a:lnTo>
                  <a:lnTo>
                    <a:pt x="15962" y="5906"/>
                  </a:lnTo>
                  <a:lnTo>
                    <a:pt x="15949" y="5879"/>
                  </a:lnTo>
                  <a:lnTo>
                    <a:pt x="15936" y="5852"/>
                  </a:lnTo>
                  <a:lnTo>
                    <a:pt x="15922" y="5825"/>
                  </a:lnTo>
                  <a:lnTo>
                    <a:pt x="15908" y="5798"/>
                  </a:lnTo>
                  <a:lnTo>
                    <a:pt x="15893" y="5772"/>
                  </a:lnTo>
                  <a:lnTo>
                    <a:pt x="15878" y="5746"/>
                  </a:lnTo>
                  <a:lnTo>
                    <a:pt x="15862" y="5720"/>
                  </a:lnTo>
                  <a:lnTo>
                    <a:pt x="15846" y="5695"/>
                  </a:lnTo>
                  <a:lnTo>
                    <a:pt x="15828" y="5669"/>
                  </a:lnTo>
                  <a:lnTo>
                    <a:pt x="15811" y="5644"/>
                  </a:lnTo>
                  <a:lnTo>
                    <a:pt x="15793" y="56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437" name="iš1îďê">
              <a:extLst>
                <a:ext uri="{FF2B5EF4-FFF2-40B4-BE49-F238E27FC236}">
                  <a16:creationId xmlns:a16="http://schemas.microsoft.com/office/drawing/2014/main" id="{F5128AE9-000F-4656-BB35-BAD4A8E65A1C}"/>
                </a:ext>
              </a:extLst>
            </p:cNvPr>
            <p:cNvSpPr/>
            <p:nvPr/>
          </p:nvSpPr>
          <p:spPr bwMode="auto">
            <a:xfrm>
              <a:off x="5755546" y="4365812"/>
              <a:ext cx="236712" cy="214402"/>
            </a:xfrm>
            <a:custGeom>
              <a:avLst/>
              <a:gdLst>
                <a:gd name="T0" fmla="*/ 13271 w 16095"/>
                <a:gd name="T1" fmla="*/ 332 h 14578"/>
                <a:gd name="T2" fmla="*/ 11351 w 16095"/>
                <a:gd name="T3" fmla="*/ 5 h 14578"/>
                <a:gd name="T4" fmla="*/ 9463 w 16095"/>
                <a:gd name="T5" fmla="*/ 518 h 14578"/>
                <a:gd name="T6" fmla="*/ 789 w 16095"/>
                <a:gd name="T7" fmla="*/ 8840 h 14578"/>
                <a:gd name="T8" fmla="*/ 101 w 16095"/>
                <a:gd name="T9" fmla="*/ 10223 h 14578"/>
                <a:gd name="T10" fmla="*/ 64 w 16095"/>
                <a:gd name="T11" fmla="*/ 11733 h 14578"/>
                <a:gd name="T12" fmla="*/ 680 w 16095"/>
                <a:gd name="T13" fmla="*/ 13142 h 14578"/>
                <a:gd name="T14" fmla="*/ 1881 w 16095"/>
                <a:gd name="T15" fmla="*/ 14176 h 14578"/>
                <a:gd name="T16" fmla="*/ 3350 w 16095"/>
                <a:gd name="T17" fmla="*/ 14574 h 14578"/>
                <a:gd name="T18" fmla="*/ 4844 w 16095"/>
                <a:gd name="T19" fmla="*/ 14321 h 14578"/>
                <a:gd name="T20" fmla="*/ 13346 w 16095"/>
                <a:gd name="T21" fmla="*/ 6301 h 14578"/>
                <a:gd name="T22" fmla="*/ 13942 w 16095"/>
                <a:gd name="T23" fmla="*/ 5355 h 14578"/>
                <a:gd name="T24" fmla="*/ 14071 w 16095"/>
                <a:gd name="T25" fmla="*/ 4284 h 14578"/>
                <a:gd name="T26" fmla="*/ 13735 w 16095"/>
                <a:gd name="T27" fmla="*/ 3247 h 14578"/>
                <a:gd name="T28" fmla="*/ 12951 w 16095"/>
                <a:gd name="T29" fmla="*/ 2425 h 14578"/>
                <a:gd name="T30" fmla="*/ 11928 w 16095"/>
                <a:gd name="T31" fmla="*/ 2037 h 14578"/>
                <a:gd name="T32" fmla="*/ 10852 w 16095"/>
                <a:gd name="T33" fmla="*/ 2115 h 14578"/>
                <a:gd name="T34" fmla="*/ 9884 w 16095"/>
                <a:gd name="T35" fmla="*/ 2658 h 14578"/>
                <a:gd name="T36" fmla="*/ 4173 w 16095"/>
                <a:gd name="T37" fmla="*/ 8404 h 14578"/>
                <a:gd name="T38" fmla="*/ 4125 w 16095"/>
                <a:gd name="T39" fmla="*/ 8617 h 14578"/>
                <a:gd name="T40" fmla="*/ 4173 w 16095"/>
                <a:gd name="T41" fmla="*/ 8828 h 14578"/>
                <a:gd name="T42" fmla="*/ 4311 w 16095"/>
                <a:gd name="T43" fmla="*/ 9007 h 14578"/>
                <a:gd name="T44" fmla="*/ 4509 w 16095"/>
                <a:gd name="T45" fmla="*/ 9105 h 14578"/>
                <a:gd name="T46" fmla="*/ 4725 w 16095"/>
                <a:gd name="T47" fmla="*/ 9110 h 14578"/>
                <a:gd name="T48" fmla="*/ 4926 w 16095"/>
                <a:gd name="T49" fmla="*/ 9022 h 14578"/>
                <a:gd name="T50" fmla="*/ 10802 w 16095"/>
                <a:gd name="T51" fmla="*/ 3226 h 14578"/>
                <a:gd name="T52" fmla="*/ 11423 w 16095"/>
                <a:gd name="T53" fmla="*/ 3024 h 14578"/>
                <a:gd name="T54" fmla="*/ 12067 w 16095"/>
                <a:gd name="T55" fmla="*/ 3101 h 14578"/>
                <a:gd name="T56" fmla="*/ 12635 w 16095"/>
                <a:gd name="T57" fmla="*/ 3458 h 14578"/>
                <a:gd name="T58" fmla="*/ 12992 w 16095"/>
                <a:gd name="T59" fmla="*/ 4025 h 14578"/>
                <a:gd name="T60" fmla="*/ 13069 w 16095"/>
                <a:gd name="T61" fmla="*/ 4669 h 14578"/>
                <a:gd name="T62" fmla="*/ 12868 w 16095"/>
                <a:gd name="T63" fmla="*/ 5291 h 14578"/>
                <a:gd name="T64" fmla="*/ 5006 w 16095"/>
                <a:gd name="T65" fmla="*/ 13088 h 14578"/>
                <a:gd name="T66" fmla="*/ 3999 w 16095"/>
                <a:gd name="T67" fmla="*/ 13528 h 14578"/>
                <a:gd name="T68" fmla="*/ 2920 w 16095"/>
                <a:gd name="T69" fmla="*/ 13502 h 14578"/>
                <a:gd name="T70" fmla="*/ 1931 w 16095"/>
                <a:gd name="T71" fmla="*/ 13011 h 14578"/>
                <a:gd name="T72" fmla="*/ 1237 w 16095"/>
                <a:gd name="T73" fmla="*/ 12119 h 14578"/>
                <a:gd name="T74" fmla="*/ 1004 w 16095"/>
                <a:gd name="T75" fmla="*/ 11060 h 14578"/>
                <a:gd name="T76" fmla="*/ 1237 w 16095"/>
                <a:gd name="T77" fmla="*/ 10003 h 14578"/>
                <a:gd name="T78" fmla="*/ 9139 w 16095"/>
                <a:gd name="T79" fmla="*/ 1982 h 14578"/>
                <a:gd name="T80" fmla="*/ 10495 w 16095"/>
                <a:gd name="T81" fmla="*/ 1221 h 14578"/>
                <a:gd name="T82" fmla="*/ 12003 w 16095"/>
                <a:gd name="T83" fmla="*/ 1113 h 14578"/>
                <a:gd name="T84" fmla="*/ 13433 w 16095"/>
                <a:gd name="T85" fmla="*/ 1657 h 14578"/>
                <a:gd name="T86" fmla="*/ 14530 w 16095"/>
                <a:gd name="T87" fmla="*/ 2808 h 14578"/>
                <a:gd name="T88" fmla="*/ 15002 w 16095"/>
                <a:gd name="T89" fmla="*/ 4258 h 14578"/>
                <a:gd name="T90" fmla="*/ 14820 w 16095"/>
                <a:gd name="T91" fmla="*/ 5759 h 14578"/>
                <a:gd name="T92" fmla="*/ 13987 w 16095"/>
                <a:gd name="T93" fmla="*/ 7083 h 14578"/>
                <a:gd name="T94" fmla="*/ 8431 w 16095"/>
                <a:gd name="T95" fmla="*/ 12692 h 14578"/>
                <a:gd name="T96" fmla="*/ 8395 w 16095"/>
                <a:gd name="T97" fmla="*/ 12905 h 14578"/>
                <a:gd name="T98" fmla="*/ 8451 w 16095"/>
                <a:gd name="T99" fmla="*/ 13115 h 14578"/>
                <a:gd name="T100" fmla="*/ 8600 w 16095"/>
                <a:gd name="T101" fmla="*/ 13286 h 14578"/>
                <a:gd name="T102" fmla="*/ 8801 w 16095"/>
                <a:gd name="T103" fmla="*/ 13375 h 14578"/>
                <a:gd name="T104" fmla="*/ 9017 w 16095"/>
                <a:gd name="T105" fmla="*/ 13370 h 14578"/>
                <a:gd name="T106" fmla="*/ 9214 w 16095"/>
                <a:gd name="T107" fmla="*/ 13271 h 14578"/>
                <a:gd name="T108" fmla="*/ 15577 w 16095"/>
                <a:gd name="T109" fmla="*/ 6628 h 14578"/>
                <a:gd name="T110" fmla="*/ 16090 w 16095"/>
                <a:gd name="T111" fmla="*/ 4742 h 14578"/>
                <a:gd name="T112" fmla="*/ 15763 w 16095"/>
                <a:gd name="T113" fmla="*/ 2822 h 14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4578">
                  <a:moveTo>
                    <a:pt x="14768" y="1326"/>
                  </a:moveTo>
                  <a:lnTo>
                    <a:pt x="14600" y="1165"/>
                  </a:lnTo>
                  <a:lnTo>
                    <a:pt x="14425" y="1015"/>
                  </a:lnTo>
                  <a:lnTo>
                    <a:pt x="14244" y="875"/>
                  </a:lnTo>
                  <a:lnTo>
                    <a:pt x="14059" y="746"/>
                  </a:lnTo>
                  <a:lnTo>
                    <a:pt x="13868" y="626"/>
                  </a:lnTo>
                  <a:lnTo>
                    <a:pt x="13673" y="518"/>
                  </a:lnTo>
                  <a:lnTo>
                    <a:pt x="13474" y="419"/>
                  </a:lnTo>
                  <a:lnTo>
                    <a:pt x="13271" y="332"/>
                  </a:lnTo>
                  <a:lnTo>
                    <a:pt x="13065" y="253"/>
                  </a:lnTo>
                  <a:lnTo>
                    <a:pt x="12857" y="187"/>
                  </a:lnTo>
                  <a:lnTo>
                    <a:pt x="12646" y="130"/>
                  </a:lnTo>
                  <a:lnTo>
                    <a:pt x="12432" y="83"/>
                  </a:lnTo>
                  <a:lnTo>
                    <a:pt x="12218" y="46"/>
                  </a:lnTo>
                  <a:lnTo>
                    <a:pt x="12002" y="21"/>
                  </a:lnTo>
                  <a:lnTo>
                    <a:pt x="11786" y="5"/>
                  </a:lnTo>
                  <a:lnTo>
                    <a:pt x="11568" y="0"/>
                  </a:lnTo>
                  <a:lnTo>
                    <a:pt x="11351" y="5"/>
                  </a:lnTo>
                  <a:lnTo>
                    <a:pt x="11134" y="21"/>
                  </a:lnTo>
                  <a:lnTo>
                    <a:pt x="10918" y="46"/>
                  </a:lnTo>
                  <a:lnTo>
                    <a:pt x="10703" y="83"/>
                  </a:lnTo>
                  <a:lnTo>
                    <a:pt x="10490" y="130"/>
                  </a:lnTo>
                  <a:lnTo>
                    <a:pt x="10280" y="187"/>
                  </a:lnTo>
                  <a:lnTo>
                    <a:pt x="10070" y="253"/>
                  </a:lnTo>
                  <a:lnTo>
                    <a:pt x="9864" y="332"/>
                  </a:lnTo>
                  <a:lnTo>
                    <a:pt x="9662" y="419"/>
                  </a:lnTo>
                  <a:lnTo>
                    <a:pt x="9463" y="518"/>
                  </a:lnTo>
                  <a:lnTo>
                    <a:pt x="9268" y="626"/>
                  </a:lnTo>
                  <a:lnTo>
                    <a:pt x="9078" y="746"/>
                  </a:lnTo>
                  <a:lnTo>
                    <a:pt x="8891" y="875"/>
                  </a:lnTo>
                  <a:lnTo>
                    <a:pt x="8711" y="1015"/>
                  </a:lnTo>
                  <a:lnTo>
                    <a:pt x="8536" y="1165"/>
                  </a:lnTo>
                  <a:lnTo>
                    <a:pt x="8367" y="1326"/>
                  </a:lnTo>
                  <a:lnTo>
                    <a:pt x="1029" y="8572"/>
                  </a:lnTo>
                  <a:lnTo>
                    <a:pt x="904" y="8704"/>
                  </a:lnTo>
                  <a:lnTo>
                    <a:pt x="789" y="8840"/>
                  </a:lnTo>
                  <a:lnTo>
                    <a:pt x="680" y="8979"/>
                  </a:lnTo>
                  <a:lnTo>
                    <a:pt x="579" y="9124"/>
                  </a:lnTo>
                  <a:lnTo>
                    <a:pt x="487" y="9272"/>
                  </a:lnTo>
                  <a:lnTo>
                    <a:pt x="402" y="9424"/>
                  </a:lnTo>
                  <a:lnTo>
                    <a:pt x="326" y="9579"/>
                  </a:lnTo>
                  <a:lnTo>
                    <a:pt x="258" y="9736"/>
                  </a:lnTo>
                  <a:lnTo>
                    <a:pt x="197" y="9896"/>
                  </a:lnTo>
                  <a:lnTo>
                    <a:pt x="145" y="10058"/>
                  </a:lnTo>
                  <a:lnTo>
                    <a:pt x="101" y="10223"/>
                  </a:lnTo>
                  <a:lnTo>
                    <a:pt x="64" y="10388"/>
                  </a:lnTo>
                  <a:lnTo>
                    <a:pt x="36" y="10556"/>
                  </a:lnTo>
                  <a:lnTo>
                    <a:pt x="16" y="10724"/>
                  </a:lnTo>
                  <a:lnTo>
                    <a:pt x="4" y="10892"/>
                  </a:lnTo>
                  <a:lnTo>
                    <a:pt x="0" y="11060"/>
                  </a:lnTo>
                  <a:lnTo>
                    <a:pt x="4" y="11229"/>
                  </a:lnTo>
                  <a:lnTo>
                    <a:pt x="16" y="11398"/>
                  </a:lnTo>
                  <a:lnTo>
                    <a:pt x="36" y="11566"/>
                  </a:lnTo>
                  <a:lnTo>
                    <a:pt x="64" y="11733"/>
                  </a:lnTo>
                  <a:lnTo>
                    <a:pt x="101" y="11899"/>
                  </a:lnTo>
                  <a:lnTo>
                    <a:pt x="145" y="12064"/>
                  </a:lnTo>
                  <a:lnTo>
                    <a:pt x="197" y="12226"/>
                  </a:lnTo>
                  <a:lnTo>
                    <a:pt x="258" y="12385"/>
                  </a:lnTo>
                  <a:lnTo>
                    <a:pt x="326" y="12543"/>
                  </a:lnTo>
                  <a:lnTo>
                    <a:pt x="402" y="12698"/>
                  </a:lnTo>
                  <a:lnTo>
                    <a:pt x="487" y="12850"/>
                  </a:lnTo>
                  <a:lnTo>
                    <a:pt x="579" y="12998"/>
                  </a:lnTo>
                  <a:lnTo>
                    <a:pt x="680" y="13142"/>
                  </a:lnTo>
                  <a:lnTo>
                    <a:pt x="789" y="13282"/>
                  </a:lnTo>
                  <a:lnTo>
                    <a:pt x="904" y="13418"/>
                  </a:lnTo>
                  <a:lnTo>
                    <a:pt x="1029" y="13550"/>
                  </a:lnTo>
                  <a:lnTo>
                    <a:pt x="1161" y="13673"/>
                  </a:lnTo>
                  <a:lnTo>
                    <a:pt x="1297" y="13790"/>
                  </a:lnTo>
                  <a:lnTo>
                    <a:pt x="1436" y="13898"/>
                  </a:lnTo>
                  <a:lnTo>
                    <a:pt x="1581" y="13999"/>
                  </a:lnTo>
                  <a:lnTo>
                    <a:pt x="1729" y="14091"/>
                  </a:lnTo>
                  <a:lnTo>
                    <a:pt x="1881" y="14176"/>
                  </a:lnTo>
                  <a:lnTo>
                    <a:pt x="2036" y="14252"/>
                  </a:lnTo>
                  <a:lnTo>
                    <a:pt x="2193" y="14321"/>
                  </a:lnTo>
                  <a:lnTo>
                    <a:pt x="2354" y="14381"/>
                  </a:lnTo>
                  <a:lnTo>
                    <a:pt x="2516" y="14433"/>
                  </a:lnTo>
                  <a:lnTo>
                    <a:pt x="2680" y="14477"/>
                  </a:lnTo>
                  <a:lnTo>
                    <a:pt x="2846" y="14514"/>
                  </a:lnTo>
                  <a:lnTo>
                    <a:pt x="3013" y="14542"/>
                  </a:lnTo>
                  <a:lnTo>
                    <a:pt x="3181" y="14562"/>
                  </a:lnTo>
                  <a:lnTo>
                    <a:pt x="3350" y="14574"/>
                  </a:lnTo>
                  <a:lnTo>
                    <a:pt x="3519" y="14578"/>
                  </a:lnTo>
                  <a:lnTo>
                    <a:pt x="3688" y="14574"/>
                  </a:lnTo>
                  <a:lnTo>
                    <a:pt x="3857" y="14562"/>
                  </a:lnTo>
                  <a:lnTo>
                    <a:pt x="4025" y="14542"/>
                  </a:lnTo>
                  <a:lnTo>
                    <a:pt x="4192" y="14514"/>
                  </a:lnTo>
                  <a:lnTo>
                    <a:pt x="4358" y="14477"/>
                  </a:lnTo>
                  <a:lnTo>
                    <a:pt x="4522" y="14433"/>
                  </a:lnTo>
                  <a:lnTo>
                    <a:pt x="4684" y="14381"/>
                  </a:lnTo>
                  <a:lnTo>
                    <a:pt x="4844" y="14321"/>
                  </a:lnTo>
                  <a:lnTo>
                    <a:pt x="5002" y="14252"/>
                  </a:lnTo>
                  <a:lnTo>
                    <a:pt x="5156" y="14176"/>
                  </a:lnTo>
                  <a:lnTo>
                    <a:pt x="5308" y="14091"/>
                  </a:lnTo>
                  <a:lnTo>
                    <a:pt x="5456" y="13999"/>
                  </a:lnTo>
                  <a:lnTo>
                    <a:pt x="5601" y="13898"/>
                  </a:lnTo>
                  <a:lnTo>
                    <a:pt x="5741" y="13790"/>
                  </a:lnTo>
                  <a:lnTo>
                    <a:pt x="5877" y="13673"/>
                  </a:lnTo>
                  <a:lnTo>
                    <a:pt x="6007" y="13550"/>
                  </a:lnTo>
                  <a:lnTo>
                    <a:pt x="13346" y="6301"/>
                  </a:lnTo>
                  <a:lnTo>
                    <a:pt x="13435" y="6208"/>
                  </a:lnTo>
                  <a:lnTo>
                    <a:pt x="13519" y="6110"/>
                  </a:lnTo>
                  <a:lnTo>
                    <a:pt x="13596" y="6011"/>
                  </a:lnTo>
                  <a:lnTo>
                    <a:pt x="13669" y="5907"/>
                  </a:lnTo>
                  <a:lnTo>
                    <a:pt x="13735" y="5802"/>
                  </a:lnTo>
                  <a:lnTo>
                    <a:pt x="13795" y="5693"/>
                  </a:lnTo>
                  <a:lnTo>
                    <a:pt x="13850" y="5582"/>
                  </a:lnTo>
                  <a:lnTo>
                    <a:pt x="13899" y="5470"/>
                  </a:lnTo>
                  <a:lnTo>
                    <a:pt x="13942" y="5355"/>
                  </a:lnTo>
                  <a:lnTo>
                    <a:pt x="13980" y="5240"/>
                  </a:lnTo>
                  <a:lnTo>
                    <a:pt x="14011" y="5123"/>
                  </a:lnTo>
                  <a:lnTo>
                    <a:pt x="14037" y="5004"/>
                  </a:lnTo>
                  <a:lnTo>
                    <a:pt x="14057" y="4885"/>
                  </a:lnTo>
                  <a:lnTo>
                    <a:pt x="14071" y="4765"/>
                  </a:lnTo>
                  <a:lnTo>
                    <a:pt x="14080" y="4645"/>
                  </a:lnTo>
                  <a:lnTo>
                    <a:pt x="14083" y="4524"/>
                  </a:lnTo>
                  <a:lnTo>
                    <a:pt x="14080" y="4404"/>
                  </a:lnTo>
                  <a:lnTo>
                    <a:pt x="14071" y="4284"/>
                  </a:lnTo>
                  <a:lnTo>
                    <a:pt x="14057" y="4164"/>
                  </a:lnTo>
                  <a:lnTo>
                    <a:pt x="14037" y="4044"/>
                  </a:lnTo>
                  <a:lnTo>
                    <a:pt x="14011" y="3926"/>
                  </a:lnTo>
                  <a:lnTo>
                    <a:pt x="13980" y="3809"/>
                  </a:lnTo>
                  <a:lnTo>
                    <a:pt x="13942" y="3693"/>
                  </a:lnTo>
                  <a:lnTo>
                    <a:pt x="13899" y="3579"/>
                  </a:lnTo>
                  <a:lnTo>
                    <a:pt x="13850" y="3466"/>
                  </a:lnTo>
                  <a:lnTo>
                    <a:pt x="13795" y="3356"/>
                  </a:lnTo>
                  <a:lnTo>
                    <a:pt x="13735" y="3247"/>
                  </a:lnTo>
                  <a:lnTo>
                    <a:pt x="13669" y="3142"/>
                  </a:lnTo>
                  <a:lnTo>
                    <a:pt x="13596" y="3038"/>
                  </a:lnTo>
                  <a:lnTo>
                    <a:pt x="13519" y="2939"/>
                  </a:lnTo>
                  <a:lnTo>
                    <a:pt x="13435" y="2841"/>
                  </a:lnTo>
                  <a:lnTo>
                    <a:pt x="13346" y="2748"/>
                  </a:lnTo>
                  <a:lnTo>
                    <a:pt x="13252" y="2658"/>
                  </a:lnTo>
                  <a:lnTo>
                    <a:pt x="13156" y="2575"/>
                  </a:lnTo>
                  <a:lnTo>
                    <a:pt x="13055" y="2497"/>
                  </a:lnTo>
                  <a:lnTo>
                    <a:pt x="12951" y="2425"/>
                  </a:lnTo>
                  <a:lnTo>
                    <a:pt x="12846" y="2359"/>
                  </a:lnTo>
                  <a:lnTo>
                    <a:pt x="12737" y="2299"/>
                  </a:lnTo>
                  <a:lnTo>
                    <a:pt x="12627" y="2244"/>
                  </a:lnTo>
                  <a:lnTo>
                    <a:pt x="12514" y="2196"/>
                  </a:lnTo>
                  <a:lnTo>
                    <a:pt x="12400" y="2152"/>
                  </a:lnTo>
                  <a:lnTo>
                    <a:pt x="12284" y="2115"/>
                  </a:lnTo>
                  <a:lnTo>
                    <a:pt x="12167" y="2083"/>
                  </a:lnTo>
                  <a:lnTo>
                    <a:pt x="12048" y="2057"/>
                  </a:lnTo>
                  <a:lnTo>
                    <a:pt x="11928" y="2037"/>
                  </a:lnTo>
                  <a:lnTo>
                    <a:pt x="11809" y="2023"/>
                  </a:lnTo>
                  <a:lnTo>
                    <a:pt x="11689" y="2015"/>
                  </a:lnTo>
                  <a:lnTo>
                    <a:pt x="11568" y="2012"/>
                  </a:lnTo>
                  <a:lnTo>
                    <a:pt x="11448" y="2015"/>
                  </a:lnTo>
                  <a:lnTo>
                    <a:pt x="11327" y="2023"/>
                  </a:lnTo>
                  <a:lnTo>
                    <a:pt x="11207" y="2037"/>
                  </a:lnTo>
                  <a:lnTo>
                    <a:pt x="11087" y="2057"/>
                  </a:lnTo>
                  <a:lnTo>
                    <a:pt x="10969" y="2083"/>
                  </a:lnTo>
                  <a:lnTo>
                    <a:pt x="10852" y="2115"/>
                  </a:lnTo>
                  <a:lnTo>
                    <a:pt x="10736" y="2152"/>
                  </a:lnTo>
                  <a:lnTo>
                    <a:pt x="10622" y="2196"/>
                  </a:lnTo>
                  <a:lnTo>
                    <a:pt x="10509" y="2244"/>
                  </a:lnTo>
                  <a:lnTo>
                    <a:pt x="10398" y="2299"/>
                  </a:lnTo>
                  <a:lnTo>
                    <a:pt x="10291" y="2359"/>
                  </a:lnTo>
                  <a:lnTo>
                    <a:pt x="10184" y="2425"/>
                  </a:lnTo>
                  <a:lnTo>
                    <a:pt x="10082" y="2497"/>
                  </a:lnTo>
                  <a:lnTo>
                    <a:pt x="9981" y="2575"/>
                  </a:lnTo>
                  <a:lnTo>
                    <a:pt x="9884" y="2658"/>
                  </a:lnTo>
                  <a:lnTo>
                    <a:pt x="9790" y="2748"/>
                  </a:lnTo>
                  <a:lnTo>
                    <a:pt x="4273" y="8261"/>
                  </a:lnTo>
                  <a:lnTo>
                    <a:pt x="4255" y="8279"/>
                  </a:lnTo>
                  <a:lnTo>
                    <a:pt x="4239" y="8299"/>
                  </a:lnTo>
                  <a:lnTo>
                    <a:pt x="4223" y="8319"/>
                  </a:lnTo>
                  <a:lnTo>
                    <a:pt x="4209" y="8339"/>
                  </a:lnTo>
                  <a:lnTo>
                    <a:pt x="4196" y="8361"/>
                  </a:lnTo>
                  <a:lnTo>
                    <a:pt x="4184" y="8382"/>
                  </a:lnTo>
                  <a:lnTo>
                    <a:pt x="4173" y="8404"/>
                  </a:lnTo>
                  <a:lnTo>
                    <a:pt x="4163" y="8427"/>
                  </a:lnTo>
                  <a:lnTo>
                    <a:pt x="4154" y="8450"/>
                  </a:lnTo>
                  <a:lnTo>
                    <a:pt x="4146" y="8473"/>
                  </a:lnTo>
                  <a:lnTo>
                    <a:pt x="4140" y="8497"/>
                  </a:lnTo>
                  <a:lnTo>
                    <a:pt x="4134" y="8520"/>
                  </a:lnTo>
                  <a:lnTo>
                    <a:pt x="4130" y="8544"/>
                  </a:lnTo>
                  <a:lnTo>
                    <a:pt x="4128" y="8568"/>
                  </a:lnTo>
                  <a:lnTo>
                    <a:pt x="4126" y="8592"/>
                  </a:lnTo>
                  <a:lnTo>
                    <a:pt x="4125" y="8617"/>
                  </a:lnTo>
                  <a:lnTo>
                    <a:pt x="4126" y="8640"/>
                  </a:lnTo>
                  <a:lnTo>
                    <a:pt x="4128" y="8664"/>
                  </a:lnTo>
                  <a:lnTo>
                    <a:pt x="4130" y="8688"/>
                  </a:lnTo>
                  <a:lnTo>
                    <a:pt x="4134" y="8712"/>
                  </a:lnTo>
                  <a:lnTo>
                    <a:pt x="4140" y="8736"/>
                  </a:lnTo>
                  <a:lnTo>
                    <a:pt x="4146" y="8759"/>
                  </a:lnTo>
                  <a:lnTo>
                    <a:pt x="4154" y="8782"/>
                  </a:lnTo>
                  <a:lnTo>
                    <a:pt x="4163" y="8806"/>
                  </a:lnTo>
                  <a:lnTo>
                    <a:pt x="4173" y="8828"/>
                  </a:lnTo>
                  <a:lnTo>
                    <a:pt x="4184" y="8850"/>
                  </a:lnTo>
                  <a:lnTo>
                    <a:pt x="4196" y="8872"/>
                  </a:lnTo>
                  <a:lnTo>
                    <a:pt x="4209" y="8893"/>
                  </a:lnTo>
                  <a:lnTo>
                    <a:pt x="4223" y="8913"/>
                  </a:lnTo>
                  <a:lnTo>
                    <a:pt x="4239" y="8933"/>
                  </a:lnTo>
                  <a:lnTo>
                    <a:pt x="4255" y="8953"/>
                  </a:lnTo>
                  <a:lnTo>
                    <a:pt x="4273" y="8971"/>
                  </a:lnTo>
                  <a:lnTo>
                    <a:pt x="4292" y="8989"/>
                  </a:lnTo>
                  <a:lnTo>
                    <a:pt x="4311" y="9007"/>
                  </a:lnTo>
                  <a:lnTo>
                    <a:pt x="4332" y="9022"/>
                  </a:lnTo>
                  <a:lnTo>
                    <a:pt x="4352" y="9036"/>
                  </a:lnTo>
                  <a:lnTo>
                    <a:pt x="4373" y="9050"/>
                  </a:lnTo>
                  <a:lnTo>
                    <a:pt x="4395" y="9062"/>
                  </a:lnTo>
                  <a:lnTo>
                    <a:pt x="4417" y="9073"/>
                  </a:lnTo>
                  <a:lnTo>
                    <a:pt x="4439" y="9082"/>
                  </a:lnTo>
                  <a:lnTo>
                    <a:pt x="4462" y="9091"/>
                  </a:lnTo>
                  <a:lnTo>
                    <a:pt x="4485" y="9098"/>
                  </a:lnTo>
                  <a:lnTo>
                    <a:pt x="4509" y="9105"/>
                  </a:lnTo>
                  <a:lnTo>
                    <a:pt x="4533" y="9110"/>
                  </a:lnTo>
                  <a:lnTo>
                    <a:pt x="4557" y="9114"/>
                  </a:lnTo>
                  <a:lnTo>
                    <a:pt x="4580" y="9117"/>
                  </a:lnTo>
                  <a:lnTo>
                    <a:pt x="4604" y="9118"/>
                  </a:lnTo>
                  <a:lnTo>
                    <a:pt x="4628" y="9119"/>
                  </a:lnTo>
                  <a:lnTo>
                    <a:pt x="4652" y="9118"/>
                  </a:lnTo>
                  <a:lnTo>
                    <a:pt x="4677" y="9117"/>
                  </a:lnTo>
                  <a:lnTo>
                    <a:pt x="4701" y="9114"/>
                  </a:lnTo>
                  <a:lnTo>
                    <a:pt x="4725" y="9110"/>
                  </a:lnTo>
                  <a:lnTo>
                    <a:pt x="4748" y="9105"/>
                  </a:lnTo>
                  <a:lnTo>
                    <a:pt x="4772" y="9098"/>
                  </a:lnTo>
                  <a:lnTo>
                    <a:pt x="4795" y="9091"/>
                  </a:lnTo>
                  <a:lnTo>
                    <a:pt x="4817" y="9082"/>
                  </a:lnTo>
                  <a:lnTo>
                    <a:pt x="4841" y="9073"/>
                  </a:lnTo>
                  <a:lnTo>
                    <a:pt x="4863" y="9062"/>
                  </a:lnTo>
                  <a:lnTo>
                    <a:pt x="4884" y="9050"/>
                  </a:lnTo>
                  <a:lnTo>
                    <a:pt x="4905" y="9036"/>
                  </a:lnTo>
                  <a:lnTo>
                    <a:pt x="4926" y="9022"/>
                  </a:lnTo>
                  <a:lnTo>
                    <a:pt x="4946" y="9007"/>
                  </a:lnTo>
                  <a:lnTo>
                    <a:pt x="4965" y="8989"/>
                  </a:lnTo>
                  <a:lnTo>
                    <a:pt x="4984" y="8971"/>
                  </a:lnTo>
                  <a:lnTo>
                    <a:pt x="10501" y="3458"/>
                  </a:lnTo>
                  <a:lnTo>
                    <a:pt x="10557" y="3405"/>
                  </a:lnTo>
                  <a:lnTo>
                    <a:pt x="10616" y="3355"/>
                  </a:lnTo>
                  <a:lnTo>
                    <a:pt x="10676" y="3308"/>
                  </a:lnTo>
                  <a:lnTo>
                    <a:pt x="10738" y="3265"/>
                  </a:lnTo>
                  <a:lnTo>
                    <a:pt x="10802" y="3226"/>
                  </a:lnTo>
                  <a:lnTo>
                    <a:pt x="10866" y="3190"/>
                  </a:lnTo>
                  <a:lnTo>
                    <a:pt x="10933" y="3157"/>
                  </a:lnTo>
                  <a:lnTo>
                    <a:pt x="11000" y="3128"/>
                  </a:lnTo>
                  <a:lnTo>
                    <a:pt x="11069" y="3101"/>
                  </a:lnTo>
                  <a:lnTo>
                    <a:pt x="11139" y="3079"/>
                  </a:lnTo>
                  <a:lnTo>
                    <a:pt x="11209" y="3060"/>
                  </a:lnTo>
                  <a:lnTo>
                    <a:pt x="11280" y="3045"/>
                  </a:lnTo>
                  <a:lnTo>
                    <a:pt x="11352" y="3033"/>
                  </a:lnTo>
                  <a:lnTo>
                    <a:pt x="11423" y="3024"/>
                  </a:lnTo>
                  <a:lnTo>
                    <a:pt x="11496" y="3019"/>
                  </a:lnTo>
                  <a:lnTo>
                    <a:pt x="11568" y="3017"/>
                  </a:lnTo>
                  <a:lnTo>
                    <a:pt x="11641" y="3019"/>
                  </a:lnTo>
                  <a:lnTo>
                    <a:pt x="11713" y="3024"/>
                  </a:lnTo>
                  <a:lnTo>
                    <a:pt x="11785" y="3033"/>
                  </a:lnTo>
                  <a:lnTo>
                    <a:pt x="11857" y="3045"/>
                  </a:lnTo>
                  <a:lnTo>
                    <a:pt x="11927" y="3060"/>
                  </a:lnTo>
                  <a:lnTo>
                    <a:pt x="11998" y="3079"/>
                  </a:lnTo>
                  <a:lnTo>
                    <a:pt x="12067" y="3101"/>
                  </a:lnTo>
                  <a:lnTo>
                    <a:pt x="12137" y="3128"/>
                  </a:lnTo>
                  <a:lnTo>
                    <a:pt x="12204" y="3157"/>
                  </a:lnTo>
                  <a:lnTo>
                    <a:pt x="12270" y="3190"/>
                  </a:lnTo>
                  <a:lnTo>
                    <a:pt x="12335" y="3226"/>
                  </a:lnTo>
                  <a:lnTo>
                    <a:pt x="12398" y="3265"/>
                  </a:lnTo>
                  <a:lnTo>
                    <a:pt x="12461" y="3308"/>
                  </a:lnTo>
                  <a:lnTo>
                    <a:pt x="12521" y="3355"/>
                  </a:lnTo>
                  <a:lnTo>
                    <a:pt x="12579" y="3405"/>
                  </a:lnTo>
                  <a:lnTo>
                    <a:pt x="12635" y="3458"/>
                  </a:lnTo>
                  <a:lnTo>
                    <a:pt x="12689" y="3515"/>
                  </a:lnTo>
                  <a:lnTo>
                    <a:pt x="12738" y="3572"/>
                  </a:lnTo>
                  <a:lnTo>
                    <a:pt x="12785" y="3632"/>
                  </a:lnTo>
                  <a:lnTo>
                    <a:pt x="12828" y="3695"/>
                  </a:lnTo>
                  <a:lnTo>
                    <a:pt x="12868" y="3758"/>
                  </a:lnTo>
                  <a:lnTo>
                    <a:pt x="12904" y="3823"/>
                  </a:lnTo>
                  <a:lnTo>
                    <a:pt x="12936" y="3890"/>
                  </a:lnTo>
                  <a:lnTo>
                    <a:pt x="12967" y="3957"/>
                  </a:lnTo>
                  <a:lnTo>
                    <a:pt x="12992" y="4025"/>
                  </a:lnTo>
                  <a:lnTo>
                    <a:pt x="13015" y="4095"/>
                  </a:lnTo>
                  <a:lnTo>
                    <a:pt x="13033" y="4165"/>
                  </a:lnTo>
                  <a:lnTo>
                    <a:pt x="13049" y="4236"/>
                  </a:lnTo>
                  <a:lnTo>
                    <a:pt x="13061" y="4308"/>
                  </a:lnTo>
                  <a:lnTo>
                    <a:pt x="13069" y="4380"/>
                  </a:lnTo>
                  <a:lnTo>
                    <a:pt x="13075" y="4452"/>
                  </a:lnTo>
                  <a:lnTo>
                    <a:pt x="13076" y="4524"/>
                  </a:lnTo>
                  <a:lnTo>
                    <a:pt x="13075" y="4596"/>
                  </a:lnTo>
                  <a:lnTo>
                    <a:pt x="13069" y="4669"/>
                  </a:lnTo>
                  <a:lnTo>
                    <a:pt x="13061" y="4741"/>
                  </a:lnTo>
                  <a:lnTo>
                    <a:pt x="13049" y="4812"/>
                  </a:lnTo>
                  <a:lnTo>
                    <a:pt x="13033" y="4884"/>
                  </a:lnTo>
                  <a:lnTo>
                    <a:pt x="13015" y="4954"/>
                  </a:lnTo>
                  <a:lnTo>
                    <a:pt x="12992" y="5024"/>
                  </a:lnTo>
                  <a:lnTo>
                    <a:pt x="12967" y="5092"/>
                  </a:lnTo>
                  <a:lnTo>
                    <a:pt x="12936" y="5159"/>
                  </a:lnTo>
                  <a:lnTo>
                    <a:pt x="12904" y="5226"/>
                  </a:lnTo>
                  <a:lnTo>
                    <a:pt x="12868" y="5291"/>
                  </a:lnTo>
                  <a:lnTo>
                    <a:pt x="12828" y="5354"/>
                  </a:lnTo>
                  <a:lnTo>
                    <a:pt x="12785" y="5417"/>
                  </a:lnTo>
                  <a:lnTo>
                    <a:pt x="12738" y="5476"/>
                  </a:lnTo>
                  <a:lnTo>
                    <a:pt x="12689" y="5534"/>
                  </a:lnTo>
                  <a:lnTo>
                    <a:pt x="12635" y="5591"/>
                  </a:lnTo>
                  <a:lnTo>
                    <a:pt x="5297" y="12838"/>
                  </a:lnTo>
                  <a:lnTo>
                    <a:pt x="5203" y="12927"/>
                  </a:lnTo>
                  <a:lnTo>
                    <a:pt x="5106" y="13011"/>
                  </a:lnTo>
                  <a:lnTo>
                    <a:pt x="5006" y="13088"/>
                  </a:lnTo>
                  <a:lnTo>
                    <a:pt x="4902" y="13160"/>
                  </a:lnTo>
                  <a:lnTo>
                    <a:pt x="4796" y="13226"/>
                  </a:lnTo>
                  <a:lnTo>
                    <a:pt x="4688" y="13286"/>
                  </a:lnTo>
                  <a:lnTo>
                    <a:pt x="4577" y="13341"/>
                  </a:lnTo>
                  <a:lnTo>
                    <a:pt x="4465" y="13390"/>
                  </a:lnTo>
                  <a:lnTo>
                    <a:pt x="4351" y="13433"/>
                  </a:lnTo>
                  <a:lnTo>
                    <a:pt x="4235" y="13470"/>
                  </a:lnTo>
                  <a:lnTo>
                    <a:pt x="4117" y="13502"/>
                  </a:lnTo>
                  <a:lnTo>
                    <a:pt x="3999" y="13528"/>
                  </a:lnTo>
                  <a:lnTo>
                    <a:pt x="3880" y="13549"/>
                  </a:lnTo>
                  <a:lnTo>
                    <a:pt x="3760" y="13563"/>
                  </a:lnTo>
                  <a:lnTo>
                    <a:pt x="3639" y="13571"/>
                  </a:lnTo>
                  <a:lnTo>
                    <a:pt x="3519" y="13574"/>
                  </a:lnTo>
                  <a:lnTo>
                    <a:pt x="3398" y="13571"/>
                  </a:lnTo>
                  <a:lnTo>
                    <a:pt x="3277" y="13563"/>
                  </a:lnTo>
                  <a:lnTo>
                    <a:pt x="3158" y="13549"/>
                  </a:lnTo>
                  <a:lnTo>
                    <a:pt x="3039" y="13528"/>
                  </a:lnTo>
                  <a:lnTo>
                    <a:pt x="2920" y="13502"/>
                  </a:lnTo>
                  <a:lnTo>
                    <a:pt x="2803" y="13470"/>
                  </a:lnTo>
                  <a:lnTo>
                    <a:pt x="2687" y="13433"/>
                  </a:lnTo>
                  <a:lnTo>
                    <a:pt x="2572" y="13390"/>
                  </a:lnTo>
                  <a:lnTo>
                    <a:pt x="2460" y="13341"/>
                  </a:lnTo>
                  <a:lnTo>
                    <a:pt x="2350" y="13286"/>
                  </a:lnTo>
                  <a:lnTo>
                    <a:pt x="2241" y="13226"/>
                  </a:lnTo>
                  <a:lnTo>
                    <a:pt x="2136" y="13160"/>
                  </a:lnTo>
                  <a:lnTo>
                    <a:pt x="2032" y="13088"/>
                  </a:lnTo>
                  <a:lnTo>
                    <a:pt x="1931" y="13011"/>
                  </a:lnTo>
                  <a:lnTo>
                    <a:pt x="1835" y="12927"/>
                  </a:lnTo>
                  <a:lnTo>
                    <a:pt x="1740" y="12838"/>
                  </a:lnTo>
                  <a:lnTo>
                    <a:pt x="1652" y="12744"/>
                  </a:lnTo>
                  <a:lnTo>
                    <a:pt x="1568" y="12647"/>
                  </a:lnTo>
                  <a:lnTo>
                    <a:pt x="1491" y="12546"/>
                  </a:lnTo>
                  <a:lnTo>
                    <a:pt x="1418" y="12444"/>
                  </a:lnTo>
                  <a:lnTo>
                    <a:pt x="1352" y="12338"/>
                  </a:lnTo>
                  <a:lnTo>
                    <a:pt x="1292" y="12230"/>
                  </a:lnTo>
                  <a:lnTo>
                    <a:pt x="1237" y="12119"/>
                  </a:lnTo>
                  <a:lnTo>
                    <a:pt x="1188" y="12006"/>
                  </a:lnTo>
                  <a:lnTo>
                    <a:pt x="1145" y="11892"/>
                  </a:lnTo>
                  <a:lnTo>
                    <a:pt x="1108" y="11776"/>
                  </a:lnTo>
                  <a:lnTo>
                    <a:pt x="1076" y="11660"/>
                  </a:lnTo>
                  <a:lnTo>
                    <a:pt x="1050" y="11541"/>
                  </a:lnTo>
                  <a:lnTo>
                    <a:pt x="1030" y="11421"/>
                  </a:lnTo>
                  <a:lnTo>
                    <a:pt x="1016" y="11302"/>
                  </a:lnTo>
                  <a:lnTo>
                    <a:pt x="1007" y="11181"/>
                  </a:lnTo>
                  <a:lnTo>
                    <a:pt x="1004" y="11060"/>
                  </a:lnTo>
                  <a:lnTo>
                    <a:pt x="1007" y="10940"/>
                  </a:lnTo>
                  <a:lnTo>
                    <a:pt x="1016" y="10820"/>
                  </a:lnTo>
                  <a:lnTo>
                    <a:pt x="1030" y="10701"/>
                  </a:lnTo>
                  <a:lnTo>
                    <a:pt x="1050" y="10581"/>
                  </a:lnTo>
                  <a:lnTo>
                    <a:pt x="1076" y="10462"/>
                  </a:lnTo>
                  <a:lnTo>
                    <a:pt x="1108" y="10346"/>
                  </a:lnTo>
                  <a:lnTo>
                    <a:pt x="1145" y="10229"/>
                  </a:lnTo>
                  <a:lnTo>
                    <a:pt x="1188" y="10115"/>
                  </a:lnTo>
                  <a:lnTo>
                    <a:pt x="1237" y="10003"/>
                  </a:lnTo>
                  <a:lnTo>
                    <a:pt x="1292" y="9892"/>
                  </a:lnTo>
                  <a:lnTo>
                    <a:pt x="1352" y="9784"/>
                  </a:lnTo>
                  <a:lnTo>
                    <a:pt x="1418" y="9678"/>
                  </a:lnTo>
                  <a:lnTo>
                    <a:pt x="1491" y="9575"/>
                  </a:lnTo>
                  <a:lnTo>
                    <a:pt x="1568" y="9475"/>
                  </a:lnTo>
                  <a:lnTo>
                    <a:pt x="1652" y="9378"/>
                  </a:lnTo>
                  <a:lnTo>
                    <a:pt x="1740" y="9284"/>
                  </a:lnTo>
                  <a:lnTo>
                    <a:pt x="9007" y="2108"/>
                  </a:lnTo>
                  <a:lnTo>
                    <a:pt x="9139" y="1982"/>
                  </a:lnTo>
                  <a:lnTo>
                    <a:pt x="9275" y="1866"/>
                  </a:lnTo>
                  <a:lnTo>
                    <a:pt x="9415" y="1757"/>
                  </a:lnTo>
                  <a:lnTo>
                    <a:pt x="9559" y="1657"/>
                  </a:lnTo>
                  <a:lnTo>
                    <a:pt x="9707" y="1564"/>
                  </a:lnTo>
                  <a:lnTo>
                    <a:pt x="9859" y="1480"/>
                  </a:lnTo>
                  <a:lnTo>
                    <a:pt x="10014" y="1402"/>
                  </a:lnTo>
                  <a:lnTo>
                    <a:pt x="10172" y="1334"/>
                  </a:lnTo>
                  <a:lnTo>
                    <a:pt x="10332" y="1274"/>
                  </a:lnTo>
                  <a:lnTo>
                    <a:pt x="10495" y="1221"/>
                  </a:lnTo>
                  <a:lnTo>
                    <a:pt x="10659" y="1177"/>
                  </a:lnTo>
                  <a:lnTo>
                    <a:pt x="10825" y="1141"/>
                  </a:lnTo>
                  <a:lnTo>
                    <a:pt x="10992" y="1113"/>
                  </a:lnTo>
                  <a:lnTo>
                    <a:pt x="11160" y="1093"/>
                  </a:lnTo>
                  <a:lnTo>
                    <a:pt x="11328" y="1081"/>
                  </a:lnTo>
                  <a:lnTo>
                    <a:pt x="11497" y="1077"/>
                  </a:lnTo>
                  <a:lnTo>
                    <a:pt x="11666" y="1081"/>
                  </a:lnTo>
                  <a:lnTo>
                    <a:pt x="11835" y="1093"/>
                  </a:lnTo>
                  <a:lnTo>
                    <a:pt x="12003" y="1113"/>
                  </a:lnTo>
                  <a:lnTo>
                    <a:pt x="12170" y="1141"/>
                  </a:lnTo>
                  <a:lnTo>
                    <a:pt x="12335" y="1177"/>
                  </a:lnTo>
                  <a:lnTo>
                    <a:pt x="12500" y="1221"/>
                  </a:lnTo>
                  <a:lnTo>
                    <a:pt x="12662" y="1274"/>
                  </a:lnTo>
                  <a:lnTo>
                    <a:pt x="12822" y="1334"/>
                  </a:lnTo>
                  <a:lnTo>
                    <a:pt x="12980" y="1402"/>
                  </a:lnTo>
                  <a:lnTo>
                    <a:pt x="13135" y="1480"/>
                  </a:lnTo>
                  <a:lnTo>
                    <a:pt x="13285" y="1564"/>
                  </a:lnTo>
                  <a:lnTo>
                    <a:pt x="13433" y="1657"/>
                  </a:lnTo>
                  <a:lnTo>
                    <a:pt x="13578" y="1757"/>
                  </a:lnTo>
                  <a:lnTo>
                    <a:pt x="13718" y="1866"/>
                  </a:lnTo>
                  <a:lnTo>
                    <a:pt x="13855" y="1982"/>
                  </a:lnTo>
                  <a:lnTo>
                    <a:pt x="13986" y="2108"/>
                  </a:lnTo>
                  <a:lnTo>
                    <a:pt x="14110" y="2239"/>
                  </a:lnTo>
                  <a:lnTo>
                    <a:pt x="14228" y="2376"/>
                  </a:lnTo>
                  <a:lnTo>
                    <a:pt x="14337" y="2515"/>
                  </a:lnTo>
                  <a:lnTo>
                    <a:pt x="14437" y="2660"/>
                  </a:lnTo>
                  <a:lnTo>
                    <a:pt x="14530" y="2808"/>
                  </a:lnTo>
                  <a:lnTo>
                    <a:pt x="14614" y="2960"/>
                  </a:lnTo>
                  <a:lnTo>
                    <a:pt x="14692" y="3114"/>
                  </a:lnTo>
                  <a:lnTo>
                    <a:pt x="14760" y="3272"/>
                  </a:lnTo>
                  <a:lnTo>
                    <a:pt x="14820" y="3432"/>
                  </a:lnTo>
                  <a:lnTo>
                    <a:pt x="14873" y="3594"/>
                  </a:lnTo>
                  <a:lnTo>
                    <a:pt x="14917" y="3758"/>
                  </a:lnTo>
                  <a:lnTo>
                    <a:pt x="14953" y="3924"/>
                  </a:lnTo>
                  <a:lnTo>
                    <a:pt x="14981" y="4091"/>
                  </a:lnTo>
                  <a:lnTo>
                    <a:pt x="15002" y="4258"/>
                  </a:lnTo>
                  <a:lnTo>
                    <a:pt x="15014" y="4427"/>
                  </a:lnTo>
                  <a:lnTo>
                    <a:pt x="15018" y="4596"/>
                  </a:lnTo>
                  <a:lnTo>
                    <a:pt x="15014" y="4765"/>
                  </a:lnTo>
                  <a:lnTo>
                    <a:pt x="15002" y="4933"/>
                  </a:lnTo>
                  <a:lnTo>
                    <a:pt x="14981" y="5101"/>
                  </a:lnTo>
                  <a:lnTo>
                    <a:pt x="14953" y="5268"/>
                  </a:lnTo>
                  <a:lnTo>
                    <a:pt x="14917" y="5434"/>
                  </a:lnTo>
                  <a:lnTo>
                    <a:pt x="14873" y="5598"/>
                  </a:lnTo>
                  <a:lnTo>
                    <a:pt x="14820" y="5759"/>
                  </a:lnTo>
                  <a:lnTo>
                    <a:pt x="14760" y="5919"/>
                  </a:lnTo>
                  <a:lnTo>
                    <a:pt x="14692" y="6077"/>
                  </a:lnTo>
                  <a:lnTo>
                    <a:pt x="14615" y="6232"/>
                  </a:lnTo>
                  <a:lnTo>
                    <a:pt x="14531" y="6384"/>
                  </a:lnTo>
                  <a:lnTo>
                    <a:pt x="14438" y="6531"/>
                  </a:lnTo>
                  <a:lnTo>
                    <a:pt x="14338" y="6676"/>
                  </a:lnTo>
                  <a:lnTo>
                    <a:pt x="14228" y="6816"/>
                  </a:lnTo>
                  <a:lnTo>
                    <a:pt x="14111" y="6953"/>
                  </a:lnTo>
                  <a:lnTo>
                    <a:pt x="13987" y="7083"/>
                  </a:lnTo>
                  <a:lnTo>
                    <a:pt x="8541" y="12525"/>
                  </a:lnTo>
                  <a:lnTo>
                    <a:pt x="8523" y="12544"/>
                  </a:lnTo>
                  <a:lnTo>
                    <a:pt x="8507" y="12563"/>
                  </a:lnTo>
                  <a:lnTo>
                    <a:pt x="8491" y="12583"/>
                  </a:lnTo>
                  <a:lnTo>
                    <a:pt x="8477" y="12605"/>
                  </a:lnTo>
                  <a:lnTo>
                    <a:pt x="8464" y="12626"/>
                  </a:lnTo>
                  <a:lnTo>
                    <a:pt x="8451" y="12648"/>
                  </a:lnTo>
                  <a:lnTo>
                    <a:pt x="8441" y="12670"/>
                  </a:lnTo>
                  <a:lnTo>
                    <a:pt x="8431" y="12692"/>
                  </a:lnTo>
                  <a:lnTo>
                    <a:pt x="8422" y="12715"/>
                  </a:lnTo>
                  <a:lnTo>
                    <a:pt x="8415" y="12738"/>
                  </a:lnTo>
                  <a:lnTo>
                    <a:pt x="8408" y="12761"/>
                  </a:lnTo>
                  <a:lnTo>
                    <a:pt x="8403" y="12786"/>
                  </a:lnTo>
                  <a:lnTo>
                    <a:pt x="8399" y="12810"/>
                  </a:lnTo>
                  <a:lnTo>
                    <a:pt x="8396" y="12833"/>
                  </a:lnTo>
                  <a:lnTo>
                    <a:pt x="8395" y="12857"/>
                  </a:lnTo>
                  <a:lnTo>
                    <a:pt x="8394" y="12881"/>
                  </a:lnTo>
                  <a:lnTo>
                    <a:pt x="8395" y="12905"/>
                  </a:lnTo>
                  <a:lnTo>
                    <a:pt x="8396" y="12929"/>
                  </a:lnTo>
                  <a:lnTo>
                    <a:pt x="8399" y="12953"/>
                  </a:lnTo>
                  <a:lnTo>
                    <a:pt x="8403" y="12978"/>
                  </a:lnTo>
                  <a:lnTo>
                    <a:pt x="8408" y="13001"/>
                  </a:lnTo>
                  <a:lnTo>
                    <a:pt x="8415" y="13025"/>
                  </a:lnTo>
                  <a:lnTo>
                    <a:pt x="8422" y="13048"/>
                  </a:lnTo>
                  <a:lnTo>
                    <a:pt x="8431" y="13070"/>
                  </a:lnTo>
                  <a:lnTo>
                    <a:pt x="8441" y="13093"/>
                  </a:lnTo>
                  <a:lnTo>
                    <a:pt x="8451" y="13115"/>
                  </a:lnTo>
                  <a:lnTo>
                    <a:pt x="8464" y="13136"/>
                  </a:lnTo>
                  <a:lnTo>
                    <a:pt x="8477" y="13157"/>
                  </a:lnTo>
                  <a:lnTo>
                    <a:pt x="8491" y="13179"/>
                  </a:lnTo>
                  <a:lnTo>
                    <a:pt x="8507" y="13199"/>
                  </a:lnTo>
                  <a:lnTo>
                    <a:pt x="8523" y="13218"/>
                  </a:lnTo>
                  <a:lnTo>
                    <a:pt x="8541" y="13237"/>
                  </a:lnTo>
                  <a:lnTo>
                    <a:pt x="8561" y="13254"/>
                  </a:lnTo>
                  <a:lnTo>
                    <a:pt x="8580" y="13271"/>
                  </a:lnTo>
                  <a:lnTo>
                    <a:pt x="8600" y="13286"/>
                  </a:lnTo>
                  <a:lnTo>
                    <a:pt x="8621" y="13301"/>
                  </a:lnTo>
                  <a:lnTo>
                    <a:pt x="8642" y="13314"/>
                  </a:lnTo>
                  <a:lnTo>
                    <a:pt x="8663" y="13326"/>
                  </a:lnTo>
                  <a:lnTo>
                    <a:pt x="8685" y="13337"/>
                  </a:lnTo>
                  <a:lnTo>
                    <a:pt x="8708" y="13348"/>
                  </a:lnTo>
                  <a:lnTo>
                    <a:pt x="8731" y="13356"/>
                  </a:lnTo>
                  <a:lnTo>
                    <a:pt x="8754" y="13364"/>
                  </a:lnTo>
                  <a:lnTo>
                    <a:pt x="8778" y="13370"/>
                  </a:lnTo>
                  <a:lnTo>
                    <a:pt x="8801" y="13375"/>
                  </a:lnTo>
                  <a:lnTo>
                    <a:pt x="8825" y="13379"/>
                  </a:lnTo>
                  <a:lnTo>
                    <a:pt x="8849" y="13382"/>
                  </a:lnTo>
                  <a:lnTo>
                    <a:pt x="8873" y="13384"/>
                  </a:lnTo>
                  <a:lnTo>
                    <a:pt x="8898" y="13385"/>
                  </a:lnTo>
                  <a:lnTo>
                    <a:pt x="8922" y="13384"/>
                  </a:lnTo>
                  <a:lnTo>
                    <a:pt x="8946" y="13382"/>
                  </a:lnTo>
                  <a:lnTo>
                    <a:pt x="8969" y="13379"/>
                  </a:lnTo>
                  <a:lnTo>
                    <a:pt x="8993" y="13375"/>
                  </a:lnTo>
                  <a:lnTo>
                    <a:pt x="9017" y="13370"/>
                  </a:lnTo>
                  <a:lnTo>
                    <a:pt x="9040" y="13364"/>
                  </a:lnTo>
                  <a:lnTo>
                    <a:pt x="9063" y="13356"/>
                  </a:lnTo>
                  <a:lnTo>
                    <a:pt x="9087" y="13348"/>
                  </a:lnTo>
                  <a:lnTo>
                    <a:pt x="9109" y="13337"/>
                  </a:lnTo>
                  <a:lnTo>
                    <a:pt x="9131" y="13326"/>
                  </a:lnTo>
                  <a:lnTo>
                    <a:pt x="9153" y="13314"/>
                  </a:lnTo>
                  <a:lnTo>
                    <a:pt x="9174" y="13301"/>
                  </a:lnTo>
                  <a:lnTo>
                    <a:pt x="9194" y="13286"/>
                  </a:lnTo>
                  <a:lnTo>
                    <a:pt x="9214" y="13271"/>
                  </a:lnTo>
                  <a:lnTo>
                    <a:pt x="9234" y="13254"/>
                  </a:lnTo>
                  <a:lnTo>
                    <a:pt x="9253" y="13237"/>
                  </a:lnTo>
                  <a:lnTo>
                    <a:pt x="14768" y="7724"/>
                  </a:lnTo>
                  <a:lnTo>
                    <a:pt x="14929" y="7555"/>
                  </a:lnTo>
                  <a:lnTo>
                    <a:pt x="15080" y="7380"/>
                  </a:lnTo>
                  <a:lnTo>
                    <a:pt x="15220" y="7200"/>
                  </a:lnTo>
                  <a:lnTo>
                    <a:pt x="15349" y="7014"/>
                  </a:lnTo>
                  <a:lnTo>
                    <a:pt x="15468" y="6823"/>
                  </a:lnTo>
                  <a:lnTo>
                    <a:pt x="15577" y="6628"/>
                  </a:lnTo>
                  <a:lnTo>
                    <a:pt x="15676" y="6430"/>
                  </a:lnTo>
                  <a:lnTo>
                    <a:pt x="15763" y="6227"/>
                  </a:lnTo>
                  <a:lnTo>
                    <a:pt x="15842" y="6021"/>
                  </a:lnTo>
                  <a:lnTo>
                    <a:pt x="15909" y="5813"/>
                  </a:lnTo>
                  <a:lnTo>
                    <a:pt x="15965" y="5602"/>
                  </a:lnTo>
                  <a:lnTo>
                    <a:pt x="16013" y="5388"/>
                  </a:lnTo>
                  <a:lnTo>
                    <a:pt x="16049" y="5174"/>
                  </a:lnTo>
                  <a:lnTo>
                    <a:pt x="16074" y="4958"/>
                  </a:lnTo>
                  <a:lnTo>
                    <a:pt x="16090" y="4742"/>
                  </a:lnTo>
                  <a:lnTo>
                    <a:pt x="16095" y="4525"/>
                  </a:lnTo>
                  <a:lnTo>
                    <a:pt x="16090" y="4308"/>
                  </a:lnTo>
                  <a:lnTo>
                    <a:pt x="16074" y="4091"/>
                  </a:lnTo>
                  <a:lnTo>
                    <a:pt x="16049" y="3875"/>
                  </a:lnTo>
                  <a:lnTo>
                    <a:pt x="16013" y="3660"/>
                  </a:lnTo>
                  <a:lnTo>
                    <a:pt x="15965" y="3447"/>
                  </a:lnTo>
                  <a:lnTo>
                    <a:pt x="15909" y="3236"/>
                  </a:lnTo>
                  <a:lnTo>
                    <a:pt x="15842" y="3028"/>
                  </a:lnTo>
                  <a:lnTo>
                    <a:pt x="15763" y="2822"/>
                  </a:lnTo>
                  <a:lnTo>
                    <a:pt x="15676" y="2620"/>
                  </a:lnTo>
                  <a:lnTo>
                    <a:pt x="15577" y="2421"/>
                  </a:lnTo>
                  <a:lnTo>
                    <a:pt x="15468" y="2226"/>
                  </a:lnTo>
                  <a:lnTo>
                    <a:pt x="15349" y="2036"/>
                  </a:lnTo>
                  <a:lnTo>
                    <a:pt x="15220" y="1850"/>
                  </a:lnTo>
                  <a:lnTo>
                    <a:pt x="15080" y="1669"/>
                  </a:lnTo>
                  <a:lnTo>
                    <a:pt x="14929" y="1495"/>
                  </a:lnTo>
                  <a:lnTo>
                    <a:pt x="14768" y="13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5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438" name="i$ḷïďè">
              <a:extLst>
                <a:ext uri="{FF2B5EF4-FFF2-40B4-BE49-F238E27FC236}">
                  <a16:creationId xmlns:a16="http://schemas.microsoft.com/office/drawing/2014/main" id="{F5A5E840-A58B-4AAB-9194-AB66D835897F}"/>
                </a:ext>
              </a:extLst>
            </p:cNvPr>
            <p:cNvSpPr/>
            <p:nvPr/>
          </p:nvSpPr>
          <p:spPr bwMode="auto">
            <a:xfrm>
              <a:off x="4813576" y="3009000"/>
              <a:ext cx="402604" cy="401680"/>
            </a:xfrm>
            <a:custGeom>
              <a:avLst/>
              <a:gdLst>
                <a:gd name="T0" fmla="*/ 15050 w 16095"/>
                <a:gd name="T1" fmla="*/ 7221 h 16058"/>
                <a:gd name="T2" fmla="*/ 14924 w 16095"/>
                <a:gd name="T3" fmla="*/ 7397 h 16058"/>
                <a:gd name="T4" fmla="*/ 14736 w 16095"/>
                <a:gd name="T5" fmla="*/ 7505 h 16058"/>
                <a:gd name="T6" fmla="*/ 13077 w 16095"/>
                <a:gd name="T7" fmla="*/ 4015 h 16058"/>
                <a:gd name="T8" fmla="*/ 13328 w 16095"/>
                <a:gd name="T9" fmla="*/ 4081 h 16058"/>
                <a:gd name="T10" fmla="*/ 15001 w 16095"/>
                <a:gd name="T11" fmla="*/ 6239 h 16058"/>
                <a:gd name="T12" fmla="*/ 15074 w 16095"/>
                <a:gd name="T13" fmla="*/ 6403 h 16058"/>
                <a:gd name="T14" fmla="*/ 10562 w 16095"/>
                <a:gd name="T15" fmla="*/ 15054 h 16058"/>
                <a:gd name="T16" fmla="*/ 10523 w 16095"/>
                <a:gd name="T17" fmla="*/ 9841 h 16058"/>
                <a:gd name="T18" fmla="*/ 10397 w 16095"/>
                <a:gd name="T19" fmla="*/ 9665 h 16058"/>
                <a:gd name="T20" fmla="*/ 10209 w 16095"/>
                <a:gd name="T21" fmla="*/ 9557 h 16058"/>
                <a:gd name="T22" fmla="*/ 6236 w 16095"/>
                <a:gd name="T23" fmla="*/ 9537 h 16058"/>
                <a:gd name="T24" fmla="*/ 6027 w 16095"/>
                <a:gd name="T25" fmla="*/ 9607 h 16058"/>
                <a:gd name="T26" fmla="*/ 5870 w 16095"/>
                <a:gd name="T27" fmla="*/ 9755 h 16058"/>
                <a:gd name="T28" fmla="*/ 5790 w 16095"/>
                <a:gd name="T29" fmla="*/ 9960 h 16058"/>
                <a:gd name="T30" fmla="*/ 10059 w 16095"/>
                <a:gd name="T31" fmla="*/ 15054 h 16058"/>
                <a:gd name="T32" fmla="*/ 1010 w 16095"/>
                <a:gd name="T33" fmla="*/ 6462 h 16058"/>
                <a:gd name="T34" fmla="*/ 1063 w 16095"/>
                <a:gd name="T35" fmla="*/ 6291 h 16058"/>
                <a:gd name="T36" fmla="*/ 2696 w 16095"/>
                <a:gd name="T37" fmla="*/ 4131 h 16058"/>
                <a:gd name="T38" fmla="*/ 2930 w 16095"/>
                <a:gd name="T39" fmla="*/ 4023 h 16058"/>
                <a:gd name="T40" fmla="*/ 1432 w 16095"/>
                <a:gd name="T41" fmla="*/ 7521 h 16058"/>
                <a:gd name="T42" fmla="*/ 1227 w 16095"/>
                <a:gd name="T43" fmla="*/ 7442 h 16058"/>
                <a:gd name="T44" fmla="*/ 1078 w 16095"/>
                <a:gd name="T45" fmla="*/ 7285 h 16058"/>
                <a:gd name="T46" fmla="*/ 1009 w 16095"/>
                <a:gd name="T47" fmla="*/ 7077 h 16058"/>
                <a:gd name="T48" fmla="*/ 9439 w 16095"/>
                <a:gd name="T49" fmla="*/ 4015 h 16058"/>
                <a:gd name="T50" fmla="*/ 5127 w 16095"/>
                <a:gd name="T51" fmla="*/ 7527 h 16058"/>
                <a:gd name="T52" fmla="*/ 13077 w 16095"/>
                <a:gd name="T53" fmla="*/ 1004 h 16058"/>
                <a:gd name="T54" fmla="*/ 14110 w 16095"/>
                <a:gd name="T55" fmla="*/ 3426 h 16058"/>
                <a:gd name="T56" fmla="*/ 14022 w 16095"/>
                <a:gd name="T57" fmla="*/ 658 h 16058"/>
                <a:gd name="T58" fmla="*/ 13788 w 16095"/>
                <a:gd name="T59" fmla="*/ 294 h 16058"/>
                <a:gd name="T60" fmla="*/ 13423 w 16095"/>
                <a:gd name="T61" fmla="*/ 61 h 16058"/>
                <a:gd name="T62" fmla="*/ 2967 w 16095"/>
                <a:gd name="T63" fmla="*/ 1 h 16058"/>
                <a:gd name="T64" fmla="*/ 2538 w 16095"/>
                <a:gd name="T65" fmla="*/ 121 h 16058"/>
                <a:gd name="T66" fmla="*/ 2212 w 16095"/>
                <a:gd name="T67" fmla="*/ 403 h 16058"/>
                <a:gd name="T68" fmla="*/ 2032 w 16095"/>
                <a:gd name="T69" fmla="*/ 802 h 16058"/>
                <a:gd name="T70" fmla="*/ 1906 w 16095"/>
                <a:gd name="T71" fmla="*/ 3503 h 16058"/>
                <a:gd name="T72" fmla="*/ 233 w 16095"/>
                <a:gd name="T73" fmla="*/ 5720 h 16058"/>
                <a:gd name="T74" fmla="*/ 110 w 16095"/>
                <a:gd name="T75" fmla="*/ 5962 h 16058"/>
                <a:gd name="T76" fmla="*/ 31 w 16095"/>
                <a:gd name="T77" fmla="*/ 6222 h 16058"/>
                <a:gd name="T78" fmla="*/ 0 w 16095"/>
                <a:gd name="T79" fmla="*/ 6493 h 16058"/>
                <a:gd name="T80" fmla="*/ 92 w 16095"/>
                <a:gd name="T81" fmla="*/ 7542 h 16058"/>
                <a:gd name="T82" fmla="*/ 443 w 16095"/>
                <a:gd name="T83" fmla="*/ 8089 h 16058"/>
                <a:gd name="T84" fmla="*/ 991 w 16095"/>
                <a:gd name="T85" fmla="*/ 8439 h 16058"/>
                <a:gd name="T86" fmla="*/ 1510 w 16095"/>
                <a:gd name="T87" fmla="*/ 15106 h 16058"/>
                <a:gd name="T88" fmla="*/ 1631 w 16095"/>
                <a:gd name="T89" fmla="*/ 15533 h 16058"/>
                <a:gd name="T90" fmla="*/ 1913 w 16095"/>
                <a:gd name="T91" fmla="*/ 15858 h 16058"/>
                <a:gd name="T92" fmla="*/ 2312 w 16095"/>
                <a:gd name="T93" fmla="*/ 16038 h 16058"/>
                <a:gd name="T94" fmla="*/ 13782 w 16095"/>
                <a:gd name="T95" fmla="*/ 16038 h 16058"/>
                <a:gd name="T96" fmla="*/ 14182 w 16095"/>
                <a:gd name="T97" fmla="*/ 15858 h 16058"/>
                <a:gd name="T98" fmla="*/ 14464 w 16095"/>
                <a:gd name="T99" fmla="*/ 15533 h 16058"/>
                <a:gd name="T100" fmla="*/ 14585 w 16095"/>
                <a:gd name="T101" fmla="*/ 15106 h 16058"/>
                <a:gd name="T102" fmla="*/ 15104 w 16095"/>
                <a:gd name="T103" fmla="*/ 8439 h 16058"/>
                <a:gd name="T104" fmla="*/ 15652 w 16095"/>
                <a:gd name="T105" fmla="*/ 8089 h 16058"/>
                <a:gd name="T106" fmla="*/ 16003 w 16095"/>
                <a:gd name="T107" fmla="*/ 7542 h 16058"/>
                <a:gd name="T108" fmla="*/ 16095 w 16095"/>
                <a:gd name="T109" fmla="*/ 6493 h 16058"/>
                <a:gd name="T110" fmla="*/ 16064 w 16095"/>
                <a:gd name="T111" fmla="*/ 6222 h 16058"/>
                <a:gd name="T112" fmla="*/ 15985 w 16095"/>
                <a:gd name="T113" fmla="*/ 5963 h 16058"/>
                <a:gd name="T114" fmla="*/ 15862 w 16095"/>
                <a:gd name="T115" fmla="*/ 5720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095" h="16058">
                  <a:moveTo>
                    <a:pt x="15089" y="7025"/>
                  </a:moveTo>
                  <a:lnTo>
                    <a:pt x="15088" y="7051"/>
                  </a:lnTo>
                  <a:lnTo>
                    <a:pt x="15086" y="7077"/>
                  </a:lnTo>
                  <a:lnTo>
                    <a:pt x="15083" y="7102"/>
                  </a:lnTo>
                  <a:lnTo>
                    <a:pt x="15079" y="7127"/>
                  </a:lnTo>
                  <a:lnTo>
                    <a:pt x="15073" y="7151"/>
                  </a:lnTo>
                  <a:lnTo>
                    <a:pt x="15066" y="7175"/>
                  </a:lnTo>
                  <a:lnTo>
                    <a:pt x="15059" y="7198"/>
                  </a:lnTo>
                  <a:lnTo>
                    <a:pt x="15050" y="7221"/>
                  </a:lnTo>
                  <a:lnTo>
                    <a:pt x="15040" y="7243"/>
                  </a:lnTo>
                  <a:lnTo>
                    <a:pt x="15029" y="7264"/>
                  </a:lnTo>
                  <a:lnTo>
                    <a:pt x="15017" y="7285"/>
                  </a:lnTo>
                  <a:lnTo>
                    <a:pt x="15004" y="7306"/>
                  </a:lnTo>
                  <a:lnTo>
                    <a:pt x="14989" y="7325"/>
                  </a:lnTo>
                  <a:lnTo>
                    <a:pt x="14974" y="7345"/>
                  </a:lnTo>
                  <a:lnTo>
                    <a:pt x="14958" y="7363"/>
                  </a:lnTo>
                  <a:lnTo>
                    <a:pt x="14942" y="7381"/>
                  </a:lnTo>
                  <a:lnTo>
                    <a:pt x="14924" y="7397"/>
                  </a:lnTo>
                  <a:lnTo>
                    <a:pt x="14906" y="7413"/>
                  </a:lnTo>
                  <a:lnTo>
                    <a:pt x="14887" y="7428"/>
                  </a:lnTo>
                  <a:lnTo>
                    <a:pt x="14867" y="7442"/>
                  </a:lnTo>
                  <a:lnTo>
                    <a:pt x="14847" y="7455"/>
                  </a:lnTo>
                  <a:lnTo>
                    <a:pt x="14826" y="7467"/>
                  </a:lnTo>
                  <a:lnTo>
                    <a:pt x="14804" y="7478"/>
                  </a:lnTo>
                  <a:lnTo>
                    <a:pt x="14782" y="7488"/>
                  </a:lnTo>
                  <a:lnTo>
                    <a:pt x="14759" y="7497"/>
                  </a:lnTo>
                  <a:lnTo>
                    <a:pt x="14736" y="7505"/>
                  </a:lnTo>
                  <a:lnTo>
                    <a:pt x="14712" y="7511"/>
                  </a:lnTo>
                  <a:lnTo>
                    <a:pt x="14688" y="7517"/>
                  </a:lnTo>
                  <a:lnTo>
                    <a:pt x="14663" y="7521"/>
                  </a:lnTo>
                  <a:lnTo>
                    <a:pt x="14637" y="7524"/>
                  </a:lnTo>
                  <a:lnTo>
                    <a:pt x="14612" y="7526"/>
                  </a:lnTo>
                  <a:lnTo>
                    <a:pt x="14586" y="7527"/>
                  </a:lnTo>
                  <a:lnTo>
                    <a:pt x="13654" y="7527"/>
                  </a:lnTo>
                  <a:lnTo>
                    <a:pt x="11642" y="4015"/>
                  </a:lnTo>
                  <a:lnTo>
                    <a:pt x="13077" y="4015"/>
                  </a:lnTo>
                  <a:lnTo>
                    <a:pt x="13106" y="4016"/>
                  </a:lnTo>
                  <a:lnTo>
                    <a:pt x="13137" y="4018"/>
                  </a:lnTo>
                  <a:lnTo>
                    <a:pt x="13165" y="4023"/>
                  </a:lnTo>
                  <a:lnTo>
                    <a:pt x="13194" y="4029"/>
                  </a:lnTo>
                  <a:lnTo>
                    <a:pt x="13222" y="4036"/>
                  </a:lnTo>
                  <a:lnTo>
                    <a:pt x="13249" y="4045"/>
                  </a:lnTo>
                  <a:lnTo>
                    <a:pt x="13276" y="4056"/>
                  </a:lnTo>
                  <a:lnTo>
                    <a:pt x="13303" y="4068"/>
                  </a:lnTo>
                  <a:lnTo>
                    <a:pt x="13328" y="4081"/>
                  </a:lnTo>
                  <a:lnTo>
                    <a:pt x="13352" y="4096"/>
                  </a:lnTo>
                  <a:lnTo>
                    <a:pt x="13376" y="4113"/>
                  </a:lnTo>
                  <a:lnTo>
                    <a:pt x="13399" y="4131"/>
                  </a:lnTo>
                  <a:lnTo>
                    <a:pt x="13420" y="4150"/>
                  </a:lnTo>
                  <a:lnTo>
                    <a:pt x="13441" y="4170"/>
                  </a:lnTo>
                  <a:lnTo>
                    <a:pt x="13461" y="4192"/>
                  </a:lnTo>
                  <a:lnTo>
                    <a:pt x="13480" y="4215"/>
                  </a:lnTo>
                  <a:lnTo>
                    <a:pt x="14988" y="6222"/>
                  </a:lnTo>
                  <a:lnTo>
                    <a:pt x="15001" y="6239"/>
                  </a:lnTo>
                  <a:lnTo>
                    <a:pt x="15012" y="6256"/>
                  </a:lnTo>
                  <a:lnTo>
                    <a:pt x="15022" y="6274"/>
                  </a:lnTo>
                  <a:lnTo>
                    <a:pt x="15032" y="6291"/>
                  </a:lnTo>
                  <a:lnTo>
                    <a:pt x="15041" y="6309"/>
                  </a:lnTo>
                  <a:lnTo>
                    <a:pt x="15049" y="6327"/>
                  </a:lnTo>
                  <a:lnTo>
                    <a:pt x="15057" y="6346"/>
                  </a:lnTo>
                  <a:lnTo>
                    <a:pt x="15063" y="6365"/>
                  </a:lnTo>
                  <a:lnTo>
                    <a:pt x="15069" y="6384"/>
                  </a:lnTo>
                  <a:lnTo>
                    <a:pt x="15074" y="6403"/>
                  </a:lnTo>
                  <a:lnTo>
                    <a:pt x="15079" y="6423"/>
                  </a:lnTo>
                  <a:lnTo>
                    <a:pt x="15082" y="6443"/>
                  </a:lnTo>
                  <a:lnTo>
                    <a:pt x="15085" y="6462"/>
                  </a:lnTo>
                  <a:lnTo>
                    <a:pt x="15087" y="6483"/>
                  </a:lnTo>
                  <a:lnTo>
                    <a:pt x="15089" y="6503"/>
                  </a:lnTo>
                  <a:lnTo>
                    <a:pt x="15089" y="6524"/>
                  </a:lnTo>
                  <a:lnTo>
                    <a:pt x="15089" y="7025"/>
                  </a:lnTo>
                  <a:close/>
                  <a:moveTo>
                    <a:pt x="13580" y="15054"/>
                  </a:moveTo>
                  <a:lnTo>
                    <a:pt x="10562" y="15054"/>
                  </a:lnTo>
                  <a:lnTo>
                    <a:pt x="10562" y="10036"/>
                  </a:lnTo>
                  <a:lnTo>
                    <a:pt x="10561" y="10010"/>
                  </a:lnTo>
                  <a:lnTo>
                    <a:pt x="10559" y="9985"/>
                  </a:lnTo>
                  <a:lnTo>
                    <a:pt x="10556" y="9960"/>
                  </a:lnTo>
                  <a:lnTo>
                    <a:pt x="10552" y="9935"/>
                  </a:lnTo>
                  <a:lnTo>
                    <a:pt x="10546" y="9911"/>
                  </a:lnTo>
                  <a:lnTo>
                    <a:pt x="10539" y="9887"/>
                  </a:lnTo>
                  <a:lnTo>
                    <a:pt x="10532" y="9864"/>
                  </a:lnTo>
                  <a:lnTo>
                    <a:pt x="10523" y="9841"/>
                  </a:lnTo>
                  <a:lnTo>
                    <a:pt x="10513" y="9818"/>
                  </a:lnTo>
                  <a:lnTo>
                    <a:pt x="10502" y="9797"/>
                  </a:lnTo>
                  <a:lnTo>
                    <a:pt x="10490" y="9776"/>
                  </a:lnTo>
                  <a:lnTo>
                    <a:pt x="10477" y="9755"/>
                  </a:lnTo>
                  <a:lnTo>
                    <a:pt x="10463" y="9736"/>
                  </a:lnTo>
                  <a:lnTo>
                    <a:pt x="10448" y="9717"/>
                  </a:lnTo>
                  <a:lnTo>
                    <a:pt x="10432" y="9699"/>
                  </a:lnTo>
                  <a:lnTo>
                    <a:pt x="10415" y="9681"/>
                  </a:lnTo>
                  <a:lnTo>
                    <a:pt x="10397" y="9665"/>
                  </a:lnTo>
                  <a:lnTo>
                    <a:pt x="10379" y="9649"/>
                  </a:lnTo>
                  <a:lnTo>
                    <a:pt x="10360" y="9634"/>
                  </a:lnTo>
                  <a:lnTo>
                    <a:pt x="10340" y="9620"/>
                  </a:lnTo>
                  <a:lnTo>
                    <a:pt x="10320" y="9607"/>
                  </a:lnTo>
                  <a:lnTo>
                    <a:pt x="10299" y="9595"/>
                  </a:lnTo>
                  <a:lnTo>
                    <a:pt x="10278" y="9584"/>
                  </a:lnTo>
                  <a:lnTo>
                    <a:pt x="10256" y="9574"/>
                  </a:lnTo>
                  <a:lnTo>
                    <a:pt x="10232" y="9565"/>
                  </a:lnTo>
                  <a:lnTo>
                    <a:pt x="10209" y="9557"/>
                  </a:lnTo>
                  <a:lnTo>
                    <a:pt x="10185" y="9550"/>
                  </a:lnTo>
                  <a:lnTo>
                    <a:pt x="10161" y="9544"/>
                  </a:lnTo>
                  <a:lnTo>
                    <a:pt x="10136" y="9540"/>
                  </a:lnTo>
                  <a:lnTo>
                    <a:pt x="10111" y="9537"/>
                  </a:lnTo>
                  <a:lnTo>
                    <a:pt x="10086" y="9535"/>
                  </a:lnTo>
                  <a:lnTo>
                    <a:pt x="10059" y="9534"/>
                  </a:lnTo>
                  <a:lnTo>
                    <a:pt x="6287" y="9534"/>
                  </a:lnTo>
                  <a:lnTo>
                    <a:pt x="6261" y="9535"/>
                  </a:lnTo>
                  <a:lnTo>
                    <a:pt x="6236" y="9537"/>
                  </a:lnTo>
                  <a:lnTo>
                    <a:pt x="6211" y="9540"/>
                  </a:lnTo>
                  <a:lnTo>
                    <a:pt x="6186" y="9544"/>
                  </a:lnTo>
                  <a:lnTo>
                    <a:pt x="6161" y="9550"/>
                  </a:lnTo>
                  <a:lnTo>
                    <a:pt x="6137" y="9557"/>
                  </a:lnTo>
                  <a:lnTo>
                    <a:pt x="6114" y="9565"/>
                  </a:lnTo>
                  <a:lnTo>
                    <a:pt x="6091" y="9574"/>
                  </a:lnTo>
                  <a:lnTo>
                    <a:pt x="6069" y="9584"/>
                  </a:lnTo>
                  <a:lnTo>
                    <a:pt x="6048" y="9595"/>
                  </a:lnTo>
                  <a:lnTo>
                    <a:pt x="6027" y="9607"/>
                  </a:lnTo>
                  <a:lnTo>
                    <a:pt x="6005" y="9620"/>
                  </a:lnTo>
                  <a:lnTo>
                    <a:pt x="5986" y="9634"/>
                  </a:lnTo>
                  <a:lnTo>
                    <a:pt x="5967" y="9649"/>
                  </a:lnTo>
                  <a:lnTo>
                    <a:pt x="5949" y="9665"/>
                  </a:lnTo>
                  <a:lnTo>
                    <a:pt x="5931" y="9681"/>
                  </a:lnTo>
                  <a:lnTo>
                    <a:pt x="5915" y="9699"/>
                  </a:lnTo>
                  <a:lnTo>
                    <a:pt x="5899" y="9717"/>
                  </a:lnTo>
                  <a:lnTo>
                    <a:pt x="5884" y="9736"/>
                  </a:lnTo>
                  <a:lnTo>
                    <a:pt x="5870" y="9755"/>
                  </a:lnTo>
                  <a:lnTo>
                    <a:pt x="5857" y="9776"/>
                  </a:lnTo>
                  <a:lnTo>
                    <a:pt x="5844" y="9797"/>
                  </a:lnTo>
                  <a:lnTo>
                    <a:pt x="5833" y="9818"/>
                  </a:lnTo>
                  <a:lnTo>
                    <a:pt x="5823" y="9841"/>
                  </a:lnTo>
                  <a:lnTo>
                    <a:pt x="5814" y="9864"/>
                  </a:lnTo>
                  <a:lnTo>
                    <a:pt x="5806" y="9887"/>
                  </a:lnTo>
                  <a:lnTo>
                    <a:pt x="5800" y="9911"/>
                  </a:lnTo>
                  <a:lnTo>
                    <a:pt x="5794" y="9935"/>
                  </a:lnTo>
                  <a:lnTo>
                    <a:pt x="5790" y="9960"/>
                  </a:lnTo>
                  <a:lnTo>
                    <a:pt x="5787" y="9985"/>
                  </a:lnTo>
                  <a:lnTo>
                    <a:pt x="5785" y="10010"/>
                  </a:lnTo>
                  <a:lnTo>
                    <a:pt x="5784" y="10036"/>
                  </a:lnTo>
                  <a:lnTo>
                    <a:pt x="5784" y="15054"/>
                  </a:lnTo>
                  <a:lnTo>
                    <a:pt x="2515" y="15054"/>
                  </a:lnTo>
                  <a:lnTo>
                    <a:pt x="2515" y="8531"/>
                  </a:lnTo>
                  <a:lnTo>
                    <a:pt x="13580" y="8531"/>
                  </a:lnTo>
                  <a:lnTo>
                    <a:pt x="13580" y="15054"/>
                  </a:lnTo>
                  <a:close/>
                  <a:moveTo>
                    <a:pt x="10059" y="15054"/>
                  </a:moveTo>
                  <a:lnTo>
                    <a:pt x="6287" y="15054"/>
                  </a:lnTo>
                  <a:lnTo>
                    <a:pt x="6287" y="10036"/>
                  </a:lnTo>
                  <a:lnTo>
                    <a:pt x="10059" y="10036"/>
                  </a:lnTo>
                  <a:lnTo>
                    <a:pt x="10059" y="15054"/>
                  </a:lnTo>
                  <a:close/>
                  <a:moveTo>
                    <a:pt x="1006" y="7025"/>
                  </a:moveTo>
                  <a:lnTo>
                    <a:pt x="1006" y="6524"/>
                  </a:lnTo>
                  <a:lnTo>
                    <a:pt x="1006" y="6503"/>
                  </a:lnTo>
                  <a:lnTo>
                    <a:pt x="1008" y="6483"/>
                  </a:lnTo>
                  <a:lnTo>
                    <a:pt x="1010" y="6462"/>
                  </a:lnTo>
                  <a:lnTo>
                    <a:pt x="1012" y="6443"/>
                  </a:lnTo>
                  <a:lnTo>
                    <a:pt x="1016" y="6423"/>
                  </a:lnTo>
                  <a:lnTo>
                    <a:pt x="1020" y="6403"/>
                  </a:lnTo>
                  <a:lnTo>
                    <a:pt x="1026" y="6384"/>
                  </a:lnTo>
                  <a:lnTo>
                    <a:pt x="1032" y="6365"/>
                  </a:lnTo>
                  <a:lnTo>
                    <a:pt x="1038" y="6346"/>
                  </a:lnTo>
                  <a:lnTo>
                    <a:pt x="1046" y="6327"/>
                  </a:lnTo>
                  <a:lnTo>
                    <a:pt x="1054" y="6309"/>
                  </a:lnTo>
                  <a:lnTo>
                    <a:pt x="1063" y="6291"/>
                  </a:lnTo>
                  <a:lnTo>
                    <a:pt x="1073" y="6274"/>
                  </a:lnTo>
                  <a:lnTo>
                    <a:pt x="1083" y="6256"/>
                  </a:lnTo>
                  <a:lnTo>
                    <a:pt x="1094" y="6239"/>
                  </a:lnTo>
                  <a:lnTo>
                    <a:pt x="1107" y="6222"/>
                  </a:lnTo>
                  <a:lnTo>
                    <a:pt x="2615" y="4215"/>
                  </a:lnTo>
                  <a:lnTo>
                    <a:pt x="2634" y="4192"/>
                  </a:lnTo>
                  <a:lnTo>
                    <a:pt x="2654" y="4170"/>
                  </a:lnTo>
                  <a:lnTo>
                    <a:pt x="2674" y="4150"/>
                  </a:lnTo>
                  <a:lnTo>
                    <a:pt x="2696" y="4131"/>
                  </a:lnTo>
                  <a:lnTo>
                    <a:pt x="2719" y="4113"/>
                  </a:lnTo>
                  <a:lnTo>
                    <a:pt x="2743" y="4096"/>
                  </a:lnTo>
                  <a:lnTo>
                    <a:pt x="2767" y="4081"/>
                  </a:lnTo>
                  <a:lnTo>
                    <a:pt x="2792" y="4068"/>
                  </a:lnTo>
                  <a:lnTo>
                    <a:pt x="2819" y="4056"/>
                  </a:lnTo>
                  <a:lnTo>
                    <a:pt x="2846" y="4045"/>
                  </a:lnTo>
                  <a:lnTo>
                    <a:pt x="2873" y="4036"/>
                  </a:lnTo>
                  <a:lnTo>
                    <a:pt x="2901" y="4029"/>
                  </a:lnTo>
                  <a:lnTo>
                    <a:pt x="2930" y="4023"/>
                  </a:lnTo>
                  <a:lnTo>
                    <a:pt x="2958" y="4018"/>
                  </a:lnTo>
                  <a:lnTo>
                    <a:pt x="2989" y="4016"/>
                  </a:lnTo>
                  <a:lnTo>
                    <a:pt x="3018" y="4015"/>
                  </a:lnTo>
                  <a:lnTo>
                    <a:pt x="4452" y="4015"/>
                  </a:lnTo>
                  <a:lnTo>
                    <a:pt x="2440" y="7527"/>
                  </a:lnTo>
                  <a:lnTo>
                    <a:pt x="1509" y="7527"/>
                  </a:lnTo>
                  <a:lnTo>
                    <a:pt x="1483" y="7526"/>
                  </a:lnTo>
                  <a:lnTo>
                    <a:pt x="1458" y="7524"/>
                  </a:lnTo>
                  <a:lnTo>
                    <a:pt x="1432" y="7521"/>
                  </a:lnTo>
                  <a:lnTo>
                    <a:pt x="1407" y="7517"/>
                  </a:lnTo>
                  <a:lnTo>
                    <a:pt x="1383" y="7511"/>
                  </a:lnTo>
                  <a:lnTo>
                    <a:pt x="1359" y="7505"/>
                  </a:lnTo>
                  <a:lnTo>
                    <a:pt x="1336" y="7497"/>
                  </a:lnTo>
                  <a:lnTo>
                    <a:pt x="1313" y="7488"/>
                  </a:lnTo>
                  <a:lnTo>
                    <a:pt x="1291" y="7478"/>
                  </a:lnTo>
                  <a:lnTo>
                    <a:pt x="1269" y="7467"/>
                  </a:lnTo>
                  <a:lnTo>
                    <a:pt x="1248" y="7455"/>
                  </a:lnTo>
                  <a:lnTo>
                    <a:pt x="1227" y="7442"/>
                  </a:lnTo>
                  <a:lnTo>
                    <a:pt x="1208" y="7428"/>
                  </a:lnTo>
                  <a:lnTo>
                    <a:pt x="1189" y="7413"/>
                  </a:lnTo>
                  <a:lnTo>
                    <a:pt x="1171" y="7397"/>
                  </a:lnTo>
                  <a:lnTo>
                    <a:pt x="1153" y="7381"/>
                  </a:lnTo>
                  <a:lnTo>
                    <a:pt x="1137" y="7363"/>
                  </a:lnTo>
                  <a:lnTo>
                    <a:pt x="1121" y="7345"/>
                  </a:lnTo>
                  <a:lnTo>
                    <a:pt x="1106" y="7325"/>
                  </a:lnTo>
                  <a:lnTo>
                    <a:pt x="1091" y="7306"/>
                  </a:lnTo>
                  <a:lnTo>
                    <a:pt x="1078" y="7285"/>
                  </a:lnTo>
                  <a:lnTo>
                    <a:pt x="1066" y="7264"/>
                  </a:lnTo>
                  <a:lnTo>
                    <a:pt x="1055" y="7243"/>
                  </a:lnTo>
                  <a:lnTo>
                    <a:pt x="1045" y="7221"/>
                  </a:lnTo>
                  <a:lnTo>
                    <a:pt x="1036" y="7198"/>
                  </a:lnTo>
                  <a:lnTo>
                    <a:pt x="1028" y="7175"/>
                  </a:lnTo>
                  <a:lnTo>
                    <a:pt x="1022" y="7151"/>
                  </a:lnTo>
                  <a:lnTo>
                    <a:pt x="1016" y="7127"/>
                  </a:lnTo>
                  <a:lnTo>
                    <a:pt x="1012" y="7102"/>
                  </a:lnTo>
                  <a:lnTo>
                    <a:pt x="1009" y="7077"/>
                  </a:lnTo>
                  <a:lnTo>
                    <a:pt x="1007" y="7051"/>
                  </a:lnTo>
                  <a:lnTo>
                    <a:pt x="1006" y="7025"/>
                  </a:lnTo>
                  <a:close/>
                  <a:moveTo>
                    <a:pt x="9962" y="4015"/>
                  </a:moveTo>
                  <a:lnTo>
                    <a:pt x="11062" y="4015"/>
                  </a:lnTo>
                  <a:lnTo>
                    <a:pt x="13074" y="7527"/>
                  </a:lnTo>
                  <a:lnTo>
                    <a:pt x="10968" y="7527"/>
                  </a:lnTo>
                  <a:lnTo>
                    <a:pt x="9962" y="4015"/>
                  </a:lnTo>
                  <a:close/>
                  <a:moveTo>
                    <a:pt x="8299" y="4015"/>
                  </a:moveTo>
                  <a:lnTo>
                    <a:pt x="9439" y="4015"/>
                  </a:lnTo>
                  <a:lnTo>
                    <a:pt x="10444" y="7527"/>
                  </a:lnTo>
                  <a:lnTo>
                    <a:pt x="8299" y="7527"/>
                  </a:lnTo>
                  <a:lnTo>
                    <a:pt x="8299" y="4015"/>
                  </a:lnTo>
                  <a:close/>
                  <a:moveTo>
                    <a:pt x="6656" y="4015"/>
                  </a:moveTo>
                  <a:lnTo>
                    <a:pt x="7796" y="4015"/>
                  </a:lnTo>
                  <a:lnTo>
                    <a:pt x="7796" y="7527"/>
                  </a:lnTo>
                  <a:lnTo>
                    <a:pt x="5650" y="7527"/>
                  </a:lnTo>
                  <a:lnTo>
                    <a:pt x="6656" y="4015"/>
                  </a:lnTo>
                  <a:close/>
                  <a:moveTo>
                    <a:pt x="5127" y="7527"/>
                  </a:moveTo>
                  <a:lnTo>
                    <a:pt x="3020" y="7527"/>
                  </a:lnTo>
                  <a:lnTo>
                    <a:pt x="5032" y="4015"/>
                  </a:lnTo>
                  <a:lnTo>
                    <a:pt x="6132" y="4015"/>
                  </a:lnTo>
                  <a:lnTo>
                    <a:pt x="5127" y="7527"/>
                  </a:lnTo>
                  <a:close/>
                  <a:moveTo>
                    <a:pt x="13077" y="1004"/>
                  </a:moveTo>
                  <a:lnTo>
                    <a:pt x="13077" y="3011"/>
                  </a:lnTo>
                  <a:lnTo>
                    <a:pt x="3018" y="3011"/>
                  </a:lnTo>
                  <a:lnTo>
                    <a:pt x="3018" y="1004"/>
                  </a:lnTo>
                  <a:lnTo>
                    <a:pt x="13077" y="1004"/>
                  </a:lnTo>
                  <a:close/>
                  <a:moveTo>
                    <a:pt x="15793" y="5620"/>
                  </a:moveTo>
                  <a:lnTo>
                    <a:pt x="14284" y="3614"/>
                  </a:lnTo>
                  <a:lnTo>
                    <a:pt x="14262" y="3585"/>
                  </a:lnTo>
                  <a:lnTo>
                    <a:pt x="14239" y="3557"/>
                  </a:lnTo>
                  <a:lnTo>
                    <a:pt x="14214" y="3530"/>
                  </a:lnTo>
                  <a:lnTo>
                    <a:pt x="14189" y="3503"/>
                  </a:lnTo>
                  <a:lnTo>
                    <a:pt x="14164" y="3477"/>
                  </a:lnTo>
                  <a:lnTo>
                    <a:pt x="14137" y="3451"/>
                  </a:lnTo>
                  <a:lnTo>
                    <a:pt x="14110" y="3426"/>
                  </a:lnTo>
                  <a:lnTo>
                    <a:pt x="14083" y="3401"/>
                  </a:lnTo>
                  <a:lnTo>
                    <a:pt x="14083" y="1004"/>
                  </a:lnTo>
                  <a:lnTo>
                    <a:pt x="14082" y="952"/>
                  </a:lnTo>
                  <a:lnTo>
                    <a:pt x="14078" y="901"/>
                  </a:lnTo>
                  <a:lnTo>
                    <a:pt x="14072" y="851"/>
                  </a:lnTo>
                  <a:lnTo>
                    <a:pt x="14063" y="802"/>
                  </a:lnTo>
                  <a:lnTo>
                    <a:pt x="14052" y="753"/>
                  </a:lnTo>
                  <a:lnTo>
                    <a:pt x="14038" y="706"/>
                  </a:lnTo>
                  <a:lnTo>
                    <a:pt x="14022" y="658"/>
                  </a:lnTo>
                  <a:lnTo>
                    <a:pt x="14004" y="613"/>
                  </a:lnTo>
                  <a:lnTo>
                    <a:pt x="13984" y="569"/>
                  </a:lnTo>
                  <a:lnTo>
                    <a:pt x="13961" y="526"/>
                  </a:lnTo>
                  <a:lnTo>
                    <a:pt x="13937" y="484"/>
                  </a:lnTo>
                  <a:lnTo>
                    <a:pt x="13911" y="443"/>
                  </a:lnTo>
                  <a:lnTo>
                    <a:pt x="13883" y="403"/>
                  </a:lnTo>
                  <a:lnTo>
                    <a:pt x="13854" y="365"/>
                  </a:lnTo>
                  <a:lnTo>
                    <a:pt x="13822" y="329"/>
                  </a:lnTo>
                  <a:lnTo>
                    <a:pt x="13788" y="294"/>
                  </a:lnTo>
                  <a:lnTo>
                    <a:pt x="13753" y="261"/>
                  </a:lnTo>
                  <a:lnTo>
                    <a:pt x="13717" y="229"/>
                  </a:lnTo>
                  <a:lnTo>
                    <a:pt x="13679" y="200"/>
                  </a:lnTo>
                  <a:lnTo>
                    <a:pt x="13640" y="172"/>
                  </a:lnTo>
                  <a:lnTo>
                    <a:pt x="13598" y="146"/>
                  </a:lnTo>
                  <a:lnTo>
                    <a:pt x="13557" y="121"/>
                  </a:lnTo>
                  <a:lnTo>
                    <a:pt x="13513" y="99"/>
                  </a:lnTo>
                  <a:lnTo>
                    <a:pt x="13468" y="79"/>
                  </a:lnTo>
                  <a:lnTo>
                    <a:pt x="13423" y="61"/>
                  </a:lnTo>
                  <a:lnTo>
                    <a:pt x="13376" y="45"/>
                  </a:lnTo>
                  <a:lnTo>
                    <a:pt x="13329" y="32"/>
                  </a:lnTo>
                  <a:lnTo>
                    <a:pt x="13279" y="20"/>
                  </a:lnTo>
                  <a:lnTo>
                    <a:pt x="13230" y="12"/>
                  </a:lnTo>
                  <a:lnTo>
                    <a:pt x="13180" y="5"/>
                  </a:lnTo>
                  <a:lnTo>
                    <a:pt x="13128" y="1"/>
                  </a:lnTo>
                  <a:lnTo>
                    <a:pt x="13077" y="0"/>
                  </a:lnTo>
                  <a:lnTo>
                    <a:pt x="3018" y="0"/>
                  </a:lnTo>
                  <a:lnTo>
                    <a:pt x="2967" y="1"/>
                  </a:lnTo>
                  <a:lnTo>
                    <a:pt x="2915" y="5"/>
                  </a:lnTo>
                  <a:lnTo>
                    <a:pt x="2865" y="12"/>
                  </a:lnTo>
                  <a:lnTo>
                    <a:pt x="2815" y="20"/>
                  </a:lnTo>
                  <a:lnTo>
                    <a:pt x="2766" y="32"/>
                  </a:lnTo>
                  <a:lnTo>
                    <a:pt x="2718" y="45"/>
                  </a:lnTo>
                  <a:lnTo>
                    <a:pt x="2672" y="61"/>
                  </a:lnTo>
                  <a:lnTo>
                    <a:pt x="2627" y="79"/>
                  </a:lnTo>
                  <a:lnTo>
                    <a:pt x="2581" y="99"/>
                  </a:lnTo>
                  <a:lnTo>
                    <a:pt x="2538" y="121"/>
                  </a:lnTo>
                  <a:lnTo>
                    <a:pt x="2496" y="146"/>
                  </a:lnTo>
                  <a:lnTo>
                    <a:pt x="2455" y="172"/>
                  </a:lnTo>
                  <a:lnTo>
                    <a:pt x="2416" y="200"/>
                  </a:lnTo>
                  <a:lnTo>
                    <a:pt x="2378" y="229"/>
                  </a:lnTo>
                  <a:lnTo>
                    <a:pt x="2341" y="261"/>
                  </a:lnTo>
                  <a:lnTo>
                    <a:pt x="2307" y="294"/>
                  </a:lnTo>
                  <a:lnTo>
                    <a:pt x="2273" y="329"/>
                  </a:lnTo>
                  <a:lnTo>
                    <a:pt x="2241" y="365"/>
                  </a:lnTo>
                  <a:lnTo>
                    <a:pt x="2212" y="403"/>
                  </a:lnTo>
                  <a:lnTo>
                    <a:pt x="2184" y="443"/>
                  </a:lnTo>
                  <a:lnTo>
                    <a:pt x="2158" y="484"/>
                  </a:lnTo>
                  <a:lnTo>
                    <a:pt x="2134" y="526"/>
                  </a:lnTo>
                  <a:lnTo>
                    <a:pt x="2111" y="569"/>
                  </a:lnTo>
                  <a:lnTo>
                    <a:pt x="2091" y="613"/>
                  </a:lnTo>
                  <a:lnTo>
                    <a:pt x="2073" y="658"/>
                  </a:lnTo>
                  <a:lnTo>
                    <a:pt x="2057" y="706"/>
                  </a:lnTo>
                  <a:lnTo>
                    <a:pt x="2043" y="753"/>
                  </a:lnTo>
                  <a:lnTo>
                    <a:pt x="2032" y="802"/>
                  </a:lnTo>
                  <a:lnTo>
                    <a:pt x="2023" y="851"/>
                  </a:lnTo>
                  <a:lnTo>
                    <a:pt x="2017" y="901"/>
                  </a:lnTo>
                  <a:lnTo>
                    <a:pt x="2013" y="952"/>
                  </a:lnTo>
                  <a:lnTo>
                    <a:pt x="2012" y="1004"/>
                  </a:lnTo>
                  <a:lnTo>
                    <a:pt x="2012" y="3402"/>
                  </a:lnTo>
                  <a:lnTo>
                    <a:pt x="1985" y="3426"/>
                  </a:lnTo>
                  <a:lnTo>
                    <a:pt x="1959" y="3451"/>
                  </a:lnTo>
                  <a:lnTo>
                    <a:pt x="1931" y="3477"/>
                  </a:lnTo>
                  <a:lnTo>
                    <a:pt x="1906" y="3503"/>
                  </a:lnTo>
                  <a:lnTo>
                    <a:pt x="1881" y="3529"/>
                  </a:lnTo>
                  <a:lnTo>
                    <a:pt x="1857" y="3556"/>
                  </a:lnTo>
                  <a:lnTo>
                    <a:pt x="1833" y="3584"/>
                  </a:lnTo>
                  <a:lnTo>
                    <a:pt x="1811" y="3613"/>
                  </a:lnTo>
                  <a:lnTo>
                    <a:pt x="303" y="5619"/>
                  </a:lnTo>
                  <a:lnTo>
                    <a:pt x="285" y="5644"/>
                  </a:lnTo>
                  <a:lnTo>
                    <a:pt x="268" y="5669"/>
                  </a:lnTo>
                  <a:lnTo>
                    <a:pt x="250" y="5695"/>
                  </a:lnTo>
                  <a:lnTo>
                    <a:pt x="233" y="5720"/>
                  </a:lnTo>
                  <a:lnTo>
                    <a:pt x="217" y="5746"/>
                  </a:lnTo>
                  <a:lnTo>
                    <a:pt x="202" y="5772"/>
                  </a:lnTo>
                  <a:lnTo>
                    <a:pt x="187" y="5798"/>
                  </a:lnTo>
                  <a:lnTo>
                    <a:pt x="173" y="5825"/>
                  </a:lnTo>
                  <a:lnTo>
                    <a:pt x="159" y="5851"/>
                  </a:lnTo>
                  <a:lnTo>
                    <a:pt x="146" y="5879"/>
                  </a:lnTo>
                  <a:lnTo>
                    <a:pt x="133" y="5906"/>
                  </a:lnTo>
                  <a:lnTo>
                    <a:pt x="121" y="5934"/>
                  </a:lnTo>
                  <a:lnTo>
                    <a:pt x="110" y="5962"/>
                  </a:lnTo>
                  <a:lnTo>
                    <a:pt x="99" y="5991"/>
                  </a:lnTo>
                  <a:lnTo>
                    <a:pt x="88" y="6019"/>
                  </a:lnTo>
                  <a:lnTo>
                    <a:pt x="78" y="6047"/>
                  </a:lnTo>
                  <a:lnTo>
                    <a:pt x="68" y="6076"/>
                  </a:lnTo>
                  <a:lnTo>
                    <a:pt x="60" y="6105"/>
                  </a:lnTo>
                  <a:lnTo>
                    <a:pt x="51" y="6134"/>
                  </a:lnTo>
                  <a:lnTo>
                    <a:pt x="44" y="6163"/>
                  </a:lnTo>
                  <a:lnTo>
                    <a:pt x="37" y="6193"/>
                  </a:lnTo>
                  <a:lnTo>
                    <a:pt x="31" y="6222"/>
                  </a:lnTo>
                  <a:lnTo>
                    <a:pt x="25" y="6253"/>
                  </a:lnTo>
                  <a:lnTo>
                    <a:pt x="20" y="6282"/>
                  </a:lnTo>
                  <a:lnTo>
                    <a:pt x="15" y="6312"/>
                  </a:lnTo>
                  <a:lnTo>
                    <a:pt x="11" y="6342"/>
                  </a:lnTo>
                  <a:lnTo>
                    <a:pt x="8" y="6372"/>
                  </a:lnTo>
                  <a:lnTo>
                    <a:pt x="5" y="6402"/>
                  </a:lnTo>
                  <a:lnTo>
                    <a:pt x="3" y="6432"/>
                  </a:lnTo>
                  <a:lnTo>
                    <a:pt x="1" y="6463"/>
                  </a:lnTo>
                  <a:lnTo>
                    <a:pt x="0" y="6493"/>
                  </a:lnTo>
                  <a:lnTo>
                    <a:pt x="0" y="6524"/>
                  </a:lnTo>
                  <a:lnTo>
                    <a:pt x="0" y="7025"/>
                  </a:lnTo>
                  <a:lnTo>
                    <a:pt x="2" y="7103"/>
                  </a:lnTo>
                  <a:lnTo>
                    <a:pt x="8" y="7179"/>
                  </a:lnTo>
                  <a:lnTo>
                    <a:pt x="17" y="7254"/>
                  </a:lnTo>
                  <a:lnTo>
                    <a:pt x="31" y="7328"/>
                  </a:lnTo>
                  <a:lnTo>
                    <a:pt x="47" y="7401"/>
                  </a:lnTo>
                  <a:lnTo>
                    <a:pt x="68" y="7473"/>
                  </a:lnTo>
                  <a:lnTo>
                    <a:pt x="92" y="7542"/>
                  </a:lnTo>
                  <a:lnTo>
                    <a:pt x="119" y="7610"/>
                  </a:lnTo>
                  <a:lnTo>
                    <a:pt x="149" y="7678"/>
                  </a:lnTo>
                  <a:lnTo>
                    <a:pt x="182" y="7742"/>
                  </a:lnTo>
                  <a:lnTo>
                    <a:pt x="218" y="7805"/>
                  </a:lnTo>
                  <a:lnTo>
                    <a:pt x="259" y="7866"/>
                  </a:lnTo>
                  <a:lnTo>
                    <a:pt x="300" y="7926"/>
                  </a:lnTo>
                  <a:lnTo>
                    <a:pt x="345" y="7983"/>
                  </a:lnTo>
                  <a:lnTo>
                    <a:pt x="392" y="8037"/>
                  </a:lnTo>
                  <a:lnTo>
                    <a:pt x="443" y="8089"/>
                  </a:lnTo>
                  <a:lnTo>
                    <a:pt x="495" y="8139"/>
                  </a:lnTo>
                  <a:lnTo>
                    <a:pt x="549" y="8187"/>
                  </a:lnTo>
                  <a:lnTo>
                    <a:pt x="607" y="8232"/>
                  </a:lnTo>
                  <a:lnTo>
                    <a:pt x="666" y="8273"/>
                  </a:lnTo>
                  <a:lnTo>
                    <a:pt x="727" y="8313"/>
                  </a:lnTo>
                  <a:lnTo>
                    <a:pt x="791" y="8349"/>
                  </a:lnTo>
                  <a:lnTo>
                    <a:pt x="855" y="8382"/>
                  </a:lnTo>
                  <a:lnTo>
                    <a:pt x="922" y="8412"/>
                  </a:lnTo>
                  <a:lnTo>
                    <a:pt x="991" y="8439"/>
                  </a:lnTo>
                  <a:lnTo>
                    <a:pt x="1060" y="8464"/>
                  </a:lnTo>
                  <a:lnTo>
                    <a:pt x="1133" y="8484"/>
                  </a:lnTo>
                  <a:lnTo>
                    <a:pt x="1205" y="8501"/>
                  </a:lnTo>
                  <a:lnTo>
                    <a:pt x="1280" y="8514"/>
                  </a:lnTo>
                  <a:lnTo>
                    <a:pt x="1355" y="8523"/>
                  </a:lnTo>
                  <a:lnTo>
                    <a:pt x="1431" y="8529"/>
                  </a:lnTo>
                  <a:lnTo>
                    <a:pt x="1509" y="8531"/>
                  </a:lnTo>
                  <a:lnTo>
                    <a:pt x="1509" y="15054"/>
                  </a:lnTo>
                  <a:lnTo>
                    <a:pt x="1510" y="15106"/>
                  </a:lnTo>
                  <a:lnTo>
                    <a:pt x="1514" y="15157"/>
                  </a:lnTo>
                  <a:lnTo>
                    <a:pt x="1520" y="15207"/>
                  </a:lnTo>
                  <a:lnTo>
                    <a:pt x="1529" y="15257"/>
                  </a:lnTo>
                  <a:lnTo>
                    <a:pt x="1540" y="15305"/>
                  </a:lnTo>
                  <a:lnTo>
                    <a:pt x="1554" y="15352"/>
                  </a:lnTo>
                  <a:lnTo>
                    <a:pt x="1570" y="15400"/>
                  </a:lnTo>
                  <a:lnTo>
                    <a:pt x="1588" y="15445"/>
                  </a:lnTo>
                  <a:lnTo>
                    <a:pt x="1608" y="15489"/>
                  </a:lnTo>
                  <a:lnTo>
                    <a:pt x="1631" y="15533"/>
                  </a:lnTo>
                  <a:lnTo>
                    <a:pt x="1655" y="15574"/>
                  </a:lnTo>
                  <a:lnTo>
                    <a:pt x="1681" y="15615"/>
                  </a:lnTo>
                  <a:lnTo>
                    <a:pt x="1709" y="15655"/>
                  </a:lnTo>
                  <a:lnTo>
                    <a:pt x="1738" y="15693"/>
                  </a:lnTo>
                  <a:lnTo>
                    <a:pt x="1770" y="15729"/>
                  </a:lnTo>
                  <a:lnTo>
                    <a:pt x="1804" y="15764"/>
                  </a:lnTo>
                  <a:lnTo>
                    <a:pt x="1839" y="15797"/>
                  </a:lnTo>
                  <a:lnTo>
                    <a:pt x="1875" y="15829"/>
                  </a:lnTo>
                  <a:lnTo>
                    <a:pt x="1913" y="15858"/>
                  </a:lnTo>
                  <a:lnTo>
                    <a:pt x="1953" y="15886"/>
                  </a:lnTo>
                  <a:lnTo>
                    <a:pt x="1993" y="15912"/>
                  </a:lnTo>
                  <a:lnTo>
                    <a:pt x="2035" y="15937"/>
                  </a:lnTo>
                  <a:lnTo>
                    <a:pt x="2078" y="15959"/>
                  </a:lnTo>
                  <a:lnTo>
                    <a:pt x="2124" y="15979"/>
                  </a:lnTo>
                  <a:lnTo>
                    <a:pt x="2169" y="15997"/>
                  </a:lnTo>
                  <a:lnTo>
                    <a:pt x="2216" y="16013"/>
                  </a:lnTo>
                  <a:lnTo>
                    <a:pt x="2263" y="16026"/>
                  </a:lnTo>
                  <a:lnTo>
                    <a:pt x="2312" y="16038"/>
                  </a:lnTo>
                  <a:lnTo>
                    <a:pt x="2362" y="16046"/>
                  </a:lnTo>
                  <a:lnTo>
                    <a:pt x="2412" y="16053"/>
                  </a:lnTo>
                  <a:lnTo>
                    <a:pt x="2464" y="16057"/>
                  </a:lnTo>
                  <a:lnTo>
                    <a:pt x="2515" y="16058"/>
                  </a:lnTo>
                  <a:lnTo>
                    <a:pt x="13580" y="16058"/>
                  </a:lnTo>
                  <a:lnTo>
                    <a:pt x="13632" y="16057"/>
                  </a:lnTo>
                  <a:lnTo>
                    <a:pt x="13683" y="16053"/>
                  </a:lnTo>
                  <a:lnTo>
                    <a:pt x="13733" y="16046"/>
                  </a:lnTo>
                  <a:lnTo>
                    <a:pt x="13782" y="16038"/>
                  </a:lnTo>
                  <a:lnTo>
                    <a:pt x="13832" y="16026"/>
                  </a:lnTo>
                  <a:lnTo>
                    <a:pt x="13879" y="16013"/>
                  </a:lnTo>
                  <a:lnTo>
                    <a:pt x="13926" y="15997"/>
                  </a:lnTo>
                  <a:lnTo>
                    <a:pt x="13971" y="15979"/>
                  </a:lnTo>
                  <a:lnTo>
                    <a:pt x="14016" y="15959"/>
                  </a:lnTo>
                  <a:lnTo>
                    <a:pt x="14060" y="15937"/>
                  </a:lnTo>
                  <a:lnTo>
                    <a:pt x="14101" y="15912"/>
                  </a:lnTo>
                  <a:lnTo>
                    <a:pt x="14142" y="15886"/>
                  </a:lnTo>
                  <a:lnTo>
                    <a:pt x="14182" y="15858"/>
                  </a:lnTo>
                  <a:lnTo>
                    <a:pt x="14220" y="15829"/>
                  </a:lnTo>
                  <a:lnTo>
                    <a:pt x="14256" y="15797"/>
                  </a:lnTo>
                  <a:lnTo>
                    <a:pt x="14291" y="15764"/>
                  </a:lnTo>
                  <a:lnTo>
                    <a:pt x="14325" y="15729"/>
                  </a:lnTo>
                  <a:lnTo>
                    <a:pt x="14356" y="15693"/>
                  </a:lnTo>
                  <a:lnTo>
                    <a:pt x="14386" y="15655"/>
                  </a:lnTo>
                  <a:lnTo>
                    <a:pt x="14414" y="15615"/>
                  </a:lnTo>
                  <a:lnTo>
                    <a:pt x="14440" y="15574"/>
                  </a:lnTo>
                  <a:lnTo>
                    <a:pt x="14464" y="15533"/>
                  </a:lnTo>
                  <a:lnTo>
                    <a:pt x="14487" y="15489"/>
                  </a:lnTo>
                  <a:lnTo>
                    <a:pt x="14507" y="15445"/>
                  </a:lnTo>
                  <a:lnTo>
                    <a:pt x="14525" y="15400"/>
                  </a:lnTo>
                  <a:lnTo>
                    <a:pt x="14541" y="15352"/>
                  </a:lnTo>
                  <a:lnTo>
                    <a:pt x="14554" y="15305"/>
                  </a:lnTo>
                  <a:lnTo>
                    <a:pt x="14566" y="15257"/>
                  </a:lnTo>
                  <a:lnTo>
                    <a:pt x="14574" y="15207"/>
                  </a:lnTo>
                  <a:lnTo>
                    <a:pt x="14581" y="15157"/>
                  </a:lnTo>
                  <a:lnTo>
                    <a:pt x="14585" y="15106"/>
                  </a:lnTo>
                  <a:lnTo>
                    <a:pt x="14586" y="15054"/>
                  </a:lnTo>
                  <a:lnTo>
                    <a:pt x="14586" y="8531"/>
                  </a:lnTo>
                  <a:lnTo>
                    <a:pt x="14664" y="8529"/>
                  </a:lnTo>
                  <a:lnTo>
                    <a:pt x="14740" y="8523"/>
                  </a:lnTo>
                  <a:lnTo>
                    <a:pt x="14815" y="8514"/>
                  </a:lnTo>
                  <a:lnTo>
                    <a:pt x="14890" y="8501"/>
                  </a:lnTo>
                  <a:lnTo>
                    <a:pt x="14962" y="8484"/>
                  </a:lnTo>
                  <a:lnTo>
                    <a:pt x="15034" y="8464"/>
                  </a:lnTo>
                  <a:lnTo>
                    <a:pt x="15104" y="8439"/>
                  </a:lnTo>
                  <a:lnTo>
                    <a:pt x="15173" y="8412"/>
                  </a:lnTo>
                  <a:lnTo>
                    <a:pt x="15240" y="8382"/>
                  </a:lnTo>
                  <a:lnTo>
                    <a:pt x="15304" y="8349"/>
                  </a:lnTo>
                  <a:lnTo>
                    <a:pt x="15368" y="8313"/>
                  </a:lnTo>
                  <a:lnTo>
                    <a:pt x="15429" y="8273"/>
                  </a:lnTo>
                  <a:lnTo>
                    <a:pt x="15488" y="8232"/>
                  </a:lnTo>
                  <a:lnTo>
                    <a:pt x="15545" y="8187"/>
                  </a:lnTo>
                  <a:lnTo>
                    <a:pt x="15600" y="8139"/>
                  </a:lnTo>
                  <a:lnTo>
                    <a:pt x="15652" y="8089"/>
                  </a:lnTo>
                  <a:lnTo>
                    <a:pt x="15703" y="8037"/>
                  </a:lnTo>
                  <a:lnTo>
                    <a:pt x="15750" y="7983"/>
                  </a:lnTo>
                  <a:lnTo>
                    <a:pt x="15795" y="7926"/>
                  </a:lnTo>
                  <a:lnTo>
                    <a:pt x="15836" y="7866"/>
                  </a:lnTo>
                  <a:lnTo>
                    <a:pt x="15876" y="7805"/>
                  </a:lnTo>
                  <a:lnTo>
                    <a:pt x="15913" y="7742"/>
                  </a:lnTo>
                  <a:lnTo>
                    <a:pt x="15946" y="7678"/>
                  </a:lnTo>
                  <a:lnTo>
                    <a:pt x="15976" y="7610"/>
                  </a:lnTo>
                  <a:lnTo>
                    <a:pt x="16003" y="7542"/>
                  </a:lnTo>
                  <a:lnTo>
                    <a:pt x="16027" y="7473"/>
                  </a:lnTo>
                  <a:lnTo>
                    <a:pt x="16048" y="7401"/>
                  </a:lnTo>
                  <a:lnTo>
                    <a:pt x="16064" y="7328"/>
                  </a:lnTo>
                  <a:lnTo>
                    <a:pt x="16078" y="7254"/>
                  </a:lnTo>
                  <a:lnTo>
                    <a:pt x="16087" y="7179"/>
                  </a:lnTo>
                  <a:lnTo>
                    <a:pt x="16093" y="7103"/>
                  </a:lnTo>
                  <a:lnTo>
                    <a:pt x="16095" y="7025"/>
                  </a:lnTo>
                  <a:lnTo>
                    <a:pt x="16095" y="6524"/>
                  </a:lnTo>
                  <a:lnTo>
                    <a:pt x="16095" y="6493"/>
                  </a:lnTo>
                  <a:lnTo>
                    <a:pt x="16094" y="6463"/>
                  </a:lnTo>
                  <a:lnTo>
                    <a:pt x="16092" y="6432"/>
                  </a:lnTo>
                  <a:lnTo>
                    <a:pt x="16090" y="6402"/>
                  </a:lnTo>
                  <a:lnTo>
                    <a:pt x="16087" y="6372"/>
                  </a:lnTo>
                  <a:lnTo>
                    <a:pt x="16084" y="6342"/>
                  </a:lnTo>
                  <a:lnTo>
                    <a:pt x="16080" y="6312"/>
                  </a:lnTo>
                  <a:lnTo>
                    <a:pt x="16075" y="6282"/>
                  </a:lnTo>
                  <a:lnTo>
                    <a:pt x="16070" y="6253"/>
                  </a:lnTo>
                  <a:lnTo>
                    <a:pt x="16064" y="6222"/>
                  </a:lnTo>
                  <a:lnTo>
                    <a:pt x="16058" y="6193"/>
                  </a:lnTo>
                  <a:lnTo>
                    <a:pt x="16051" y="6163"/>
                  </a:lnTo>
                  <a:lnTo>
                    <a:pt x="16044" y="6134"/>
                  </a:lnTo>
                  <a:lnTo>
                    <a:pt x="16035" y="6105"/>
                  </a:lnTo>
                  <a:lnTo>
                    <a:pt x="16027" y="6076"/>
                  </a:lnTo>
                  <a:lnTo>
                    <a:pt x="16018" y="6047"/>
                  </a:lnTo>
                  <a:lnTo>
                    <a:pt x="16007" y="6019"/>
                  </a:lnTo>
                  <a:lnTo>
                    <a:pt x="15996" y="5991"/>
                  </a:lnTo>
                  <a:lnTo>
                    <a:pt x="15985" y="5963"/>
                  </a:lnTo>
                  <a:lnTo>
                    <a:pt x="15974" y="5934"/>
                  </a:lnTo>
                  <a:lnTo>
                    <a:pt x="15962" y="5906"/>
                  </a:lnTo>
                  <a:lnTo>
                    <a:pt x="15949" y="5879"/>
                  </a:lnTo>
                  <a:lnTo>
                    <a:pt x="15936" y="5852"/>
                  </a:lnTo>
                  <a:lnTo>
                    <a:pt x="15922" y="5825"/>
                  </a:lnTo>
                  <a:lnTo>
                    <a:pt x="15908" y="5798"/>
                  </a:lnTo>
                  <a:lnTo>
                    <a:pt x="15893" y="5772"/>
                  </a:lnTo>
                  <a:lnTo>
                    <a:pt x="15878" y="5746"/>
                  </a:lnTo>
                  <a:lnTo>
                    <a:pt x="15862" y="5720"/>
                  </a:lnTo>
                  <a:lnTo>
                    <a:pt x="15846" y="5695"/>
                  </a:lnTo>
                  <a:lnTo>
                    <a:pt x="15828" y="5669"/>
                  </a:lnTo>
                  <a:lnTo>
                    <a:pt x="15811" y="5644"/>
                  </a:lnTo>
                  <a:lnTo>
                    <a:pt x="15793" y="56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439" name="ïṣḻïďe">
              <a:extLst>
                <a:ext uri="{FF2B5EF4-FFF2-40B4-BE49-F238E27FC236}">
                  <a16:creationId xmlns:a16="http://schemas.microsoft.com/office/drawing/2014/main" id="{09AD8D4C-3294-4CF5-AF1F-07FF5A46BC32}"/>
                </a:ext>
              </a:extLst>
            </p:cNvPr>
            <p:cNvSpPr/>
            <p:nvPr/>
          </p:nvSpPr>
          <p:spPr bwMode="auto">
            <a:xfrm>
              <a:off x="5141620" y="3559717"/>
              <a:ext cx="261690" cy="237026"/>
            </a:xfrm>
            <a:custGeom>
              <a:avLst/>
              <a:gdLst>
                <a:gd name="T0" fmla="*/ 13271 w 16095"/>
                <a:gd name="T1" fmla="*/ 332 h 14578"/>
                <a:gd name="T2" fmla="*/ 11351 w 16095"/>
                <a:gd name="T3" fmla="*/ 5 h 14578"/>
                <a:gd name="T4" fmla="*/ 9463 w 16095"/>
                <a:gd name="T5" fmla="*/ 518 h 14578"/>
                <a:gd name="T6" fmla="*/ 789 w 16095"/>
                <a:gd name="T7" fmla="*/ 8840 h 14578"/>
                <a:gd name="T8" fmla="*/ 101 w 16095"/>
                <a:gd name="T9" fmla="*/ 10223 h 14578"/>
                <a:gd name="T10" fmla="*/ 64 w 16095"/>
                <a:gd name="T11" fmla="*/ 11733 h 14578"/>
                <a:gd name="T12" fmla="*/ 680 w 16095"/>
                <a:gd name="T13" fmla="*/ 13142 h 14578"/>
                <a:gd name="T14" fmla="*/ 1881 w 16095"/>
                <a:gd name="T15" fmla="*/ 14176 h 14578"/>
                <a:gd name="T16" fmla="*/ 3350 w 16095"/>
                <a:gd name="T17" fmla="*/ 14574 h 14578"/>
                <a:gd name="T18" fmla="*/ 4844 w 16095"/>
                <a:gd name="T19" fmla="*/ 14321 h 14578"/>
                <a:gd name="T20" fmla="*/ 13346 w 16095"/>
                <a:gd name="T21" fmla="*/ 6301 h 14578"/>
                <a:gd name="T22" fmla="*/ 13942 w 16095"/>
                <a:gd name="T23" fmla="*/ 5355 h 14578"/>
                <a:gd name="T24" fmla="*/ 14071 w 16095"/>
                <a:gd name="T25" fmla="*/ 4284 h 14578"/>
                <a:gd name="T26" fmla="*/ 13735 w 16095"/>
                <a:gd name="T27" fmla="*/ 3247 h 14578"/>
                <a:gd name="T28" fmla="*/ 12951 w 16095"/>
                <a:gd name="T29" fmla="*/ 2425 h 14578"/>
                <a:gd name="T30" fmla="*/ 11928 w 16095"/>
                <a:gd name="T31" fmla="*/ 2037 h 14578"/>
                <a:gd name="T32" fmla="*/ 10852 w 16095"/>
                <a:gd name="T33" fmla="*/ 2115 h 14578"/>
                <a:gd name="T34" fmla="*/ 9884 w 16095"/>
                <a:gd name="T35" fmla="*/ 2658 h 14578"/>
                <a:gd name="T36" fmla="*/ 4173 w 16095"/>
                <a:gd name="T37" fmla="*/ 8404 h 14578"/>
                <a:gd name="T38" fmla="*/ 4125 w 16095"/>
                <a:gd name="T39" fmla="*/ 8617 h 14578"/>
                <a:gd name="T40" fmla="*/ 4173 w 16095"/>
                <a:gd name="T41" fmla="*/ 8828 h 14578"/>
                <a:gd name="T42" fmla="*/ 4311 w 16095"/>
                <a:gd name="T43" fmla="*/ 9007 h 14578"/>
                <a:gd name="T44" fmla="*/ 4509 w 16095"/>
                <a:gd name="T45" fmla="*/ 9105 h 14578"/>
                <a:gd name="T46" fmla="*/ 4725 w 16095"/>
                <a:gd name="T47" fmla="*/ 9110 h 14578"/>
                <a:gd name="T48" fmla="*/ 4926 w 16095"/>
                <a:gd name="T49" fmla="*/ 9022 h 14578"/>
                <a:gd name="T50" fmla="*/ 10802 w 16095"/>
                <a:gd name="T51" fmla="*/ 3226 h 14578"/>
                <a:gd name="T52" fmla="*/ 11423 w 16095"/>
                <a:gd name="T53" fmla="*/ 3024 h 14578"/>
                <a:gd name="T54" fmla="*/ 12067 w 16095"/>
                <a:gd name="T55" fmla="*/ 3101 h 14578"/>
                <a:gd name="T56" fmla="*/ 12635 w 16095"/>
                <a:gd name="T57" fmla="*/ 3458 h 14578"/>
                <a:gd name="T58" fmla="*/ 12992 w 16095"/>
                <a:gd name="T59" fmla="*/ 4025 h 14578"/>
                <a:gd name="T60" fmla="*/ 13069 w 16095"/>
                <a:gd name="T61" fmla="*/ 4669 h 14578"/>
                <a:gd name="T62" fmla="*/ 12868 w 16095"/>
                <a:gd name="T63" fmla="*/ 5291 h 14578"/>
                <a:gd name="T64" fmla="*/ 5006 w 16095"/>
                <a:gd name="T65" fmla="*/ 13088 h 14578"/>
                <a:gd name="T66" fmla="*/ 3999 w 16095"/>
                <a:gd name="T67" fmla="*/ 13528 h 14578"/>
                <a:gd name="T68" fmla="*/ 2920 w 16095"/>
                <a:gd name="T69" fmla="*/ 13502 h 14578"/>
                <a:gd name="T70" fmla="*/ 1931 w 16095"/>
                <a:gd name="T71" fmla="*/ 13011 h 14578"/>
                <a:gd name="T72" fmla="*/ 1237 w 16095"/>
                <a:gd name="T73" fmla="*/ 12119 h 14578"/>
                <a:gd name="T74" fmla="*/ 1004 w 16095"/>
                <a:gd name="T75" fmla="*/ 11060 h 14578"/>
                <a:gd name="T76" fmla="*/ 1237 w 16095"/>
                <a:gd name="T77" fmla="*/ 10003 h 14578"/>
                <a:gd name="T78" fmla="*/ 9139 w 16095"/>
                <a:gd name="T79" fmla="*/ 1982 h 14578"/>
                <a:gd name="T80" fmla="*/ 10495 w 16095"/>
                <a:gd name="T81" fmla="*/ 1221 h 14578"/>
                <a:gd name="T82" fmla="*/ 12003 w 16095"/>
                <a:gd name="T83" fmla="*/ 1113 h 14578"/>
                <a:gd name="T84" fmla="*/ 13433 w 16095"/>
                <a:gd name="T85" fmla="*/ 1657 h 14578"/>
                <a:gd name="T86" fmla="*/ 14530 w 16095"/>
                <a:gd name="T87" fmla="*/ 2808 h 14578"/>
                <a:gd name="T88" fmla="*/ 15002 w 16095"/>
                <a:gd name="T89" fmla="*/ 4258 h 14578"/>
                <a:gd name="T90" fmla="*/ 14820 w 16095"/>
                <a:gd name="T91" fmla="*/ 5759 h 14578"/>
                <a:gd name="T92" fmla="*/ 13987 w 16095"/>
                <a:gd name="T93" fmla="*/ 7083 h 14578"/>
                <a:gd name="T94" fmla="*/ 8431 w 16095"/>
                <a:gd name="T95" fmla="*/ 12692 h 14578"/>
                <a:gd name="T96" fmla="*/ 8395 w 16095"/>
                <a:gd name="T97" fmla="*/ 12905 h 14578"/>
                <a:gd name="T98" fmla="*/ 8451 w 16095"/>
                <a:gd name="T99" fmla="*/ 13115 h 14578"/>
                <a:gd name="T100" fmla="*/ 8600 w 16095"/>
                <a:gd name="T101" fmla="*/ 13286 h 14578"/>
                <a:gd name="T102" fmla="*/ 8801 w 16095"/>
                <a:gd name="T103" fmla="*/ 13375 h 14578"/>
                <a:gd name="T104" fmla="*/ 9017 w 16095"/>
                <a:gd name="T105" fmla="*/ 13370 h 14578"/>
                <a:gd name="T106" fmla="*/ 9214 w 16095"/>
                <a:gd name="T107" fmla="*/ 13271 h 14578"/>
                <a:gd name="T108" fmla="*/ 15577 w 16095"/>
                <a:gd name="T109" fmla="*/ 6628 h 14578"/>
                <a:gd name="T110" fmla="*/ 16090 w 16095"/>
                <a:gd name="T111" fmla="*/ 4742 h 14578"/>
                <a:gd name="T112" fmla="*/ 15763 w 16095"/>
                <a:gd name="T113" fmla="*/ 2822 h 14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4578">
                  <a:moveTo>
                    <a:pt x="14768" y="1326"/>
                  </a:moveTo>
                  <a:lnTo>
                    <a:pt x="14600" y="1165"/>
                  </a:lnTo>
                  <a:lnTo>
                    <a:pt x="14425" y="1015"/>
                  </a:lnTo>
                  <a:lnTo>
                    <a:pt x="14244" y="875"/>
                  </a:lnTo>
                  <a:lnTo>
                    <a:pt x="14059" y="746"/>
                  </a:lnTo>
                  <a:lnTo>
                    <a:pt x="13868" y="626"/>
                  </a:lnTo>
                  <a:lnTo>
                    <a:pt x="13673" y="518"/>
                  </a:lnTo>
                  <a:lnTo>
                    <a:pt x="13474" y="419"/>
                  </a:lnTo>
                  <a:lnTo>
                    <a:pt x="13271" y="332"/>
                  </a:lnTo>
                  <a:lnTo>
                    <a:pt x="13065" y="253"/>
                  </a:lnTo>
                  <a:lnTo>
                    <a:pt x="12857" y="187"/>
                  </a:lnTo>
                  <a:lnTo>
                    <a:pt x="12646" y="130"/>
                  </a:lnTo>
                  <a:lnTo>
                    <a:pt x="12432" y="83"/>
                  </a:lnTo>
                  <a:lnTo>
                    <a:pt x="12218" y="46"/>
                  </a:lnTo>
                  <a:lnTo>
                    <a:pt x="12002" y="21"/>
                  </a:lnTo>
                  <a:lnTo>
                    <a:pt x="11786" y="5"/>
                  </a:lnTo>
                  <a:lnTo>
                    <a:pt x="11568" y="0"/>
                  </a:lnTo>
                  <a:lnTo>
                    <a:pt x="11351" y="5"/>
                  </a:lnTo>
                  <a:lnTo>
                    <a:pt x="11134" y="21"/>
                  </a:lnTo>
                  <a:lnTo>
                    <a:pt x="10918" y="46"/>
                  </a:lnTo>
                  <a:lnTo>
                    <a:pt x="10703" y="83"/>
                  </a:lnTo>
                  <a:lnTo>
                    <a:pt x="10490" y="130"/>
                  </a:lnTo>
                  <a:lnTo>
                    <a:pt x="10280" y="187"/>
                  </a:lnTo>
                  <a:lnTo>
                    <a:pt x="10070" y="253"/>
                  </a:lnTo>
                  <a:lnTo>
                    <a:pt x="9864" y="332"/>
                  </a:lnTo>
                  <a:lnTo>
                    <a:pt x="9662" y="419"/>
                  </a:lnTo>
                  <a:lnTo>
                    <a:pt x="9463" y="518"/>
                  </a:lnTo>
                  <a:lnTo>
                    <a:pt x="9268" y="626"/>
                  </a:lnTo>
                  <a:lnTo>
                    <a:pt x="9078" y="746"/>
                  </a:lnTo>
                  <a:lnTo>
                    <a:pt x="8891" y="875"/>
                  </a:lnTo>
                  <a:lnTo>
                    <a:pt x="8711" y="1015"/>
                  </a:lnTo>
                  <a:lnTo>
                    <a:pt x="8536" y="1165"/>
                  </a:lnTo>
                  <a:lnTo>
                    <a:pt x="8367" y="1326"/>
                  </a:lnTo>
                  <a:lnTo>
                    <a:pt x="1029" y="8572"/>
                  </a:lnTo>
                  <a:lnTo>
                    <a:pt x="904" y="8704"/>
                  </a:lnTo>
                  <a:lnTo>
                    <a:pt x="789" y="8840"/>
                  </a:lnTo>
                  <a:lnTo>
                    <a:pt x="680" y="8979"/>
                  </a:lnTo>
                  <a:lnTo>
                    <a:pt x="579" y="9124"/>
                  </a:lnTo>
                  <a:lnTo>
                    <a:pt x="487" y="9272"/>
                  </a:lnTo>
                  <a:lnTo>
                    <a:pt x="402" y="9424"/>
                  </a:lnTo>
                  <a:lnTo>
                    <a:pt x="326" y="9579"/>
                  </a:lnTo>
                  <a:lnTo>
                    <a:pt x="258" y="9736"/>
                  </a:lnTo>
                  <a:lnTo>
                    <a:pt x="197" y="9896"/>
                  </a:lnTo>
                  <a:lnTo>
                    <a:pt x="145" y="10058"/>
                  </a:lnTo>
                  <a:lnTo>
                    <a:pt x="101" y="10223"/>
                  </a:lnTo>
                  <a:lnTo>
                    <a:pt x="64" y="10388"/>
                  </a:lnTo>
                  <a:lnTo>
                    <a:pt x="36" y="10556"/>
                  </a:lnTo>
                  <a:lnTo>
                    <a:pt x="16" y="10724"/>
                  </a:lnTo>
                  <a:lnTo>
                    <a:pt x="4" y="10892"/>
                  </a:lnTo>
                  <a:lnTo>
                    <a:pt x="0" y="11060"/>
                  </a:lnTo>
                  <a:lnTo>
                    <a:pt x="4" y="11229"/>
                  </a:lnTo>
                  <a:lnTo>
                    <a:pt x="16" y="11398"/>
                  </a:lnTo>
                  <a:lnTo>
                    <a:pt x="36" y="11566"/>
                  </a:lnTo>
                  <a:lnTo>
                    <a:pt x="64" y="11733"/>
                  </a:lnTo>
                  <a:lnTo>
                    <a:pt x="101" y="11899"/>
                  </a:lnTo>
                  <a:lnTo>
                    <a:pt x="145" y="12064"/>
                  </a:lnTo>
                  <a:lnTo>
                    <a:pt x="197" y="12226"/>
                  </a:lnTo>
                  <a:lnTo>
                    <a:pt x="258" y="12385"/>
                  </a:lnTo>
                  <a:lnTo>
                    <a:pt x="326" y="12543"/>
                  </a:lnTo>
                  <a:lnTo>
                    <a:pt x="402" y="12698"/>
                  </a:lnTo>
                  <a:lnTo>
                    <a:pt x="487" y="12850"/>
                  </a:lnTo>
                  <a:lnTo>
                    <a:pt x="579" y="12998"/>
                  </a:lnTo>
                  <a:lnTo>
                    <a:pt x="680" y="13142"/>
                  </a:lnTo>
                  <a:lnTo>
                    <a:pt x="789" y="13282"/>
                  </a:lnTo>
                  <a:lnTo>
                    <a:pt x="904" y="13418"/>
                  </a:lnTo>
                  <a:lnTo>
                    <a:pt x="1029" y="13550"/>
                  </a:lnTo>
                  <a:lnTo>
                    <a:pt x="1161" y="13673"/>
                  </a:lnTo>
                  <a:lnTo>
                    <a:pt x="1297" y="13790"/>
                  </a:lnTo>
                  <a:lnTo>
                    <a:pt x="1436" y="13898"/>
                  </a:lnTo>
                  <a:lnTo>
                    <a:pt x="1581" y="13999"/>
                  </a:lnTo>
                  <a:lnTo>
                    <a:pt x="1729" y="14091"/>
                  </a:lnTo>
                  <a:lnTo>
                    <a:pt x="1881" y="14176"/>
                  </a:lnTo>
                  <a:lnTo>
                    <a:pt x="2036" y="14252"/>
                  </a:lnTo>
                  <a:lnTo>
                    <a:pt x="2193" y="14321"/>
                  </a:lnTo>
                  <a:lnTo>
                    <a:pt x="2354" y="14381"/>
                  </a:lnTo>
                  <a:lnTo>
                    <a:pt x="2516" y="14433"/>
                  </a:lnTo>
                  <a:lnTo>
                    <a:pt x="2680" y="14477"/>
                  </a:lnTo>
                  <a:lnTo>
                    <a:pt x="2846" y="14514"/>
                  </a:lnTo>
                  <a:lnTo>
                    <a:pt x="3013" y="14542"/>
                  </a:lnTo>
                  <a:lnTo>
                    <a:pt x="3181" y="14562"/>
                  </a:lnTo>
                  <a:lnTo>
                    <a:pt x="3350" y="14574"/>
                  </a:lnTo>
                  <a:lnTo>
                    <a:pt x="3519" y="14578"/>
                  </a:lnTo>
                  <a:lnTo>
                    <a:pt x="3688" y="14574"/>
                  </a:lnTo>
                  <a:lnTo>
                    <a:pt x="3857" y="14562"/>
                  </a:lnTo>
                  <a:lnTo>
                    <a:pt x="4025" y="14542"/>
                  </a:lnTo>
                  <a:lnTo>
                    <a:pt x="4192" y="14514"/>
                  </a:lnTo>
                  <a:lnTo>
                    <a:pt x="4358" y="14477"/>
                  </a:lnTo>
                  <a:lnTo>
                    <a:pt x="4522" y="14433"/>
                  </a:lnTo>
                  <a:lnTo>
                    <a:pt x="4684" y="14381"/>
                  </a:lnTo>
                  <a:lnTo>
                    <a:pt x="4844" y="14321"/>
                  </a:lnTo>
                  <a:lnTo>
                    <a:pt x="5002" y="14252"/>
                  </a:lnTo>
                  <a:lnTo>
                    <a:pt x="5156" y="14176"/>
                  </a:lnTo>
                  <a:lnTo>
                    <a:pt x="5308" y="14091"/>
                  </a:lnTo>
                  <a:lnTo>
                    <a:pt x="5456" y="13999"/>
                  </a:lnTo>
                  <a:lnTo>
                    <a:pt x="5601" y="13898"/>
                  </a:lnTo>
                  <a:lnTo>
                    <a:pt x="5741" y="13790"/>
                  </a:lnTo>
                  <a:lnTo>
                    <a:pt x="5877" y="13673"/>
                  </a:lnTo>
                  <a:lnTo>
                    <a:pt x="6007" y="13550"/>
                  </a:lnTo>
                  <a:lnTo>
                    <a:pt x="13346" y="6301"/>
                  </a:lnTo>
                  <a:lnTo>
                    <a:pt x="13435" y="6208"/>
                  </a:lnTo>
                  <a:lnTo>
                    <a:pt x="13519" y="6110"/>
                  </a:lnTo>
                  <a:lnTo>
                    <a:pt x="13596" y="6011"/>
                  </a:lnTo>
                  <a:lnTo>
                    <a:pt x="13669" y="5907"/>
                  </a:lnTo>
                  <a:lnTo>
                    <a:pt x="13735" y="5802"/>
                  </a:lnTo>
                  <a:lnTo>
                    <a:pt x="13795" y="5693"/>
                  </a:lnTo>
                  <a:lnTo>
                    <a:pt x="13850" y="5582"/>
                  </a:lnTo>
                  <a:lnTo>
                    <a:pt x="13899" y="5470"/>
                  </a:lnTo>
                  <a:lnTo>
                    <a:pt x="13942" y="5355"/>
                  </a:lnTo>
                  <a:lnTo>
                    <a:pt x="13980" y="5240"/>
                  </a:lnTo>
                  <a:lnTo>
                    <a:pt x="14011" y="5123"/>
                  </a:lnTo>
                  <a:lnTo>
                    <a:pt x="14037" y="5004"/>
                  </a:lnTo>
                  <a:lnTo>
                    <a:pt x="14057" y="4885"/>
                  </a:lnTo>
                  <a:lnTo>
                    <a:pt x="14071" y="4765"/>
                  </a:lnTo>
                  <a:lnTo>
                    <a:pt x="14080" y="4645"/>
                  </a:lnTo>
                  <a:lnTo>
                    <a:pt x="14083" y="4524"/>
                  </a:lnTo>
                  <a:lnTo>
                    <a:pt x="14080" y="4404"/>
                  </a:lnTo>
                  <a:lnTo>
                    <a:pt x="14071" y="4284"/>
                  </a:lnTo>
                  <a:lnTo>
                    <a:pt x="14057" y="4164"/>
                  </a:lnTo>
                  <a:lnTo>
                    <a:pt x="14037" y="4044"/>
                  </a:lnTo>
                  <a:lnTo>
                    <a:pt x="14011" y="3926"/>
                  </a:lnTo>
                  <a:lnTo>
                    <a:pt x="13980" y="3809"/>
                  </a:lnTo>
                  <a:lnTo>
                    <a:pt x="13942" y="3693"/>
                  </a:lnTo>
                  <a:lnTo>
                    <a:pt x="13899" y="3579"/>
                  </a:lnTo>
                  <a:lnTo>
                    <a:pt x="13850" y="3466"/>
                  </a:lnTo>
                  <a:lnTo>
                    <a:pt x="13795" y="3356"/>
                  </a:lnTo>
                  <a:lnTo>
                    <a:pt x="13735" y="3247"/>
                  </a:lnTo>
                  <a:lnTo>
                    <a:pt x="13669" y="3142"/>
                  </a:lnTo>
                  <a:lnTo>
                    <a:pt x="13596" y="3038"/>
                  </a:lnTo>
                  <a:lnTo>
                    <a:pt x="13519" y="2939"/>
                  </a:lnTo>
                  <a:lnTo>
                    <a:pt x="13435" y="2841"/>
                  </a:lnTo>
                  <a:lnTo>
                    <a:pt x="13346" y="2748"/>
                  </a:lnTo>
                  <a:lnTo>
                    <a:pt x="13252" y="2658"/>
                  </a:lnTo>
                  <a:lnTo>
                    <a:pt x="13156" y="2575"/>
                  </a:lnTo>
                  <a:lnTo>
                    <a:pt x="13055" y="2497"/>
                  </a:lnTo>
                  <a:lnTo>
                    <a:pt x="12951" y="2425"/>
                  </a:lnTo>
                  <a:lnTo>
                    <a:pt x="12846" y="2359"/>
                  </a:lnTo>
                  <a:lnTo>
                    <a:pt x="12737" y="2299"/>
                  </a:lnTo>
                  <a:lnTo>
                    <a:pt x="12627" y="2244"/>
                  </a:lnTo>
                  <a:lnTo>
                    <a:pt x="12514" y="2196"/>
                  </a:lnTo>
                  <a:lnTo>
                    <a:pt x="12400" y="2152"/>
                  </a:lnTo>
                  <a:lnTo>
                    <a:pt x="12284" y="2115"/>
                  </a:lnTo>
                  <a:lnTo>
                    <a:pt x="12167" y="2083"/>
                  </a:lnTo>
                  <a:lnTo>
                    <a:pt x="12048" y="2057"/>
                  </a:lnTo>
                  <a:lnTo>
                    <a:pt x="11928" y="2037"/>
                  </a:lnTo>
                  <a:lnTo>
                    <a:pt x="11809" y="2023"/>
                  </a:lnTo>
                  <a:lnTo>
                    <a:pt x="11689" y="2015"/>
                  </a:lnTo>
                  <a:lnTo>
                    <a:pt x="11568" y="2012"/>
                  </a:lnTo>
                  <a:lnTo>
                    <a:pt x="11448" y="2015"/>
                  </a:lnTo>
                  <a:lnTo>
                    <a:pt x="11327" y="2023"/>
                  </a:lnTo>
                  <a:lnTo>
                    <a:pt x="11207" y="2037"/>
                  </a:lnTo>
                  <a:lnTo>
                    <a:pt x="11087" y="2057"/>
                  </a:lnTo>
                  <a:lnTo>
                    <a:pt x="10969" y="2083"/>
                  </a:lnTo>
                  <a:lnTo>
                    <a:pt x="10852" y="2115"/>
                  </a:lnTo>
                  <a:lnTo>
                    <a:pt x="10736" y="2152"/>
                  </a:lnTo>
                  <a:lnTo>
                    <a:pt x="10622" y="2196"/>
                  </a:lnTo>
                  <a:lnTo>
                    <a:pt x="10509" y="2244"/>
                  </a:lnTo>
                  <a:lnTo>
                    <a:pt x="10398" y="2299"/>
                  </a:lnTo>
                  <a:lnTo>
                    <a:pt x="10291" y="2359"/>
                  </a:lnTo>
                  <a:lnTo>
                    <a:pt x="10184" y="2425"/>
                  </a:lnTo>
                  <a:lnTo>
                    <a:pt x="10082" y="2497"/>
                  </a:lnTo>
                  <a:lnTo>
                    <a:pt x="9981" y="2575"/>
                  </a:lnTo>
                  <a:lnTo>
                    <a:pt x="9884" y="2658"/>
                  </a:lnTo>
                  <a:lnTo>
                    <a:pt x="9790" y="2748"/>
                  </a:lnTo>
                  <a:lnTo>
                    <a:pt x="4273" y="8261"/>
                  </a:lnTo>
                  <a:lnTo>
                    <a:pt x="4255" y="8279"/>
                  </a:lnTo>
                  <a:lnTo>
                    <a:pt x="4239" y="8299"/>
                  </a:lnTo>
                  <a:lnTo>
                    <a:pt x="4223" y="8319"/>
                  </a:lnTo>
                  <a:lnTo>
                    <a:pt x="4209" y="8339"/>
                  </a:lnTo>
                  <a:lnTo>
                    <a:pt x="4196" y="8361"/>
                  </a:lnTo>
                  <a:lnTo>
                    <a:pt x="4184" y="8382"/>
                  </a:lnTo>
                  <a:lnTo>
                    <a:pt x="4173" y="8404"/>
                  </a:lnTo>
                  <a:lnTo>
                    <a:pt x="4163" y="8427"/>
                  </a:lnTo>
                  <a:lnTo>
                    <a:pt x="4154" y="8450"/>
                  </a:lnTo>
                  <a:lnTo>
                    <a:pt x="4146" y="8473"/>
                  </a:lnTo>
                  <a:lnTo>
                    <a:pt x="4140" y="8497"/>
                  </a:lnTo>
                  <a:lnTo>
                    <a:pt x="4134" y="8520"/>
                  </a:lnTo>
                  <a:lnTo>
                    <a:pt x="4130" y="8544"/>
                  </a:lnTo>
                  <a:lnTo>
                    <a:pt x="4128" y="8568"/>
                  </a:lnTo>
                  <a:lnTo>
                    <a:pt x="4126" y="8592"/>
                  </a:lnTo>
                  <a:lnTo>
                    <a:pt x="4125" y="8617"/>
                  </a:lnTo>
                  <a:lnTo>
                    <a:pt x="4126" y="8640"/>
                  </a:lnTo>
                  <a:lnTo>
                    <a:pt x="4128" y="8664"/>
                  </a:lnTo>
                  <a:lnTo>
                    <a:pt x="4130" y="8688"/>
                  </a:lnTo>
                  <a:lnTo>
                    <a:pt x="4134" y="8712"/>
                  </a:lnTo>
                  <a:lnTo>
                    <a:pt x="4140" y="8736"/>
                  </a:lnTo>
                  <a:lnTo>
                    <a:pt x="4146" y="8759"/>
                  </a:lnTo>
                  <a:lnTo>
                    <a:pt x="4154" y="8782"/>
                  </a:lnTo>
                  <a:lnTo>
                    <a:pt x="4163" y="8806"/>
                  </a:lnTo>
                  <a:lnTo>
                    <a:pt x="4173" y="8828"/>
                  </a:lnTo>
                  <a:lnTo>
                    <a:pt x="4184" y="8850"/>
                  </a:lnTo>
                  <a:lnTo>
                    <a:pt x="4196" y="8872"/>
                  </a:lnTo>
                  <a:lnTo>
                    <a:pt x="4209" y="8893"/>
                  </a:lnTo>
                  <a:lnTo>
                    <a:pt x="4223" y="8913"/>
                  </a:lnTo>
                  <a:lnTo>
                    <a:pt x="4239" y="8933"/>
                  </a:lnTo>
                  <a:lnTo>
                    <a:pt x="4255" y="8953"/>
                  </a:lnTo>
                  <a:lnTo>
                    <a:pt x="4273" y="8971"/>
                  </a:lnTo>
                  <a:lnTo>
                    <a:pt x="4292" y="8989"/>
                  </a:lnTo>
                  <a:lnTo>
                    <a:pt x="4311" y="9007"/>
                  </a:lnTo>
                  <a:lnTo>
                    <a:pt x="4332" y="9022"/>
                  </a:lnTo>
                  <a:lnTo>
                    <a:pt x="4352" y="9036"/>
                  </a:lnTo>
                  <a:lnTo>
                    <a:pt x="4373" y="9050"/>
                  </a:lnTo>
                  <a:lnTo>
                    <a:pt x="4395" y="9062"/>
                  </a:lnTo>
                  <a:lnTo>
                    <a:pt x="4417" y="9073"/>
                  </a:lnTo>
                  <a:lnTo>
                    <a:pt x="4439" y="9082"/>
                  </a:lnTo>
                  <a:lnTo>
                    <a:pt x="4462" y="9091"/>
                  </a:lnTo>
                  <a:lnTo>
                    <a:pt x="4485" y="9098"/>
                  </a:lnTo>
                  <a:lnTo>
                    <a:pt x="4509" y="9105"/>
                  </a:lnTo>
                  <a:lnTo>
                    <a:pt x="4533" y="9110"/>
                  </a:lnTo>
                  <a:lnTo>
                    <a:pt x="4557" y="9114"/>
                  </a:lnTo>
                  <a:lnTo>
                    <a:pt x="4580" y="9117"/>
                  </a:lnTo>
                  <a:lnTo>
                    <a:pt x="4604" y="9118"/>
                  </a:lnTo>
                  <a:lnTo>
                    <a:pt x="4628" y="9119"/>
                  </a:lnTo>
                  <a:lnTo>
                    <a:pt x="4652" y="9118"/>
                  </a:lnTo>
                  <a:lnTo>
                    <a:pt x="4677" y="9117"/>
                  </a:lnTo>
                  <a:lnTo>
                    <a:pt x="4701" y="9114"/>
                  </a:lnTo>
                  <a:lnTo>
                    <a:pt x="4725" y="9110"/>
                  </a:lnTo>
                  <a:lnTo>
                    <a:pt x="4748" y="9105"/>
                  </a:lnTo>
                  <a:lnTo>
                    <a:pt x="4772" y="9098"/>
                  </a:lnTo>
                  <a:lnTo>
                    <a:pt x="4795" y="9091"/>
                  </a:lnTo>
                  <a:lnTo>
                    <a:pt x="4817" y="9082"/>
                  </a:lnTo>
                  <a:lnTo>
                    <a:pt x="4841" y="9073"/>
                  </a:lnTo>
                  <a:lnTo>
                    <a:pt x="4863" y="9062"/>
                  </a:lnTo>
                  <a:lnTo>
                    <a:pt x="4884" y="9050"/>
                  </a:lnTo>
                  <a:lnTo>
                    <a:pt x="4905" y="9036"/>
                  </a:lnTo>
                  <a:lnTo>
                    <a:pt x="4926" y="9022"/>
                  </a:lnTo>
                  <a:lnTo>
                    <a:pt x="4946" y="9007"/>
                  </a:lnTo>
                  <a:lnTo>
                    <a:pt x="4965" y="8989"/>
                  </a:lnTo>
                  <a:lnTo>
                    <a:pt x="4984" y="8971"/>
                  </a:lnTo>
                  <a:lnTo>
                    <a:pt x="10501" y="3458"/>
                  </a:lnTo>
                  <a:lnTo>
                    <a:pt x="10557" y="3405"/>
                  </a:lnTo>
                  <a:lnTo>
                    <a:pt x="10616" y="3355"/>
                  </a:lnTo>
                  <a:lnTo>
                    <a:pt x="10676" y="3308"/>
                  </a:lnTo>
                  <a:lnTo>
                    <a:pt x="10738" y="3265"/>
                  </a:lnTo>
                  <a:lnTo>
                    <a:pt x="10802" y="3226"/>
                  </a:lnTo>
                  <a:lnTo>
                    <a:pt x="10866" y="3190"/>
                  </a:lnTo>
                  <a:lnTo>
                    <a:pt x="10933" y="3157"/>
                  </a:lnTo>
                  <a:lnTo>
                    <a:pt x="11000" y="3128"/>
                  </a:lnTo>
                  <a:lnTo>
                    <a:pt x="11069" y="3101"/>
                  </a:lnTo>
                  <a:lnTo>
                    <a:pt x="11139" y="3079"/>
                  </a:lnTo>
                  <a:lnTo>
                    <a:pt x="11209" y="3060"/>
                  </a:lnTo>
                  <a:lnTo>
                    <a:pt x="11280" y="3045"/>
                  </a:lnTo>
                  <a:lnTo>
                    <a:pt x="11352" y="3033"/>
                  </a:lnTo>
                  <a:lnTo>
                    <a:pt x="11423" y="3024"/>
                  </a:lnTo>
                  <a:lnTo>
                    <a:pt x="11496" y="3019"/>
                  </a:lnTo>
                  <a:lnTo>
                    <a:pt x="11568" y="3017"/>
                  </a:lnTo>
                  <a:lnTo>
                    <a:pt x="11641" y="3019"/>
                  </a:lnTo>
                  <a:lnTo>
                    <a:pt x="11713" y="3024"/>
                  </a:lnTo>
                  <a:lnTo>
                    <a:pt x="11785" y="3033"/>
                  </a:lnTo>
                  <a:lnTo>
                    <a:pt x="11857" y="3045"/>
                  </a:lnTo>
                  <a:lnTo>
                    <a:pt x="11927" y="3060"/>
                  </a:lnTo>
                  <a:lnTo>
                    <a:pt x="11998" y="3079"/>
                  </a:lnTo>
                  <a:lnTo>
                    <a:pt x="12067" y="3101"/>
                  </a:lnTo>
                  <a:lnTo>
                    <a:pt x="12137" y="3128"/>
                  </a:lnTo>
                  <a:lnTo>
                    <a:pt x="12204" y="3157"/>
                  </a:lnTo>
                  <a:lnTo>
                    <a:pt x="12270" y="3190"/>
                  </a:lnTo>
                  <a:lnTo>
                    <a:pt x="12335" y="3226"/>
                  </a:lnTo>
                  <a:lnTo>
                    <a:pt x="12398" y="3265"/>
                  </a:lnTo>
                  <a:lnTo>
                    <a:pt x="12461" y="3308"/>
                  </a:lnTo>
                  <a:lnTo>
                    <a:pt x="12521" y="3355"/>
                  </a:lnTo>
                  <a:lnTo>
                    <a:pt x="12579" y="3405"/>
                  </a:lnTo>
                  <a:lnTo>
                    <a:pt x="12635" y="3458"/>
                  </a:lnTo>
                  <a:lnTo>
                    <a:pt x="12689" y="3515"/>
                  </a:lnTo>
                  <a:lnTo>
                    <a:pt x="12738" y="3572"/>
                  </a:lnTo>
                  <a:lnTo>
                    <a:pt x="12785" y="3632"/>
                  </a:lnTo>
                  <a:lnTo>
                    <a:pt x="12828" y="3695"/>
                  </a:lnTo>
                  <a:lnTo>
                    <a:pt x="12868" y="3758"/>
                  </a:lnTo>
                  <a:lnTo>
                    <a:pt x="12904" y="3823"/>
                  </a:lnTo>
                  <a:lnTo>
                    <a:pt x="12936" y="3890"/>
                  </a:lnTo>
                  <a:lnTo>
                    <a:pt x="12967" y="3957"/>
                  </a:lnTo>
                  <a:lnTo>
                    <a:pt x="12992" y="4025"/>
                  </a:lnTo>
                  <a:lnTo>
                    <a:pt x="13015" y="4095"/>
                  </a:lnTo>
                  <a:lnTo>
                    <a:pt x="13033" y="4165"/>
                  </a:lnTo>
                  <a:lnTo>
                    <a:pt x="13049" y="4236"/>
                  </a:lnTo>
                  <a:lnTo>
                    <a:pt x="13061" y="4308"/>
                  </a:lnTo>
                  <a:lnTo>
                    <a:pt x="13069" y="4380"/>
                  </a:lnTo>
                  <a:lnTo>
                    <a:pt x="13075" y="4452"/>
                  </a:lnTo>
                  <a:lnTo>
                    <a:pt x="13076" y="4524"/>
                  </a:lnTo>
                  <a:lnTo>
                    <a:pt x="13075" y="4596"/>
                  </a:lnTo>
                  <a:lnTo>
                    <a:pt x="13069" y="4669"/>
                  </a:lnTo>
                  <a:lnTo>
                    <a:pt x="13061" y="4741"/>
                  </a:lnTo>
                  <a:lnTo>
                    <a:pt x="13049" y="4812"/>
                  </a:lnTo>
                  <a:lnTo>
                    <a:pt x="13033" y="4884"/>
                  </a:lnTo>
                  <a:lnTo>
                    <a:pt x="13015" y="4954"/>
                  </a:lnTo>
                  <a:lnTo>
                    <a:pt x="12992" y="5024"/>
                  </a:lnTo>
                  <a:lnTo>
                    <a:pt x="12967" y="5092"/>
                  </a:lnTo>
                  <a:lnTo>
                    <a:pt x="12936" y="5159"/>
                  </a:lnTo>
                  <a:lnTo>
                    <a:pt x="12904" y="5226"/>
                  </a:lnTo>
                  <a:lnTo>
                    <a:pt x="12868" y="5291"/>
                  </a:lnTo>
                  <a:lnTo>
                    <a:pt x="12828" y="5354"/>
                  </a:lnTo>
                  <a:lnTo>
                    <a:pt x="12785" y="5417"/>
                  </a:lnTo>
                  <a:lnTo>
                    <a:pt x="12738" y="5476"/>
                  </a:lnTo>
                  <a:lnTo>
                    <a:pt x="12689" y="5534"/>
                  </a:lnTo>
                  <a:lnTo>
                    <a:pt x="12635" y="5591"/>
                  </a:lnTo>
                  <a:lnTo>
                    <a:pt x="5297" y="12838"/>
                  </a:lnTo>
                  <a:lnTo>
                    <a:pt x="5203" y="12927"/>
                  </a:lnTo>
                  <a:lnTo>
                    <a:pt x="5106" y="13011"/>
                  </a:lnTo>
                  <a:lnTo>
                    <a:pt x="5006" y="13088"/>
                  </a:lnTo>
                  <a:lnTo>
                    <a:pt x="4902" y="13160"/>
                  </a:lnTo>
                  <a:lnTo>
                    <a:pt x="4796" y="13226"/>
                  </a:lnTo>
                  <a:lnTo>
                    <a:pt x="4688" y="13286"/>
                  </a:lnTo>
                  <a:lnTo>
                    <a:pt x="4577" y="13341"/>
                  </a:lnTo>
                  <a:lnTo>
                    <a:pt x="4465" y="13390"/>
                  </a:lnTo>
                  <a:lnTo>
                    <a:pt x="4351" y="13433"/>
                  </a:lnTo>
                  <a:lnTo>
                    <a:pt x="4235" y="13470"/>
                  </a:lnTo>
                  <a:lnTo>
                    <a:pt x="4117" y="13502"/>
                  </a:lnTo>
                  <a:lnTo>
                    <a:pt x="3999" y="13528"/>
                  </a:lnTo>
                  <a:lnTo>
                    <a:pt x="3880" y="13549"/>
                  </a:lnTo>
                  <a:lnTo>
                    <a:pt x="3760" y="13563"/>
                  </a:lnTo>
                  <a:lnTo>
                    <a:pt x="3639" y="13571"/>
                  </a:lnTo>
                  <a:lnTo>
                    <a:pt x="3519" y="13574"/>
                  </a:lnTo>
                  <a:lnTo>
                    <a:pt x="3398" y="13571"/>
                  </a:lnTo>
                  <a:lnTo>
                    <a:pt x="3277" y="13563"/>
                  </a:lnTo>
                  <a:lnTo>
                    <a:pt x="3158" y="13549"/>
                  </a:lnTo>
                  <a:lnTo>
                    <a:pt x="3039" y="13528"/>
                  </a:lnTo>
                  <a:lnTo>
                    <a:pt x="2920" y="13502"/>
                  </a:lnTo>
                  <a:lnTo>
                    <a:pt x="2803" y="13470"/>
                  </a:lnTo>
                  <a:lnTo>
                    <a:pt x="2687" y="13433"/>
                  </a:lnTo>
                  <a:lnTo>
                    <a:pt x="2572" y="13390"/>
                  </a:lnTo>
                  <a:lnTo>
                    <a:pt x="2460" y="13341"/>
                  </a:lnTo>
                  <a:lnTo>
                    <a:pt x="2350" y="13286"/>
                  </a:lnTo>
                  <a:lnTo>
                    <a:pt x="2241" y="13226"/>
                  </a:lnTo>
                  <a:lnTo>
                    <a:pt x="2136" y="13160"/>
                  </a:lnTo>
                  <a:lnTo>
                    <a:pt x="2032" y="13088"/>
                  </a:lnTo>
                  <a:lnTo>
                    <a:pt x="1931" y="13011"/>
                  </a:lnTo>
                  <a:lnTo>
                    <a:pt x="1835" y="12927"/>
                  </a:lnTo>
                  <a:lnTo>
                    <a:pt x="1740" y="12838"/>
                  </a:lnTo>
                  <a:lnTo>
                    <a:pt x="1652" y="12744"/>
                  </a:lnTo>
                  <a:lnTo>
                    <a:pt x="1568" y="12647"/>
                  </a:lnTo>
                  <a:lnTo>
                    <a:pt x="1491" y="12546"/>
                  </a:lnTo>
                  <a:lnTo>
                    <a:pt x="1418" y="12444"/>
                  </a:lnTo>
                  <a:lnTo>
                    <a:pt x="1352" y="12338"/>
                  </a:lnTo>
                  <a:lnTo>
                    <a:pt x="1292" y="12230"/>
                  </a:lnTo>
                  <a:lnTo>
                    <a:pt x="1237" y="12119"/>
                  </a:lnTo>
                  <a:lnTo>
                    <a:pt x="1188" y="12006"/>
                  </a:lnTo>
                  <a:lnTo>
                    <a:pt x="1145" y="11892"/>
                  </a:lnTo>
                  <a:lnTo>
                    <a:pt x="1108" y="11776"/>
                  </a:lnTo>
                  <a:lnTo>
                    <a:pt x="1076" y="11660"/>
                  </a:lnTo>
                  <a:lnTo>
                    <a:pt x="1050" y="11541"/>
                  </a:lnTo>
                  <a:lnTo>
                    <a:pt x="1030" y="11421"/>
                  </a:lnTo>
                  <a:lnTo>
                    <a:pt x="1016" y="11302"/>
                  </a:lnTo>
                  <a:lnTo>
                    <a:pt x="1007" y="11181"/>
                  </a:lnTo>
                  <a:lnTo>
                    <a:pt x="1004" y="11060"/>
                  </a:lnTo>
                  <a:lnTo>
                    <a:pt x="1007" y="10940"/>
                  </a:lnTo>
                  <a:lnTo>
                    <a:pt x="1016" y="10820"/>
                  </a:lnTo>
                  <a:lnTo>
                    <a:pt x="1030" y="10701"/>
                  </a:lnTo>
                  <a:lnTo>
                    <a:pt x="1050" y="10581"/>
                  </a:lnTo>
                  <a:lnTo>
                    <a:pt x="1076" y="10462"/>
                  </a:lnTo>
                  <a:lnTo>
                    <a:pt x="1108" y="10346"/>
                  </a:lnTo>
                  <a:lnTo>
                    <a:pt x="1145" y="10229"/>
                  </a:lnTo>
                  <a:lnTo>
                    <a:pt x="1188" y="10115"/>
                  </a:lnTo>
                  <a:lnTo>
                    <a:pt x="1237" y="10003"/>
                  </a:lnTo>
                  <a:lnTo>
                    <a:pt x="1292" y="9892"/>
                  </a:lnTo>
                  <a:lnTo>
                    <a:pt x="1352" y="9784"/>
                  </a:lnTo>
                  <a:lnTo>
                    <a:pt x="1418" y="9678"/>
                  </a:lnTo>
                  <a:lnTo>
                    <a:pt x="1491" y="9575"/>
                  </a:lnTo>
                  <a:lnTo>
                    <a:pt x="1568" y="9475"/>
                  </a:lnTo>
                  <a:lnTo>
                    <a:pt x="1652" y="9378"/>
                  </a:lnTo>
                  <a:lnTo>
                    <a:pt x="1740" y="9284"/>
                  </a:lnTo>
                  <a:lnTo>
                    <a:pt x="9007" y="2108"/>
                  </a:lnTo>
                  <a:lnTo>
                    <a:pt x="9139" y="1982"/>
                  </a:lnTo>
                  <a:lnTo>
                    <a:pt x="9275" y="1866"/>
                  </a:lnTo>
                  <a:lnTo>
                    <a:pt x="9415" y="1757"/>
                  </a:lnTo>
                  <a:lnTo>
                    <a:pt x="9559" y="1657"/>
                  </a:lnTo>
                  <a:lnTo>
                    <a:pt x="9707" y="1564"/>
                  </a:lnTo>
                  <a:lnTo>
                    <a:pt x="9859" y="1480"/>
                  </a:lnTo>
                  <a:lnTo>
                    <a:pt x="10014" y="1402"/>
                  </a:lnTo>
                  <a:lnTo>
                    <a:pt x="10172" y="1334"/>
                  </a:lnTo>
                  <a:lnTo>
                    <a:pt x="10332" y="1274"/>
                  </a:lnTo>
                  <a:lnTo>
                    <a:pt x="10495" y="1221"/>
                  </a:lnTo>
                  <a:lnTo>
                    <a:pt x="10659" y="1177"/>
                  </a:lnTo>
                  <a:lnTo>
                    <a:pt x="10825" y="1141"/>
                  </a:lnTo>
                  <a:lnTo>
                    <a:pt x="10992" y="1113"/>
                  </a:lnTo>
                  <a:lnTo>
                    <a:pt x="11160" y="1093"/>
                  </a:lnTo>
                  <a:lnTo>
                    <a:pt x="11328" y="1081"/>
                  </a:lnTo>
                  <a:lnTo>
                    <a:pt x="11497" y="1077"/>
                  </a:lnTo>
                  <a:lnTo>
                    <a:pt x="11666" y="1081"/>
                  </a:lnTo>
                  <a:lnTo>
                    <a:pt x="11835" y="1093"/>
                  </a:lnTo>
                  <a:lnTo>
                    <a:pt x="12003" y="1113"/>
                  </a:lnTo>
                  <a:lnTo>
                    <a:pt x="12170" y="1141"/>
                  </a:lnTo>
                  <a:lnTo>
                    <a:pt x="12335" y="1177"/>
                  </a:lnTo>
                  <a:lnTo>
                    <a:pt x="12500" y="1221"/>
                  </a:lnTo>
                  <a:lnTo>
                    <a:pt x="12662" y="1274"/>
                  </a:lnTo>
                  <a:lnTo>
                    <a:pt x="12822" y="1334"/>
                  </a:lnTo>
                  <a:lnTo>
                    <a:pt x="12980" y="1402"/>
                  </a:lnTo>
                  <a:lnTo>
                    <a:pt x="13135" y="1480"/>
                  </a:lnTo>
                  <a:lnTo>
                    <a:pt x="13285" y="1564"/>
                  </a:lnTo>
                  <a:lnTo>
                    <a:pt x="13433" y="1657"/>
                  </a:lnTo>
                  <a:lnTo>
                    <a:pt x="13578" y="1757"/>
                  </a:lnTo>
                  <a:lnTo>
                    <a:pt x="13718" y="1866"/>
                  </a:lnTo>
                  <a:lnTo>
                    <a:pt x="13855" y="1982"/>
                  </a:lnTo>
                  <a:lnTo>
                    <a:pt x="13986" y="2108"/>
                  </a:lnTo>
                  <a:lnTo>
                    <a:pt x="14110" y="2239"/>
                  </a:lnTo>
                  <a:lnTo>
                    <a:pt x="14228" y="2376"/>
                  </a:lnTo>
                  <a:lnTo>
                    <a:pt x="14337" y="2515"/>
                  </a:lnTo>
                  <a:lnTo>
                    <a:pt x="14437" y="2660"/>
                  </a:lnTo>
                  <a:lnTo>
                    <a:pt x="14530" y="2808"/>
                  </a:lnTo>
                  <a:lnTo>
                    <a:pt x="14614" y="2960"/>
                  </a:lnTo>
                  <a:lnTo>
                    <a:pt x="14692" y="3114"/>
                  </a:lnTo>
                  <a:lnTo>
                    <a:pt x="14760" y="3272"/>
                  </a:lnTo>
                  <a:lnTo>
                    <a:pt x="14820" y="3432"/>
                  </a:lnTo>
                  <a:lnTo>
                    <a:pt x="14873" y="3594"/>
                  </a:lnTo>
                  <a:lnTo>
                    <a:pt x="14917" y="3758"/>
                  </a:lnTo>
                  <a:lnTo>
                    <a:pt x="14953" y="3924"/>
                  </a:lnTo>
                  <a:lnTo>
                    <a:pt x="14981" y="4091"/>
                  </a:lnTo>
                  <a:lnTo>
                    <a:pt x="15002" y="4258"/>
                  </a:lnTo>
                  <a:lnTo>
                    <a:pt x="15014" y="4427"/>
                  </a:lnTo>
                  <a:lnTo>
                    <a:pt x="15018" y="4596"/>
                  </a:lnTo>
                  <a:lnTo>
                    <a:pt x="15014" y="4765"/>
                  </a:lnTo>
                  <a:lnTo>
                    <a:pt x="15002" y="4933"/>
                  </a:lnTo>
                  <a:lnTo>
                    <a:pt x="14981" y="5101"/>
                  </a:lnTo>
                  <a:lnTo>
                    <a:pt x="14953" y="5268"/>
                  </a:lnTo>
                  <a:lnTo>
                    <a:pt x="14917" y="5434"/>
                  </a:lnTo>
                  <a:lnTo>
                    <a:pt x="14873" y="5598"/>
                  </a:lnTo>
                  <a:lnTo>
                    <a:pt x="14820" y="5759"/>
                  </a:lnTo>
                  <a:lnTo>
                    <a:pt x="14760" y="5919"/>
                  </a:lnTo>
                  <a:lnTo>
                    <a:pt x="14692" y="6077"/>
                  </a:lnTo>
                  <a:lnTo>
                    <a:pt x="14615" y="6232"/>
                  </a:lnTo>
                  <a:lnTo>
                    <a:pt x="14531" y="6384"/>
                  </a:lnTo>
                  <a:lnTo>
                    <a:pt x="14438" y="6531"/>
                  </a:lnTo>
                  <a:lnTo>
                    <a:pt x="14338" y="6676"/>
                  </a:lnTo>
                  <a:lnTo>
                    <a:pt x="14228" y="6816"/>
                  </a:lnTo>
                  <a:lnTo>
                    <a:pt x="14111" y="6953"/>
                  </a:lnTo>
                  <a:lnTo>
                    <a:pt x="13987" y="7083"/>
                  </a:lnTo>
                  <a:lnTo>
                    <a:pt x="8541" y="12525"/>
                  </a:lnTo>
                  <a:lnTo>
                    <a:pt x="8523" y="12544"/>
                  </a:lnTo>
                  <a:lnTo>
                    <a:pt x="8507" y="12563"/>
                  </a:lnTo>
                  <a:lnTo>
                    <a:pt x="8491" y="12583"/>
                  </a:lnTo>
                  <a:lnTo>
                    <a:pt x="8477" y="12605"/>
                  </a:lnTo>
                  <a:lnTo>
                    <a:pt x="8464" y="12626"/>
                  </a:lnTo>
                  <a:lnTo>
                    <a:pt x="8451" y="12648"/>
                  </a:lnTo>
                  <a:lnTo>
                    <a:pt x="8441" y="12670"/>
                  </a:lnTo>
                  <a:lnTo>
                    <a:pt x="8431" y="12692"/>
                  </a:lnTo>
                  <a:lnTo>
                    <a:pt x="8422" y="12715"/>
                  </a:lnTo>
                  <a:lnTo>
                    <a:pt x="8415" y="12738"/>
                  </a:lnTo>
                  <a:lnTo>
                    <a:pt x="8408" y="12761"/>
                  </a:lnTo>
                  <a:lnTo>
                    <a:pt x="8403" y="12786"/>
                  </a:lnTo>
                  <a:lnTo>
                    <a:pt x="8399" y="12810"/>
                  </a:lnTo>
                  <a:lnTo>
                    <a:pt x="8396" y="12833"/>
                  </a:lnTo>
                  <a:lnTo>
                    <a:pt x="8395" y="12857"/>
                  </a:lnTo>
                  <a:lnTo>
                    <a:pt x="8394" y="12881"/>
                  </a:lnTo>
                  <a:lnTo>
                    <a:pt x="8395" y="12905"/>
                  </a:lnTo>
                  <a:lnTo>
                    <a:pt x="8396" y="12929"/>
                  </a:lnTo>
                  <a:lnTo>
                    <a:pt x="8399" y="12953"/>
                  </a:lnTo>
                  <a:lnTo>
                    <a:pt x="8403" y="12978"/>
                  </a:lnTo>
                  <a:lnTo>
                    <a:pt x="8408" y="13001"/>
                  </a:lnTo>
                  <a:lnTo>
                    <a:pt x="8415" y="13025"/>
                  </a:lnTo>
                  <a:lnTo>
                    <a:pt x="8422" y="13048"/>
                  </a:lnTo>
                  <a:lnTo>
                    <a:pt x="8431" y="13070"/>
                  </a:lnTo>
                  <a:lnTo>
                    <a:pt x="8441" y="13093"/>
                  </a:lnTo>
                  <a:lnTo>
                    <a:pt x="8451" y="13115"/>
                  </a:lnTo>
                  <a:lnTo>
                    <a:pt x="8464" y="13136"/>
                  </a:lnTo>
                  <a:lnTo>
                    <a:pt x="8477" y="13157"/>
                  </a:lnTo>
                  <a:lnTo>
                    <a:pt x="8491" y="13179"/>
                  </a:lnTo>
                  <a:lnTo>
                    <a:pt x="8507" y="13199"/>
                  </a:lnTo>
                  <a:lnTo>
                    <a:pt x="8523" y="13218"/>
                  </a:lnTo>
                  <a:lnTo>
                    <a:pt x="8541" y="13237"/>
                  </a:lnTo>
                  <a:lnTo>
                    <a:pt x="8561" y="13254"/>
                  </a:lnTo>
                  <a:lnTo>
                    <a:pt x="8580" y="13271"/>
                  </a:lnTo>
                  <a:lnTo>
                    <a:pt x="8600" y="13286"/>
                  </a:lnTo>
                  <a:lnTo>
                    <a:pt x="8621" y="13301"/>
                  </a:lnTo>
                  <a:lnTo>
                    <a:pt x="8642" y="13314"/>
                  </a:lnTo>
                  <a:lnTo>
                    <a:pt x="8663" y="13326"/>
                  </a:lnTo>
                  <a:lnTo>
                    <a:pt x="8685" y="13337"/>
                  </a:lnTo>
                  <a:lnTo>
                    <a:pt x="8708" y="13348"/>
                  </a:lnTo>
                  <a:lnTo>
                    <a:pt x="8731" y="13356"/>
                  </a:lnTo>
                  <a:lnTo>
                    <a:pt x="8754" y="13364"/>
                  </a:lnTo>
                  <a:lnTo>
                    <a:pt x="8778" y="13370"/>
                  </a:lnTo>
                  <a:lnTo>
                    <a:pt x="8801" y="13375"/>
                  </a:lnTo>
                  <a:lnTo>
                    <a:pt x="8825" y="13379"/>
                  </a:lnTo>
                  <a:lnTo>
                    <a:pt x="8849" y="13382"/>
                  </a:lnTo>
                  <a:lnTo>
                    <a:pt x="8873" y="13384"/>
                  </a:lnTo>
                  <a:lnTo>
                    <a:pt x="8898" y="13385"/>
                  </a:lnTo>
                  <a:lnTo>
                    <a:pt x="8922" y="13384"/>
                  </a:lnTo>
                  <a:lnTo>
                    <a:pt x="8946" y="13382"/>
                  </a:lnTo>
                  <a:lnTo>
                    <a:pt x="8969" y="13379"/>
                  </a:lnTo>
                  <a:lnTo>
                    <a:pt x="8993" y="13375"/>
                  </a:lnTo>
                  <a:lnTo>
                    <a:pt x="9017" y="13370"/>
                  </a:lnTo>
                  <a:lnTo>
                    <a:pt x="9040" y="13364"/>
                  </a:lnTo>
                  <a:lnTo>
                    <a:pt x="9063" y="13356"/>
                  </a:lnTo>
                  <a:lnTo>
                    <a:pt x="9087" y="13348"/>
                  </a:lnTo>
                  <a:lnTo>
                    <a:pt x="9109" y="13337"/>
                  </a:lnTo>
                  <a:lnTo>
                    <a:pt x="9131" y="13326"/>
                  </a:lnTo>
                  <a:lnTo>
                    <a:pt x="9153" y="13314"/>
                  </a:lnTo>
                  <a:lnTo>
                    <a:pt x="9174" y="13301"/>
                  </a:lnTo>
                  <a:lnTo>
                    <a:pt x="9194" y="13286"/>
                  </a:lnTo>
                  <a:lnTo>
                    <a:pt x="9214" y="13271"/>
                  </a:lnTo>
                  <a:lnTo>
                    <a:pt x="9234" y="13254"/>
                  </a:lnTo>
                  <a:lnTo>
                    <a:pt x="9253" y="13237"/>
                  </a:lnTo>
                  <a:lnTo>
                    <a:pt x="14768" y="7724"/>
                  </a:lnTo>
                  <a:lnTo>
                    <a:pt x="14929" y="7555"/>
                  </a:lnTo>
                  <a:lnTo>
                    <a:pt x="15080" y="7380"/>
                  </a:lnTo>
                  <a:lnTo>
                    <a:pt x="15220" y="7200"/>
                  </a:lnTo>
                  <a:lnTo>
                    <a:pt x="15349" y="7014"/>
                  </a:lnTo>
                  <a:lnTo>
                    <a:pt x="15468" y="6823"/>
                  </a:lnTo>
                  <a:lnTo>
                    <a:pt x="15577" y="6628"/>
                  </a:lnTo>
                  <a:lnTo>
                    <a:pt x="15676" y="6430"/>
                  </a:lnTo>
                  <a:lnTo>
                    <a:pt x="15763" y="6227"/>
                  </a:lnTo>
                  <a:lnTo>
                    <a:pt x="15842" y="6021"/>
                  </a:lnTo>
                  <a:lnTo>
                    <a:pt x="15909" y="5813"/>
                  </a:lnTo>
                  <a:lnTo>
                    <a:pt x="15965" y="5602"/>
                  </a:lnTo>
                  <a:lnTo>
                    <a:pt x="16013" y="5388"/>
                  </a:lnTo>
                  <a:lnTo>
                    <a:pt x="16049" y="5174"/>
                  </a:lnTo>
                  <a:lnTo>
                    <a:pt x="16074" y="4958"/>
                  </a:lnTo>
                  <a:lnTo>
                    <a:pt x="16090" y="4742"/>
                  </a:lnTo>
                  <a:lnTo>
                    <a:pt x="16095" y="4525"/>
                  </a:lnTo>
                  <a:lnTo>
                    <a:pt x="16090" y="4308"/>
                  </a:lnTo>
                  <a:lnTo>
                    <a:pt x="16074" y="4091"/>
                  </a:lnTo>
                  <a:lnTo>
                    <a:pt x="16049" y="3875"/>
                  </a:lnTo>
                  <a:lnTo>
                    <a:pt x="16013" y="3660"/>
                  </a:lnTo>
                  <a:lnTo>
                    <a:pt x="15965" y="3447"/>
                  </a:lnTo>
                  <a:lnTo>
                    <a:pt x="15909" y="3236"/>
                  </a:lnTo>
                  <a:lnTo>
                    <a:pt x="15842" y="3028"/>
                  </a:lnTo>
                  <a:lnTo>
                    <a:pt x="15763" y="2822"/>
                  </a:lnTo>
                  <a:lnTo>
                    <a:pt x="15676" y="2620"/>
                  </a:lnTo>
                  <a:lnTo>
                    <a:pt x="15577" y="2421"/>
                  </a:lnTo>
                  <a:lnTo>
                    <a:pt x="15468" y="2226"/>
                  </a:lnTo>
                  <a:lnTo>
                    <a:pt x="15349" y="2036"/>
                  </a:lnTo>
                  <a:lnTo>
                    <a:pt x="15220" y="1850"/>
                  </a:lnTo>
                  <a:lnTo>
                    <a:pt x="15080" y="1669"/>
                  </a:lnTo>
                  <a:lnTo>
                    <a:pt x="14929" y="1495"/>
                  </a:lnTo>
                  <a:lnTo>
                    <a:pt x="14768" y="13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solidFill>
                  <a:schemeClr val="bg1">
                    <a:lumMod val="95000"/>
                  </a:schemeClr>
                </a:solidFill>
              </a:endParaRPr>
            </a:p>
          </p:txBody>
        </p:sp>
      </p:grpSp>
      <p:grpSp>
        <p:nvGrpSpPr>
          <p:cNvPr id="7" name="í$ḷiďé">
            <a:extLst>
              <a:ext uri="{FF2B5EF4-FFF2-40B4-BE49-F238E27FC236}">
                <a16:creationId xmlns:a16="http://schemas.microsoft.com/office/drawing/2014/main" id="{7D7E3AF1-2087-442E-BA77-3B9F9E10DB34}"/>
              </a:ext>
            </a:extLst>
          </p:cNvPr>
          <p:cNvGrpSpPr/>
          <p:nvPr/>
        </p:nvGrpSpPr>
        <p:grpSpPr>
          <a:xfrm>
            <a:off x="1545723" y="4237483"/>
            <a:ext cx="1808716" cy="2643944"/>
            <a:chOff x="7663267" y="3500283"/>
            <a:chExt cx="1808716" cy="2643944"/>
          </a:xfrm>
        </p:grpSpPr>
        <p:sp>
          <p:nvSpPr>
            <p:cNvPr id="12" name="iSľïďè">
              <a:extLst>
                <a:ext uri="{FF2B5EF4-FFF2-40B4-BE49-F238E27FC236}">
                  <a16:creationId xmlns:a16="http://schemas.microsoft.com/office/drawing/2014/main" id="{A0076C35-3531-44DC-AFCA-7CD4573F6660}"/>
                </a:ext>
              </a:extLst>
            </p:cNvPr>
            <p:cNvSpPr/>
            <p:nvPr/>
          </p:nvSpPr>
          <p:spPr bwMode="auto">
            <a:xfrm>
              <a:off x="8330106" y="4623202"/>
              <a:ext cx="473924" cy="372448"/>
            </a:xfrm>
            <a:custGeom>
              <a:avLst/>
              <a:gdLst>
                <a:gd name="T0" fmla="*/ 0 w 425"/>
                <a:gd name="T1" fmla="*/ 0 h 334"/>
                <a:gd name="T2" fmla="*/ 213 w 425"/>
                <a:gd name="T3" fmla="*/ 0 h 334"/>
                <a:gd name="T4" fmla="*/ 425 w 425"/>
                <a:gd name="T5" fmla="*/ 0 h 334"/>
                <a:gd name="T6" fmla="*/ 425 w 425"/>
                <a:gd name="T7" fmla="*/ 334 h 334"/>
                <a:gd name="T8" fmla="*/ 213 w 425"/>
                <a:gd name="T9" fmla="*/ 334 h 334"/>
                <a:gd name="T10" fmla="*/ 0 w 425"/>
                <a:gd name="T11" fmla="*/ 334 h 334"/>
                <a:gd name="T12" fmla="*/ 0 w 425"/>
                <a:gd name="T13" fmla="*/ 0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5" h="334">
                  <a:moveTo>
                    <a:pt x="0" y="0"/>
                  </a:moveTo>
                  <a:lnTo>
                    <a:pt x="213" y="0"/>
                  </a:lnTo>
                  <a:lnTo>
                    <a:pt x="425" y="0"/>
                  </a:lnTo>
                  <a:lnTo>
                    <a:pt x="425" y="334"/>
                  </a:lnTo>
                  <a:lnTo>
                    <a:pt x="213" y="334"/>
                  </a:lnTo>
                  <a:lnTo>
                    <a:pt x="0" y="3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BF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zh-CN" altLang="en-US"/>
            </a:p>
          </p:txBody>
        </p:sp>
        <p:sp>
          <p:nvSpPr>
            <p:cNvPr id="13" name="ï$ľïḋè">
              <a:extLst>
                <a:ext uri="{FF2B5EF4-FFF2-40B4-BE49-F238E27FC236}">
                  <a16:creationId xmlns:a16="http://schemas.microsoft.com/office/drawing/2014/main" id="{1D4DC7E1-3536-486F-9467-70B10C93CC4D}"/>
                </a:ext>
              </a:extLst>
            </p:cNvPr>
            <p:cNvSpPr/>
            <p:nvPr/>
          </p:nvSpPr>
          <p:spPr bwMode="auto">
            <a:xfrm>
              <a:off x="8111543" y="3580571"/>
              <a:ext cx="912164" cy="1218820"/>
            </a:xfrm>
            <a:custGeom>
              <a:avLst/>
              <a:gdLst>
                <a:gd name="T0" fmla="*/ 336 w 671"/>
                <a:gd name="T1" fmla="*/ 898 h 898"/>
                <a:gd name="T2" fmla="*/ 0 w 671"/>
                <a:gd name="T3" fmla="*/ 449 h 898"/>
                <a:gd name="T4" fmla="*/ 336 w 671"/>
                <a:gd name="T5" fmla="*/ 0 h 898"/>
                <a:gd name="T6" fmla="*/ 671 w 671"/>
                <a:gd name="T7" fmla="*/ 449 h 898"/>
                <a:gd name="T8" fmla="*/ 336 w 671"/>
                <a:gd name="T9" fmla="*/ 898 h 8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1" h="898">
                  <a:moveTo>
                    <a:pt x="336" y="898"/>
                  </a:moveTo>
                  <a:cubicBezTo>
                    <a:pt x="150" y="896"/>
                    <a:pt x="0" y="696"/>
                    <a:pt x="0" y="449"/>
                  </a:cubicBezTo>
                  <a:cubicBezTo>
                    <a:pt x="0" y="202"/>
                    <a:pt x="150" y="2"/>
                    <a:pt x="336" y="0"/>
                  </a:cubicBezTo>
                  <a:cubicBezTo>
                    <a:pt x="521" y="2"/>
                    <a:pt x="671" y="202"/>
                    <a:pt x="671" y="449"/>
                  </a:cubicBezTo>
                  <a:cubicBezTo>
                    <a:pt x="671" y="696"/>
                    <a:pt x="521" y="896"/>
                    <a:pt x="336" y="898"/>
                  </a:cubicBezTo>
                  <a:close/>
                </a:path>
              </a:pathLst>
            </a:custGeom>
            <a:solidFill>
              <a:srgbClr val="F9D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zh-CN" altLang="en-US"/>
            </a:p>
          </p:txBody>
        </p:sp>
        <p:sp>
          <p:nvSpPr>
            <p:cNvPr id="14" name="îṣļiḋê">
              <a:extLst>
                <a:ext uri="{FF2B5EF4-FFF2-40B4-BE49-F238E27FC236}">
                  <a16:creationId xmlns:a16="http://schemas.microsoft.com/office/drawing/2014/main" id="{7EA80B7A-4614-4256-AA8E-BF58208AE4D6}"/>
                </a:ext>
              </a:extLst>
            </p:cNvPr>
            <p:cNvSpPr/>
            <p:nvPr/>
          </p:nvSpPr>
          <p:spPr bwMode="auto">
            <a:xfrm>
              <a:off x="8213019" y="4857376"/>
              <a:ext cx="708098" cy="1286850"/>
            </a:xfrm>
            <a:custGeom>
              <a:avLst/>
              <a:gdLst>
                <a:gd name="connsiteX0" fmla="*/ 117087 w 708098"/>
                <a:gd name="connsiteY0" fmla="*/ 0 h 1286850"/>
                <a:gd name="connsiteX1" fmla="*/ 354607 w 708098"/>
                <a:gd name="connsiteY1" fmla="*/ 102591 h 1286850"/>
                <a:gd name="connsiteX2" fmla="*/ 591011 w 708098"/>
                <a:gd name="connsiteY2" fmla="*/ 0 h 1286850"/>
                <a:gd name="connsiteX3" fmla="*/ 708098 w 708098"/>
                <a:gd name="connsiteY3" fmla="*/ 10036 h 1286850"/>
                <a:gd name="connsiteX4" fmla="*/ 400326 w 708098"/>
                <a:gd name="connsiteY4" fmla="*/ 1119576 h 1286850"/>
                <a:gd name="connsiteX5" fmla="*/ 400326 w 708098"/>
                <a:gd name="connsiteY5" fmla="*/ 1286850 h 1286850"/>
                <a:gd name="connsiteX6" fmla="*/ 355549 w 708098"/>
                <a:gd name="connsiteY6" fmla="*/ 1286850 h 1286850"/>
                <a:gd name="connsiteX7" fmla="*/ 354607 w 708098"/>
                <a:gd name="connsiteY7" fmla="*/ 1283497 h 1286850"/>
                <a:gd name="connsiteX8" fmla="*/ 353665 w 708098"/>
                <a:gd name="connsiteY8" fmla="*/ 1286850 h 1286850"/>
                <a:gd name="connsiteX9" fmla="*/ 308887 w 708098"/>
                <a:gd name="connsiteY9" fmla="*/ 1286850 h 1286850"/>
                <a:gd name="connsiteX10" fmla="*/ 308887 w 708098"/>
                <a:gd name="connsiteY10" fmla="*/ 1119576 h 1286850"/>
                <a:gd name="connsiteX11" fmla="*/ 0 w 708098"/>
                <a:gd name="connsiteY11" fmla="*/ 10036 h 1286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08098" h="1286850">
                  <a:moveTo>
                    <a:pt x="117087" y="0"/>
                  </a:moveTo>
                  <a:lnTo>
                    <a:pt x="354607" y="102591"/>
                  </a:lnTo>
                  <a:lnTo>
                    <a:pt x="591011" y="0"/>
                  </a:lnTo>
                  <a:lnTo>
                    <a:pt x="708098" y="10036"/>
                  </a:lnTo>
                  <a:lnTo>
                    <a:pt x="400326" y="1119576"/>
                  </a:lnTo>
                  <a:lnTo>
                    <a:pt x="400326" y="1286850"/>
                  </a:lnTo>
                  <a:lnTo>
                    <a:pt x="355549" y="1286850"/>
                  </a:lnTo>
                  <a:lnTo>
                    <a:pt x="354607" y="1283497"/>
                  </a:lnTo>
                  <a:lnTo>
                    <a:pt x="353665" y="1286850"/>
                  </a:lnTo>
                  <a:lnTo>
                    <a:pt x="308887" y="1286850"/>
                  </a:lnTo>
                  <a:lnTo>
                    <a:pt x="308887" y="1119576"/>
                  </a:lnTo>
                  <a:lnTo>
                    <a:pt x="0" y="10036"/>
                  </a:lnTo>
                  <a:close/>
                </a:path>
              </a:pathLst>
            </a:custGeom>
            <a:solidFill>
              <a:srgbClr val="FBFF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zh-CN" altLang="en-US"/>
            </a:p>
          </p:txBody>
        </p:sp>
        <p:sp>
          <p:nvSpPr>
            <p:cNvPr id="15" name="isḷïḋè">
              <a:extLst>
                <a:ext uri="{FF2B5EF4-FFF2-40B4-BE49-F238E27FC236}">
                  <a16:creationId xmlns:a16="http://schemas.microsoft.com/office/drawing/2014/main" id="{DAB1D2E0-BE0B-46C5-B66D-E7FA4CA50486}"/>
                </a:ext>
              </a:extLst>
            </p:cNvPr>
            <p:cNvSpPr/>
            <p:nvPr/>
          </p:nvSpPr>
          <p:spPr bwMode="auto">
            <a:xfrm>
              <a:off x="7663267" y="4867414"/>
              <a:ext cx="1808716" cy="1276813"/>
            </a:xfrm>
            <a:custGeom>
              <a:avLst/>
              <a:gdLst>
                <a:gd name="connsiteX0" fmla="*/ 549752 w 1808716"/>
                <a:gd name="connsiteY0" fmla="*/ 0 h 1276813"/>
                <a:gd name="connsiteX1" fmla="*/ 904358 w 1808716"/>
                <a:gd name="connsiteY1" fmla="*/ 1240008 h 1276813"/>
                <a:gd name="connsiteX2" fmla="*/ 1257849 w 1808716"/>
                <a:gd name="connsiteY2" fmla="*/ 0 h 1276813"/>
                <a:gd name="connsiteX3" fmla="*/ 1670442 w 1808716"/>
                <a:gd name="connsiteY3" fmla="*/ 152771 h 1276813"/>
                <a:gd name="connsiteX4" fmla="*/ 1808716 w 1808716"/>
                <a:gd name="connsiteY4" fmla="*/ 958999 h 1276813"/>
                <a:gd name="connsiteX5" fmla="*/ 1719855 w 1808716"/>
                <a:gd name="connsiteY5" fmla="*/ 1276813 h 1276813"/>
                <a:gd name="connsiteX6" fmla="*/ 88861 w 1808716"/>
                <a:gd name="connsiteY6" fmla="*/ 1276813 h 1276813"/>
                <a:gd name="connsiteX7" fmla="*/ 0 w 1808716"/>
                <a:gd name="connsiteY7" fmla="*/ 958999 h 1276813"/>
                <a:gd name="connsiteX8" fmla="*/ 139390 w 1808716"/>
                <a:gd name="connsiteY8" fmla="*/ 152771 h 1276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08716" h="1276813">
                  <a:moveTo>
                    <a:pt x="549752" y="0"/>
                  </a:moveTo>
                  <a:lnTo>
                    <a:pt x="904358" y="1240008"/>
                  </a:lnTo>
                  <a:lnTo>
                    <a:pt x="1257849" y="0"/>
                  </a:lnTo>
                  <a:lnTo>
                    <a:pt x="1670442" y="152771"/>
                  </a:lnTo>
                  <a:lnTo>
                    <a:pt x="1808716" y="958999"/>
                  </a:lnTo>
                  <a:lnTo>
                    <a:pt x="1719855" y="1276813"/>
                  </a:lnTo>
                  <a:lnTo>
                    <a:pt x="88861" y="1276813"/>
                  </a:lnTo>
                  <a:lnTo>
                    <a:pt x="0" y="958999"/>
                  </a:lnTo>
                  <a:lnTo>
                    <a:pt x="139390" y="152771"/>
                  </a:lnTo>
                  <a:close/>
                </a:path>
              </a:pathLst>
            </a:custGeom>
            <a:solidFill>
              <a:srgbClr val="3C46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zh-CN" altLang="en-US"/>
            </a:p>
          </p:txBody>
        </p:sp>
        <p:sp>
          <p:nvSpPr>
            <p:cNvPr id="16" name="ï$ļïḑe">
              <a:extLst>
                <a:ext uri="{FF2B5EF4-FFF2-40B4-BE49-F238E27FC236}">
                  <a16:creationId xmlns:a16="http://schemas.microsoft.com/office/drawing/2014/main" id="{7F310B93-128F-4856-9091-DE7C93515377}"/>
                </a:ext>
              </a:extLst>
            </p:cNvPr>
            <p:cNvSpPr/>
            <p:nvPr/>
          </p:nvSpPr>
          <p:spPr bwMode="auto">
            <a:xfrm>
              <a:off x="8037946" y="3500283"/>
              <a:ext cx="1060475" cy="822954"/>
            </a:xfrm>
            <a:custGeom>
              <a:avLst/>
              <a:gdLst>
                <a:gd name="T0" fmla="*/ 390 w 780"/>
                <a:gd name="T1" fmla="*/ 2 h 606"/>
                <a:gd name="T2" fmla="*/ 171 w 780"/>
                <a:gd name="T3" fmla="*/ 39 h 606"/>
                <a:gd name="T4" fmla="*/ 33 w 780"/>
                <a:gd name="T5" fmla="*/ 437 h 606"/>
                <a:gd name="T6" fmla="*/ 62 w 780"/>
                <a:gd name="T7" fmla="*/ 606 h 606"/>
                <a:gd name="T8" fmla="*/ 152 w 780"/>
                <a:gd name="T9" fmla="*/ 316 h 606"/>
                <a:gd name="T10" fmla="*/ 166 w 780"/>
                <a:gd name="T11" fmla="*/ 409 h 606"/>
                <a:gd name="T12" fmla="*/ 390 w 780"/>
                <a:gd name="T13" fmla="*/ 287 h 606"/>
                <a:gd name="T14" fmla="*/ 673 w 780"/>
                <a:gd name="T15" fmla="*/ 347 h 606"/>
                <a:gd name="T16" fmla="*/ 717 w 780"/>
                <a:gd name="T17" fmla="*/ 606 h 606"/>
                <a:gd name="T18" fmla="*/ 746 w 780"/>
                <a:gd name="T19" fmla="*/ 437 h 606"/>
                <a:gd name="T20" fmla="*/ 608 w 780"/>
                <a:gd name="T21" fmla="*/ 39 h 606"/>
                <a:gd name="T22" fmla="*/ 390 w 780"/>
                <a:gd name="T23" fmla="*/ 2 h 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80" h="606">
                  <a:moveTo>
                    <a:pt x="390" y="2"/>
                  </a:moveTo>
                  <a:cubicBezTo>
                    <a:pt x="292" y="21"/>
                    <a:pt x="235" y="0"/>
                    <a:pt x="171" y="39"/>
                  </a:cubicBezTo>
                  <a:cubicBezTo>
                    <a:pt x="82" y="93"/>
                    <a:pt x="0" y="236"/>
                    <a:pt x="33" y="437"/>
                  </a:cubicBezTo>
                  <a:cubicBezTo>
                    <a:pt x="43" y="493"/>
                    <a:pt x="53" y="550"/>
                    <a:pt x="62" y="606"/>
                  </a:cubicBezTo>
                  <a:cubicBezTo>
                    <a:pt x="80" y="508"/>
                    <a:pt x="73" y="408"/>
                    <a:pt x="152" y="316"/>
                  </a:cubicBezTo>
                  <a:cubicBezTo>
                    <a:pt x="180" y="345"/>
                    <a:pt x="137" y="380"/>
                    <a:pt x="166" y="409"/>
                  </a:cubicBezTo>
                  <a:cubicBezTo>
                    <a:pt x="191" y="339"/>
                    <a:pt x="310" y="298"/>
                    <a:pt x="390" y="287"/>
                  </a:cubicBezTo>
                  <a:cubicBezTo>
                    <a:pt x="473" y="283"/>
                    <a:pt x="620" y="300"/>
                    <a:pt x="673" y="347"/>
                  </a:cubicBezTo>
                  <a:cubicBezTo>
                    <a:pt x="734" y="402"/>
                    <a:pt x="698" y="501"/>
                    <a:pt x="717" y="606"/>
                  </a:cubicBezTo>
                  <a:cubicBezTo>
                    <a:pt x="727" y="550"/>
                    <a:pt x="736" y="493"/>
                    <a:pt x="746" y="437"/>
                  </a:cubicBezTo>
                  <a:cubicBezTo>
                    <a:pt x="780" y="236"/>
                    <a:pt x="697" y="93"/>
                    <a:pt x="608" y="39"/>
                  </a:cubicBezTo>
                  <a:cubicBezTo>
                    <a:pt x="544" y="0"/>
                    <a:pt x="487" y="21"/>
                    <a:pt x="390" y="2"/>
                  </a:cubicBezTo>
                  <a:close/>
                </a:path>
              </a:pathLst>
            </a:custGeom>
            <a:solidFill>
              <a:srgbClr val="3F3E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zh-CN" altLang="en-US"/>
            </a:p>
          </p:txBody>
        </p:sp>
        <p:sp>
          <p:nvSpPr>
            <p:cNvPr id="17" name="išḻíḓè">
              <a:extLst>
                <a:ext uri="{FF2B5EF4-FFF2-40B4-BE49-F238E27FC236}">
                  <a16:creationId xmlns:a16="http://schemas.microsoft.com/office/drawing/2014/main" id="{B7813790-248A-45F3-9A77-AD720C635C59}"/>
                </a:ext>
              </a:extLst>
            </p:cNvPr>
            <p:cNvSpPr/>
            <p:nvPr/>
          </p:nvSpPr>
          <p:spPr bwMode="auto">
            <a:xfrm>
              <a:off x="8460575" y="4959967"/>
              <a:ext cx="212987" cy="1147453"/>
            </a:xfrm>
            <a:custGeom>
              <a:avLst/>
              <a:gdLst>
                <a:gd name="T0" fmla="*/ 96 w 191"/>
                <a:gd name="T1" fmla="*/ 0 h 1029"/>
                <a:gd name="T2" fmla="*/ 0 w 191"/>
                <a:gd name="T3" fmla="*/ 97 h 1029"/>
                <a:gd name="T4" fmla="*/ 51 w 191"/>
                <a:gd name="T5" fmla="*/ 216 h 1029"/>
                <a:gd name="T6" fmla="*/ 12 w 191"/>
                <a:gd name="T7" fmla="*/ 752 h 1029"/>
                <a:gd name="T8" fmla="*/ 96 w 191"/>
                <a:gd name="T9" fmla="*/ 1029 h 1029"/>
                <a:gd name="T10" fmla="*/ 179 w 191"/>
                <a:gd name="T11" fmla="*/ 752 h 1029"/>
                <a:gd name="T12" fmla="*/ 141 w 191"/>
                <a:gd name="T13" fmla="*/ 216 h 1029"/>
                <a:gd name="T14" fmla="*/ 191 w 191"/>
                <a:gd name="T15" fmla="*/ 97 h 1029"/>
                <a:gd name="T16" fmla="*/ 96 w 191"/>
                <a:gd name="T1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1" h="1029">
                  <a:moveTo>
                    <a:pt x="96" y="0"/>
                  </a:moveTo>
                  <a:lnTo>
                    <a:pt x="0" y="97"/>
                  </a:lnTo>
                  <a:lnTo>
                    <a:pt x="51" y="216"/>
                  </a:lnTo>
                  <a:lnTo>
                    <a:pt x="12" y="752"/>
                  </a:lnTo>
                  <a:lnTo>
                    <a:pt x="96" y="1029"/>
                  </a:lnTo>
                  <a:lnTo>
                    <a:pt x="179" y="752"/>
                  </a:lnTo>
                  <a:lnTo>
                    <a:pt x="141" y="216"/>
                  </a:lnTo>
                  <a:lnTo>
                    <a:pt x="191" y="97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EE62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zh-CN" altLang="en-US"/>
            </a:p>
          </p:txBody>
        </p:sp>
      </p:grp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BCFA7C3F-B62C-4037-9EC9-3E87F0A6D245}"/>
              </a:ext>
            </a:extLst>
          </p:cNvPr>
          <p:cNvCxnSpPr>
            <a:cxnSpLocks/>
          </p:cNvCxnSpPr>
          <p:nvPr/>
        </p:nvCxnSpPr>
        <p:spPr>
          <a:xfrm>
            <a:off x="4943573" y="3609898"/>
            <a:ext cx="1231900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ïṧļíḓè">
            <a:extLst>
              <a:ext uri="{FF2B5EF4-FFF2-40B4-BE49-F238E27FC236}">
                <a16:creationId xmlns:a16="http://schemas.microsoft.com/office/drawing/2014/main" id="{F39F88FF-616C-4E0A-901D-E7CDBBAB1E59}"/>
              </a:ext>
            </a:extLst>
          </p:cNvPr>
          <p:cNvGrpSpPr/>
          <p:nvPr/>
        </p:nvGrpSpPr>
        <p:grpSpPr>
          <a:xfrm>
            <a:off x="4862027" y="3195127"/>
            <a:ext cx="5827903" cy="1625924"/>
            <a:chOff x="6447684" y="4054511"/>
            <a:chExt cx="5827903" cy="1625924"/>
          </a:xfrm>
        </p:grpSpPr>
        <p:sp>
          <p:nvSpPr>
            <p:cNvPr id="10" name="ïśḻïḓé">
              <a:extLst>
                <a:ext uri="{FF2B5EF4-FFF2-40B4-BE49-F238E27FC236}">
                  <a16:creationId xmlns:a16="http://schemas.microsoft.com/office/drawing/2014/main" id="{8316902B-9F15-4AE4-BBCF-5E1CB0686F18}"/>
                </a:ext>
              </a:extLst>
            </p:cNvPr>
            <p:cNvSpPr/>
            <p:nvPr/>
          </p:nvSpPr>
          <p:spPr bwMode="auto">
            <a:xfrm>
              <a:off x="6501371" y="4573096"/>
              <a:ext cx="5774216" cy="11073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400" dirty="0"/>
                <a:t>该森马店铺处于当地繁华的步行街商圈，面积</a:t>
              </a:r>
              <a:r>
                <a:rPr lang="en-US" altLang="zh-CN" sz="1400" dirty="0"/>
                <a:t>2300</a:t>
              </a:r>
              <a:r>
                <a:rPr lang="zh-CN" altLang="en-US" sz="1400" dirty="0"/>
                <a:t>平米，</a:t>
              </a:r>
            </a:p>
            <a:p>
              <a:pPr>
                <a:lnSpc>
                  <a:spcPct val="120000"/>
                </a:lnSpc>
              </a:pPr>
              <a:r>
                <a:rPr lang="zh-CN" altLang="en-US" sz="1400" dirty="0"/>
                <a:t>全年零售业绩</a:t>
              </a:r>
              <a:r>
                <a:rPr lang="en-US" altLang="zh-CN" sz="1400" dirty="0"/>
                <a:t>3000</a:t>
              </a:r>
              <a:r>
                <a:rPr lang="zh-CN" altLang="en-US" sz="1400" dirty="0"/>
                <a:t>万，导购员</a:t>
              </a:r>
              <a:r>
                <a:rPr lang="en-US" altLang="zh-CN" sz="1400" b="1" dirty="0"/>
                <a:t>23</a:t>
              </a:r>
              <a:r>
                <a:rPr lang="zh-CN" altLang="en-US" sz="1400" b="1" dirty="0"/>
                <a:t>人，</a:t>
              </a:r>
              <a:r>
                <a:rPr lang="zh-CN" altLang="en-US" sz="1400" dirty="0"/>
                <a:t>你会如何安排？</a:t>
              </a:r>
              <a:endParaRPr lang="en-US" altLang="zh-CN" sz="1400" dirty="0"/>
            </a:p>
          </p:txBody>
        </p:sp>
        <p:sp>
          <p:nvSpPr>
            <p:cNvPr id="11" name="í$1íḍè">
              <a:extLst>
                <a:ext uri="{FF2B5EF4-FFF2-40B4-BE49-F238E27FC236}">
                  <a16:creationId xmlns:a16="http://schemas.microsoft.com/office/drawing/2014/main" id="{FCBCE448-A746-45FC-ABE2-27B64D489326}"/>
                </a:ext>
              </a:extLst>
            </p:cNvPr>
            <p:cNvSpPr txBox="1"/>
            <p:nvPr/>
          </p:nvSpPr>
          <p:spPr bwMode="auto">
            <a:xfrm>
              <a:off x="6447684" y="4054511"/>
              <a:ext cx="5774216" cy="41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zh-CN" altLang="en-US" sz="2400" b="1" dirty="0"/>
                <a:t>如果你是该店店长，你会如何排班？ </a:t>
              </a:r>
              <a:endParaRPr lang="en-US" altLang="zh-CN" sz="24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25496486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3200" dirty="0"/>
              <a:t>项目背景分析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3906983" y="3912541"/>
            <a:ext cx="5701936" cy="1804768"/>
          </a:xfrm>
        </p:spPr>
        <p:txBody>
          <a:bodyPr>
            <a:normAutofit/>
          </a:bodyPr>
          <a:lstStyle/>
          <a:p>
            <a:pPr lvl="0">
              <a:lnSpc>
                <a:spcPct val="100000"/>
              </a:lnSpc>
            </a:pPr>
            <a:r>
              <a:rPr lang="zh-CN" altLang="en-US" sz="1400" dirty="0"/>
              <a:t>以往的方式简单易用，</a:t>
            </a:r>
            <a:endParaRPr lang="en-US" altLang="zh-CN" sz="1400" dirty="0"/>
          </a:p>
          <a:p>
            <a:pPr lvl="0">
              <a:lnSpc>
                <a:spcPct val="100000"/>
              </a:lnSpc>
            </a:pPr>
            <a:r>
              <a:rPr lang="zh-CN" altLang="en-US" sz="1400" dirty="0"/>
              <a:t>但是人员能效低，业绩产出不够，人员流失率高</a:t>
            </a:r>
            <a:endParaRPr lang="en-US" altLang="zh-CN" sz="1400" dirty="0"/>
          </a:p>
          <a:p>
            <a:pPr lvl="0">
              <a:lnSpc>
                <a:spcPct val="100000"/>
              </a:lnSpc>
            </a:pPr>
            <a:r>
              <a:rPr lang="zh-CN" altLang="en-US" sz="1400" dirty="0"/>
              <a:t>传统的细分方案难落地</a:t>
            </a:r>
            <a:endParaRPr lang="en-US" altLang="zh-CN" sz="1400" dirty="0"/>
          </a:p>
          <a:p>
            <a:pPr lvl="0">
              <a:lnSpc>
                <a:spcPct val="100000"/>
              </a:lnSpc>
            </a:pPr>
            <a:r>
              <a:rPr lang="zh-CN" altLang="en-US" sz="1400" dirty="0"/>
              <a:t>缺乏足够的数据支撑，操作麻烦，实际效果一般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0245945" y="357761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100" normalizeH="0" baseline="0" noProof="0" dirty="0">
                <a:ln>
                  <a:noFill/>
                </a:ln>
                <a:solidFill>
                  <a:srgbClr val="BD40A4"/>
                </a:solidFill>
                <a:effectLst/>
                <a:uLnTx/>
                <a:uFillTx/>
                <a:latin typeface="Impact" panose="020B0806030902050204" pitchFamily="34" charset="0"/>
                <a:ea typeface="微软雅黑"/>
                <a:cs typeface="Arial" panose="020B0604020202020204" pitchFamily="34" charset="0"/>
              </a:rPr>
              <a:t>/01</a:t>
            </a:r>
            <a:endParaRPr kumimoji="0" lang="zh-CN" altLang="en-US" sz="1800" b="0" i="0" u="none" strike="noStrike" kern="1200" cap="none" spc="100" normalizeH="0" baseline="0" noProof="0" dirty="0">
              <a:ln>
                <a:noFill/>
              </a:ln>
              <a:solidFill>
                <a:srgbClr val="BD40A4"/>
              </a:solidFill>
              <a:effectLst/>
              <a:uLnTx/>
              <a:uFillTx/>
              <a:latin typeface="Impact" panose="020B0806030902050204" pitchFamily="34" charset="0"/>
              <a:ea typeface="微软雅黑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1761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A6B316D-4121-4F9B-AF33-640C659AA8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现状分析</a:t>
            </a:r>
          </a:p>
        </p:txBody>
      </p:sp>
      <p:grpSp>
        <p:nvGrpSpPr>
          <p:cNvPr id="5" name="3133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81A26844-CF2C-4A01-A4A0-D721DB30B1CC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-843659" y="2349285"/>
            <a:ext cx="7787127" cy="2159430"/>
            <a:chOff x="2474473" y="2558835"/>
            <a:chExt cx="7787127" cy="2159430"/>
          </a:xfrm>
        </p:grpSpPr>
        <p:sp>
          <p:nvSpPr>
            <p:cNvPr id="6" name="íśḻíḍê">
              <a:extLst>
                <a:ext uri="{FF2B5EF4-FFF2-40B4-BE49-F238E27FC236}">
                  <a16:creationId xmlns:a16="http://schemas.microsoft.com/office/drawing/2014/main" id="{9D501AC0-9A16-4AA7-804B-055E5315B262}"/>
                </a:ext>
              </a:extLst>
            </p:cNvPr>
            <p:cNvSpPr/>
            <p:nvPr/>
          </p:nvSpPr>
          <p:spPr>
            <a:xfrm>
              <a:off x="5824353" y="2558835"/>
              <a:ext cx="1372198" cy="1372337"/>
            </a:xfrm>
            <a:prstGeom prst="circularArrow">
              <a:avLst>
                <a:gd name="adj1" fmla="val 10980"/>
                <a:gd name="adj2" fmla="val 1142322"/>
                <a:gd name="adj3" fmla="val 4500000"/>
                <a:gd name="adj4" fmla="val 10800000"/>
                <a:gd name="adj5" fmla="val 125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sz="4000"/>
            </a:p>
          </p:txBody>
        </p:sp>
        <p:sp>
          <p:nvSpPr>
            <p:cNvPr id="7" name="ïśliḍe">
              <a:extLst>
                <a:ext uri="{FF2B5EF4-FFF2-40B4-BE49-F238E27FC236}">
                  <a16:creationId xmlns:a16="http://schemas.microsoft.com/office/drawing/2014/main" id="{0A98818E-70BC-4F29-9639-B1A2163BE67D}"/>
                </a:ext>
              </a:extLst>
            </p:cNvPr>
            <p:cNvSpPr/>
            <p:nvPr/>
          </p:nvSpPr>
          <p:spPr>
            <a:xfrm>
              <a:off x="5443144" y="3345928"/>
              <a:ext cx="1372198" cy="1372337"/>
            </a:xfrm>
            <a:prstGeom prst="leftCircularArrow">
              <a:avLst>
                <a:gd name="adj1" fmla="val 10980"/>
                <a:gd name="adj2" fmla="val 1142322"/>
                <a:gd name="adj3" fmla="val 6300000"/>
                <a:gd name="adj4" fmla="val 18900000"/>
                <a:gd name="adj5" fmla="val 125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sz="4000"/>
            </a:p>
          </p:txBody>
        </p:sp>
        <p:sp>
          <p:nvSpPr>
            <p:cNvPr id="8" name="íṥḷíḋê">
              <a:extLst>
                <a:ext uri="{FF2B5EF4-FFF2-40B4-BE49-F238E27FC236}">
                  <a16:creationId xmlns:a16="http://schemas.microsoft.com/office/drawing/2014/main" id="{F214856D-69DD-4539-BCA4-609EF1E9906D}"/>
                </a:ext>
              </a:extLst>
            </p:cNvPr>
            <p:cNvSpPr/>
            <p:nvPr/>
          </p:nvSpPr>
          <p:spPr bwMode="auto">
            <a:xfrm>
              <a:off x="6330298" y="2968082"/>
              <a:ext cx="360307" cy="377848"/>
            </a:xfrm>
            <a:custGeom>
              <a:avLst/>
              <a:gdLst>
                <a:gd name="connsiteX0" fmla="*/ 271981 w 578354"/>
                <a:gd name="connsiteY0" fmla="*/ 340887 h 606510"/>
                <a:gd name="connsiteX1" fmla="*/ 256365 w 578354"/>
                <a:gd name="connsiteY1" fmla="*/ 346409 h 606510"/>
                <a:gd name="connsiteX2" fmla="*/ 251051 w 578354"/>
                <a:gd name="connsiteY2" fmla="*/ 352798 h 606510"/>
                <a:gd name="connsiteX3" fmla="*/ 251051 w 578354"/>
                <a:gd name="connsiteY3" fmla="*/ 368716 h 606510"/>
                <a:gd name="connsiteX4" fmla="*/ 248665 w 578354"/>
                <a:gd name="connsiteY4" fmla="*/ 370449 h 606510"/>
                <a:gd name="connsiteX5" fmla="*/ 247038 w 578354"/>
                <a:gd name="connsiteY5" fmla="*/ 375322 h 606510"/>
                <a:gd name="connsiteX6" fmla="*/ 250509 w 578354"/>
                <a:gd name="connsiteY6" fmla="*/ 409431 h 606510"/>
                <a:gd name="connsiteX7" fmla="*/ 255172 w 578354"/>
                <a:gd name="connsiteY7" fmla="*/ 414954 h 606510"/>
                <a:gd name="connsiteX8" fmla="*/ 256907 w 578354"/>
                <a:gd name="connsiteY8" fmla="*/ 415170 h 606510"/>
                <a:gd name="connsiteX9" fmla="*/ 262004 w 578354"/>
                <a:gd name="connsiteY9" fmla="*/ 412572 h 606510"/>
                <a:gd name="connsiteX10" fmla="*/ 280114 w 578354"/>
                <a:gd name="connsiteY10" fmla="*/ 388749 h 606510"/>
                <a:gd name="connsiteX11" fmla="*/ 281307 w 578354"/>
                <a:gd name="connsiteY11" fmla="*/ 384851 h 606510"/>
                <a:gd name="connsiteX12" fmla="*/ 281307 w 578354"/>
                <a:gd name="connsiteY12" fmla="*/ 346626 h 606510"/>
                <a:gd name="connsiteX13" fmla="*/ 278270 w 578354"/>
                <a:gd name="connsiteY13" fmla="*/ 341104 h 606510"/>
                <a:gd name="connsiteX14" fmla="*/ 271981 w 578354"/>
                <a:gd name="connsiteY14" fmla="*/ 340887 h 606510"/>
                <a:gd name="connsiteX15" fmla="*/ 190755 w 578354"/>
                <a:gd name="connsiteY15" fmla="*/ 340887 h 606510"/>
                <a:gd name="connsiteX16" fmla="*/ 184357 w 578354"/>
                <a:gd name="connsiteY16" fmla="*/ 341104 h 606510"/>
                <a:gd name="connsiteX17" fmla="*/ 181321 w 578354"/>
                <a:gd name="connsiteY17" fmla="*/ 346626 h 606510"/>
                <a:gd name="connsiteX18" fmla="*/ 181212 w 578354"/>
                <a:gd name="connsiteY18" fmla="*/ 384851 h 606510"/>
                <a:gd name="connsiteX19" fmla="*/ 182513 w 578354"/>
                <a:gd name="connsiteY19" fmla="*/ 388749 h 606510"/>
                <a:gd name="connsiteX20" fmla="*/ 200624 w 578354"/>
                <a:gd name="connsiteY20" fmla="*/ 412680 h 606510"/>
                <a:gd name="connsiteX21" fmla="*/ 205721 w 578354"/>
                <a:gd name="connsiteY21" fmla="*/ 415170 h 606510"/>
                <a:gd name="connsiteX22" fmla="*/ 207456 w 578354"/>
                <a:gd name="connsiteY22" fmla="*/ 414954 h 606510"/>
                <a:gd name="connsiteX23" fmla="*/ 212119 w 578354"/>
                <a:gd name="connsiteY23" fmla="*/ 409431 h 606510"/>
                <a:gd name="connsiteX24" fmla="*/ 215589 w 578354"/>
                <a:gd name="connsiteY24" fmla="*/ 375322 h 606510"/>
                <a:gd name="connsiteX25" fmla="*/ 213963 w 578354"/>
                <a:gd name="connsiteY25" fmla="*/ 370449 h 606510"/>
                <a:gd name="connsiteX26" fmla="*/ 211577 w 578354"/>
                <a:gd name="connsiteY26" fmla="*/ 368716 h 606510"/>
                <a:gd name="connsiteX27" fmla="*/ 211577 w 578354"/>
                <a:gd name="connsiteY27" fmla="*/ 352798 h 606510"/>
                <a:gd name="connsiteX28" fmla="*/ 206263 w 578354"/>
                <a:gd name="connsiteY28" fmla="*/ 346409 h 606510"/>
                <a:gd name="connsiteX29" fmla="*/ 190755 w 578354"/>
                <a:gd name="connsiteY29" fmla="*/ 340887 h 606510"/>
                <a:gd name="connsiteX30" fmla="*/ 200624 w 578354"/>
                <a:gd name="connsiteY30" fmla="*/ 168497 h 606510"/>
                <a:gd name="connsiteX31" fmla="*/ 156161 w 578354"/>
                <a:gd name="connsiteY31" fmla="*/ 180300 h 606510"/>
                <a:gd name="connsiteX32" fmla="*/ 152583 w 578354"/>
                <a:gd name="connsiteY32" fmla="*/ 186039 h 606510"/>
                <a:gd name="connsiteX33" fmla="*/ 152583 w 578354"/>
                <a:gd name="connsiteY33" fmla="*/ 197518 h 606510"/>
                <a:gd name="connsiteX34" fmla="*/ 149980 w 578354"/>
                <a:gd name="connsiteY34" fmla="*/ 197518 h 606510"/>
                <a:gd name="connsiteX35" fmla="*/ 143473 w 578354"/>
                <a:gd name="connsiteY35" fmla="*/ 203906 h 606510"/>
                <a:gd name="connsiteX36" fmla="*/ 143473 w 578354"/>
                <a:gd name="connsiteY36" fmla="*/ 214410 h 606510"/>
                <a:gd name="connsiteX37" fmla="*/ 146401 w 578354"/>
                <a:gd name="connsiteY37" fmla="*/ 219824 h 606510"/>
                <a:gd name="connsiteX38" fmla="*/ 152691 w 578354"/>
                <a:gd name="connsiteY38" fmla="*/ 223831 h 606510"/>
                <a:gd name="connsiteX39" fmla="*/ 153016 w 578354"/>
                <a:gd name="connsiteY39" fmla="*/ 226538 h 606510"/>
                <a:gd name="connsiteX40" fmla="*/ 176007 w 578354"/>
                <a:gd name="connsiteY40" fmla="*/ 279598 h 606510"/>
                <a:gd name="connsiteX41" fmla="*/ 214071 w 578354"/>
                <a:gd name="connsiteY41" fmla="*/ 312516 h 606510"/>
                <a:gd name="connsiteX42" fmla="*/ 248557 w 578354"/>
                <a:gd name="connsiteY42" fmla="*/ 312516 h 606510"/>
                <a:gd name="connsiteX43" fmla="*/ 286621 w 578354"/>
                <a:gd name="connsiteY43" fmla="*/ 279598 h 606510"/>
                <a:gd name="connsiteX44" fmla="*/ 309611 w 578354"/>
                <a:gd name="connsiteY44" fmla="*/ 226538 h 606510"/>
                <a:gd name="connsiteX45" fmla="*/ 309936 w 578354"/>
                <a:gd name="connsiteY45" fmla="*/ 223831 h 606510"/>
                <a:gd name="connsiteX46" fmla="*/ 316226 w 578354"/>
                <a:gd name="connsiteY46" fmla="*/ 219824 h 606510"/>
                <a:gd name="connsiteX47" fmla="*/ 319154 w 578354"/>
                <a:gd name="connsiteY47" fmla="*/ 214410 h 606510"/>
                <a:gd name="connsiteX48" fmla="*/ 319154 w 578354"/>
                <a:gd name="connsiteY48" fmla="*/ 203906 h 606510"/>
                <a:gd name="connsiteX49" fmla="*/ 312756 w 578354"/>
                <a:gd name="connsiteY49" fmla="*/ 197518 h 606510"/>
                <a:gd name="connsiteX50" fmla="*/ 309177 w 578354"/>
                <a:gd name="connsiteY50" fmla="*/ 197518 h 606510"/>
                <a:gd name="connsiteX51" fmla="*/ 307117 w 578354"/>
                <a:gd name="connsiteY51" fmla="*/ 195352 h 606510"/>
                <a:gd name="connsiteX52" fmla="*/ 301044 w 578354"/>
                <a:gd name="connsiteY52" fmla="*/ 194919 h 606510"/>
                <a:gd name="connsiteX53" fmla="*/ 275668 w 578354"/>
                <a:gd name="connsiteY53" fmla="*/ 200658 h 606510"/>
                <a:gd name="connsiteX54" fmla="*/ 236302 w 578354"/>
                <a:gd name="connsiteY54" fmla="*/ 182791 h 606510"/>
                <a:gd name="connsiteX55" fmla="*/ 200624 w 578354"/>
                <a:gd name="connsiteY55" fmla="*/ 168497 h 606510"/>
                <a:gd name="connsiteX56" fmla="*/ 426321 w 578354"/>
                <a:gd name="connsiteY56" fmla="*/ 71765 h 606510"/>
                <a:gd name="connsiteX57" fmla="*/ 439012 w 578354"/>
                <a:gd name="connsiteY57" fmla="*/ 84331 h 606510"/>
                <a:gd name="connsiteX58" fmla="*/ 439012 w 578354"/>
                <a:gd name="connsiteY58" fmla="*/ 99173 h 606510"/>
                <a:gd name="connsiteX59" fmla="*/ 464721 w 578354"/>
                <a:gd name="connsiteY59" fmla="*/ 112498 h 606510"/>
                <a:gd name="connsiteX60" fmla="*/ 467758 w 578354"/>
                <a:gd name="connsiteY60" fmla="*/ 124306 h 606510"/>
                <a:gd name="connsiteX61" fmla="*/ 459297 w 578354"/>
                <a:gd name="connsiteY61" fmla="*/ 133080 h 606510"/>
                <a:gd name="connsiteX62" fmla="*/ 452789 w 578354"/>
                <a:gd name="connsiteY62" fmla="*/ 135139 h 606510"/>
                <a:gd name="connsiteX63" fmla="*/ 439555 w 578354"/>
                <a:gd name="connsiteY63" fmla="*/ 131455 h 606510"/>
                <a:gd name="connsiteX64" fmla="*/ 425019 w 578354"/>
                <a:gd name="connsiteY64" fmla="*/ 125931 h 606510"/>
                <a:gd name="connsiteX65" fmla="*/ 413738 w 578354"/>
                <a:gd name="connsiteY65" fmla="*/ 132972 h 606510"/>
                <a:gd name="connsiteX66" fmla="*/ 415582 w 578354"/>
                <a:gd name="connsiteY66" fmla="*/ 137197 h 606510"/>
                <a:gd name="connsiteX67" fmla="*/ 426429 w 578354"/>
                <a:gd name="connsiteY67" fmla="*/ 140989 h 606510"/>
                <a:gd name="connsiteX68" fmla="*/ 456043 w 578354"/>
                <a:gd name="connsiteY68" fmla="*/ 149113 h 606510"/>
                <a:gd name="connsiteX69" fmla="*/ 471230 w 578354"/>
                <a:gd name="connsiteY69" fmla="*/ 161355 h 606510"/>
                <a:gd name="connsiteX70" fmla="*/ 477304 w 578354"/>
                <a:gd name="connsiteY70" fmla="*/ 181829 h 606510"/>
                <a:gd name="connsiteX71" fmla="*/ 465480 w 578354"/>
                <a:gd name="connsiteY71" fmla="*/ 209454 h 606510"/>
                <a:gd name="connsiteX72" fmla="*/ 439012 w 578354"/>
                <a:gd name="connsiteY72" fmla="*/ 222020 h 606510"/>
                <a:gd name="connsiteX73" fmla="*/ 439012 w 578354"/>
                <a:gd name="connsiteY73" fmla="*/ 242278 h 606510"/>
                <a:gd name="connsiteX74" fmla="*/ 426321 w 578354"/>
                <a:gd name="connsiteY74" fmla="*/ 254953 h 606510"/>
                <a:gd name="connsiteX75" fmla="*/ 413738 w 578354"/>
                <a:gd name="connsiteY75" fmla="*/ 242278 h 606510"/>
                <a:gd name="connsiteX76" fmla="*/ 413738 w 578354"/>
                <a:gd name="connsiteY76" fmla="*/ 222670 h 606510"/>
                <a:gd name="connsiteX77" fmla="*/ 378158 w 578354"/>
                <a:gd name="connsiteY77" fmla="*/ 202087 h 606510"/>
                <a:gd name="connsiteX78" fmla="*/ 377073 w 578354"/>
                <a:gd name="connsiteY78" fmla="*/ 190171 h 606510"/>
                <a:gd name="connsiteX79" fmla="*/ 386402 w 578354"/>
                <a:gd name="connsiteY79" fmla="*/ 182696 h 606510"/>
                <a:gd name="connsiteX80" fmla="*/ 395948 w 578354"/>
                <a:gd name="connsiteY80" fmla="*/ 180963 h 606510"/>
                <a:gd name="connsiteX81" fmla="*/ 408531 w 578354"/>
                <a:gd name="connsiteY81" fmla="*/ 186163 h 606510"/>
                <a:gd name="connsiteX82" fmla="*/ 426646 w 578354"/>
                <a:gd name="connsiteY82" fmla="*/ 193963 h 606510"/>
                <a:gd name="connsiteX83" fmla="*/ 439555 w 578354"/>
                <a:gd name="connsiteY83" fmla="*/ 187138 h 606510"/>
                <a:gd name="connsiteX84" fmla="*/ 436626 w 578354"/>
                <a:gd name="connsiteY84" fmla="*/ 181504 h 606510"/>
                <a:gd name="connsiteX85" fmla="*/ 425778 w 578354"/>
                <a:gd name="connsiteY85" fmla="*/ 177821 h 606510"/>
                <a:gd name="connsiteX86" fmla="*/ 385534 w 578354"/>
                <a:gd name="connsiteY86" fmla="*/ 161355 h 606510"/>
                <a:gd name="connsiteX87" fmla="*/ 376964 w 578354"/>
                <a:gd name="connsiteY87" fmla="*/ 138280 h 606510"/>
                <a:gd name="connsiteX88" fmla="*/ 386402 w 578354"/>
                <a:gd name="connsiteY88" fmla="*/ 112714 h 606510"/>
                <a:gd name="connsiteX89" fmla="*/ 413738 w 578354"/>
                <a:gd name="connsiteY89" fmla="*/ 98848 h 606510"/>
                <a:gd name="connsiteX90" fmla="*/ 413738 w 578354"/>
                <a:gd name="connsiteY90" fmla="*/ 84331 h 606510"/>
                <a:gd name="connsiteX91" fmla="*/ 426321 w 578354"/>
                <a:gd name="connsiteY91" fmla="*/ 71765 h 606510"/>
                <a:gd name="connsiteX92" fmla="*/ 215047 w 578354"/>
                <a:gd name="connsiteY92" fmla="*/ 46785 h 606510"/>
                <a:gd name="connsiteX93" fmla="*/ 247581 w 578354"/>
                <a:gd name="connsiteY93" fmla="*/ 46785 h 606510"/>
                <a:gd name="connsiteX94" fmla="*/ 347675 w 578354"/>
                <a:gd name="connsiteY94" fmla="*/ 146840 h 606510"/>
                <a:gd name="connsiteX95" fmla="*/ 347675 w 578354"/>
                <a:gd name="connsiteY95" fmla="*/ 178243 h 606510"/>
                <a:gd name="connsiteX96" fmla="*/ 353423 w 578354"/>
                <a:gd name="connsiteY96" fmla="*/ 196110 h 606510"/>
                <a:gd name="connsiteX97" fmla="*/ 353423 w 578354"/>
                <a:gd name="connsiteY97" fmla="*/ 218525 h 606510"/>
                <a:gd name="connsiteX98" fmla="*/ 342362 w 578354"/>
                <a:gd name="connsiteY98" fmla="*/ 242131 h 606510"/>
                <a:gd name="connsiteX99" fmla="*/ 335963 w 578354"/>
                <a:gd name="connsiteY99" fmla="*/ 259132 h 606510"/>
                <a:gd name="connsiteX100" fmla="*/ 314383 w 578354"/>
                <a:gd name="connsiteY100" fmla="*/ 299522 h 606510"/>
                <a:gd name="connsiteX101" fmla="*/ 299743 w 578354"/>
                <a:gd name="connsiteY101" fmla="*/ 318147 h 606510"/>
                <a:gd name="connsiteX102" fmla="*/ 310587 w 578354"/>
                <a:gd name="connsiteY102" fmla="*/ 331683 h 606510"/>
                <a:gd name="connsiteX103" fmla="*/ 382052 w 578354"/>
                <a:gd name="connsiteY103" fmla="*/ 353231 h 606510"/>
                <a:gd name="connsiteX104" fmla="*/ 462627 w 578354"/>
                <a:gd name="connsiteY104" fmla="*/ 587560 h 606510"/>
                <a:gd name="connsiteX105" fmla="*/ 443758 w 578354"/>
                <a:gd name="connsiteY105" fmla="*/ 606510 h 606510"/>
                <a:gd name="connsiteX106" fmla="*/ 18978 w 578354"/>
                <a:gd name="connsiteY106" fmla="*/ 606510 h 606510"/>
                <a:gd name="connsiteX107" fmla="*/ 0 w 578354"/>
                <a:gd name="connsiteY107" fmla="*/ 587560 h 606510"/>
                <a:gd name="connsiteX108" fmla="*/ 217 w 578354"/>
                <a:gd name="connsiteY108" fmla="*/ 584636 h 606510"/>
                <a:gd name="connsiteX109" fmla="*/ 80575 w 578354"/>
                <a:gd name="connsiteY109" fmla="*/ 353231 h 606510"/>
                <a:gd name="connsiteX110" fmla="*/ 152040 w 578354"/>
                <a:gd name="connsiteY110" fmla="*/ 331683 h 606510"/>
                <a:gd name="connsiteX111" fmla="*/ 162885 w 578354"/>
                <a:gd name="connsiteY111" fmla="*/ 318147 h 606510"/>
                <a:gd name="connsiteX112" fmla="*/ 148353 w 578354"/>
                <a:gd name="connsiteY112" fmla="*/ 299522 h 606510"/>
                <a:gd name="connsiteX113" fmla="*/ 126664 w 578354"/>
                <a:gd name="connsiteY113" fmla="*/ 259132 h 606510"/>
                <a:gd name="connsiteX114" fmla="*/ 120266 w 578354"/>
                <a:gd name="connsiteY114" fmla="*/ 242131 h 606510"/>
                <a:gd name="connsiteX115" fmla="*/ 109205 w 578354"/>
                <a:gd name="connsiteY115" fmla="*/ 218525 h 606510"/>
                <a:gd name="connsiteX116" fmla="*/ 109205 w 578354"/>
                <a:gd name="connsiteY116" fmla="*/ 196110 h 606510"/>
                <a:gd name="connsiteX117" fmla="*/ 114952 w 578354"/>
                <a:gd name="connsiteY117" fmla="*/ 178243 h 606510"/>
                <a:gd name="connsiteX118" fmla="*/ 114952 w 578354"/>
                <a:gd name="connsiteY118" fmla="*/ 146840 h 606510"/>
                <a:gd name="connsiteX119" fmla="*/ 215047 w 578354"/>
                <a:gd name="connsiteY119" fmla="*/ 46785 h 606510"/>
                <a:gd name="connsiteX120" fmla="*/ 414825 w 578354"/>
                <a:gd name="connsiteY120" fmla="*/ 0 h 606510"/>
                <a:gd name="connsiteX121" fmla="*/ 578354 w 578354"/>
                <a:gd name="connsiteY121" fmla="*/ 163305 h 606510"/>
                <a:gd name="connsiteX122" fmla="*/ 414825 w 578354"/>
                <a:gd name="connsiteY122" fmla="*/ 326718 h 606510"/>
                <a:gd name="connsiteX123" fmla="*/ 344664 w 578354"/>
                <a:gd name="connsiteY123" fmla="*/ 310907 h 606510"/>
                <a:gd name="connsiteX124" fmla="*/ 360063 w 578354"/>
                <a:gd name="connsiteY124" fmla="*/ 279719 h 606510"/>
                <a:gd name="connsiteX125" fmla="*/ 414825 w 578354"/>
                <a:gd name="connsiteY125" fmla="*/ 291956 h 606510"/>
                <a:gd name="connsiteX126" fmla="*/ 543545 w 578354"/>
                <a:gd name="connsiteY126" fmla="*/ 163305 h 606510"/>
                <a:gd name="connsiteX127" fmla="*/ 414825 w 578354"/>
                <a:gd name="connsiteY127" fmla="*/ 34762 h 606510"/>
                <a:gd name="connsiteX128" fmla="*/ 338808 w 578354"/>
                <a:gd name="connsiteY128" fmla="*/ 59561 h 606510"/>
                <a:gd name="connsiteX129" fmla="*/ 311264 w 578354"/>
                <a:gd name="connsiteY129" fmla="*/ 37036 h 606510"/>
                <a:gd name="connsiteX130" fmla="*/ 414825 w 578354"/>
                <a:gd name="connsiteY130" fmla="*/ 0 h 606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</a:cxnLst>
              <a:rect l="l" t="t" r="r" b="b"/>
              <a:pathLst>
                <a:path w="578354" h="606510">
                  <a:moveTo>
                    <a:pt x="271981" y="340887"/>
                  </a:moveTo>
                  <a:cubicBezTo>
                    <a:pt x="266667" y="343702"/>
                    <a:pt x="261461" y="345543"/>
                    <a:pt x="256365" y="346409"/>
                  </a:cubicBezTo>
                  <a:cubicBezTo>
                    <a:pt x="253328" y="346951"/>
                    <a:pt x="251051" y="349658"/>
                    <a:pt x="251051" y="352798"/>
                  </a:cubicBezTo>
                  <a:lnTo>
                    <a:pt x="251051" y="368716"/>
                  </a:lnTo>
                  <a:cubicBezTo>
                    <a:pt x="250183" y="369149"/>
                    <a:pt x="249316" y="369691"/>
                    <a:pt x="248665" y="370449"/>
                  </a:cubicBezTo>
                  <a:cubicBezTo>
                    <a:pt x="247472" y="371748"/>
                    <a:pt x="246821" y="373589"/>
                    <a:pt x="247038" y="375322"/>
                  </a:cubicBezTo>
                  <a:lnTo>
                    <a:pt x="250509" y="409431"/>
                  </a:lnTo>
                  <a:cubicBezTo>
                    <a:pt x="250834" y="412030"/>
                    <a:pt x="252677" y="414196"/>
                    <a:pt x="255172" y="414954"/>
                  </a:cubicBezTo>
                  <a:cubicBezTo>
                    <a:pt x="255822" y="415062"/>
                    <a:pt x="256365" y="415170"/>
                    <a:pt x="256907" y="415170"/>
                  </a:cubicBezTo>
                  <a:cubicBezTo>
                    <a:pt x="258859" y="415170"/>
                    <a:pt x="260811" y="414304"/>
                    <a:pt x="262004" y="412572"/>
                  </a:cubicBezTo>
                  <a:lnTo>
                    <a:pt x="280114" y="388749"/>
                  </a:lnTo>
                  <a:cubicBezTo>
                    <a:pt x="280873" y="387666"/>
                    <a:pt x="281307" y="386258"/>
                    <a:pt x="281307" y="384851"/>
                  </a:cubicBezTo>
                  <a:lnTo>
                    <a:pt x="281307" y="346626"/>
                  </a:lnTo>
                  <a:cubicBezTo>
                    <a:pt x="281307" y="344352"/>
                    <a:pt x="280222" y="342295"/>
                    <a:pt x="278270" y="341104"/>
                  </a:cubicBezTo>
                  <a:cubicBezTo>
                    <a:pt x="276318" y="339912"/>
                    <a:pt x="273933" y="339912"/>
                    <a:pt x="271981" y="340887"/>
                  </a:cubicBezTo>
                  <a:close/>
                  <a:moveTo>
                    <a:pt x="190755" y="340887"/>
                  </a:moveTo>
                  <a:cubicBezTo>
                    <a:pt x="188695" y="339912"/>
                    <a:pt x="186309" y="339912"/>
                    <a:pt x="184357" y="341104"/>
                  </a:cubicBezTo>
                  <a:cubicBezTo>
                    <a:pt x="182513" y="342295"/>
                    <a:pt x="181321" y="344352"/>
                    <a:pt x="181321" y="346626"/>
                  </a:cubicBezTo>
                  <a:lnTo>
                    <a:pt x="181212" y="384851"/>
                  </a:lnTo>
                  <a:cubicBezTo>
                    <a:pt x="181212" y="386258"/>
                    <a:pt x="181754" y="387666"/>
                    <a:pt x="182513" y="388749"/>
                  </a:cubicBezTo>
                  <a:lnTo>
                    <a:pt x="200624" y="412680"/>
                  </a:lnTo>
                  <a:cubicBezTo>
                    <a:pt x="201817" y="414304"/>
                    <a:pt x="203769" y="415170"/>
                    <a:pt x="205721" y="415170"/>
                  </a:cubicBezTo>
                  <a:cubicBezTo>
                    <a:pt x="206263" y="415170"/>
                    <a:pt x="206914" y="415062"/>
                    <a:pt x="207456" y="414954"/>
                  </a:cubicBezTo>
                  <a:cubicBezTo>
                    <a:pt x="209950" y="414196"/>
                    <a:pt x="211794" y="412030"/>
                    <a:pt x="212119" y="409431"/>
                  </a:cubicBezTo>
                  <a:lnTo>
                    <a:pt x="215589" y="375322"/>
                  </a:lnTo>
                  <a:cubicBezTo>
                    <a:pt x="215806" y="373589"/>
                    <a:pt x="215264" y="371748"/>
                    <a:pt x="213963" y="370449"/>
                  </a:cubicBezTo>
                  <a:cubicBezTo>
                    <a:pt x="213312" y="369691"/>
                    <a:pt x="212553" y="369149"/>
                    <a:pt x="211577" y="368716"/>
                  </a:cubicBezTo>
                  <a:lnTo>
                    <a:pt x="211577" y="352798"/>
                  </a:lnTo>
                  <a:cubicBezTo>
                    <a:pt x="211577" y="349658"/>
                    <a:pt x="209299" y="346951"/>
                    <a:pt x="206263" y="346409"/>
                  </a:cubicBezTo>
                  <a:cubicBezTo>
                    <a:pt x="201166" y="345543"/>
                    <a:pt x="195961" y="343702"/>
                    <a:pt x="190755" y="340887"/>
                  </a:cubicBezTo>
                  <a:close/>
                  <a:moveTo>
                    <a:pt x="200624" y="168497"/>
                  </a:moveTo>
                  <a:cubicBezTo>
                    <a:pt x="182513" y="168497"/>
                    <a:pt x="164945" y="175861"/>
                    <a:pt x="156161" y="180300"/>
                  </a:cubicBezTo>
                  <a:cubicBezTo>
                    <a:pt x="153884" y="181383"/>
                    <a:pt x="152583" y="183657"/>
                    <a:pt x="152583" y="186039"/>
                  </a:cubicBezTo>
                  <a:lnTo>
                    <a:pt x="152583" y="197518"/>
                  </a:lnTo>
                  <a:lnTo>
                    <a:pt x="149980" y="197518"/>
                  </a:lnTo>
                  <a:cubicBezTo>
                    <a:pt x="146401" y="197518"/>
                    <a:pt x="143473" y="200333"/>
                    <a:pt x="143473" y="203906"/>
                  </a:cubicBezTo>
                  <a:lnTo>
                    <a:pt x="143473" y="214410"/>
                  </a:lnTo>
                  <a:cubicBezTo>
                    <a:pt x="143473" y="216576"/>
                    <a:pt x="144666" y="218633"/>
                    <a:pt x="146401" y="219824"/>
                  </a:cubicBezTo>
                  <a:lnTo>
                    <a:pt x="152691" y="223831"/>
                  </a:lnTo>
                  <a:lnTo>
                    <a:pt x="153016" y="226538"/>
                  </a:lnTo>
                  <a:cubicBezTo>
                    <a:pt x="155077" y="241806"/>
                    <a:pt x="163644" y="261731"/>
                    <a:pt x="176007" y="279598"/>
                  </a:cubicBezTo>
                  <a:cubicBezTo>
                    <a:pt x="191731" y="302338"/>
                    <a:pt x="206480" y="312516"/>
                    <a:pt x="214071" y="312516"/>
                  </a:cubicBezTo>
                  <a:lnTo>
                    <a:pt x="248557" y="312516"/>
                  </a:lnTo>
                  <a:cubicBezTo>
                    <a:pt x="256148" y="312516"/>
                    <a:pt x="270896" y="302338"/>
                    <a:pt x="286621" y="279598"/>
                  </a:cubicBezTo>
                  <a:cubicBezTo>
                    <a:pt x="298984" y="261731"/>
                    <a:pt x="307551" y="241806"/>
                    <a:pt x="309611" y="226538"/>
                  </a:cubicBezTo>
                  <a:lnTo>
                    <a:pt x="309936" y="223831"/>
                  </a:lnTo>
                  <a:lnTo>
                    <a:pt x="316226" y="219824"/>
                  </a:lnTo>
                  <a:cubicBezTo>
                    <a:pt x="318070" y="218633"/>
                    <a:pt x="319154" y="216576"/>
                    <a:pt x="319154" y="214410"/>
                  </a:cubicBezTo>
                  <a:lnTo>
                    <a:pt x="319154" y="203906"/>
                  </a:lnTo>
                  <a:cubicBezTo>
                    <a:pt x="319154" y="200333"/>
                    <a:pt x="316226" y="197518"/>
                    <a:pt x="312756" y="197518"/>
                  </a:cubicBezTo>
                  <a:lnTo>
                    <a:pt x="309177" y="197518"/>
                  </a:lnTo>
                  <a:cubicBezTo>
                    <a:pt x="308744" y="196651"/>
                    <a:pt x="307984" y="195893"/>
                    <a:pt x="307117" y="195352"/>
                  </a:cubicBezTo>
                  <a:cubicBezTo>
                    <a:pt x="305382" y="194161"/>
                    <a:pt x="302996" y="193944"/>
                    <a:pt x="301044" y="194919"/>
                  </a:cubicBezTo>
                  <a:cubicBezTo>
                    <a:pt x="292477" y="198709"/>
                    <a:pt x="283910" y="200658"/>
                    <a:pt x="275668" y="200658"/>
                  </a:cubicBezTo>
                  <a:cubicBezTo>
                    <a:pt x="261028" y="200658"/>
                    <a:pt x="247797" y="194702"/>
                    <a:pt x="236302" y="182791"/>
                  </a:cubicBezTo>
                  <a:cubicBezTo>
                    <a:pt x="227193" y="173370"/>
                    <a:pt x="215155" y="168497"/>
                    <a:pt x="200624" y="168497"/>
                  </a:cubicBezTo>
                  <a:close/>
                  <a:moveTo>
                    <a:pt x="426321" y="71765"/>
                  </a:moveTo>
                  <a:cubicBezTo>
                    <a:pt x="433372" y="71765"/>
                    <a:pt x="439012" y="77398"/>
                    <a:pt x="439012" y="84331"/>
                  </a:cubicBezTo>
                  <a:lnTo>
                    <a:pt x="439012" y="99173"/>
                  </a:lnTo>
                  <a:cubicBezTo>
                    <a:pt x="449860" y="101231"/>
                    <a:pt x="458321" y="105564"/>
                    <a:pt x="464721" y="112498"/>
                  </a:cubicBezTo>
                  <a:cubicBezTo>
                    <a:pt x="467650" y="115639"/>
                    <a:pt x="468843" y="120081"/>
                    <a:pt x="467758" y="124306"/>
                  </a:cubicBezTo>
                  <a:cubicBezTo>
                    <a:pt x="466565" y="128531"/>
                    <a:pt x="463419" y="131780"/>
                    <a:pt x="459297" y="133080"/>
                  </a:cubicBezTo>
                  <a:lnTo>
                    <a:pt x="452789" y="135139"/>
                  </a:lnTo>
                  <a:cubicBezTo>
                    <a:pt x="448016" y="136655"/>
                    <a:pt x="442809" y="135247"/>
                    <a:pt x="439555" y="131455"/>
                  </a:cubicBezTo>
                  <a:cubicBezTo>
                    <a:pt x="436192" y="127772"/>
                    <a:pt x="431311" y="125931"/>
                    <a:pt x="425019" y="125931"/>
                  </a:cubicBezTo>
                  <a:cubicBezTo>
                    <a:pt x="419921" y="125931"/>
                    <a:pt x="413738" y="127122"/>
                    <a:pt x="413738" y="132972"/>
                  </a:cubicBezTo>
                  <a:cubicBezTo>
                    <a:pt x="413738" y="134597"/>
                    <a:pt x="414388" y="136005"/>
                    <a:pt x="415582" y="137197"/>
                  </a:cubicBezTo>
                  <a:cubicBezTo>
                    <a:pt x="416883" y="138389"/>
                    <a:pt x="420463" y="139689"/>
                    <a:pt x="426429" y="140989"/>
                  </a:cubicBezTo>
                  <a:cubicBezTo>
                    <a:pt x="440097" y="144022"/>
                    <a:pt x="450077" y="146730"/>
                    <a:pt x="456043" y="149113"/>
                  </a:cubicBezTo>
                  <a:cubicBezTo>
                    <a:pt x="462118" y="151497"/>
                    <a:pt x="467216" y="155613"/>
                    <a:pt x="471230" y="161355"/>
                  </a:cubicBezTo>
                  <a:cubicBezTo>
                    <a:pt x="475243" y="167096"/>
                    <a:pt x="477304" y="174030"/>
                    <a:pt x="477304" y="181829"/>
                  </a:cubicBezTo>
                  <a:cubicBezTo>
                    <a:pt x="477304" y="192771"/>
                    <a:pt x="473291" y="202087"/>
                    <a:pt x="465480" y="209454"/>
                  </a:cubicBezTo>
                  <a:cubicBezTo>
                    <a:pt x="458863" y="215737"/>
                    <a:pt x="449968" y="219962"/>
                    <a:pt x="439012" y="222020"/>
                  </a:cubicBezTo>
                  <a:lnTo>
                    <a:pt x="439012" y="242278"/>
                  </a:lnTo>
                  <a:cubicBezTo>
                    <a:pt x="439012" y="249320"/>
                    <a:pt x="433372" y="254953"/>
                    <a:pt x="426321" y="254953"/>
                  </a:cubicBezTo>
                  <a:cubicBezTo>
                    <a:pt x="419378" y="254953"/>
                    <a:pt x="413738" y="249320"/>
                    <a:pt x="413738" y="242278"/>
                  </a:cubicBezTo>
                  <a:lnTo>
                    <a:pt x="413738" y="222670"/>
                  </a:lnTo>
                  <a:cubicBezTo>
                    <a:pt x="397683" y="220504"/>
                    <a:pt x="385751" y="213571"/>
                    <a:pt x="378158" y="202087"/>
                  </a:cubicBezTo>
                  <a:cubicBezTo>
                    <a:pt x="375771" y="198512"/>
                    <a:pt x="375337" y="194071"/>
                    <a:pt x="377073" y="190171"/>
                  </a:cubicBezTo>
                  <a:cubicBezTo>
                    <a:pt x="378700" y="186271"/>
                    <a:pt x="382171" y="183454"/>
                    <a:pt x="386402" y="182696"/>
                  </a:cubicBezTo>
                  <a:lnTo>
                    <a:pt x="395948" y="180963"/>
                  </a:lnTo>
                  <a:cubicBezTo>
                    <a:pt x="400721" y="180096"/>
                    <a:pt x="405710" y="182046"/>
                    <a:pt x="408531" y="186163"/>
                  </a:cubicBezTo>
                  <a:cubicBezTo>
                    <a:pt x="412110" y="191254"/>
                    <a:pt x="418185" y="193963"/>
                    <a:pt x="426646" y="193963"/>
                  </a:cubicBezTo>
                  <a:cubicBezTo>
                    <a:pt x="439555" y="193963"/>
                    <a:pt x="439555" y="188763"/>
                    <a:pt x="439555" y="187138"/>
                  </a:cubicBezTo>
                  <a:cubicBezTo>
                    <a:pt x="439555" y="184646"/>
                    <a:pt x="438578" y="182913"/>
                    <a:pt x="436626" y="181504"/>
                  </a:cubicBezTo>
                  <a:cubicBezTo>
                    <a:pt x="434673" y="180096"/>
                    <a:pt x="430985" y="178905"/>
                    <a:pt x="425778" y="177821"/>
                  </a:cubicBezTo>
                  <a:cubicBezTo>
                    <a:pt x="404734" y="173488"/>
                    <a:pt x="391283" y="167963"/>
                    <a:pt x="385534" y="161355"/>
                  </a:cubicBezTo>
                  <a:cubicBezTo>
                    <a:pt x="379785" y="154530"/>
                    <a:pt x="376964" y="147055"/>
                    <a:pt x="376964" y="138280"/>
                  </a:cubicBezTo>
                  <a:cubicBezTo>
                    <a:pt x="376964" y="128639"/>
                    <a:pt x="380110" y="120081"/>
                    <a:pt x="386402" y="112714"/>
                  </a:cubicBezTo>
                  <a:cubicBezTo>
                    <a:pt x="392368" y="105564"/>
                    <a:pt x="401588" y="100906"/>
                    <a:pt x="413738" y="98848"/>
                  </a:cubicBezTo>
                  <a:lnTo>
                    <a:pt x="413738" y="84331"/>
                  </a:lnTo>
                  <a:cubicBezTo>
                    <a:pt x="413738" y="77398"/>
                    <a:pt x="419378" y="71765"/>
                    <a:pt x="426321" y="71765"/>
                  </a:cubicBezTo>
                  <a:close/>
                  <a:moveTo>
                    <a:pt x="215047" y="46785"/>
                  </a:moveTo>
                  <a:lnTo>
                    <a:pt x="247581" y="46785"/>
                  </a:lnTo>
                  <a:cubicBezTo>
                    <a:pt x="302779" y="46785"/>
                    <a:pt x="347675" y="91723"/>
                    <a:pt x="347675" y="146840"/>
                  </a:cubicBezTo>
                  <a:lnTo>
                    <a:pt x="347675" y="178243"/>
                  </a:lnTo>
                  <a:cubicBezTo>
                    <a:pt x="351471" y="183441"/>
                    <a:pt x="353423" y="189721"/>
                    <a:pt x="353423" y="196110"/>
                  </a:cubicBezTo>
                  <a:lnTo>
                    <a:pt x="353423" y="218525"/>
                  </a:lnTo>
                  <a:cubicBezTo>
                    <a:pt x="353423" y="227621"/>
                    <a:pt x="349302" y="236284"/>
                    <a:pt x="342362" y="242131"/>
                  </a:cubicBezTo>
                  <a:cubicBezTo>
                    <a:pt x="340626" y="247654"/>
                    <a:pt x="338458" y="253393"/>
                    <a:pt x="335963" y="259132"/>
                  </a:cubicBezTo>
                  <a:cubicBezTo>
                    <a:pt x="330758" y="272559"/>
                    <a:pt x="323275" y="286528"/>
                    <a:pt x="314383" y="299522"/>
                  </a:cubicBezTo>
                  <a:cubicBezTo>
                    <a:pt x="310587" y="305045"/>
                    <a:pt x="305599" y="311650"/>
                    <a:pt x="299743" y="318147"/>
                  </a:cubicBezTo>
                  <a:cubicBezTo>
                    <a:pt x="305056" y="321937"/>
                    <a:pt x="308852" y="326485"/>
                    <a:pt x="310587" y="331683"/>
                  </a:cubicBezTo>
                  <a:lnTo>
                    <a:pt x="382052" y="353231"/>
                  </a:lnTo>
                  <a:cubicBezTo>
                    <a:pt x="432263" y="367742"/>
                    <a:pt x="462627" y="578464"/>
                    <a:pt x="462627" y="587560"/>
                  </a:cubicBezTo>
                  <a:cubicBezTo>
                    <a:pt x="462627" y="598064"/>
                    <a:pt x="454169" y="606510"/>
                    <a:pt x="443758" y="606510"/>
                  </a:cubicBezTo>
                  <a:lnTo>
                    <a:pt x="18978" y="606510"/>
                  </a:lnTo>
                  <a:cubicBezTo>
                    <a:pt x="8459" y="606510"/>
                    <a:pt x="0" y="598064"/>
                    <a:pt x="0" y="587560"/>
                  </a:cubicBezTo>
                  <a:cubicBezTo>
                    <a:pt x="0" y="586586"/>
                    <a:pt x="109" y="585611"/>
                    <a:pt x="217" y="584636"/>
                  </a:cubicBezTo>
                  <a:cubicBezTo>
                    <a:pt x="217" y="584636"/>
                    <a:pt x="30365" y="367742"/>
                    <a:pt x="80575" y="353231"/>
                  </a:cubicBezTo>
                  <a:lnTo>
                    <a:pt x="152040" y="331683"/>
                  </a:lnTo>
                  <a:cubicBezTo>
                    <a:pt x="153775" y="326485"/>
                    <a:pt x="157571" y="321937"/>
                    <a:pt x="162885" y="318147"/>
                  </a:cubicBezTo>
                  <a:cubicBezTo>
                    <a:pt x="157029" y="311650"/>
                    <a:pt x="152040" y="305045"/>
                    <a:pt x="148353" y="299522"/>
                  </a:cubicBezTo>
                  <a:cubicBezTo>
                    <a:pt x="139352" y="286528"/>
                    <a:pt x="131870" y="272559"/>
                    <a:pt x="126664" y="259132"/>
                  </a:cubicBezTo>
                  <a:cubicBezTo>
                    <a:pt x="124170" y="253393"/>
                    <a:pt x="122001" y="247654"/>
                    <a:pt x="120266" y="242131"/>
                  </a:cubicBezTo>
                  <a:cubicBezTo>
                    <a:pt x="113325" y="236284"/>
                    <a:pt x="109205" y="227621"/>
                    <a:pt x="109205" y="218525"/>
                  </a:cubicBezTo>
                  <a:lnTo>
                    <a:pt x="109205" y="196110"/>
                  </a:lnTo>
                  <a:cubicBezTo>
                    <a:pt x="109205" y="189721"/>
                    <a:pt x="111265" y="183441"/>
                    <a:pt x="114952" y="178243"/>
                  </a:cubicBezTo>
                  <a:lnTo>
                    <a:pt x="114952" y="146840"/>
                  </a:lnTo>
                  <a:cubicBezTo>
                    <a:pt x="114952" y="91723"/>
                    <a:pt x="159848" y="46785"/>
                    <a:pt x="215047" y="46785"/>
                  </a:cubicBezTo>
                  <a:close/>
                  <a:moveTo>
                    <a:pt x="414825" y="0"/>
                  </a:moveTo>
                  <a:cubicBezTo>
                    <a:pt x="504940" y="0"/>
                    <a:pt x="578354" y="73314"/>
                    <a:pt x="578354" y="163305"/>
                  </a:cubicBezTo>
                  <a:cubicBezTo>
                    <a:pt x="578354" y="253404"/>
                    <a:pt x="504940" y="326718"/>
                    <a:pt x="414825" y="326718"/>
                  </a:cubicBezTo>
                  <a:cubicBezTo>
                    <a:pt x="389667" y="326718"/>
                    <a:pt x="365918" y="320979"/>
                    <a:pt x="344664" y="310907"/>
                  </a:cubicBezTo>
                  <a:cubicBezTo>
                    <a:pt x="350737" y="300620"/>
                    <a:pt x="355942" y="290115"/>
                    <a:pt x="360063" y="279719"/>
                  </a:cubicBezTo>
                  <a:cubicBezTo>
                    <a:pt x="376654" y="287516"/>
                    <a:pt x="395198" y="291956"/>
                    <a:pt x="414825" y="291956"/>
                  </a:cubicBezTo>
                  <a:cubicBezTo>
                    <a:pt x="485854" y="291956"/>
                    <a:pt x="543545" y="234236"/>
                    <a:pt x="543545" y="163305"/>
                  </a:cubicBezTo>
                  <a:cubicBezTo>
                    <a:pt x="543545" y="92482"/>
                    <a:pt x="485854" y="34762"/>
                    <a:pt x="414825" y="34762"/>
                  </a:cubicBezTo>
                  <a:cubicBezTo>
                    <a:pt x="386414" y="34762"/>
                    <a:pt x="360171" y="43967"/>
                    <a:pt x="338808" y="59561"/>
                  </a:cubicBezTo>
                  <a:cubicBezTo>
                    <a:pt x="330675" y="50897"/>
                    <a:pt x="321458" y="43317"/>
                    <a:pt x="311264" y="37036"/>
                  </a:cubicBezTo>
                  <a:cubicBezTo>
                    <a:pt x="339459" y="13861"/>
                    <a:pt x="375570" y="0"/>
                    <a:pt x="414825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 sz="4000"/>
            </a:p>
          </p:txBody>
        </p:sp>
        <p:sp>
          <p:nvSpPr>
            <p:cNvPr id="9" name="î$ḻiďé">
              <a:extLst>
                <a:ext uri="{FF2B5EF4-FFF2-40B4-BE49-F238E27FC236}">
                  <a16:creationId xmlns:a16="http://schemas.microsoft.com/office/drawing/2014/main" id="{C7CC4DED-DF87-447D-9BF5-5A092CB5A7AD}"/>
                </a:ext>
              </a:extLst>
            </p:cNvPr>
            <p:cNvSpPr/>
            <p:nvPr/>
          </p:nvSpPr>
          <p:spPr bwMode="auto">
            <a:xfrm>
              <a:off x="5907075" y="3778798"/>
              <a:ext cx="377848" cy="377196"/>
            </a:xfrm>
            <a:custGeom>
              <a:avLst/>
              <a:gdLst>
                <a:gd name="connsiteX0" fmla="*/ 160421 w 607770"/>
                <a:gd name="connsiteY0" fmla="*/ 130334 h 606722"/>
                <a:gd name="connsiteX1" fmla="*/ 258218 w 607770"/>
                <a:gd name="connsiteY1" fmla="*/ 227211 h 606722"/>
                <a:gd name="connsiteX2" fmla="*/ 258783 w 607770"/>
                <a:gd name="connsiteY2" fmla="*/ 227211 h 606722"/>
                <a:gd name="connsiteX3" fmla="*/ 279888 w 607770"/>
                <a:gd name="connsiteY3" fmla="*/ 272545 h 606722"/>
                <a:gd name="connsiteX4" fmla="*/ 250963 w 607770"/>
                <a:gd name="connsiteY4" fmla="*/ 304806 h 606722"/>
                <a:gd name="connsiteX5" fmla="*/ 207435 w 607770"/>
                <a:gd name="connsiteY5" fmla="*/ 366694 h 606722"/>
                <a:gd name="connsiteX6" fmla="*/ 201970 w 607770"/>
                <a:gd name="connsiteY6" fmla="*/ 382307 h 606722"/>
                <a:gd name="connsiteX7" fmla="*/ 205739 w 607770"/>
                <a:gd name="connsiteY7" fmla="*/ 400366 h 606722"/>
                <a:gd name="connsiteX8" fmla="*/ 228351 w 607770"/>
                <a:gd name="connsiteY8" fmla="*/ 422657 h 606722"/>
                <a:gd name="connsiteX9" fmla="*/ 248042 w 607770"/>
                <a:gd name="connsiteY9" fmla="*/ 426513 h 606722"/>
                <a:gd name="connsiteX10" fmla="*/ 305515 w 607770"/>
                <a:gd name="connsiteY10" fmla="*/ 483792 h 606722"/>
                <a:gd name="connsiteX11" fmla="*/ 320024 w 607770"/>
                <a:gd name="connsiteY11" fmla="*/ 556873 h 606722"/>
                <a:gd name="connsiteX12" fmla="*/ 311356 w 607770"/>
                <a:gd name="connsiteY12" fmla="*/ 591485 h 606722"/>
                <a:gd name="connsiteX13" fmla="*/ 279040 w 607770"/>
                <a:gd name="connsiteY13" fmla="*/ 606722 h 606722"/>
                <a:gd name="connsiteX14" fmla="*/ 41707 w 607770"/>
                <a:gd name="connsiteY14" fmla="*/ 606722 h 606722"/>
                <a:gd name="connsiteX15" fmla="*/ 9485 w 607770"/>
                <a:gd name="connsiteY15" fmla="*/ 591485 h 606722"/>
                <a:gd name="connsiteX16" fmla="*/ 817 w 607770"/>
                <a:gd name="connsiteY16" fmla="*/ 556873 h 606722"/>
                <a:gd name="connsiteX17" fmla="*/ 15326 w 607770"/>
                <a:gd name="connsiteY17" fmla="*/ 483792 h 606722"/>
                <a:gd name="connsiteX18" fmla="*/ 72799 w 607770"/>
                <a:gd name="connsiteY18" fmla="*/ 426513 h 606722"/>
                <a:gd name="connsiteX19" fmla="*/ 92490 w 607770"/>
                <a:gd name="connsiteY19" fmla="*/ 422657 h 606722"/>
                <a:gd name="connsiteX20" fmla="*/ 115008 w 607770"/>
                <a:gd name="connsiteY20" fmla="*/ 400366 h 606722"/>
                <a:gd name="connsiteX21" fmla="*/ 118777 w 607770"/>
                <a:gd name="connsiteY21" fmla="*/ 382213 h 606722"/>
                <a:gd name="connsiteX22" fmla="*/ 113312 w 607770"/>
                <a:gd name="connsiteY22" fmla="*/ 366694 h 606722"/>
                <a:gd name="connsiteX23" fmla="*/ 69784 w 607770"/>
                <a:gd name="connsiteY23" fmla="*/ 304806 h 606722"/>
                <a:gd name="connsiteX24" fmla="*/ 40953 w 607770"/>
                <a:gd name="connsiteY24" fmla="*/ 272545 h 606722"/>
                <a:gd name="connsiteX25" fmla="*/ 62058 w 607770"/>
                <a:gd name="connsiteY25" fmla="*/ 227211 h 606722"/>
                <a:gd name="connsiteX26" fmla="*/ 62717 w 607770"/>
                <a:gd name="connsiteY26" fmla="*/ 227116 h 606722"/>
                <a:gd name="connsiteX27" fmla="*/ 160421 w 607770"/>
                <a:gd name="connsiteY27" fmla="*/ 130334 h 606722"/>
                <a:gd name="connsiteX28" fmla="*/ 455360 w 607770"/>
                <a:gd name="connsiteY28" fmla="*/ 72430 h 606722"/>
                <a:gd name="connsiteX29" fmla="*/ 445846 w 607770"/>
                <a:gd name="connsiteY29" fmla="*/ 81931 h 606722"/>
                <a:gd name="connsiteX30" fmla="*/ 445846 w 607770"/>
                <a:gd name="connsiteY30" fmla="*/ 90867 h 606722"/>
                <a:gd name="connsiteX31" fmla="*/ 412971 w 607770"/>
                <a:gd name="connsiteY31" fmla="*/ 125389 h 606722"/>
                <a:gd name="connsiteX32" fmla="*/ 448013 w 607770"/>
                <a:gd name="connsiteY32" fmla="*/ 160946 h 606722"/>
                <a:gd name="connsiteX33" fmla="*/ 468642 w 607770"/>
                <a:gd name="connsiteY33" fmla="*/ 177878 h 606722"/>
                <a:gd name="connsiteX34" fmla="*/ 449991 w 607770"/>
                <a:gd name="connsiteY34" fmla="*/ 189918 h 606722"/>
                <a:gd name="connsiteX35" fmla="*/ 428231 w 607770"/>
                <a:gd name="connsiteY35" fmla="*/ 186061 h 606722"/>
                <a:gd name="connsiteX36" fmla="*/ 419848 w 607770"/>
                <a:gd name="connsiteY36" fmla="*/ 186720 h 606722"/>
                <a:gd name="connsiteX37" fmla="*/ 414573 w 607770"/>
                <a:gd name="connsiteY37" fmla="*/ 193304 h 606722"/>
                <a:gd name="connsiteX38" fmla="*/ 414384 w 607770"/>
                <a:gd name="connsiteY38" fmla="*/ 194245 h 606722"/>
                <a:gd name="connsiteX39" fmla="*/ 422297 w 607770"/>
                <a:gd name="connsiteY39" fmla="*/ 208543 h 606722"/>
                <a:gd name="connsiteX40" fmla="*/ 444904 w 607770"/>
                <a:gd name="connsiteY40" fmla="*/ 212494 h 606722"/>
                <a:gd name="connsiteX41" fmla="*/ 444904 w 607770"/>
                <a:gd name="connsiteY41" fmla="*/ 221430 h 606722"/>
                <a:gd name="connsiteX42" fmla="*/ 454418 w 607770"/>
                <a:gd name="connsiteY42" fmla="*/ 230931 h 606722"/>
                <a:gd name="connsiteX43" fmla="*/ 463932 w 607770"/>
                <a:gd name="connsiteY43" fmla="*/ 221430 h 606722"/>
                <a:gd name="connsiteX44" fmla="*/ 463932 w 607770"/>
                <a:gd name="connsiteY44" fmla="*/ 211083 h 606722"/>
                <a:gd name="connsiteX45" fmla="*/ 498596 w 607770"/>
                <a:gd name="connsiteY45" fmla="*/ 175150 h 606722"/>
                <a:gd name="connsiteX46" fmla="*/ 466098 w 607770"/>
                <a:gd name="connsiteY46" fmla="*/ 138841 h 606722"/>
                <a:gd name="connsiteX47" fmla="*/ 442738 w 607770"/>
                <a:gd name="connsiteY47" fmla="*/ 122097 h 606722"/>
                <a:gd name="connsiteX48" fmla="*/ 459505 w 607770"/>
                <a:gd name="connsiteY48" fmla="*/ 111279 h 606722"/>
                <a:gd name="connsiteX49" fmla="*/ 477214 w 607770"/>
                <a:gd name="connsiteY49" fmla="*/ 113819 h 606722"/>
                <a:gd name="connsiteX50" fmla="*/ 485409 w 607770"/>
                <a:gd name="connsiteY50" fmla="*/ 112973 h 606722"/>
                <a:gd name="connsiteX51" fmla="*/ 490401 w 607770"/>
                <a:gd name="connsiteY51" fmla="*/ 106482 h 606722"/>
                <a:gd name="connsiteX52" fmla="*/ 490589 w 607770"/>
                <a:gd name="connsiteY52" fmla="*/ 105730 h 606722"/>
                <a:gd name="connsiteX53" fmla="*/ 482489 w 607770"/>
                <a:gd name="connsiteY53" fmla="*/ 91996 h 606722"/>
                <a:gd name="connsiteX54" fmla="*/ 464968 w 607770"/>
                <a:gd name="connsiteY54" fmla="*/ 89456 h 606722"/>
                <a:gd name="connsiteX55" fmla="*/ 464968 w 607770"/>
                <a:gd name="connsiteY55" fmla="*/ 81931 h 606722"/>
                <a:gd name="connsiteX56" fmla="*/ 455360 w 607770"/>
                <a:gd name="connsiteY56" fmla="*/ 72430 h 606722"/>
                <a:gd name="connsiteX57" fmla="*/ 455831 w 607770"/>
                <a:gd name="connsiteY57" fmla="*/ 0 h 606722"/>
                <a:gd name="connsiteX58" fmla="*/ 607770 w 607770"/>
                <a:gd name="connsiteY58" fmla="*/ 151633 h 606722"/>
                <a:gd name="connsiteX59" fmla="*/ 455831 w 607770"/>
                <a:gd name="connsiteY59" fmla="*/ 303361 h 606722"/>
                <a:gd name="connsiteX60" fmla="*/ 322260 w 607770"/>
                <a:gd name="connsiteY60" fmla="*/ 303361 h 606722"/>
                <a:gd name="connsiteX61" fmla="*/ 303986 w 607770"/>
                <a:gd name="connsiteY61" fmla="*/ 285018 h 606722"/>
                <a:gd name="connsiteX62" fmla="*/ 303986 w 607770"/>
                <a:gd name="connsiteY62" fmla="*/ 151633 h 606722"/>
                <a:gd name="connsiteX63" fmla="*/ 455831 w 607770"/>
                <a:gd name="connsiteY63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607770" h="606722">
                  <a:moveTo>
                    <a:pt x="160421" y="130334"/>
                  </a:moveTo>
                  <a:cubicBezTo>
                    <a:pt x="231743" y="130334"/>
                    <a:pt x="253224" y="171530"/>
                    <a:pt x="258218" y="227211"/>
                  </a:cubicBezTo>
                  <a:cubicBezTo>
                    <a:pt x="258406" y="227211"/>
                    <a:pt x="258595" y="227211"/>
                    <a:pt x="258783" y="227211"/>
                  </a:cubicBezTo>
                  <a:cubicBezTo>
                    <a:pt x="275177" y="230879"/>
                    <a:pt x="284693" y="251195"/>
                    <a:pt x="279888" y="272545"/>
                  </a:cubicBezTo>
                  <a:cubicBezTo>
                    <a:pt x="276025" y="289851"/>
                    <a:pt x="264059" y="302454"/>
                    <a:pt x="250963" y="304806"/>
                  </a:cubicBezTo>
                  <a:cubicBezTo>
                    <a:pt x="241541" y="330389"/>
                    <a:pt x="225242" y="352021"/>
                    <a:pt x="207435" y="366694"/>
                  </a:cubicBezTo>
                  <a:cubicBezTo>
                    <a:pt x="202912" y="370456"/>
                    <a:pt x="200840" y="376476"/>
                    <a:pt x="201970" y="382307"/>
                  </a:cubicBezTo>
                  <a:lnTo>
                    <a:pt x="205739" y="400366"/>
                  </a:lnTo>
                  <a:cubicBezTo>
                    <a:pt x="208094" y="411652"/>
                    <a:pt x="216951" y="420399"/>
                    <a:pt x="228351" y="422657"/>
                  </a:cubicBezTo>
                  <a:lnTo>
                    <a:pt x="248042" y="426513"/>
                  </a:lnTo>
                  <a:cubicBezTo>
                    <a:pt x="277061" y="432250"/>
                    <a:pt x="299673" y="454823"/>
                    <a:pt x="305515" y="483792"/>
                  </a:cubicBezTo>
                  <a:lnTo>
                    <a:pt x="320024" y="556873"/>
                  </a:lnTo>
                  <a:cubicBezTo>
                    <a:pt x="322474" y="569100"/>
                    <a:pt x="319271" y="581797"/>
                    <a:pt x="311356" y="591485"/>
                  </a:cubicBezTo>
                  <a:cubicBezTo>
                    <a:pt x="303442" y="601079"/>
                    <a:pt x="291571" y="606722"/>
                    <a:pt x="279040" y="606722"/>
                  </a:cubicBezTo>
                  <a:lnTo>
                    <a:pt x="41707" y="606722"/>
                  </a:lnTo>
                  <a:cubicBezTo>
                    <a:pt x="29270" y="606722"/>
                    <a:pt x="17399" y="601079"/>
                    <a:pt x="9485" y="591485"/>
                  </a:cubicBezTo>
                  <a:cubicBezTo>
                    <a:pt x="1476" y="581797"/>
                    <a:pt x="-1633" y="569100"/>
                    <a:pt x="817" y="556873"/>
                  </a:cubicBezTo>
                  <a:lnTo>
                    <a:pt x="15326" y="483792"/>
                  </a:lnTo>
                  <a:cubicBezTo>
                    <a:pt x="21073" y="454823"/>
                    <a:pt x="43780" y="432250"/>
                    <a:pt x="72799" y="426513"/>
                  </a:cubicBezTo>
                  <a:lnTo>
                    <a:pt x="92490" y="422657"/>
                  </a:lnTo>
                  <a:cubicBezTo>
                    <a:pt x="103796" y="420399"/>
                    <a:pt x="112747" y="411652"/>
                    <a:pt x="115008" y="400366"/>
                  </a:cubicBezTo>
                  <a:lnTo>
                    <a:pt x="118777" y="382213"/>
                  </a:lnTo>
                  <a:cubicBezTo>
                    <a:pt x="120001" y="376476"/>
                    <a:pt x="117834" y="370456"/>
                    <a:pt x="113312" y="366694"/>
                  </a:cubicBezTo>
                  <a:cubicBezTo>
                    <a:pt x="95505" y="352021"/>
                    <a:pt x="79205" y="330389"/>
                    <a:pt x="69784" y="304806"/>
                  </a:cubicBezTo>
                  <a:cubicBezTo>
                    <a:pt x="56687" y="302454"/>
                    <a:pt x="44722" y="289851"/>
                    <a:pt x="40953" y="272545"/>
                  </a:cubicBezTo>
                  <a:cubicBezTo>
                    <a:pt x="36148" y="251195"/>
                    <a:pt x="45664" y="230879"/>
                    <a:pt x="62058" y="227211"/>
                  </a:cubicBezTo>
                  <a:cubicBezTo>
                    <a:pt x="62246" y="227211"/>
                    <a:pt x="62435" y="227211"/>
                    <a:pt x="62717" y="227116"/>
                  </a:cubicBezTo>
                  <a:cubicBezTo>
                    <a:pt x="67899" y="171530"/>
                    <a:pt x="90229" y="130334"/>
                    <a:pt x="160421" y="130334"/>
                  </a:cubicBezTo>
                  <a:close/>
                  <a:moveTo>
                    <a:pt x="455360" y="72430"/>
                  </a:moveTo>
                  <a:cubicBezTo>
                    <a:pt x="450179" y="72430"/>
                    <a:pt x="445846" y="76663"/>
                    <a:pt x="445846" y="81931"/>
                  </a:cubicBezTo>
                  <a:lnTo>
                    <a:pt x="445846" y="90867"/>
                  </a:lnTo>
                  <a:cubicBezTo>
                    <a:pt x="425029" y="94912"/>
                    <a:pt x="412971" y="108363"/>
                    <a:pt x="412971" y="125389"/>
                  </a:cubicBezTo>
                  <a:cubicBezTo>
                    <a:pt x="412971" y="144296"/>
                    <a:pt x="427195" y="153985"/>
                    <a:pt x="448013" y="160946"/>
                  </a:cubicBezTo>
                  <a:cubicBezTo>
                    <a:pt x="462425" y="165837"/>
                    <a:pt x="468642" y="170541"/>
                    <a:pt x="468642" y="177878"/>
                  </a:cubicBezTo>
                  <a:cubicBezTo>
                    <a:pt x="468642" y="185685"/>
                    <a:pt x="461012" y="189918"/>
                    <a:pt x="449991" y="189918"/>
                  </a:cubicBezTo>
                  <a:cubicBezTo>
                    <a:pt x="442078" y="189918"/>
                    <a:pt x="434637" y="188319"/>
                    <a:pt x="428231" y="186061"/>
                  </a:cubicBezTo>
                  <a:cubicBezTo>
                    <a:pt x="425405" y="185121"/>
                    <a:pt x="422391" y="185309"/>
                    <a:pt x="419848" y="186720"/>
                  </a:cubicBezTo>
                  <a:cubicBezTo>
                    <a:pt x="417210" y="188131"/>
                    <a:pt x="415326" y="190482"/>
                    <a:pt x="414573" y="193304"/>
                  </a:cubicBezTo>
                  <a:lnTo>
                    <a:pt x="414384" y="194245"/>
                  </a:lnTo>
                  <a:cubicBezTo>
                    <a:pt x="412783" y="200359"/>
                    <a:pt x="416268" y="206662"/>
                    <a:pt x="422297" y="208543"/>
                  </a:cubicBezTo>
                  <a:cubicBezTo>
                    <a:pt x="428985" y="210612"/>
                    <a:pt x="436897" y="212118"/>
                    <a:pt x="444904" y="212494"/>
                  </a:cubicBezTo>
                  <a:lnTo>
                    <a:pt x="444904" y="221430"/>
                  </a:lnTo>
                  <a:cubicBezTo>
                    <a:pt x="444904" y="226604"/>
                    <a:pt x="449143" y="230931"/>
                    <a:pt x="454418" y="230931"/>
                  </a:cubicBezTo>
                  <a:cubicBezTo>
                    <a:pt x="459693" y="230931"/>
                    <a:pt x="463932" y="226604"/>
                    <a:pt x="463932" y="221430"/>
                  </a:cubicBezTo>
                  <a:lnTo>
                    <a:pt x="463932" y="211083"/>
                  </a:lnTo>
                  <a:cubicBezTo>
                    <a:pt x="486351" y="207226"/>
                    <a:pt x="498596" y="192458"/>
                    <a:pt x="498596" y="175150"/>
                  </a:cubicBezTo>
                  <a:cubicBezTo>
                    <a:pt x="498596" y="157654"/>
                    <a:pt x="489271" y="147024"/>
                    <a:pt x="466098" y="138841"/>
                  </a:cubicBezTo>
                  <a:cubicBezTo>
                    <a:pt x="449614" y="132632"/>
                    <a:pt x="442738" y="128493"/>
                    <a:pt x="442738" y="122097"/>
                  </a:cubicBezTo>
                  <a:cubicBezTo>
                    <a:pt x="442738" y="116641"/>
                    <a:pt x="446882" y="111279"/>
                    <a:pt x="459505" y="111279"/>
                  </a:cubicBezTo>
                  <a:cubicBezTo>
                    <a:pt x="466664" y="111279"/>
                    <a:pt x="472504" y="112408"/>
                    <a:pt x="477214" y="113819"/>
                  </a:cubicBezTo>
                  <a:cubicBezTo>
                    <a:pt x="479945" y="114666"/>
                    <a:pt x="482960" y="114384"/>
                    <a:pt x="485409" y="112973"/>
                  </a:cubicBezTo>
                  <a:cubicBezTo>
                    <a:pt x="487858" y="111562"/>
                    <a:pt x="489742" y="109210"/>
                    <a:pt x="490401" y="106482"/>
                  </a:cubicBezTo>
                  <a:lnTo>
                    <a:pt x="490589" y="105730"/>
                  </a:lnTo>
                  <a:cubicBezTo>
                    <a:pt x="492191" y="99709"/>
                    <a:pt x="488517" y="93595"/>
                    <a:pt x="482489" y="91996"/>
                  </a:cubicBezTo>
                  <a:cubicBezTo>
                    <a:pt x="477685" y="90773"/>
                    <a:pt x="471939" y="89832"/>
                    <a:pt x="464968" y="89456"/>
                  </a:cubicBezTo>
                  <a:lnTo>
                    <a:pt x="464968" y="81931"/>
                  </a:lnTo>
                  <a:cubicBezTo>
                    <a:pt x="464968" y="76663"/>
                    <a:pt x="460635" y="72430"/>
                    <a:pt x="455360" y="72430"/>
                  </a:cubicBezTo>
                  <a:close/>
                  <a:moveTo>
                    <a:pt x="455831" y="0"/>
                  </a:moveTo>
                  <a:cubicBezTo>
                    <a:pt x="539760" y="0"/>
                    <a:pt x="607770" y="67915"/>
                    <a:pt x="607770" y="151633"/>
                  </a:cubicBezTo>
                  <a:cubicBezTo>
                    <a:pt x="607770" y="235446"/>
                    <a:pt x="539760" y="303361"/>
                    <a:pt x="455831" y="303361"/>
                  </a:cubicBezTo>
                  <a:lnTo>
                    <a:pt x="322260" y="303361"/>
                  </a:lnTo>
                  <a:cubicBezTo>
                    <a:pt x="312181" y="303361"/>
                    <a:pt x="303986" y="295177"/>
                    <a:pt x="303986" y="285018"/>
                  </a:cubicBezTo>
                  <a:lnTo>
                    <a:pt x="303986" y="151633"/>
                  </a:lnTo>
                  <a:cubicBezTo>
                    <a:pt x="303986" y="67915"/>
                    <a:pt x="371902" y="0"/>
                    <a:pt x="455831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 sz="4000"/>
            </a:p>
          </p:txBody>
        </p:sp>
        <p:sp>
          <p:nvSpPr>
            <p:cNvPr id="10" name="îṧľíde">
              <a:extLst>
                <a:ext uri="{FF2B5EF4-FFF2-40B4-BE49-F238E27FC236}">
                  <a16:creationId xmlns:a16="http://schemas.microsoft.com/office/drawing/2014/main" id="{86363DC6-56F0-40F4-B449-AD757EB5F6C9}"/>
                </a:ext>
              </a:extLst>
            </p:cNvPr>
            <p:cNvSpPr txBox="1"/>
            <p:nvPr/>
          </p:nvSpPr>
          <p:spPr>
            <a:xfrm>
              <a:off x="7279273" y="3130435"/>
              <a:ext cx="2982327" cy="725008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normAutofit fontScale="85000" lnSpcReduction="20000"/>
            </a:bodyPr>
            <a:lstStyle/>
            <a:p>
              <a:pPr defTabSz="914378">
                <a:lnSpc>
                  <a:spcPct val="120000"/>
                </a:lnSpc>
                <a:spcBef>
                  <a:spcPct val="0"/>
                </a:spcBef>
                <a:defRPr/>
              </a:pPr>
              <a:r>
                <a:rPr lang="en-US" altLang="zh-CN" sz="2400" dirty="0"/>
                <a:t>11</a:t>
              </a:r>
              <a:r>
                <a:rPr lang="zh-CN" altLang="en-US" sz="2400" dirty="0"/>
                <a:t>人</a:t>
              </a:r>
              <a:endParaRPr lang="en-US" altLang="zh-CN" sz="2400" dirty="0"/>
            </a:p>
            <a:p>
              <a:pPr defTabSz="914378">
                <a:lnSpc>
                  <a:spcPct val="120000"/>
                </a:lnSpc>
                <a:spcBef>
                  <a:spcPct val="0"/>
                </a:spcBef>
                <a:defRPr/>
              </a:pPr>
              <a:r>
                <a:rPr lang="en-US" altLang="zh-CN" sz="2400" dirty="0"/>
                <a:t>9:00-15:00</a:t>
              </a:r>
            </a:p>
          </p:txBody>
        </p:sp>
        <p:sp>
          <p:nvSpPr>
            <p:cNvPr id="11" name="işľîďe">
              <a:extLst>
                <a:ext uri="{FF2B5EF4-FFF2-40B4-BE49-F238E27FC236}">
                  <a16:creationId xmlns:a16="http://schemas.microsoft.com/office/drawing/2014/main" id="{B6BDFF9B-55F8-4612-8974-B26E20F9E1FB}"/>
                </a:ext>
              </a:extLst>
            </p:cNvPr>
            <p:cNvSpPr/>
            <p:nvPr/>
          </p:nvSpPr>
          <p:spPr>
            <a:xfrm>
              <a:off x="7279273" y="2654085"/>
              <a:ext cx="2982327" cy="476350"/>
            </a:xfrm>
            <a:prstGeom prst="rect">
              <a:avLst/>
            </a:prstGeom>
          </p:spPr>
          <p:txBody>
            <a:bodyPr wrap="square" lIns="91440" tIns="45720" rIns="91440" bIns="45720" anchor="b">
              <a:normAutofit fontScale="92500" lnSpcReduction="20000"/>
            </a:bodyPr>
            <a:lstStyle/>
            <a:p>
              <a:pPr lvl="0" defTabSz="914378">
                <a:spcBef>
                  <a:spcPct val="0"/>
                </a:spcBef>
                <a:defRPr/>
              </a:pPr>
              <a:r>
                <a:rPr lang="zh-CN" altLang="en-US" sz="3200" b="1" dirty="0"/>
                <a:t>早班</a:t>
              </a:r>
            </a:p>
          </p:txBody>
        </p:sp>
        <p:sp>
          <p:nvSpPr>
            <p:cNvPr id="12" name="íṡlîdé">
              <a:extLst>
                <a:ext uri="{FF2B5EF4-FFF2-40B4-BE49-F238E27FC236}">
                  <a16:creationId xmlns:a16="http://schemas.microsoft.com/office/drawing/2014/main" id="{A66905DB-A547-416B-AA37-5632830EF31C}"/>
                </a:ext>
              </a:extLst>
            </p:cNvPr>
            <p:cNvSpPr txBox="1"/>
            <p:nvPr/>
          </p:nvSpPr>
          <p:spPr>
            <a:xfrm>
              <a:off x="2474473" y="3931173"/>
              <a:ext cx="2982327" cy="725008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normAutofit fontScale="85000" lnSpcReduction="20000"/>
            </a:bodyPr>
            <a:lstStyle/>
            <a:p>
              <a:pPr algn="r" defTabSz="914378">
                <a:lnSpc>
                  <a:spcPct val="120000"/>
                </a:lnSpc>
                <a:spcBef>
                  <a:spcPct val="0"/>
                </a:spcBef>
                <a:defRPr/>
              </a:pPr>
              <a:r>
                <a:rPr lang="en-US" altLang="zh-CN" sz="2400" dirty="0"/>
                <a:t>12</a:t>
              </a:r>
              <a:r>
                <a:rPr lang="zh-CN" altLang="en-US" sz="2400" dirty="0"/>
                <a:t>人</a:t>
              </a:r>
              <a:endParaRPr lang="en-US" altLang="zh-CN" sz="2400" dirty="0"/>
            </a:p>
            <a:p>
              <a:pPr algn="r" defTabSz="914378">
                <a:lnSpc>
                  <a:spcPct val="120000"/>
                </a:lnSpc>
                <a:spcBef>
                  <a:spcPct val="0"/>
                </a:spcBef>
                <a:defRPr/>
              </a:pPr>
              <a:r>
                <a:rPr lang="en-US" altLang="zh-CN" sz="2400" dirty="0"/>
                <a:t>15:00-23:00</a:t>
              </a:r>
            </a:p>
          </p:txBody>
        </p:sp>
        <p:sp>
          <p:nvSpPr>
            <p:cNvPr id="13" name="îśḷîḓè">
              <a:extLst>
                <a:ext uri="{FF2B5EF4-FFF2-40B4-BE49-F238E27FC236}">
                  <a16:creationId xmlns:a16="http://schemas.microsoft.com/office/drawing/2014/main" id="{39723BAD-FF37-4F3F-B38C-872ADB4E35E4}"/>
                </a:ext>
              </a:extLst>
            </p:cNvPr>
            <p:cNvSpPr/>
            <p:nvPr/>
          </p:nvSpPr>
          <p:spPr>
            <a:xfrm>
              <a:off x="2474473" y="3454824"/>
              <a:ext cx="2982327" cy="476350"/>
            </a:xfrm>
            <a:prstGeom prst="rect">
              <a:avLst/>
            </a:prstGeom>
          </p:spPr>
          <p:txBody>
            <a:bodyPr wrap="square" lIns="91440" tIns="45720" rIns="91440" bIns="45720" anchor="b">
              <a:normAutofit fontScale="92500" lnSpcReduction="20000"/>
            </a:bodyPr>
            <a:lstStyle/>
            <a:p>
              <a:pPr lvl="0" algn="r" defTabSz="914378">
                <a:spcBef>
                  <a:spcPct val="0"/>
                </a:spcBef>
                <a:defRPr/>
              </a:pPr>
              <a:r>
                <a:rPr lang="zh-CN" altLang="en-US" sz="3200" b="1" dirty="0"/>
                <a:t>晚班</a:t>
              </a:r>
            </a:p>
          </p:txBody>
        </p:sp>
      </p:grpSp>
      <p:graphicFrame>
        <p:nvGraphicFramePr>
          <p:cNvPr id="14" name="图表 13">
            <a:extLst>
              <a:ext uri="{FF2B5EF4-FFF2-40B4-BE49-F238E27FC236}">
                <a16:creationId xmlns:a16="http://schemas.microsoft.com/office/drawing/2014/main" id="{6A37D245-602C-4B18-BE60-DEA1209272D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87333507"/>
              </p:ext>
            </p:extLst>
          </p:nvPr>
        </p:nvGraphicFramePr>
        <p:xfrm>
          <a:off x="5604398" y="1067859"/>
          <a:ext cx="6180788" cy="43548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文本框 14">
            <a:extLst>
              <a:ext uri="{FF2B5EF4-FFF2-40B4-BE49-F238E27FC236}">
                <a16:creationId xmlns:a16="http://schemas.microsoft.com/office/drawing/2014/main" id="{60D2CE6E-BFC2-4C7B-B3A6-6A24B82D42DC}"/>
              </a:ext>
            </a:extLst>
          </p:cNvPr>
          <p:cNvSpPr txBox="1"/>
          <p:nvPr/>
        </p:nvSpPr>
        <p:spPr>
          <a:xfrm>
            <a:off x="669925" y="1134994"/>
            <a:ext cx="33832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简单的分为早晚班，轮换。</a:t>
            </a:r>
          </a:p>
        </p:txBody>
      </p:sp>
      <p:sp>
        <p:nvSpPr>
          <p:cNvPr id="16" name="文本占位符 5">
            <a:extLst>
              <a:ext uri="{FF2B5EF4-FFF2-40B4-BE49-F238E27FC236}">
                <a16:creationId xmlns:a16="http://schemas.microsoft.com/office/drawing/2014/main" id="{8DD6F432-A0E2-416A-A24B-8530AA62D16C}"/>
              </a:ext>
            </a:extLst>
          </p:cNvPr>
          <p:cNvSpPr txBox="1">
            <a:spLocks/>
          </p:cNvSpPr>
          <p:nvPr/>
        </p:nvSpPr>
        <p:spPr>
          <a:xfrm>
            <a:off x="858731" y="5098298"/>
            <a:ext cx="4593573" cy="939894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>
            <a:norm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400" dirty="0">
                <a:solidFill>
                  <a:schemeClr val="bg1"/>
                </a:solidFill>
              </a:rPr>
              <a:t>以往的方式简单易用，</a:t>
            </a:r>
            <a:endParaRPr lang="en-US" altLang="zh-CN" sz="1400" dirty="0">
              <a:solidFill>
                <a:schemeClr val="bg1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dirty="0">
                <a:solidFill>
                  <a:schemeClr val="bg1"/>
                </a:solidFill>
              </a:rPr>
              <a:t>但是人员能效低，业绩产出不够，人员流失率高</a:t>
            </a:r>
            <a:endParaRPr lang="en-US" altLang="zh-CN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31881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E39837A-6144-479C-810F-1EE02134AE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以往优化方案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D9F5E1C-2031-4079-A9B0-D1077AED82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grpSp>
        <p:nvGrpSpPr>
          <p:cNvPr id="5" name="272452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2DDD9954-7BFA-482A-8750-9F3FA6EC58D7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-2" y="2634725"/>
            <a:ext cx="11518900" cy="1923512"/>
            <a:chOff x="-2" y="2634725"/>
            <a:chExt cx="11518900" cy="1923512"/>
          </a:xfrm>
        </p:grpSpPr>
        <p:sp>
          <p:nvSpPr>
            <p:cNvPr id="6" name="iŝļïde">
              <a:extLst>
                <a:ext uri="{FF2B5EF4-FFF2-40B4-BE49-F238E27FC236}">
                  <a16:creationId xmlns:a16="http://schemas.microsoft.com/office/drawing/2014/main" id="{0F81A5E8-9B43-4403-8957-269985FB4004}"/>
                </a:ext>
              </a:extLst>
            </p:cNvPr>
            <p:cNvSpPr/>
            <p:nvPr/>
          </p:nvSpPr>
          <p:spPr>
            <a:xfrm>
              <a:off x="-2" y="2974657"/>
              <a:ext cx="11518900" cy="1315587"/>
            </a:xfrm>
            <a:prstGeom prst="rightArrow">
              <a:avLst/>
            </a:pr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95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 w="317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en-US" sz="2000" b="1"/>
            </a:p>
          </p:txBody>
        </p:sp>
        <p:sp>
          <p:nvSpPr>
            <p:cNvPr id="153" name="ïš1íḓé">
              <a:extLst>
                <a:ext uri="{FF2B5EF4-FFF2-40B4-BE49-F238E27FC236}">
                  <a16:creationId xmlns:a16="http://schemas.microsoft.com/office/drawing/2014/main" id="{73DA5CA1-A22D-45FF-B355-18D3880E7B99}"/>
                </a:ext>
              </a:extLst>
            </p:cNvPr>
            <p:cNvSpPr/>
            <p:nvPr/>
          </p:nvSpPr>
          <p:spPr>
            <a:xfrm>
              <a:off x="660402" y="4119426"/>
              <a:ext cx="1492248" cy="438811"/>
            </a:xfrm>
            <a:prstGeom prst="rect">
              <a:avLst/>
            </a:prstGeom>
            <a:no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zh-CN" altLang="en-US" b="1" dirty="0">
                  <a:solidFill>
                    <a:schemeClr val="tx1"/>
                  </a:solidFill>
                </a:rPr>
                <a:t>早 </a:t>
              </a:r>
              <a:r>
                <a:rPr lang="en-US" altLang="zh-CN" b="1" dirty="0">
                  <a:solidFill>
                    <a:schemeClr val="tx1"/>
                  </a:solidFill>
                </a:rPr>
                <a:t>/ </a:t>
              </a:r>
              <a:r>
                <a:rPr lang="zh-CN" altLang="en-US" b="1" dirty="0">
                  <a:solidFill>
                    <a:schemeClr val="tx1"/>
                  </a:solidFill>
                </a:rPr>
                <a:t>晚  班</a:t>
              </a:r>
            </a:p>
          </p:txBody>
        </p:sp>
        <p:grpSp>
          <p:nvGrpSpPr>
            <p:cNvPr id="8" name="íslidê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F1797BDE-F9C3-4EC3-879E-90398B08917C}"/>
                </a:ext>
              </a:extLst>
            </p:cNvPr>
            <p:cNvGrpSpPr/>
            <p:nvPr/>
          </p:nvGrpSpPr>
          <p:grpSpPr>
            <a:xfrm>
              <a:off x="8875915" y="2734147"/>
              <a:ext cx="2642983" cy="1796106"/>
              <a:chOff x="3194050" y="1444625"/>
              <a:chExt cx="5821363" cy="3956050"/>
            </a:xfrm>
          </p:grpSpPr>
          <p:sp>
            <p:nvSpPr>
              <p:cNvPr id="40" name="ïṥlíďe">
                <a:extLst>
                  <a:ext uri="{FF2B5EF4-FFF2-40B4-BE49-F238E27FC236}">
                    <a16:creationId xmlns:a16="http://schemas.microsoft.com/office/drawing/2014/main" id="{6068C235-3FC8-49AE-8538-051262318664}"/>
                  </a:ext>
                </a:extLst>
              </p:cNvPr>
              <p:cNvSpPr/>
              <p:nvPr/>
            </p:nvSpPr>
            <p:spPr bwMode="auto">
              <a:xfrm>
                <a:off x="4721225" y="2805113"/>
                <a:ext cx="3746500" cy="2179638"/>
              </a:xfrm>
              <a:custGeom>
                <a:avLst/>
                <a:gdLst>
                  <a:gd name="T0" fmla="*/ 567 w 1135"/>
                  <a:gd name="T1" fmla="*/ 649 h 661"/>
                  <a:gd name="T2" fmla="*/ 9 w 1135"/>
                  <a:gd name="T3" fmla="*/ 327 h 661"/>
                  <a:gd name="T4" fmla="*/ 9 w 1135"/>
                  <a:gd name="T5" fmla="*/ 305 h 661"/>
                  <a:gd name="T6" fmla="*/ 537 w 1135"/>
                  <a:gd name="T7" fmla="*/ 0 h 661"/>
                  <a:gd name="T8" fmla="*/ 1126 w 1135"/>
                  <a:gd name="T9" fmla="*/ 340 h 661"/>
                  <a:gd name="T10" fmla="*/ 1126 w 1135"/>
                  <a:gd name="T11" fmla="*/ 363 h 661"/>
                  <a:gd name="T12" fmla="*/ 630 w 1135"/>
                  <a:gd name="T13" fmla="*/ 649 h 661"/>
                  <a:gd name="T14" fmla="*/ 567 w 1135"/>
                  <a:gd name="T15" fmla="*/ 649 h 6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35" h="661">
                    <a:moveTo>
                      <a:pt x="567" y="649"/>
                    </a:moveTo>
                    <a:cubicBezTo>
                      <a:pt x="9" y="327"/>
                      <a:pt x="9" y="327"/>
                      <a:pt x="9" y="327"/>
                    </a:cubicBezTo>
                    <a:cubicBezTo>
                      <a:pt x="0" y="322"/>
                      <a:pt x="0" y="310"/>
                      <a:pt x="9" y="305"/>
                    </a:cubicBezTo>
                    <a:cubicBezTo>
                      <a:pt x="537" y="0"/>
                      <a:pt x="537" y="0"/>
                      <a:pt x="537" y="0"/>
                    </a:cubicBezTo>
                    <a:cubicBezTo>
                      <a:pt x="1126" y="340"/>
                      <a:pt x="1126" y="340"/>
                      <a:pt x="1126" y="340"/>
                    </a:cubicBezTo>
                    <a:cubicBezTo>
                      <a:pt x="1135" y="345"/>
                      <a:pt x="1135" y="358"/>
                      <a:pt x="1126" y="363"/>
                    </a:cubicBezTo>
                    <a:cubicBezTo>
                      <a:pt x="630" y="649"/>
                      <a:pt x="630" y="649"/>
                      <a:pt x="630" y="649"/>
                    </a:cubicBezTo>
                    <a:cubicBezTo>
                      <a:pt x="611" y="661"/>
                      <a:pt x="586" y="661"/>
                      <a:pt x="567" y="649"/>
                    </a:cubicBezTo>
                    <a:close/>
                  </a:path>
                </a:pathLst>
              </a:custGeom>
              <a:solidFill>
                <a:srgbClr val="8A9DBC"/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 sz="2000" b="1"/>
              </a:p>
            </p:txBody>
          </p:sp>
          <p:sp>
            <p:nvSpPr>
              <p:cNvPr id="41" name="îś1ïḓe">
                <a:extLst>
                  <a:ext uri="{FF2B5EF4-FFF2-40B4-BE49-F238E27FC236}">
                    <a16:creationId xmlns:a16="http://schemas.microsoft.com/office/drawing/2014/main" id="{F50D7B81-8878-4FC5-BDBA-44B551D61B37}"/>
                  </a:ext>
                </a:extLst>
              </p:cNvPr>
              <p:cNvSpPr/>
              <p:nvPr/>
            </p:nvSpPr>
            <p:spPr bwMode="auto">
              <a:xfrm>
                <a:off x="4567238" y="1995488"/>
                <a:ext cx="1979613" cy="1195388"/>
              </a:xfrm>
              <a:custGeom>
                <a:avLst/>
                <a:gdLst>
                  <a:gd name="T0" fmla="*/ 600 w 600"/>
                  <a:gd name="T1" fmla="*/ 51 h 363"/>
                  <a:gd name="T2" fmla="*/ 543 w 600"/>
                  <a:gd name="T3" fmla="*/ 18 h 363"/>
                  <a:gd name="T4" fmla="*/ 15 w 600"/>
                  <a:gd name="T5" fmla="*/ 322 h 363"/>
                  <a:gd name="T6" fmla="*/ 0 w 600"/>
                  <a:gd name="T7" fmla="*/ 349 h 363"/>
                  <a:gd name="T8" fmla="*/ 15 w 600"/>
                  <a:gd name="T9" fmla="*/ 358 h 363"/>
                  <a:gd name="T10" fmla="*/ 543 w 600"/>
                  <a:gd name="T11" fmla="*/ 54 h 363"/>
                  <a:gd name="T12" fmla="*/ 569 w 600"/>
                  <a:gd name="T13" fmla="*/ 68 h 363"/>
                  <a:gd name="T14" fmla="*/ 569 w 600"/>
                  <a:gd name="T15" fmla="*/ 127 h 363"/>
                  <a:gd name="T16" fmla="*/ 600 w 600"/>
                  <a:gd name="T17" fmla="*/ 127 h 363"/>
                  <a:gd name="T18" fmla="*/ 600 w 600"/>
                  <a:gd name="T19" fmla="*/ 51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00" h="363">
                    <a:moveTo>
                      <a:pt x="600" y="51"/>
                    </a:moveTo>
                    <a:cubicBezTo>
                      <a:pt x="600" y="15"/>
                      <a:pt x="574" y="0"/>
                      <a:pt x="543" y="18"/>
                    </a:cubicBezTo>
                    <a:cubicBezTo>
                      <a:pt x="15" y="322"/>
                      <a:pt x="15" y="322"/>
                      <a:pt x="15" y="322"/>
                    </a:cubicBezTo>
                    <a:cubicBezTo>
                      <a:pt x="7" y="327"/>
                      <a:pt x="0" y="339"/>
                      <a:pt x="0" y="349"/>
                    </a:cubicBezTo>
                    <a:cubicBezTo>
                      <a:pt x="0" y="359"/>
                      <a:pt x="6" y="363"/>
                      <a:pt x="15" y="358"/>
                    </a:cubicBezTo>
                    <a:cubicBezTo>
                      <a:pt x="543" y="54"/>
                      <a:pt x="543" y="54"/>
                      <a:pt x="543" y="54"/>
                    </a:cubicBezTo>
                    <a:cubicBezTo>
                      <a:pt x="557" y="46"/>
                      <a:pt x="569" y="52"/>
                      <a:pt x="569" y="68"/>
                    </a:cubicBezTo>
                    <a:cubicBezTo>
                      <a:pt x="569" y="127"/>
                      <a:pt x="569" y="127"/>
                      <a:pt x="569" y="127"/>
                    </a:cubicBezTo>
                    <a:cubicBezTo>
                      <a:pt x="579" y="127"/>
                      <a:pt x="589" y="127"/>
                      <a:pt x="600" y="127"/>
                    </a:cubicBezTo>
                    <a:lnTo>
                      <a:pt x="600" y="51"/>
                    </a:lnTo>
                    <a:close/>
                  </a:path>
                </a:pathLst>
              </a:custGeom>
              <a:solidFill>
                <a:srgbClr val="D4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 sz="2000" b="1"/>
              </a:p>
            </p:txBody>
          </p:sp>
          <p:sp>
            <p:nvSpPr>
              <p:cNvPr id="42" name="íş1íḑé">
                <a:extLst>
                  <a:ext uri="{FF2B5EF4-FFF2-40B4-BE49-F238E27FC236}">
                    <a16:creationId xmlns:a16="http://schemas.microsoft.com/office/drawing/2014/main" id="{09FD8FAE-FD9F-4115-AC20-C831F4EF6707}"/>
                  </a:ext>
                </a:extLst>
              </p:cNvPr>
              <p:cNvSpPr/>
              <p:nvPr/>
            </p:nvSpPr>
            <p:spPr bwMode="auto">
              <a:xfrm>
                <a:off x="4564063" y="2413000"/>
                <a:ext cx="1982788" cy="1128713"/>
              </a:xfrm>
              <a:custGeom>
                <a:avLst/>
                <a:gdLst>
                  <a:gd name="T0" fmla="*/ 16 w 601"/>
                  <a:gd name="T1" fmla="*/ 337 h 342"/>
                  <a:gd name="T2" fmla="*/ 544 w 601"/>
                  <a:gd name="T3" fmla="*/ 145 h 342"/>
                  <a:gd name="T4" fmla="*/ 600 w 601"/>
                  <a:gd name="T5" fmla="*/ 47 h 342"/>
                  <a:gd name="T6" fmla="*/ 601 w 601"/>
                  <a:gd name="T7" fmla="*/ 0 h 342"/>
                  <a:gd name="T8" fmla="*/ 570 w 601"/>
                  <a:gd name="T9" fmla="*/ 0 h 342"/>
                  <a:gd name="T10" fmla="*/ 570 w 601"/>
                  <a:gd name="T11" fmla="*/ 65 h 342"/>
                  <a:gd name="T12" fmla="*/ 544 w 601"/>
                  <a:gd name="T13" fmla="*/ 109 h 342"/>
                  <a:gd name="T14" fmla="*/ 16 w 601"/>
                  <a:gd name="T15" fmla="*/ 301 h 342"/>
                  <a:gd name="T16" fmla="*/ 0 w 601"/>
                  <a:gd name="T17" fmla="*/ 328 h 342"/>
                  <a:gd name="T18" fmla="*/ 16 w 601"/>
                  <a:gd name="T19" fmla="*/ 337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01" h="342">
                    <a:moveTo>
                      <a:pt x="16" y="337"/>
                    </a:moveTo>
                    <a:cubicBezTo>
                      <a:pt x="544" y="145"/>
                      <a:pt x="544" y="145"/>
                      <a:pt x="544" y="145"/>
                    </a:cubicBezTo>
                    <a:cubicBezTo>
                      <a:pt x="575" y="127"/>
                      <a:pt x="600" y="83"/>
                      <a:pt x="600" y="47"/>
                    </a:cubicBezTo>
                    <a:cubicBezTo>
                      <a:pt x="601" y="0"/>
                      <a:pt x="601" y="0"/>
                      <a:pt x="601" y="0"/>
                    </a:cubicBezTo>
                    <a:cubicBezTo>
                      <a:pt x="590" y="0"/>
                      <a:pt x="580" y="0"/>
                      <a:pt x="570" y="0"/>
                    </a:cubicBezTo>
                    <a:cubicBezTo>
                      <a:pt x="570" y="65"/>
                      <a:pt x="570" y="65"/>
                      <a:pt x="570" y="65"/>
                    </a:cubicBezTo>
                    <a:cubicBezTo>
                      <a:pt x="570" y="81"/>
                      <a:pt x="558" y="101"/>
                      <a:pt x="544" y="109"/>
                    </a:cubicBezTo>
                    <a:cubicBezTo>
                      <a:pt x="16" y="301"/>
                      <a:pt x="16" y="301"/>
                      <a:pt x="16" y="301"/>
                    </a:cubicBezTo>
                    <a:cubicBezTo>
                      <a:pt x="7" y="306"/>
                      <a:pt x="0" y="318"/>
                      <a:pt x="0" y="328"/>
                    </a:cubicBezTo>
                    <a:cubicBezTo>
                      <a:pt x="0" y="338"/>
                      <a:pt x="7" y="342"/>
                      <a:pt x="16" y="337"/>
                    </a:cubicBezTo>
                    <a:close/>
                  </a:path>
                </a:pathLst>
              </a:custGeom>
              <a:solidFill>
                <a:srgbClr val="5793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 sz="2000" b="1"/>
              </a:p>
            </p:txBody>
          </p:sp>
          <p:sp>
            <p:nvSpPr>
              <p:cNvPr id="43" name="išľîḓê">
                <a:extLst>
                  <a:ext uri="{FF2B5EF4-FFF2-40B4-BE49-F238E27FC236}">
                    <a16:creationId xmlns:a16="http://schemas.microsoft.com/office/drawing/2014/main" id="{A3271667-0292-4EF2-A13D-9AA4543EE013}"/>
                  </a:ext>
                </a:extLst>
              </p:cNvPr>
              <p:cNvSpPr/>
              <p:nvPr/>
            </p:nvSpPr>
            <p:spPr bwMode="auto">
              <a:xfrm>
                <a:off x="4576763" y="3349625"/>
                <a:ext cx="4059238" cy="1404938"/>
              </a:xfrm>
              <a:custGeom>
                <a:avLst/>
                <a:gdLst>
                  <a:gd name="T0" fmla="*/ 0 w 2557"/>
                  <a:gd name="T1" fmla="*/ 112 h 885"/>
                  <a:gd name="T2" fmla="*/ 1336 w 2557"/>
                  <a:gd name="T3" fmla="*/ 885 h 885"/>
                  <a:gd name="T4" fmla="*/ 2467 w 2557"/>
                  <a:gd name="T5" fmla="*/ 210 h 885"/>
                  <a:gd name="T6" fmla="*/ 2557 w 2557"/>
                  <a:gd name="T7" fmla="*/ 77 h 885"/>
                  <a:gd name="T8" fmla="*/ 2548 w 2557"/>
                  <a:gd name="T9" fmla="*/ 125 h 885"/>
                  <a:gd name="T10" fmla="*/ 2523 w 2557"/>
                  <a:gd name="T11" fmla="*/ 0 h 885"/>
                  <a:gd name="T12" fmla="*/ 424 w 2557"/>
                  <a:gd name="T13" fmla="*/ 79 h 885"/>
                  <a:gd name="T14" fmla="*/ 54 w 2557"/>
                  <a:gd name="T15" fmla="*/ 56 h 885"/>
                  <a:gd name="T16" fmla="*/ 0 w 2557"/>
                  <a:gd name="T17" fmla="*/ 112 h 8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57" h="885">
                    <a:moveTo>
                      <a:pt x="0" y="112"/>
                    </a:moveTo>
                    <a:lnTo>
                      <a:pt x="1336" y="885"/>
                    </a:lnTo>
                    <a:lnTo>
                      <a:pt x="2467" y="210"/>
                    </a:lnTo>
                    <a:lnTo>
                      <a:pt x="2557" y="77"/>
                    </a:lnTo>
                    <a:lnTo>
                      <a:pt x="2548" y="125"/>
                    </a:lnTo>
                    <a:lnTo>
                      <a:pt x="2523" y="0"/>
                    </a:lnTo>
                    <a:lnTo>
                      <a:pt x="424" y="79"/>
                    </a:lnTo>
                    <a:lnTo>
                      <a:pt x="54" y="56"/>
                    </a:lnTo>
                    <a:lnTo>
                      <a:pt x="0" y="112"/>
                    </a:lnTo>
                    <a:close/>
                  </a:path>
                </a:pathLst>
              </a:custGeom>
              <a:solidFill>
                <a:srgbClr val="5793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 sz="2000" b="1"/>
              </a:p>
            </p:txBody>
          </p:sp>
          <p:sp>
            <p:nvSpPr>
              <p:cNvPr id="44" name="ïs1iḓè">
                <a:extLst>
                  <a:ext uri="{FF2B5EF4-FFF2-40B4-BE49-F238E27FC236}">
                    <a16:creationId xmlns:a16="http://schemas.microsoft.com/office/drawing/2014/main" id="{8BFB4FAE-72D1-4384-8CD0-5E24D5B7100B}"/>
                  </a:ext>
                </a:extLst>
              </p:cNvPr>
              <p:cNvSpPr/>
              <p:nvPr/>
            </p:nvSpPr>
            <p:spPr bwMode="auto">
              <a:xfrm>
                <a:off x="4649788" y="3159125"/>
                <a:ext cx="2101850" cy="1443038"/>
              </a:xfrm>
              <a:custGeom>
                <a:avLst/>
                <a:gdLst>
                  <a:gd name="T0" fmla="*/ 0 w 1324"/>
                  <a:gd name="T1" fmla="*/ 0 h 909"/>
                  <a:gd name="T2" fmla="*/ 0 w 1324"/>
                  <a:gd name="T3" fmla="*/ 164 h 909"/>
                  <a:gd name="T4" fmla="*/ 1290 w 1324"/>
                  <a:gd name="T5" fmla="*/ 909 h 909"/>
                  <a:gd name="T6" fmla="*/ 1324 w 1324"/>
                  <a:gd name="T7" fmla="*/ 754 h 909"/>
                  <a:gd name="T8" fmla="*/ 0 w 1324"/>
                  <a:gd name="T9" fmla="*/ 0 h 9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24" h="909">
                    <a:moveTo>
                      <a:pt x="0" y="0"/>
                    </a:moveTo>
                    <a:lnTo>
                      <a:pt x="0" y="164"/>
                    </a:lnTo>
                    <a:lnTo>
                      <a:pt x="1290" y="909"/>
                    </a:lnTo>
                    <a:lnTo>
                      <a:pt x="1324" y="75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6B8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 sz="2000" b="1"/>
              </a:p>
            </p:txBody>
          </p:sp>
          <p:sp>
            <p:nvSpPr>
              <p:cNvPr id="45" name="ïsḷíďé">
                <a:extLst>
                  <a:ext uri="{FF2B5EF4-FFF2-40B4-BE49-F238E27FC236}">
                    <a16:creationId xmlns:a16="http://schemas.microsoft.com/office/drawing/2014/main" id="{8A5B84F0-C01B-499C-A205-0DD7C6112B1F}"/>
                  </a:ext>
                </a:extLst>
              </p:cNvPr>
              <p:cNvSpPr/>
              <p:nvPr/>
            </p:nvSpPr>
            <p:spPr bwMode="auto">
              <a:xfrm>
                <a:off x="4579938" y="2041525"/>
                <a:ext cx="4029075" cy="2363788"/>
              </a:xfrm>
              <a:custGeom>
                <a:avLst/>
                <a:gdLst>
                  <a:gd name="T0" fmla="*/ 2538 w 2538"/>
                  <a:gd name="T1" fmla="*/ 772 h 1489"/>
                  <a:gd name="T2" fmla="*/ 1206 w 2538"/>
                  <a:gd name="T3" fmla="*/ 0 h 1489"/>
                  <a:gd name="T4" fmla="*/ 2 w 2538"/>
                  <a:gd name="T5" fmla="*/ 700 h 1489"/>
                  <a:gd name="T6" fmla="*/ 0 w 2538"/>
                  <a:gd name="T7" fmla="*/ 716 h 1489"/>
                  <a:gd name="T8" fmla="*/ 1334 w 2538"/>
                  <a:gd name="T9" fmla="*/ 1489 h 1489"/>
                  <a:gd name="T10" fmla="*/ 2538 w 2538"/>
                  <a:gd name="T11" fmla="*/ 772 h 14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38" h="1489">
                    <a:moveTo>
                      <a:pt x="2538" y="772"/>
                    </a:moveTo>
                    <a:lnTo>
                      <a:pt x="1206" y="0"/>
                    </a:lnTo>
                    <a:lnTo>
                      <a:pt x="2" y="700"/>
                    </a:lnTo>
                    <a:lnTo>
                      <a:pt x="0" y="716"/>
                    </a:lnTo>
                    <a:lnTo>
                      <a:pt x="1334" y="1489"/>
                    </a:lnTo>
                    <a:lnTo>
                      <a:pt x="2538" y="772"/>
                    </a:lnTo>
                    <a:close/>
                  </a:path>
                </a:pathLst>
              </a:custGeom>
              <a:solidFill>
                <a:srgbClr val="D4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 sz="2000" b="1"/>
              </a:p>
            </p:txBody>
          </p:sp>
          <p:sp>
            <p:nvSpPr>
              <p:cNvPr id="46" name="îŝḷîdé">
                <a:extLst>
                  <a:ext uri="{FF2B5EF4-FFF2-40B4-BE49-F238E27FC236}">
                    <a16:creationId xmlns:a16="http://schemas.microsoft.com/office/drawing/2014/main" id="{454728CE-E9D1-4B5D-AFD9-DF7058B06F74}"/>
                  </a:ext>
                </a:extLst>
              </p:cNvPr>
              <p:cNvSpPr/>
              <p:nvPr/>
            </p:nvSpPr>
            <p:spPr bwMode="auto">
              <a:xfrm>
                <a:off x="6694488" y="3362325"/>
                <a:ext cx="1812925" cy="1239838"/>
              </a:xfrm>
              <a:custGeom>
                <a:avLst/>
                <a:gdLst>
                  <a:gd name="T0" fmla="*/ 376 w 549"/>
                  <a:gd name="T1" fmla="*/ 161 h 376"/>
                  <a:gd name="T2" fmla="*/ 526 w 549"/>
                  <a:gd name="T3" fmla="*/ 72 h 376"/>
                  <a:gd name="T4" fmla="*/ 549 w 549"/>
                  <a:gd name="T5" fmla="*/ 30 h 376"/>
                  <a:gd name="T6" fmla="*/ 549 w 549"/>
                  <a:gd name="T7" fmla="*/ 18 h 376"/>
                  <a:gd name="T8" fmla="*/ 539 w 549"/>
                  <a:gd name="T9" fmla="*/ 0 h 376"/>
                  <a:gd name="T10" fmla="*/ 242 w 549"/>
                  <a:gd name="T11" fmla="*/ 165 h 376"/>
                  <a:gd name="T12" fmla="*/ 0 w 549"/>
                  <a:gd name="T13" fmla="*/ 296 h 376"/>
                  <a:gd name="T14" fmla="*/ 1 w 549"/>
                  <a:gd name="T15" fmla="*/ 376 h 376"/>
                  <a:gd name="T16" fmla="*/ 376 w 549"/>
                  <a:gd name="T17" fmla="*/ 161 h 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49" h="376">
                    <a:moveTo>
                      <a:pt x="376" y="161"/>
                    </a:moveTo>
                    <a:cubicBezTo>
                      <a:pt x="526" y="72"/>
                      <a:pt x="526" y="72"/>
                      <a:pt x="526" y="72"/>
                    </a:cubicBezTo>
                    <a:cubicBezTo>
                      <a:pt x="539" y="63"/>
                      <a:pt x="549" y="45"/>
                      <a:pt x="549" y="30"/>
                    </a:cubicBezTo>
                    <a:cubicBezTo>
                      <a:pt x="549" y="18"/>
                      <a:pt x="549" y="18"/>
                      <a:pt x="549" y="18"/>
                    </a:cubicBezTo>
                    <a:cubicBezTo>
                      <a:pt x="549" y="8"/>
                      <a:pt x="545" y="2"/>
                      <a:pt x="539" y="0"/>
                    </a:cubicBezTo>
                    <a:cubicBezTo>
                      <a:pt x="242" y="165"/>
                      <a:pt x="242" y="165"/>
                      <a:pt x="242" y="165"/>
                    </a:cubicBezTo>
                    <a:cubicBezTo>
                      <a:pt x="0" y="296"/>
                      <a:pt x="0" y="296"/>
                      <a:pt x="0" y="296"/>
                    </a:cubicBezTo>
                    <a:cubicBezTo>
                      <a:pt x="1" y="376"/>
                      <a:pt x="1" y="376"/>
                      <a:pt x="1" y="376"/>
                    </a:cubicBezTo>
                    <a:lnTo>
                      <a:pt x="376" y="16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 sz="2000" b="1"/>
              </a:p>
            </p:txBody>
          </p:sp>
          <p:sp>
            <p:nvSpPr>
              <p:cNvPr id="47" name="iş1iḋé">
                <a:extLst>
                  <a:ext uri="{FF2B5EF4-FFF2-40B4-BE49-F238E27FC236}">
                    <a16:creationId xmlns:a16="http://schemas.microsoft.com/office/drawing/2014/main" id="{95A6DB33-5C31-40FC-8AD6-EE7F9E6FEE59}"/>
                  </a:ext>
                </a:extLst>
              </p:cNvPr>
              <p:cNvSpPr/>
              <p:nvPr/>
            </p:nvSpPr>
            <p:spPr bwMode="auto">
              <a:xfrm>
                <a:off x="4567238" y="3098800"/>
                <a:ext cx="2200275" cy="1306513"/>
              </a:xfrm>
              <a:custGeom>
                <a:avLst/>
                <a:gdLst>
                  <a:gd name="T0" fmla="*/ 667 w 667"/>
                  <a:gd name="T1" fmla="*/ 383 h 396"/>
                  <a:gd name="T2" fmla="*/ 30 w 667"/>
                  <a:gd name="T3" fmla="*/ 15 h 396"/>
                  <a:gd name="T4" fmla="*/ 16 w 667"/>
                  <a:gd name="T5" fmla="*/ 7 h 396"/>
                  <a:gd name="T6" fmla="*/ 4 w 667"/>
                  <a:gd name="T7" fmla="*/ 0 h 396"/>
                  <a:gd name="T8" fmla="*/ 0 w 667"/>
                  <a:gd name="T9" fmla="*/ 14 h 396"/>
                  <a:gd name="T10" fmla="*/ 4 w 667"/>
                  <a:gd name="T11" fmla="*/ 24 h 396"/>
                  <a:gd name="T12" fmla="*/ 4 w 667"/>
                  <a:gd name="T13" fmla="*/ 24 h 396"/>
                  <a:gd name="T14" fmla="*/ 4 w 667"/>
                  <a:gd name="T15" fmla="*/ 24 h 396"/>
                  <a:gd name="T16" fmla="*/ 4 w 667"/>
                  <a:gd name="T17" fmla="*/ 24 h 396"/>
                  <a:gd name="T18" fmla="*/ 646 w 667"/>
                  <a:gd name="T19" fmla="*/ 396 h 396"/>
                  <a:gd name="T20" fmla="*/ 667 w 667"/>
                  <a:gd name="T21" fmla="*/ 383 h 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67" h="396">
                    <a:moveTo>
                      <a:pt x="667" y="383"/>
                    </a:moveTo>
                    <a:cubicBezTo>
                      <a:pt x="30" y="15"/>
                      <a:pt x="30" y="15"/>
                      <a:pt x="30" y="15"/>
                    </a:cubicBezTo>
                    <a:cubicBezTo>
                      <a:pt x="16" y="7"/>
                      <a:pt x="16" y="7"/>
                      <a:pt x="16" y="7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" y="4"/>
                      <a:pt x="0" y="9"/>
                      <a:pt x="0" y="14"/>
                    </a:cubicBezTo>
                    <a:cubicBezTo>
                      <a:pt x="0" y="19"/>
                      <a:pt x="1" y="22"/>
                      <a:pt x="4" y="24"/>
                    </a:cubicBezTo>
                    <a:cubicBezTo>
                      <a:pt x="4" y="24"/>
                      <a:pt x="4" y="24"/>
                      <a:pt x="4" y="24"/>
                    </a:cubicBezTo>
                    <a:cubicBezTo>
                      <a:pt x="4" y="24"/>
                      <a:pt x="4" y="24"/>
                      <a:pt x="4" y="24"/>
                    </a:cubicBezTo>
                    <a:cubicBezTo>
                      <a:pt x="4" y="24"/>
                      <a:pt x="4" y="24"/>
                      <a:pt x="4" y="24"/>
                    </a:cubicBezTo>
                    <a:cubicBezTo>
                      <a:pt x="646" y="396"/>
                      <a:pt x="646" y="396"/>
                      <a:pt x="646" y="396"/>
                    </a:cubicBezTo>
                    <a:lnTo>
                      <a:pt x="667" y="383"/>
                    </a:lnTo>
                    <a:close/>
                  </a:path>
                </a:pathLst>
              </a:custGeom>
              <a:solidFill>
                <a:srgbClr val="5793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 sz="2000" b="1"/>
              </a:p>
            </p:txBody>
          </p:sp>
          <p:sp>
            <p:nvSpPr>
              <p:cNvPr id="48" name="îśḷíḓè">
                <a:extLst>
                  <a:ext uri="{FF2B5EF4-FFF2-40B4-BE49-F238E27FC236}">
                    <a16:creationId xmlns:a16="http://schemas.microsoft.com/office/drawing/2014/main" id="{D5C7903C-0541-47D3-AD6A-BA97C440575D}"/>
                  </a:ext>
                </a:extLst>
              </p:cNvPr>
              <p:cNvSpPr/>
              <p:nvPr/>
            </p:nvSpPr>
            <p:spPr bwMode="auto">
              <a:xfrm>
                <a:off x="6672263" y="4730750"/>
                <a:ext cx="28575" cy="23813"/>
              </a:xfrm>
              <a:custGeom>
                <a:avLst/>
                <a:gdLst>
                  <a:gd name="T0" fmla="*/ 0 w 18"/>
                  <a:gd name="T1" fmla="*/ 5 h 15"/>
                  <a:gd name="T2" fmla="*/ 16 w 18"/>
                  <a:gd name="T3" fmla="*/ 15 h 15"/>
                  <a:gd name="T4" fmla="*/ 18 w 18"/>
                  <a:gd name="T5" fmla="*/ 9 h 15"/>
                  <a:gd name="T6" fmla="*/ 8 w 18"/>
                  <a:gd name="T7" fmla="*/ 0 h 15"/>
                  <a:gd name="T8" fmla="*/ 0 w 18"/>
                  <a:gd name="T9" fmla="*/ 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5">
                    <a:moveTo>
                      <a:pt x="0" y="5"/>
                    </a:moveTo>
                    <a:lnTo>
                      <a:pt x="16" y="15"/>
                    </a:lnTo>
                    <a:lnTo>
                      <a:pt x="18" y="9"/>
                    </a:lnTo>
                    <a:lnTo>
                      <a:pt x="8" y="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49" name="íśḷíḑê">
                <a:extLst>
                  <a:ext uri="{FF2B5EF4-FFF2-40B4-BE49-F238E27FC236}">
                    <a16:creationId xmlns:a16="http://schemas.microsoft.com/office/drawing/2014/main" id="{F37646CA-2480-44F6-8ECB-4B9D5666330B}"/>
                  </a:ext>
                </a:extLst>
              </p:cNvPr>
              <p:cNvSpPr/>
              <p:nvPr/>
            </p:nvSpPr>
            <p:spPr bwMode="auto">
              <a:xfrm>
                <a:off x="6672263" y="4387850"/>
                <a:ext cx="25400" cy="17463"/>
              </a:xfrm>
              <a:custGeom>
                <a:avLst/>
                <a:gdLst>
                  <a:gd name="T0" fmla="*/ 0 w 16"/>
                  <a:gd name="T1" fmla="*/ 0 h 11"/>
                  <a:gd name="T2" fmla="*/ 16 w 16"/>
                  <a:gd name="T3" fmla="*/ 11 h 11"/>
                  <a:gd name="T4" fmla="*/ 12 w 16"/>
                  <a:gd name="T5" fmla="*/ 0 h 11"/>
                  <a:gd name="T6" fmla="*/ 0 w 16"/>
                  <a:gd name="T7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11">
                    <a:moveTo>
                      <a:pt x="0" y="0"/>
                    </a:moveTo>
                    <a:lnTo>
                      <a:pt x="16" y="11"/>
                    </a:lnTo>
                    <a:lnTo>
                      <a:pt x="1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50" name="iŝļîďé">
                <a:extLst>
                  <a:ext uri="{FF2B5EF4-FFF2-40B4-BE49-F238E27FC236}">
                    <a16:creationId xmlns:a16="http://schemas.microsoft.com/office/drawing/2014/main" id="{515B0103-96E9-4E1F-969D-C86598AE6C8E}"/>
                  </a:ext>
                </a:extLst>
              </p:cNvPr>
              <p:cNvSpPr/>
              <p:nvPr/>
            </p:nvSpPr>
            <p:spPr bwMode="auto">
              <a:xfrm>
                <a:off x="6684963" y="3221038"/>
                <a:ext cx="1979613" cy="1546225"/>
              </a:xfrm>
              <a:custGeom>
                <a:avLst/>
                <a:gdLst>
                  <a:gd name="T0" fmla="*/ 16 w 600"/>
                  <a:gd name="T1" fmla="*/ 322 h 469"/>
                  <a:gd name="T2" fmla="*/ 544 w 600"/>
                  <a:gd name="T3" fmla="*/ 18 h 469"/>
                  <a:gd name="T4" fmla="*/ 600 w 600"/>
                  <a:gd name="T5" fmla="*/ 50 h 469"/>
                  <a:gd name="T6" fmla="*/ 600 w 600"/>
                  <a:gd name="T7" fmla="*/ 62 h 469"/>
                  <a:gd name="T8" fmla="*/ 544 w 600"/>
                  <a:gd name="T9" fmla="*/ 160 h 469"/>
                  <a:gd name="T10" fmla="*/ 15 w 600"/>
                  <a:gd name="T11" fmla="*/ 464 h 469"/>
                  <a:gd name="T12" fmla="*/ 0 w 600"/>
                  <a:gd name="T13" fmla="*/ 455 h 469"/>
                  <a:gd name="T14" fmla="*/ 15 w 600"/>
                  <a:gd name="T15" fmla="*/ 428 h 469"/>
                  <a:gd name="T16" fmla="*/ 544 w 600"/>
                  <a:gd name="T17" fmla="*/ 124 h 469"/>
                  <a:gd name="T18" fmla="*/ 569 w 600"/>
                  <a:gd name="T19" fmla="*/ 80 h 469"/>
                  <a:gd name="T20" fmla="*/ 569 w 600"/>
                  <a:gd name="T21" fmla="*/ 68 h 469"/>
                  <a:gd name="T22" fmla="*/ 544 w 600"/>
                  <a:gd name="T23" fmla="*/ 53 h 469"/>
                  <a:gd name="T24" fmla="*/ 16 w 600"/>
                  <a:gd name="T25" fmla="*/ 358 h 469"/>
                  <a:gd name="T26" fmla="*/ 0 w 600"/>
                  <a:gd name="T27" fmla="*/ 349 h 469"/>
                  <a:gd name="T28" fmla="*/ 16 w 600"/>
                  <a:gd name="T29" fmla="*/ 32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00" h="469">
                    <a:moveTo>
                      <a:pt x="16" y="322"/>
                    </a:moveTo>
                    <a:cubicBezTo>
                      <a:pt x="544" y="18"/>
                      <a:pt x="544" y="18"/>
                      <a:pt x="544" y="18"/>
                    </a:cubicBezTo>
                    <a:cubicBezTo>
                      <a:pt x="575" y="0"/>
                      <a:pt x="600" y="14"/>
                      <a:pt x="600" y="50"/>
                    </a:cubicBezTo>
                    <a:cubicBezTo>
                      <a:pt x="600" y="62"/>
                      <a:pt x="600" y="62"/>
                      <a:pt x="600" y="62"/>
                    </a:cubicBezTo>
                    <a:cubicBezTo>
                      <a:pt x="600" y="98"/>
                      <a:pt x="575" y="142"/>
                      <a:pt x="544" y="160"/>
                    </a:cubicBezTo>
                    <a:cubicBezTo>
                      <a:pt x="15" y="464"/>
                      <a:pt x="15" y="464"/>
                      <a:pt x="15" y="464"/>
                    </a:cubicBezTo>
                    <a:cubicBezTo>
                      <a:pt x="7" y="469"/>
                      <a:pt x="0" y="465"/>
                      <a:pt x="0" y="455"/>
                    </a:cubicBezTo>
                    <a:cubicBezTo>
                      <a:pt x="0" y="445"/>
                      <a:pt x="7" y="433"/>
                      <a:pt x="15" y="428"/>
                    </a:cubicBezTo>
                    <a:cubicBezTo>
                      <a:pt x="544" y="124"/>
                      <a:pt x="544" y="124"/>
                      <a:pt x="544" y="124"/>
                    </a:cubicBezTo>
                    <a:cubicBezTo>
                      <a:pt x="558" y="116"/>
                      <a:pt x="569" y="96"/>
                      <a:pt x="569" y="80"/>
                    </a:cubicBezTo>
                    <a:cubicBezTo>
                      <a:pt x="569" y="68"/>
                      <a:pt x="569" y="68"/>
                      <a:pt x="569" y="68"/>
                    </a:cubicBezTo>
                    <a:cubicBezTo>
                      <a:pt x="569" y="52"/>
                      <a:pt x="558" y="45"/>
                      <a:pt x="544" y="53"/>
                    </a:cubicBezTo>
                    <a:cubicBezTo>
                      <a:pt x="16" y="358"/>
                      <a:pt x="16" y="358"/>
                      <a:pt x="16" y="358"/>
                    </a:cubicBezTo>
                    <a:cubicBezTo>
                      <a:pt x="7" y="363"/>
                      <a:pt x="0" y="359"/>
                      <a:pt x="0" y="349"/>
                    </a:cubicBezTo>
                    <a:cubicBezTo>
                      <a:pt x="0" y="339"/>
                      <a:pt x="7" y="327"/>
                      <a:pt x="16" y="322"/>
                    </a:cubicBezTo>
                    <a:close/>
                  </a:path>
                </a:pathLst>
              </a:custGeom>
              <a:solidFill>
                <a:srgbClr val="D4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 sz="2000" b="1"/>
              </a:p>
            </p:txBody>
          </p:sp>
          <p:sp>
            <p:nvSpPr>
              <p:cNvPr id="51" name="íṧḻíḓê">
                <a:extLst>
                  <a:ext uri="{FF2B5EF4-FFF2-40B4-BE49-F238E27FC236}">
                    <a16:creationId xmlns:a16="http://schemas.microsoft.com/office/drawing/2014/main" id="{4BED76E0-9A28-4BEA-9124-55D83BEFE882}"/>
                  </a:ext>
                </a:extLst>
              </p:cNvPr>
              <p:cNvSpPr/>
              <p:nvPr/>
            </p:nvSpPr>
            <p:spPr bwMode="auto">
              <a:xfrm>
                <a:off x="5959475" y="2789238"/>
                <a:ext cx="1692275" cy="976313"/>
              </a:xfrm>
              <a:custGeom>
                <a:avLst/>
                <a:gdLst>
                  <a:gd name="T0" fmla="*/ 0 w 1066"/>
                  <a:gd name="T1" fmla="*/ 328 h 615"/>
                  <a:gd name="T2" fmla="*/ 571 w 1066"/>
                  <a:gd name="T3" fmla="*/ 0 h 615"/>
                  <a:gd name="T4" fmla="*/ 1066 w 1066"/>
                  <a:gd name="T5" fmla="*/ 285 h 615"/>
                  <a:gd name="T6" fmla="*/ 495 w 1066"/>
                  <a:gd name="T7" fmla="*/ 615 h 615"/>
                  <a:gd name="T8" fmla="*/ 0 w 1066"/>
                  <a:gd name="T9" fmla="*/ 328 h 6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6" h="615">
                    <a:moveTo>
                      <a:pt x="0" y="328"/>
                    </a:moveTo>
                    <a:lnTo>
                      <a:pt x="571" y="0"/>
                    </a:lnTo>
                    <a:lnTo>
                      <a:pt x="1066" y="285"/>
                    </a:lnTo>
                    <a:lnTo>
                      <a:pt x="495" y="615"/>
                    </a:lnTo>
                    <a:lnTo>
                      <a:pt x="0" y="32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 sz="2000" b="1"/>
              </a:p>
            </p:txBody>
          </p:sp>
          <p:sp>
            <p:nvSpPr>
              <p:cNvPr id="52" name="ïṥḷîḑê">
                <a:extLst>
                  <a:ext uri="{FF2B5EF4-FFF2-40B4-BE49-F238E27FC236}">
                    <a16:creationId xmlns:a16="http://schemas.microsoft.com/office/drawing/2014/main" id="{D2C39DCD-8569-45C8-A71C-EE1933FEAEF0}"/>
                  </a:ext>
                </a:extLst>
              </p:cNvPr>
              <p:cNvSpPr/>
              <p:nvPr/>
            </p:nvSpPr>
            <p:spPr bwMode="auto">
              <a:xfrm>
                <a:off x="6654800" y="3386138"/>
                <a:ext cx="1908175" cy="1358900"/>
              </a:xfrm>
              <a:custGeom>
                <a:avLst/>
                <a:gdLst>
                  <a:gd name="T0" fmla="*/ 9 w 578"/>
                  <a:gd name="T1" fmla="*/ 405 h 412"/>
                  <a:gd name="T2" fmla="*/ 24 w 578"/>
                  <a:gd name="T3" fmla="*/ 378 h 412"/>
                  <a:gd name="T4" fmla="*/ 553 w 578"/>
                  <a:gd name="T5" fmla="*/ 74 h 412"/>
                  <a:gd name="T6" fmla="*/ 578 w 578"/>
                  <a:gd name="T7" fmla="*/ 30 h 412"/>
                  <a:gd name="T8" fmla="*/ 578 w 578"/>
                  <a:gd name="T9" fmla="*/ 18 h 412"/>
                  <a:gd name="T10" fmla="*/ 566 w 578"/>
                  <a:gd name="T11" fmla="*/ 0 h 412"/>
                  <a:gd name="T12" fmla="*/ 570 w 578"/>
                  <a:gd name="T13" fmla="*/ 13 h 412"/>
                  <a:gd name="T14" fmla="*/ 570 w 578"/>
                  <a:gd name="T15" fmla="*/ 25 h 412"/>
                  <a:gd name="T16" fmla="*/ 544 w 578"/>
                  <a:gd name="T17" fmla="*/ 69 h 412"/>
                  <a:gd name="T18" fmla="*/ 16 w 578"/>
                  <a:gd name="T19" fmla="*/ 373 h 412"/>
                  <a:gd name="T20" fmla="*/ 0 w 578"/>
                  <a:gd name="T21" fmla="*/ 400 h 412"/>
                  <a:gd name="T22" fmla="*/ 10 w 578"/>
                  <a:gd name="T23" fmla="*/ 411 h 412"/>
                  <a:gd name="T24" fmla="*/ 9 w 578"/>
                  <a:gd name="T25" fmla="*/ 405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78" h="412">
                    <a:moveTo>
                      <a:pt x="9" y="405"/>
                    </a:moveTo>
                    <a:cubicBezTo>
                      <a:pt x="9" y="395"/>
                      <a:pt x="16" y="383"/>
                      <a:pt x="24" y="378"/>
                    </a:cubicBezTo>
                    <a:cubicBezTo>
                      <a:pt x="553" y="74"/>
                      <a:pt x="553" y="74"/>
                      <a:pt x="553" y="74"/>
                    </a:cubicBezTo>
                    <a:cubicBezTo>
                      <a:pt x="567" y="66"/>
                      <a:pt x="578" y="46"/>
                      <a:pt x="578" y="30"/>
                    </a:cubicBezTo>
                    <a:cubicBezTo>
                      <a:pt x="578" y="18"/>
                      <a:pt x="578" y="18"/>
                      <a:pt x="578" y="18"/>
                    </a:cubicBezTo>
                    <a:cubicBezTo>
                      <a:pt x="578" y="7"/>
                      <a:pt x="573" y="1"/>
                      <a:pt x="566" y="0"/>
                    </a:cubicBezTo>
                    <a:cubicBezTo>
                      <a:pt x="568" y="3"/>
                      <a:pt x="570" y="8"/>
                      <a:pt x="570" y="13"/>
                    </a:cubicBezTo>
                    <a:cubicBezTo>
                      <a:pt x="570" y="25"/>
                      <a:pt x="570" y="25"/>
                      <a:pt x="570" y="25"/>
                    </a:cubicBezTo>
                    <a:cubicBezTo>
                      <a:pt x="570" y="41"/>
                      <a:pt x="558" y="61"/>
                      <a:pt x="544" y="69"/>
                    </a:cubicBezTo>
                    <a:cubicBezTo>
                      <a:pt x="16" y="373"/>
                      <a:pt x="16" y="373"/>
                      <a:pt x="16" y="373"/>
                    </a:cubicBezTo>
                    <a:cubicBezTo>
                      <a:pt x="7" y="378"/>
                      <a:pt x="0" y="390"/>
                      <a:pt x="0" y="400"/>
                    </a:cubicBezTo>
                    <a:cubicBezTo>
                      <a:pt x="0" y="408"/>
                      <a:pt x="4" y="412"/>
                      <a:pt x="10" y="411"/>
                    </a:cubicBezTo>
                    <a:cubicBezTo>
                      <a:pt x="9" y="409"/>
                      <a:pt x="9" y="407"/>
                      <a:pt x="9" y="40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 sz="2000" b="1"/>
              </a:p>
            </p:txBody>
          </p:sp>
          <p:sp>
            <p:nvSpPr>
              <p:cNvPr id="53" name="ïŝḻíḍè">
                <a:extLst>
                  <a:ext uri="{FF2B5EF4-FFF2-40B4-BE49-F238E27FC236}">
                    <a16:creationId xmlns:a16="http://schemas.microsoft.com/office/drawing/2014/main" id="{4D720A01-2C18-4AA2-9335-220E5FB08EBA}"/>
                  </a:ext>
                </a:extLst>
              </p:cNvPr>
              <p:cNvSpPr/>
              <p:nvPr/>
            </p:nvSpPr>
            <p:spPr bwMode="auto">
              <a:xfrm>
                <a:off x="6657975" y="3230563"/>
                <a:ext cx="1938338" cy="1160463"/>
              </a:xfrm>
              <a:custGeom>
                <a:avLst/>
                <a:gdLst>
                  <a:gd name="T0" fmla="*/ 8 w 587"/>
                  <a:gd name="T1" fmla="*/ 346 h 352"/>
                  <a:gd name="T2" fmla="*/ 24 w 587"/>
                  <a:gd name="T3" fmla="*/ 319 h 352"/>
                  <a:gd name="T4" fmla="*/ 552 w 587"/>
                  <a:gd name="T5" fmla="*/ 15 h 352"/>
                  <a:gd name="T6" fmla="*/ 587 w 587"/>
                  <a:gd name="T7" fmla="*/ 9 h 352"/>
                  <a:gd name="T8" fmla="*/ 543 w 587"/>
                  <a:gd name="T9" fmla="*/ 10 h 352"/>
                  <a:gd name="T10" fmla="*/ 15 w 587"/>
                  <a:gd name="T11" fmla="*/ 314 h 352"/>
                  <a:gd name="T12" fmla="*/ 0 w 587"/>
                  <a:gd name="T13" fmla="*/ 341 h 352"/>
                  <a:gd name="T14" fmla="*/ 9 w 587"/>
                  <a:gd name="T15" fmla="*/ 352 h 352"/>
                  <a:gd name="T16" fmla="*/ 8 w 587"/>
                  <a:gd name="T17" fmla="*/ 346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87" h="352">
                    <a:moveTo>
                      <a:pt x="8" y="346"/>
                    </a:moveTo>
                    <a:cubicBezTo>
                      <a:pt x="8" y="336"/>
                      <a:pt x="15" y="324"/>
                      <a:pt x="24" y="319"/>
                    </a:cubicBezTo>
                    <a:cubicBezTo>
                      <a:pt x="552" y="15"/>
                      <a:pt x="552" y="15"/>
                      <a:pt x="552" y="15"/>
                    </a:cubicBezTo>
                    <a:cubicBezTo>
                      <a:pt x="565" y="7"/>
                      <a:pt x="577" y="5"/>
                      <a:pt x="587" y="9"/>
                    </a:cubicBezTo>
                    <a:cubicBezTo>
                      <a:pt x="577" y="0"/>
                      <a:pt x="561" y="0"/>
                      <a:pt x="543" y="10"/>
                    </a:cubicBezTo>
                    <a:cubicBezTo>
                      <a:pt x="15" y="314"/>
                      <a:pt x="15" y="314"/>
                      <a:pt x="15" y="314"/>
                    </a:cubicBezTo>
                    <a:cubicBezTo>
                      <a:pt x="7" y="319"/>
                      <a:pt x="0" y="331"/>
                      <a:pt x="0" y="341"/>
                    </a:cubicBezTo>
                    <a:cubicBezTo>
                      <a:pt x="0" y="348"/>
                      <a:pt x="4" y="352"/>
                      <a:pt x="9" y="352"/>
                    </a:cubicBezTo>
                    <a:cubicBezTo>
                      <a:pt x="8" y="350"/>
                      <a:pt x="8" y="348"/>
                      <a:pt x="8" y="34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 sz="2000" b="1"/>
              </a:p>
            </p:txBody>
          </p:sp>
          <p:sp>
            <p:nvSpPr>
              <p:cNvPr id="54" name="îṣľidé">
                <a:extLst>
                  <a:ext uri="{FF2B5EF4-FFF2-40B4-BE49-F238E27FC236}">
                    <a16:creationId xmlns:a16="http://schemas.microsoft.com/office/drawing/2014/main" id="{3465B6C3-EF5B-44E8-83C4-2AB84C1E00CC}"/>
                  </a:ext>
                </a:extLst>
              </p:cNvPr>
              <p:cNvSpPr/>
              <p:nvPr/>
            </p:nvSpPr>
            <p:spPr bwMode="auto">
              <a:xfrm>
                <a:off x="3194050" y="3138488"/>
                <a:ext cx="1114425" cy="642938"/>
              </a:xfrm>
              <a:custGeom>
                <a:avLst/>
                <a:gdLst>
                  <a:gd name="T0" fmla="*/ 153 w 338"/>
                  <a:gd name="T1" fmla="*/ 190 h 195"/>
                  <a:gd name="T2" fmla="*/ 9 w 338"/>
                  <a:gd name="T3" fmla="*/ 107 h 195"/>
                  <a:gd name="T4" fmla="*/ 11 w 338"/>
                  <a:gd name="T5" fmla="*/ 87 h 195"/>
                  <a:gd name="T6" fmla="*/ 150 w 338"/>
                  <a:gd name="T7" fmla="*/ 7 h 195"/>
                  <a:gd name="T8" fmla="*/ 185 w 338"/>
                  <a:gd name="T9" fmla="*/ 5 h 195"/>
                  <a:gd name="T10" fmla="*/ 329 w 338"/>
                  <a:gd name="T11" fmla="*/ 88 h 195"/>
                  <a:gd name="T12" fmla="*/ 326 w 338"/>
                  <a:gd name="T13" fmla="*/ 108 h 195"/>
                  <a:gd name="T14" fmla="*/ 187 w 338"/>
                  <a:gd name="T15" fmla="*/ 188 h 195"/>
                  <a:gd name="T16" fmla="*/ 153 w 338"/>
                  <a:gd name="T17" fmla="*/ 19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8" h="195">
                    <a:moveTo>
                      <a:pt x="153" y="190"/>
                    </a:moveTo>
                    <a:cubicBezTo>
                      <a:pt x="9" y="107"/>
                      <a:pt x="9" y="107"/>
                      <a:pt x="9" y="107"/>
                    </a:cubicBezTo>
                    <a:cubicBezTo>
                      <a:pt x="0" y="102"/>
                      <a:pt x="1" y="93"/>
                      <a:pt x="11" y="87"/>
                    </a:cubicBezTo>
                    <a:cubicBezTo>
                      <a:pt x="150" y="7"/>
                      <a:pt x="150" y="7"/>
                      <a:pt x="150" y="7"/>
                    </a:cubicBezTo>
                    <a:cubicBezTo>
                      <a:pt x="160" y="1"/>
                      <a:pt x="176" y="0"/>
                      <a:pt x="185" y="5"/>
                    </a:cubicBezTo>
                    <a:cubicBezTo>
                      <a:pt x="329" y="88"/>
                      <a:pt x="329" y="88"/>
                      <a:pt x="329" y="88"/>
                    </a:cubicBezTo>
                    <a:cubicBezTo>
                      <a:pt x="338" y="93"/>
                      <a:pt x="336" y="102"/>
                      <a:pt x="326" y="108"/>
                    </a:cubicBezTo>
                    <a:cubicBezTo>
                      <a:pt x="187" y="188"/>
                      <a:pt x="187" y="188"/>
                      <a:pt x="187" y="188"/>
                    </a:cubicBezTo>
                    <a:cubicBezTo>
                      <a:pt x="177" y="194"/>
                      <a:pt x="162" y="195"/>
                      <a:pt x="153" y="190"/>
                    </a:cubicBezTo>
                    <a:close/>
                  </a:path>
                </a:pathLst>
              </a:custGeom>
              <a:solidFill>
                <a:srgbClr val="8A9DBC"/>
              </a:solidFill>
              <a:ln>
                <a:noFill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1600" b="1"/>
              </a:p>
            </p:txBody>
          </p:sp>
          <p:sp>
            <p:nvSpPr>
              <p:cNvPr id="55" name="ïṡ1ïḍè">
                <a:extLst>
                  <a:ext uri="{FF2B5EF4-FFF2-40B4-BE49-F238E27FC236}">
                    <a16:creationId xmlns:a16="http://schemas.microsoft.com/office/drawing/2014/main" id="{047510FD-D3C5-41EA-B2F0-A235E65B7FF3}"/>
                  </a:ext>
                </a:extLst>
              </p:cNvPr>
              <p:cNvSpPr/>
              <p:nvPr/>
            </p:nvSpPr>
            <p:spPr bwMode="auto">
              <a:xfrm>
                <a:off x="3200400" y="3043238"/>
                <a:ext cx="1098550" cy="581025"/>
              </a:xfrm>
              <a:custGeom>
                <a:avLst/>
                <a:gdLst>
                  <a:gd name="T0" fmla="*/ 333 w 333"/>
                  <a:gd name="T1" fmla="*/ 77 h 176"/>
                  <a:gd name="T2" fmla="*/ 333 w 333"/>
                  <a:gd name="T3" fmla="*/ 77 h 176"/>
                  <a:gd name="T4" fmla="*/ 333 w 333"/>
                  <a:gd name="T5" fmla="*/ 27 h 176"/>
                  <a:gd name="T6" fmla="*/ 221 w 333"/>
                  <a:gd name="T7" fmla="*/ 27 h 176"/>
                  <a:gd name="T8" fmla="*/ 183 w 333"/>
                  <a:gd name="T9" fmla="*/ 5 h 176"/>
                  <a:gd name="T10" fmla="*/ 148 w 333"/>
                  <a:gd name="T11" fmla="*/ 6 h 176"/>
                  <a:gd name="T12" fmla="*/ 112 w 333"/>
                  <a:gd name="T13" fmla="*/ 27 h 176"/>
                  <a:gd name="T14" fmla="*/ 1 w 333"/>
                  <a:gd name="T15" fmla="*/ 27 h 176"/>
                  <a:gd name="T16" fmla="*/ 1 w 333"/>
                  <a:gd name="T17" fmla="*/ 78 h 176"/>
                  <a:gd name="T18" fmla="*/ 7 w 333"/>
                  <a:gd name="T19" fmla="*/ 88 h 176"/>
                  <a:gd name="T20" fmla="*/ 151 w 333"/>
                  <a:gd name="T21" fmla="*/ 171 h 176"/>
                  <a:gd name="T22" fmla="*/ 185 w 333"/>
                  <a:gd name="T23" fmla="*/ 169 h 176"/>
                  <a:gd name="T24" fmla="*/ 324 w 333"/>
                  <a:gd name="T25" fmla="*/ 89 h 176"/>
                  <a:gd name="T26" fmla="*/ 333 w 333"/>
                  <a:gd name="T27" fmla="*/ 77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33" h="176">
                    <a:moveTo>
                      <a:pt x="333" y="77"/>
                    </a:moveTo>
                    <a:cubicBezTo>
                      <a:pt x="333" y="77"/>
                      <a:pt x="333" y="77"/>
                      <a:pt x="333" y="77"/>
                    </a:cubicBezTo>
                    <a:cubicBezTo>
                      <a:pt x="333" y="27"/>
                      <a:pt x="333" y="27"/>
                      <a:pt x="333" y="27"/>
                    </a:cubicBezTo>
                    <a:cubicBezTo>
                      <a:pt x="221" y="27"/>
                      <a:pt x="221" y="27"/>
                      <a:pt x="221" y="27"/>
                    </a:cubicBezTo>
                    <a:cubicBezTo>
                      <a:pt x="183" y="5"/>
                      <a:pt x="183" y="5"/>
                      <a:pt x="183" y="5"/>
                    </a:cubicBezTo>
                    <a:cubicBezTo>
                      <a:pt x="174" y="0"/>
                      <a:pt x="158" y="1"/>
                      <a:pt x="148" y="6"/>
                    </a:cubicBezTo>
                    <a:cubicBezTo>
                      <a:pt x="112" y="27"/>
                      <a:pt x="112" y="27"/>
                      <a:pt x="112" y="27"/>
                    </a:cubicBezTo>
                    <a:cubicBezTo>
                      <a:pt x="1" y="27"/>
                      <a:pt x="1" y="27"/>
                      <a:pt x="1" y="27"/>
                    </a:cubicBezTo>
                    <a:cubicBezTo>
                      <a:pt x="1" y="78"/>
                      <a:pt x="1" y="78"/>
                      <a:pt x="1" y="78"/>
                    </a:cubicBezTo>
                    <a:cubicBezTo>
                      <a:pt x="0" y="82"/>
                      <a:pt x="2" y="85"/>
                      <a:pt x="7" y="88"/>
                    </a:cubicBezTo>
                    <a:cubicBezTo>
                      <a:pt x="151" y="171"/>
                      <a:pt x="151" y="171"/>
                      <a:pt x="151" y="171"/>
                    </a:cubicBezTo>
                    <a:cubicBezTo>
                      <a:pt x="160" y="176"/>
                      <a:pt x="175" y="175"/>
                      <a:pt x="185" y="169"/>
                    </a:cubicBezTo>
                    <a:cubicBezTo>
                      <a:pt x="324" y="89"/>
                      <a:pt x="324" y="89"/>
                      <a:pt x="324" y="89"/>
                    </a:cubicBezTo>
                    <a:cubicBezTo>
                      <a:pt x="330" y="86"/>
                      <a:pt x="333" y="81"/>
                      <a:pt x="333" y="77"/>
                    </a:cubicBezTo>
                    <a:close/>
                  </a:path>
                </a:pathLst>
              </a:custGeom>
              <a:solidFill>
                <a:srgbClr val="396C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1600" b="1"/>
              </a:p>
            </p:txBody>
          </p:sp>
          <p:sp>
            <p:nvSpPr>
              <p:cNvPr id="56" name="iśḻîḓè">
                <a:extLst>
                  <a:ext uri="{FF2B5EF4-FFF2-40B4-BE49-F238E27FC236}">
                    <a16:creationId xmlns:a16="http://schemas.microsoft.com/office/drawing/2014/main" id="{51E6E22D-FE75-4B27-B192-362BDE487562}"/>
                  </a:ext>
                </a:extLst>
              </p:cNvPr>
              <p:cNvSpPr/>
              <p:nvPr/>
            </p:nvSpPr>
            <p:spPr bwMode="auto">
              <a:xfrm>
                <a:off x="3200400" y="3049588"/>
                <a:ext cx="550863" cy="566738"/>
              </a:xfrm>
              <a:custGeom>
                <a:avLst/>
                <a:gdLst>
                  <a:gd name="T0" fmla="*/ 167 w 167"/>
                  <a:gd name="T1" fmla="*/ 0 h 172"/>
                  <a:gd name="T2" fmla="*/ 148 w 167"/>
                  <a:gd name="T3" fmla="*/ 4 h 172"/>
                  <a:gd name="T4" fmla="*/ 112 w 167"/>
                  <a:gd name="T5" fmla="*/ 25 h 172"/>
                  <a:gd name="T6" fmla="*/ 1 w 167"/>
                  <a:gd name="T7" fmla="*/ 25 h 172"/>
                  <a:gd name="T8" fmla="*/ 1 w 167"/>
                  <a:gd name="T9" fmla="*/ 76 h 172"/>
                  <a:gd name="T10" fmla="*/ 7 w 167"/>
                  <a:gd name="T11" fmla="*/ 86 h 172"/>
                  <a:gd name="T12" fmla="*/ 151 w 167"/>
                  <a:gd name="T13" fmla="*/ 169 h 172"/>
                  <a:gd name="T14" fmla="*/ 167 w 167"/>
                  <a:gd name="T15" fmla="*/ 172 h 172"/>
                  <a:gd name="T16" fmla="*/ 167 w 167"/>
                  <a:gd name="T17" fmla="*/ 0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7" h="172">
                    <a:moveTo>
                      <a:pt x="167" y="0"/>
                    </a:moveTo>
                    <a:cubicBezTo>
                      <a:pt x="160" y="0"/>
                      <a:pt x="154" y="1"/>
                      <a:pt x="148" y="4"/>
                    </a:cubicBezTo>
                    <a:cubicBezTo>
                      <a:pt x="112" y="25"/>
                      <a:pt x="112" y="25"/>
                      <a:pt x="112" y="25"/>
                    </a:cubicBezTo>
                    <a:cubicBezTo>
                      <a:pt x="1" y="25"/>
                      <a:pt x="1" y="25"/>
                      <a:pt x="1" y="25"/>
                    </a:cubicBezTo>
                    <a:cubicBezTo>
                      <a:pt x="1" y="76"/>
                      <a:pt x="1" y="76"/>
                      <a:pt x="1" y="76"/>
                    </a:cubicBezTo>
                    <a:cubicBezTo>
                      <a:pt x="0" y="80"/>
                      <a:pt x="2" y="83"/>
                      <a:pt x="7" y="86"/>
                    </a:cubicBezTo>
                    <a:cubicBezTo>
                      <a:pt x="151" y="169"/>
                      <a:pt x="151" y="169"/>
                      <a:pt x="151" y="169"/>
                    </a:cubicBezTo>
                    <a:cubicBezTo>
                      <a:pt x="155" y="171"/>
                      <a:pt x="161" y="172"/>
                      <a:pt x="167" y="172"/>
                    </a:cubicBezTo>
                    <a:lnTo>
                      <a:pt x="167" y="0"/>
                    </a:lnTo>
                    <a:close/>
                  </a:path>
                </a:pathLst>
              </a:custGeom>
              <a:solidFill>
                <a:srgbClr val="396C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1400" b="1"/>
              </a:p>
            </p:txBody>
          </p:sp>
          <p:sp>
            <p:nvSpPr>
              <p:cNvPr id="57" name="îśļïḋe">
                <a:extLst>
                  <a:ext uri="{FF2B5EF4-FFF2-40B4-BE49-F238E27FC236}">
                    <a16:creationId xmlns:a16="http://schemas.microsoft.com/office/drawing/2014/main" id="{A6CD97E2-5D3F-46F9-BF28-43CB1945ACCF}"/>
                  </a:ext>
                </a:extLst>
              </p:cNvPr>
              <p:cNvSpPr/>
              <p:nvPr/>
            </p:nvSpPr>
            <p:spPr bwMode="auto">
              <a:xfrm>
                <a:off x="3705225" y="3416300"/>
                <a:ext cx="88900" cy="203200"/>
              </a:xfrm>
              <a:custGeom>
                <a:avLst/>
                <a:gdLst>
                  <a:gd name="T0" fmla="*/ 0 w 27"/>
                  <a:gd name="T1" fmla="*/ 59 h 62"/>
                  <a:gd name="T2" fmla="*/ 27 w 27"/>
                  <a:gd name="T3" fmla="*/ 58 h 62"/>
                  <a:gd name="T4" fmla="*/ 27 w 27"/>
                  <a:gd name="T5" fmla="*/ 0 h 62"/>
                  <a:gd name="T6" fmla="*/ 0 w 27"/>
                  <a:gd name="T7" fmla="*/ 0 h 62"/>
                  <a:gd name="T8" fmla="*/ 0 w 27"/>
                  <a:gd name="T9" fmla="*/ 5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62">
                    <a:moveTo>
                      <a:pt x="0" y="59"/>
                    </a:moveTo>
                    <a:cubicBezTo>
                      <a:pt x="8" y="62"/>
                      <a:pt x="19" y="62"/>
                      <a:pt x="27" y="58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59"/>
                    </a:lnTo>
                    <a:close/>
                  </a:path>
                </a:pathLst>
              </a:custGeom>
              <a:solidFill>
                <a:srgbClr val="5793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58" name="îṧļïḍê">
                <a:extLst>
                  <a:ext uri="{FF2B5EF4-FFF2-40B4-BE49-F238E27FC236}">
                    <a16:creationId xmlns:a16="http://schemas.microsoft.com/office/drawing/2014/main" id="{49495262-2F5D-4184-B98C-6DF0A4E8F859}"/>
                  </a:ext>
                </a:extLst>
              </p:cNvPr>
              <p:cNvSpPr/>
              <p:nvPr/>
            </p:nvSpPr>
            <p:spPr bwMode="auto">
              <a:xfrm>
                <a:off x="3194050" y="2813050"/>
                <a:ext cx="1114425" cy="642938"/>
              </a:xfrm>
              <a:custGeom>
                <a:avLst/>
                <a:gdLst>
                  <a:gd name="T0" fmla="*/ 153 w 338"/>
                  <a:gd name="T1" fmla="*/ 190 h 195"/>
                  <a:gd name="T2" fmla="*/ 9 w 338"/>
                  <a:gd name="T3" fmla="*/ 107 h 195"/>
                  <a:gd name="T4" fmla="*/ 11 w 338"/>
                  <a:gd name="T5" fmla="*/ 87 h 195"/>
                  <a:gd name="T6" fmla="*/ 150 w 338"/>
                  <a:gd name="T7" fmla="*/ 6 h 195"/>
                  <a:gd name="T8" fmla="*/ 185 w 338"/>
                  <a:gd name="T9" fmla="*/ 5 h 195"/>
                  <a:gd name="T10" fmla="*/ 329 w 338"/>
                  <a:gd name="T11" fmla="*/ 88 h 195"/>
                  <a:gd name="T12" fmla="*/ 326 w 338"/>
                  <a:gd name="T13" fmla="*/ 108 h 195"/>
                  <a:gd name="T14" fmla="*/ 187 w 338"/>
                  <a:gd name="T15" fmla="*/ 188 h 195"/>
                  <a:gd name="T16" fmla="*/ 153 w 338"/>
                  <a:gd name="T17" fmla="*/ 19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8" h="195">
                    <a:moveTo>
                      <a:pt x="153" y="190"/>
                    </a:moveTo>
                    <a:cubicBezTo>
                      <a:pt x="9" y="107"/>
                      <a:pt x="9" y="107"/>
                      <a:pt x="9" y="107"/>
                    </a:cubicBezTo>
                    <a:cubicBezTo>
                      <a:pt x="0" y="101"/>
                      <a:pt x="1" y="93"/>
                      <a:pt x="11" y="87"/>
                    </a:cubicBezTo>
                    <a:cubicBezTo>
                      <a:pt x="150" y="6"/>
                      <a:pt x="150" y="6"/>
                      <a:pt x="150" y="6"/>
                    </a:cubicBezTo>
                    <a:cubicBezTo>
                      <a:pt x="160" y="0"/>
                      <a:pt x="176" y="0"/>
                      <a:pt x="185" y="5"/>
                    </a:cubicBezTo>
                    <a:cubicBezTo>
                      <a:pt x="329" y="88"/>
                      <a:pt x="329" y="88"/>
                      <a:pt x="329" y="88"/>
                    </a:cubicBezTo>
                    <a:cubicBezTo>
                      <a:pt x="338" y="93"/>
                      <a:pt x="336" y="102"/>
                      <a:pt x="326" y="108"/>
                    </a:cubicBezTo>
                    <a:cubicBezTo>
                      <a:pt x="187" y="188"/>
                      <a:pt x="187" y="188"/>
                      <a:pt x="187" y="188"/>
                    </a:cubicBezTo>
                    <a:cubicBezTo>
                      <a:pt x="177" y="194"/>
                      <a:pt x="162" y="195"/>
                      <a:pt x="153" y="190"/>
                    </a:cubicBezTo>
                    <a:close/>
                  </a:path>
                </a:pathLst>
              </a:custGeom>
              <a:solidFill>
                <a:srgbClr val="D4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1600" b="1"/>
              </a:p>
            </p:txBody>
          </p:sp>
          <p:sp>
            <p:nvSpPr>
              <p:cNvPr id="59" name="ïṧliḋè">
                <a:extLst>
                  <a:ext uri="{FF2B5EF4-FFF2-40B4-BE49-F238E27FC236}">
                    <a16:creationId xmlns:a16="http://schemas.microsoft.com/office/drawing/2014/main" id="{030FA719-7547-4F7B-AAFF-D284B8514661}"/>
                  </a:ext>
                </a:extLst>
              </p:cNvPr>
              <p:cNvSpPr/>
              <p:nvPr/>
            </p:nvSpPr>
            <p:spPr bwMode="auto">
              <a:xfrm>
                <a:off x="3197225" y="3116263"/>
                <a:ext cx="1108075" cy="339725"/>
              </a:xfrm>
              <a:custGeom>
                <a:avLst/>
                <a:gdLst>
                  <a:gd name="T0" fmla="*/ 325 w 336"/>
                  <a:gd name="T1" fmla="*/ 6 h 103"/>
                  <a:gd name="T2" fmla="*/ 186 w 336"/>
                  <a:gd name="T3" fmla="*/ 87 h 103"/>
                  <a:gd name="T4" fmla="*/ 152 w 336"/>
                  <a:gd name="T5" fmla="*/ 88 h 103"/>
                  <a:gd name="T6" fmla="*/ 8 w 336"/>
                  <a:gd name="T7" fmla="*/ 5 h 103"/>
                  <a:gd name="T8" fmla="*/ 3 w 336"/>
                  <a:gd name="T9" fmla="*/ 1 h 103"/>
                  <a:gd name="T10" fmla="*/ 8 w 336"/>
                  <a:gd name="T11" fmla="*/ 15 h 103"/>
                  <a:gd name="T12" fmla="*/ 152 w 336"/>
                  <a:gd name="T13" fmla="*/ 98 h 103"/>
                  <a:gd name="T14" fmla="*/ 186 w 336"/>
                  <a:gd name="T15" fmla="*/ 96 h 103"/>
                  <a:gd name="T16" fmla="*/ 325 w 336"/>
                  <a:gd name="T17" fmla="*/ 16 h 103"/>
                  <a:gd name="T18" fmla="*/ 332 w 336"/>
                  <a:gd name="T19" fmla="*/ 0 h 103"/>
                  <a:gd name="T20" fmla="*/ 325 w 336"/>
                  <a:gd name="T21" fmla="*/ 6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6" h="103">
                    <a:moveTo>
                      <a:pt x="325" y="6"/>
                    </a:moveTo>
                    <a:cubicBezTo>
                      <a:pt x="186" y="87"/>
                      <a:pt x="186" y="87"/>
                      <a:pt x="186" y="87"/>
                    </a:cubicBezTo>
                    <a:cubicBezTo>
                      <a:pt x="176" y="92"/>
                      <a:pt x="161" y="93"/>
                      <a:pt x="152" y="88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6" y="4"/>
                      <a:pt x="4" y="2"/>
                      <a:pt x="3" y="1"/>
                    </a:cubicBezTo>
                    <a:cubicBezTo>
                      <a:pt x="0" y="6"/>
                      <a:pt x="2" y="11"/>
                      <a:pt x="8" y="15"/>
                    </a:cubicBezTo>
                    <a:cubicBezTo>
                      <a:pt x="152" y="98"/>
                      <a:pt x="152" y="98"/>
                      <a:pt x="152" y="98"/>
                    </a:cubicBezTo>
                    <a:cubicBezTo>
                      <a:pt x="161" y="103"/>
                      <a:pt x="176" y="102"/>
                      <a:pt x="186" y="96"/>
                    </a:cubicBezTo>
                    <a:cubicBezTo>
                      <a:pt x="325" y="16"/>
                      <a:pt x="325" y="16"/>
                      <a:pt x="325" y="16"/>
                    </a:cubicBezTo>
                    <a:cubicBezTo>
                      <a:pt x="333" y="11"/>
                      <a:pt x="336" y="5"/>
                      <a:pt x="332" y="0"/>
                    </a:cubicBezTo>
                    <a:cubicBezTo>
                      <a:pt x="331" y="2"/>
                      <a:pt x="328" y="4"/>
                      <a:pt x="325" y="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60" name="isḷíḍè">
                <a:extLst>
                  <a:ext uri="{FF2B5EF4-FFF2-40B4-BE49-F238E27FC236}">
                    <a16:creationId xmlns:a16="http://schemas.microsoft.com/office/drawing/2014/main" id="{BFF3265A-FBAC-4A5E-9534-D5EEA0262A01}"/>
                  </a:ext>
                </a:extLst>
              </p:cNvPr>
              <p:cNvSpPr/>
              <p:nvPr/>
            </p:nvSpPr>
            <p:spPr bwMode="auto">
              <a:xfrm>
                <a:off x="4084638" y="3324225"/>
                <a:ext cx="39688" cy="55563"/>
              </a:xfrm>
              <a:custGeom>
                <a:avLst/>
                <a:gdLst>
                  <a:gd name="T0" fmla="*/ 12 w 12"/>
                  <a:gd name="T1" fmla="*/ 5 h 17"/>
                  <a:gd name="T2" fmla="*/ 6 w 12"/>
                  <a:gd name="T3" fmla="*/ 15 h 17"/>
                  <a:gd name="T4" fmla="*/ 0 w 12"/>
                  <a:gd name="T5" fmla="*/ 12 h 17"/>
                  <a:gd name="T6" fmla="*/ 6 w 12"/>
                  <a:gd name="T7" fmla="*/ 2 h 17"/>
                  <a:gd name="T8" fmla="*/ 12 w 12"/>
                  <a:gd name="T9" fmla="*/ 5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7">
                    <a:moveTo>
                      <a:pt x="12" y="5"/>
                    </a:moveTo>
                    <a:cubicBezTo>
                      <a:pt x="12" y="9"/>
                      <a:pt x="9" y="13"/>
                      <a:pt x="6" y="15"/>
                    </a:cubicBezTo>
                    <a:cubicBezTo>
                      <a:pt x="3" y="17"/>
                      <a:pt x="0" y="16"/>
                      <a:pt x="0" y="12"/>
                    </a:cubicBezTo>
                    <a:cubicBezTo>
                      <a:pt x="0" y="8"/>
                      <a:pt x="3" y="4"/>
                      <a:pt x="6" y="2"/>
                    </a:cubicBezTo>
                    <a:cubicBezTo>
                      <a:pt x="9" y="0"/>
                      <a:pt x="12" y="1"/>
                      <a:pt x="12" y="5"/>
                    </a:cubicBezTo>
                    <a:close/>
                  </a:path>
                </a:pathLst>
              </a:custGeom>
              <a:solidFill>
                <a:srgbClr val="D4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61" name="îs1íḍè">
                <a:extLst>
                  <a:ext uri="{FF2B5EF4-FFF2-40B4-BE49-F238E27FC236}">
                    <a16:creationId xmlns:a16="http://schemas.microsoft.com/office/drawing/2014/main" id="{0F6AC0AB-F959-4DEB-A696-3BF62F09B600}"/>
                  </a:ext>
                </a:extLst>
              </p:cNvPr>
              <p:cNvSpPr/>
              <p:nvPr/>
            </p:nvSpPr>
            <p:spPr bwMode="auto">
              <a:xfrm>
                <a:off x="4148138" y="3287713"/>
                <a:ext cx="34925" cy="55563"/>
              </a:xfrm>
              <a:custGeom>
                <a:avLst/>
                <a:gdLst>
                  <a:gd name="T0" fmla="*/ 11 w 11"/>
                  <a:gd name="T1" fmla="*/ 5 h 17"/>
                  <a:gd name="T2" fmla="*/ 6 w 11"/>
                  <a:gd name="T3" fmla="*/ 15 h 17"/>
                  <a:gd name="T4" fmla="*/ 0 w 11"/>
                  <a:gd name="T5" fmla="*/ 12 h 17"/>
                  <a:gd name="T6" fmla="*/ 6 w 11"/>
                  <a:gd name="T7" fmla="*/ 2 h 17"/>
                  <a:gd name="T8" fmla="*/ 11 w 11"/>
                  <a:gd name="T9" fmla="*/ 5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17">
                    <a:moveTo>
                      <a:pt x="11" y="5"/>
                    </a:moveTo>
                    <a:cubicBezTo>
                      <a:pt x="11" y="9"/>
                      <a:pt x="9" y="14"/>
                      <a:pt x="6" y="15"/>
                    </a:cubicBezTo>
                    <a:cubicBezTo>
                      <a:pt x="2" y="17"/>
                      <a:pt x="0" y="16"/>
                      <a:pt x="0" y="12"/>
                    </a:cubicBezTo>
                    <a:cubicBezTo>
                      <a:pt x="0" y="8"/>
                      <a:pt x="2" y="4"/>
                      <a:pt x="6" y="2"/>
                    </a:cubicBezTo>
                    <a:cubicBezTo>
                      <a:pt x="9" y="0"/>
                      <a:pt x="11" y="2"/>
                      <a:pt x="11" y="5"/>
                    </a:cubicBezTo>
                    <a:close/>
                  </a:path>
                </a:pathLst>
              </a:custGeom>
              <a:solidFill>
                <a:srgbClr val="D4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62" name="ï$1îḑe">
                <a:extLst>
                  <a:ext uri="{FF2B5EF4-FFF2-40B4-BE49-F238E27FC236}">
                    <a16:creationId xmlns:a16="http://schemas.microsoft.com/office/drawing/2014/main" id="{E8BBEC61-8D6C-46C5-977D-F668F709EDD0}"/>
                  </a:ext>
                </a:extLst>
              </p:cNvPr>
              <p:cNvSpPr/>
              <p:nvPr/>
            </p:nvSpPr>
            <p:spPr bwMode="auto">
              <a:xfrm>
                <a:off x="4206875" y="3251200"/>
                <a:ext cx="39688" cy="55563"/>
              </a:xfrm>
              <a:custGeom>
                <a:avLst/>
                <a:gdLst>
                  <a:gd name="T0" fmla="*/ 12 w 12"/>
                  <a:gd name="T1" fmla="*/ 6 h 17"/>
                  <a:gd name="T2" fmla="*/ 6 w 12"/>
                  <a:gd name="T3" fmla="*/ 16 h 17"/>
                  <a:gd name="T4" fmla="*/ 0 w 12"/>
                  <a:gd name="T5" fmla="*/ 12 h 17"/>
                  <a:gd name="T6" fmla="*/ 6 w 12"/>
                  <a:gd name="T7" fmla="*/ 2 h 17"/>
                  <a:gd name="T8" fmla="*/ 12 w 12"/>
                  <a:gd name="T9" fmla="*/ 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7">
                    <a:moveTo>
                      <a:pt x="12" y="6"/>
                    </a:moveTo>
                    <a:cubicBezTo>
                      <a:pt x="12" y="9"/>
                      <a:pt x="10" y="14"/>
                      <a:pt x="6" y="16"/>
                    </a:cubicBezTo>
                    <a:cubicBezTo>
                      <a:pt x="3" y="17"/>
                      <a:pt x="0" y="16"/>
                      <a:pt x="0" y="12"/>
                    </a:cubicBezTo>
                    <a:cubicBezTo>
                      <a:pt x="0" y="9"/>
                      <a:pt x="3" y="4"/>
                      <a:pt x="6" y="2"/>
                    </a:cubicBezTo>
                    <a:cubicBezTo>
                      <a:pt x="10" y="0"/>
                      <a:pt x="12" y="2"/>
                      <a:pt x="12" y="6"/>
                    </a:cubicBezTo>
                    <a:close/>
                  </a:path>
                </a:pathLst>
              </a:custGeom>
              <a:solidFill>
                <a:srgbClr val="D4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63" name="ïṥliḑe">
                <a:extLst>
                  <a:ext uri="{FF2B5EF4-FFF2-40B4-BE49-F238E27FC236}">
                    <a16:creationId xmlns:a16="http://schemas.microsoft.com/office/drawing/2014/main" id="{1575F6E4-7F18-4BBE-964C-0931259AB7FE}"/>
                  </a:ext>
                </a:extLst>
              </p:cNvPr>
              <p:cNvSpPr/>
              <p:nvPr/>
            </p:nvSpPr>
            <p:spPr bwMode="auto">
              <a:xfrm>
                <a:off x="3490913" y="2973388"/>
                <a:ext cx="520700" cy="303213"/>
              </a:xfrm>
              <a:custGeom>
                <a:avLst/>
                <a:gdLst>
                  <a:gd name="T0" fmla="*/ 71 w 158"/>
                  <a:gd name="T1" fmla="*/ 89 h 92"/>
                  <a:gd name="T2" fmla="*/ 4 w 158"/>
                  <a:gd name="T3" fmla="*/ 50 h 92"/>
                  <a:gd name="T4" fmla="*/ 5 w 158"/>
                  <a:gd name="T5" fmla="*/ 41 h 92"/>
                  <a:gd name="T6" fmla="*/ 70 w 158"/>
                  <a:gd name="T7" fmla="*/ 3 h 92"/>
                  <a:gd name="T8" fmla="*/ 86 w 158"/>
                  <a:gd name="T9" fmla="*/ 3 h 92"/>
                  <a:gd name="T10" fmla="*/ 154 w 158"/>
                  <a:gd name="T11" fmla="*/ 42 h 92"/>
                  <a:gd name="T12" fmla="*/ 152 w 158"/>
                  <a:gd name="T13" fmla="*/ 51 h 92"/>
                  <a:gd name="T14" fmla="*/ 87 w 158"/>
                  <a:gd name="T15" fmla="*/ 89 h 92"/>
                  <a:gd name="T16" fmla="*/ 71 w 158"/>
                  <a:gd name="T17" fmla="*/ 8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8" h="92">
                    <a:moveTo>
                      <a:pt x="71" y="89"/>
                    </a:moveTo>
                    <a:cubicBezTo>
                      <a:pt x="4" y="50"/>
                      <a:pt x="4" y="50"/>
                      <a:pt x="4" y="50"/>
                    </a:cubicBezTo>
                    <a:cubicBezTo>
                      <a:pt x="0" y="48"/>
                      <a:pt x="0" y="44"/>
                      <a:pt x="5" y="41"/>
                    </a:cubicBezTo>
                    <a:cubicBezTo>
                      <a:pt x="70" y="3"/>
                      <a:pt x="70" y="3"/>
                      <a:pt x="70" y="3"/>
                    </a:cubicBezTo>
                    <a:cubicBezTo>
                      <a:pt x="75" y="1"/>
                      <a:pt x="82" y="0"/>
                      <a:pt x="86" y="3"/>
                    </a:cubicBezTo>
                    <a:cubicBezTo>
                      <a:pt x="154" y="42"/>
                      <a:pt x="154" y="42"/>
                      <a:pt x="154" y="42"/>
                    </a:cubicBezTo>
                    <a:cubicBezTo>
                      <a:pt x="158" y="44"/>
                      <a:pt x="157" y="48"/>
                      <a:pt x="152" y="51"/>
                    </a:cubicBezTo>
                    <a:cubicBezTo>
                      <a:pt x="87" y="89"/>
                      <a:pt x="87" y="89"/>
                      <a:pt x="87" y="89"/>
                    </a:cubicBezTo>
                    <a:cubicBezTo>
                      <a:pt x="83" y="91"/>
                      <a:pt x="75" y="92"/>
                      <a:pt x="71" y="89"/>
                    </a:cubicBezTo>
                    <a:close/>
                  </a:path>
                </a:pathLst>
              </a:custGeom>
              <a:solidFill>
                <a:srgbClr val="5793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64" name="işḻíďé">
                <a:extLst>
                  <a:ext uri="{FF2B5EF4-FFF2-40B4-BE49-F238E27FC236}">
                    <a16:creationId xmlns:a16="http://schemas.microsoft.com/office/drawing/2014/main" id="{50E1E27F-01D9-4472-B182-D5C581E4DF39}"/>
                  </a:ext>
                </a:extLst>
              </p:cNvPr>
              <p:cNvSpPr/>
              <p:nvPr/>
            </p:nvSpPr>
            <p:spPr bwMode="auto">
              <a:xfrm>
                <a:off x="3714750" y="3119438"/>
                <a:ext cx="73025" cy="42863"/>
              </a:xfrm>
              <a:custGeom>
                <a:avLst/>
                <a:gdLst>
                  <a:gd name="T0" fmla="*/ 10 w 22"/>
                  <a:gd name="T1" fmla="*/ 13 h 13"/>
                  <a:gd name="T2" fmla="*/ 0 w 22"/>
                  <a:gd name="T3" fmla="*/ 7 h 13"/>
                  <a:gd name="T4" fmla="*/ 1 w 22"/>
                  <a:gd name="T5" fmla="*/ 6 h 13"/>
                  <a:gd name="T6" fmla="*/ 10 w 22"/>
                  <a:gd name="T7" fmla="*/ 1 h 13"/>
                  <a:gd name="T8" fmla="*/ 12 w 22"/>
                  <a:gd name="T9" fmla="*/ 1 h 13"/>
                  <a:gd name="T10" fmla="*/ 21 w 22"/>
                  <a:gd name="T11" fmla="*/ 6 h 13"/>
                  <a:gd name="T12" fmla="*/ 21 w 22"/>
                  <a:gd name="T13" fmla="*/ 7 h 13"/>
                  <a:gd name="T14" fmla="*/ 12 w 22"/>
                  <a:gd name="T15" fmla="*/ 13 h 13"/>
                  <a:gd name="T16" fmla="*/ 10 w 22"/>
                  <a:gd name="T17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" h="13">
                    <a:moveTo>
                      <a:pt x="10" y="13"/>
                    </a:moveTo>
                    <a:cubicBezTo>
                      <a:pt x="0" y="7"/>
                      <a:pt x="0" y="7"/>
                      <a:pt x="0" y="7"/>
                    </a:cubicBezTo>
                    <a:cubicBezTo>
                      <a:pt x="0" y="7"/>
                      <a:pt x="0" y="6"/>
                      <a:pt x="1" y="6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10" y="0"/>
                      <a:pt x="11" y="0"/>
                      <a:pt x="12" y="1"/>
                    </a:cubicBezTo>
                    <a:cubicBezTo>
                      <a:pt x="21" y="6"/>
                      <a:pt x="21" y="6"/>
                      <a:pt x="21" y="6"/>
                    </a:cubicBezTo>
                    <a:cubicBezTo>
                      <a:pt x="22" y="6"/>
                      <a:pt x="22" y="7"/>
                      <a:pt x="21" y="7"/>
                    </a:cubicBezTo>
                    <a:cubicBezTo>
                      <a:pt x="12" y="13"/>
                      <a:pt x="12" y="13"/>
                      <a:pt x="12" y="13"/>
                    </a:cubicBezTo>
                    <a:cubicBezTo>
                      <a:pt x="11" y="13"/>
                      <a:pt x="10" y="13"/>
                      <a:pt x="10" y="13"/>
                    </a:cubicBezTo>
                    <a:close/>
                  </a:path>
                </a:pathLst>
              </a:custGeom>
              <a:solidFill>
                <a:srgbClr val="D4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65" name="is1îḍé">
                <a:extLst>
                  <a:ext uri="{FF2B5EF4-FFF2-40B4-BE49-F238E27FC236}">
                    <a16:creationId xmlns:a16="http://schemas.microsoft.com/office/drawing/2014/main" id="{075D7F9F-A056-4ABF-AAE8-B2C80BE55DD2}"/>
                  </a:ext>
                </a:extLst>
              </p:cNvPr>
              <p:cNvSpPr/>
              <p:nvPr/>
            </p:nvSpPr>
            <p:spPr bwMode="auto">
              <a:xfrm>
                <a:off x="3490913" y="2973388"/>
                <a:ext cx="517525" cy="165100"/>
              </a:xfrm>
              <a:custGeom>
                <a:avLst/>
                <a:gdLst>
                  <a:gd name="T0" fmla="*/ 4 w 157"/>
                  <a:gd name="T1" fmla="*/ 50 h 50"/>
                  <a:gd name="T2" fmla="*/ 4 w 157"/>
                  <a:gd name="T3" fmla="*/ 50 h 50"/>
                  <a:gd name="T4" fmla="*/ 5 w 157"/>
                  <a:gd name="T5" fmla="*/ 50 h 50"/>
                  <a:gd name="T6" fmla="*/ 70 w 157"/>
                  <a:gd name="T7" fmla="*/ 12 h 50"/>
                  <a:gd name="T8" fmla="*/ 86 w 157"/>
                  <a:gd name="T9" fmla="*/ 11 h 50"/>
                  <a:gd name="T10" fmla="*/ 153 w 157"/>
                  <a:gd name="T11" fmla="*/ 50 h 50"/>
                  <a:gd name="T12" fmla="*/ 154 w 157"/>
                  <a:gd name="T13" fmla="*/ 42 h 50"/>
                  <a:gd name="T14" fmla="*/ 86 w 157"/>
                  <a:gd name="T15" fmla="*/ 3 h 50"/>
                  <a:gd name="T16" fmla="*/ 70 w 157"/>
                  <a:gd name="T17" fmla="*/ 3 h 50"/>
                  <a:gd name="T18" fmla="*/ 5 w 157"/>
                  <a:gd name="T19" fmla="*/ 41 h 50"/>
                  <a:gd name="T20" fmla="*/ 4 w 157"/>
                  <a:gd name="T21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7" h="50">
                    <a:moveTo>
                      <a:pt x="4" y="50"/>
                    </a:moveTo>
                    <a:cubicBezTo>
                      <a:pt x="4" y="50"/>
                      <a:pt x="4" y="50"/>
                      <a:pt x="4" y="50"/>
                    </a:cubicBezTo>
                    <a:cubicBezTo>
                      <a:pt x="4" y="50"/>
                      <a:pt x="5" y="50"/>
                      <a:pt x="5" y="50"/>
                    </a:cubicBezTo>
                    <a:cubicBezTo>
                      <a:pt x="70" y="12"/>
                      <a:pt x="70" y="12"/>
                      <a:pt x="70" y="12"/>
                    </a:cubicBezTo>
                    <a:cubicBezTo>
                      <a:pt x="75" y="9"/>
                      <a:pt x="82" y="9"/>
                      <a:pt x="86" y="11"/>
                    </a:cubicBezTo>
                    <a:cubicBezTo>
                      <a:pt x="153" y="50"/>
                      <a:pt x="153" y="50"/>
                      <a:pt x="153" y="50"/>
                    </a:cubicBezTo>
                    <a:cubicBezTo>
                      <a:pt x="157" y="48"/>
                      <a:pt x="157" y="44"/>
                      <a:pt x="154" y="42"/>
                    </a:cubicBezTo>
                    <a:cubicBezTo>
                      <a:pt x="86" y="3"/>
                      <a:pt x="86" y="3"/>
                      <a:pt x="86" y="3"/>
                    </a:cubicBezTo>
                    <a:cubicBezTo>
                      <a:pt x="82" y="0"/>
                      <a:pt x="75" y="1"/>
                      <a:pt x="70" y="3"/>
                    </a:cubicBezTo>
                    <a:cubicBezTo>
                      <a:pt x="5" y="41"/>
                      <a:pt x="5" y="41"/>
                      <a:pt x="5" y="41"/>
                    </a:cubicBezTo>
                    <a:cubicBezTo>
                      <a:pt x="0" y="44"/>
                      <a:pt x="0" y="48"/>
                      <a:pt x="4" y="50"/>
                    </a:cubicBezTo>
                    <a:close/>
                  </a:path>
                </a:pathLst>
              </a:custGeom>
              <a:solidFill>
                <a:srgbClr val="396C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66" name="îṡḻiḋe">
                <a:extLst>
                  <a:ext uri="{FF2B5EF4-FFF2-40B4-BE49-F238E27FC236}">
                    <a16:creationId xmlns:a16="http://schemas.microsoft.com/office/drawing/2014/main" id="{EB37041B-F6D3-46B8-828B-6BF96E9F1274}"/>
                  </a:ext>
                </a:extLst>
              </p:cNvPr>
              <p:cNvSpPr/>
              <p:nvPr/>
            </p:nvSpPr>
            <p:spPr bwMode="auto">
              <a:xfrm>
                <a:off x="7400925" y="4745038"/>
                <a:ext cx="1116013" cy="642938"/>
              </a:xfrm>
              <a:custGeom>
                <a:avLst/>
                <a:gdLst>
                  <a:gd name="T0" fmla="*/ 153 w 338"/>
                  <a:gd name="T1" fmla="*/ 190 h 195"/>
                  <a:gd name="T2" fmla="*/ 9 w 338"/>
                  <a:gd name="T3" fmla="*/ 107 h 195"/>
                  <a:gd name="T4" fmla="*/ 11 w 338"/>
                  <a:gd name="T5" fmla="*/ 87 h 195"/>
                  <a:gd name="T6" fmla="*/ 150 w 338"/>
                  <a:gd name="T7" fmla="*/ 7 h 195"/>
                  <a:gd name="T8" fmla="*/ 185 w 338"/>
                  <a:gd name="T9" fmla="*/ 5 h 195"/>
                  <a:gd name="T10" fmla="*/ 329 w 338"/>
                  <a:gd name="T11" fmla="*/ 89 h 195"/>
                  <a:gd name="T12" fmla="*/ 326 w 338"/>
                  <a:gd name="T13" fmla="*/ 108 h 195"/>
                  <a:gd name="T14" fmla="*/ 187 w 338"/>
                  <a:gd name="T15" fmla="*/ 189 h 195"/>
                  <a:gd name="T16" fmla="*/ 153 w 338"/>
                  <a:gd name="T17" fmla="*/ 19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8" h="195">
                    <a:moveTo>
                      <a:pt x="153" y="190"/>
                    </a:moveTo>
                    <a:cubicBezTo>
                      <a:pt x="9" y="107"/>
                      <a:pt x="9" y="107"/>
                      <a:pt x="9" y="107"/>
                    </a:cubicBezTo>
                    <a:cubicBezTo>
                      <a:pt x="0" y="102"/>
                      <a:pt x="1" y="93"/>
                      <a:pt x="11" y="87"/>
                    </a:cubicBezTo>
                    <a:cubicBezTo>
                      <a:pt x="150" y="7"/>
                      <a:pt x="150" y="7"/>
                      <a:pt x="150" y="7"/>
                    </a:cubicBezTo>
                    <a:cubicBezTo>
                      <a:pt x="160" y="1"/>
                      <a:pt x="176" y="0"/>
                      <a:pt x="185" y="5"/>
                    </a:cubicBezTo>
                    <a:cubicBezTo>
                      <a:pt x="329" y="89"/>
                      <a:pt x="329" y="89"/>
                      <a:pt x="329" y="89"/>
                    </a:cubicBezTo>
                    <a:cubicBezTo>
                      <a:pt x="338" y="94"/>
                      <a:pt x="336" y="103"/>
                      <a:pt x="326" y="108"/>
                    </a:cubicBezTo>
                    <a:cubicBezTo>
                      <a:pt x="187" y="189"/>
                      <a:pt x="187" y="189"/>
                      <a:pt x="187" y="189"/>
                    </a:cubicBezTo>
                    <a:cubicBezTo>
                      <a:pt x="177" y="195"/>
                      <a:pt x="161" y="195"/>
                      <a:pt x="153" y="190"/>
                    </a:cubicBezTo>
                    <a:close/>
                  </a:path>
                </a:pathLst>
              </a:custGeom>
              <a:solidFill>
                <a:srgbClr val="8A9DBC"/>
              </a:solidFill>
              <a:ln>
                <a:noFill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1600" b="1"/>
              </a:p>
            </p:txBody>
          </p:sp>
          <p:sp>
            <p:nvSpPr>
              <p:cNvPr id="67" name="iślídè">
                <a:extLst>
                  <a:ext uri="{FF2B5EF4-FFF2-40B4-BE49-F238E27FC236}">
                    <a16:creationId xmlns:a16="http://schemas.microsoft.com/office/drawing/2014/main" id="{69D1D05E-5D8B-4214-A241-62D8B28A6495}"/>
                  </a:ext>
                </a:extLst>
              </p:cNvPr>
              <p:cNvSpPr/>
              <p:nvPr/>
            </p:nvSpPr>
            <p:spPr bwMode="auto">
              <a:xfrm>
                <a:off x="7407275" y="4648200"/>
                <a:ext cx="1100138" cy="581025"/>
              </a:xfrm>
              <a:custGeom>
                <a:avLst/>
                <a:gdLst>
                  <a:gd name="T0" fmla="*/ 333 w 333"/>
                  <a:gd name="T1" fmla="*/ 77 h 176"/>
                  <a:gd name="T2" fmla="*/ 333 w 333"/>
                  <a:gd name="T3" fmla="*/ 77 h 176"/>
                  <a:gd name="T4" fmla="*/ 333 w 333"/>
                  <a:gd name="T5" fmla="*/ 28 h 176"/>
                  <a:gd name="T6" fmla="*/ 221 w 333"/>
                  <a:gd name="T7" fmla="*/ 28 h 176"/>
                  <a:gd name="T8" fmla="*/ 183 w 333"/>
                  <a:gd name="T9" fmla="*/ 5 h 176"/>
                  <a:gd name="T10" fmla="*/ 148 w 333"/>
                  <a:gd name="T11" fmla="*/ 7 h 176"/>
                  <a:gd name="T12" fmla="*/ 112 w 333"/>
                  <a:gd name="T13" fmla="*/ 27 h 176"/>
                  <a:gd name="T14" fmla="*/ 1 w 333"/>
                  <a:gd name="T15" fmla="*/ 27 h 176"/>
                  <a:gd name="T16" fmla="*/ 1 w 333"/>
                  <a:gd name="T17" fmla="*/ 79 h 176"/>
                  <a:gd name="T18" fmla="*/ 7 w 333"/>
                  <a:gd name="T19" fmla="*/ 88 h 176"/>
                  <a:gd name="T20" fmla="*/ 151 w 333"/>
                  <a:gd name="T21" fmla="*/ 171 h 176"/>
                  <a:gd name="T22" fmla="*/ 185 w 333"/>
                  <a:gd name="T23" fmla="*/ 170 h 176"/>
                  <a:gd name="T24" fmla="*/ 324 w 333"/>
                  <a:gd name="T25" fmla="*/ 89 h 176"/>
                  <a:gd name="T26" fmla="*/ 333 w 333"/>
                  <a:gd name="T27" fmla="*/ 77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33" h="176">
                    <a:moveTo>
                      <a:pt x="333" y="77"/>
                    </a:moveTo>
                    <a:cubicBezTo>
                      <a:pt x="333" y="77"/>
                      <a:pt x="333" y="77"/>
                      <a:pt x="333" y="77"/>
                    </a:cubicBezTo>
                    <a:cubicBezTo>
                      <a:pt x="333" y="28"/>
                      <a:pt x="333" y="28"/>
                      <a:pt x="333" y="28"/>
                    </a:cubicBezTo>
                    <a:cubicBezTo>
                      <a:pt x="221" y="28"/>
                      <a:pt x="221" y="28"/>
                      <a:pt x="221" y="28"/>
                    </a:cubicBezTo>
                    <a:cubicBezTo>
                      <a:pt x="183" y="5"/>
                      <a:pt x="183" y="5"/>
                      <a:pt x="183" y="5"/>
                    </a:cubicBezTo>
                    <a:cubicBezTo>
                      <a:pt x="174" y="0"/>
                      <a:pt x="158" y="1"/>
                      <a:pt x="148" y="7"/>
                    </a:cubicBezTo>
                    <a:cubicBezTo>
                      <a:pt x="112" y="27"/>
                      <a:pt x="112" y="27"/>
                      <a:pt x="112" y="27"/>
                    </a:cubicBezTo>
                    <a:cubicBezTo>
                      <a:pt x="1" y="27"/>
                      <a:pt x="1" y="27"/>
                      <a:pt x="1" y="27"/>
                    </a:cubicBezTo>
                    <a:cubicBezTo>
                      <a:pt x="1" y="79"/>
                      <a:pt x="1" y="79"/>
                      <a:pt x="1" y="79"/>
                    </a:cubicBezTo>
                    <a:cubicBezTo>
                      <a:pt x="0" y="82"/>
                      <a:pt x="2" y="85"/>
                      <a:pt x="7" y="88"/>
                    </a:cubicBezTo>
                    <a:cubicBezTo>
                      <a:pt x="151" y="171"/>
                      <a:pt x="151" y="171"/>
                      <a:pt x="151" y="171"/>
                    </a:cubicBezTo>
                    <a:cubicBezTo>
                      <a:pt x="159" y="176"/>
                      <a:pt x="175" y="175"/>
                      <a:pt x="185" y="170"/>
                    </a:cubicBezTo>
                    <a:cubicBezTo>
                      <a:pt x="324" y="89"/>
                      <a:pt x="324" y="89"/>
                      <a:pt x="324" y="89"/>
                    </a:cubicBezTo>
                    <a:cubicBezTo>
                      <a:pt x="330" y="86"/>
                      <a:pt x="333" y="81"/>
                      <a:pt x="333" y="77"/>
                    </a:cubicBezTo>
                    <a:close/>
                  </a:path>
                </a:pathLst>
              </a:custGeom>
              <a:solidFill>
                <a:srgbClr val="396C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1600" b="1"/>
              </a:p>
            </p:txBody>
          </p:sp>
          <p:sp>
            <p:nvSpPr>
              <p:cNvPr id="68" name="ïślidé">
                <a:extLst>
                  <a:ext uri="{FF2B5EF4-FFF2-40B4-BE49-F238E27FC236}">
                    <a16:creationId xmlns:a16="http://schemas.microsoft.com/office/drawing/2014/main" id="{C00AE538-DB34-4082-B529-0F5A863393BE}"/>
                  </a:ext>
                </a:extLst>
              </p:cNvPr>
              <p:cNvSpPr/>
              <p:nvPr/>
            </p:nvSpPr>
            <p:spPr bwMode="auto">
              <a:xfrm>
                <a:off x="7407275" y="4656138"/>
                <a:ext cx="550863" cy="569913"/>
              </a:xfrm>
              <a:custGeom>
                <a:avLst/>
                <a:gdLst>
                  <a:gd name="T0" fmla="*/ 167 w 167"/>
                  <a:gd name="T1" fmla="*/ 0 h 173"/>
                  <a:gd name="T2" fmla="*/ 148 w 167"/>
                  <a:gd name="T3" fmla="*/ 5 h 173"/>
                  <a:gd name="T4" fmla="*/ 112 w 167"/>
                  <a:gd name="T5" fmla="*/ 25 h 173"/>
                  <a:gd name="T6" fmla="*/ 1 w 167"/>
                  <a:gd name="T7" fmla="*/ 25 h 173"/>
                  <a:gd name="T8" fmla="*/ 1 w 167"/>
                  <a:gd name="T9" fmla="*/ 77 h 173"/>
                  <a:gd name="T10" fmla="*/ 7 w 167"/>
                  <a:gd name="T11" fmla="*/ 86 h 173"/>
                  <a:gd name="T12" fmla="*/ 151 w 167"/>
                  <a:gd name="T13" fmla="*/ 169 h 173"/>
                  <a:gd name="T14" fmla="*/ 167 w 167"/>
                  <a:gd name="T15" fmla="*/ 172 h 173"/>
                  <a:gd name="T16" fmla="*/ 167 w 167"/>
                  <a:gd name="T17" fmla="*/ 0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7" h="173">
                    <a:moveTo>
                      <a:pt x="167" y="0"/>
                    </a:moveTo>
                    <a:cubicBezTo>
                      <a:pt x="160" y="0"/>
                      <a:pt x="153" y="2"/>
                      <a:pt x="148" y="5"/>
                    </a:cubicBezTo>
                    <a:cubicBezTo>
                      <a:pt x="112" y="25"/>
                      <a:pt x="112" y="25"/>
                      <a:pt x="112" y="25"/>
                    </a:cubicBezTo>
                    <a:cubicBezTo>
                      <a:pt x="1" y="25"/>
                      <a:pt x="1" y="25"/>
                      <a:pt x="1" y="25"/>
                    </a:cubicBezTo>
                    <a:cubicBezTo>
                      <a:pt x="1" y="77"/>
                      <a:pt x="1" y="77"/>
                      <a:pt x="1" y="77"/>
                    </a:cubicBezTo>
                    <a:cubicBezTo>
                      <a:pt x="0" y="80"/>
                      <a:pt x="2" y="83"/>
                      <a:pt x="7" y="86"/>
                    </a:cubicBezTo>
                    <a:cubicBezTo>
                      <a:pt x="151" y="169"/>
                      <a:pt x="151" y="169"/>
                      <a:pt x="151" y="169"/>
                    </a:cubicBezTo>
                    <a:cubicBezTo>
                      <a:pt x="155" y="171"/>
                      <a:pt x="161" y="173"/>
                      <a:pt x="167" y="172"/>
                    </a:cubicBezTo>
                    <a:lnTo>
                      <a:pt x="167" y="0"/>
                    </a:lnTo>
                    <a:close/>
                  </a:path>
                </a:pathLst>
              </a:custGeom>
              <a:solidFill>
                <a:srgbClr val="396C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1400" b="1"/>
              </a:p>
            </p:txBody>
          </p:sp>
          <p:sp>
            <p:nvSpPr>
              <p:cNvPr id="69" name="iSļîḋè">
                <a:extLst>
                  <a:ext uri="{FF2B5EF4-FFF2-40B4-BE49-F238E27FC236}">
                    <a16:creationId xmlns:a16="http://schemas.microsoft.com/office/drawing/2014/main" id="{F8FA73A7-EA30-4B67-B062-2075808C2222}"/>
                  </a:ext>
                </a:extLst>
              </p:cNvPr>
              <p:cNvSpPr/>
              <p:nvPr/>
            </p:nvSpPr>
            <p:spPr bwMode="auto">
              <a:xfrm>
                <a:off x="7407275" y="4738688"/>
                <a:ext cx="42863" cy="214313"/>
              </a:xfrm>
              <a:custGeom>
                <a:avLst/>
                <a:gdLst>
                  <a:gd name="T0" fmla="*/ 13 w 13"/>
                  <a:gd name="T1" fmla="*/ 0 h 65"/>
                  <a:gd name="T2" fmla="*/ 1 w 13"/>
                  <a:gd name="T3" fmla="*/ 0 h 65"/>
                  <a:gd name="T4" fmla="*/ 1 w 13"/>
                  <a:gd name="T5" fmla="*/ 52 h 65"/>
                  <a:gd name="T6" fmla="*/ 7 w 13"/>
                  <a:gd name="T7" fmla="*/ 61 h 65"/>
                  <a:gd name="T8" fmla="*/ 13 w 13"/>
                  <a:gd name="T9" fmla="*/ 65 h 65"/>
                  <a:gd name="T10" fmla="*/ 13 w 13"/>
                  <a:gd name="T11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" h="65">
                    <a:moveTo>
                      <a:pt x="1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52"/>
                      <a:pt x="1" y="52"/>
                      <a:pt x="1" y="52"/>
                    </a:cubicBezTo>
                    <a:cubicBezTo>
                      <a:pt x="0" y="55"/>
                      <a:pt x="2" y="58"/>
                      <a:pt x="7" y="61"/>
                    </a:cubicBezTo>
                    <a:cubicBezTo>
                      <a:pt x="13" y="65"/>
                      <a:pt x="13" y="65"/>
                      <a:pt x="13" y="65"/>
                    </a:cubicBezTo>
                    <a:lnTo>
                      <a:pt x="13" y="0"/>
                    </a:lnTo>
                    <a:close/>
                  </a:path>
                </a:pathLst>
              </a:custGeom>
              <a:solidFill>
                <a:srgbClr val="5793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70" name="íṡ1íḍè">
                <a:extLst>
                  <a:ext uri="{FF2B5EF4-FFF2-40B4-BE49-F238E27FC236}">
                    <a16:creationId xmlns:a16="http://schemas.microsoft.com/office/drawing/2014/main" id="{65992350-9937-4116-B775-9245F8D48429}"/>
                  </a:ext>
                </a:extLst>
              </p:cNvPr>
              <p:cNvSpPr/>
              <p:nvPr/>
            </p:nvSpPr>
            <p:spPr bwMode="auto">
              <a:xfrm>
                <a:off x="7912100" y="5024438"/>
                <a:ext cx="88900" cy="201613"/>
              </a:xfrm>
              <a:custGeom>
                <a:avLst/>
                <a:gdLst>
                  <a:gd name="T0" fmla="*/ 0 w 27"/>
                  <a:gd name="T1" fmla="*/ 58 h 61"/>
                  <a:gd name="T2" fmla="*/ 27 w 27"/>
                  <a:gd name="T3" fmla="*/ 58 h 61"/>
                  <a:gd name="T4" fmla="*/ 27 w 27"/>
                  <a:gd name="T5" fmla="*/ 0 h 61"/>
                  <a:gd name="T6" fmla="*/ 0 w 27"/>
                  <a:gd name="T7" fmla="*/ 0 h 61"/>
                  <a:gd name="T8" fmla="*/ 0 w 27"/>
                  <a:gd name="T9" fmla="*/ 58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61">
                    <a:moveTo>
                      <a:pt x="0" y="58"/>
                    </a:moveTo>
                    <a:cubicBezTo>
                      <a:pt x="7" y="61"/>
                      <a:pt x="19" y="61"/>
                      <a:pt x="27" y="58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5793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71" name="í$ḻíďe">
                <a:extLst>
                  <a:ext uri="{FF2B5EF4-FFF2-40B4-BE49-F238E27FC236}">
                    <a16:creationId xmlns:a16="http://schemas.microsoft.com/office/drawing/2014/main" id="{CC65ACAD-C2D5-4D84-AF16-48143D1DB4A1}"/>
                  </a:ext>
                </a:extLst>
              </p:cNvPr>
              <p:cNvSpPr/>
              <p:nvPr/>
            </p:nvSpPr>
            <p:spPr bwMode="auto">
              <a:xfrm>
                <a:off x="7400925" y="4418013"/>
                <a:ext cx="1116013" cy="642938"/>
              </a:xfrm>
              <a:custGeom>
                <a:avLst/>
                <a:gdLst>
                  <a:gd name="T0" fmla="*/ 153 w 338"/>
                  <a:gd name="T1" fmla="*/ 190 h 195"/>
                  <a:gd name="T2" fmla="*/ 9 w 338"/>
                  <a:gd name="T3" fmla="*/ 107 h 195"/>
                  <a:gd name="T4" fmla="*/ 11 w 338"/>
                  <a:gd name="T5" fmla="*/ 87 h 195"/>
                  <a:gd name="T6" fmla="*/ 150 w 338"/>
                  <a:gd name="T7" fmla="*/ 7 h 195"/>
                  <a:gd name="T8" fmla="*/ 185 w 338"/>
                  <a:gd name="T9" fmla="*/ 5 h 195"/>
                  <a:gd name="T10" fmla="*/ 329 w 338"/>
                  <a:gd name="T11" fmla="*/ 88 h 195"/>
                  <a:gd name="T12" fmla="*/ 326 w 338"/>
                  <a:gd name="T13" fmla="*/ 108 h 195"/>
                  <a:gd name="T14" fmla="*/ 187 w 338"/>
                  <a:gd name="T15" fmla="*/ 189 h 195"/>
                  <a:gd name="T16" fmla="*/ 153 w 338"/>
                  <a:gd name="T17" fmla="*/ 19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8" h="195">
                    <a:moveTo>
                      <a:pt x="153" y="190"/>
                    </a:moveTo>
                    <a:cubicBezTo>
                      <a:pt x="9" y="107"/>
                      <a:pt x="9" y="107"/>
                      <a:pt x="9" y="107"/>
                    </a:cubicBezTo>
                    <a:cubicBezTo>
                      <a:pt x="0" y="102"/>
                      <a:pt x="1" y="93"/>
                      <a:pt x="11" y="87"/>
                    </a:cubicBezTo>
                    <a:cubicBezTo>
                      <a:pt x="150" y="7"/>
                      <a:pt x="150" y="7"/>
                      <a:pt x="150" y="7"/>
                    </a:cubicBezTo>
                    <a:cubicBezTo>
                      <a:pt x="160" y="1"/>
                      <a:pt x="176" y="0"/>
                      <a:pt x="185" y="5"/>
                    </a:cubicBezTo>
                    <a:cubicBezTo>
                      <a:pt x="329" y="88"/>
                      <a:pt x="329" y="88"/>
                      <a:pt x="329" y="88"/>
                    </a:cubicBezTo>
                    <a:cubicBezTo>
                      <a:pt x="338" y="93"/>
                      <a:pt x="336" y="102"/>
                      <a:pt x="326" y="108"/>
                    </a:cubicBezTo>
                    <a:cubicBezTo>
                      <a:pt x="187" y="189"/>
                      <a:pt x="187" y="189"/>
                      <a:pt x="187" y="189"/>
                    </a:cubicBezTo>
                    <a:cubicBezTo>
                      <a:pt x="177" y="194"/>
                      <a:pt x="161" y="195"/>
                      <a:pt x="153" y="190"/>
                    </a:cubicBezTo>
                    <a:close/>
                  </a:path>
                </a:pathLst>
              </a:custGeom>
              <a:solidFill>
                <a:srgbClr val="D4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1600" b="1"/>
              </a:p>
            </p:txBody>
          </p:sp>
          <p:sp>
            <p:nvSpPr>
              <p:cNvPr id="72" name="iŝlidè">
                <a:extLst>
                  <a:ext uri="{FF2B5EF4-FFF2-40B4-BE49-F238E27FC236}">
                    <a16:creationId xmlns:a16="http://schemas.microsoft.com/office/drawing/2014/main" id="{D41DE934-B7EC-46F8-8636-194E77085A42}"/>
                  </a:ext>
                </a:extLst>
              </p:cNvPr>
              <p:cNvSpPr/>
              <p:nvPr/>
            </p:nvSpPr>
            <p:spPr bwMode="auto">
              <a:xfrm>
                <a:off x="7404100" y="4721225"/>
                <a:ext cx="1109663" cy="339725"/>
              </a:xfrm>
              <a:custGeom>
                <a:avLst/>
                <a:gdLst>
                  <a:gd name="T0" fmla="*/ 325 w 336"/>
                  <a:gd name="T1" fmla="*/ 7 h 103"/>
                  <a:gd name="T2" fmla="*/ 186 w 336"/>
                  <a:gd name="T3" fmla="*/ 87 h 103"/>
                  <a:gd name="T4" fmla="*/ 152 w 336"/>
                  <a:gd name="T5" fmla="*/ 88 h 103"/>
                  <a:gd name="T6" fmla="*/ 8 w 336"/>
                  <a:gd name="T7" fmla="*/ 5 h 103"/>
                  <a:gd name="T8" fmla="*/ 3 w 336"/>
                  <a:gd name="T9" fmla="*/ 1 h 103"/>
                  <a:gd name="T10" fmla="*/ 8 w 336"/>
                  <a:gd name="T11" fmla="*/ 15 h 103"/>
                  <a:gd name="T12" fmla="*/ 152 w 336"/>
                  <a:gd name="T13" fmla="*/ 98 h 103"/>
                  <a:gd name="T14" fmla="*/ 186 w 336"/>
                  <a:gd name="T15" fmla="*/ 97 h 103"/>
                  <a:gd name="T16" fmla="*/ 325 w 336"/>
                  <a:gd name="T17" fmla="*/ 16 h 103"/>
                  <a:gd name="T18" fmla="*/ 332 w 336"/>
                  <a:gd name="T19" fmla="*/ 0 h 103"/>
                  <a:gd name="T20" fmla="*/ 325 w 336"/>
                  <a:gd name="T21" fmla="*/ 7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6" h="103">
                    <a:moveTo>
                      <a:pt x="325" y="7"/>
                    </a:moveTo>
                    <a:cubicBezTo>
                      <a:pt x="186" y="87"/>
                      <a:pt x="186" y="87"/>
                      <a:pt x="186" y="87"/>
                    </a:cubicBezTo>
                    <a:cubicBezTo>
                      <a:pt x="176" y="93"/>
                      <a:pt x="160" y="93"/>
                      <a:pt x="152" y="88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6" y="4"/>
                      <a:pt x="4" y="3"/>
                      <a:pt x="3" y="1"/>
                    </a:cubicBezTo>
                    <a:cubicBezTo>
                      <a:pt x="0" y="6"/>
                      <a:pt x="2" y="11"/>
                      <a:pt x="8" y="15"/>
                    </a:cubicBezTo>
                    <a:cubicBezTo>
                      <a:pt x="152" y="98"/>
                      <a:pt x="152" y="98"/>
                      <a:pt x="152" y="98"/>
                    </a:cubicBezTo>
                    <a:cubicBezTo>
                      <a:pt x="160" y="103"/>
                      <a:pt x="176" y="102"/>
                      <a:pt x="186" y="97"/>
                    </a:cubicBezTo>
                    <a:cubicBezTo>
                      <a:pt x="325" y="16"/>
                      <a:pt x="325" y="16"/>
                      <a:pt x="325" y="16"/>
                    </a:cubicBezTo>
                    <a:cubicBezTo>
                      <a:pt x="333" y="12"/>
                      <a:pt x="336" y="5"/>
                      <a:pt x="332" y="0"/>
                    </a:cubicBezTo>
                    <a:cubicBezTo>
                      <a:pt x="331" y="3"/>
                      <a:pt x="328" y="5"/>
                      <a:pt x="325" y="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73" name="ïṧḻîḍé">
                <a:extLst>
                  <a:ext uri="{FF2B5EF4-FFF2-40B4-BE49-F238E27FC236}">
                    <a16:creationId xmlns:a16="http://schemas.microsoft.com/office/drawing/2014/main" id="{03419AB1-B9C2-4CDD-90D8-0B6FD11A4574}"/>
                  </a:ext>
                </a:extLst>
              </p:cNvPr>
              <p:cNvSpPr/>
              <p:nvPr/>
            </p:nvSpPr>
            <p:spPr bwMode="auto">
              <a:xfrm>
                <a:off x="8291513" y="4929188"/>
                <a:ext cx="39688" cy="55563"/>
              </a:xfrm>
              <a:custGeom>
                <a:avLst/>
                <a:gdLst>
                  <a:gd name="T0" fmla="*/ 12 w 12"/>
                  <a:gd name="T1" fmla="*/ 5 h 17"/>
                  <a:gd name="T2" fmla="*/ 6 w 12"/>
                  <a:gd name="T3" fmla="*/ 16 h 17"/>
                  <a:gd name="T4" fmla="*/ 0 w 12"/>
                  <a:gd name="T5" fmla="*/ 12 h 17"/>
                  <a:gd name="T6" fmla="*/ 6 w 12"/>
                  <a:gd name="T7" fmla="*/ 2 h 17"/>
                  <a:gd name="T8" fmla="*/ 12 w 12"/>
                  <a:gd name="T9" fmla="*/ 5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7">
                    <a:moveTo>
                      <a:pt x="12" y="5"/>
                    </a:moveTo>
                    <a:cubicBezTo>
                      <a:pt x="12" y="9"/>
                      <a:pt x="9" y="14"/>
                      <a:pt x="6" y="16"/>
                    </a:cubicBezTo>
                    <a:cubicBezTo>
                      <a:pt x="3" y="17"/>
                      <a:pt x="0" y="16"/>
                      <a:pt x="0" y="12"/>
                    </a:cubicBezTo>
                    <a:cubicBezTo>
                      <a:pt x="0" y="8"/>
                      <a:pt x="3" y="4"/>
                      <a:pt x="6" y="2"/>
                    </a:cubicBezTo>
                    <a:cubicBezTo>
                      <a:pt x="9" y="0"/>
                      <a:pt x="12" y="2"/>
                      <a:pt x="12" y="5"/>
                    </a:cubicBezTo>
                    <a:close/>
                  </a:path>
                </a:pathLst>
              </a:custGeom>
              <a:solidFill>
                <a:srgbClr val="D4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74" name="îšḻíḑè">
                <a:extLst>
                  <a:ext uri="{FF2B5EF4-FFF2-40B4-BE49-F238E27FC236}">
                    <a16:creationId xmlns:a16="http://schemas.microsoft.com/office/drawing/2014/main" id="{4ABA6E67-C3BA-43F1-B923-A38170E6A14F}"/>
                  </a:ext>
                </a:extLst>
              </p:cNvPr>
              <p:cNvSpPr/>
              <p:nvPr/>
            </p:nvSpPr>
            <p:spPr bwMode="auto">
              <a:xfrm>
                <a:off x="8355013" y="4892675"/>
                <a:ext cx="36513" cy="60325"/>
              </a:xfrm>
              <a:custGeom>
                <a:avLst/>
                <a:gdLst>
                  <a:gd name="T0" fmla="*/ 11 w 11"/>
                  <a:gd name="T1" fmla="*/ 6 h 18"/>
                  <a:gd name="T2" fmla="*/ 6 w 11"/>
                  <a:gd name="T3" fmla="*/ 16 h 18"/>
                  <a:gd name="T4" fmla="*/ 0 w 11"/>
                  <a:gd name="T5" fmla="*/ 12 h 18"/>
                  <a:gd name="T6" fmla="*/ 6 w 11"/>
                  <a:gd name="T7" fmla="*/ 2 h 18"/>
                  <a:gd name="T8" fmla="*/ 11 w 11"/>
                  <a:gd name="T9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18">
                    <a:moveTo>
                      <a:pt x="11" y="6"/>
                    </a:moveTo>
                    <a:cubicBezTo>
                      <a:pt x="11" y="9"/>
                      <a:pt x="9" y="14"/>
                      <a:pt x="6" y="16"/>
                    </a:cubicBezTo>
                    <a:cubicBezTo>
                      <a:pt x="2" y="18"/>
                      <a:pt x="0" y="16"/>
                      <a:pt x="0" y="12"/>
                    </a:cubicBezTo>
                    <a:cubicBezTo>
                      <a:pt x="0" y="9"/>
                      <a:pt x="2" y="4"/>
                      <a:pt x="6" y="2"/>
                    </a:cubicBezTo>
                    <a:cubicBezTo>
                      <a:pt x="9" y="0"/>
                      <a:pt x="11" y="2"/>
                      <a:pt x="11" y="6"/>
                    </a:cubicBezTo>
                    <a:close/>
                  </a:path>
                </a:pathLst>
              </a:custGeom>
              <a:solidFill>
                <a:srgbClr val="D4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75" name="ïS1íḓê">
                <a:extLst>
                  <a:ext uri="{FF2B5EF4-FFF2-40B4-BE49-F238E27FC236}">
                    <a16:creationId xmlns:a16="http://schemas.microsoft.com/office/drawing/2014/main" id="{52C1AE5D-50B2-41BB-A3D2-1D21966238C8}"/>
                  </a:ext>
                </a:extLst>
              </p:cNvPr>
              <p:cNvSpPr/>
              <p:nvPr/>
            </p:nvSpPr>
            <p:spPr bwMode="auto">
              <a:xfrm>
                <a:off x="8413750" y="4859338"/>
                <a:ext cx="39688" cy="57150"/>
              </a:xfrm>
              <a:custGeom>
                <a:avLst/>
                <a:gdLst>
                  <a:gd name="T0" fmla="*/ 12 w 12"/>
                  <a:gd name="T1" fmla="*/ 5 h 17"/>
                  <a:gd name="T2" fmla="*/ 6 w 12"/>
                  <a:gd name="T3" fmla="*/ 15 h 17"/>
                  <a:gd name="T4" fmla="*/ 0 w 12"/>
                  <a:gd name="T5" fmla="*/ 12 h 17"/>
                  <a:gd name="T6" fmla="*/ 6 w 12"/>
                  <a:gd name="T7" fmla="*/ 1 h 17"/>
                  <a:gd name="T8" fmla="*/ 12 w 12"/>
                  <a:gd name="T9" fmla="*/ 5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7">
                    <a:moveTo>
                      <a:pt x="12" y="5"/>
                    </a:moveTo>
                    <a:cubicBezTo>
                      <a:pt x="12" y="9"/>
                      <a:pt x="9" y="13"/>
                      <a:pt x="6" y="15"/>
                    </a:cubicBezTo>
                    <a:cubicBezTo>
                      <a:pt x="3" y="17"/>
                      <a:pt x="0" y="15"/>
                      <a:pt x="0" y="12"/>
                    </a:cubicBezTo>
                    <a:cubicBezTo>
                      <a:pt x="0" y="8"/>
                      <a:pt x="3" y="3"/>
                      <a:pt x="6" y="1"/>
                    </a:cubicBezTo>
                    <a:cubicBezTo>
                      <a:pt x="9" y="0"/>
                      <a:pt x="12" y="1"/>
                      <a:pt x="12" y="5"/>
                    </a:cubicBezTo>
                    <a:close/>
                  </a:path>
                </a:pathLst>
              </a:custGeom>
              <a:solidFill>
                <a:srgbClr val="D4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76" name="iṣḻïďê">
                <a:extLst>
                  <a:ext uri="{FF2B5EF4-FFF2-40B4-BE49-F238E27FC236}">
                    <a16:creationId xmlns:a16="http://schemas.microsoft.com/office/drawing/2014/main" id="{F9E0C827-5657-44B1-AED3-4D9DB7A944EE}"/>
                  </a:ext>
                </a:extLst>
              </p:cNvPr>
              <p:cNvSpPr/>
              <p:nvPr/>
            </p:nvSpPr>
            <p:spPr bwMode="auto">
              <a:xfrm>
                <a:off x="7697788" y="4583113"/>
                <a:ext cx="522288" cy="300038"/>
              </a:xfrm>
              <a:custGeom>
                <a:avLst/>
                <a:gdLst>
                  <a:gd name="T0" fmla="*/ 71 w 158"/>
                  <a:gd name="T1" fmla="*/ 88 h 91"/>
                  <a:gd name="T2" fmla="*/ 4 w 158"/>
                  <a:gd name="T3" fmla="*/ 50 h 91"/>
                  <a:gd name="T4" fmla="*/ 5 w 158"/>
                  <a:gd name="T5" fmla="*/ 40 h 91"/>
                  <a:gd name="T6" fmla="*/ 70 w 158"/>
                  <a:gd name="T7" fmla="*/ 3 h 91"/>
                  <a:gd name="T8" fmla="*/ 86 w 158"/>
                  <a:gd name="T9" fmla="*/ 2 h 91"/>
                  <a:gd name="T10" fmla="*/ 154 w 158"/>
                  <a:gd name="T11" fmla="*/ 41 h 91"/>
                  <a:gd name="T12" fmla="*/ 152 w 158"/>
                  <a:gd name="T13" fmla="*/ 50 h 91"/>
                  <a:gd name="T14" fmla="*/ 87 w 158"/>
                  <a:gd name="T15" fmla="*/ 88 h 91"/>
                  <a:gd name="T16" fmla="*/ 71 w 158"/>
                  <a:gd name="T17" fmla="*/ 88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8" h="91">
                    <a:moveTo>
                      <a:pt x="71" y="88"/>
                    </a:moveTo>
                    <a:cubicBezTo>
                      <a:pt x="4" y="50"/>
                      <a:pt x="4" y="50"/>
                      <a:pt x="4" y="50"/>
                    </a:cubicBezTo>
                    <a:cubicBezTo>
                      <a:pt x="0" y="47"/>
                      <a:pt x="0" y="43"/>
                      <a:pt x="5" y="40"/>
                    </a:cubicBezTo>
                    <a:cubicBezTo>
                      <a:pt x="70" y="3"/>
                      <a:pt x="70" y="3"/>
                      <a:pt x="70" y="3"/>
                    </a:cubicBezTo>
                    <a:cubicBezTo>
                      <a:pt x="75" y="0"/>
                      <a:pt x="82" y="0"/>
                      <a:pt x="86" y="2"/>
                    </a:cubicBezTo>
                    <a:cubicBezTo>
                      <a:pt x="154" y="41"/>
                      <a:pt x="154" y="41"/>
                      <a:pt x="154" y="41"/>
                    </a:cubicBezTo>
                    <a:cubicBezTo>
                      <a:pt x="158" y="43"/>
                      <a:pt x="157" y="47"/>
                      <a:pt x="152" y="50"/>
                    </a:cubicBezTo>
                    <a:cubicBezTo>
                      <a:pt x="87" y="88"/>
                      <a:pt x="87" y="88"/>
                      <a:pt x="87" y="88"/>
                    </a:cubicBezTo>
                    <a:cubicBezTo>
                      <a:pt x="83" y="91"/>
                      <a:pt x="75" y="91"/>
                      <a:pt x="71" y="88"/>
                    </a:cubicBezTo>
                    <a:close/>
                  </a:path>
                </a:pathLst>
              </a:custGeom>
              <a:solidFill>
                <a:srgbClr val="5793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77" name="íṡlïďè">
                <a:extLst>
                  <a:ext uri="{FF2B5EF4-FFF2-40B4-BE49-F238E27FC236}">
                    <a16:creationId xmlns:a16="http://schemas.microsoft.com/office/drawing/2014/main" id="{D26261D5-D9A2-4AC0-85B4-4C10C0198AA3}"/>
                  </a:ext>
                </a:extLst>
              </p:cNvPr>
              <p:cNvSpPr/>
              <p:nvPr/>
            </p:nvSpPr>
            <p:spPr bwMode="auto">
              <a:xfrm>
                <a:off x="7923213" y="4727575"/>
                <a:ext cx="71438" cy="39688"/>
              </a:xfrm>
              <a:custGeom>
                <a:avLst/>
                <a:gdLst>
                  <a:gd name="T0" fmla="*/ 10 w 22"/>
                  <a:gd name="T1" fmla="*/ 12 h 12"/>
                  <a:gd name="T2" fmla="*/ 0 w 22"/>
                  <a:gd name="T3" fmla="*/ 6 h 12"/>
                  <a:gd name="T4" fmla="*/ 0 w 22"/>
                  <a:gd name="T5" fmla="*/ 5 h 12"/>
                  <a:gd name="T6" fmla="*/ 9 w 22"/>
                  <a:gd name="T7" fmla="*/ 0 h 12"/>
                  <a:gd name="T8" fmla="*/ 12 w 22"/>
                  <a:gd name="T9" fmla="*/ 0 h 12"/>
                  <a:gd name="T10" fmla="*/ 21 w 22"/>
                  <a:gd name="T11" fmla="*/ 5 h 12"/>
                  <a:gd name="T12" fmla="*/ 21 w 22"/>
                  <a:gd name="T13" fmla="*/ 7 h 12"/>
                  <a:gd name="T14" fmla="*/ 12 w 22"/>
                  <a:gd name="T15" fmla="*/ 12 h 12"/>
                  <a:gd name="T16" fmla="*/ 10 w 22"/>
                  <a:gd name="T1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" h="12">
                    <a:moveTo>
                      <a:pt x="10" y="12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5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0" y="0"/>
                      <a:pt x="11" y="0"/>
                      <a:pt x="12" y="0"/>
                    </a:cubicBezTo>
                    <a:cubicBezTo>
                      <a:pt x="21" y="5"/>
                      <a:pt x="21" y="5"/>
                      <a:pt x="21" y="5"/>
                    </a:cubicBezTo>
                    <a:cubicBezTo>
                      <a:pt x="22" y="6"/>
                      <a:pt x="22" y="6"/>
                      <a:pt x="21" y="7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1" y="12"/>
                      <a:pt x="10" y="12"/>
                      <a:pt x="10" y="12"/>
                    </a:cubicBezTo>
                    <a:close/>
                  </a:path>
                </a:pathLst>
              </a:custGeom>
              <a:solidFill>
                <a:srgbClr val="D4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78" name="íşḻíḑé">
                <a:extLst>
                  <a:ext uri="{FF2B5EF4-FFF2-40B4-BE49-F238E27FC236}">
                    <a16:creationId xmlns:a16="http://schemas.microsoft.com/office/drawing/2014/main" id="{90ECD8B4-280F-4B17-AB78-E8FB6ED7AF54}"/>
                  </a:ext>
                </a:extLst>
              </p:cNvPr>
              <p:cNvSpPr/>
              <p:nvPr/>
            </p:nvSpPr>
            <p:spPr bwMode="auto">
              <a:xfrm>
                <a:off x="7697788" y="4583113"/>
                <a:ext cx="519113" cy="165100"/>
              </a:xfrm>
              <a:custGeom>
                <a:avLst/>
                <a:gdLst>
                  <a:gd name="T0" fmla="*/ 4 w 157"/>
                  <a:gd name="T1" fmla="*/ 50 h 50"/>
                  <a:gd name="T2" fmla="*/ 4 w 157"/>
                  <a:gd name="T3" fmla="*/ 50 h 50"/>
                  <a:gd name="T4" fmla="*/ 5 w 157"/>
                  <a:gd name="T5" fmla="*/ 49 h 50"/>
                  <a:gd name="T6" fmla="*/ 70 w 157"/>
                  <a:gd name="T7" fmla="*/ 11 h 50"/>
                  <a:gd name="T8" fmla="*/ 86 w 157"/>
                  <a:gd name="T9" fmla="*/ 11 h 50"/>
                  <a:gd name="T10" fmla="*/ 153 w 157"/>
                  <a:gd name="T11" fmla="*/ 50 h 50"/>
                  <a:gd name="T12" fmla="*/ 154 w 157"/>
                  <a:gd name="T13" fmla="*/ 41 h 50"/>
                  <a:gd name="T14" fmla="*/ 86 w 157"/>
                  <a:gd name="T15" fmla="*/ 2 h 50"/>
                  <a:gd name="T16" fmla="*/ 70 w 157"/>
                  <a:gd name="T17" fmla="*/ 3 h 50"/>
                  <a:gd name="T18" fmla="*/ 5 w 157"/>
                  <a:gd name="T19" fmla="*/ 40 h 50"/>
                  <a:gd name="T20" fmla="*/ 4 w 157"/>
                  <a:gd name="T21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7" h="50">
                    <a:moveTo>
                      <a:pt x="4" y="50"/>
                    </a:moveTo>
                    <a:cubicBezTo>
                      <a:pt x="4" y="50"/>
                      <a:pt x="4" y="50"/>
                      <a:pt x="4" y="50"/>
                    </a:cubicBezTo>
                    <a:cubicBezTo>
                      <a:pt x="4" y="49"/>
                      <a:pt x="5" y="49"/>
                      <a:pt x="5" y="49"/>
                    </a:cubicBezTo>
                    <a:cubicBezTo>
                      <a:pt x="70" y="11"/>
                      <a:pt x="70" y="11"/>
                      <a:pt x="70" y="11"/>
                    </a:cubicBezTo>
                    <a:cubicBezTo>
                      <a:pt x="75" y="9"/>
                      <a:pt x="82" y="8"/>
                      <a:pt x="86" y="11"/>
                    </a:cubicBezTo>
                    <a:cubicBezTo>
                      <a:pt x="153" y="50"/>
                      <a:pt x="153" y="50"/>
                      <a:pt x="153" y="50"/>
                    </a:cubicBezTo>
                    <a:cubicBezTo>
                      <a:pt x="157" y="47"/>
                      <a:pt x="157" y="43"/>
                      <a:pt x="154" y="41"/>
                    </a:cubicBezTo>
                    <a:cubicBezTo>
                      <a:pt x="86" y="2"/>
                      <a:pt x="86" y="2"/>
                      <a:pt x="86" y="2"/>
                    </a:cubicBezTo>
                    <a:cubicBezTo>
                      <a:pt x="82" y="0"/>
                      <a:pt x="75" y="0"/>
                      <a:pt x="70" y="3"/>
                    </a:cubicBezTo>
                    <a:cubicBezTo>
                      <a:pt x="5" y="40"/>
                      <a:pt x="5" y="40"/>
                      <a:pt x="5" y="40"/>
                    </a:cubicBezTo>
                    <a:cubicBezTo>
                      <a:pt x="0" y="43"/>
                      <a:pt x="0" y="47"/>
                      <a:pt x="4" y="50"/>
                    </a:cubicBezTo>
                    <a:close/>
                  </a:path>
                </a:pathLst>
              </a:custGeom>
              <a:solidFill>
                <a:srgbClr val="396C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79" name="îš1íďé">
                <a:extLst>
                  <a:ext uri="{FF2B5EF4-FFF2-40B4-BE49-F238E27FC236}">
                    <a16:creationId xmlns:a16="http://schemas.microsoft.com/office/drawing/2014/main" id="{EEED8A80-BF59-4F85-B6EE-78A17BFD4CBC}"/>
                  </a:ext>
                </a:extLst>
              </p:cNvPr>
              <p:cNvSpPr/>
              <p:nvPr/>
            </p:nvSpPr>
            <p:spPr bwMode="auto">
              <a:xfrm>
                <a:off x="4075113" y="4237038"/>
                <a:ext cx="1920875" cy="1108075"/>
              </a:xfrm>
              <a:custGeom>
                <a:avLst/>
                <a:gdLst>
                  <a:gd name="T0" fmla="*/ 12 w 582"/>
                  <a:gd name="T1" fmla="*/ 7 h 336"/>
                  <a:gd name="T2" fmla="*/ 52 w 582"/>
                  <a:gd name="T3" fmla="*/ 7 h 336"/>
                  <a:gd name="T4" fmla="*/ 570 w 582"/>
                  <a:gd name="T5" fmla="*/ 306 h 336"/>
                  <a:gd name="T6" fmla="*/ 570 w 582"/>
                  <a:gd name="T7" fmla="*/ 330 h 336"/>
                  <a:gd name="T8" fmla="*/ 530 w 582"/>
                  <a:gd name="T9" fmla="*/ 330 h 336"/>
                  <a:gd name="T10" fmla="*/ 12 w 582"/>
                  <a:gd name="T11" fmla="*/ 30 h 336"/>
                  <a:gd name="T12" fmla="*/ 12 w 582"/>
                  <a:gd name="T13" fmla="*/ 7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2" h="336">
                    <a:moveTo>
                      <a:pt x="12" y="7"/>
                    </a:moveTo>
                    <a:cubicBezTo>
                      <a:pt x="23" y="0"/>
                      <a:pt x="41" y="0"/>
                      <a:pt x="52" y="7"/>
                    </a:cubicBezTo>
                    <a:cubicBezTo>
                      <a:pt x="570" y="306"/>
                      <a:pt x="570" y="306"/>
                      <a:pt x="570" y="306"/>
                    </a:cubicBezTo>
                    <a:cubicBezTo>
                      <a:pt x="582" y="313"/>
                      <a:pt x="582" y="323"/>
                      <a:pt x="570" y="330"/>
                    </a:cubicBezTo>
                    <a:cubicBezTo>
                      <a:pt x="559" y="336"/>
                      <a:pt x="541" y="336"/>
                      <a:pt x="530" y="330"/>
                    </a:cubicBezTo>
                    <a:cubicBezTo>
                      <a:pt x="12" y="30"/>
                      <a:pt x="12" y="30"/>
                      <a:pt x="12" y="30"/>
                    </a:cubicBezTo>
                    <a:cubicBezTo>
                      <a:pt x="0" y="24"/>
                      <a:pt x="0" y="13"/>
                      <a:pt x="12" y="7"/>
                    </a:cubicBezTo>
                    <a:close/>
                  </a:path>
                </a:pathLst>
              </a:custGeom>
              <a:solidFill>
                <a:srgbClr val="8A9DBC"/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 sz="2000" b="1"/>
              </a:p>
            </p:txBody>
          </p:sp>
          <p:sp>
            <p:nvSpPr>
              <p:cNvPr id="80" name="íşļîḑê">
                <a:extLst>
                  <a:ext uri="{FF2B5EF4-FFF2-40B4-BE49-F238E27FC236}">
                    <a16:creationId xmlns:a16="http://schemas.microsoft.com/office/drawing/2014/main" id="{EA252F06-4DB9-4890-93E2-053187E3F6F1}"/>
                  </a:ext>
                </a:extLst>
              </p:cNvPr>
              <p:cNvSpPr/>
              <p:nvPr/>
            </p:nvSpPr>
            <p:spPr bwMode="auto">
              <a:xfrm>
                <a:off x="3940175" y="3867150"/>
                <a:ext cx="101600" cy="82550"/>
              </a:xfrm>
              <a:custGeom>
                <a:avLst/>
                <a:gdLst>
                  <a:gd name="T0" fmla="*/ 1 w 31"/>
                  <a:gd name="T1" fmla="*/ 1 h 25"/>
                  <a:gd name="T2" fmla="*/ 1 w 31"/>
                  <a:gd name="T3" fmla="*/ 1 h 25"/>
                  <a:gd name="T4" fmla="*/ 3 w 31"/>
                  <a:gd name="T5" fmla="*/ 0 h 25"/>
                  <a:gd name="T6" fmla="*/ 31 w 31"/>
                  <a:gd name="T7" fmla="*/ 6 h 25"/>
                  <a:gd name="T8" fmla="*/ 20 w 31"/>
                  <a:gd name="T9" fmla="*/ 25 h 25"/>
                  <a:gd name="T10" fmla="*/ 1 w 31"/>
                  <a:gd name="T11" fmla="*/ 3 h 25"/>
                  <a:gd name="T12" fmla="*/ 1 w 31"/>
                  <a:gd name="T13" fmla="*/ 1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25">
                    <a:moveTo>
                      <a:pt x="1" y="1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31" y="6"/>
                      <a:pt x="31" y="6"/>
                      <a:pt x="31" y="6"/>
                    </a:cubicBezTo>
                    <a:cubicBezTo>
                      <a:pt x="20" y="25"/>
                      <a:pt x="20" y="25"/>
                      <a:pt x="20" y="25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D4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81" name="iŝḻíďè">
                <a:extLst>
                  <a:ext uri="{FF2B5EF4-FFF2-40B4-BE49-F238E27FC236}">
                    <a16:creationId xmlns:a16="http://schemas.microsoft.com/office/drawing/2014/main" id="{55E68B4B-3EC9-4C44-A4E9-48F6A722E805}"/>
                  </a:ext>
                </a:extLst>
              </p:cNvPr>
              <p:cNvSpPr/>
              <p:nvPr/>
            </p:nvSpPr>
            <p:spPr bwMode="auto">
              <a:xfrm>
                <a:off x="3979863" y="3876675"/>
                <a:ext cx="346075" cy="284163"/>
              </a:xfrm>
              <a:custGeom>
                <a:avLst/>
                <a:gdLst>
                  <a:gd name="T0" fmla="*/ 0 w 105"/>
                  <a:gd name="T1" fmla="*/ 12 h 86"/>
                  <a:gd name="T2" fmla="*/ 6 w 105"/>
                  <a:gd name="T3" fmla="*/ 1 h 86"/>
                  <a:gd name="T4" fmla="*/ 10 w 105"/>
                  <a:gd name="T5" fmla="*/ 0 h 86"/>
                  <a:gd name="T6" fmla="*/ 103 w 105"/>
                  <a:gd name="T7" fmla="*/ 25 h 86"/>
                  <a:gd name="T8" fmla="*/ 105 w 105"/>
                  <a:gd name="T9" fmla="*/ 26 h 86"/>
                  <a:gd name="T10" fmla="*/ 70 w 105"/>
                  <a:gd name="T11" fmla="*/ 86 h 86"/>
                  <a:gd name="T12" fmla="*/ 60 w 105"/>
                  <a:gd name="T13" fmla="*/ 79 h 86"/>
                  <a:gd name="T14" fmla="*/ 6 w 105"/>
                  <a:gd name="T15" fmla="*/ 23 h 86"/>
                  <a:gd name="T16" fmla="*/ 1 w 105"/>
                  <a:gd name="T17" fmla="*/ 16 h 86"/>
                  <a:gd name="T18" fmla="*/ 0 w 105"/>
                  <a:gd name="T19" fmla="*/ 12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5" h="86">
                    <a:moveTo>
                      <a:pt x="0" y="12"/>
                    </a:moveTo>
                    <a:cubicBezTo>
                      <a:pt x="0" y="8"/>
                      <a:pt x="3" y="3"/>
                      <a:pt x="6" y="1"/>
                    </a:cubicBezTo>
                    <a:cubicBezTo>
                      <a:pt x="8" y="0"/>
                      <a:pt x="9" y="0"/>
                      <a:pt x="10" y="0"/>
                    </a:cubicBezTo>
                    <a:cubicBezTo>
                      <a:pt x="43" y="0"/>
                      <a:pt x="75" y="9"/>
                      <a:pt x="103" y="25"/>
                    </a:cubicBezTo>
                    <a:cubicBezTo>
                      <a:pt x="105" y="26"/>
                      <a:pt x="105" y="26"/>
                      <a:pt x="105" y="26"/>
                    </a:cubicBezTo>
                    <a:cubicBezTo>
                      <a:pt x="70" y="86"/>
                      <a:pt x="70" y="86"/>
                      <a:pt x="70" y="86"/>
                    </a:cubicBezTo>
                    <a:cubicBezTo>
                      <a:pt x="60" y="79"/>
                      <a:pt x="60" y="79"/>
                      <a:pt x="60" y="79"/>
                    </a:cubicBezTo>
                    <a:cubicBezTo>
                      <a:pt x="38" y="65"/>
                      <a:pt x="20" y="46"/>
                      <a:pt x="6" y="23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0" y="15"/>
                      <a:pt x="0" y="14"/>
                      <a:pt x="0" y="12"/>
                    </a:cubicBezTo>
                    <a:close/>
                  </a:path>
                </a:pathLst>
              </a:custGeom>
              <a:solidFill>
                <a:srgbClr val="FF2C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82" name="íSḻïde">
                <a:extLst>
                  <a:ext uri="{FF2B5EF4-FFF2-40B4-BE49-F238E27FC236}">
                    <a16:creationId xmlns:a16="http://schemas.microsoft.com/office/drawing/2014/main" id="{6BE680A4-AA72-44DD-8661-9020B56EA513}"/>
                  </a:ext>
                </a:extLst>
              </p:cNvPr>
              <p:cNvSpPr/>
              <p:nvPr/>
            </p:nvSpPr>
            <p:spPr bwMode="auto">
              <a:xfrm>
                <a:off x="4187825" y="3943350"/>
                <a:ext cx="163513" cy="238125"/>
              </a:xfrm>
              <a:custGeom>
                <a:avLst/>
                <a:gdLst>
                  <a:gd name="T0" fmla="*/ 0 w 50"/>
                  <a:gd name="T1" fmla="*/ 50 h 72"/>
                  <a:gd name="T2" fmla="*/ 25 w 50"/>
                  <a:gd name="T3" fmla="*/ 8 h 72"/>
                  <a:gd name="T4" fmla="*/ 49 w 50"/>
                  <a:gd name="T5" fmla="*/ 22 h 72"/>
                  <a:gd name="T6" fmla="*/ 25 w 50"/>
                  <a:gd name="T7" fmla="*/ 65 h 72"/>
                  <a:gd name="T8" fmla="*/ 0 w 50"/>
                  <a:gd name="T9" fmla="*/ 5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" h="72">
                    <a:moveTo>
                      <a:pt x="0" y="50"/>
                    </a:moveTo>
                    <a:cubicBezTo>
                      <a:pt x="0" y="35"/>
                      <a:pt x="12" y="16"/>
                      <a:pt x="25" y="8"/>
                    </a:cubicBezTo>
                    <a:cubicBezTo>
                      <a:pt x="39" y="0"/>
                      <a:pt x="50" y="7"/>
                      <a:pt x="49" y="22"/>
                    </a:cubicBezTo>
                    <a:cubicBezTo>
                      <a:pt x="49" y="38"/>
                      <a:pt x="38" y="57"/>
                      <a:pt x="25" y="65"/>
                    </a:cubicBezTo>
                    <a:cubicBezTo>
                      <a:pt x="11" y="72"/>
                      <a:pt x="0" y="66"/>
                      <a:pt x="0" y="50"/>
                    </a:cubicBezTo>
                    <a:close/>
                  </a:path>
                </a:pathLst>
              </a:custGeom>
              <a:solidFill>
                <a:srgbClr val="D4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83" name="íṥḻîďé">
                <a:extLst>
                  <a:ext uri="{FF2B5EF4-FFF2-40B4-BE49-F238E27FC236}">
                    <a16:creationId xmlns:a16="http://schemas.microsoft.com/office/drawing/2014/main" id="{EF996F58-1244-44EB-AF07-AC870184FAED}"/>
                  </a:ext>
                </a:extLst>
              </p:cNvPr>
              <p:cNvSpPr/>
              <p:nvPr/>
            </p:nvSpPr>
            <p:spPr bwMode="auto">
              <a:xfrm>
                <a:off x="4210050" y="3962400"/>
                <a:ext cx="825500" cy="627063"/>
              </a:xfrm>
              <a:custGeom>
                <a:avLst/>
                <a:gdLst>
                  <a:gd name="T0" fmla="*/ 435 w 520"/>
                  <a:gd name="T1" fmla="*/ 395 h 395"/>
                  <a:gd name="T2" fmla="*/ 0 w 520"/>
                  <a:gd name="T3" fmla="*/ 125 h 395"/>
                  <a:gd name="T4" fmla="*/ 73 w 520"/>
                  <a:gd name="T5" fmla="*/ 0 h 395"/>
                  <a:gd name="T6" fmla="*/ 520 w 520"/>
                  <a:gd name="T7" fmla="*/ 248 h 395"/>
                  <a:gd name="T8" fmla="*/ 435 w 520"/>
                  <a:gd name="T9" fmla="*/ 395 h 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0" h="395">
                    <a:moveTo>
                      <a:pt x="435" y="395"/>
                    </a:moveTo>
                    <a:lnTo>
                      <a:pt x="0" y="125"/>
                    </a:lnTo>
                    <a:lnTo>
                      <a:pt x="73" y="0"/>
                    </a:lnTo>
                    <a:lnTo>
                      <a:pt x="520" y="248"/>
                    </a:lnTo>
                    <a:lnTo>
                      <a:pt x="435" y="395"/>
                    </a:lnTo>
                    <a:close/>
                  </a:path>
                </a:pathLst>
              </a:custGeom>
              <a:solidFill>
                <a:srgbClr val="D4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1600" b="1"/>
              </a:p>
            </p:txBody>
          </p:sp>
          <p:sp>
            <p:nvSpPr>
              <p:cNvPr id="84" name="íṥľîďê">
                <a:extLst>
                  <a:ext uri="{FF2B5EF4-FFF2-40B4-BE49-F238E27FC236}">
                    <a16:creationId xmlns:a16="http://schemas.microsoft.com/office/drawing/2014/main" id="{7E33523F-5296-478F-A3A3-19B8012F22A2}"/>
                  </a:ext>
                </a:extLst>
              </p:cNvPr>
              <p:cNvSpPr/>
              <p:nvPr/>
            </p:nvSpPr>
            <p:spPr bwMode="auto">
              <a:xfrm>
                <a:off x="4870450" y="4332288"/>
                <a:ext cx="190500" cy="280988"/>
              </a:xfrm>
              <a:custGeom>
                <a:avLst/>
                <a:gdLst>
                  <a:gd name="T0" fmla="*/ 0 w 58"/>
                  <a:gd name="T1" fmla="*/ 59 h 85"/>
                  <a:gd name="T2" fmla="*/ 30 w 58"/>
                  <a:gd name="T3" fmla="*/ 9 h 85"/>
                  <a:gd name="T4" fmla="*/ 58 w 58"/>
                  <a:gd name="T5" fmla="*/ 26 h 85"/>
                  <a:gd name="T6" fmla="*/ 29 w 58"/>
                  <a:gd name="T7" fmla="*/ 76 h 85"/>
                  <a:gd name="T8" fmla="*/ 0 w 58"/>
                  <a:gd name="T9" fmla="*/ 59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85">
                    <a:moveTo>
                      <a:pt x="0" y="59"/>
                    </a:moveTo>
                    <a:cubicBezTo>
                      <a:pt x="0" y="41"/>
                      <a:pt x="13" y="18"/>
                      <a:pt x="30" y="9"/>
                    </a:cubicBezTo>
                    <a:cubicBezTo>
                      <a:pt x="46" y="0"/>
                      <a:pt x="58" y="8"/>
                      <a:pt x="58" y="26"/>
                    </a:cubicBezTo>
                    <a:cubicBezTo>
                      <a:pt x="58" y="45"/>
                      <a:pt x="45" y="67"/>
                      <a:pt x="29" y="76"/>
                    </a:cubicBezTo>
                    <a:cubicBezTo>
                      <a:pt x="13" y="85"/>
                      <a:pt x="0" y="78"/>
                      <a:pt x="0" y="59"/>
                    </a:cubicBezTo>
                    <a:close/>
                  </a:path>
                </a:pathLst>
              </a:custGeom>
              <a:solidFill>
                <a:srgbClr val="D4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85" name="ïŝḷíḍê">
                <a:extLst>
                  <a:ext uri="{FF2B5EF4-FFF2-40B4-BE49-F238E27FC236}">
                    <a16:creationId xmlns:a16="http://schemas.microsoft.com/office/drawing/2014/main" id="{952E1BBB-1238-431F-A796-99ADAF6DAB8C}"/>
                  </a:ext>
                </a:extLst>
              </p:cNvPr>
              <p:cNvSpPr/>
              <p:nvPr/>
            </p:nvSpPr>
            <p:spPr bwMode="auto">
              <a:xfrm>
                <a:off x="4910138" y="4356100"/>
                <a:ext cx="190500" cy="279400"/>
              </a:xfrm>
              <a:custGeom>
                <a:avLst/>
                <a:gdLst>
                  <a:gd name="T0" fmla="*/ 0 w 58"/>
                  <a:gd name="T1" fmla="*/ 59 h 85"/>
                  <a:gd name="T2" fmla="*/ 29 w 58"/>
                  <a:gd name="T3" fmla="*/ 9 h 85"/>
                  <a:gd name="T4" fmla="*/ 58 w 58"/>
                  <a:gd name="T5" fmla="*/ 26 h 85"/>
                  <a:gd name="T6" fmla="*/ 29 w 58"/>
                  <a:gd name="T7" fmla="*/ 76 h 85"/>
                  <a:gd name="T8" fmla="*/ 0 w 58"/>
                  <a:gd name="T9" fmla="*/ 59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85">
                    <a:moveTo>
                      <a:pt x="0" y="59"/>
                    </a:moveTo>
                    <a:cubicBezTo>
                      <a:pt x="0" y="41"/>
                      <a:pt x="13" y="18"/>
                      <a:pt x="29" y="9"/>
                    </a:cubicBezTo>
                    <a:cubicBezTo>
                      <a:pt x="45" y="0"/>
                      <a:pt x="58" y="8"/>
                      <a:pt x="58" y="26"/>
                    </a:cubicBezTo>
                    <a:cubicBezTo>
                      <a:pt x="58" y="45"/>
                      <a:pt x="45" y="67"/>
                      <a:pt x="29" y="76"/>
                    </a:cubicBezTo>
                    <a:cubicBezTo>
                      <a:pt x="13" y="85"/>
                      <a:pt x="0" y="78"/>
                      <a:pt x="0" y="59"/>
                    </a:cubicBezTo>
                    <a:close/>
                  </a:path>
                </a:pathLst>
              </a:custGeom>
              <a:solidFill>
                <a:srgbClr val="D4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86" name="íşḷíďè">
                <a:extLst>
                  <a:ext uri="{FF2B5EF4-FFF2-40B4-BE49-F238E27FC236}">
                    <a16:creationId xmlns:a16="http://schemas.microsoft.com/office/drawing/2014/main" id="{8FFFC6CC-1D90-4948-8473-F66C05979BC9}"/>
                  </a:ext>
                </a:extLst>
              </p:cNvPr>
              <p:cNvSpPr/>
              <p:nvPr/>
            </p:nvSpPr>
            <p:spPr bwMode="auto">
              <a:xfrm>
                <a:off x="4935538" y="4378325"/>
                <a:ext cx="1046163" cy="768350"/>
              </a:xfrm>
              <a:custGeom>
                <a:avLst/>
                <a:gdLst>
                  <a:gd name="T0" fmla="*/ 574 w 659"/>
                  <a:gd name="T1" fmla="*/ 484 h 484"/>
                  <a:gd name="T2" fmla="*/ 0 w 659"/>
                  <a:gd name="T3" fmla="*/ 148 h 484"/>
                  <a:gd name="T4" fmla="*/ 88 w 659"/>
                  <a:gd name="T5" fmla="*/ 0 h 484"/>
                  <a:gd name="T6" fmla="*/ 659 w 659"/>
                  <a:gd name="T7" fmla="*/ 337 h 484"/>
                  <a:gd name="T8" fmla="*/ 574 w 659"/>
                  <a:gd name="T9" fmla="*/ 484 h 4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59" h="484">
                    <a:moveTo>
                      <a:pt x="574" y="484"/>
                    </a:moveTo>
                    <a:lnTo>
                      <a:pt x="0" y="148"/>
                    </a:lnTo>
                    <a:lnTo>
                      <a:pt x="88" y="0"/>
                    </a:lnTo>
                    <a:lnTo>
                      <a:pt x="659" y="337"/>
                    </a:lnTo>
                    <a:lnTo>
                      <a:pt x="574" y="484"/>
                    </a:lnTo>
                    <a:close/>
                  </a:path>
                </a:pathLst>
              </a:custGeom>
              <a:solidFill>
                <a:srgbClr val="D4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2000" b="1"/>
              </a:p>
            </p:txBody>
          </p:sp>
          <p:sp>
            <p:nvSpPr>
              <p:cNvPr id="87" name="îsḻíďé">
                <a:extLst>
                  <a:ext uri="{FF2B5EF4-FFF2-40B4-BE49-F238E27FC236}">
                    <a16:creationId xmlns:a16="http://schemas.microsoft.com/office/drawing/2014/main" id="{BA250E50-4F08-4FAD-BA2C-4CE1EEEB52D3}"/>
                  </a:ext>
                </a:extLst>
              </p:cNvPr>
              <p:cNvSpPr/>
              <p:nvPr/>
            </p:nvSpPr>
            <p:spPr bwMode="auto">
              <a:xfrm>
                <a:off x="5816600" y="4889500"/>
                <a:ext cx="195263" cy="280988"/>
              </a:xfrm>
              <a:custGeom>
                <a:avLst/>
                <a:gdLst>
                  <a:gd name="T0" fmla="*/ 1 w 59"/>
                  <a:gd name="T1" fmla="*/ 59 h 85"/>
                  <a:gd name="T2" fmla="*/ 30 w 59"/>
                  <a:gd name="T3" fmla="*/ 9 h 85"/>
                  <a:gd name="T4" fmla="*/ 59 w 59"/>
                  <a:gd name="T5" fmla="*/ 26 h 85"/>
                  <a:gd name="T6" fmla="*/ 29 w 59"/>
                  <a:gd name="T7" fmla="*/ 76 h 85"/>
                  <a:gd name="T8" fmla="*/ 1 w 59"/>
                  <a:gd name="T9" fmla="*/ 59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85">
                    <a:moveTo>
                      <a:pt x="1" y="59"/>
                    </a:moveTo>
                    <a:cubicBezTo>
                      <a:pt x="1" y="41"/>
                      <a:pt x="14" y="18"/>
                      <a:pt x="30" y="9"/>
                    </a:cubicBezTo>
                    <a:cubicBezTo>
                      <a:pt x="46" y="0"/>
                      <a:pt x="59" y="8"/>
                      <a:pt x="59" y="26"/>
                    </a:cubicBezTo>
                    <a:cubicBezTo>
                      <a:pt x="59" y="45"/>
                      <a:pt x="45" y="67"/>
                      <a:pt x="29" y="76"/>
                    </a:cubicBezTo>
                    <a:cubicBezTo>
                      <a:pt x="13" y="85"/>
                      <a:pt x="0" y="77"/>
                      <a:pt x="1" y="59"/>
                    </a:cubicBezTo>
                    <a:close/>
                  </a:path>
                </a:pathLst>
              </a:custGeom>
              <a:solidFill>
                <a:srgbClr val="D4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88" name="îṣḷïdè">
                <a:extLst>
                  <a:ext uri="{FF2B5EF4-FFF2-40B4-BE49-F238E27FC236}">
                    <a16:creationId xmlns:a16="http://schemas.microsoft.com/office/drawing/2014/main" id="{32154679-12DA-451E-BE07-A8FF41FB4B31}"/>
                  </a:ext>
                </a:extLst>
              </p:cNvPr>
              <p:cNvSpPr/>
              <p:nvPr/>
            </p:nvSpPr>
            <p:spPr bwMode="auto">
              <a:xfrm>
                <a:off x="5849938" y="4945063"/>
                <a:ext cx="128588" cy="168275"/>
              </a:xfrm>
              <a:custGeom>
                <a:avLst/>
                <a:gdLst>
                  <a:gd name="T0" fmla="*/ 1 w 39"/>
                  <a:gd name="T1" fmla="*/ 36 h 51"/>
                  <a:gd name="T2" fmla="*/ 21 w 39"/>
                  <a:gd name="T3" fmla="*/ 6 h 51"/>
                  <a:gd name="T4" fmla="*/ 38 w 39"/>
                  <a:gd name="T5" fmla="*/ 15 h 51"/>
                  <a:gd name="T6" fmla="*/ 18 w 39"/>
                  <a:gd name="T7" fmla="*/ 45 h 51"/>
                  <a:gd name="T8" fmla="*/ 1 w 39"/>
                  <a:gd name="T9" fmla="*/ 36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51">
                    <a:moveTo>
                      <a:pt x="1" y="36"/>
                    </a:moveTo>
                    <a:cubicBezTo>
                      <a:pt x="2" y="25"/>
                      <a:pt x="10" y="12"/>
                      <a:pt x="21" y="6"/>
                    </a:cubicBezTo>
                    <a:cubicBezTo>
                      <a:pt x="31" y="0"/>
                      <a:pt x="39" y="4"/>
                      <a:pt x="38" y="15"/>
                    </a:cubicBezTo>
                    <a:cubicBezTo>
                      <a:pt x="38" y="26"/>
                      <a:pt x="29" y="39"/>
                      <a:pt x="18" y="45"/>
                    </a:cubicBezTo>
                    <a:cubicBezTo>
                      <a:pt x="8" y="51"/>
                      <a:pt x="0" y="47"/>
                      <a:pt x="1" y="36"/>
                    </a:cubicBezTo>
                    <a:close/>
                  </a:path>
                </a:pathLst>
              </a:custGeom>
              <a:solidFill>
                <a:srgbClr val="396C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89" name="îş1ïdê">
                <a:extLst>
                  <a:ext uri="{FF2B5EF4-FFF2-40B4-BE49-F238E27FC236}">
                    <a16:creationId xmlns:a16="http://schemas.microsoft.com/office/drawing/2014/main" id="{1F88DC3C-310F-477A-A2C9-9237A1D6C469}"/>
                  </a:ext>
                </a:extLst>
              </p:cNvPr>
              <p:cNvSpPr/>
              <p:nvPr/>
            </p:nvSpPr>
            <p:spPr bwMode="auto">
              <a:xfrm>
                <a:off x="4843463" y="4329113"/>
                <a:ext cx="174625" cy="247650"/>
              </a:xfrm>
              <a:custGeom>
                <a:avLst/>
                <a:gdLst>
                  <a:gd name="T0" fmla="*/ 6 w 53"/>
                  <a:gd name="T1" fmla="*/ 59 h 75"/>
                  <a:gd name="T2" fmla="*/ 35 w 53"/>
                  <a:gd name="T3" fmla="*/ 9 h 75"/>
                  <a:gd name="T4" fmla="*/ 53 w 53"/>
                  <a:gd name="T5" fmla="*/ 6 h 75"/>
                  <a:gd name="T6" fmla="*/ 29 w 53"/>
                  <a:gd name="T7" fmla="*/ 5 h 75"/>
                  <a:gd name="T8" fmla="*/ 0 w 53"/>
                  <a:gd name="T9" fmla="*/ 55 h 75"/>
                  <a:gd name="T10" fmla="*/ 11 w 53"/>
                  <a:gd name="T11" fmla="*/ 75 h 75"/>
                  <a:gd name="T12" fmla="*/ 6 w 53"/>
                  <a:gd name="T13" fmla="*/ 59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6" y="59"/>
                    </a:moveTo>
                    <a:cubicBezTo>
                      <a:pt x="6" y="40"/>
                      <a:pt x="19" y="18"/>
                      <a:pt x="35" y="9"/>
                    </a:cubicBezTo>
                    <a:cubicBezTo>
                      <a:pt x="42" y="5"/>
                      <a:pt x="48" y="4"/>
                      <a:pt x="53" y="6"/>
                    </a:cubicBezTo>
                    <a:cubicBezTo>
                      <a:pt x="47" y="0"/>
                      <a:pt x="39" y="0"/>
                      <a:pt x="29" y="5"/>
                    </a:cubicBezTo>
                    <a:cubicBezTo>
                      <a:pt x="13" y="14"/>
                      <a:pt x="0" y="37"/>
                      <a:pt x="0" y="55"/>
                    </a:cubicBezTo>
                    <a:cubicBezTo>
                      <a:pt x="0" y="66"/>
                      <a:pt x="4" y="73"/>
                      <a:pt x="11" y="75"/>
                    </a:cubicBezTo>
                    <a:cubicBezTo>
                      <a:pt x="8" y="72"/>
                      <a:pt x="6" y="66"/>
                      <a:pt x="6" y="5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90" name="îṩḷiḍè">
                <a:extLst>
                  <a:ext uri="{FF2B5EF4-FFF2-40B4-BE49-F238E27FC236}">
                    <a16:creationId xmlns:a16="http://schemas.microsoft.com/office/drawing/2014/main" id="{27ECC5AB-C644-4FB7-A8C9-91A038F2716D}"/>
                  </a:ext>
                </a:extLst>
              </p:cNvPr>
              <p:cNvSpPr/>
              <p:nvPr/>
            </p:nvSpPr>
            <p:spPr bwMode="auto">
              <a:xfrm>
                <a:off x="4864100" y="4341813"/>
                <a:ext cx="217488" cy="274638"/>
              </a:xfrm>
              <a:custGeom>
                <a:avLst/>
                <a:gdLst>
                  <a:gd name="T0" fmla="*/ 0 w 66"/>
                  <a:gd name="T1" fmla="*/ 55 h 83"/>
                  <a:gd name="T2" fmla="*/ 29 w 66"/>
                  <a:gd name="T3" fmla="*/ 5 h 83"/>
                  <a:gd name="T4" fmla="*/ 50 w 66"/>
                  <a:gd name="T5" fmla="*/ 3 h 83"/>
                  <a:gd name="T6" fmla="*/ 66 w 66"/>
                  <a:gd name="T7" fmla="*/ 12 h 83"/>
                  <a:gd name="T8" fmla="*/ 58 w 66"/>
                  <a:gd name="T9" fmla="*/ 25 h 83"/>
                  <a:gd name="T10" fmla="*/ 32 w 66"/>
                  <a:gd name="T11" fmla="*/ 70 h 83"/>
                  <a:gd name="T12" fmla="*/ 24 w 66"/>
                  <a:gd name="T13" fmla="*/ 83 h 83"/>
                  <a:gd name="T14" fmla="*/ 8 w 66"/>
                  <a:gd name="T15" fmla="*/ 74 h 83"/>
                  <a:gd name="T16" fmla="*/ 8 w 66"/>
                  <a:gd name="T17" fmla="*/ 74 h 83"/>
                  <a:gd name="T18" fmla="*/ 0 w 66"/>
                  <a:gd name="T19" fmla="*/ 55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6" h="83">
                    <a:moveTo>
                      <a:pt x="0" y="55"/>
                    </a:moveTo>
                    <a:cubicBezTo>
                      <a:pt x="0" y="36"/>
                      <a:pt x="13" y="14"/>
                      <a:pt x="29" y="5"/>
                    </a:cubicBezTo>
                    <a:cubicBezTo>
                      <a:pt x="37" y="0"/>
                      <a:pt x="45" y="0"/>
                      <a:pt x="50" y="3"/>
                    </a:cubicBezTo>
                    <a:cubicBezTo>
                      <a:pt x="66" y="12"/>
                      <a:pt x="66" y="12"/>
                      <a:pt x="66" y="12"/>
                    </a:cubicBezTo>
                    <a:cubicBezTo>
                      <a:pt x="58" y="25"/>
                      <a:pt x="58" y="25"/>
                      <a:pt x="58" y="25"/>
                    </a:cubicBezTo>
                    <a:cubicBezTo>
                      <a:pt x="57" y="42"/>
                      <a:pt x="46" y="61"/>
                      <a:pt x="32" y="70"/>
                    </a:cubicBezTo>
                    <a:cubicBezTo>
                      <a:pt x="24" y="83"/>
                      <a:pt x="24" y="83"/>
                      <a:pt x="24" y="83"/>
                    </a:cubicBezTo>
                    <a:cubicBezTo>
                      <a:pt x="8" y="74"/>
                      <a:pt x="8" y="74"/>
                      <a:pt x="8" y="74"/>
                    </a:cubicBezTo>
                    <a:cubicBezTo>
                      <a:pt x="8" y="74"/>
                      <a:pt x="8" y="74"/>
                      <a:pt x="8" y="74"/>
                    </a:cubicBezTo>
                    <a:cubicBezTo>
                      <a:pt x="3" y="71"/>
                      <a:pt x="0" y="64"/>
                      <a:pt x="0" y="55"/>
                    </a:cubicBezTo>
                    <a:close/>
                  </a:path>
                </a:pathLst>
              </a:custGeom>
              <a:solidFill>
                <a:srgbClr val="FF2C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91" name="îSļïḑe">
                <a:extLst>
                  <a:ext uri="{FF2B5EF4-FFF2-40B4-BE49-F238E27FC236}">
                    <a16:creationId xmlns:a16="http://schemas.microsoft.com/office/drawing/2014/main" id="{303DC215-58EF-4D75-B0A0-5C5DBFA61A89}"/>
                  </a:ext>
                </a:extLst>
              </p:cNvPr>
              <p:cNvSpPr/>
              <p:nvPr/>
            </p:nvSpPr>
            <p:spPr bwMode="auto">
              <a:xfrm>
                <a:off x="4916488" y="4359275"/>
                <a:ext cx="192088" cy="279400"/>
              </a:xfrm>
              <a:custGeom>
                <a:avLst/>
                <a:gdLst>
                  <a:gd name="T0" fmla="*/ 0 w 58"/>
                  <a:gd name="T1" fmla="*/ 59 h 85"/>
                  <a:gd name="T2" fmla="*/ 29 w 58"/>
                  <a:gd name="T3" fmla="*/ 9 h 85"/>
                  <a:gd name="T4" fmla="*/ 58 w 58"/>
                  <a:gd name="T5" fmla="*/ 26 h 85"/>
                  <a:gd name="T6" fmla="*/ 29 w 58"/>
                  <a:gd name="T7" fmla="*/ 76 h 85"/>
                  <a:gd name="T8" fmla="*/ 0 w 58"/>
                  <a:gd name="T9" fmla="*/ 59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85">
                    <a:moveTo>
                      <a:pt x="0" y="59"/>
                    </a:moveTo>
                    <a:cubicBezTo>
                      <a:pt x="0" y="41"/>
                      <a:pt x="13" y="18"/>
                      <a:pt x="29" y="9"/>
                    </a:cubicBezTo>
                    <a:cubicBezTo>
                      <a:pt x="45" y="0"/>
                      <a:pt x="58" y="8"/>
                      <a:pt x="58" y="26"/>
                    </a:cubicBezTo>
                    <a:cubicBezTo>
                      <a:pt x="58" y="45"/>
                      <a:pt x="45" y="67"/>
                      <a:pt x="29" y="76"/>
                    </a:cubicBezTo>
                    <a:cubicBezTo>
                      <a:pt x="12" y="85"/>
                      <a:pt x="0" y="77"/>
                      <a:pt x="0" y="59"/>
                    </a:cubicBezTo>
                    <a:close/>
                  </a:path>
                </a:pathLst>
              </a:custGeom>
              <a:solidFill>
                <a:srgbClr val="D4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92" name="işļîďê">
                <a:extLst>
                  <a:ext uri="{FF2B5EF4-FFF2-40B4-BE49-F238E27FC236}">
                    <a16:creationId xmlns:a16="http://schemas.microsoft.com/office/drawing/2014/main" id="{49A93099-494C-4E02-85A7-07CABC615073}"/>
                  </a:ext>
                </a:extLst>
              </p:cNvPr>
              <p:cNvSpPr/>
              <p:nvPr/>
            </p:nvSpPr>
            <p:spPr bwMode="auto">
              <a:xfrm>
                <a:off x="5883275" y="4981575"/>
                <a:ext cx="82550" cy="119063"/>
              </a:xfrm>
              <a:custGeom>
                <a:avLst/>
                <a:gdLst>
                  <a:gd name="T0" fmla="*/ 0 w 25"/>
                  <a:gd name="T1" fmla="*/ 25 h 36"/>
                  <a:gd name="T2" fmla="*/ 13 w 25"/>
                  <a:gd name="T3" fmla="*/ 4 h 36"/>
                  <a:gd name="T4" fmla="*/ 25 w 25"/>
                  <a:gd name="T5" fmla="*/ 11 h 36"/>
                  <a:gd name="T6" fmla="*/ 13 w 25"/>
                  <a:gd name="T7" fmla="*/ 32 h 36"/>
                  <a:gd name="T8" fmla="*/ 0 w 25"/>
                  <a:gd name="T9" fmla="*/ 25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36">
                    <a:moveTo>
                      <a:pt x="0" y="25"/>
                    </a:moveTo>
                    <a:cubicBezTo>
                      <a:pt x="0" y="17"/>
                      <a:pt x="6" y="8"/>
                      <a:pt x="13" y="4"/>
                    </a:cubicBezTo>
                    <a:cubicBezTo>
                      <a:pt x="20" y="0"/>
                      <a:pt x="25" y="3"/>
                      <a:pt x="25" y="11"/>
                    </a:cubicBezTo>
                    <a:cubicBezTo>
                      <a:pt x="25" y="19"/>
                      <a:pt x="20" y="29"/>
                      <a:pt x="13" y="32"/>
                    </a:cubicBezTo>
                    <a:cubicBezTo>
                      <a:pt x="6" y="36"/>
                      <a:pt x="0" y="33"/>
                      <a:pt x="0" y="25"/>
                    </a:cubicBezTo>
                    <a:close/>
                  </a:path>
                </a:pathLst>
              </a:custGeom>
              <a:solidFill>
                <a:srgbClr val="FF2C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93" name="îsļïďè">
                <a:extLst>
                  <a:ext uri="{FF2B5EF4-FFF2-40B4-BE49-F238E27FC236}">
                    <a16:creationId xmlns:a16="http://schemas.microsoft.com/office/drawing/2014/main" id="{F4F5C28D-2E3E-4A22-8870-EBE5810B697B}"/>
                  </a:ext>
                </a:extLst>
              </p:cNvPr>
              <p:cNvSpPr/>
              <p:nvPr/>
            </p:nvSpPr>
            <p:spPr bwMode="auto">
              <a:xfrm>
                <a:off x="5883275" y="4987925"/>
                <a:ext cx="300038" cy="234950"/>
              </a:xfrm>
              <a:custGeom>
                <a:avLst/>
                <a:gdLst>
                  <a:gd name="T0" fmla="*/ 0 w 91"/>
                  <a:gd name="T1" fmla="*/ 23 h 71"/>
                  <a:gd name="T2" fmla="*/ 13 w 91"/>
                  <a:gd name="T3" fmla="*/ 2 h 71"/>
                  <a:gd name="T4" fmla="*/ 22 w 91"/>
                  <a:gd name="T5" fmla="*/ 1 h 71"/>
                  <a:gd name="T6" fmla="*/ 80 w 91"/>
                  <a:gd name="T7" fmla="*/ 35 h 71"/>
                  <a:gd name="T8" fmla="*/ 87 w 91"/>
                  <a:gd name="T9" fmla="*/ 59 h 71"/>
                  <a:gd name="T10" fmla="*/ 62 w 91"/>
                  <a:gd name="T11" fmla="*/ 66 h 71"/>
                  <a:gd name="T12" fmla="*/ 4 w 91"/>
                  <a:gd name="T13" fmla="*/ 31 h 71"/>
                  <a:gd name="T14" fmla="*/ 4 w 91"/>
                  <a:gd name="T15" fmla="*/ 31 h 71"/>
                  <a:gd name="T16" fmla="*/ 0 w 91"/>
                  <a:gd name="T17" fmla="*/ 23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1" h="71">
                    <a:moveTo>
                      <a:pt x="0" y="23"/>
                    </a:moveTo>
                    <a:cubicBezTo>
                      <a:pt x="0" y="15"/>
                      <a:pt x="6" y="6"/>
                      <a:pt x="13" y="2"/>
                    </a:cubicBezTo>
                    <a:cubicBezTo>
                      <a:pt x="16" y="0"/>
                      <a:pt x="20" y="0"/>
                      <a:pt x="22" y="1"/>
                    </a:cubicBezTo>
                    <a:cubicBezTo>
                      <a:pt x="80" y="35"/>
                      <a:pt x="80" y="35"/>
                      <a:pt x="80" y="35"/>
                    </a:cubicBezTo>
                    <a:cubicBezTo>
                      <a:pt x="89" y="40"/>
                      <a:pt x="91" y="51"/>
                      <a:pt x="87" y="59"/>
                    </a:cubicBezTo>
                    <a:cubicBezTo>
                      <a:pt x="82" y="68"/>
                      <a:pt x="71" y="71"/>
                      <a:pt x="62" y="66"/>
                    </a:cubicBezTo>
                    <a:cubicBezTo>
                      <a:pt x="4" y="31"/>
                      <a:pt x="4" y="31"/>
                      <a:pt x="4" y="31"/>
                    </a:cubicBezTo>
                    <a:cubicBezTo>
                      <a:pt x="4" y="31"/>
                      <a:pt x="4" y="31"/>
                      <a:pt x="4" y="31"/>
                    </a:cubicBezTo>
                    <a:cubicBezTo>
                      <a:pt x="2" y="30"/>
                      <a:pt x="0" y="27"/>
                      <a:pt x="0" y="23"/>
                    </a:cubicBezTo>
                    <a:close/>
                  </a:path>
                </a:pathLst>
              </a:custGeom>
              <a:solidFill>
                <a:srgbClr val="FF2C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94" name="işļíḑé">
                <a:extLst>
                  <a:ext uri="{FF2B5EF4-FFF2-40B4-BE49-F238E27FC236}">
                    <a16:creationId xmlns:a16="http://schemas.microsoft.com/office/drawing/2014/main" id="{805A0A07-26F0-46DA-8B48-7AAFB688A31D}"/>
                  </a:ext>
                </a:extLst>
              </p:cNvPr>
              <p:cNvSpPr/>
              <p:nvPr/>
            </p:nvSpPr>
            <p:spPr bwMode="auto">
              <a:xfrm>
                <a:off x="5146675" y="4421188"/>
                <a:ext cx="782638" cy="495300"/>
              </a:xfrm>
              <a:custGeom>
                <a:avLst/>
                <a:gdLst>
                  <a:gd name="T0" fmla="*/ 158 w 237"/>
                  <a:gd name="T1" fmla="*/ 88 h 150"/>
                  <a:gd name="T2" fmla="*/ 167 w 237"/>
                  <a:gd name="T3" fmla="*/ 83 h 150"/>
                  <a:gd name="T4" fmla="*/ 186 w 237"/>
                  <a:gd name="T5" fmla="*/ 85 h 150"/>
                  <a:gd name="T6" fmla="*/ 216 w 237"/>
                  <a:gd name="T7" fmla="*/ 102 h 150"/>
                  <a:gd name="T8" fmla="*/ 226 w 237"/>
                  <a:gd name="T9" fmla="*/ 120 h 150"/>
                  <a:gd name="T10" fmla="*/ 226 w 237"/>
                  <a:gd name="T11" fmla="*/ 135 h 150"/>
                  <a:gd name="T12" fmla="*/ 229 w 237"/>
                  <a:gd name="T13" fmla="*/ 143 h 150"/>
                  <a:gd name="T14" fmla="*/ 228 w 237"/>
                  <a:gd name="T15" fmla="*/ 150 h 150"/>
                  <a:gd name="T16" fmla="*/ 235 w 237"/>
                  <a:gd name="T17" fmla="*/ 146 h 150"/>
                  <a:gd name="T18" fmla="*/ 235 w 237"/>
                  <a:gd name="T19" fmla="*/ 146 h 150"/>
                  <a:gd name="T20" fmla="*/ 237 w 237"/>
                  <a:gd name="T21" fmla="*/ 142 h 150"/>
                  <a:gd name="T22" fmla="*/ 237 w 237"/>
                  <a:gd name="T23" fmla="*/ 127 h 150"/>
                  <a:gd name="T24" fmla="*/ 216 w 237"/>
                  <a:gd name="T25" fmla="*/ 90 h 150"/>
                  <a:gd name="T26" fmla="*/ 186 w 237"/>
                  <a:gd name="T27" fmla="*/ 72 h 150"/>
                  <a:gd name="T28" fmla="*/ 159 w 237"/>
                  <a:gd name="T29" fmla="*/ 69 h 150"/>
                  <a:gd name="T30" fmla="*/ 151 w 237"/>
                  <a:gd name="T31" fmla="*/ 74 h 150"/>
                  <a:gd name="T32" fmla="*/ 132 w 237"/>
                  <a:gd name="T33" fmla="*/ 72 h 150"/>
                  <a:gd name="T34" fmla="*/ 11 w 237"/>
                  <a:gd name="T35" fmla="*/ 1 h 150"/>
                  <a:gd name="T36" fmla="*/ 7 w 237"/>
                  <a:gd name="T37" fmla="*/ 1 h 150"/>
                  <a:gd name="T38" fmla="*/ 7 w 237"/>
                  <a:gd name="T39" fmla="*/ 1 h 150"/>
                  <a:gd name="T40" fmla="*/ 0 w 237"/>
                  <a:gd name="T41" fmla="*/ 5 h 150"/>
                  <a:gd name="T42" fmla="*/ 6 w 237"/>
                  <a:gd name="T43" fmla="*/ 7 h 150"/>
                  <a:gd name="T44" fmla="*/ 11 w 237"/>
                  <a:gd name="T45" fmla="*/ 14 h 150"/>
                  <a:gd name="T46" fmla="*/ 132 w 237"/>
                  <a:gd name="T47" fmla="*/ 85 h 150"/>
                  <a:gd name="T48" fmla="*/ 158 w 237"/>
                  <a:gd name="T49" fmla="*/ 8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37" h="150">
                    <a:moveTo>
                      <a:pt x="158" y="88"/>
                    </a:moveTo>
                    <a:cubicBezTo>
                      <a:pt x="167" y="83"/>
                      <a:pt x="167" y="83"/>
                      <a:pt x="167" y="83"/>
                    </a:cubicBezTo>
                    <a:cubicBezTo>
                      <a:pt x="172" y="80"/>
                      <a:pt x="179" y="81"/>
                      <a:pt x="186" y="85"/>
                    </a:cubicBezTo>
                    <a:cubicBezTo>
                      <a:pt x="216" y="102"/>
                      <a:pt x="216" y="102"/>
                      <a:pt x="216" y="102"/>
                    </a:cubicBezTo>
                    <a:cubicBezTo>
                      <a:pt x="222" y="106"/>
                      <a:pt x="226" y="114"/>
                      <a:pt x="226" y="120"/>
                    </a:cubicBezTo>
                    <a:cubicBezTo>
                      <a:pt x="226" y="135"/>
                      <a:pt x="226" y="135"/>
                      <a:pt x="226" y="135"/>
                    </a:cubicBezTo>
                    <a:cubicBezTo>
                      <a:pt x="226" y="138"/>
                      <a:pt x="227" y="141"/>
                      <a:pt x="229" y="143"/>
                    </a:cubicBezTo>
                    <a:cubicBezTo>
                      <a:pt x="228" y="150"/>
                      <a:pt x="228" y="150"/>
                      <a:pt x="228" y="150"/>
                    </a:cubicBezTo>
                    <a:cubicBezTo>
                      <a:pt x="235" y="146"/>
                      <a:pt x="235" y="146"/>
                      <a:pt x="235" y="146"/>
                    </a:cubicBezTo>
                    <a:cubicBezTo>
                      <a:pt x="235" y="146"/>
                      <a:pt x="235" y="146"/>
                      <a:pt x="235" y="146"/>
                    </a:cubicBezTo>
                    <a:cubicBezTo>
                      <a:pt x="236" y="145"/>
                      <a:pt x="237" y="144"/>
                      <a:pt x="237" y="142"/>
                    </a:cubicBezTo>
                    <a:cubicBezTo>
                      <a:pt x="237" y="127"/>
                      <a:pt x="237" y="127"/>
                      <a:pt x="237" y="127"/>
                    </a:cubicBezTo>
                    <a:cubicBezTo>
                      <a:pt x="237" y="113"/>
                      <a:pt x="228" y="96"/>
                      <a:pt x="216" y="90"/>
                    </a:cubicBezTo>
                    <a:cubicBezTo>
                      <a:pt x="186" y="72"/>
                      <a:pt x="186" y="72"/>
                      <a:pt x="186" y="72"/>
                    </a:cubicBezTo>
                    <a:cubicBezTo>
                      <a:pt x="176" y="66"/>
                      <a:pt x="167" y="65"/>
                      <a:pt x="159" y="69"/>
                    </a:cubicBezTo>
                    <a:cubicBezTo>
                      <a:pt x="151" y="74"/>
                      <a:pt x="151" y="74"/>
                      <a:pt x="151" y="74"/>
                    </a:cubicBezTo>
                    <a:cubicBezTo>
                      <a:pt x="146" y="77"/>
                      <a:pt x="139" y="76"/>
                      <a:pt x="132" y="72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9" y="0"/>
                      <a:pt x="8" y="0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7" y="10"/>
                      <a:pt x="9" y="13"/>
                      <a:pt x="11" y="14"/>
                    </a:cubicBezTo>
                    <a:cubicBezTo>
                      <a:pt x="132" y="85"/>
                      <a:pt x="132" y="85"/>
                      <a:pt x="132" y="85"/>
                    </a:cubicBezTo>
                    <a:cubicBezTo>
                      <a:pt x="142" y="91"/>
                      <a:pt x="151" y="92"/>
                      <a:pt x="158" y="88"/>
                    </a:cubicBezTo>
                    <a:close/>
                  </a:path>
                </a:pathLst>
              </a:custGeom>
              <a:solidFill>
                <a:srgbClr val="5793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1100" b="1"/>
              </a:p>
            </p:txBody>
          </p:sp>
          <p:sp>
            <p:nvSpPr>
              <p:cNvPr id="95" name="ïśḻïḓè">
                <a:extLst>
                  <a:ext uri="{FF2B5EF4-FFF2-40B4-BE49-F238E27FC236}">
                    <a16:creationId xmlns:a16="http://schemas.microsoft.com/office/drawing/2014/main" id="{64D0887D-AA03-4B9B-B6A6-804F2974C9CF}"/>
                  </a:ext>
                </a:extLst>
              </p:cNvPr>
              <p:cNvSpPr/>
              <p:nvPr/>
            </p:nvSpPr>
            <p:spPr bwMode="auto">
              <a:xfrm>
                <a:off x="5140325" y="4430713"/>
                <a:ext cx="766763" cy="488950"/>
              </a:xfrm>
              <a:custGeom>
                <a:avLst/>
                <a:gdLst>
                  <a:gd name="T0" fmla="*/ 162 w 232"/>
                  <a:gd name="T1" fmla="*/ 84 h 148"/>
                  <a:gd name="T2" fmla="*/ 180 w 232"/>
                  <a:gd name="T3" fmla="*/ 86 h 148"/>
                  <a:gd name="T4" fmla="*/ 210 w 232"/>
                  <a:gd name="T5" fmla="*/ 104 h 148"/>
                  <a:gd name="T6" fmla="*/ 221 w 232"/>
                  <a:gd name="T7" fmla="*/ 122 h 148"/>
                  <a:gd name="T8" fmla="*/ 220 w 232"/>
                  <a:gd name="T9" fmla="*/ 137 h 148"/>
                  <a:gd name="T10" fmla="*/ 226 w 232"/>
                  <a:gd name="T11" fmla="*/ 147 h 148"/>
                  <a:gd name="T12" fmla="*/ 232 w 232"/>
                  <a:gd name="T13" fmla="*/ 143 h 148"/>
                  <a:gd name="T14" fmla="*/ 232 w 232"/>
                  <a:gd name="T15" fmla="*/ 128 h 148"/>
                  <a:gd name="T16" fmla="*/ 210 w 232"/>
                  <a:gd name="T17" fmla="*/ 91 h 148"/>
                  <a:gd name="T18" fmla="*/ 180 w 232"/>
                  <a:gd name="T19" fmla="*/ 73 h 148"/>
                  <a:gd name="T20" fmla="*/ 154 w 232"/>
                  <a:gd name="T21" fmla="*/ 70 h 148"/>
                  <a:gd name="T22" fmla="*/ 145 w 232"/>
                  <a:gd name="T23" fmla="*/ 75 h 148"/>
                  <a:gd name="T24" fmla="*/ 126 w 232"/>
                  <a:gd name="T25" fmla="*/ 73 h 148"/>
                  <a:gd name="T26" fmla="*/ 5 w 232"/>
                  <a:gd name="T27" fmla="*/ 2 h 148"/>
                  <a:gd name="T28" fmla="*/ 0 w 232"/>
                  <a:gd name="T29" fmla="*/ 5 h 148"/>
                  <a:gd name="T30" fmla="*/ 5 w 232"/>
                  <a:gd name="T31" fmla="*/ 15 h 148"/>
                  <a:gd name="T32" fmla="*/ 126 w 232"/>
                  <a:gd name="T33" fmla="*/ 86 h 148"/>
                  <a:gd name="T34" fmla="*/ 153 w 232"/>
                  <a:gd name="T35" fmla="*/ 89 h 148"/>
                  <a:gd name="T36" fmla="*/ 162 w 232"/>
                  <a:gd name="T37" fmla="*/ 84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2" h="148">
                    <a:moveTo>
                      <a:pt x="162" y="84"/>
                    </a:moveTo>
                    <a:cubicBezTo>
                      <a:pt x="167" y="81"/>
                      <a:pt x="173" y="82"/>
                      <a:pt x="180" y="86"/>
                    </a:cubicBezTo>
                    <a:cubicBezTo>
                      <a:pt x="210" y="104"/>
                      <a:pt x="210" y="104"/>
                      <a:pt x="210" y="104"/>
                    </a:cubicBezTo>
                    <a:cubicBezTo>
                      <a:pt x="216" y="107"/>
                      <a:pt x="221" y="115"/>
                      <a:pt x="221" y="122"/>
                    </a:cubicBezTo>
                    <a:cubicBezTo>
                      <a:pt x="220" y="137"/>
                      <a:pt x="220" y="137"/>
                      <a:pt x="220" y="137"/>
                    </a:cubicBezTo>
                    <a:cubicBezTo>
                      <a:pt x="220" y="140"/>
                      <a:pt x="223" y="145"/>
                      <a:pt x="226" y="147"/>
                    </a:cubicBezTo>
                    <a:cubicBezTo>
                      <a:pt x="229" y="148"/>
                      <a:pt x="232" y="147"/>
                      <a:pt x="232" y="143"/>
                    </a:cubicBezTo>
                    <a:cubicBezTo>
                      <a:pt x="232" y="128"/>
                      <a:pt x="232" y="128"/>
                      <a:pt x="232" y="128"/>
                    </a:cubicBezTo>
                    <a:cubicBezTo>
                      <a:pt x="232" y="115"/>
                      <a:pt x="222" y="98"/>
                      <a:pt x="210" y="91"/>
                    </a:cubicBezTo>
                    <a:cubicBezTo>
                      <a:pt x="180" y="73"/>
                      <a:pt x="180" y="73"/>
                      <a:pt x="180" y="73"/>
                    </a:cubicBezTo>
                    <a:cubicBezTo>
                      <a:pt x="170" y="67"/>
                      <a:pt x="161" y="66"/>
                      <a:pt x="154" y="70"/>
                    </a:cubicBezTo>
                    <a:cubicBezTo>
                      <a:pt x="145" y="75"/>
                      <a:pt x="145" y="75"/>
                      <a:pt x="145" y="75"/>
                    </a:cubicBezTo>
                    <a:cubicBezTo>
                      <a:pt x="140" y="78"/>
                      <a:pt x="133" y="77"/>
                      <a:pt x="126" y="73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2" y="0"/>
                      <a:pt x="0" y="2"/>
                      <a:pt x="0" y="5"/>
                    </a:cubicBezTo>
                    <a:cubicBezTo>
                      <a:pt x="0" y="9"/>
                      <a:pt x="2" y="13"/>
                      <a:pt x="5" y="15"/>
                    </a:cubicBezTo>
                    <a:cubicBezTo>
                      <a:pt x="126" y="86"/>
                      <a:pt x="126" y="86"/>
                      <a:pt x="126" y="86"/>
                    </a:cubicBezTo>
                    <a:cubicBezTo>
                      <a:pt x="136" y="92"/>
                      <a:pt x="146" y="93"/>
                      <a:pt x="153" y="89"/>
                    </a:cubicBezTo>
                    <a:lnTo>
                      <a:pt x="162" y="84"/>
                    </a:lnTo>
                    <a:close/>
                  </a:path>
                </a:pathLst>
              </a:custGeom>
              <a:solidFill>
                <a:srgbClr val="5793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1100" b="1"/>
              </a:p>
            </p:txBody>
          </p:sp>
          <p:sp>
            <p:nvSpPr>
              <p:cNvPr id="96" name="íṥḷîḑê">
                <a:extLst>
                  <a:ext uri="{FF2B5EF4-FFF2-40B4-BE49-F238E27FC236}">
                    <a16:creationId xmlns:a16="http://schemas.microsoft.com/office/drawing/2014/main" id="{50B5E0B3-7DBA-45C0-9DF0-0AD633939634}"/>
                  </a:ext>
                </a:extLst>
              </p:cNvPr>
              <p:cNvSpPr/>
              <p:nvPr/>
            </p:nvSpPr>
            <p:spPr bwMode="auto">
              <a:xfrm>
                <a:off x="5867400" y="4827588"/>
                <a:ext cx="3175" cy="65088"/>
              </a:xfrm>
              <a:custGeom>
                <a:avLst/>
                <a:gdLst>
                  <a:gd name="T0" fmla="*/ 1 w 1"/>
                  <a:gd name="T1" fmla="*/ 4 h 20"/>
                  <a:gd name="T2" fmla="*/ 1 w 1"/>
                  <a:gd name="T3" fmla="*/ 19 h 20"/>
                  <a:gd name="T4" fmla="*/ 1 w 1"/>
                  <a:gd name="T5" fmla="*/ 20 h 20"/>
                  <a:gd name="T6" fmla="*/ 0 w 1"/>
                  <a:gd name="T7" fmla="*/ 17 h 20"/>
                  <a:gd name="T8" fmla="*/ 1 w 1"/>
                  <a:gd name="T9" fmla="*/ 2 h 20"/>
                  <a:gd name="T10" fmla="*/ 0 w 1"/>
                  <a:gd name="T11" fmla="*/ 0 h 20"/>
                  <a:gd name="T12" fmla="*/ 1 w 1"/>
                  <a:gd name="T13" fmla="*/ 4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" h="20">
                    <a:moveTo>
                      <a:pt x="1" y="4"/>
                    </a:moveTo>
                    <a:cubicBezTo>
                      <a:pt x="1" y="19"/>
                      <a:pt x="1" y="19"/>
                      <a:pt x="1" y="19"/>
                    </a:cubicBezTo>
                    <a:cubicBezTo>
                      <a:pt x="1" y="19"/>
                      <a:pt x="1" y="19"/>
                      <a:pt x="1" y="20"/>
                    </a:cubicBezTo>
                    <a:cubicBezTo>
                      <a:pt x="1" y="19"/>
                      <a:pt x="0" y="18"/>
                      <a:pt x="0" y="17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1"/>
                      <a:pt x="0" y="1"/>
                      <a:pt x="0" y="0"/>
                    </a:cubicBezTo>
                    <a:cubicBezTo>
                      <a:pt x="1" y="2"/>
                      <a:pt x="1" y="3"/>
                      <a:pt x="1" y="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97" name="ïṧḻîḓe">
                <a:extLst>
                  <a:ext uri="{FF2B5EF4-FFF2-40B4-BE49-F238E27FC236}">
                    <a16:creationId xmlns:a16="http://schemas.microsoft.com/office/drawing/2014/main" id="{53113474-8EA6-4EF5-BBB2-4A0543263633}"/>
                  </a:ext>
                </a:extLst>
              </p:cNvPr>
              <p:cNvSpPr/>
              <p:nvPr/>
            </p:nvSpPr>
            <p:spPr bwMode="auto">
              <a:xfrm>
                <a:off x="6315075" y="2317750"/>
                <a:ext cx="1743075" cy="1006475"/>
              </a:xfrm>
              <a:custGeom>
                <a:avLst/>
                <a:gdLst>
                  <a:gd name="T0" fmla="*/ 0 w 1098"/>
                  <a:gd name="T1" fmla="*/ 239 h 634"/>
                  <a:gd name="T2" fmla="*/ 686 w 1098"/>
                  <a:gd name="T3" fmla="*/ 634 h 634"/>
                  <a:gd name="T4" fmla="*/ 1098 w 1098"/>
                  <a:gd name="T5" fmla="*/ 397 h 634"/>
                  <a:gd name="T6" fmla="*/ 414 w 1098"/>
                  <a:gd name="T7" fmla="*/ 0 h 634"/>
                  <a:gd name="T8" fmla="*/ 0 w 1098"/>
                  <a:gd name="T9" fmla="*/ 239 h 6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98" h="634">
                    <a:moveTo>
                      <a:pt x="0" y="239"/>
                    </a:moveTo>
                    <a:lnTo>
                      <a:pt x="686" y="634"/>
                    </a:lnTo>
                    <a:lnTo>
                      <a:pt x="1098" y="397"/>
                    </a:lnTo>
                    <a:lnTo>
                      <a:pt x="414" y="0"/>
                    </a:lnTo>
                    <a:lnTo>
                      <a:pt x="0" y="239"/>
                    </a:lnTo>
                    <a:close/>
                  </a:path>
                </a:pathLst>
              </a:custGeom>
              <a:solidFill>
                <a:srgbClr val="173D7A">
                  <a:alpha val="30000"/>
                </a:srgb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 sz="2000" b="1"/>
              </a:p>
            </p:txBody>
          </p:sp>
          <p:sp>
            <p:nvSpPr>
              <p:cNvPr id="98" name="îsḻíḋê">
                <a:extLst>
                  <a:ext uri="{FF2B5EF4-FFF2-40B4-BE49-F238E27FC236}">
                    <a16:creationId xmlns:a16="http://schemas.microsoft.com/office/drawing/2014/main" id="{C3CC2AFD-DE58-486B-BEDD-4A16A190A405}"/>
                  </a:ext>
                </a:extLst>
              </p:cNvPr>
              <p:cNvSpPr/>
              <p:nvPr/>
            </p:nvSpPr>
            <p:spPr bwMode="auto">
              <a:xfrm>
                <a:off x="7467600" y="1444625"/>
                <a:ext cx="1547813" cy="889000"/>
              </a:xfrm>
              <a:custGeom>
                <a:avLst/>
                <a:gdLst>
                  <a:gd name="T0" fmla="*/ 277 w 469"/>
                  <a:gd name="T1" fmla="*/ 270 h 270"/>
                  <a:gd name="T2" fmla="*/ 234 w 469"/>
                  <a:gd name="T3" fmla="*/ 245 h 270"/>
                  <a:gd name="T4" fmla="*/ 394 w 469"/>
                  <a:gd name="T5" fmla="*/ 153 h 270"/>
                  <a:gd name="T6" fmla="*/ 394 w 469"/>
                  <a:gd name="T7" fmla="*/ 137 h 270"/>
                  <a:gd name="T8" fmla="*/ 230 w 469"/>
                  <a:gd name="T9" fmla="*/ 43 h 270"/>
                  <a:gd name="T10" fmla="*/ 203 w 469"/>
                  <a:gd name="T11" fmla="*/ 43 h 270"/>
                  <a:gd name="T12" fmla="*/ 43 w 469"/>
                  <a:gd name="T13" fmla="*/ 135 h 270"/>
                  <a:gd name="T14" fmla="*/ 0 w 469"/>
                  <a:gd name="T15" fmla="*/ 110 h 270"/>
                  <a:gd name="T16" fmla="*/ 160 w 469"/>
                  <a:gd name="T17" fmla="*/ 18 h 270"/>
                  <a:gd name="T18" fmla="*/ 274 w 469"/>
                  <a:gd name="T19" fmla="*/ 18 h 270"/>
                  <a:gd name="T20" fmla="*/ 437 w 469"/>
                  <a:gd name="T21" fmla="*/ 112 h 270"/>
                  <a:gd name="T22" fmla="*/ 437 w 469"/>
                  <a:gd name="T23" fmla="*/ 178 h 270"/>
                  <a:gd name="T24" fmla="*/ 277 w 469"/>
                  <a:gd name="T25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69" h="270">
                    <a:moveTo>
                      <a:pt x="277" y="270"/>
                    </a:moveTo>
                    <a:cubicBezTo>
                      <a:pt x="234" y="245"/>
                      <a:pt x="234" y="245"/>
                      <a:pt x="234" y="245"/>
                    </a:cubicBezTo>
                    <a:cubicBezTo>
                      <a:pt x="394" y="153"/>
                      <a:pt x="394" y="153"/>
                      <a:pt x="394" y="153"/>
                    </a:cubicBezTo>
                    <a:cubicBezTo>
                      <a:pt x="401" y="149"/>
                      <a:pt x="401" y="141"/>
                      <a:pt x="394" y="137"/>
                    </a:cubicBezTo>
                    <a:cubicBezTo>
                      <a:pt x="230" y="43"/>
                      <a:pt x="230" y="43"/>
                      <a:pt x="230" y="43"/>
                    </a:cubicBezTo>
                    <a:cubicBezTo>
                      <a:pt x="223" y="38"/>
                      <a:pt x="211" y="38"/>
                      <a:pt x="203" y="43"/>
                    </a:cubicBezTo>
                    <a:cubicBezTo>
                      <a:pt x="43" y="135"/>
                      <a:pt x="43" y="135"/>
                      <a:pt x="43" y="135"/>
                    </a:cubicBezTo>
                    <a:cubicBezTo>
                      <a:pt x="0" y="110"/>
                      <a:pt x="0" y="110"/>
                      <a:pt x="0" y="110"/>
                    </a:cubicBezTo>
                    <a:cubicBezTo>
                      <a:pt x="160" y="18"/>
                      <a:pt x="160" y="18"/>
                      <a:pt x="160" y="18"/>
                    </a:cubicBezTo>
                    <a:cubicBezTo>
                      <a:pt x="191" y="0"/>
                      <a:pt x="242" y="0"/>
                      <a:pt x="274" y="18"/>
                    </a:cubicBezTo>
                    <a:cubicBezTo>
                      <a:pt x="437" y="112"/>
                      <a:pt x="437" y="112"/>
                      <a:pt x="437" y="112"/>
                    </a:cubicBezTo>
                    <a:cubicBezTo>
                      <a:pt x="469" y="130"/>
                      <a:pt x="469" y="160"/>
                      <a:pt x="437" y="178"/>
                    </a:cubicBezTo>
                    <a:lnTo>
                      <a:pt x="277" y="270"/>
                    </a:lnTo>
                    <a:close/>
                  </a:path>
                </a:pathLst>
              </a:custGeom>
              <a:solidFill>
                <a:srgbClr val="FF2C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 sz="2000" b="1"/>
              </a:p>
            </p:txBody>
          </p:sp>
          <p:sp>
            <p:nvSpPr>
              <p:cNvPr id="99" name="íŝľíďè">
                <a:extLst>
                  <a:ext uri="{FF2B5EF4-FFF2-40B4-BE49-F238E27FC236}">
                    <a16:creationId xmlns:a16="http://schemas.microsoft.com/office/drawing/2014/main" id="{C07922F3-BAB0-4E0C-8E36-1C8ECF707E3F}"/>
                  </a:ext>
                </a:extLst>
              </p:cNvPr>
              <p:cNvSpPr/>
              <p:nvPr/>
            </p:nvSpPr>
            <p:spPr bwMode="auto">
              <a:xfrm>
                <a:off x="6342063" y="1604963"/>
                <a:ext cx="2270125" cy="1504950"/>
              </a:xfrm>
              <a:custGeom>
                <a:avLst/>
                <a:gdLst>
                  <a:gd name="T0" fmla="*/ 688 w 688"/>
                  <a:gd name="T1" fmla="*/ 232 h 456"/>
                  <a:gd name="T2" fmla="*/ 657 w 688"/>
                  <a:gd name="T3" fmla="*/ 172 h 456"/>
                  <a:gd name="T4" fmla="*/ 367 w 688"/>
                  <a:gd name="T5" fmla="*/ 5 h 456"/>
                  <a:gd name="T6" fmla="*/ 346 w 688"/>
                  <a:gd name="T7" fmla="*/ 3 h 456"/>
                  <a:gd name="T8" fmla="*/ 346 w 688"/>
                  <a:gd name="T9" fmla="*/ 3 h 456"/>
                  <a:gd name="T10" fmla="*/ 0 w 688"/>
                  <a:gd name="T11" fmla="*/ 204 h 456"/>
                  <a:gd name="T12" fmla="*/ 335 w 688"/>
                  <a:gd name="T13" fmla="*/ 456 h 456"/>
                  <a:gd name="T14" fmla="*/ 676 w 688"/>
                  <a:gd name="T15" fmla="*/ 259 h 456"/>
                  <a:gd name="T16" fmla="*/ 679 w 688"/>
                  <a:gd name="T17" fmla="*/ 257 h 456"/>
                  <a:gd name="T18" fmla="*/ 679 w 688"/>
                  <a:gd name="T19" fmla="*/ 257 h 456"/>
                  <a:gd name="T20" fmla="*/ 679 w 688"/>
                  <a:gd name="T21" fmla="*/ 257 h 456"/>
                  <a:gd name="T22" fmla="*/ 688 w 688"/>
                  <a:gd name="T23" fmla="*/ 232 h 4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8" h="456">
                    <a:moveTo>
                      <a:pt x="688" y="232"/>
                    </a:moveTo>
                    <a:cubicBezTo>
                      <a:pt x="688" y="209"/>
                      <a:pt x="674" y="182"/>
                      <a:pt x="657" y="172"/>
                    </a:cubicBezTo>
                    <a:cubicBezTo>
                      <a:pt x="367" y="5"/>
                      <a:pt x="367" y="5"/>
                      <a:pt x="367" y="5"/>
                    </a:cubicBezTo>
                    <a:cubicBezTo>
                      <a:pt x="359" y="0"/>
                      <a:pt x="352" y="0"/>
                      <a:pt x="346" y="3"/>
                    </a:cubicBezTo>
                    <a:cubicBezTo>
                      <a:pt x="346" y="3"/>
                      <a:pt x="346" y="3"/>
                      <a:pt x="346" y="3"/>
                    </a:cubicBezTo>
                    <a:cubicBezTo>
                      <a:pt x="0" y="204"/>
                      <a:pt x="0" y="204"/>
                      <a:pt x="0" y="204"/>
                    </a:cubicBezTo>
                    <a:cubicBezTo>
                      <a:pt x="335" y="456"/>
                      <a:pt x="335" y="456"/>
                      <a:pt x="335" y="456"/>
                    </a:cubicBezTo>
                    <a:cubicBezTo>
                      <a:pt x="676" y="259"/>
                      <a:pt x="676" y="259"/>
                      <a:pt x="676" y="259"/>
                    </a:cubicBezTo>
                    <a:cubicBezTo>
                      <a:pt x="677" y="258"/>
                      <a:pt x="678" y="258"/>
                      <a:pt x="679" y="257"/>
                    </a:cubicBezTo>
                    <a:cubicBezTo>
                      <a:pt x="679" y="257"/>
                      <a:pt x="679" y="257"/>
                      <a:pt x="679" y="257"/>
                    </a:cubicBezTo>
                    <a:cubicBezTo>
                      <a:pt x="679" y="257"/>
                      <a:pt x="679" y="257"/>
                      <a:pt x="679" y="257"/>
                    </a:cubicBezTo>
                    <a:cubicBezTo>
                      <a:pt x="685" y="252"/>
                      <a:pt x="688" y="244"/>
                      <a:pt x="688" y="232"/>
                    </a:cubicBezTo>
                    <a:close/>
                  </a:path>
                </a:pathLst>
              </a:custGeom>
              <a:solidFill>
                <a:srgbClr val="D4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 sz="2000" b="1"/>
              </a:p>
            </p:txBody>
          </p:sp>
          <p:sp>
            <p:nvSpPr>
              <p:cNvPr id="100" name="îśľiďè">
                <a:extLst>
                  <a:ext uri="{FF2B5EF4-FFF2-40B4-BE49-F238E27FC236}">
                    <a16:creationId xmlns:a16="http://schemas.microsoft.com/office/drawing/2014/main" id="{F22E9865-707A-4F03-8BE0-9BF764632641}"/>
                  </a:ext>
                </a:extLst>
              </p:cNvPr>
              <p:cNvSpPr/>
              <p:nvPr/>
            </p:nvSpPr>
            <p:spPr bwMode="auto">
              <a:xfrm>
                <a:off x="7302500" y="2262188"/>
                <a:ext cx="1309688" cy="847725"/>
              </a:xfrm>
              <a:custGeom>
                <a:avLst/>
                <a:gdLst>
                  <a:gd name="T0" fmla="*/ 44 w 397"/>
                  <a:gd name="T1" fmla="*/ 257 h 257"/>
                  <a:gd name="T2" fmla="*/ 385 w 397"/>
                  <a:gd name="T3" fmla="*/ 60 h 257"/>
                  <a:gd name="T4" fmla="*/ 388 w 397"/>
                  <a:gd name="T5" fmla="*/ 58 h 257"/>
                  <a:gd name="T6" fmla="*/ 388 w 397"/>
                  <a:gd name="T7" fmla="*/ 58 h 257"/>
                  <a:gd name="T8" fmla="*/ 388 w 397"/>
                  <a:gd name="T9" fmla="*/ 58 h 257"/>
                  <a:gd name="T10" fmla="*/ 397 w 397"/>
                  <a:gd name="T11" fmla="*/ 33 h 257"/>
                  <a:gd name="T12" fmla="*/ 389 w 397"/>
                  <a:gd name="T13" fmla="*/ 0 h 257"/>
                  <a:gd name="T14" fmla="*/ 0 w 397"/>
                  <a:gd name="T15" fmla="*/ 224 h 257"/>
                  <a:gd name="T16" fmla="*/ 44 w 397"/>
                  <a:gd name="T17" fmla="*/ 257 h 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97" h="257">
                    <a:moveTo>
                      <a:pt x="44" y="257"/>
                    </a:moveTo>
                    <a:cubicBezTo>
                      <a:pt x="385" y="60"/>
                      <a:pt x="385" y="60"/>
                      <a:pt x="385" y="60"/>
                    </a:cubicBezTo>
                    <a:cubicBezTo>
                      <a:pt x="386" y="59"/>
                      <a:pt x="387" y="59"/>
                      <a:pt x="388" y="58"/>
                    </a:cubicBezTo>
                    <a:cubicBezTo>
                      <a:pt x="388" y="58"/>
                      <a:pt x="388" y="58"/>
                      <a:pt x="388" y="58"/>
                    </a:cubicBezTo>
                    <a:cubicBezTo>
                      <a:pt x="388" y="58"/>
                      <a:pt x="388" y="58"/>
                      <a:pt x="388" y="58"/>
                    </a:cubicBezTo>
                    <a:cubicBezTo>
                      <a:pt x="394" y="53"/>
                      <a:pt x="397" y="45"/>
                      <a:pt x="397" y="33"/>
                    </a:cubicBezTo>
                    <a:cubicBezTo>
                      <a:pt x="397" y="22"/>
                      <a:pt x="394" y="10"/>
                      <a:pt x="389" y="0"/>
                    </a:cubicBezTo>
                    <a:cubicBezTo>
                      <a:pt x="0" y="224"/>
                      <a:pt x="0" y="224"/>
                      <a:pt x="0" y="224"/>
                    </a:cubicBezTo>
                    <a:lnTo>
                      <a:pt x="44" y="257"/>
                    </a:lnTo>
                    <a:close/>
                  </a:path>
                </a:pathLst>
              </a:custGeom>
              <a:solidFill>
                <a:srgbClr val="396C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2000" b="1"/>
              </a:p>
            </p:txBody>
          </p:sp>
          <p:sp>
            <p:nvSpPr>
              <p:cNvPr id="101" name="íṩlidè">
                <a:extLst>
                  <a:ext uri="{FF2B5EF4-FFF2-40B4-BE49-F238E27FC236}">
                    <a16:creationId xmlns:a16="http://schemas.microsoft.com/office/drawing/2014/main" id="{BD189CAC-9DE1-475B-91AE-58A231821707}"/>
                  </a:ext>
                </a:extLst>
              </p:cNvPr>
              <p:cNvSpPr/>
              <p:nvPr/>
            </p:nvSpPr>
            <p:spPr bwMode="auto">
              <a:xfrm>
                <a:off x="6315075" y="2244725"/>
                <a:ext cx="1165225" cy="896938"/>
              </a:xfrm>
              <a:custGeom>
                <a:avLst/>
                <a:gdLst>
                  <a:gd name="T0" fmla="*/ 321 w 353"/>
                  <a:gd name="T1" fmla="*/ 262 h 272"/>
                  <a:gd name="T2" fmla="*/ 31 w 353"/>
                  <a:gd name="T3" fmla="*/ 94 h 272"/>
                  <a:gd name="T4" fmla="*/ 0 w 353"/>
                  <a:gd name="T5" fmla="*/ 34 h 272"/>
                  <a:gd name="T6" fmla="*/ 0 w 353"/>
                  <a:gd name="T7" fmla="*/ 34 h 272"/>
                  <a:gd name="T8" fmla="*/ 31 w 353"/>
                  <a:gd name="T9" fmla="*/ 10 h 272"/>
                  <a:gd name="T10" fmla="*/ 321 w 353"/>
                  <a:gd name="T11" fmla="*/ 178 h 272"/>
                  <a:gd name="T12" fmla="*/ 353 w 353"/>
                  <a:gd name="T13" fmla="*/ 238 h 272"/>
                  <a:gd name="T14" fmla="*/ 353 w 353"/>
                  <a:gd name="T15" fmla="*/ 238 h 272"/>
                  <a:gd name="T16" fmla="*/ 321 w 353"/>
                  <a:gd name="T17" fmla="*/ 262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53" h="272">
                    <a:moveTo>
                      <a:pt x="321" y="262"/>
                    </a:moveTo>
                    <a:cubicBezTo>
                      <a:pt x="31" y="94"/>
                      <a:pt x="31" y="94"/>
                      <a:pt x="31" y="94"/>
                    </a:cubicBezTo>
                    <a:cubicBezTo>
                      <a:pt x="14" y="84"/>
                      <a:pt x="0" y="57"/>
                      <a:pt x="0" y="34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0" y="11"/>
                      <a:pt x="14" y="0"/>
                      <a:pt x="31" y="10"/>
                    </a:cubicBezTo>
                    <a:cubicBezTo>
                      <a:pt x="321" y="178"/>
                      <a:pt x="321" y="178"/>
                      <a:pt x="321" y="178"/>
                    </a:cubicBezTo>
                    <a:cubicBezTo>
                      <a:pt x="339" y="188"/>
                      <a:pt x="353" y="215"/>
                      <a:pt x="353" y="238"/>
                    </a:cubicBezTo>
                    <a:cubicBezTo>
                      <a:pt x="353" y="238"/>
                      <a:pt x="353" y="238"/>
                      <a:pt x="353" y="238"/>
                    </a:cubicBezTo>
                    <a:cubicBezTo>
                      <a:pt x="353" y="261"/>
                      <a:pt x="339" y="272"/>
                      <a:pt x="321" y="262"/>
                    </a:cubicBezTo>
                    <a:close/>
                  </a:path>
                </a:pathLst>
              </a:custGeom>
              <a:solidFill>
                <a:srgbClr val="5793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 sz="2000" b="1"/>
              </a:p>
            </p:txBody>
          </p:sp>
          <p:sp>
            <p:nvSpPr>
              <p:cNvPr id="102" name="isľïďe">
                <a:extLst>
                  <a:ext uri="{FF2B5EF4-FFF2-40B4-BE49-F238E27FC236}">
                    <a16:creationId xmlns:a16="http://schemas.microsoft.com/office/drawing/2014/main" id="{5E49119C-DD2A-4533-9E85-1C53E638D0B0}"/>
                  </a:ext>
                </a:extLst>
              </p:cNvPr>
              <p:cNvSpPr/>
              <p:nvPr/>
            </p:nvSpPr>
            <p:spPr bwMode="auto">
              <a:xfrm>
                <a:off x="6361113" y="2259013"/>
                <a:ext cx="1128713" cy="854075"/>
              </a:xfrm>
              <a:custGeom>
                <a:avLst/>
                <a:gdLst>
                  <a:gd name="T0" fmla="*/ 311 w 342"/>
                  <a:gd name="T1" fmla="*/ 172 h 259"/>
                  <a:gd name="T2" fmla="*/ 21 w 342"/>
                  <a:gd name="T3" fmla="*/ 5 h 259"/>
                  <a:gd name="T4" fmla="*/ 0 w 342"/>
                  <a:gd name="T5" fmla="*/ 3 h 259"/>
                  <a:gd name="T6" fmla="*/ 17 w 342"/>
                  <a:gd name="T7" fmla="*/ 6 h 259"/>
                  <a:gd name="T8" fmla="*/ 307 w 342"/>
                  <a:gd name="T9" fmla="*/ 174 h 259"/>
                  <a:gd name="T10" fmla="*/ 339 w 342"/>
                  <a:gd name="T11" fmla="*/ 234 h 259"/>
                  <a:gd name="T12" fmla="*/ 339 w 342"/>
                  <a:gd name="T13" fmla="*/ 234 h 259"/>
                  <a:gd name="T14" fmla="*/ 328 w 342"/>
                  <a:gd name="T15" fmla="*/ 259 h 259"/>
                  <a:gd name="T16" fmla="*/ 342 w 342"/>
                  <a:gd name="T17" fmla="*/ 232 h 259"/>
                  <a:gd name="T18" fmla="*/ 342 w 342"/>
                  <a:gd name="T19" fmla="*/ 232 h 259"/>
                  <a:gd name="T20" fmla="*/ 311 w 342"/>
                  <a:gd name="T21" fmla="*/ 172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42" h="259">
                    <a:moveTo>
                      <a:pt x="311" y="172"/>
                    </a:moveTo>
                    <a:cubicBezTo>
                      <a:pt x="21" y="5"/>
                      <a:pt x="21" y="5"/>
                      <a:pt x="21" y="5"/>
                    </a:cubicBezTo>
                    <a:cubicBezTo>
                      <a:pt x="13" y="0"/>
                      <a:pt x="5" y="0"/>
                      <a:pt x="0" y="3"/>
                    </a:cubicBezTo>
                    <a:cubicBezTo>
                      <a:pt x="5" y="2"/>
                      <a:pt x="11" y="2"/>
                      <a:pt x="17" y="6"/>
                    </a:cubicBezTo>
                    <a:cubicBezTo>
                      <a:pt x="307" y="174"/>
                      <a:pt x="307" y="174"/>
                      <a:pt x="307" y="174"/>
                    </a:cubicBezTo>
                    <a:cubicBezTo>
                      <a:pt x="325" y="184"/>
                      <a:pt x="339" y="211"/>
                      <a:pt x="339" y="234"/>
                    </a:cubicBezTo>
                    <a:cubicBezTo>
                      <a:pt x="339" y="234"/>
                      <a:pt x="339" y="234"/>
                      <a:pt x="339" y="234"/>
                    </a:cubicBezTo>
                    <a:cubicBezTo>
                      <a:pt x="339" y="246"/>
                      <a:pt x="335" y="255"/>
                      <a:pt x="328" y="259"/>
                    </a:cubicBezTo>
                    <a:cubicBezTo>
                      <a:pt x="337" y="256"/>
                      <a:pt x="342" y="247"/>
                      <a:pt x="342" y="232"/>
                    </a:cubicBezTo>
                    <a:cubicBezTo>
                      <a:pt x="342" y="232"/>
                      <a:pt x="342" y="232"/>
                      <a:pt x="342" y="232"/>
                    </a:cubicBezTo>
                    <a:cubicBezTo>
                      <a:pt x="342" y="209"/>
                      <a:pt x="328" y="182"/>
                      <a:pt x="311" y="17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2000" b="1"/>
              </a:p>
            </p:txBody>
          </p:sp>
          <p:sp>
            <p:nvSpPr>
              <p:cNvPr id="103" name="íṣlíḓé">
                <a:extLst>
                  <a:ext uri="{FF2B5EF4-FFF2-40B4-BE49-F238E27FC236}">
                    <a16:creationId xmlns:a16="http://schemas.microsoft.com/office/drawing/2014/main" id="{C531956A-59B5-4B99-8E92-1E40BC92EF61}"/>
                  </a:ext>
                </a:extLst>
              </p:cNvPr>
              <p:cNvSpPr/>
              <p:nvPr/>
            </p:nvSpPr>
            <p:spPr bwMode="auto">
              <a:xfrm>
                <a:off x="7097713" y="2792413"/>
                <a:ext cx="155575" cy="134938"/>
              </a:xfrm>
              <a:custGeom>
                <a:avLst/>
                <a:gdLst>
                  <a:gd name="T0" fmla="*/ 41 w 47"/>
                  <a:gd name="T1" fmla="*/ 39 h 41"/>
                  <a:gd name="T2" fmla="*/ 6 w 47"/>
                  <a:gd name="T3" fmla="*/ 19 h 41"/>
                  <a:gd name="T4" fmla="*/ 0 w 47"/>
                  <a:gd name="T5" fmla="*/ 7 h 41"/>
                  <a:gd name="T6" fmla="*/ 0 w 47"/>
                  <a:gd name="T7" fmla="*/ 7 h 41"/>
                  <a:gd name="T8" fmla="*/ 6 w 47"/>
                  <a:gd name="T9" fmla="*/ 2 h 41"/>
                  <a:gd name="T10" fmla="*/ 41 w 47"/>
                  <a:gd name="T11" fmla="*/ 22 h 41"/>
                  <a:gd name="T12" fmla="*/ 47 w 47"/>
                  <a:gd name="T13" fmla="*/ 34 h 41"/>
                  <a:gd name="T14" fmla="*/ 47 w 47"/>
                  <a:gd name="T15" fmla="*/ 34 h 41"/>
                  <a:gd name="T16" fmla="*/ 41 w 47"/>
                  <a:gd name="T17" fmla="*/ 39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7" h="41">
                    <a:moveTo>
                      <a:pt x="41" y="39"/>
                    </a:moveTo>
                    <a:cubicBezTo>
                      <a:pt x="6" y="19"/>
                      <a:pt x="6" y="19"/>
                      <a:pt x="6" y="19"/>
                    </a:cubicBezTo>
                    <a:cubicBezTo>
                      <a:pt x="2" y="17"/>
                      <a:pt x="0" y="12"/>
                      <a:pt x="0" y="7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2"/>
                      <a:pt x="2" y="0"/>
                      <a:pt x="6" y="2"/>
                    </a:cubicBezTo>
                    <a:cubicBezTo>
                      <a:pt x="41" y="22"/>
                      <a:pt x="41" y="22"/>
                      <a:pt x="41" y="22"/>
                    </a:cubicBezTo>
                    <a:cubicBezTo>
                      <a:pt x="44" y="24"/>
                      <a:pt x="47" y="30"/>
                      <a:pt x="47" y="34"/>
                    </a:cubicBezTo>
                    <a:cubicBezTo>
                      <a:pt x="47" y="34"/>
                      <a:pt x="47" y="34"/>
                      <a:pt x="47" y="34"/>
                    </a:cubicBezTo>
                    <a:cubicBezTo>
                      <a:pt x="47" y="39"/>
                      <a:pt x="44" y="41"/>
                      <a:pt x="41" y="3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104" name="îŝ1ïḍe">
                <a:extLst>
                  <a:ext uri="{FF2B5EF4-FFF2-40B4-BE49-F238E27FC236}">
                    <a16:creationId xmlns:a16="http://schemas.microsoft.com/office/drawing/2014/main" id="{7B3119E8-2456-4834-978D-686EFC1B7749}"/>
                  </a:ext>
                </a:extLst>
              </p:cNvPr>
              <p:cNvSpPr/>
              <p:nvPr/>
            </p:nvSpPr>
            <p:spPr bwMode="auto">
              <a:xfrm>
                <a:off x="7199313" y="2044700"/>
                <a:ext cx="198438" cy="114300"/>
              </a:xfrm>
              <a:custGeom>
                <a:avLst/>
                <a:gdLst>
                  <a:gd name="T0" fmla="*/ 49 w 60"/>
                  <a:gd name="T1" fmla="*/ 28 h 35"/>
                  <a:gd name="T2" fmla="*/ 49 w 60"/>
                  <a:gd name="T3" fmla="*/ 6 h 35"/>
                  <a:gd name="T4" fmla="*/ 11 w 60"/>
                  <a:gd name="T5" fmla="*/ 6 h 35"/>
                  <a:gd name="T6" fmla="*/ 11 w 60"/>
                  <a:gd name="T7" fmla="*/ 29 h 35"/>
                  <a:gd name="T8" fmla="*/ 49 w 60"/>
                  <a:gd name="T9" fmla="*/ 28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" h="35">
                    <a:moveTo>
                      <a:pt x="49" y="28"/>
                    </a:moveTo>
                    <a:cubicBezTo>
                      <a:pt x="60" y="22"/>
                      <a:pt x="60" y="12"/>
                      <a:pt x="49" y="6"/>
                    </a:cubicBezTo>
                    <a:cubicBezTo>
                      <a:pt x="38" y="0"/>
                      <a:pt x="21" y="0"/>
                      <a:pt x="11" y="6"/>
                    </a:cubicBezTo>
                    <a:cubicBezTo>
                      <a:pt x="0" y="13"/>
                      <a:pt x="0" y="23"/>
                      <a:pt x="11" y="29"/>
                    </a:cubicBezTo>
                    <a:cubicBezTo>
                      <a:pt x="21" y="35"/>
                      <a:pt x="39" y="34"/>
                      <a:pt x="49" y="28"/>
                    </a:cubicBezTo>
                    <a:close/>
                  </a:path>
                </a:pathLst>
              </a:custGeom>
              <a:solidFill>
                <a:srgbClr val="5793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105" name="işļiďè">
                <a:extLst>
                  <a:ext uri="{FF2B5EF4-FFF2-40B4-BE49-F238E27FC236}">
                    <a16:creationId xmlns:a16="http://schemas.microsoft.com/office/drawing/2014/main" id="{81CF13FD-E563-4E15-8CB1-98CB3A4B4473}"/>
                  </a:ext>
                </a:extLst>
              </p:cNvPr>
              <p:cNvSpPr/>
              <p:nvPr/>
            </p:nvSpPr>
            <p:spPr bwMode="auto">
              <a:xfrm>
                <a:off x="7391400" y="2152650"/>
                <a:ext cx="198438" cy="112713"/>
              </a:xfrm>
              <a:custGeom>
                <a:avLst/>
                <a:gdLst>
                  <a:gd name="T0" fmla="*/ 49 w 60"/>
                  <a:gd name="T1" fmla="*/ 28 h 34"/>
                  <a:gd name="T2" fmla="*/ 49 w 60"/>
                  <a:gd name="T3" fmla="*/ 6 h 34"/>
                  <a:gd name="T4" fmla="*/ 11 w 60"/>
                  <a:gd name="T5" fmla="*/ 6 h 34"/>
                  <a:gd name="T6" fmla="*/ 11 w 60"/>
                  <a:gd name="T7" fmla="*/ 28 h 34"/>
                  <a:gd name="T8" fmla="*/ 49 w 60"/>
                  <a:gd name="T9" fmla="*/ 2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" h="34">
                    <a:moveTo>
                      <a:pt x="49" y="28"/>
                    </a:moveTo>
                    <a:cubicBezTo>
                      <a:pt x="60" y="22"/>
                      <a:pt x="60" y="12"/>
                      <a:pt x="49" y="6"/>
                    </a:cubicBezTo>
                    <a:cubicBezTo>
                      <a:pt x="39" y="0"/>
                      <a:pt x="21" y="0"/>
                      <a:pt x="11" y="6"/>
                    </a:cubicBezTo>
                    <a:cubicBezTo>
                      <a:pt x="0" y="13"/>
                      <a:pt x="1" y="22"/>
                      <a:pt x="11" y="28"/>
                    </a:cubicBezTo>
                    <a:cubicBezTo>
                      <a:pt x="22" y="34"/>
                      <a:pt x="39" y="34"/>
                      <a:pt x="49" y="2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106" name="íşḷîḋè">
                <a:extLst>
                  <a:ext uri="{FF2B5EF4-FFF2-40B4-BE49-F238E27FC236}">
                    <a16:creationId xmlns:a16="http://schemas.microsoft.com/office/drawing/2014/main" id="{83707449-FC0A-45DB-ADA3-840B225E3E69}"/>
                  </a:ext>
                </a:extLst>
              </p:cNvPr>
              <p:cNvSpPr/>
              <p:nvPr/>
            </p:nvSpPr>
            <p:spPr bwMode="auto">
              <a:xfrm>
                <a:off x="7586663" y="2262188"/>
                <a:ext cx="193675" cy="111125"/>
              </a:xfrm>
              <a:custGeom>
                <a:avLst/>
                <a:gdLst>
                  <a:gd name="T0" fmla="*/ 49 w 59"/>
                  <a:gd name="T1" fmla="*/ 28 h 34"/>
                  <a:gd name="T2" fmla="*/ 49 w 59"/>
                  <a:gd name="T3" fmla="*/ 6 h 34"/>
                  <a:gd name="T4" fmla="*/ 10 w 59"/>
                  <a:gd name="T5" fmla="*/ 6 h 34"/>
                  <a:gd name="T6" fmla="*/ 11 w 59"/>
                  <a:gd name="T7" fmla="*/ 28 h 34"/>
                  <a:gd name="T8" fmla="*/ 49 w 59"/>
                  <a:gd name="T9" fmla="*/ 2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34">
                    <a:moveTo>
                      <a:pt x="49" y="28"/>
                    </a:moveTo>
                    <a:cubicBezTo>
                      <a:pt x="59" y="22"/>
                      <a:pt x="59" y="12"/>
                      <a:pt x="49" y="6"/>
                    </a:cubicBezTo>
                    <a:cubicBezTo>
                      <a:pt x="38" y="0"/>
                      <a:pt x="21" y="0"/>
                      <a:pt x="10" y="6"/>
                    </a:cubicBezTo>
                    <a:cubicBezTo>
                      <a:pt x="0" y="12"/>
                      <a:pt x="0" y="22"/>
                      <a:pt x="11" y="28"/>
                    </a:cubicBezTo>
                    <a:cubicBezTo>
                      <a:pt x="21" y="34"/>
                      <a:pt x="38" y="34"/>
                      <a:pt x="49" y="2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107" name="ïṣḻîḋe">
                <a:extLst>
                  <a:ext uri="{FF2B5EF4-FFF2-40B4-BE49-F238E27FC236}">
                    <a16:creationId xmlns:a16="http://schemas.microsoft.com/office/drawing/2014/main" id="{ABF9CFDE-A864-45FE-BAE1-D6A6DB872687}"/>
                  </a:ext>
                </a:extLst>
              </p:cNvPr>
              <p:cNvSpPr/>
              <p:nvPr/>
            </p:nvSpPr>
            <p:spPr bwMode="auto">
              <a:xfrm>
                <a:off x="5075238" y="3906838"/>
                <a:ext cx="196850" cy="280988"/>
              </a:xfrm>
              <a:custGeom>
                <a:avLst/>
                <a:gdLst>
                  <a:gd name="T0" fmla="*/ 47 w 60"/>
                  <a:gd name="T1" fmla="*/ 8 h 85"/>
                  <a:gd name="T2" fmla="*/ 23 w 60"/>
                  <a:gd name="T3" fmla="*/ 12 h 85"/>
                  <a:gd name="T4" fmla="*/ 0 w 60"/>
                  <a:gd name="T5" fmla="*/ 68 h 85"/>
                  <a:gd name="T6" fmla="*/ 23 w 60"/>
                  <a:gd name="T7" fmla="*/ 80 h 85"/>
                  <a:gd name="T8" fmla="*/ 59 w 60"/>
                  <a:gd name="T9" fmla="*/ 32 h 85"/>
                  <a:gd name="T10" fmla="*/ 55 w 60"/>
                  <a:gd name="T11" fmla="*/ 13 h 85"/>
                  <a:gd name="T12" fmla="*/ 47 w 60"/>
                  <a:gd name="T13" fmla="*/ 8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85">
                    <a:moveTo>
                      <a:pt x="47" y="8"/>
                    </a:moveTo>
                    <a:cubicBezTo>
                      <a:pt x="47" y="8"/>
                      <a:pt x="32" y="0"/>
                      <a:pt x="23" y="12"/>
                    </a:cubicBezTo>
                    <a:cubicBezTo>
                      <a:pt x="14" y="23"/>
                      <a:pt x="1" y="50"/>
                      <a:pt x="0" y="68"/>
                    </a:cubicBezTo>
                    <a:cubicBezTo>
                      <a:pt x="0" y="85"/>
                      <a:pt x="15" y="84"/>
                      <a:pt x="23" y="80"/>
                    </a:cubicBezTo>
                    <a:cubicBezTo>
                      <a:pt x="32" y="76"/>
                      <a:pt x="57" y="39"/>
                      <a:pt x="59" y="32"/>
                    </a:cubicBezTo>
                    <a:cubicBezTo>
                      <a:pt x="60" y="24"/>
                      <a:pt x="57" y="15"/>
                      <a:pt x="55" y="13"/>
                    </a:cubicBezTo>
                    <a:cubicBezTo>
                      <a:pt x="52" y="11"/>
                      <a:pt x="47" y="8"/>
                      <a:pt x="47" y="8"/>
                    </a:cubicBezTo>
                    <a:close/>
                  </a:path>
                </a:pathLst>
              </a:custGeom>
              <a:solidFill>
                <a:srgbClr val="FF2C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108" name="íṥḻíḋè">
                <a:extLst>
                  <a:ext uri="{FF2B5EF4-FFF2-40B4-BE49-F238E27FC236}">
                    <a16:creationId xmlns:a16="http://schemas.microsoft.com/office/drawing/2014/main" id="{D11A410E-45CF-4E15-8A14-780B4D37BD14}"/>
                  </a:ext>
                </a:extLst>
              </p:cNvPr>
              <p:cNvSpPr/>
              <p:nvPr/>
            </p:nvSpPr>
            <p:spPr bwMode="auto">
              <a:xfrm>
                <a:off x="5143500" y="3887788"/>
                <a:ext cx="100013" cy="122238"/>
              </a:xfrm>
              <a:custGeom>
                <a:avLst/>
                <a:gdLst>
                  <a:gd name="T0" fmla="*/ 30 w 30"/>
                  <a:gd name="T1" fmla="*/ 10 h 37"/>
                  <a:gd name="T2" fmla="*/ 30 w 30"/>
                  <a:gd name="T3" fmla="*/ 26 h 37"/>
                  <a:gd name="T4" fmla="*/ 26 w 30"/>
                  <a:gd name="T5" fmla="*/ 34 h 37"/>
                  <a:gd name="T6" fmla="*/ 14 w 30"/>
                  <a:gd name="T7" fmla="*/ 36 h 37"/>
                  <a:gd name="T8" fmla="*/ 1 w 30"/>
                  <a:gd name="T9" fmla="*/ 15 h 37"/>
                  <a:gd name="T10" fmla="*/ 30 w 30"/>
                  <a:gd name="T11" fmla="*/ 1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37">
                    <a:moveTo>
                      <a:pt x="30" y="10"/>
                    </a:moveTo>
                    <a:cubicBezTo>
                      <a:pt x="30" y="26"/>
                      <a:pt x="30" y="26"/>
                      <a:pt x="30" y="26"/>
                    </a:cubicBezTo>
                    <a:cubicBezTo>
                      <a:pt x="30" y="29"/>
                      <a:pt x="29" y="32"/>
                      <a:pt x="26" y="34"/>
                    </a:cubicBezTo>
                    <a:cubicBezTo>
                      <a:pt x="23" y="35"/>
                      <a:pt x="19" y="37"/>
                      <a:pt x="14" y="36"/>
                    </a:cubicBezTo>
                    <a:cubicBezTo>
                      <a:pt x="3" y="34"/>
                      <a:pt x="2" y="31"/>
                      <a:pt x="1" y="15"/>
                    </a:cubicBezTo>
                    <a:cubicBezTo>
                      <a:pt x="0" y="0"/>
                      <a:pt x="30" y="10"/>
                      <a:pt x="30" y="10"/>
                    </a:cubicBezTo>
                    <a:close/>
                  </a:path>
                </a:pathLst>
              </a:custGeom>
              <a:solidFill>
                <a:srgbClr val="D4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109" name="í$ļïḍè">
                <a:extLst>
                  <a:ext uri="{FF2B5EF4-FFF2-40B4-BE49-F238E27FC236}">
                    <a16:creationId xmlns:a16="http://schemas.microsoft.com/office/drawing/2014/main" id="{1B519B5D-C1A3-414B-AB87-720857D4D38F}"/>
                  </a:ext>
                </a:extLst>
              </p:cNvPr>
              <p:cNvSpPr/>
              <p:nvPr/>
            </p:nvSpPr>
            <p:spPr bwMode="auto">
              <a:xfrm>
                <a:off x="4892675" y="3811588"/>
                <a:ext cx="201613" cy="279400"/>
              </a:xfrm>
              <a:custGeom>
                <a:avLst/>
                <a:gdLst>
                  <a:gd name="T0" fmla="*/ 47 w 61"/>
                  <a:gd name="T1" fmla="*/ 7 h 85"/>
                  <a:gd name="T2" fmla="*/ 23 w 61"/>
                  <a:gd name="T3" fmla="*/ 11 h 85"/>
                  <a:gd name="T4" fmla="*/ 0 w 61"/>
                  <a:gd name="T5" fmla="*/ 67 h 85"/>
                  <a:gd name="T6" fmla="*/ 23 w 61"/>
                  <a:gd name="T7" fmla="*/ 79 h 85"/>
                  <a:gd name="T8" fmla="*/ 59 w 61"/>
                  <a:gd name="T9" fmla="*/ 31 h 85"/>
                  <a:gd name="T10" fmla="*/ 55 w 61"/>
                  <a:gd name="T11" fmla="*/ 12 h 85"/>
                  <a:gd name="T12" fmla="*/ 47 w 61"/>
                  <a:gd name="T13" fmla="*/ 7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" h="85">
                    <a:moveTo>
                      <a:pt x="47" y="7"/>
                    </a:moveTo>
                    <a:cubicBezTo>
                      <a:pt x="47" y="7"/>
                      <a:pt x="32" y="0"/>
                      <a:pt x="23" y="11"/>
                    </a:cubicBezTo>
                    <a:cubicBezTo>
                      <a:pt x="14" y="22"/>
                      <a:pt x="1" y="49"/>
                      <a:pt x="0" y="67"/>
                    </a:cubicBezTo>
                    <a:cubicBezTo>
                      <a:pt x="0" y="85"/>
                      <a:pt x="15" y="83"/>
                      <a:pt x="23" y="79"/>
                    </a:cubicBezTo>
                    <a:cubicBezTo>
                      <a:pt x="32" y="75"/>
                      <a:pt x="57" y="38"/>
                      <a:pt x="59" y="31"/>
                    </a:cubicBezTo>
                    <a:cubicBezTo>
                      <a:pt x="61" y="24"/>
                      <a:pt x="57" y="14"/>
                      <a:pt x="55" y="12"/>
                    </a:cubicBezTo>
                    <a:cubicBezTo>
                      <a:pt x="52" y="10"/>
                      <a:pt x="47" y="7"/>
                      <a:pt x="47" y="7"/>
                    </a:cubicBezTo>
                    <a:close/>
                  </a:path>
                </a:pathLst>
              </a:custGeom>
              <a:solidFill>
                <a:srgbClr val="FF2C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110" name="íṡḻide">
                <a:extLst>
                  <a:ext uri="{FF2B5EF4-FFF2-40B4-BE49-F238E27FC236}">
                    <a16:creationId xmlns:a16="http://schemas.microsoft.com/office/drawing/2014/main" id="{3150EDD6-5221-4DEF-8377-294AFC89637C}"/>
                  </a:ext>
                </a:extLst>
              </p:cNvPr>
              <p:cNvSpPr/>
              <p:nvPr/>
            </p:nvSpPr>
            <p:spPr bwMode="auto">
              <a:xfrm>
                <a:off x="4965700" y="3787775"/>
                <a:ext cx="98425" cy="122238"/>
              </a:xfrm>
              <a:custGeom>
                <a:avLst/>
                <a:gdLst>
                  <a:gd name="T0" fmla="*/ 29 w 30"/>
                  <a:gd name="T1" fmla="*/ 11 h 37"/>
                  <a:gd name="T2" fmla="*/ 29 w 30"/>
                  <a:gd name="T3" fmla="*/ 26 h 37"/>
                  <a:gd name="T4" fmla="*/ 25 w 30"/>
                  <a:gd name="T5" fmla="*/ 34 h 37"/>
                  <a:gd name="T6" fmla="*/ 13 w 30"/>
                  <a:gd name="T7" fmla="*/ 36 h 37"/>
                  <a:gd name="T8" fmla="*/ 0 w 30"/>
                  <a:gd name="T9" fmla="*/ 15 h 37"/>
                  <a:gd name="T10" fmla="*/ 29 w 30"/>
                  <a:gd name="T11" fmla="*/ 11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37">
                    <a:moveTo>
                      <a:pt x="29" y="11"/>
                    </a:moveTo>
                    <a:cubicBezTo>
                      <a:pt x="29" y="26"/>
                      <a:pt x="29" y="26"/>
                      <a:pt x="29" y="26"/>
                    </a:cubicBezTo>
                    <a:cubicBezTo>
                      <a:pt x="30" y="29"/>
                      <a:pt x="28" y="33"/>
                      <a:pt x="25" y="34"/>
                    </a:cubicBezTo>
                    <a:cubicBezTo>
                      <a:pt x="22" y="36"/>
                      <a:pt x="19" y="37"/>
                      <a:pt x="13" y="36"/>
                    </a:cubicBezTo>
                    <a:cubicBezTo>
                      <a:pt x="2" y="34"/>
                      <a:pt x="1" y="31"/>
                      <a:pt x="0" y="15"/>
                    </a:cubicBezTo>
                    <a:cubicBezTo>
                      <a:pt x="0" y="0"/>
                      <a:pt x="29" y="11"/>
                      <a:pt x="29" y="11"/>
                    </a:cubicBezTo>
                    <a:close/>
                  </a:path>
                </a:pathLst>
              </a:custGeom>
              <a:solidFill>
                <a:srgbClr val="D4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111" name="ïšliḍê">
                <a:extLst>
                  <a:ext uri="{FF2B5EF4-FFF2-40B4-BE49-F238E27FC236}">
                    <a16:creationId xmlns:a16="http://schemas.microsoft.com/office/drawing/2014/main" id="{50203108-D713-4C6E-800B-0BD1FEC52ECF}"/>
                  </a:ext>
                </a:extLst>
              </p:cNvPr>
              <p:cNvSpPr/>
              <p:nvPr/>
            </p:nvSpPr>
            <p:spPr bwMode="auto">
              <a:xfrm>
                <a:off x="4883150" y="2644775"/>
                <a:ext cx="633413" cy="1219200"/>
              </a:xfrm>
              <a:custGeom>
                <a:avLst/>
                <a:gdLst>
                  <a:gd name="T0" fmla="*/ 188 w 192"/>
                  <a:gd name="T1" fmla="*/ 72 h 370"/>
                  <a:gd name="T2" fmla="*/ 109 w 192"/>
                  <a:gd name="T3" fmla="*/ 83 h 370"/>
                  <a:gd name="T4" fmla="*/ 59 w 192"/>
                  <a:gd name="T5" fmla="*/ 132 h 370"/>
                  <a:gd name="T6" fmla="*/ 13 w 192"/>
                  <a:gd name="T7" fmla="*/ 182 h 370"/>
                  <a:gd name="T8" fmla="*/ 2 w 192"/>
                  <a:gd name="T9" fmla="*/ 218 h 370"/>
                  <a:gd name="T10" fmla="*/ 20 w 192"/>
                  <a:gd name="T11" fmla="*/ 358 h 370"/>
                  <a:gd name="T12" fmla="*/ 34 w 192"/>
                  <a:gd name="T13" fmla="*/ 370 h 370"/>
                  <a:gd name="T14" fmla="*/ 41 w 192"/>
                  <a:gd name="T15" fmla="*/ 370 h 370"/>
                  <a:gd name="T16" fmla="*/ 56 w 192"/>
                  <a:gd name="T17" fmla="*/ 352 h 370"/>
                  <a:gd name="T18" fmla="*/ 53 w 192"/>
                  <a:gd name="T19" fmla="*/ 221 h 370"/>
                  <a:gd name="T20" fmla="*/ 148 w 192"/>
                  <a:gd name="T21" fmla="*/ 163 h 370"/>
                  <a:gd name="T22" fmla="*/ 188 w 192"/>
                  <a:gd name="T23" fmla="*/ 72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92" h="370">
                    <a:moveTo>
                      <a:pt x="188" y="72"/>
                    </a:moveTo>
                    <a:cubicBezTo>
                      <a:pt x="183" y="0"/>
                      <a:pt x="109" y="83"/>
                      <a:pt x="109" y="83"/>
                    </a:cubicBezTo>
                    <a:cubicBezTo>
                      <a:pt x="59" y="132"/>
                      <a:pt x="59" y="132"/>
                      <a:pt x="59" y="132"/>
                    </a:cubicBezTo>
                    <a:cubicBezTo>
                      <a:pt x="13" y="182"/>
                      <a:pt x="13" y="182"/>
                      <a:pt x="13" y="182"/>
                    </a:cubicBezTo>
                    <a:cubicBezTo>
                      <a:pt x="4" y="192"/>
                      <a:pt x="0" y="205"/>
                      <a:pt x="2" y="218"/>
                    </a:cubicBezTo>
                    <a:cubicBezTo>
                      <a:pt x="20" y="358"/>
                      <a:pt x="20" y="358"/>
                      <a:pt x="20" y="358"/>
                    </a:cubicBezTo>
                    <a:cubicBezTo>
                      <a:pt x="21" y="365"/>
                      <a:pt x="27" y="370"/>
                      <a:pt x="34" y="370"/>
                    </a:cubicBezTo>
                    <a:cubicBezTo>
                      <a:pt x="36" y="370"/>
                      <a:pt x="38" y="370"/>
                      <a:pt x="41" y="370"/>
                    </a:cubicBezTo>
                    <a:cubicBezTo>
                      <a:pt x="57" y="367"/>
                      <a:pt x="56" y="352"/>
                      <a:pt x="56" y="352"/>
                    </a:cubicBezTo>
                    <a:cubicBezTo>
                      <a:pt x="53" y="221"/>
                      <a:pt x="53" y="221"/>
                      <a:pt x="53" y="221"/>
                    </a:cubicBezTo>
                    <a:cubicBezTo>
                      <a:pt x="148" y="163"/>
                      <a:pt x="148" y="163"/>
                      <a:pt x="148" y="163"/>
                    </a:cubicBezTo>
                    <a:cubicBezTo>
                      <a:pt x="148" y="163"/>
                      <a:pt x="192" y="144"/>
                      <a:pt x="188" y="72"/>
                    </a:cubicBezTo>
                    <a:close/>
                  </a:path>
                </a:pathLst>
              </a:custGeom>
              <a:solidFill>
                <a:srgbClr val="173D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 sz="2000" b="1"/>
              </a:p>
            </p:txBody>
          </p:sp>
          <p:sp>
            <p:nvSpPr>
              <p:cNvPr id="112" name="íṣľïḑe">
                <a:extLst>
                  <a:ext uri="{FF2B5EF4-FFF2-40B4-BE49-F238E27FC236}">
                    <a16:creationId xmlns:a16="http://schemas.microsoft.com/office/drawing/2014/main" id="{D322FB70-534D-490D-8959-E6FB8175B4DA}"/>
                  </a:ext>
                </a:extLst>
              </p:cNvPr>
              <p:cNvSpPr/>
              <p:nvPr/>
            </p:nvSpPr>
            <p:spPr bwMode="auto">
              <a:xfrm>
                <a:off x="5064125" y="2736850"/>
                <a:ext cx="635000" cy="1219200"/>
              </a:xfrm>
              <a:custGeom>
                <a:avLst/>
                <a:gdLst>
                  <a:gd name="T0" fmla="*/ 187 w 192"/>
                  <a:gd name="T1" fmla="*/ 72 h 370"/>
                  <a:gd name="T2" fmla="*/ 109 w 192"/>
                  <a:gd name="T3" fmla="*/ 82 h 370"/>
                  <a:gd name="T4" fmla="*/ 59 w 192"/>
                  <a:gd name="T5" fmla="*/ 132 h 370"/>
                  <a:gd name="T6" fmla="*/ 13 w 192"/>
                  <a:gd name="T7" fmla="*/ 182 h 370"/>
                  <a:gd name="T8" fmla="*/ 2 w 192"/>
                  <a:gd name="T9" fmla="*/ 218 h 370"/>
                  <a:gd name="T10" fmla="*/ 20 w 192"/>
                  <a:gd name="T11" fmla="*/ 358 h 370"/>
                  <a:gd name="T12" fmla="*/ 34 w 192"/>
                  <a:gd name="T13" fmla="*/ 370 h 370"/>
                  <a:gd name="T14" fmla="*/ 41 w 192"/>
                  <a:gd name="T15" fmla="*/ 369 h 370"/>
                  <a:gd name="T16" fmla="*/ 56 w 192"/>
                  <a:gd name="T17" fmla="*/ 351 h 370"/>
                  <a:gd name="T18" fmla="*/ 53 w 192"/>
                  <a:gd name="T19" fmla="*/ 224 h 370"/>
                  <a:gd name="T20" fmla="*/ 148 w 192"/>
                  <a:gd name="T21" fmla="*/ 163 h 370"/>
                  <a:gd name="T22" fmla="*/ 187 w 192"/>
                  <a:gd name="T23" fmla="*/ 72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92" h="370">
                    <a:moveTo>
                      <a:pt x="187" y="72"/>
                    </a:moveTo>
                    <a:cubicBezTo>
                      <a:pt x="183" y="0"/>
                      <a:pt x="109" y="82"/>
                      <a:pt x="109" y="82"/>
                    </a:cubicBezTo>
                    <a:cubicBezTo>
                      <a:pt x="59" y="132"/>
                      <a:pt x="59" y="132"/>
                      <a:pt x="59" y="132"/>
                    </a:cubicBezTo>
                    <a:cubicBezTo>
                      <a:pt x="13" y="182"/>
                      <a:pt x="13" y="182"/>
                      <a:pt x="13" y="182"/>
                    </a:cubicBezTo>
                    <a:cubicBezTo>
                      <a:pt x="4" y="192"/>
                      <a:pt x="0" y="205"/>
                      <a:pt x="2" y="218"/>
                    </a:cubicBezTo>
                    <a:cubicBezTo>
                      <a:pt x="20" y="358"/>
                      <a:pt x="20" y="358"/>
                      <a:pt x="20" y="358"/>
                    </a:cubicBezTo>
                    <a:cubicBezTo>
                      <a:pt x="21" y="365"/>
                      <a:pt x="27" y="370"/>
                      <a:pt x="34" y="370"/>
                    </a:cubicBezTo>
                    <a:cubicBezTo>
                      <a:pt x="36" y="370"/>
                      <a:pt x="38" y="370"/>
                      <a:pt x="41" y="369"/>
                    </a:cubicBezTo>
                    <a:cubicBezTo>
                      <a:pt x="57" y="367"/>
                      <a:pt x="56" y="351"/>
                      <a:pt x="56" y="351"/>
                    </a:cubicBezTo>
                    <a:cubicBezTo>
                      <a:pt x="53" y="224"/>
                      <a:pt x="53" y="224"/>
                      <a:pt x="53" y="224"/>
                    </a:cubicBezTo>
                    <a:cubicBezTo>
                      <a:pt x="148" y="163"/>
                      <a:pt x="148" y="163"/>
                      <a:pt x="148" y="163"/>
                    </a:cubicBezTo>
                    <a:cubicBezTo>
                      <a:pt x="148" y="163"/>
                      <a:pt x="192" y="144"/>
                      <a:pt x="187" y="72"/>
                    </a:cubicBezTo>
                    <a:close/>
                  </a:path>
                </a:pathLst>
              </a:custGeom>
              <a:solidFill>
                <a:srgbClr val="173D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 sz="2000" b="1"/>
              </a:p>
            </p:txBody>
          </p:sp>
          <p:sp>
            <p:nvSpPr>
              <p:cNvPr id="113" name="îSľïḍê">
                <a:extLst>
                  <a:ext uri="{FF2B5EF4-FFF2-40B4-BE49-F238E27FC236}">
                    <a16:creationId xmlns:a16="http://schemas.microsoft.com/office/drawing/2014/main" id="{1125E4DE-56D4-4B60-9FEA-CFC7DC193558}"/>
                  </a:ext>
                </a:extLst>
              </p:cNvPr>
              <p:cNvSpPr/>
              <p:nvPr/>
            </p:nvSpPr>
            <p:spPr bwMode="auto">
              <a:xfrm>
                <a:off x="5103813" y="2162175"/>
                <a:ext cx="620713" cy="1019175"/>
              </a:xfrm>
              <a:custGeom>
                <a:avLst/>
                <a:gdLst>
                  <a:gd name="T0" fmla="*/ 132 w 188"/>
                  <a:gd name="T1" fmla="*/ 14 h 309"/>
                  <a:gd name="T2" fmla="*/ 187 w 188"/>
                  <a:gd name="T3" fmla="*/ 70 h 309"/>
                  <a:gd name="T4" fmla="*/ 179 w 188"/>
                  <a:gd name="T5" fmla="*/ 272 h 309"/>
                  <a:gd name="T6" fmla="*/ 27 w 188"/>
                  <a:gd name="T7" fmla="*/ 218 h 309"/>
                  <a:gd name="T8" fmla="*/ 61 w 188"/>
                  <a:gd name="T9" fmla="*/ 13 h 309"/>
                  <a:gd name="T10" fmla="*/ 132 w 188"/>
                  <a:gd name="T11" fmla="*/ 14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8" h="309">
                    <a:moveTo>
                      <a:pt x="132" y="14"/>
                    </a:moveTo>
                    <a:cubicBezTo>
                      <a:pt x="188" y="37"/>
                      <a:pt x="187" y="70"/>
                      <a:pt x="187" y="70"/>
                    </a:cubicBezTo>
                    <a:cubicBezTo>
                      <a:pt x="187" y="70"/>
                      <a:pt x="176" y="191"/>
                      <a:pt x="179" y="272"/>
                    </a:cubicBezTo>
                    <a:cubicBezTo>
                      <a:pt x="181" y="306"/>
                      <a:pt x="0" y="309"/>
                      <a:pt x="27" y="218"/>
                    </a:cubicBezTo>
                    <a:cubicBezTo>
                      <a:pt x="59" y="112"/>
                      <a:pt x="47" y="26"/>
                      <a:pt x="61" y="13"/>
                    </a:cubicBezTo>
                    <a:cubicBezTo>
                      <a:pt x="76" y="0"/>
                      <a:pt x="117" y="8"/>
                      <a:pt x="132" y="14"/>
                    </a:cubicBezTo>
                    <a:close/>
                  </a:path>
                </a:pathLst>
              </a:custGeom>
              <a:solidFill>
                <a:srgbClr val="FF2C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 sz="2000" b="1"/>
              </a:p>
            </p:txBody>
          </p:sp>
          <p:sp>
            <p:nvSpPr>
              <p:cNvPr id="114" name="iŝḷíďé">
                <a:extLst>
                  <a:ext uri="{FF2B5EF4-FFF2-40B4-BE49-F238E27FC236}">
                    <a16:creationId xmlns:a16="http://schemas.microsoft.com/office/drawing/2014/main" id="{67AFEDCF-E227-491A-811E-77EC58638EA5}"/>
                  </a:ext>
                </a:extLst>
              </p:cNvPr>
              <p:cNvSpPr/>
              <p:nvPr/>
            </p:nvSpPr>
            <p:spPr bwMode="auto">
              <a:xfrm>
                <a:off x="5405438" y="2198688"/>
                <a:ext cx="203200" cy="165100"/>
              </a:xfrm>
              <a:custGeom>
                <a:avLst/>
                <a:gdLst>
                  <a:gd name="T0" fmla="*/ 59 w 62"/>
                  <a:gd name="T1" fmla="*/ 32 h 50"/>
                  <a:gd name="T2" fmla="*/ 26 w 62"/>
                  <a:gd name="T3" fmla="*/ 46 h 50"/>
                  <a:gd name="T4" fmla="*/ 3 w 62"/>
                  <a:gd name="T5" fmla="*/ 18 h 50"/>
                  <a:gd name="T6" fmla="*/ 36 w 62"/>
                  <a:gd name="T7" fmla="*/ 4 h 50"/>
                  <a:gd name="T8" fmla="*/ 59 w 62"/>
                  <a:gd name="T9" fmla="*/ 32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2" h="50">
                    <a:moveTo>
                      <a:pt x="59" y="32"/>
                    </a:moveTo>
                    <a:cubicBezTo>
                      <a:pt x="56" y="44"/>
                      <a:pt x="41" y="50"/>
                      <a:pt x="26" y="46"/>
                    </a:cubicBezTo>
                    <a:cubicBezTo>
                      <a:pt x="10" y="42"/>
                      <a:pt x="0" y="29"/>
                      <a:pt x="3" y="18"/>
                    </a:cubicBezTo>
                    <a:cubicBezTo>
                      <a:pt x="6" y="6"/>
                      <a:pt x="21" y="0"/>
                      <a:pt x="36" y="4"/>
                    </a:cubicBezTo>
                    <a:cubicBezTo>
                      <a:pt x="52" y="8"/>
                      <a:pt x="62" y="21"/>
                      <a:pt x="59" y="32"/>
                    </a:cubicBezTo>
                    <a:close/>
                  </a:path>
                </a:pathLst>
              </a:custGeom>
              <a:solidFill>
                <a:srgbClr val="FFC2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115" name="îṥļíḍê">
                <a:extLst>
                  <a:ext uri="{FF2B5EF4-FFF2-40B4-BE49-F238E27FC236}">
                    <a16:creationId xmlns:a16="http://schemas.microsoft.com/office/drawing/2014/main" id="{D00C9132-2B3F-4CD1-ABBD-56CD0401D737}"/>
                  </a:ext>
                </a:extLst>
              </p:cNvPr>
              <p:cNvSpPr/>
              <p:nvPr/>
            </p:nvSpPr>
            <p:spPr bwMode="auto">
              <a:xfrm>
                <a:off x="5378450" y="2330450"/>
                <a:ext cx="144463" cy="393700"/>
              </a:xfrm>
              <a:custGeom>
                <a:avLst/>
                <a:gdLst>
                  <a:gd name="T0" fmla="*/ 44 w 44"/>
                  <a:gd name="T1" fmla="*/ 6 h 119"/>
                  <a:gd name="T2" fmla="*/ 34 w 44"/>
                  <a:gd name="T3" fmla="*/ 17 h 119"/>
                  <a:gd name="T4" fmla="*/ 32 w 44"/>
                  <a:gd name="T5" fmla="*/ 22 h 119"/>
                  <a:gd name="T6" fmla="*/ 39 w 44"/>
                  <a:gd name="T7" fmla="*/ 84 h 119"/>
                  <a:gd name="T8" fmla="*/ 38 w 44"/>
                  <a:gd name="T9" fmla="*/ 88 h 119"/>
                  <a:gd name="T10" fmla="*/ 16 w 44"/>
                  <a:gd name="T11" fmla="*/ 117 h 119"/>
                  <a:gd name="T12" fmla="*/ 12 w 44"/>
                  <a:gd name="T13" fmla="*/ 117 h 119"/>
                  <a:gd name="T14" fmla="*/ 0 w 44"/>
                  <a:gd name="T15" fmla="*/ 79 h 119"/>
                  <a:gd name="T16" fmla="*/ 1 w 44"/>
                  <a:gd name="T17" fmla="*/ 74 h 119"/>
                  <a:gd name="T18" fmla="*/ 22 w 44"/>
                  <a:gd name="T19" fmla="*/ 19 h 119"/>
                  <a:gd name="T20" fmla="*/ 22 w 44"/>
                  <a:gd name="T21" fmla="*/ 15 h 119"/>
                  <a:gd name="T22" fmla="*/ 19 w 44"/>
                  <a:gd name="T23" fmla="*/ 0 h 119"/>
                  <a:gd name="T24" fmla="*/ 44 w 44"/>
                  <a:gd name="T25" fmla="*/ 6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4" h="119">
                    <a:moveTo>
                      <a:pt x="44" y="6"/>
                    </a:moveTo>
                    <a:cubicBezTo>
                      <a:pt x="34" y="17"/>
                      <a:pt x="34" y="17"/>
                      <a:pt x="34" y="17"/>
                    </a:cubicBezTo>
                    <a:cubicBezTo>
                      <a:pt x="33" y="18"/>
                      <a:pt x="32" y="20"/>
                      <a:pt x="32" y="22"/>
                    </a:cubicBezTo>
                    <a:cubicBezTo>
                      <a:pt x="39" y="84"/>
                      <a:pt x="39" y="84"/>
                      <a:pt x="39" y="84"/>
                    </a:cubicBezTo>
                    <a:cubicBezTo>
                      <a:pt x="40" y="85"/>
                      <a:pt x="39" y="87"/>
                      <a:pt x="38" y="88"/>
                    </a:cubicBezTo>
                    <a:cubicBezTo>
                      <a:pt x="16" y="117"/>
                      <a:pt x="16" y="117"/>
                      <a:pt x="16" y="117"/>
                    </a:cubicBezTo>
                    <a:cubicBezTo>
                      <a:pt x="15" y="119"/>
                      <a:pt x="13" y="118"/>
                      <a:pt x="12" y="117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0" y="77"/>
                      <a:pt x="0" y="76"/>
                      <a:pt x="1" y="74"/>
                    </a:cubicBezTo>
                    <a:cubicBezTo>
                      <a:pt x="22" y="19"/>
                      <a:pt x="22" y="19"/>
                      <a:pt x="22" y="19"/>
                    </a:cubicBezTo>
                    <a:cubicBezTo>
                      <a:pt x="22" y="18"/>
                      <a:pt x="22" y="16"/>
                      <a:pt x="22" y="15"/>
                    </a:cubicBezTo>
                    <a:cubicBezTo>
                      <a:pt x="19" y="0"/>
                      <a:pt x="19" y="0"/>
                      <a:pt x="19" y="0"/>
                    </a:cubicBezTo>
                    <a:lnTo>
                      <a:pt x="44" y="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800" b="1"/>
              </a:p>
            </p:txBody>
          </p:sp>
          <p:sp>
            <p:nvSpPr>
              <p:cNvPr id="116" name="íṧļïḓè">
                <a:extLst>
                  <a:ext uri="{FF2B5EF4-FFF2-40B4-BE49-F238E27FC236}">
                    <a16:creationId xmlns:a16="http://schemas.microsoft.com/office/drawing/2014/main" id="{8A55AE29-9D7A-462D-BCBC-126C1415398C}"/>
                  </a:ext>
                </a:extLst>
              </p:cNvPr>
              <p:cNvSpPr/>
              <p:nvPr/>
            </p:nvSpPr>
            <p:spPr bwMode="auto">
              <a:xfrm>
                <a:off x="5402263" y="2198688"/>
                <a:ext cx="211138" cy="161925"/>
              </a:xfrm>
              <a:custGeom>
                <a:avLst/>
                <a:gdLst>
                  <a:gd name="T0" fmla="*/ 36 w 64"/>
                  <a:gd name="T1" fmla="*/ 49 h 49"/>
                  <a:gd name="T2" fmla="*/ 26 w 64"/>
                  <a:gd name="T3" fmla="*/ 48 h 49"/>
                  <a:gd name="T4" fmla="*/ 6 w 64"/>
                  <a:gd name="T5" fmla="*/ 36 h 49"/>
                  <a:gd name="T6" fmla="*/ 1 w 64"/>
                  <a:gd name="T7" fmla="*/ 17 h 49"/>
                  <a:gd name="T8" fmla="*/ 15 w 64"/>
                  <a:gd name="T9" fmla="*/ 3 h 49"/>
                  <a:gd name="T10" fmla="*/ 38 w 64"/>
                  <a:gd name="T11" fmla="*/ 2 h 49"/>
                  <a:gd name="T12" fmla="*/ 57 w 64"/>
                  <a:gd name="T13" fmla="*/ 14 h 49"/>
                  <a:gd name="T14" fmla="*/ 62 w 64"/>
                  <a:gd name="T15" fmla="*/ 33 h 49"/>
                  <a:gd name="T16" fmla="*/ 62 w 64"/>
                  <a:gd name="T17" fmla="*/ 33 h 49"/>
                  <a:gd name="T18" fmla="*/ 49 w 64"/>
                  <a:gd name="T19" fmla="*/ 47 h 49"/>
                  <a:gd name="T20" fmla="*/ 36 w 64"/>
                  <a:gd name="T21" fmla="*/ 49 h 49"/>
                  <a:gd name="T22" fmla="*/ 28 w 64"/>
                  <a:gd name="T23" fmla="*/ 6 h 49"/>
                  <a:gd name="T24" fmla="*/ 17 w 64"/>
                  <a:gd name="T25" fmla="*/ 8 h 49"/>
                  <a:gd name="T26" fmla="*/ 6 w 64"/>
                  <a:gd name="T27" fmla="*/ 18 h 49"/>
                  <a:gd name="T28" fmla="*/ 10 w 64"/>
                  <a:gd name="T29" fmla="*/ 33 h 49"/>
                  <a:gd name="T30" fmla="*/ 27 w 64"/>
                  <a:gd name="T31" fmla="*/ 43 h 49"/>
                  <a:gd name="T32" fmla="*/ 47 w 64"/>
                  <a:gd name="T33" fmla="*/ 42 h 49"/>
                  <a:gd name="T34" fmla="*/ 57 w 64"/>
                  <a:gd name="T35" fmla="*/ 32 h 49"/>
                  <a:gd name="T36" fmla="*/ 57 w 64"/>
                  <a:gd name="T37" fmla="*/ 32 h 49"/>
                  <a:gd name="T38" fmla="*/ 53 w 64"/>
                  <a:gd name="T39" fmla="*/ 17 h 49"/>
                  <a:gd name="T40" fmla="*/ 36 w 64"/>
                  <a:gd name="T41" fmla="*/ 7 h 49"/>
                  <a:gd name="T42" fmla="*/ 28 w 64"/>
                  <a:gd name="T43" fmla="*/ 6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4" h="49">
                    <a:moveTo>
                      <a:pt x="36" y="49"/>
                    </a:moveTo>
                    <a:cubicBezTo>
                      <a:pt x="33" y="49"/>
                      <a:pt x="29" y="49"/>
                      <a:pt x="26" y="48"/>
                    </a:cubicBezTo>
                    <a:cubicBezTo>
                      <a:pt x="18" y="46"/>
                      <a:pt x="11" y="42"/>
                      <a:pt x="6" y="36"/>
                    </a:cubicBezTo>
                    <a:cubicBezTo>
                      <a:pt x="1" y="30"/>
                      <a:pt x="0" y="23"/>
                      <a:pt x="1" y="17"/>
                    </a:cubicBezTo>
                    <a:cubicBezTo>
                      <a:pt x="3" y="11"/>
                      <a:pt x="8" y="6"/>
                      <a:pt x="15" y="3"/>
                    </a:cubicBezTo>
                    <a:cubicBezTo>
                      <a:pt x="22" y="0"/>
                      <a:pt x="30" y="0"/>
                      <a:pt x="38" y="2"/>
                    </a:cubicBezTo>
                    <a:cubicBezTo>
                      <a:pt x="46" y="4"/>
                      <a:pt x="53" y="8"/>
                      <a:pt x="57" y="14"/>
                    </a:cubicBezTo>
                    <a:cubicBezTo>
                      <a:pt x="62" y="20"/>
                      <a:pt x="64" y="27"/>
                      <a:pt x="62" y="33"/>
                    </a:cubicBezTo>
                    <a:cubicBezTo>
                      <a:pt x="62" y="33"/>
                      <a:pt x="62" y="33"/>
                      <a:pt x="62" y="33"/>
                    </a:cubicBezTo>
                    <a:cubicBezTo>
                      <a:pt x="61" y="39"/>
                      <a:pt x="56" y="44"/>
                      <a:pt x="49" y="47"/>
                    </a:cubicBezTo>
                    <a:cubicBezTo>
                      <a:pt x="45" y="49"/>
                      <a:pt x="41" y="49"/>
                      <a:pt x="36" y="49"/>
                    </a:cubicBezTo>
                    <a:close/>
                    <a:moveTo>
                      <a:pt x="28" y="6"/>
                    </a:moveTo>
                    <a:cubicBezTo>
                      <a:pt x="24" y="6"/>
                      <a:pt x="20" y="7"/>
                      <a:pt x="17" y="8"/>
                    </a:cubicBezTo>
                    <a:cubicBezTo>
                      <a:pt x="11" y="10"/>
                      <a:pt x="8" y="14"/>
                      <a:pt x="6" y="18"/>
                    </a:cubicBezTo>
                    <a:cubicBezTo>
                      <a:pt x="5" y="23"/>
                      <a:pt x="7" y="28"/>
                      <a:pt x="10" y="33"/>
                    </a:cubicBezTo>
                    <a:cubicBezTo>
                      <a:pt x="14" y="38"/>
                      <a:pt x="20" y="41"/>
                      <a:pt x="27" y="43"/>
                    </a:cubicBezTo>
                    <a:cubicBezTo>
                      <a:pt x="34" y="45"/>
                      <a:pt x="41" y="44"/>
                      <a:pt x="47" y="42"/>
                    </a:cubicBezTo>
                    <a:cubicBezTo>
                      <a:pt x="52" y="40"/>
                      <a:pt x="56" y="36"/>
                      <a:pt x="57" y="32"/>
                    </a:cubicBezTo>
                    <a:cubicBezTo>
                      <a:pt x="57" y="32"/>
                      <a:pt x="57" y="32"/>
                      <a:pt x="57" y="32"/>
                    </a:cubicBezTo>
                    <a:cubicBezTo>
                      <a:pt x="58" y="27"/>
                      <a:pt x="57" y="22"/>
                      <a:pt x="53" y="17"/>
                    </a:cubicBezTo>
                    <a:cubicBezTo>
                      <a:pt x="49" y="12"/>
                      <a:pt x="43" y="9"/>
                      <a:pt x="36" y="7"/>
                    </a:cubicBezTo>
                    <a:cubicBezTo>
                      <a:pt x="33" y="6"/>
                      <a:pt x="30" y="6"/>
                      <a:pt x="28" y="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117" name="ïṡliďé">
                <a:extLst>
                  <a:ext uri="{FF2B5EF4-FFF2-40B4-BE49-F238E27FC236}">
                    <a16:creationId xmlns:a16="http://schemas.microsoft.com/office/drawing/2014/main" id="{7FB36BA3-5414-4D5D-B241-2DAB1771A5E8}"/>
                  </a:ext>
                </a:extLst>
              </p:cNvPr>
              <p:cNvSpPr/>
              <p:nvPr/>
            </p:nvSpPr>
            <p:spPr bwMode="auto">
              <a:xfrm>
                <a:off x="5464175" y="2127250"/>
                <a:ext cx="98425" cy="174625"/>
              </a:xfrm>
              <a:custGeom>
                <a:avLst/>
                <a:gdLst>
                  <a:gd name="T0" fmla="*/ 0 w 30"/>
                  <a:gd name="T1" fmla="*/ 22 h 53"/>
                  <a:gd name="T2" fmla="*/ 0 w 30"/>
                  <a:gd name="T3" fmla="*/ 42 h 53"/>
                  <a:gd name="T4" fmla="*/ 24 w 30"/>
                  <a:gd name="T5" fmla="*/ 48 h 53"/>
                  <a:gd name="T6" fmla="*/ 28 w 30"/>
                  <a:gd name="T7" fmla="*/ 19 h 53"/>
                  <a:gd name="T8" fmla="*/ 0 w 30"/>
                  <a:gd name="T9" fmla="*/ 22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53">
                    <a:moveTo>
                      <a:pt x="0" y="22"/>
                    </a:moveTo>
                    <a:cubicBezTo>
                      <a:pt x="0" y="22"/>
                      <a:pt x="1" y="25"/>
                      <a:pt x="0" y="42"/>
                    </a:cubicBezTo>
                    <a:cubicBezTo>
                      <a:pt x="0" y="48"/>
                      <a:pt x="19" y="53"/>
                      <a:pt x="24" y="48"/>
                    </a:cubicBezTo>
                    <a:cubicBezTo>
                      <a:pt x="29" y="43"/>
                      <a:pt x="27" y="38"/>
                      <a:pt x="28" y="19"/>
                    </a:cubicBezTo>
                    <a:cubicBezTo>
                      <a:pt x="30" y="0"/>
                      <a:pt x="0" y="22"/>
                      <a:pt x="0" y="22"/>
                    </a:cubicBezTo>
                    <a:close/>
                  </a:path>
                </a:pathLst>
              </a:custGeom>
              <a:solidFill>
                <a:srgbClr val="FFC2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118" name="ïṩḷîḋè">
                <a:extLst>
                  <a:ext uri="{FF2B5EF4-FFF2-40B4-BE49-F238E27FC236}">
                    <a16:creationId xmlns:a16="http://schemas.microsoft.com/office/drawing/2014/main" id="{0712E7D5-EB99-4D3F-B29E-18940DA35056}"/>
                  </a:ext>
                </a:extLst>
              </p:cNvPr>
              <p:cNvSpPr/>
              <p:nvPr/>
            </p:nvSpPr>
            <p:spPr bwMode="auto">
              <a:xfrm>
                <a:off x="5464175" y="2189163"/>
                <a:ext cx="92075" cy="79375"/>
              </a:xfrm>
              <a:custGeom>
                <a:avLst/>
                <a:gdLst>
                  <a:gd name="T0" fmla="*/ 28 w 28"/>
                  <a:gd name="T1" fmla="*/ 0 h 24"/>
                  <a:gd name="T2" fmla="*/ 0 w 28"/>
                  <a:gd name="T3" fmla="*/ 24 h 24"/>
                  <a:gd name="T4" fmla="*/ 0 w 28"/>
                  <a:gd name="T5" fmla="*/ 8 h 24"/>
                  <a:gd name="T6" fmla="*/ 28 w 28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" h="24">
                    <a:moveTo>
                      <a:pt x="28" y="0"/>
                    </a:moveTo>
                    <a:cubicBezTo>
                      <a:pt x="28" y="0"/>
                      <a:pt x="24" y="17"/>
                      <a:pt x="0" y="24"/>
                    </a:cubicBezTo>
                    <a:cubicBezTo>
                      <a:pt x="0" y="8"/>
                      <a:pt x="0" y="8"/>
                      <a:pt x="0" y="8"/>
                    </a:cubicBezTo>
                    <a:lnTo>
                      <a:pt x="28" y="0"/>
                    </a:lnTo>
                    <a:close/>
                  </a:path>
                </a:pathLst>
              </a:custGeom>
              <a:solidFill>
                <a:srgbClr val="EA9C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119" name="ïṡḻiďè">
                <a:extLst>
                  <a:ext uri="{FF2B5EF4-FFF2-40B4-BE49-F238E27FC236}">
                    <a16:creationId xmlns:a16="http://schemas.microsoft.com/office/drawing/2014/main" id="{89FB5362-E5C4-4A3F-BDC6-347477F9D1A6}"/>
                  </a:ext>
                </a:extLst>
              </p:cNvPr>
              <p:cNvSpPr/>
              <p:nvPr/>
            </p:nvSpPr>
            <p:spPr bwMode="auto">
              <a:xfrm>
                <a:off x="5311775" y="1919288"/>
                <a:ext cx="314325" cy="315913"/>
              </a:xfrm>
              <a:custGeom>
                <a:avLst/>
                <a:gdLst>
                  <a:gd name="T0" fmla="*/ 89 w 95"/>
                  <a:gd name="T1" fmla="*/ 37 h 96"/>
                  <a:gd name="T2" fmla="*/ 58 w 95"/>
                  <a:gd name="T3" fmla="*/ 90 h 96"/>
                  <a:gd name="T4" fmla="*/ 6 w 95"/>
                  <a:gd name="T5" fmla="*/ 59 h 96"/>
                  <a:gd name="T6" fmla="*/ 37 w 95"/>
                  <a:gd name="T7" fmla="*/ 6 h 96"/>
                  <a:gd name="T8" fmla="*/ 89 w 95"/>
                  <a:gd name="T9" fmla="*/ 37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5" h="96">
                    <a:moveTo>
                      <a:pt x="89" y="37"/>
                    </a:moveTo>
                    <a:cubicBezTo>
                      <a:pt x="95" y="60"/>
                      <a:pt x="81" y="84"/>
                      <a:pt x="58" y="90"/>
                    </a:cubicBezTo>
                    <a:cubicBezTo>
                      <a:pt x="35" y="96"/>
                      <a:pt x="12" y="82"/>
                      <a:pt x="6" y="59"/>
                    </a:cubicBezTo>
                    <a:cubicBezTo>
                      <a:pt x="0" y="36"/>
                      <a:pt x="14" y="12"/>
                      <a:pt x="37" y="6"/>
                    </a:cubicBezTo>
                    <a:cubicBezTo>
                      <a:pt x="60" y="0"/>
                      <a:pt x="83" y="14"/>
                      <a:pt x="89" y="37"/>
                    </a:cubicBezTo>
                    <a:close/>
                  </a:path>
                </a:pathLst>
              </a:custGeom>
              <a:solidFill>
                <a:srgbClr val="FFC2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120" name="íṩḻîḍê">
                <a:extLst>
                  <a:ext uri="{FF2B5EF4-FFF2-40B4-BE49-F238E27FC236}">
                    <a16:creationId xmlns:a16="http://schemas.microsoft.com/office/drawing/2014/main" id="{D9CBC769-DBF2-4297-83D7-48945A9F9611}"/>
                  </a:ext>
                </a:extLst>
              </p:cNvPr>
              <p:cNvSpPr/>
              <p:nvPr/>
            </p:nvSpPr>
            <p:spPr bwMode="auto">
              <a:xfrm>
                <a:off x="5314950" y="2047875"/>
                <a:ext cx="188913" cy="68263"/>
              </a:xfrm>
              <a:custGeom>
                <a:avLst/>
                <a:gdLst>
                  <a:gd name="T0" fmla="*/ 57 w 57"/>
                  <a:gd name="T1" fmla="*/ 11 h 21"/>
                  <a:gd name="T2" fmla="*/ 16 w 57"/>
                  <a:gd name="T3" fmla="*/ 21 h 21"/>
                  <a:gd name="T4" fmla="*/ 4 w 57"/>
                  <a:gd name="T5" fmla="*/ 7 h 21"/>
                  <a:gd name="T6" fmla="*/ 52 w 57"/>
                  <a:gd name="T7" fmla="*/ 0 h 21"/>
                  <a:gd name="T8" fmla="*/ 57 w 57"/>
                  <a:gd name="T9" fmla="*/ 1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21">
                    <a:moveTo>
                      <a:pt x="57" y="11"/>
                    </a:moveTo>
                    <a:cubicBezTo>
                      <a:pt x="57" y="11"/>
                      <a:pt x="33" y="21"/>
                      <a:pt x="16" y="21"/>
                    </a:cubicBezTo>
                    <a:cubicBezTo>
                      <a:pt x="0" y="21"/>
                      <a:pt x="4" y="7"/>
                      <a:pt x="4" y="7"/>
                    </a:cubicBezTo>
                    <a:cubicBezTo>
                      <a:pt x="52" y="0"/>
                      <a:pt x="52" y="0"/>
                      <a:pt x="52" y="0"/>
                    </a:cubicBezTo>
                    <a:lnTo>
                      <a:pt x="57" y="11"/>
                    </a:lnTo>
                    <a:close/>
                  </a:path>
                </a:pathLst>
              </a:custGeom>
              <a:solidFill>
                <a:srgbClr val="EA9C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121" name="íşlîḑé">
                <a:extLst>
                  <a:ext uri="{FF2B5EF4-FFF2-40B4-BE49-F238E27FC236}">
                    <a16:creationId xmlns:a16="http://schemas.microsoft.com/office/drawing/2014/main" id="{1075247F-9DEB-451D-BED7-81A02506B90B}"/>
                  </a:ext>
                </a:extLst>
              </p:cNvPr>
              <p:cNvSpPr/>
              <p:nvPr/>
            </p:nvSpPr>
            <p:spPr bwMode="auto">
              <a:xfrm>
                <a:off x="5240338" y="1812925"/>
                <a:ext cx="455613" cy="354013"/>
              </a:xfrm>
              <a:custGeom>
                <a:avLst/>
                <a:gdLst>
                  <a:gd name="T0" fmla="*/ 35 w 138"/>
                  <a:gd name="T1" fmla="*/ 84 h 107"/>
                  <a:gd name="T2" fmla="*/ 73 w 138"/>
                  <a:gd name="T3" fmla="*/ 79 h 107"/>
                  <a:gd name="T4" fmla="*/ 84 w 138"/>
                  <a:gd name="T5" fmla="*/ 86 h 107"/>
                  <a:gd name="T6" fmla="*/ 88 w 138"/>
                  <a:gd name="T7" fmla="*/ 88 h 107"/>
                  <a:gd name="T8" fmla="*/ 102 w 138"/>
                  <a:gd name="T9" fmla="*/ 75 h 107"/>
                  <a:gd name="T10" fmla="*/ 108 w 138"/>
                  <a:gd name="T11" fmla="*/ 87 h 107"/>
                  <a:gd name="T12" fmla="*/ 107 w 138"/>
                  <a:gd name="T13" fmla="*/ 106 h 107"/>
                  <a:gd name="T14" fmla="*/ 116 w 138"/>
                  <a:gd name="T15" fmla="*/ 43 h 107"/>
                  <a:gd name="T16" fmla="*/ 25 w 138"/>
                  <a:gd name="T17" fmla="*/ 33 h 107"/>
                  <a:gd name="T18" fmla="*/ 8 w 138"/>
                  <a:gd name="T19" fmla="*/ 34 h 107"/>
                  <a:gd name="T20" fmla="*/ 35 w 138"/>
                  <a:gd name="T21" fmla="*/ 84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38" h="107">
                    <a:moveTo>
                      <a:pt x="35" y="84"/>
                    </a:moveTo>
                    <a:cubicBezTo>
                      <a:pt x="35" y="84"/>
                      <a:pt x="55" y="75"/>
                      <a:pt x="73" y="79"/>
                    </a:cubicBezTo>
                    <a:cubicBezTo>
                      <a:pt x="78" y="80"/>
                      <a:pt x="82" y="82"/>
                      <a:pt x="84" y="86"/>
                    </a:cubicBezTo>
                    <a:cubicBezTo>
                      <a:pt x="85" y="87"/>
                      <a:pt x="86" y="88"/>
                      <a:pt x="88" y="88"/>
                    </a:cubicBezTo>
                    <a:cubicBezTo>
                      <a:pt x="91" y="89"/>
                      <a:pt x="96" y="75"/>
                      <a:pt x="102" y="75"/>
                    </a:cubicBezTo>
                    <a:cubicBezTo>
                      <a:pt x="109" y="75"/>
                      <a:pt x="113" y="79"/>
                      <a:pt x="108" y="87"/>
                    </a:cubicBezTo>
                    <a:cubicBezTo>
                      <a:pt x="102" y="96"/>
                      <a:pt x="104" y="105"/>
                      <a:pt x="107" y="106"/>
                    </a:cubicBezTo>
                    <a:cubicBezTo>
                      <a:pt x="109" y="107"/>
                      <a:pt x="138" y="87"/>
                      <a:pt x="116" y="43"/>
                    </a:cubicBezTo>
                    <a:cubicBezTo>
                      <a:pt x="94" y="0"/>
                      <a:pt x="34" y="24"/>
                      <a:pt x="25" y="33"/>
                    </a:cubicBezTo>
                    <a:cubicBezTo>
                      <a:pt x="25" y="33"/>
                      <a:pt x="16" y="41"/>
                      <a:pt x="8" y="34"/>
                    </a:cubicBezTo>
                    <a:cubicBezTo>
                      <a:pt x="8" y="34"/>
                      <a:pt x="0" y="97"/>
                      <a:pt x="35" y="84"/>
                    </a:cubicBezTo>
                    <a:close/>
                  </a:path>
                </a:pathLst>
              </a:custGeom>
              <a:solidFill>
                <a:srgbClr val="D4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122" name="îṧľide">
                <a:extLst>
                  <a:ext uri="{FF2B5EF4-FFF2-40B4-BE49-F238E27FC236}">
                    <a16:creationId xmlns:a16="http://schemas.microsoft.com/office/drawing/2014/main" id="{963EC2DF-5B69-4246-B2D9-29EAF765A286}"/>
                  </a:ext>
                </a:extLst>
              </p:cNvPr>
              <p:cNvSpPr/>
              <p:nvPr/>
            </p:nvSpPr>
            <p:spPr bwMode="auto">
              <a:xfrm>
                <a:off x="5381625" y="2624138"/>
                <a:ext cx="376238" cy="442913"/>
              </a:xfrm>
              <a:custGeom>
                <a:avLst/>
                <a:gdLst>
                  <a:gd name="T0" fmla="*/ 71 w 114"/>
                  <a:gd name="T1" fmla="*/ 19 h 134"/>
                  <a:gd name="T2" fmla="*/ 71 w 114"/>
                  <a:gd name="T3" fmla="*/ 51 h 134"/>
                  <a:gd name="T4" fmla="*/ 67 w 114"/>
                  <a:gd name="T5" fmla="*/ 61 h 134"/>
                  <a:gd name="T6" fmla="*/ 0 w 114"/>
                  <a:gd name="T7" fmla="*/ 123 h 134"/>
                  <a:gd name="T8" fmla="*/ 7 w 114"/>
                  <a:gd name="T9" fmla="*/ 134 h 134"/>
                  <a:gd name="T10" fmla="*/ 100 w 114"/>
                  <a:gd name="T11" fmla="*/ 74 h 134"/>
                  <a:gd name="T12" fmla="*/ 107 w 114"/>
                  <a:gd name="T13" fmla="*/ 61 h 134"/>
                  <a:gd name="T14" fmla="*/ 114 w 114"/>
                  <a:gd name="T15" fmla="*/ 0 h 134"/>
                  <a:gd name="T16" fmla="*/ 71 w 114"/>
                  <a:gd name="T17" fmla="*/ 19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4" h="134">
                    <a:moveTo>
                      <a:pt x="71" y="19"/>
                    </a:moveTo>
                    <a:cubicBezTo>
                      <a:pt x="71" y="51"/>
                      <a:pt x="71" y="51"/>
                      <a:pt x="71" y="51"/>
                    </a:cubicBezTo>
                    <a:cubicBezTo>
                      <a:pt x="71" y="55"/>
                      <a:pt x="70" y="59"/>
                      <a:pt x="67" y="61"/>
                    </a:cubicBezTo>
                    <a:cubicBezTo>
                      <a:pt x="0" y="123"/>
                      <a:pt x="0" y="123"/>
                      <a:pt x="0" y="123"/>
                    </a:cubicBezTo>
                    <a:cubicBezTo>
                      <a:pt x="7" y="134"/>
                      <a:pt x="7" y="134"/>
                      <a:pt x="7" y="134"/>
                    </a:cubicBezTo>
                    <a:cubicBezTo>
                      <a:pt x="100" y="74"/>
                      <a:pt x="100" y="74"/>
                      <a:pt x="100" y="74"/>
                    </a:cubicBezTo>
                    <a:cubicBezTo>
                      <a:pt x="104" y="71"/>
                      <a:pt x="107" y="66"/>
                      <a:pt x="107" y="61"/>
                    </a:cubicBezTo>
                    <a:cubicBezTo>
                      <a:pt x="114" y="0"/>
                      <a:pt x="114" y="0"/>
                      <a:pt x="114" y="0"/>
                    </a:cubicBezTo>
                    <a:lnTo>
                      <a:pt x="71" y="19"/>
                    </a:lnTo>
                    <a:close/>
                  </a:path>
                </a:pathLst>
              </a:custGeom>
              <a:solidFill>
                <a:srgbClr val="FFC2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800" b="1"/>
              </a:p>
            </p:txBody>
          </p:sp>
          <p:sp>
            <p:nvSpPr>
              <p:cNvPr id="123" name="îsḻiḑè">
                <a:extLst>
                  <a:ext uri="{FF2B5EF4-FFF2-40B4-BE49-F238E27FC236}">
                    <a16:creationId xmlns:a16="http://schemas.microsoft.com/office/drawing/2014/main" id="{30CA35AF-C88C-4781-A3E4-4C9A5FF40367}"/>
                  </a:ext>
                </a:extLst>
              </p:cNvPr>
              <p:cNvSpPr/>
              <p:nvPr/>
            </p:nvSpPr>
            <p:spPr bwMode="auto">
              <a:xfrm>
                <a:off x="5549900" y="2341563"/>
                <a:ext cx="247650" cy="404813"/>
              </a:xfrm>
              <a:custGeom>
                <a:avLst/>
                <a:gdLst>
                  <a:gd name="T0" fmla="*/ 47 w 75"/>
                  <a:gd name="T1" fmla="*/ 0 h 123"/>
                  <a:gd name="T2" fmla="*/ 75 w 75"/>
                  <a:gd name="T3" fmla="*/ 111 h 123"/>
                  <a:gd name="T4" fmla="*/ 20 w 75"/>
                  <a:gd name="T5" fmla="*/ 116 h 123"/>
                  <a:gd name="T6" fmla="*/ 47 w 75"/>
                  <a:gd name="T7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5" h="123">
                    <a:moveTo>
                      <a:pt x="47" y="0"/>
                    </a:moveTo>
                    <a:cubicBezTo>
                      <a:pt x="47" y="0"/>
                      <a:pt x="67" y="30"/>
                      <a:pt x="75" y="111"/>
                    </a:cubicBezTo>
                    <a:cubicBezTo>
                      <a:pt x="75" y="111"/>
                      <a:pt x="40" y="123"/>
                      <a:pt x="20" y="116"/>
                    </a:cubicBezTo>
                    <a:cubicBezTo>
                      <a:pt x="0" y="110"/>
                      <a:pt x="47" y="0"/>
                      <a:pt x="47" y="0"/>
                    </a:cubicBezTo>
                    <a:close/>
                  </a:path>
                </a:pathLst>
              </a:custGeom>
              <a:solidFill>
                <a:srgbClr val="FF2C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800" b="1"/>
              </a:p>
            </p:txBody>
          </p:sp>
          <p:sp>
            <p:nvSpPr>
              <p:cNvPr id="124" name="isliḑe">
                <a:extLst>
                  <a:ext uri="{FF2B5EF4-FFF2-40B4-BE49-F238E27FC236}">
                    <a16:creationId xmlns:a16="http://schemas.microsoft.com/office/drawing/2014/main" id="{3B37AD63-A5BD-41D4-B6C8-08477EB1D0C4}"/>
                  </a:ext>
                </a:extLst>
              </p:cNvPr>
              <p:cNvSpPr/>
              <p:nvPr/>
            </p:nvSpPr>
            <p:spPr bwMode="auto">
              <a:xfrm>
                <a:off x="5576888" y="2470150"/>
                <a:ext cx="25400" cy="246063"/>
              </a:xfrm>
              <a:custGeom>
                <a:avLst/>
                <a:gdLst>
                  <a:gd name="T0" fmla="*/ 8 w 8"/>
                  <a:gd name="T1" fmla="*/ 0 h 75"/>
                  <a:gd name="T2" fmla="*/ 0 w 8"/>
                  <a:gd name="T3" fmla="*/ 62 h 75"/>
                  <a:gd name="T4" fmla="*/ 8 w 8"/>
                  <a:gd name="T5" fmla="*/ 75 h 75"/>
                  <a:gd name="T6" fmla="*/ 8 w 8"/>
                  <a:gd name="T7" fmla="*/ 75 h 75"/>
                  <a:gd name="T8" fmla="*/ 8 w 8"/>
                  <a:gd name="T9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75">
                    <a:moveTo>
                      <a:pt x="8" y="0"/>
                    </a:moveTo>
                    <a:cubicBezTo>
                      <a:pt x="8" y="0"/>
                      <a:pt x="0" y="42"/>
                      <a:pt x="0" y="62"/>
                    </a:cubicBezTo>
                    <a:cubicBezTo>
                      <a:pt x="0" y="68"/>
                      <a:pt x="3" y="73"/>
                      <a:pt x="8" y="75"/>
                    </a:cubicBezTo>
                    <a:cubicBezTo>
                      <a:pt x="8" y="75"/>
                      <a:pt x="8" y="75"/>
                      <a:pt x="8" y="75"/>
                    </a:cubicBez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D300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125" name="ïśḻiḍe">
                <a:extLst>
                  <a:ext uri="{FF2B5EF4-FFF2-40B4-BE49-F238E27FC236}">
                    <a16:creationId xmlns:a16="http://schemas.microsoft.com/office/drawing/2014/main" id="{A084D5BB-0E1E-49D7-85BB-F903AFCC541E}"/>
                  </a:ext>
                </a:extLst>
              </p:cNvPr>
              <p:cNvSpPr/>
              <p:nvPr/>
            </p:nvSpPr>
            <p:spPr bwMode="auto">
              <a:xfrm>
                <a:off x="4886325" y="2973388"/>
                <a:ext cx="660400" cy="385763"/>
              </a:xfrm>
              <a:custGeom>
                <a:avLst/>
                <a:gdLst>
                  <a:gd name="T0" fmla="*/ 200 w 200"/>
                  <a:gd name="T1" fmla="*/ 59 h 117"/>
                  <a:gd name="T2" fmla="*/ 185 w 200"/>
                  <a:gd name="T3" fmla="*/ 57 h 117"/>
                  <a:gd name="T4" fmla="*/ 89 w 200"/>
                  <a:gd name="T5" fmla="*/ 2 h 117"/>
                  <a:gd name="T6" fmla="*/ 77 w 200"/>
                  <a:gd name="T7" fmla="*/ 2 h 117"/>
                  <a:gd name="T8" fmla="*/ 9 w 200"/>
                  <a:gd name="T9" fmla="*/ 42 h 117"/>
                  <a:gd name="T10" fmla="*/ 0 w 200"/>
                  <a:gd name="T11" fmla="*/ 40 h 117"/>
                  <a:gd name="T12" fmla="*/ 0 w 200"/>
                  <a:gd name="T13" fmla="*/ 49 h 117"/>
                  <a:gd name="T14" fmla="*/ 0 w 200"/>
                  <a:gd name="T15" fmla="*/ 49 h 117"/>
                  <a:gd name="T16" fmla="*/ 2 w 200"/>
                  <a:gd name="T17" fmla="*/ 53 h 117"/>
                  <a:gd name="T18" fmla="*/ 111 w 200"/>
                  <a:gd name="T19" fmla="*/ 115 h 117"/>
                  <a:gd name="T20" fmla="*/ 123 w 200"/>
                  <a:gd name="T21" fmla="*/ 115 h 117"/>
                  <a:gd name="T22" fmla="*/ 197 w 200"/>
                  <a:gd name="T23" fmla="*/ 72 h 117"/>
                  <a:gd name="T24" fmla="*/ 200 w 200"/>
                  <a:gd name="T25" fmla="*/ 68 h 117"/>
                  <a:gd name="T26" fmla="*/ 200 w 200"/>
                  <a:gd name="T27" fmla="*/ 68 h 117"/>
                  <a:gd name="T28" fmla="*/ 200 w 200"/>
                  <a:gd name="T29" fmla="*/ 59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00" h="117">
                    <a:moveTo>
                      <a:pt x="200" y="59"/>
                    </a:moveTo>
                    <a:cubicBezTo>
                      <a:pt x="185" y="57"/>
                      <a:pt x="185" y="57"/>
                      <a:pt x="185" y="57"/>
                    </a:cubicBezTo>
                    <a:cubicBezTo>
                      <a:pt x="89" y="2"/>
                      <a:pt x="89" y="2"/>
                      <a:pt x="89" y="2"/>
                    </a:cubicBezTo>
                    <a:cubicBezTo>
                      <a:pt x="86" y="0"/>
                      <a:pt x="81" y="0"/>
                      <a:pt x="77" y="2"/>
                    </a:cubicBezTo>
                    <a:cubicBezTo>
                      <a:pt x="9" y="42"/>
                      <a:pt x="9" y="42"/>
                      <a:pt x="9" y="42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51"/>
                      <a:pt x="1" y="52"/>
                      <a:pt x="2" y="53"/>
                    </a:cubicBezTo>
                    <a:cubicBezTo>
                      <a:pt x="111" y="115"/>
                      <a:pt x="111" y="115"/>
                      <a:pt x="111" y="115"/>
                    </a:cubicBezTo>
                    <a:cubicBezTo>
                      <a:pt x="114" y="117"/>
                      <a:pt x="119" y="117"/>
                      <a:pt x="123" y="115"/>
                    </a:cubicBezTo>
                    <a:cubicBezTo>
                      <a:pt x="197" y="72"/>
                      <a:pt x="197" y="72"/>
                      <a:pt x="197" y="72"/>
                    </a:cubicBezTo>
                    <a:cubicBezTo>
                      <a:pt x="199" y="71"/>
                      <a:pt x="200" y="69"/>
                      <a:pt x="200" y="68"/>
                    </a:cubicBezTo>
                    <a:cubicBezTo>
                      <a:pt x="200" y="68"/>
                      <a:pt x="200" y="68"/>
                      <a:pt x="200" y="68"/>
                    </a:cubicBezTo>
                    <a:lnTo>
                      <a:pt x="200" y="59"/>
                    </a:lnTo>
                    <a:close/>
                  </a:path>
                </a:pathLst>
              </a:custGeom>
              <a:solidFill>
                <a:srgbClr val="5793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700" b="1"/>
              </a:p>
            </p:txBody>
          </p:sp>
          <p:sp>
            <p:nvSpPr>
              <p:cNvPr id="126" name="íṡḻíḑê">
                <a:extLst>
                  <a:ext uri="{FF2B5EF4-FFF2-40B4-BE49-F238E27FC236}">
                    <a16:creationId xmlns:a16="http://schemas.microsoft.com/office/drawing/2014/main" id="{DF171BAB-B873-425E-9DC7-897D39C7B7F3}"/>
                  </a:ext>
                </a:extLst>
              </p:cNvPr>
              <p:cNvSpPr/>
              <p:nvPr/>
            </p:nvSpPr>
            <p:spPr bwMode="auto">
              <a:xfrm>
                <a:off x="4886325" y="3040063"/>
                <a:ext cx="422275" cy="319088"/>
              </a:xfrm>
              <a:custGeom>
                <a:avLst/>
                <a:gdLst>
                  <a:gd name="T0" fmla="*/ 128 w 128"/>
                  <a:gd name="T1" fmla="*/ 4 h 97"/>
                  <a:gd name="T2" fmla="*/ 121 w 128"/>
                  <a:gd name="T3" fmla="*/ 0 h 97"/>
                  <a:gd name="T4" fmla="*/ 46 w 128"/>
                  <a:gd name="T5" fmla="*/ 0 h 97"/>
                  <a:gd name="T6" fmla="*/ 9 w 128"/>
                  <a:gd name="T7" fmla="*/ 22 h 97"/>
                  <a:gd name="T8" fmla="*/ 0 w 128"/>
                  <a:gd name="T9" fmla="*/ 20 h 97"/>
                  <a:gd name="T10" fmla="*/ 0 w 128"/>
                  <a:gd name="T11" fmla="*/ 29 h 97"/>
                  <a:gd name="T12" fmla="*/ 0 w 128"/>
                  <a:gd name="T13" fmla="*/ 29 h 97"/>
                  <a:gd name="T14" fmla="*/ 2 w 128"/>
                  <a:gd name="T15" fmla="*/ 33 h 97"/>
                  <a:gd name="T16" fmla="*/ 111 w 128"/>
                  <a:gd name="T17" fmla="*/ 95 h 97"/>
                  <a:gd name="T18" fmla="*/ 117 w 128"/>
                  <a:gd name="T19" fmla="*/ 97 h 97"/>
                  <a:gd name="T20" fmla="*/ 128 w 128"/>
                  <a:gd name="T21" fmla="*/ 4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8" h="97">
                    <a:moveTo>
                      <a:pt x="128" y="4"/>
                    </a:moveTo>
                    <a:cubicBezTo>
                      <a:pt x="121" y="0"/>
                      <a:pt x="121" y="0"/>
                      <a:pt x="121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31"/>
                      <a:pt x="1" y="32"/>
                      <a:pt x="2" y="33"/>
                    </a:cubicBezTo>
                    <a:cubicBezTo>
                      <a:pt x="111" y="95"/>
                      <a:pt x="111" y="95"/>
                      <a:pt x="111" y="95"/>
                    </a:cubicBezTo>
                    <a:cubicBezTo>
                      <a:pt x="113" y="96"/>
                      <a:pt x="115" y="97"/>
                      <a:pt x="117" y="97"/>
                    </a:cubicBezTo>
                    <a:lnTo>
                      <a:pt x="128" y="4"/>
                    </a:lnTo>
                    <a:close/>
                  </a:path>
                </a:pathLst>
              </a:custGeom>
              <a:solidFill>
                <a:srgbClr val="396C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127" name="i$ḻïdè">
                <a:extLst>
                  <a:ext uri="{FF2B5EF4-FFF2-40B4-BE49-F238E27FC236}">
                    <a16:creationId xmlns:a16="http://schemas.microsoft.com/office/drawing/2014/main" id="{6B0DC0CB-11CC-4AAE-9EE0-E37383D47496}"/>
                  </a:ext>
                </a:extLst>
              </p:cNvPr>
              <p:cNvSpPr/>
              <p:nvPr/>
            </p:nvSpPr>
            <p:spPr bwMode="auto">
              <a:xfrm>
                <a:off x="4886325" y="3105150"/>
                <a:ext cx="14288" cy="47625"/>
              </a:xfrm>
              <a:custGeom>
                <a:avLst/>
                <a:gdLst>
                  <a:gd name="T0" fmla="*/ 4 w 4"/>
                  <a:gd name="T1" fmla="*/ 1 h 14"/>
                  <a:gd name="T2" fmla="*/ 0 w 4"/>
                  <a:gd name="T3" fmla="*/ 0 h 14"/>
                  <a:gd name="T4" fmla="*/ 0 w 4"/>
                  <a:gd name="T5" fmla="*/ 9 h 14"/>
                  <a:gd name="T6" fmla="*/ 0 w 4"/>
                  <a:gd name="T7" fmla="*/ 9 h 14"/>
                  <a:gd name="T8" fmla="*/ 2 w 4"/>
                  <a:gd name="T9" fmla="*/ 13 h 14"/>
                  <a:gd name="T10" fmla="*/ 4 w 4"/>
                  <a:gd name="T11" fmla="*/ 14 h 14"/>
                  <a:gd name="T12" fmla="*/ 4 w 4"/>
                  <a:gd name="T13" fmla="*/ 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14">
                    <a:moveTo>
                      <a:pt x="4" y="1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1" y="12"/>
                      <a:pt x="2" y="13"/>
                    </a:cubicBezTo>
                    <a:cubicBezTo>
                      <a:pt x="4" y="14"/>
                      <a:pt x="4" y="14"/>
                      <a:pt x="4" y="14"/>
                    </a:cubicBezTo>
                    <a:lnTo>
                      <a:pt x="4" y="1"/>
                    </a:lnTo>
                    <a:close/>
                  </a:path>
                </a:pathLst>
              </a:custGeom>
              <a:solidFill>
                <a:srgbClr val="5793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128" name="iŝlïḍê">
                <a:extLst>
                  <a:ext uri="{FF2B5EF4-FFF2-40B4-BE49-F238E27FC236}">
                    <a16:creationId xmlns:a16="http://schemas.microsoft.com/office/drawing/2014/main" id="{AE5F0632-970C-4EB9-8CF1-418CB67E6EE2}"/>
                  </a:ext>
                </a:extLst>
              </p:cNvPr>
              <p:cNvSpPr/>
              <p:nvPr/>
            </p:nvSpPr>
            <p:spPr bwMode="auto">
              <a:xfrm>
                <a:off x="5256213" y="3303588"/>
                <a:ext cx="33338" cy="55563"/>
              </a:xfrm>
              <a:custGeom>
                <a:avLst/>
                <a:gdLst>
                  <a:gd name="T0" fmla="*/ 0 w 10"/>
                  <a:gd name="T1" fmla="*/ 16 h 17"/>
                  <a:gd name="T2" fmla="*/ 10 w 10"/>
                  <a:gd name="T3" fmla="*/ 15 h 17"/>
                  <a:gd name="T4" fmla="*/ 10 w 10"/>
                  <a:gd name="T5" fmla="*/ 0 h 17"/>
                  <a:gd name="T6" fmla="*/ 0 w 10"/>
                  <a:gd name="T7" fmla="*/ 0 h 17"/>
                  <a:gd name="T8" fmla="*/ 0 w 10"/>
                  <a:gd name="T9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7">
                    <a:moveTo>
                      <a:pt x="0" y="16"/>
                    </a:moveTo>
                    <a:cubicBezTo>
                      <a:pt x="3" y="17"/>
                      <a:pt x="7" y="17"/>
                      <a:pt x="10" y="15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16"/>
                    </a:lnTo>
                    <a:close/>
                  </a:path>
                </a:pathLst>
              </a:custGeom>
              <a:solidFill>
                <a:srgbClr val="5793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129" name="î$ḻíḑè">
                <a:extLst>
                  <a:ext uri="{FF2B5EF4-FFF2-40B4-BE49-F238E27FC236}">
                    <a16:creationId xmlns:a16="http://schemas.microsoft.com/office/drawing/2014/main" id="{2CA06365-CBE5-4F43-AAF9-CF6C50658E61}"/>
                  </a:ext>
                </a:extLst>
              </p:cNvPr>
              <p:cNvSpPr/>
              <p:nvPr/>
            </p:nvSpPr>
            <p:spPr bwMode="auto">
              <a:xfrm>
                <a:off x="4883150" y="2947988"/>
                <a:ext cx="666750" cy="382588"/>
              </a:xfrm>
              <a:custGeom>
                <a:avLst/>
                <a:gdLst>
                  <a:gd name="T0" fmla="*/ 112 w 202"/>
                  <a:gd name="T1" fmla="*/ 114 h 116"/>
                  <a:gd name="T2" fmla="*/ 3 w 202"/>
                  <a:gd name="T3" fmla="*/ 52 h 116"/>
                  <a:gd name="T4" fmla="*/ 4 w 202"/>
                  <a:gd name="T5" fmla="*/ 45 h 116"/>
                  <a:gd name="T6" fmla="*/ 78 w 202"/>
                  <a:gd name="T7" fmla="*/ 2 h 116"/>
                  <a:gd name="T8" fmla="*/ 90 w 202"/>
                  <a:gd name="T9" fmla="*/ 1 h 116"/>
                  <a:gd name="T10" fmla="*/ 199 w 202"/>
                  <a:gd name="T11" fmla="*/ 64 h 116"/>
                  <a:gd name="T12" fmla="*/ 198 w 202"/>
                  <a:gd name="T13" fmla="*/ 71 h 116"/>
                  <a:gd name="T14" fmla="*/ 124 w 202"/>
                  <a:gd name="T15" fmla="*/ 114 h 116"/>
                  <a:gd name="T16" fmla="*/ 112 w 202"/>
                  <a:gd name="T17" fmla="*/ 114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2" h="116">
                    <a:moveTo>
                      <a:pt x="112" y="114"/>
                    </a:moveTo>
                    <a:cubicBezTo>
                      <a:pt x="3" y="52"/>
                      <a:pt x="3" y="52"/>
                      <a:pt x="3" y="52"/>
                    </a:cubicBezTo>
                    <a:cubicBezTo>
                      <a:pt x="0" y="50"/>
                      <a:pt x="1" y="47"/>
                      <a:pt x="4" y="45"/>
                    </a:cubicBezTo>
                    <a:cubicBezTo>
                      <a:pt x="78" y="2"/>
                      <a:pt x="78" y="2"/>
                      <a:pt x="78" y="2"/>
                    </a:cubicBezTo>
                    <a:cubicBezTo>
                      <a:pt x="82" y="0"/>
                      <a:pt x="87" y="0"/>
                      <a:pt x="90" y="1"/>
                    </a:cubicBezTo>
                    <a:cubicBezTo>
                      <a:pt x="199" y="64"/>
                      <a:pt x="199" y="64"/>
                      <a:pt x="199" y="64"/>
                    </a:cubicBezTo>
                    <a:cubicBezTo>
                      <a:pt x="202" y="66"/>
                      <a:pt x="202" y="69"/>
                      <a:pt x="198" y="71"/>
                    </a:cubicBezTo>
                    <a:cubicBezTo>
                      <a:pt x="124" y="114"/>
                      <a:pt x="124" y="114"/>
                      <a:pt x="124" y="114"/>
                    </a:cubicBezTo>
                    <a:cubicBezTo>
                      <a:pt x="120" y="116"/>
                      <a:pt x="115" y="116"/>
                      <a:pt x="112" y="11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700" b="1"/>
              </a:p>
            </p:txBody>
          </p:sp>
          <p:sp>
            <p:nvSpPr>
              <p:cNvPr id="130" name="î$líḓe">
                <a:extLst>
                  <a:ext uri="{FF2B5EF4-FFF2-40B4-BE49-F238E27FC236}">
                    <a16:creationId xmlns:a16="http://schemas.microsoft.com/office/drawing/2014/main" id="{6C4A72F3-267A-48CB-A6B0-6A6FEFE78237}"/>
                  </a:ext>
                </a:extLst>
              </p:cNvPr>
              <p:cNvSpPr/>
              <p:nvPr/>
            </p:nvSpPr>
            <p:spPr bwMode="auto">
              <a:xfrm>
                <a:off x="4938713" y="3024188"/>
                <a:ext cx="482600" cy="273050"/>
              </a:xfrm>
              <a:custGeom>
                <a:avLst/>
                <a:gdLst>
                  <a:gd name="T0" fmla="*/ 93 w 146"/>
                  <a:gd name="T1" fmla="*/ 82 h 83"/>
                  <a:gd name="T2" fmla="*/ 3 w 146"/>
                  <a:gd name="T3" fmla="*/ 30 h 83"/>
                  <a:gd name="T4" fmla="*/ 3 w 146"/>
                  <a:gd name="T5" fmla="*/ 24 h 83"/>
                  <a:gd name="T6" fmla="*/ 43 w 146"/>
                  <a:gd name="T7" fmla="*/ 2 h 83"/>
                  <a:gd name="T8" fmla="*/ 53 w 146"/>
                  <a:gd name="T9" fmla="*/ 1 h 83"/>
                  <a:gd name="T10" fmla="*/ 144 w 146"/>
                  <a:gd name="T11" fmla="*/ 53 h 83"/>
                  <a:gd name="T12" fmla="*/ 143 w 146"/>
                  <a:gd name="T13" fmla="*/ 59 h 83"/>
                  <a:gd name="T14" fmla="*/ 103 w 146"/>
                  <a:gd name="T15" fmla="*/ 81 h 83"/>
                  <a:gd name="T16" fmla="*/ 93 w 146"/>
                  <a:gd name="T17" fmla="*/ 82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6" h="83">
                    <a:moveTo>
                      <a:pt x="93" y="82"/>
                    </a:moveTo>
                    <a:cubicBezTo>
                      <a:pt x="3" y="30"/>
                      <a:pt x="3" y="30"/>
                      <a:pt x="3" y="30"/>
                    </a:cubicBezTo>
                    <a:cubicBezTo>
                      <a:pt x="0" y="28"/>
                      <a:pt x="0" y="26"/>
                      <a:pt x="3" y="24"/>
                    </a:cubicBezTo>
                    <a:cubicBezTo>
                      <a:pt x="43" y="2"/>
                      <a:pt x="43" y="2"/>
                      <a:pt x="43" y="2"/>
                    </a:cubicBezTo>
                    <a:cubicBezTo>
                      <a:pt x="46" y="0"/>
                      <a:pt x="51" y="0"/>
                      <a:pt x="53" y="1"/>
                    </a:cubicBezTo>
                    <a:cubicBezTo>
                      <a:pt x="144" y="53"/>
                      <a:pt x="144" y="53"/>
                      <a:pt x="144" y="53"/>
                    </a:cubicBezTo>
                    <a:cubicBezTo>
                      <a:pt x="146" y="55"/>
                      <a:pt x="146" y="57"/>
                      <a:pt x="143" y="59"/>
                    </a:cubicBezTo>
                    <a:cubicBezTo>
                      <a:pt x="103" y="81"/>
                      <a:pt x="103" y="81"/>
                      <a:pt x="103" y="81"/>
                    </a:cubicBezTo>
                    <a:cubicBezTo>
                      <a:pt x="100" y="83"/>
                      <a:pt x="96" y="83"/>
                      <a:pt x="93" y="82"/>
                    </a:cubicBezTo>
                    <a:close/>
                  </a:path>
                </a:pathLst>
              </a:custGeom>
              <a:solidFill>
                <a:srgbClr val="D4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131" name="ïṡľiḓé">
                <a:extLst>
                  <a:ext uri="{FF2B5EF4-FFF2-40B4-BE49-F238E27FC236}">
                    <a16:creationId xmlns:a16="http://schemas.microsoft.com/office/drawing/2014/main" id="{C9CCF222-9E70-4BA4-82AD-E5E3D4F30684}"/>
                  </a:ext>
                </a:extLst>
              </p:cNvPr>
              <p:cNvSpPr/>
              <p:nvPr/>
            </p:nvSpPr>
            <p:spPr bwMode="auto">
              <a:xfrm>
                <a:off x="5146675" y="2917825"/>
                <a:ext cx="85725" cy="165100"/>
              </a:xfrm>
              <a:custGeom>
                <a:avLst/>
                <a:gdLst>
                  <a:gd name="T0" fmla="*/ 2 w 26"/>
                  <a:gd name="T1" fmla="*/ 9 h 50"/>
                  <a:gd name="T2" fmla="*/ 1 w 26"/>
                  <a:gd name="T3" fmla="*/ 16 h 50"/>
                  <a:gd name="T4" fmla="*/ 2 w 26"/>
                  <a:gd name="T5" fmla="*/ 36 h 50"/>
                  <a:gd name="T6" fmla="*/ 3 w 26"/>
                  <a:gd name="T7" fmla="*/ 42 h 50"/>
                  <a:gd name="T8" fmla="*/ 11 w 26"/>
                  <a:gd name="T9" fmla="*/ 50 h 50"/>
                  <a:gd name="T10" fmla="*/ 11 w 26"/>
                  <a:gd name="T11" fmla="*/ 50 h 50"/>
                  <a:gd name="T12" fmla="*/ 17 w 26"/>
                  <a:gd name="T13" fmla="*/ 45 h 50"/>
                  <a:gd name="T14" fmla="*/ 18 w 26"/>
                  <a:gd name="T15" fmla="*/ 29 h 50"/>
                  <a:gd name="T16" fmla="*/ 24 w 26"/>
                  <a:gd name="T17" fmla="*/ 34 h 50"/>
                  <a:gd name="T18" fmla="*/ 18 w 26"/>
                  <a:gd name="T19" fmla="*/ 9 h 50"/>
                  <a:gd name="T20" fmla="*/ 2 w 26"/>
                  <a:gd name="T21" fmla="*/ 9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" h="50">
                    <a:moveTo>
                      <a:pt x="2" y="9"/>
                    </a:moveTo>
                    <a:cubicBezTo>
                      <a:pt x="1" y="16"/>
                      <a:pt x="1" y="16"/>
                      <a:pt x="1" y="16"/>
                    </a:cubicBezTo>
                    <a:cubicBezTo>
                      <a:pt x="0" y="23"/>
                      <a:pt x="0" y="29"/>
                      <a:pt x="2" y="36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6"/>
                      <a:pt x="7" y="49"/>
                      <a:pt x="11" y="50"/>
                    </a:cubicBezTo>
                    <a:cubicBezTo>
                      <a:pt x="11" y="50"/>
                      <a:pt x="11" y="50"/>
                      <a:pt x="11" y="50"/>
                    </a:cubicBezTo>
                    <a:cubicBezTo>
                      <a:pt x="13" y="50"/>
                      <a:pt x="16" y="48"/>
                      <a:pt x="17" y="45"/>
                    </a:cubicBezTo>
                    <a:cubicBezTo>
                      <a:pt x="18" y="29"/>
                      <a:pt x="18" y="29"/>
                      <a:pt x="18" y="29"/>
                    </a:cubicBezTo>
                    <a:cubicBezTo>
                      <a:pt x="18" y="29"/>
                      <a:pt x="22" y="34"/>
                      <a:pt x="24" y="34"/>
                    </a:cubicBezTo>
                    <a:cubicBezTo>
                      <a:pt x="26" y="34"/>
                      <a:pt x="22" y="18"/>
                      <a:pt x="18" y="9"/>
                    </a:cubicBezTo>
                    <a:cubicBezTo>
                      <a:pt x="13" y="0"/>
                      <a:pt x="2" y="9"/>
                      <a:pt x="2" y="9"/>
                    </a:cubicBezTo>
                    <a:close/>
                  </a:path>
                </a:pathLst>
              </a:custGeom>
              <a:solidFill>
                <a:srgbClr val="FFC2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132" name="iṡļïdè">
                <a:extLst>
                  <a:ext uri="{FF2B5EF4-FFF2-40B4-BE49-F238E27FC236}">
                    <a16:creationId xmlns:a16="http://schemas.microsoft.com/office/drawing/2014/main" id="{A0749FCF-A24C-4988-893F-278BCE97F9DB}"/>
                  </a:ext>
                </a:extLst>
              </p:cNvPr>
              <p:cNvSpPr/>
              <p:nvPr/>
            </p:nvSpPr>
            <p:spPr bwMode="auto">
              <a:xfrm>
                <a:off x="5130800" y="2479675"/>
                <a:ext cx="146050" cy="468313"/>
              </a:xfrm>
              <a:custGeom>
                <a:avLst/>
                <a:gdLst>
                  <a:gd name="T0" fmla="*/ 44 w 44"/>
                  <a:gd name="T1" fmla="*/ 23 h 142"/>
                  <a:gd name="T2" fmla="*/ 33 w 44"/>
                  <a:gd name="T3" fmla="*/ 46 h 142"/>
                  <a:gd name="T4" fmla="*/ 28 w 44"/>
                  <a:gd name="T5" fmla="*/ 63 h 142"/>
                  <a:gd name="T6" fmla="*/ 23 w 44"/>
                  <a:gd name="T7" fmla="*/ 142 h 142"/>
                  <a:gd name="T8" fmla="*/ 7 w 44"/>
                  <a:gd name="T9" fmla="*/ 142 h 142"/>
                  <a:gd name="T10" fmla="*/ 0 w 44"/>
                  <a:gd name="T11" fmla="*/ 53 h 142"/>
                  <a:gd name="T12" fmla="*/ 1 w 44"/>
                  <a:gd name="T13" fmla="*/ 45 h 142"/>
                  <a:gd name="T14" fmla="*/ 9 w 44"/>
                  <a:gd name="T15" fmla="*/ 0 h 142"/>
                  <a:gd name="T16" fmla="*/ 44 w 44"/>
                  <a:gd name="T17" fmla="*/ 23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142">
                    <a:moveTo>
                      <a:pt x="44" y="23"/>
                    </a:moveTo>
                    <a:cubicBezTo>
                      <a:pt x="33" y="46"/>
                      <a:pt x="33" y="46"/>
                      <a:pt x="33" y="46"/>
                    </a:cubicBezTo>
                    <a:cubicBezTo>
                      <a:pt x="30" y="51"/>
                      <a:pt x="28" y="57"/>
                      <a:pt x="28" y="63"/>
                    </a:cubicBezTo>
                    <a:cubicBezTo>
                      <a:pt x="23" y="142"/>
                      <a:pt x="23" y="142"/>
                      <a:pt x="23" y="142"/>
                    </a:cubicBezTo>
                    <a:cubicBezTo>
                      <a:pt x="7" y="142"/>
                      <a:pt x="7" y="142"/>
                      <a:pt x="7" y="142"/>
                    </a:cubicBezTo>
                    <a:cubicBezTo>
                      <a:pt x="0" y="53"/>
                      <a:pt x="0" y="53"/>
                      <a:pt x="0" y="53"/>
                    </a:cubicBezTo>
                    <a:cubicBezTo>
                      <a:pt x="0" y="50"/>
                      <a:pt x="0" y="48"/>
                      <a:pt x="1" y="45"/>
                    </a:cubicBezTo>
                    <a:cubicBezTo>
                      <a:pt x="9" y="0"/>
                      <a:pt x="9" y="0"/>
                      <a:pt x="9" y="0"/>
                    </a:cubicBezTo>
                    <a:lnTo>
                      <a:pt x="44" y="23"/>
                    </a:lnTo>
                    <a:close/>
                  </a:path>
                </a:pathLst>
              </a:custGeom>
              <a:solidFill>
                <a:srgbClr val="FFC2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1000" b="1"/>
              </a:p>
            </p:txBody>
          </p:sp>
          <p:sp>
            <p:nvSpPr>
              <p:cNvPr id="133" name="îS1îdê">
                <a:extLst>
                  <a:ext uri="{FF2B5EF4-FFF2-40B4-BE49-F238E27FC236}">
                    <a16:creationId xmlns:a16="http://schemas.microsoft.com/office/drawing/2014/main" id="{DDBBACCA-F4D5-49F4-98A5-A630D3C5C970}"/>
                  </a:ext>
                </a:extLst>
              </p:cNvPr>
              <p:cNvSpPr/>
              <p:nvPr/>
            </p:nvSpPr>
            <p:spPr bwMode="auto">
              <a:xfrm>
                <a:off x="4857750" y="2792413"/>
                <a:ext cx="404813" cy="550863"/>
              </a:xfrm>
              <a:custGeom>
                <a:avLst/>
                <a:gdLst>
                  <a:gd name="T0" fmla="*/ 116 w 123"/>
                  <a:gd name="T1" fmla="*/ 167 h 167"/>
                  <a:gd name="T2" fmla="*/ 107 w 123"/>
                  <a:gd name="T3" fmla="*/ 156 h 167"/>
                  <a:gd name="T4" fmla="*/ 11 w 123"/>
                  <a:gd name="T5" fmla="*/ 100 h 167"/>
                  <a:gd name="T6" fmla="*/ 6 w 123"/>
                  <a:gd name="T7" fmla="*/ 89 h 167"/>
                  <a:gd name="T8" fmla="*/ 6 w 123"/>
                  <a:gd name="T9" fmla="*/ 11 h 167"/>
                  <a:gd name="T10" fmla="*/ 0 w 123"/>
                  <a:gd name="T11" fmla="*/ 4 h 167"/>
                  <a:gd name="T12" fmla="*/ 5 w 123"/>
                  <a:gd name="T13" fmla="*/ 1 h 167"/>
                  <a:gd name="T14" fmla="*/ 5 w 123"/>
                  <a:gd name="T15" fmla="*/ 1 h 167"/>
                  <a:gd name="T16" fmla="*/ 9 w 123"/>
                  <a:gd name="T17" fmla="*/ 1 h 167"/>
                  <a:gd name="T18" fmla="*/ 118 w 123"/>
                  <a:gd name="T19" fmla="*/ 64 h 167"/>
                  <a:gd name="T20" fmla="*/ 123 w 123"/>
                  <a:gd name="T21" fmla="*/ 74 h 167"/>
                  <a:gd name="T22" fmla="*/ 123 w 123"/>
                  <a:gd name="T23" fmla="*/ 160 h 167"/>
                  <a:gd name="T24" fmla="*/ 121 w 123"/>
                  <a:gd name="T25" fmla="*/ 165 h 167"/>
                  <a:gd name="T26" fmla="*/ 121 w 123"/>
                  <a:gd name="T27" fmla="*/ 165 h 167"/>
                  <a:gd name="T28" fmla="*/ 116 w 123"/>
                  <a:gd name="T29" fmla="*/ 167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3" h="167">
                    <a:moveTo>
                      <a:pt x="116" y="167"/>
                    </a:moveTo>
                    <a:cubicBezTo>
                      <a:pt x="107" y="156"/>
                      <a:pt x="107" y="156"/>
                      <a:pt x="107" y="156"/>
                    </a:cubicBezTo>
                    <a:cubicBezTo>
                      <a:pt x="11" y="100"/>
                      <a:pt x="11" y="100"/>
                      <a:pt x="11" y="100"/>
                    </a:cubicBezTo>
                    <a:cubicBezTo>
                      <a:pt x="8" y="98"/>
                      <a:pt x="6" y="93"/>
                      <a:pt x="6" y="89"/>
                    </a:cubicBezTo>
                    <a:cubicBezTo>
                      <a:pt x="6" y="11"/>
                      <a:pt x="6" y="11"/>
                      <a:pt x="6" y="11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6" y="0"/>
                      <a:pt x="8" y="0"/>
                      <a:pt x="9" y="1"/>
                    </a:cubicBezTo>
                    <a:cubicBezTo>
                      <a:pt x="118" y="64"/>
                      <a:pt x="118" y="64"/>
                      <a:pt x="118" y="64"/>
                    </a:cubicBezTo>
                    <a:cubicBezTo>
                      <a:pt x="121" y="66"/>
                      <a:pt x="123" y="70"/>
                      <a:pt x="123" y="74"/>
                    </a:cubicBezTo>
                    <a:cubicBezTo>
                      <a:pt x="123" y="160"/>
                      <a:pt x="123" y="160"/>
                      <a:pt x="123" y="160"/>
                    </a:cubicBezTo>
                    <a:cubicBezTo>
                      <a:pt x="123" y="162"/>
                      <a:pt x="123" y="164"/>
                      <a:pt x="121" y="165"/>
                    </a:cubicBezTo>
                    <a:cubicBezTo>
                      <a:pt x="121" y="165"/>
                      <a:pt x="121" y="165"/>
                      <a:pt x="121" y="165"/>
                    </a:cubicBezTo>
                    <a:lnTo>
                      <a:pt x="116" y="167"/>
                    </a:lnTo>
                    <a:close/>
                  </a:path>
                </a:pathLst>
              </a:custGeom>
              <a:solidFill>
                <a:srgbClr val="173D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1400" b="1"/>
              </a:p>
            </p:txBody>
          </p:sp>
          <p:sp>
            <p:nvSpPr>
              <p:cNvPr id="134" name="ïsḻiḑe">
                <a:extLst>
                  <a:ext uri="{FF2B5EF4-FFF2-40B4-BE49-F238E27FC236}">
                    <a16:creationId xmlns:a16="http://schemas.microsoft.com/office/drawing/2014/main" id="{5149E0B3-4A9E-4134-9EA1-BA6B6CE83B87}"/>
                  </a:ext>
                </a:extLst>
              </p:cNvPr>
              <p:cNvSpPr/>
              <p:nvPr/>
            </p:nvSpPr>
            <p:spPr bwMode="auto">
              <a:xfrm>
                <a:off x="4857750" y="2792413"/>
                <a:ext cx="401638" cy="403225"/>
              </a:xfrm>
              <a:custGeom>
                <a:avLst/>
                <a:gdLst>
                  <a:gd name="T0" fmla="*/ 50 w 122"/>
                  <a:gd name="T1" fmla="*/ 122 h 122"/>
                  <a:gd name="T2" fmla="*/ 43 w 122"/>
                  <a:gd name="T3" fmla="*/ 118 h 122"/>
                  <a:gd name="T4" fmla="*/ 6 w 122"/>
                  <a:gd name="T5" fmla="*/ 53 h 122"/>
                  <a:gd name="T6" fmla="*/ 6 w 122"/>
                  <a:gd name="T7" fmla="*/ 11 h 122"/>
                  <a:gd name="T8" fmla="*/ 0 w 122"/>
                  <a:gd name="T9" fmla="*/ 4 h 122"/>
                  <a:gd name="T10" fmla="*/ 5 w 122"/>
                  <a:gd name="T11" fmla="*/ 1 h 122"/>
                  <a:gd name="T12" fmla="*/ 5 w 122"/>
                  <a:gd name="T13" fmla="*/ 1 h 122"/>
                  <a:gd name="T14" fmla="*/ 9 w 122"/>
                  <a:gd name="T15" fmla="*/ 1 h 122"/>
                  <a:gd name="T16" fmla="*/ 118 w 122"/>
                  <a:gd name="T17" fmla="*/ 64 h 122"/>
                  <a:gd name="T18" fmla="*/ 122 w 122"/>
                  <a:gd name="T19" fmla="*/ 69 h 122"/>
                  <a:gd name="T20" fmla="*/ 50 w 122"/>
                  <a:gd name="T21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2" h="122">
                    <a:moveTo>
                      <a:pt x="50" y="122"/>
                    </a:moveTo>
                    <a:cubicBezTo>
                      <a:pt x="43" y="118"/>
                      <a:pt x="43" y="118"/>
                      <a:pt x="43" y="118"/>
                    </a:cubicBezTo>
                    <a:cubicBezTo>
                      <a:pt x="6" y="53"/>
                      <a:pt x="6" y="53"/>
                      <a:pt x="6" y="53"/>
                    </a:cubicBezTo>
                    <a:cubicBezTo>
                      <a:pt x="6" y="11"/>
                      <a:pt x="6" y="11"/>
                      <a:pt x="6" y="11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6" y="0"/>
                      <a:pt x="8" y="0"/>
                      <a:pt x="9" y="1"/>
                    </a:cubicBezTo>
                    <a:cubicBezTo>
                      <a:pt x="118" y="64"/>
                      <a:pt x="118" y="64"/>
                      <a:pt x="118" y="64"/>
                    </a:cubicBezTo>
                    <a:cubicBezTo>
                      <a:pt x="120" y="65"/>
                      <a:pt x="121" y="67"/>
                      <a:pt x="122" y="69"/>
                    </a:cubicBezTo>
                    <a:lnTo>
                      <a:pt x="50" y="122"/>
                    </a:lnTo>
                    <a:close/>
                  </a:path>
                </a:pathLst>
              </a:custGeom>
              <a:solidFill>
                <a:srgbClr val="396C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800" b="1"/>
              </a:p>
            </p:txBody>
          </p:sp>
          <p:sp>
            <p:nvSpPr>
              <p:cNvPr id="135" name="íşḻîḑè">
                <a:extLst>
                  <a:ext uri="{FF2B5EF4-FFF2-40B4-BE49-F238E27FC236}">
                    <a16:creationId xmlns:a16="http://schemas.microsoft.com/office/drawing/2014/main" id="{7116EF39-1FF0-40BD-B0B6-B30EE2A92BF6}"/>
                  </a:ext>
                </a:extLst>
              </p:cNvPr>
              <p:cNvSpPr/>
              <p:nvPr/>
            </p:nvSpPr>
            <p:spPr bwMode="auto">
              <a:xfrm>
                <a:off x="4857750" y="2792413"/>
                <a:ext cx="34925" cy="23813"/>
              </a:xfrm>
              <a:custGeom>
                <a:avLst/>
                <a:gdLst>
                  <a:gd name="T0" fmla="*/ 3 w 11"/>
                  <a:gd name="T1" fmla="*/ 7 h 7"/>
                  <a:gd name="T2" fmla="*/ 0 w 11"/>
                  <a:gd name="T3" fmla="*/ 4 h 7"/>
                  <a:gd name="T4" fmla="*/ 5 w 11"/>
                  <a:gd name="T5" fmla="*/ 1 h 7"/>
                  <a:gd name="T6" fmla="*/ 5 w 11"/>
                  <a:gd name="T7" fmla="*/ 1 h 7"/>
                  <a:gd name="T8" fmla="*/ 9 w 11"/>
                  <a:gd name="T9" fmla="*/ 1 h 7"/>
                  <a:gd name="T10" fmla="*/ 11 w 11"/>
                  <a:gd name="T11" fmla="*/ 2 h 7"/>
                  <a:gd name="T12" fmla="*/ 3 w 11"/>
                  <a:gd name="T1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7">
                    <a:moveTo>
                      <a:pt x="3" y="7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6" y="0"/>
                      <a:pt x="8" y="0"/>
                      <a:pt x="9" y="1"/>
                    </a:cubicBezTo>
                    <a:cubicBezTo>
                      <a:pt x="11" y="2"/>
                      <a:pt x="11" y="2"/>
                      <a:pt x="11" y="2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5793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136" name="îşľîdé">
                <a:extLst>
                  <a:ext uri="{FF2B5EF4-FFF2-40B4-BE49-F238E27FC236}">
                    <a16:creationId xmlns:a16="http://schemas.microsoft.com/office/drawing/2014/main" id="{E8D602AA-DCDB-4E14-A3D3-FF80E0676347}"/>
                  </a:ext>
                </a:extLst>
              </p:cNvPr>
              <p:cNvSpPr/>
              <p:nvPr/>
            </p:nvSpPr>
            <p:spPr bwMode="auto">
              <a:xfrm>
                <a:off x="5213350" y="3003550"/>
                <a:ext cx="49213" cy="52388"/>
              </a:xfrm>
              <a:custGeom>
                <a:avLst/>
                <a:gdLst>
                  <a:gd name="T0" fmla="*/ 11 w 15"/>
                  <a:gd name="T1" fmla="*/ 0 h 16"/>
                  <a:gd name="T2" fmla="*/ 15 w 15"/>
                  <a:gd name="T3" fmla="*/ 10 h 16"/>
                  <a:gd name="T4" fmla="*/ 5 w 15"/>
                  <a:gd name="T5" fmla="*/ 16 h 16"/>
                  <a:gd name="T6" fmla="*/ 0 w 15"/>
                  <a:gd name="T7" fmla="*/ 7 h 16"/>
                  <a:gd name="T8" fmla="*/ 11 w 15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6">
                    <a:moveTo>
                      <a:pt x="11" y="0"/>
                    </a:moveTo>
                    <a:cubicBezTo>
                      <a:pt x="13" y="2"/>
                      <a:pt x="15" y="6"/>
                      <a:pt x="15" y="10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0" y="7"/>
                      <a:pt x="0" y="7"/>
                      <a:pt x="0" y="7"/>
                    </a:cubicBez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274F8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137" name="işḻîḑê">
                <a:extLst>
                  <a:ext uri="{FF2B5EF4-FFF2-40B4-BE49-F238E27FC236}">
                    <a16:creationId xmlns:a16="http://schemas.microsoft.com/office/drawing/2014/main" id="{E883F24E-5AE4-4F2D-A9A1-5AD7F34556C2}"/>
                  </a:ext>
                </a:extLst>
              </p:cNvPr>
              <p:cNvSpPr/>
              <p:nvPr/>
            </p:nvSpPr>
            <p:spPr bwMode="auto">
              <a:xfrm>
                <a:off x="4849813" y="2798763"/>
                <a:ext cx="396875" cy="550863"/>
              </a:xfrm>
              <a:custGeom>
                <a:avLst/>
                <a:gdLst>
                  <a:gd name="T0" fmla="*/ 115 w 120"/>
                  <a:gd name="T1" fmla="*/ 65 h 167"/>
                  <a:gd name="T2" fmla="*/ 6 w 120"/>
                  <a:gd name="T3" fmla="*/ 2 h 167"/>
                  <a:gd name="T4" fmla="*/ 0 w 120"/>
                  <a:gd name="T5" fmla="*/ 6 h 167"/>
                  <a:gd name="T6" fmla="*/ 0 w 120"/>
                  <a:gd name="T7" fmla="*/ 92 h 167"/>
                  <a:gd name="T8" fmla="*/ 6 w 120"/>
                  <a:gd name="T9" fmla="*/ 102 h 167"/>
                  <a:gd name="T10" fmla="*/ 115 w 120"/>
                  <a:gd name="T11" fmla="*/ 165 h 167"/>
                  <a:gd name="T12" fmla="*/ 120 w 120"/>
                  <a:gd name="T13" fmla="*/ 161 h 167"/>
                  <a:gd name="T14" fmla="*/ 120 w 120"/>
                  <a:gd name="T15" fmla="*/ 75 h 167"/>
                  <a:gd name="T16" fmla="*/ 115 w 120"/>
                  <a:gd name="T17" fmla="*/ 65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0" h="167">
                    <a:moveTo>
                      <a:pt x="115" y="65"/>
                    </a:moveTo>
                    <a:cubicBezTo>
                      <a:pt x="6" y="2"/>
                      <a:pt x="6" y="2"/>
                      <a:pt x="6" y="2"/>
                    </a:cubicBezTo>
                    <a:cubicBezTo>
                      <a:pt x="3" y="0"/>
                      <a:pt x="0" y="2"/>
                      <a:pt x="0" y="6"/>
                    </a:cubicBezTo>
                    <a:cubicBezTo>
                      <a:pt x="0" y="92"/>
                      <a:pt x="0" y="92"/>
                      <a:pt x="0" y="92"/>
                    </a:cubicBezTo>
                    <a:cubicBezTo>
                      <a:pt x="0" y="96"/>
                      <a:pt x="3" y="100"/>
                      <a:pt x="6" y="102"/>
                    </a:cubicBezTo>
                    <a:cubicBezTo>
                      <a:pt x="115" y="165"/>
                      <a:pt x="115" y="165"/>
                      <a:pt x="115" y="165"/>
                    </a:cubicBezTo>
                    <a:cubicBezTo>
                      <a:pt x="118" y="167"/>
                      <a:pt x="120" y="165"/>
                      <a:pt x="120" y="161"/>
                    </a:cubicBezTo>
                    <a:cubicBezTo>
                      <a:pt x="120" y="75"/>
                      <a:pt x="120" y="75"/>
                      <a:pt x="120" y="75"/>
                    </a:cubicBezTo>
                    <a:cubicBezTo>
                      <a:pt x="120" y="71"/>
                      <a:pt x="118" y="67"/>
                      <a:pt x="115" y="65"/>
                    </a:cubicBezTo>
                    <a:close/>
                  </a:path>
                </a:pathLst>
              </a:custGeom>
              <a:solidFill>
                <a:srgbClr val="5793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1400" b="1"/>
              </a:p>
            </p:txBody>
          </p:sp>
          <p:sp>
            <p:nvSpPr>
              <p:cNvPr id="138" name="íṣlîďè">
                <a:extLst>
                  <a:ext uri="{FF2B5EF4-FFF2-40B4-BE49-F238E27FC236}">
                    <a16:creationId xmlns:a16="http://schemas.microsoft.com/office/drawing/2014/main" id="{F4508307-61A5-4CE3-ADBE-918EAD046C9F}"/>
                  </a:ext>
                </a:extLst>
              </p:cNvPr>
              <p:cNvSpPr/>
              <p:nvPr/>
            </p:nvSpPr>
            <p:spPr bwMode="auto">
              <a:xfrm>
                <a:off x="5283200" y="3030538"/>
                <a:ext cx="122238" cy="111125"/>
              </a:xfrm>
              <a:custGeom>
                <a:avLst/>
                <a:gdLst>
                  <a:gd name="T0" fmla="*/ 37 w 37"/>
                  <a:gd name="T1" fmla="*/ 11 h 34"/>
                  <a:gd name="T2" fmla="*/ 35 w 37"/>
                  <a:gd name="T3" fmla="*/ 15 h 34"/>
                  <a:gd name="T4" fmla="*/ 26 w 37"/>
                  <a:gd name="T5" fmla="*/ 25 h 34"/>
                  <a:gd name="T6" fmla="*/ 16 w 37"/>
                  <a:gd name="T7" fmla="*/ 32 h 34"/>
                  <a:gd name="T8" fmla="*/ 5 w 37"/>
                  <a:gd name="T9" fmla="*/ 32 h 34"/>
                  <a:gd name="T10" fmla="*/ 4 w 37"/>
                  <a:gd name="T11" fmla="*/ 32 h 34"/>
                  <a:gd name="T12" fmla="*/ 3 w 37"/>
                  <a:gd name="T13" fmla="*/ 22 h 34"/>
                  <a:gd name="T14" fmla="*/ 15 w 37"/>
                  <a:gd name="T15" fmla="*/ 10 h 34"/>
                  <a:gd name="T16" fmla="*/ 6 w 37"/>
                  <a:gd name="T17" fmla="*/ 13 h 34"/>
                  <a:gd name="T18" fmla="*/ 18 w 37"/>
                  <a:gd name="T19" fmla="*/ 4 h 34"/>
                  <a:gd name="T20" fmla="*/ 30 w 37"/>
                  <a:gd name="T21" fmla="*/ 0 h 34"/>
                  <a:gd name="T22" fmla="*/ 37 w 37"/>
                  <a:gd name="T23" fmla="*/ 1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34">
                    <a:moveTo>
                      <a:pt x="37" y="11"/>
                    </a:moveTo>
                    <a:cubicBezTo>
                      <a:pt x="35" y="15"/>
                      <a:pt x="35" y="15"/>
                      <a:pt x="35" y="15"/>
                    </a:cubicBezTo>
                    <a:cubicBezTo>
                      <a:pt x="33" y="19"/>
                      <a:pt x="30" y="23"/>
                      <a:pt x="26" y="25"/>
                    </a:cubicBezTo>
                    <a:cubicBezTo>
                      <a:pt x="16" y="32"/>
                      <a:pt x="16" y="32"/>
                      <a:pt x="16" y="32"/>
                    </a:cubicBezTo>
                    <a:cubicBezTo>
                      <a:pt x="12" y="34"/>
                      <a:pt x="8" y="34"/>
                      <a:pt x="5" y="32"/>
                    </a:cubicBezTo>
                    <a:cubicBezTo>
                      <a:pt x="4" y="32"/>
                      <a:pt x="4" y="32"/>
                      <a:pt x="4" y="32"/>
                    </a:cubicBezTo>
                    <a:cubicBezTo>
                      <a:pt x="1" y="30"/>
                      <a:pt x="0" y="25"/>
                      <a:pt x="3" y="22"/>
                    </a:cubicBezTo>
                    <a:cubicBezTo>
                      <a:pt x="15" y="10"/>
                      <a:pt x="15" y="10"/>
                      <a:pt x="15" y="10"/>
                    </a:cubicBezTo>
                    <a:cubicBezTo>
                      <a:pt x="15" y="10"/>
                      <a:pt x="8" y="15"/>
                      <a:pt x="6" y="13"/>
                    </a:cubicBezTo>
                    <a:cubicBezTo>
                      <a:pt x="5" y="12"/>
                      <a:pt x="13" y="5"/>
                      <a:pt x="18" y="4"/>
                    </a:cubicBezTo>
                    <a:cubicBezTo>
                      <a:pt x="24" y="4"/>
                      <a:pt x="30" y="0"/>
                      <a:pt x="30" y="0"/>
                    </a:cubicBezTo>
                    <a:lnTo>
                      <a:pt x="37" y="11"/>
                    </a:lnTo>
                    <a:close/>
                  </a:path>
                </a:pathLst>
              </a:custGeom>
              <a:solidFill>
                <a:srgbClr val="FFC2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139" name="íSlíḑé">
                <a:extLst>
                  <a:ext uri="{FF2B5EF4-FFF2-40B4-BE49-F238E27FC236}">
                    <a16:creationId xmlns:a16="http://schemas.microsoft.com/office/drawing/2014/main" id="{A95362E0-9CD4-434F-A1CE-0E9B92FD1D0B}"/>
                  </a:ext>
                </a:extLst>
              </p:cNvPr>
              <p:cNvSpPr/>
              <p:nvPr/>
            </p:nvSpPr>
            <p:spPr bwMode="auto">
              <a:xfrm>
                <a:off x="5121275" y="2205038"/>
                <a:ext cx="273050" cy="433388"/>
              </a:xfrm>
              <a:custGeom>
                <a:avLst/>
                <a:gdLst>
                  <a:gd name="T0" fmla="*/ 58 w 83"/>
                  <a:gd name="T1" fmla="*/ 0 h 131"/>
                  <a:gd name="T2" fmla="*/ 0 w 83"/>
                  <a:gd name="T3" fmla="*/ 86 h 131"/>
                  <a:gd name="T4" fmla="*/ 48 w 83"/>
                  <a:gd name="T5" fmla="*/ 121 h 131"/>
                  <a:gd name="T6" fmla="*/ 58 w 83"/>
                  <a:gd name="T7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3" h="131">
                    <a:moveTo>
                      <a:pt x="58" y="0"/>
                    </a:moveTo>
                    <a:cubicBezTo>
                      <a:pt x="58" y="0"/>
                      <a:pt x="16" y="45"/>
                      <a:pt x="0" y="86"/>
                    </a:cubicBezTo>
                    <a:cubicBezTo>
                      <a:pt x="0" y="86"/>
                      <a:pt x="14" y="111"/>
                      <a:pt x="48" y="121"/>
                    </a:cubicBezTo>
                    <a:cubicBezTo>
                      <a:pt x="83" y="131"/>
                      <a:pt x="58" y="0"/>
                      <a:pt x="58" y="0"/>
                    </a:cubicBezTo>
                    <a:close/>
                  </a:path>
                </a:pathLst>
              </a:custGeom>
              <a:solidFill>
                <a:srgbClr val="FF2C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800" b="1"/>
              </a:p>
            </p:txBody>
          </p:sp>
          <p:sp>
            <p:nvSpPr>
              <p:cNvPr id="140" name="íŝḷíḓê">
                <a:extLst>
                  <a:ext uri="{FF2B5EF4-FFF2-40B4-BE49-F238E27FC236}">
                    <a16:creationId xmlns:a16="http://schemas.microsoft.com/office/drawing/2014/main" id="{D5522C70-AAF4-48BB-B6B6-2F60FB9A59F3}"/>
                  </a:ext>
                </a:extLst>
              </p:cNvPr>
              <p:cNvSpPr/>
              <p:nvPr/>
            </p:nvSpPr>
            <p:spPr bwMode="auto">
              <a:xfrm>
                <a:off x="5222875" y="2384425"/>
                <a:ext cx="53975" cy="214313"/>
              </a:xfrm>
              <a:custGeom>
                <a:avLst/>
                <a:gdLst>
                  <a:gd name="T0" fmla="*/ 10 w 16"/>
                  <a:gd name="T1" fmla="*/ 65 h 65"/>
                  <a:gd name="T2" fmla="*/ 16 w 16"/>
                  <a:gd name="T3" fmla="*/ 0 h 65"/>
                  <a:gd name="T4" fmla="*/ 0 w 16"/>
                  <a:gd name="T5" fmla="*/ 61 h 65"/>
                  <a:gd name="T6" fmla="*/ 10 w 16"/>
                  <a:gd name="T7" fmla="*/ 6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65">
                    <a:moveTo>
                      <a:pt x="10" y="65"/>
                    </a:moveTo>
                    <a:cubicBezTo>
                      <a:pt x="16" y="0"/>
                      <a:pt x="16" y="0"/>
                      <a:pt x="16" y="0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3" y="62"/>
                      <a:pt x="6" y="64"/>
                      <a:pt x="10" y="65"/>
                    </a:cubicBezTo>
                    <a:close/>
                  </a:path>
                </a:pathLst>
              </a:custGeom>
              <a:solidFill>
                <a:srgbClr val="D300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141" name="ïṩḷiḋe">
                <a:extLst>
                  <a:ext uri="{FF2B5EF4-FFF2-40B4-BE49-F238E27FC236}">
                    <a16:creationId xmlns:a16="http://schemas.microsoft.com/office/drawing/2014/main" id="{75115A37-294F-4BE3-8AC1-1F364AB10E07}"/>
                  </a:ext>
                </a:extLst>
              </p:cNvPr>
              <p:cNvSpPr/>
              <p:nvPr/>
            </p:nvSpPr>
            <p:spPr bwMode="auto">
              <a:xfrm>
                <a:off x="5375275" y="2166938"/>
                <a:ext cx="73025" cy="38100"/>
              </a:xfrm>
              <a:custGeom>
                <a:avLst/>
                <a:gdLst>
                  <a:gd name="T0" fmla="*/ 12 w 22"/>
                  <a:gd name="T1" fmla="*/ 3 h 12"/>
                  <a:gd name="T2" fmla="*/ 0 w 22"/>
                  <a:gd name="T3" fmla="*/ 0 h 12"/>
                  <a:gd name="T4" fmla="*/ 14 w 22"/>
                  <a:gd name="T5" fmla="*/ 10 h 12"/>
                  <a:gd name="T6" fmla="*/ 22 w 22"/>
                  <a:gd name="T7" fmla="*/ 6 h 12"/>
                  <a:gd name="T8" fmla="*/ 12 w 22"/>
                  <a:gd name="T9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12">
                    <a:moveTo>
                      <a:pt x="12" y="3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6" y="8"/>
                      <a:pt x="14" y="10"/>
                    </a:cubicBezTo>
                    <a:cubicBezTo>
                      <a:pt x="21" y="12"/>
                      <a:pt x="22" y="6"/>
                      <a:pt x="22" y="6"/>
                    </a:cubicBezTo>
                    <a:lnTo>
                      <a:pt x="12" y="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142" name="ïṧḻíḑe">
                <a:extLst>
                  <a:ext uri="{FF2B5EF4-FFF2-40B4-BE49-F238E27FC236}">
                    <a16:creationId xmlns:a16="http://schemas.microsoft.com/office/drawing/2014/main" id="{CC55CD23-83E8-43A6-A7C1-F2CD497DBD49}"/>
                  </a:ext>
                </a:extLst>
              </p:cNvPr>
              <p:cNvSpPr/>
              <p:nvPr/>
            </p:nvSpPr>
            <p:spPr bwMode="auto">
              <a:xfrm>
                <a:off x="5570538" y="2097088"/>
                <a:ext cx="38100" cy="39688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143" name="i$ľïḓe">
                <a:extLst>
                  <a:ext uri="{FF2B5EF4-FFF2-40B4-BE49-F238E27FC236}">
                    <a16:creationId xmlns:a16="http://schemas.microsoft.com/office/drawing/2014/main" id="{3D35818D-0681-40A2-B2A7-01FD1BBB2784}"/>
                  </a:ext>
                </a:extLst>
              </p:cNvPr>
              <p:cNvSpPr/>
              <p:nvPr/>
            </p:nvSpPr>
            <p:spPr bwMode="auto">
              <a:xfrm>
                <a:off x="6338888" y="3573463"/>
                <a:ext cx="828675" cy="479425"/>
              </a:xfrm>
              <a:custGeom>
                <a:avLst/>
                <a:gdLst>
                  <a:gd name="T0" fmla="*/ 206 w 251"/>
                  <a:gd name="T1" fmla="*/ 120 h 145"/>
                  <a:gd name="T2" fmla="*/ 44 w 251"/>
                  <a:gd name="T3" fmla="*/ 120 h 145"/>
                  <a:gd name="T4" fmla="*/ 44 w 251"/>
                  <a:gd name="T5" fmla="*/ 26 h 145"/>
                  <a:gd name="T6" fmla="*/ 206 w 251"/>
                  <a:gd name="T7" fmla="*/ 26 h 145"/>
                  <a:gd name="T8" fmla="*/ 206 w 251"/>
                  <a:gd name="T9" fmla="*/ 120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1" h="145">
                    <a:moveTo>
                      <a:pt x="206" y="120"/>
                    </a:moveTo>
                    <a:cubicBezTo>
                      <a:pt x="162" y="145"/>
                      <a:pt x="89" y="145"/>
                      <a:pt x="44" y="120"/>
                    </a:cubicBezTo>
                    <a:cubicBezTo>
                      <a:pt x="0" y="94"/>
                      <a:pt x="0" y="52"/>
                      <a:pt x="44" y="26"/>
                    </a:cubicBezTo>
                    <a:cubicBezTo>
                      <a:pt x="89" y="0"/>
                      <a:pt x="162" y="0"/>
                      <a:pt x="206" y="26"/>
                    </a:cubicBezTo>
                    <a:cubicBezTo>
                      <a:pt x="251" y="52"/>
                      <a:pt x="251" y="94"/>
                      <a:pt x="206" y="120"/>
                    </a:cubicBezTo>
                    <a:close/>
                  </a:path>
                </a:pathLst>
              </a:custGeom>
              <a:solidFill>
                <a:srgbClr val="173D7A">
                  <a:alpha val="30000"/>
                </a:srgbClr>
              </a:solidFill>
              <a:ln>
                <a:noFill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1100" b="1"/>
              </a:p>
            </p:txBody>
          </p:sp>
          <p:sp>
            <p:nvSpPr>
              <p:cNvPr id="144" name="ïṣḻíḍé">
                <a:extLst>
                  <a:ext uri="{FF2B5EF4-FFF2-40B4-BE49-F238E27FC236}">
                    <a16:creationId xmlns:a16="http://schemas.microsoft.com/office/drawing/2014/main" id="{390C432C-1494-4BBE-B82A-9ABC18A6901A}"/>
                  </a:ext>
                </a:extLst>
              </p:cNvPr>
              <p:cNvSpPr/>
              <p:nvPr/>
            </p:nvSpPr>
            <p:spPr bwMode="auto">
              <a:xfrm>
                <a:off x="6321425" y="3313113"/>
                <a:ext cx="858838" cy="587375"/>
              </a:xfrm>
              <a:custGeom>
                <a:avLst/>
                <a:gdLst>
                  <a:gd name="T0" fmla="*/ 260 w 260"/>
                  <a:gd name="T1" fmla="*/ 95 h 178"/>
                  <a:gd name="T2" fmla="*/ 260 w 260"/>
                  <a:gd name="T3" fmla="*/ 59 h 178"/>
                  <a:gd name="T4" fmla="*/ 254 w 260"/>
                  <a:gd name="T5" fmla="*/ 59 h 178"/>
                  <a:gd name="T6" fmla="*/ 222 w 260"/>
                  <a:gd name="T7" fmla="*/ 30 h 178"/>
                  <a:gd name="T8" fmla="*/ 38 w 260"/>
                  <a:gd name="T9" fmla="*/ 30 h 178"/>
                  <a:gd name="T10" fmla="*/ 7 w 260"/>
                  <a:gd name="T11" fmla="*/ 59 h 178"/>
                  <a:gd name="T12" fmla="*/ 0 w 260"/>
                  <a:gd name="T13" fmla="*/ 59 h 178"/>
                  <a:gd name="T14" fmla="*/ 0 w 260"/>
                  <a:gd name="T15" fmla="*/ 95 h 178"/>
                  <a:gd name="T16" fmla="*/ 0 w 260"/>
                  <a:gd name="T17" fmla="*/ 95 h 178"/>
                  <a:gd name="T18" fmla="*/ 38 w 260"/>
                  <a:gd name="T19" fmla="*/ 149 h 178"/>
                  <a:gd name="T20" fmla="*/ 222 w 260"/>
                  <a:gd name="T21" fmla="*/ 149 h 178"/>
                  <a:gd name="T22" fmla="*/ 260 w 260"/>
                  <a:gd name="T23" fmla="*/ 95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60" h="178">
                    <a:moveTo>
                      <a:pt x="260" y="95"/>
                    </a:moveTo>
                    <a:cubicBezTo>
                      <a:pt x="260" y="59"/>
                      <a:pt x="260" y="59"/>
                      <a:pt x="260" y="59"/>
                    </a:cubicBezTo>
                    <a:cubicBezTo>
                      <a:pt x="254" y="59"/>
                      <a:pt x="254" y="59"/>
                      <a:pt x="254" y="59"/>
                    </a:cubicBezTo>
                    <a:cubicBezTo>
                      <a:pt x="247" y="48"/>
                      <a:pt x="237" y="38"/>
                      <a:pt x="222" y="30"/>
                    </a:cubicBezTo>
                    <a:cubicBezTo>
                      <a:pt x="172" y="0"/>
                      <a:pt x="89" y="0"/>
                      <a:pt x="38" y="30"/>
                    </a:cubicBezTo>
                    <a:cubicBezTo>
                      <a:pt x="24" y="38"/>
                      <a:pt x="13" y="48"/>
                      <a:pt x="7" y="59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0" y="95"/>
                      <a:pt x="0" y="95"/>
                      <a:pt x="0" y="95"/>
                    </a:cubicBezTo>
                    <a:cubicBezTo>
                      <a:pt x="0" y="95"/>
                      <a:pt x="0" y="95"/>
                      <a:pt x="0" y="95"/>
                    </a:cubicBezTo>
                    <a:cubicBezTo>
                      <a:pt x="0" y="115"/>
                      <a:pt x="13" y="134"/>
                      <a:pt x="38" y="149"/>
                    </a:cubicBezTo>
                    <a:cubicBezTo>
                      <a:pt x="89" y="178"/>
                      <a:pt x="172" y="178"/>
                      <a:pt x="222" y="149"/>
                    </a:cubicBezTo>
                    <a:cubicBezTo>
                      <a:pt x="248" y="134"/>
                      <a:pt x="260" y="115"/>
                      <a:pt x="260" y="95"/>
                    </a:cubicBezTo>
                    <a:close/>
                  </a:path>
                </a:pathLst>
              </a:custGeom>
              <a:solidFill>
                <a:srgbClr val="FF2C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1600" b="1"/>
              </a:p>
            </p:txBody>
          </p:sp>
          <p:sp>
            <p:nvSpPr>
              <p:cNvPr id="145" name="iśľïḍè">
                <a:extLst>
                  <a:ext uri="{FF2B5EF4-FFF2-40B4-BE49-F238E27FC236}">
                    <a16:creationId xmlns:a16="http://schemas.microsoft.com/office/drawing/2014/main" id="{11D1A14B-0DCE-4E5F-8403-5129CCB1B6F3}"/>
                  </a:ext>
                </a:extLst>
              </p:cNvPr>
              <p:cNvSpPr/>
              <p:nvPr/>
            </p:nvSpPr>
            <p:spPr bwMode="auto">
              <a:xfrm>
                <a:off x="6278563" y="3233738"/>
                <a:ext cx="944563" cy="544513"/>
              </a:xfrm>
              <a:custGeom>
                <a:avLst/>
                <a:gdLst>
                  <a:gd name="T0" fmla="*/ 235 w 286"/>
                  <a:gd name="T1" fmla="*/ 136 h 165"/>
                  <a:gd name="T2" fmla="*/ 51 w 286"/>
                  <a:gd name="T3" fmla="*/ 136 h 165"/>
                  <a:gd name="T4" fmla="*/ 51 w 286"/>
                  <a:gd name="T5" fmla="*/ 30 h 165"/>
                  <a:gd name="T6" fmla="*/ 235 w 286"/>
                  <a:gd name="T7" fmla="*/ 30 h 165"/>
                  <a:gd name="T8" fmla="*/ 235 w 286"/>
                  <a:gd name="T9" fmla="*/ 136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6" h="165">
                    <a:moveTo>
                      <a:pt x="235" y="136"/>
                    </a:moveTo>
                    <a:cubicBezTo>
                      <a:pt x="185" y="165"/>
                      <a:pt x="102" y="165"/>
                      <a:pt x="51" y="136"/>
                    </a:cubicBezTo>
                    <a:cubicBezTo>
                      <a:pt x="0" y="107"/>
                      <a:pt x="0" y="59"/>
                      <a:pt x="51" y="30"/>
                    </a:cubicBezTo>
                    <a:cubicBezTo>
                      <a:pt x="102" y="0"/>
                      <a:pt x="185" y="0"/>
                      <a:pt x="235" y="30"/>
                    </a:cubicBezTo>
                    <a:cubicBezTo>
                      <a:pt x="286" y="59"/>
                      <a:pt x="286" y="107"/>
                      <a:pt x="235" y="136"/>
                    </a:cubicBezTo>
                    <a:close/>
                  </a:path>
                </a:pathLst>
              </a:custGeom>
              <a:solidFill>
                <a:srgbClr val="FF2C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1200" b="1"/>
              </a:p>
            </p:txBody>
          </p:sp>
          <p:sp>
            <p:nvSpPr>
              <p:cNvPr id="146" name="ïŝ1iḓe">
                <a:extLst>
                  <a:ext uri="{FF2B5EF4-FFF2-40B4-BE49-F238E27FC236}">
                    <a16:creationId xmlns:a16="http://schemas.microsoft.com/office/drawing/2014/main" id="{58C4A09E-7FD3-49BB-BC12-B3C922A25959}"/>
                  </a:ext>
                </a:extLst>
              </p:cNvPr>
              <p:cNvSpPr/>
              <p:nvPr/>
            </p:nvSpPr>
            <p:spPr bwMode="auto">
              <a:xfrm>
                <a:off x="6318250" y="3514725"/>
                <a:ext cx="865188" cy="280988"/>
              </a:xfrm>
              <a:custGeom>
                <a:avLst/>
                <a:gdLst>
                  <a:gd name="T0" fmla="*/ 223 w 262"/>
                  <a:gd name="T1" fmla="*/ 51 h 85"/>
                  <a:gd name="T2" fmla="*/ 39 w 262"/>
                  <a:gd name="T3" fmla="*/ 51 h 85"/>
                  <a:gd name="T4" fmla="*/ 1 w 262"/>
                  <a:gd name="T5" fmla="*/ 0 h 85"/>
                  <a:gd name="T6" fmla="*/ 39 w 262"/>
                  <a:gd name="T7" fmla="*/ 56 h 85"/>
                  <a:gd name="T8" fmla="*/ 223 w 262"/>
                  <a:gd name="T9" fmla="*/ 56 h 85"/>
                  <a:gd name="T10" fmla="*/ 261 w 262"/>
                  <a:gd name="T11" fmla="*/ 0 h 85"/>
                  <a:gd name="T12" fmla="*/ 223 w 262"/>
                  <a:gd name="T13" fmla="*/ 51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2" h="85">
                    <a:moveTo>
                      <a:pt x="223" y="51"/>
                    </a:moveTo>
                    <a:cubicBezTo>
                      <a:pt x="173" y="80"/>
                      <a:pt x="90" y="80"/>
                      <a:pt x="39" y="51"/>
                    </a:cubicBezTo>
                    <a:cubicBezTo>
                      <a:pt x="15" y="37"/>
                      <a:pt x="2" y="19"/>
                      <a:pt x="1" y="0"/>
                    </a:cubicBezTo>
                    <a:cubicBezTo>
                      <a:pt x="0" y="20"/>
                      <a:pt x="13" y="41"/>
                      <a:pt x="39" y="56"/>
                    </a:cubicBezTo>
                    <a:cubicBezTo>
                      <a:pt x="90" y="85"/>
                      <a:pt x="173" y="85"/>
                      <a:pt x="223" y="56"/>
                    </a:cubicBezTo>
                    <a:cubicBezTo>
                      <a:pt x="250" y="41"/>
                      <a:pt x="262" y="20"/>
                      <a:pt x="261" y="0"/>
                    </a:cubicBezTo>
                    <a:cubicBezTo>
                      <a:pt x="260" y="19"/>
                      <a:pt x="248" y="37"/>
                      <a:pt x="223" y="5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147" name="isliḓe">
                <a:extLst>
                  <a:ext uri="{FF2B5EF4-FFF2-40B4-BE49-F238E27FC236}">
                    <a16:creationId xmlns:a16="http://schemas.microsoft.com/office/drawing/2014/main" id="{31A21827-9F36-4D5E-BE8A-C9FE85D1F669}"/>
                  </a:ext>
                </a:extLst>
              </p:cNvPr>
              <p:cNvSpPr/>
              <p:nvPr/>
            </p:nvSpPr>
            <p:spPr bwMode="auto">
              <a:xfrm>
                <a:off x="6532563" y="3389313"/>
                <a:ext cx="519113" cy="207963"/>
              </a:xfrm>
              <a:custGeom>
                <a:avLst/>
                <a:gdLst>
                  <a:gd name="T0" fmla="*/ 4 w 157"/>
                  <a:gd name="T1" fmla="*/ 61 h 63"/>
                  <a:gd name="T2" fmla="*/ 0 w 157"/>
                  <a:gd name="T3" fmla="*/ 56 h 63"/>
                  <a:gd name="T4" fmla="*/ 0 w 157"/>
                  <a:gd name="T5" fmla="*/ 7 h 63"/>
                  <a:gd name="T6" fmla="*/ 12 w 157"/>
                  <a:gd name="T7" fmla="*/ 0 h 63"/>
                  <a:gd name="T8" fmla="*/ 24 w 157"/>
                  <a:gd name="T9" fmla="*/ 7 h 63"/>
                  <a:gd name="T10" fmla="*/ 24 w 157"/>
                  <a:gd name="T11" fmla="*/ 48 h 63"/>
                  <a:gd name="T12" fmla="*/ 141 w 157"/>
                  <a:gd name="T13" fmla="*/ 33 h 63"/>
                  <a:gd name="T14" fmla="*/ 155 w 157"/>
                  <a:gd name="T15" fmla="*/ 38 h 63"/>
                  <a:gd name="T16" fmla="*/ 146 w 157"/>
                  <a:gd name="T17" fmla="*/ 47 h 63"/>
                  <a:gd name="T18" fmla="*/ 14 w 157"/>
                  <a:gd name="T19" fmla="*/ 63 h 63"/>
                  <a:gd name="T20" fmla="*/ 4 w 157"/>
                  <a:gd name="T21" fmla="*/ 61 h 63"/>
                  <a:gd name="T22" fmla="*/ 4 w 157"/>
                  <a:gd name="T23" fmla="*/ 6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7" h="63">
                    <a:moveTo>
                      <a:pt x="4" y="61"/>
                    </a:moveTo>
                    <a:cubicBezTo>
                      <a:pt x="1" y="60"/>
                      <a:pt x="0" y="58"/>
                      <a:pt x="0" y="56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3"/>
                      <a:pt x="6" y="0"/>
                      <a:pt x="12" y="0"/>
                    </a:cubicBezTo>
                    <a:cubicBezTo>
                      <a:pt x="18" y="0"/>
                      <a:pt x="24" y="3"/>
                      <a:pt x="24" y="7"/>
                    </a:cubicBezTo>
                    <a:cubicBezTo>
                      <a:pt x="24" y="48"/>
                      <a:pt x="24" y="48"/>
                      <a:pt x="24" y="48"/>
                    </a:cubicBezTo>
                    <a:cubicBezTo>
                      <a:pt x="141" y="33"/>
                      <a:pt x="141" y="33"/>
                      <a:pt x="141" y="33"/>
                    </a:cubicBezTo>
                    <a:cubicBezTo>
                      <a:pt x="148" y="32"/>
                      <a:pt x="154" y="35"/>
                      <a:pt x="155" y="38"/>
                    </a:cubicBezTo>
                    <a:cubicBezTo>
                      <a:pt x="157" y="42"/>
                      <a:pt x="153" y="46"/>
                      <a:pt x="146" y="47"/>
                    </a:cubicBezTo>
                    <a:cubicBezTo>
                      <a:pt x="14" y="63"/>
                      <a:pt x="14" y="63"/>
                      <a:pt x="14" y="63"/>
                    </a:cubicBezTo>
                    <a:cubicBezTo>
                      <a:pt x="11" y="63"/>
                      <a:pt x="7" y="63"/>
                      <a:pt x="4" y="61"/>
                    </a:cubicBezTo>
                    <a:cubicBezTo>
                      <a:pt x="4" y="61"/>
                      <a:pt x="4" y="61"/>
                      <a:pt x="4" y="6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148" name="íşľiḋè">
                <a:extLst>
                  <a:ext uri="{FF2B5EF4-FFF2-40B4-BE49-F238E27FC236}">
                    <a16:creationId xmlns:a16="http://schemas.microsoft.com/office/drawing/2014/main" id="{AE976924-A90E-4FDA-AF9E-F79F8A9410B9}"/>
                  </a:ext>
                </a:extLst>
              </p:cNvPr>
              <p:cNvSpPr/>
              <p:nvPr/>
            </p:nvSpPr>
            <p:spPr bwMode="auto">
              <a:xfrm>
                <a:off x="4041775" y="5140325"/>
                <a:ext cx="455613" cy="260350"/>
              </a:xfrm>
              <a:custGeom>
                <a:avLst/>
                <a:gdLst>
                  <a:gd name="T0" fmla="*/ 144 w 287"/>
                  <a:gd name="T1" fmla="*/ 164 h 164"/>
                  <a:gd name="T2" fmla="*/ 0 w 287"/>
                  <a:gd name="T3" fmla="*/ 81 h 164"/>
                  <a:gd name="T4" fmla="*/ 144 w 287"/>
                  <a:gd name="T5" fmla="*/ 0 h 164"/>
                  <a:gd name="T6" fmla="*/ 287 w 287"/>
                  <a:gd name="T7" fmla="*/ 81 h 164"/>
                  <a:gd name="T8" fmla="*/ 144 w 287"/>
                  <a:gd name="T9" fmla="*/ 164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7" h="164">
                    <a:moveTo>
                      <a:pt x="144" y="164"/>
                    </a:moveTo>
                    <a:lnTo>
                      <a:pt x="0" y="81"/>
                    </a:lnTo>
                    <a:lnTo>
                      <a:pt x="144" y="0"/>
                    </a:lnTo>
                    <a:lnTo>
                      <a:pt x="287" y="81"/>
                    </a:lnTo>
                    <a:lnTo>
                      <a:pt x="144" y="164"/>
                    </a:lnTo>
                    <a:close/>
                  </a:path>
                </a:pathLst>
              </a:custGeom>
              <a:solidFill>
                <a:srgbClr val="8A9DBC"/>
              </a:solidFill>
              <a:ln>
                <a:noFill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149" name="iśḻîḍe">
                <a:extLst>
                  <a:ext uri="{FF2B5EF4-FFF2-40B4-BE49-F238E27FC236}">
                    <a16:creationId xmlns:a16="http://schemas.microsoft.com/office/drawing/2014/main" id="{8B1E109D-604B-49BB-BA86-0782783D39FF}"/>
                  </a:ext>
                </a:extLst>
              </p:cNvPr>
              <p:cNvSpPr/>
              <p:nvPr/>
            </p:nvSpPr>
            <p:spPr bwMode="auto">
              <a:xfrm>
                <a:off x="4270375" y="4840288"/>
                <a:ext cx="227013" cy="395288"/>
              </a:xfrm>
              <a:custGeom>
                <a:avLst/>
                <a:gdLst>
                  <a:gd name="T0" fmla="*/ 143 w 143"/>
                  <a:gd name="T1" fmla="*/ 166 h 249"/>
                  <a:gd name="T2" fmla="*/ 0 w 143"/>
                  <a:gd name="T3" fmla="*/ 249 h 249"/>
                  <a:gd name="T4" fmla="*/ 0 w 143"/>
                  <a:gd name="T5" fmla="*/ 83 h 249"/>
                  <a:gd name="T6" fmla="*/ 143 w 143"/>
                  <a:gd name="T7" fmla="*/ 0 h 249"/>
                  <a:gd name="T8" fmla="*/ 143 w 143"/>
                  <a:gd name="T9" fmla="*/ 166 h 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3" h="249">
                    <a:moveTo>
                      <a:pt x="143" y="166"/>
                    </a:moveTo>
                    <a:lnTo>
                      <a:pt x="0" y="249"/>
                    </a:lnTo>
                    <a:lnTo>
                      <a:pt x="0" y="83"/>
                    </a:lnTo>
                    <a:lnTo>
                      <a:pt x="143" y="0"/>
                    </a:lnTo>
                    <a:lnTo>
                      <a:pt x="143" y="166"/>
                    </a:lnTo>
                    <a:close/>
                  </a:path>
                </a:pathLst>
              </a:custGeom>
              <a:solidFill>
                <a:srgbClr val="D300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800" b="1"/>
              </a:p>
            </p:txBody>
          </p:sp>
          <p:sp>
            <p:nvSpPr>
              <p:cNvPr id="150" name="ïṩ1iďê">
                <a:extLst>
                  <a:ext uri="{FF2B5EF4-FFF2-40B4-BE49-F238E27FC236}">
                    <a16:creationId xmlns:a16="http://schemas.microsoft.com/office/drawing/2014/main" id="{BB668ABC-E03E-4985-A056-FA84B7359E0B}"/>
                  </a:ext>
                </a:extLst>
              </p:cNvPr>
              <p:cNvSpPr/>
              <p:nvPr/>
            </p:nvSpPr>
            <p:spPr bwMode="auto">
              <a:xfrm>
                <a:off x="4041775" y="4708525"/>
                <a:ext cx="455613" cy="263525"/>
              </a:xfrm>
              <a:custGeom>
                <a:avLst/>
                <a:gdLst>
                  <a:gd name="T0" fmla="*/ 144 w 287"/>
                  <a:gd name="T1" fmla="*/ 166 h 166"/>
                  <a:gd name="T2" fmla="*/ 0 w 287"/>
                  <a:gd name="T3" fmla="*/ 83 h 166"/>
                  <a:gd name="T4" fmla="*/ 144 w 287"/>
                  <a:gd name="T5" fmla="*/ 0 h 166"/>
                  <a:gd name="T6" fmla="*/ 287 w 287"/>
                  <a:gd name="T7" fmla="*/ 83 h 166"/>
                  <a:gd name="T8" fmla="*/ 144 w 287"/>
                  <a:gd name="T9" fmla="*/ 166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7" h="166">
                    <a:moveTo>
                      <a:pt x="144" y="166"/>
                    </a:moveTo>
                    <a:lnTo>
                      <a:pt x="0" y="83"/>
                    </a:lnTo>
                    <a:lnTo>
                      <a:pt x="144" y="0"/>
                    </a:lnTo>
                    <a:lnTo>
                      <a:pt x="287" y="83"/>
                    </a:lnTo>
                    <a:lnTo>
                      <a:pt x="144" y="166"/>
                    </a:lnTo>
                    <a:close/>
                  </a:path>
                </a:pathLst>
              </a:custGeom>
              <a:solidFill>
                <a:srgbClr val="FF2C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  <p:sp>
            <p:nvSpPr>
              <p:cNvPr id="151" name="îSlîḋê">
                <a:extLst>
                  <a:ext uri="{FF2B5EF4-FFF2-40B4-BE49-F238E27FC236}">
                    <a16:creationId xmlns:a16="http://schemas.microsoft.com/office/drawing/2014/main" id="{3EDB5260-0E82-4338-90AA-0E09A65C5CEB}"/>
                  </a:ext>
                </a:extLst>
              </p:cNvPr>
              <p:cNvSpPr/>
              <p:nvPr/>
            </p:nvSpPr>
            <p:spPr bwMode="auto">
              <a:xfrm>
                <a:off x="4041775" y="4840288"/>
                <a:ext cx="228600" cy="395288"/>
              </a:xfrm>
              <a:custGeom>
                <a:avLst/>
                <a:gdLst>
                  <a:gd name="T0" fmla="*/ 144 w 144"/>
                  <a:gd name="T1" fmla="*/ 249 h 249"/>
                  <a:gd name="T2" fmla="*/ 0 w 144"/>
                  <a:gd name="T3" fmla="*/ 166 h 249"/>
                  <a:gd name="T4" fmla="*/ 0 w 144"/>
                  <a:gd name="T5" fmla="*/ 0 h 249"/>
                  <a:gd name="T6" fmla="*/ 144 w 144"/>
                  <a:gd name="T7" fmla="*/ 83 h 249"/>
                  <a:gd name="T8" fmla="*/ 144 w 144"/>
                  <a:gd name="T9" fmla="*/ 249 h 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4" h="249">
                    <a:moveTo>
                      <a:pt x="144" y="249"/>
                    </a:moveTo>
                    <a:lnTo>
                      <a:pt x="0" y="166"/>
                    </a:lnTo>
                    <a:lnTo>
                      <a:pt x="0" y="0"/>
                    </a:lnTo>
                    <a:lnTo>
                      <a:pt x="144" y="83"/>
                    </a:lnTo>
                    <a:lnTo>
                      <a:pt x="144" y="249"/>
                    </a:lnTo>
                    <a:close/>
                  </a:path>
                </a:pathLst>
              </a:custGeom>
              <a:solidFill>
                <a:srgbClr val="FF2C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800" b="1"/>
              </a:p>
            </p:txBody>
          </p:sp>
          <p:sp>
            <p:nvSpPr>
              <p:cNvPr id="152" name="ïşļiḓé">
                <a:extLst>
                  <a:ext uri="{FF2B5EF4-FFF2-40B4-BE49-F238E27FC236}">
                    <a16:creationId xmlns:a16="http://schemas.microsoft.com/office/drawing/2014/main" id="{2965EBCA-FA70-4064-BB7E-B6B88A1684A6}"/>
                  </a:ext>
                </a:extLst>
              </p:cNvPr>
              <p:cNvSpPr/>
              <p:nvPr/>
            </p:nvSpPr>
            <p:spPr bwMode="auto">
              <a:xfrm>
                <a:off x="4124325" y="4981575"/>
                <a:ext cx="63500" cy="112713"/>
              </a:xfrm>
              <a:custGeom>
                <a:avLst/>
                <a:gdLst>
                  <a:gd name="T0" fmla="*/ 40 w 40"/>
                  <a:gd name="T1" fmla="*/ 71 h 71"/>
                  <a:gd name="T2" fmla="*/ 0 w 40"/>
                  <a:gd name="T3" fmla="*/ 46 h 71"/>
                  <a:gd name="T4" fmla="*/ 0 w 40"/>
                  <a:gd name="T5" fmla="*/ 0 h 71"/>
                  <a:gd name="T6" fmla="*/ 40 w 40"/>
                  <a:gd name="T7" fmla="*/ 23 h 71"/>
                  <a:gd name="T8" fmla="*/ 40 w 40"/>
                  <a:gd name="T9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71">
                    <a:moveTo>
                      <a:pt x="40" y="71"/>
                    </a:moveTo>
                    <a:lnTo>
                      <a:pt x="0" y="46"/>
                    </a:lnTo>
                    <a:lnTo>
                      <a:pt x="0" y="0"/>
                    </a:lnTo>
                    <a:lnTo>
                      <a:pt x="40" y="23"/>
                    </a:lnTo>
                    <a:lnTo>
                      <a:pt x="40" y="7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600" b="1"/>
              </a:p>
            </p:txBody>
          </p:sp>
        </p:grpSp>
        <p:sp>
          <p:nvSpPr>
            <p:cNvPr id="38" name="ïṧḷïďè">
              <a:extLst>
                <a:ext uri="{FF2B5EF4-FFF2-40B4-BE49-F238E27FC236}">
                  <a16:creationId xmlns:a16="http://schemas.microsoft.com/office/drawing/2014/main" id="{73DA5CA1-A22D-45FF-B355-18D3880E7B99}"/>
                </a:ext>
              </a:extLst>
            </p:cNvPr>
            <p:cNvSpPr/>
            <p:nvPr/>
          </p:nvSpPr>
          <p:spPr>
            <a:xfrm>
              <a:off x="3621773" y="4091442"/>
              <a:ext cx="2188997" cy="438811"/>
            </a:xfrm>
            <a:prstGeom prst="rect">
              <a:avLst/>
            </a:prstGeom>
            <a:no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fontScale="925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r>
                <a:rPr lang="en-US" altLang="zh-CN" b="1" dirty="0">
                  <a:solidFill>
                    <a:schemeClr val="tx1"/>
                  </a:solidFill>
                </a:rPr>
                <a:t>A  / A</a:t>
              </a:r>
              <a:r>
                <a:rPr lang="zh-CN" altLang="en-US" b="1" dirty="0">
                  <a:solidFill>
                    <a:schemeClr val="tx1"/>
                  </a:solidFill>
                </a:rPr>
                <a:t>半 </a:t>
              </a:r>
              <a:r>
                <a:rPr lang="en-US" altLang="zh-CN" b="1" dirty="0">
                  <a:solidFill>
                    <a:schemeClr val="tx1"/>
                  </a:solidFill>
                </a:rPr>
                <a:t>/ B / B</a:t>
              </a:r>
              <a:r>
                <a:rPr lang="zh-CN" altLang="en-US" b="1" dirty="0">
                  <a:solidFill>
                    <a:schemeClr val="tx1"/>
                  </a:solidFill>
                </a:rPr>
                <a:t>半 班</a:t>
              </a:r>
            </a:p>
          </p:txBody>
        </p:sp>
        <p:sp>
          <p:nvSpPr>
            <p:cNvPr id="36" name="íślïḋe">
              <a:extLst>
                <a:ext uri="{FF2B5EF4-FFF2-40B4-BE49-F238E27FC236}">
                  <a16:creationId xmlns:a16="http://schemas.microsoft.com/office/drawing/2014/main" id="{73DA5CA1-A22D-45FF-B355-18D3880E7B99}"/>
                </a:ext>
              </a:extLst>
            </p:cNvPr>
            <p:cNvSpPr/>
            <p:nvPr/>
          </p:nvSpPr>
          <p:spPr>
            <a:xfrm>
              <a:off x="2178745" y="2634725"/>
              <a:ext cx="1868716" cy="676742"/>
            </a:xfrm>
            <a:prstGeom prst="rect">
              <a:avLst/>
            </a:prstGeom>
            <a:no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zh-CN" altLang="en-US" b="1" dirty="0">
                  <a:solidFill>
                    <a:schemeClr val="tx1"/>
                  </a:solidFill>
                </a:rPr>
                <a:t>早 </a:t>
              </a:r>
              <a:r>
                <a:rPr lang="en-US" altLang="zh-CN" b="1" dirty="0">
                  <a:solidFill>
                    <a:schemeClr val="tx1"/>
                  </a:solidFill>
                </a:rPr>
                <a:t>/ </a:t>
              </a:r>
              <a:r>
                <a:rPr lang="zh-CN" altLang="en-US" b="1" dirty="0">
                  <a:solidFill>
                    <a:schemeClr val="tx1"/>
                  </a:solidFill>
                </a:rPr>
                <a:t>中 </a:t>
              </a:r>
              <a:r>
                <a:rPr lang="en-US" altLang="zh-CN" b="1" dirty="0">
                  <a:solidFill>
                    <a:schemeClr val="tx1"/>
                  </a:solidFill>
                </a:rPr>
                <a:t>/ </a:t>
              </a:r>
              <a:r>
                <a:rPr lang="zh-CN" altLang="en-US" b="1" dirty="0">
                  <a:solidFill>
                    <a:schemeClr val="tx1"/>
                  </a:solidFill>
                </a:rPr>
                <a:t>晚  班</a:t>
              </a:r>
            </a:p>
          </p:txBody>
        </p:sp>
        <p:sp>
          <p:nvSpPr>
            <p:cNvPr id="34" name="ïšļídè">
              <a:extLst>
                <a:ext uri="{FF2B5EF4-FFF2-40B4-BE49-F238E27FC236}">
                  <a16:creationId xmlns:a16="http://schemas.microsoft.com/office/drawing/2014/main" id="{73DA5CA1-A22D-45FF-B355-18D3880E7B99}"/>
                </a:ext>
              </a:extLst>
            </p:cNvPr>
            <p:cNvSpPr/>
            <p:nvPr/>
          </p:nvSpPr>
          <p:spPr>
            <a:xfrm>
              <a:off x="4798702" y="2742624"/>
              <a:ext cx="3871035" cy="438811"/>
            </a:xfrm>
            <a:prstGeom prst="rect">
              <a:avLst/>
            </a:prstGeom>
            <a:no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r>
                <a:rPr lang="en-US" altLang="zh-CN" b="1" dirty="0">
                  <a:solidFill>
                    <a:schemeClr val="tx1"/>
                  </a:solidFill>
                </a:rPr>
                <a:t>A / A</a:t>
              </a:r>
              <a:r>
                <a:rPr lang="zh-CN" altLang="en-US" b="1" dirty="0">
                  <a:solidFill>
                    <a:schemeClr val="tx1"/>
                  </a:solidFill>
                </a:rPr>
                <a:t>半 </a:t>
              </a:r>
              <a:r>
                <a:rPr lang="en-US" altLang="zh-CN" b="1" dirty="0">
                  <a:solidFill>
                    <a:schemeClr val="tx1"/>
                  </a:solidFill>
                </a:rPr>
                <a:t>/ B / B</a:t>
              </a:r>
              <a:r>
                <a:rPr lang="zh-CN" altLang="en-US" b="1" dirty="0">
                  <a:solidFill>
                    <a:schemeClr val="tx1"/>
                  </a:solidFill>
                </a:rPr>
                <a:t>半 </a:t>
              </a:r>
              <a:r>
                <a:rPr lang="en-US" altLang="zh-CN" b="1" dirty="0">
                  <a:solidFill>
                    <a:schemeClr val="tx1"/>
                  </a:solidFill>
                </a:rPr>
                <a:t>/ C</a:t>
              </a:r>
              <a:r>
                <a:rPr lang="zh-CN" altLang="en-US" b="1" dirty="0">
                  <a:solidFill>
                    <a:schemeClr val="tx1"/>
                  </a:solidFill>
                </a:rPr>
                <a:t>串 </a:t>
              </a:r>
              <a:r>
                <a:rPr lang="en-US" altLang="zh-CN" b="1" dirty="0">
                  <a:solidFill>
                    <a:schemeClr val="tx1"/>
                  </a:solidFill>
                </a:rPr>
                <a:t>/ </a:t>
              </a:r>
              <a:r>
                <a:rPr lang="zh-CN" altLang="en-US" b="1" dirty="0">
                  <a:solidFill>
                    <a:schemeClr val="tx1"/>
                  </a:solidFill>
                </a:rPr>
                <a:t>半串  班</a:t>
              </a:r>
            </a:p>
          </p:txBody>
        </p:sp>
        <p:sp>
          <p:nvSpPr>
            <p:cNvPr id="32" name="íşľîďê">
              <a:extLst>
                <a:ext uri="{FF2B5EF4-FFF2-40B4-BE49-F238E27FC236}">
                  <a16:creationId xmlns:a16="http://schemas.microsoft.com/office/drawing/2014/main" id="{73DA5CA1-A22D-45FF-B355-18D3880E7B99}"/>
                </a:ext>
              </a:extLst>
            </p:cNvPr>
            <p:cNvSpPr/>
            <p:nvPr/>
          </p:nvSpPr>
          <p:spPr>
            <a:xfrm>
              <a:off x="7153607" y="4119426"/>
              <a:ext cx="1492248" cy="438811"/>
            </a:xfrm>
            <a:prstGeom prst="rect">
              <a:avLst/>
            </a:prstGeom>
            <a:no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lvl="0" algn="ctr">
                <a:lnSpc>
                  <a:spcPct val="120000"/>
                </a:lnSpc>
              </a:pPr>
              <a:r>
                <a:rPr lang="zh-CN" altLang="en-US" b="1" dirty="0">
                  <a:solidFill>
                    <a:schemeClr val="tx1"/>
                  </a:solidFill>
                </a:rPr>
                <a:t>小时 班</a:t>
              </a:r>
            </a:p>
          </p:txBody>
        </p:sp>
        <p:grpSp>
          <p:nvGrpSpPr>
            <p:cNvPr id="13" name="íšḻîďé">
              <a:extLst>
                <a:ext uri="{FF2B5EF4-FFF2-40B4-BE49-F238E27FC236}">
                  <a16:creationId xmlns:a16="http://schemas.microsoft.com/office/drawing/2014/main" id="{BDEDBE6C-FA9B-449D-99E6-F9014F6F0B6F}"/>
                </a:ext>
              </a:extLst>
            </p:cNvPr>
            <p:cNvGrpSpPr/>
            <p:nvPr/>
          </p:nvGrpSpPr>
          <p:grpSpPr>
            <a:xfrm>
              <a:off x="1163842" y="3389517"/>
              <a:ext cx="485366" cy="485366"/>
              <a:chOff x="1145735" y="3371410"/>
              <a:chExt cx="521580" cy="521580"/>
            </a:xfrm>
          </p:grpSpPr>
          <p:sp>
            <p:nvSpPr>
              <p:cNvPr id="30" name="îsļídê">
                <a:extLst>
                  <a:ext uri="{FF2B5EF4-FFF2-40B4-BE49-F238E27FC236}">
                    <a16:creationId xmlns:a16="http://schemas.microsoft.com/office/drawing/2014/main" id="{5B7B5DDE-1B1E-4215-B642-13A76E7AB440}"/>
                  </a:ext>
                </a:extLst>
              </p:cNvPr>
              <p:cNvSpPr/>
              <p:nvPr/>
            </p:nvSpPr>
            <p:spPr>
              <a:xfrm>
                <a:off x="1145735" y="3371410"/>
                <a:ext cx="521580" cy="521580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1" name="íṩlïde">
                <a:extLst>
                  <a:ext uri="{FF2B5EF4-FFF2-40B4-BE49-F238E27FC236}">
                    <a16:creationId xmlns:a16="http://schemas.microsoft.com/office/drawing/2014/main" id="{9DE71D22-904C-4A5E-8952-1A483B9B06B9}"/>
                  </a:ext>
                </a:extLst>
              </p:cNvPr>
              <p:cNvSpPr/>
              <p:nvPr/>
            </p:nvSpPr>
            <p:spPr>
              <a:xfrm>
                <a:off x="1259224" y="3488157"/>
                <a:ext cx="294603" cy="288086"/>
              </a:xfrm>
              <a:custGeom>
                <a:avLst/>
                <a:gdLst>
                  <a:gd name="connsiteX0" fmla="*/ 454143 w 606157"/>
                  <a:gd name="connsiteY0" fmla="*/ 386956 h 592750"/>
                  <a:gd name="connsiteX1" fmla="*/ 454143 w 606157"/>
                  <a:gd name="connsiteY1" fmla="*/ 559114 h 592750"/>
                  <a:gd name="connsiteX2" fmla="*/ 456800 w 606157"/>
                  <a:gd name="connsiteY2" fmla="*/ 561957 h 592750"/>
                  <a:gd name="connsiteX3" fmla="*/ 466005 w 606157"/>
                  <a:gd name="connsiteY3" fmla="*/ 561957 h 592750"/>
                  <a:gd name="connsiteX4" fmla="*/ 467997 w 606157"/>
                  <a:gd name="connsiteY4" fmla="*/ 559114 h 592750"/>
                  <a:gd name="connsiteX5" fmla="*/ 467997 w 606157"/>
                  <a:gd name="connsiteY5" fmla="*/ 386956 h 592750"/>
                  <a:gd name="connsiteX6" fmla="*/ 242918 w 606157"/>
                  <a:gd name="connsiteY6" fmla="*/ 134357 h 592750"/>
                  <a:gd name="connsiteX7" fmla="*/ 256203 w 606157"/>
                  <a:gd name="connsiteY7" fmla="*/ 141463 h 592750"/>
                  <a:gd name="connsiteX8" fmla="*/ 323764 w 606157"/>
                  <a:gd name="connsiteY8" fmla="*/ 230906 h 592750"/>
                  <a:gd name="connsiteX9" fmla="*/ 326327 w 606157"/>
                  <a:gd name="connsiteY9" fmla="*/ 244644 h 592750"/>
                  <a:gd name="connsiteX10" fmla="*/ 313801 w 606157"/>
                  <a:gd name="connsiteY10" fmla="*/ 250803 h 592750"/>
                  <a:gd name="connsiteX11" fmla="*/ 286757 w 606157"/>
                  <a:gd name="connsiteY11" fmla="*/ 250803 h 592750"/>
                  <a:gd name="connsiteX12" fmla="*/ 286757 w 606157"/>
                  <a:gd name="connsiteY12" fmla="*/ 561957 h 592750"/>
                  <a:gd name="connsiteX13" fmla="*/ 386202 w 606157"/>
                  <a:gd name="connsiteY13" fmla="*/ 561957 h 592750"/>
                  <a:gd name="connsiteX14" fmla="*/ 389144 w 606157"/>
                  <a:gd name="connsiteY14" fmla="*/ 559114 h 592750"/>
                  <a:gd name="connsiteX15" fmla="*/ 389144 w 606157"/>
                  <a:gd name="connsiteY15" fmla="*/ 332760 h 592750"/>
                  <a:gd name="connsiteX16" fmla="*/ 389144 w 606157"/>
                  <a:gd name="connsiteY16" fmla="*/ 306799 h 592750"/>
                  <a:gd name="connsiteX17" fmla="*/ 378136 w 606157"/>
                  <a:gd name="connsiteY17" fmla="*/ 332192 h 592750"/>
                  <a:gd name="connsiteX18" fmla="*/ 350998 w 606157"/>
                  <a:gd name="connsiteY18" fmla="*/ 350004 h 592750"/>
                  <a:gd name="connsiteX19" fmla="*/ 339232 w 606157"/>
                  <a:gd name="connsiteY19" fmla="*/ 347541 h 592750"/>
                  <a:gd name="connsiteX20" fmla="*/ 323575 w 606157"/>
                  <a:gd name="connsiteY20" fmla="*/ 331339 h 592750"/>
                  <a:gd name="connsiteX21" fmla="*/ 323859 w 606157"/>
                  <a:gd name="connsiteY21" fmla="*/ 308789 h 592750"/>
                  <a:gd name="connsiteX22" fmla="*/ 380793 w 606157"/>
                  <a:gd name="connsiteY22" fmla="*/ 177278 h 592750"/>
                  <a:gd name="connsiteX23" fmla="*/ 404041 w 606157"/>
                  <a:gd name="connsiteY23" fmla="*/ 159750 h 592750"/>
                  <a:gd name="connsiteX24" fmla="*/ 514683 w 606157"/>
                  <a:gd name="connsiteY24" fmla="*/ 159465 h 592750"/>
                  <a:gd name="connsiteX25" fmla="*/ 542296 w 606157"/>
                  <a:gd name="connsiteY25" fmla="*/ 177278 h 592750"/>
                  <a:gd name="connsiteX26" fmla="*/ 599230 w 606157"/>
                  <a:gd name="connsiteY26" fmla="*/ 308789 h 592750"/>
                  <a:gd name="connsiteX27" fmla="*/ 599610 w 606157"/>
                  <a:gd name="connsiteY27" fmla="*/ 331339 h 592750"/>
                  <a:gd name="connsiteX28" fmla="*/ 583858 w 606157"/>
                  <a:gd name="connsiteY28" fmla="*/ 347541 h 592750"/>
                  <a:gd name="connsiteX29" fmla="*/ 572092 w 606157"/>
                  <a:gd name="connsiteY29" fmla="*/ 350004 h 592750"/>
                  <a:gd name="connsiteX30" fmla="*/ 544953 w 606157"/>
                  <a:gd name="connsiteY30" fmla="*/ 332192 h 592750"/>
                  <a:gd name="connsiteX31" fmla="*/ 532997 w 606157"/>
                  <a:gd name="connsiteY31" fmla="*/ 304525 h 592750"/>
                  <a:gd name="connsiteX32" fmla="*/ 532997 w 606157"/>
                  <a:gd name="connsiteY32" fmla="*/ 332760 h 592750"/>
                  <a:gd name="connsiteX33" fmla="*/ 532997 w 606157"/>
                  <a:gd name="connsiteY33" fmla="*/ 559114 h 592750"/>
                  <a:gd name="connsiteX34" fmla="*/ 536887 w 606157"/>
                  <a:gd name="connsiteY34" fmla="*/ 561957 h 592750"/>
                  <a:gd name="connsiteX35" fmla="*/ 590785 w 606157"/>
                  <a:gd name="connsiteY35" fmla="*/ 561957 h 592750"/>
                  <a:gd name="connsiteX36" fmla="*/ 606157 w 606157"/>
                  <a:gd name="connsiteY36" fmla="*/ 577401 h 592750"/>
                  <a:gd name="connsiteX37" fmla="*/ 590785 w 606157"/>
                  <a:gd name="connsiteY37" fmla="*/ 592750 h 592750"/>
                  <a:gd name="connsiteX38" fmla="*/ 15372 w 606157"/>
                  <a:gd name="connsiteY38" fmla="*/ 592750 h 592750"/>
                  <a:gd name="connsiteX39" fmla="*/ 0 w 606157"/>
                  <a:gd name="connsiteY39" fmla="*/ 577401 h 592750"/>
                  <a:gd name="connsiteX40" fmla="*/ 15372 w 606157"/>
                  <a:gd name="connsiteY40" fmla="*/ 561957 h 592750"/>
                  <a:gd name="connsiteX41" fmla="*/ 50766 w 606157"/>
                  <a:gd name="connsiteY41" fmla="*/ 561957 h 592750"/>
                  <a:gd name="connsiteX42" fmla="*/ 50766 w 606157"/>
                  <a:gd name="connsiteY42" fmla="*/ 369617 h 592750"/>
                  <a:gd name="connsiteX43" fmla="*/ 23628 w 606157"/>
                  <a:gd name="connsiteY43" fmla="*/ 369617 h 592750"/>
                  <a:gd name="connsiteX44" fmla="*/ 11102 w 606157"/>
                  <a:gd name="connsiteY44" fmla="*/ 363459 h 592750"/>
                  <a:gd name="connsiteX45" fmla="*/ 13759 w 606157"/>
                  <a:gd name="connsiteY45" fmla="*/ 349720 h 592750"/>
                  <a:gd name="connsiteX46" fmla="*/ 81226 w 606157"/>
                  <a:gd name="connsiteY46" fmla="*/ 260278 h 592750"/>
                  <a:gd name="connsiteX47" fmla="*/ 94605 w 606157"/>
                  <a:gd name="connsiteY47" fmla="*/ 253172 h 592750"/>
                  <a:gd name="connsiteX48" fmla="*/ 107890 w 606157"/>
                  <a:gd name="connsiteY48" fmla="*/ 260278 h 592750"/>
                  <a:gd name="connsiteX49" fmla="*/ 175452 w 606157"/>
                  <a:gd name="connsiteY49" fmla="*/ 349720 h 592750"/>
                  <a:gd name="connsiteX50" fmla="*/ 178014 w 606157"/>
                  <a:gd name="connsiteY50" fmla="*/ 363459 h 592750"/>
                  <a:gd name="connsiteX51" fmla="*/ 165488 w 606157"/>
                  <a:gd name="connsiteY51" fmla="*/ 369617 h 592750"/>
                  <a:gd name="connsiteX52" fmla="*/ 138350 w 606157"/>
                  <a:gd name="connsiteY52" fmla="*/ 369617 h 592750"/>
                  <a:gd name="connsiteX53" fmla="*/ 138350 w 606157"/>
                  <a:gd name="connsiteY53" fmla="*/ 561957 h 592750"/>
                  <a:gd name="connsiteX54" fmla="*/ 199079 w 606157"/>
                  <a:gd name="connsiteY54" fmla="*/ 561957 h 592750"/>
                  <a:gd name="connsiteX55" fmla="*/ 199079 w 606157"/>
                  <a:gd name="connsiteY55" fmla="*/ 250803 h 592750"/>
                  <a:gd name="connsiteX56" fmla="*/ 172035 w 606157"/>
                  <a:gd name="connsiteY56" fmla="*/ 250803 h 592750"/>
                  <a:gd name="connsiteX57" fmla="*/ 159510 w 606157"/>
                  <a:gd name="connsiteY57" fmla="*/ 244644 h 592750"/>
                  <a:gd name="connsiteX58" fmla="*/ 162072 w 606157"/>
                  <a:gd name="connsiteY58" fmla="*/ 230906 h 592750"/>
                  <a:gd name="connsiteX59" fmla="*/ 229539 w 606157"/>
                  <a:gd name="connsiteY59" fmla="*/ 141463 h 592750"/>
                  <a:gd name="connsiteX60" fmla="*/ 242918 w 606157"/>
                  <a:gd name="connsiteY60" fmla="*/ 134357 h 592750"/>
                  <a:gd name="connsiteX61" fmla="*/ 458182 w 606157"/>
                  <a:gd name="connsiteY61" fmla="*/ 0 h 592750"/>
                  <a:gd name="connsiteX62" fmla="*/ 532629 w 606157"/>
                  <a:gd name="connsiteY62" fmla="*/ 74306 h 592750"/>
                  <a:gd name="connsiteX63" fmla="*/ 458182 w 606157"/>
                  <a:gd name="connsiteY63" fmla="*/ 148612 h 592750"/>
                  <a:gd name="connsiteX64" fmla="*/ 383735 w 606157"/>
                  <a:gd name="connsiteY64" fmla="*/ 74306 h 592750"/>
                  <a:gd name="connsiteX65" fmla="*/ 458182 w 606157"/>
                  <a:gd name="connsiteY65" fmla="*/ 0 h 59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</a:cxnLst>
                <a:rect l="l" t="t" r="r" b="b"/>
                <a:pathLst>
                  <a:path w="606157" h="592750">
                    <a:moveTo>
                      <a:pt x="454143" y="386956"/>
                    </a:moveTo>
                    <a:lnTo>
                      <a:pt x="454143" y="559114"/>
                    </a:lnTo>
                    <a:cubicBezTo>
                      <a:pt x="454143" y="560062"/>
                      <a:pt x="454048" y="561957"/>
                      <a:pt x="456800" y="561957"/>
                    </a:cubicBezTo>
                    <a:lnTo>
                      <a:pt x="466005" y="561957"/>
                    </a:lnTo>
                    <a:cubicBezTo>
                      <a:pt x="468282" y="561957"/>
                      <a:pt x="467997" y="560062"/>
                      <a:pt x="467997" y="559114"/>
                    </a:cubicBezTo>
                    <a:lnTo>
                      <a:pt x="467997" y="386956"/>
                    </a:lnTo>
                    <a:close/>
                    <a:moveTo>
                      <a:pt x="242918" y="134357"/>
                    </a:moveTo>
                    <a:cubicBezTo>
                      <a:pt x="247947" y="134357"/>
                      <a:pt x="252787" y="136915"/>
                      <a:pt x="256203" y="141463"/>
                    </a:cubicBezTo>
                    <a:lnTo>
                      <a:pt x="323764" y="230906"/>
                    </a:lnTo>
                    <a:cubicBezTo>
                      <a:pt x="328699" y="237443"/>
                      <a:pt x="327465" y="242275"/>
                      <a:pt x="326327" y="244644"/>
                    </a:cubicBezTo>
                    <a:cubicBezTo>
                      <a:pt x="325188" y="246918"/>
                      <a:pt x="322056" y="250803"/>
                      <a:pt x="313801" y="250803"/>
                    </a:cubicBezTo>
                    <a:lnTo>
                      <a:pt x="286757" y="250803"/>
                    </a:lnTo>
                    <a:lnTo>
                      <a:pt x="286757" y="561957"/>
                    </a:lnTo>
                    <a:lnTo>
                      <a:pt x="386202" y="561957"/>
                    </a:lnTo>
                    <a:cubicBezTo>
                      <a:pt x="389713" y="561957"/>
                      <a:pt x="389144" y="560062"/>
                      <a:pt x="389144" y="559114"/>
                    </a:cubicBezTo>
                    <a:lnTo>
                      <a:pt x="389144" y="332760"/>
                    </a:lnTo>
                    <a:lnTo>
                      <a:pt x="389144" y="306799"/>
                    </a:lnTo>
                    <a:lnTo>
                      <a:pt x="378136" y="332192"/>
                    </a:lnTo>
                    <a:cubicBezTo>
                      <a:pt x="373392" y="342993"/>
                      <a:pt x="362764" y="350004"/>
                      <a:pt x="350998" y="350004"/>
                    </a:cubicBezTo>
                    <a:cubicBezTo>
                      <a:pt x="346918" y="350004"/>
                      <a:pt x="343027" y="349152"/>
                      <a:pt x="339232" y="347541"/>
                    </a:cubicBezTo>
                    <a:cubicBezTo>
                      <a:pt x="332020" y="344414"/>
                      <a:pt x="326421" y="338635"/>
                      <a:pt x="323575" y="331339"/>
                    </a:cubicBezTo>
                    <a:cubicBezTo>
                      <a:pt x="320633" y="324043"/>
                      <a:pt x="320728" y="315990"/>
                      <a:pt x="323859" y="308789"/>
                    </a:cubicBezTo>
                    <a:lnTo>
                      <a:pt x="380793" y="177278"/>
                    </a:lnTo>
                    <a:cubicBezTo>
                      <a:pt x="384969" y="167708"/>
                      <a:pt x="393224" y="159750"/>
                      <a:pt x="404041" y="159750"/>
                    </a:cubicBezTo>
                    <a:cubicBezTo>
                      <a:pt x="404990" y="159750"/>
                      <a:pt x="514304" y="159465"/>
                      <a:pt x="514683" y="159465"/>
                    </a:cubicBezTo>
                    <a:cubicBezTo>
                      <a:pt x="526544" y="159465"/>
                      <a:pt x="537552" y="166477"/>
                      <a:pt x="542296" y="177278"/>
                    </a:cubicBezTo>
                    <a:lnTo>
                      <a:pt x="599230" y="308789"/>
                    </a:lnTo>
                    <a:cubicBezTo>
                      <a:pt x="602361" y="315990"/>
                      <a:pt x="602456" y="324043"/>
                      <a:pt x="599610" y="331339"/>
                    </a:cubicBezTo>
                    <a:cubicBezTo>
                      <a:pt x="596668" y="338635"/>
                      <a:pt x="591070" y="344414"/>
                      <a:pt x="583858" y="347541"/>
                    </a:cubicBezTo>
                    <a:cubicBezTo>
                      <a:pt x="580062" y="349152"/>
                      <a:pt x="576172" y="350004"/>
                      <a:pt x="572092" y="350004"/>
                    </a:cubicBezTo>
                    <a:cubicBezTo>
                      <a:pt x="560325" y="350004"/>
                      <a:pt x="549698" y="342993"/>
                      <a:pt x="544953" y="332192"/>
                    </a:cubicBezTo>
                    <a:lnTo>
                      <a:pt x="532997" y="304525"/>
                    </a:lnTo>
                    <a:lnTo>
                      <a:pt x="532997" y="332760"/>
                    </a:lnTo>
                    <a:lnTo>
                      <a:pt x="532997" y="559114"/>
                    </a:lnTo>
                    <a:cubicBezTo>
                      <a:pt x="532997" y="560062"/>
                      <a:pt x="533282" y="561957"/>
                      <a:pt x="536887" y="561957"/>
                    </a:cubicBezTo>
                    <a:lnTo>
                      <a:pt x="590785" y="561957"/>
                    </a:lnTo>
                    <a:cubicBezTo>
                      <a:pt x="599230" y="561957"/>
                      <a:pt x="606157" y="568873"/>
                      <a:pt x="606157" y="577401"/>
                    </a:cubicBezTo>
                    <a:cubicBezTo>
                      <a:pt x="606157" y="585928"/>
                      <a:pt x="599230" y="592750"/>
                      <a:pt x="590785" y="592750"/>
                    </a:cubicBezTo>
                    <a:lnTo>
                      <a:pt x="15372" y="592750"/>
                    </a:lnTo>
                    <a:cubicBezTo>
                      <a:pt x="6927" y="592750"/>
                      <a:pt x="0" y="585833"/>
                      <a:pt x="0" y="577401"/>
                    </a:cubicBezTo>
                    <a:cubicBezTo>
                      <a:pt x="0" y="568873"/>
                      <a:pt x="6927" y="561957"/>
                      <a:pt x="15372" y="561957"/>
                    </a:cubicBezTo>
                    <a:lnTo>
                      <a:pt x="50766" y="561957"/>
                    </a:lnTo>
                    <a:lnTo>
                      <a:pt x="50766" y="369617"/>
                    </a:lnTo>
                    <a:lnTo>
                      <a:pt x="23628" y="369617"/>
                    </a:lnTo>
                    <a:cubicBezTo>
                      <a:pt x="15467" y="369617"/>
                      <a:pt x="12336" y="365733"/>
                      <a:pt x="11102" y="363459"/>
                    </a:cubicBezTo>
                    <a:cubicBezTo>
                      <a:pt x="9963" y="361090"/>
                      <a:pt x="8825" y="356258"/>
                      <a:pt x="13759" y="349720"/>
                    </a:cubicBezTo>
                    <a:lnTo>
                      <a:pt x="81226" y="260278"/>
                    </a:lnTo>
                    <a:cubicBezTo>
                      <a:pt x="84642" y="255730"/>
                      <a:pt x="89481" y="253172"/>
                      <a:pt x="94605" y="253172"/>
                    </a:cubicBezTo>
                    <a:cubicBezTo>
                      <a:pt x="99634" y="253172"/>
                      <a:pt x="104474" y="255730"/>
                      <a:pt x="107890" y="260278"/>
                    </a:cubicBezTo>
                    <a:lnTo>
                      <a:pt x="175452" y="349720"/>
                    </a:lnTo>
                    <a:cubicBezTo>
                      <a:pt x="180386" y="356258"/>
                      <a:pt x="179152" y="361090"/>
                      <a:pt x="178014" y="363459"/>
                    </a:cubicBezTo>
                    <a:cubicBezTo>
                      <a:pt x="176875" y="365733"/>
                      <a:pt x="173649" y="369617"/>
                      <a:pt x="165488" y="369617"/>
                    </a:cubicBezTo>
                    <a:lnTo>
                      <a:pt x="138350" y="369617"/>
                    </a:lnTo>
                    <a:lnTo>
                      <a:pt x="138350" y="561957"/>
                    </a:lnTo>
                    <a:lnTo>
                      <a:pt x="199079" y="561957"/>
                    </a:lnTo>
                    <a:lnTo>
                      <a:pt x="199079" y="250803"/>
                    </a:lnTo>
                    <a:lnTo>
                      <a:pt x="172035" y="250803"/>
                    </a:lnTo>
                    <a:cubicBezTo>
                      <a:pt x="163780" y="250803"/>
                      <a:pt x="160649" y="246918"/>
                      <a:pt x="159510" y="244644"/>
                    </a:cubicBezTo>
                    <a:cubicBezTo>
                      <a:pt x="158276" y="242275"/>
                      <a:pt x="157138" y="237443"/>
                      <a:pt x="162072" y="230906"/>
                    </a:cubicBezTo>
                    <a:lnTo>
                      <a:pt x="229539" y="141463"/>
                    </a:lnTo>
                    <a:cubicBezTo>
                      <a:pt x="232955" y="136915"/>
                      <a:pt x="237889" y="134357"/>
                      <a:pt x="242918" y="134357"/>
                    </a:cubicBezTo>
                    <a:close/>
                    <a:moveTo>
                      <a:pt x="458182" y="0"/>
                    </a:moveTo>
                    <a:cubicBezTo>
                      <a:pt x="499298" y="0"/>
                      <a:pt x="532629" y="33268"/>
                      <a:pt x="532629" y="74306"/>
                    </a:cubicBezTo>
                    <a:cubicBezTo>
                      <a:pt x="532629" y="115344"/>
                      <a:pt x="499298" y="148612"/>
                      <a:pt x="458182" y="148612"/>
                    </a:cubicBezTo>
                    <a:cubicBezTo>
                      <a:pt x="417066" y="148612"/>
                      <a:pt x="383735" y="115344"/>
                      <a:pt x="383735" y="74306"/>
                    </a:cubicBezTo>
                    <a:cubicBezTo>
                      <a:pt x="383735" y="33268"/>
                      <a:pt x="417066" y="0"/>
                      <a:pt x="45818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16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4" name="îṥḻíḓè">
              <a:extLst>
                <a:ext uri="{FF2B5EF4-FFF2-40B4-BE49-F238E27FC236}">
                  <a16:creationId xmlns:a16="http://schemas.microsoft.com/office/drawing/2014/main" id="{7401F040-BB6A-455A-BD7C-CA7EA7C1267B}"/>
                </a:ext>
              </a:extLst>
            </p:cNvPr>
            <p:cNvGrpSpPr/>
            <p:nvPr/>
          </p:nvGrpSpPr>
          <p:grpSpPr>
            <a:xfrm>
              <a:off x="2787144" y="3389517"/>
              <a:ext cx="485366" cy="485366"/>
              <a:chOff x="1145735" y="3371410"/>
              <a:chExt cx="521580" cy="521580"/>
            </a:xfrm>
          </p:grpSpPr>
          <p:sp>
            <p:nvSpPr>
              <p:cNvPr id="28" name="ïş1ïḋê">
                <a:extLst>
                  <a:ext uri="{FF2B5EF4-FFF2-40B4-BE49-F238E27FC236}">
                    <a16:creationId xmlns:a16="http://schemas.microsoft.com/office/drawing/2014/main" id="{853DC8B9-4485-450D-8C08-107DF8B4602A}"/>
                  </a:ext>
                </a:extLst>
              </p:cNvPr>
              <p:cNvSpPr/>
              <p:nvPr/>
            </p:nvSpPr>
            <p:spPr>
              <a:xfrm>
                <a:off x="1145735" y="3371410"/>
                <a:ext cx="521580" cy="521580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9" name="îsľïḍè">
                <a:extLst>
                  <a:ext uri="{FF2B5EF4-FFF2-40B4-BE49-F238E27FC236}">
                    <a16:creationId xmlns:a16="http://schemas.microsoft.com/office/drawing/2014/main" id="{3A3087BD-CAD1-495B-B80A-542A00BDD15B}"/>
                  </a:ext>
                </a:extLst>
              </p:cNvPr>
              <p:cNvSpPr/>
              <p:nvPr/>
            </p:nvSpPr>
            <p:spPr>
              <a:xfrm>
                <a:off x="1259224" y="3488157"/>
                <a:ext cx="294603" cy="288086"/>
              </a:xfrm>
              <a:custGeom>
                <a:avLst/>
                <a:gdLst>
                  <a:gd name="connsiteX0" fmla="*/ 454143 w 606157"/>
                  <a:gd name="connsiteY0" fmla="*/ 386956 h 592750"/>
                  <a:gd name="connsiteX1" fmla="*/ 454143 w 606157"/>
                  <a:gd name="connsiteY1" fmla="*/ 559114 h 592750"/>
                  <a:gd name="connsiteX2" fmla="*/ 456800 w 606157"/>
                  <a:gd name="connsiteY2" fmla="*/ 561957 h 592750"/>
                  <a:gd name="connsiteX3" fmla="*/ 466005 w 606157"/>
                  <a:gd name="connsiteY3" fmla="*/ 561957 h 592750"/>
                  <a:gd name="connsiteX4" fmla="*/ 467997 w 606157"/>
                  <a:gd name="connsiteY4" fmla="*/ 559114 h 592750"/>
                  <a:gd name="connsiteX5" fmla="*/ 467997 w 606157"/>
                  <a:gd name="connsiteY5" fmla="*/ 386956 h 592750"/>
                  <a:gd name="connsiteX6" fmla="*/ 242918 w 606157"/>
                  <a:gd name="connsiteY6" fmla="*/ 134357 h 592750"/>
                  <a:gd name="connsiteX7" fmla="*/ 256203 w 606157"/>
                  <a:gd name="connsiteY7" fmla="*/ 141463 h 592750"/>
                  <a:gd name="connsiteX8" fmla="*/ 323764 w 606157"/>
                  <a:gd name="connsiteY8" fmla="*/ 230906 h 592750"/>
                  <a:gd name="connsiteX9" fmla="*/ 326327 w 606157"/>
                  <a:gd name="connsiteY9" fmla="*/ 244644 h 592750"/>
                  <a:gd name="connsiteX10" fmla="*/ 313801 w 606157"/>
                  <a:gd name="connsiteY10" fmla="*/ 250803 h 592750"/>
                  <a:gd name="connsiteX11" fmla="*/ 286757 w 606157"/>
                  <a:gd name="connsiteY11" fmla="*/ 250803 h 592750"/>
                  <a:gd name="connsiteX12" fmla="*/ 286757 w 606157"/>
                  <a:gd name="connsiteY12" fmla="*/ 561957 h 592750"/>
                  <a:gd name="connsiteX13" fmla="*/ 386202 w 606157"/>
                  <a:gd name="connsiteY13" fmla="*/ 561957 h 592750"/>
                  <a:gd name="connsiteX14" fmla="*/ 389144 w 606157"/>
                  <a:gd name="connsiteY14" fmla="*/ 559114 h 592750"/>
                  <a:gd name="connsiteX15" fmla="*/ 389144 w 606157"/>
                  <a:gd name="connsiteY15" fmla="*/ 332760 h 592750"/>
                  <a:gd name="connsiteX16" fmla="*/ 389144 w 606157"/>
                  <a:gd name="connsiteY16" fmla="*/ 306799 h 592750"/>
                  <a:gd name="connsiteX17" fmla="*/ 378136 w 606157"/>
                  <a:gd name="connsiteY17" fmla="*/ 332192 h 592750"/>
                  <a:gd name="connsiteX18" fmla="*/ 350998 w 606157"/>
                  <a:gd name="connsiteY18" fmla="*/ 350004 h 592750"/>
                  <a:gd name="connsiteX19" fmla="*/ 339232 w 606157"/>
                  <a:gd name="connsiteY19" fmla="*/ 347541 h 592750"/>
                  <a:gd name="connsiteX20" fmla="*/ 323575 w 606157"/>
                  <a:gd name="connsiteY20" fmla="*/ 331339 h 592750"/>
                  <a:gd name="connsiteX21" fmla="*/ 323859 w 606157"/>
                  <a:gd name="connsiteY21" fmla="*/ 308789 h 592750"/>
                  <a:gd name="connsiteX22" fmla="*/ 380793 w 606157"/>
                  <a:gd name="connsiteY22" fmla="*/ 177278 h 592750"/>
                  <a:gd name="connsiteX23" fmla="*/ 404041 w 606157"/>
                  <a:gd name="connsiteY23" fmla="*/ 159750 h 592750"/>
                  <a:gd name="connsiteX24" fmla="*/ 514683 w 606157"/>
                  <a:gd name="connsiteY24" fmla="*/ 159465 h 592750"/>
                  <a:gd name="connsiteX25" fmla="*/ 542296 w 606157"/>
                  <a:gd name="connsiteY25" fmla="*/ 177278 h 592750"/>
                  <a:gd name="connsiteX26" fmla="*/ 599230 w 606157"/>
                  <a:gd name="connsiteY26" fmla="*/ 308789 h 592750"/>
                  <a:gd name="connsiteX27" fmla="*/ 599610 w 606157"/>
                  <a:gd name="connsiteY27" fmla="*/ 331339 h 592750"/>
                  <a:gd name="connsiteX28" fmla="*/ 583858 w 606157"/>
                  <a:gd name="connsiteY28" fmla="*/ 347541 h 592750"/>
                  <a:gd name="connsiteX29" fmla="*/ 572092 w 606157"/>
                  <a:gd name="connsiteY29" fmla="*/ 350004 h 592750"/>
                  <a:gd name="connsiteX30" fmla="*/ 544953 w 606157"/>
                  <a:gd name="connsiteY30" fmla="*/ 332192 h 592750"/>
                  <a:gd name="connsiteX31" fmla="*/ 532997 w 606157"/>
                  <a:gd name="connsiteY31" fmla="*/ 304525 h 592750"/>
                  <a:gd name="connsiteX32" fmla="*/ 532997 w 606157"/>
                  <a:gd name="connsiteY32" fmla="*/ 332760 h 592750"/>
                  <a:gd name="connsiteX33" fmla="*/ 532997 w 606157"/>
                  <a:gd name="connsiteY33" fmla="*/ 559114 h 592750"/>
                  <a:gd name="connsiteX34" fmla="*/ 536887 w 606157"/>
                  <a:gd name="connsiteY34" fmla="*/ 561957 h 592750"/>
                  <a:gd name="connsiteX35" fmla="*/ 590785 w 606157"/>
                  <a:gd name="connsiteY35" fmla="*/ 561957 h 592750"/>
                  <a:gd name="connsiteX36" fmla="*/ 606157 w 606157"/>
                  <a:gd name="connsiteY36" fmla="*/ 577401 h 592750"/>
                  <a:gd name="connsiteX37" fmla="*/ 590785 w 606157"/>
                  <a:gd name="connsiteY37" fmla="*/ 592750 h 592750"/>
                  <a:gd name="connsiteX38" fmla="*/ 15372 w 606157"/>
                  <a:gd name="connsiteY38" fmla="*/ 592750 h 592750"/>
                  <a:gd name="connsiteX39" fmla="*/ 0 w 606157"/>
                  <a:gd name="connsiteY39" fmla="*/ 577401 h 592750"/>
                  <a:gd name="connsiteX40" fmla="*/ 15372 w 606157"/>
                  <a:gd name="connsiteY40" fmla="*/ 561957 h 592750"/>
                  <a:gd name="connsiteX41" fmla="*/ 50766 w 606157"/>
                  <a:gd name="connsiteY41" fmla="*/ 561957 h 592750"/>
                  <a:gd name="connsiteX42" fmla="*/ 50766 w 606157"/>
                  <a:gd name="connsiteY42" fmla="*/ 369617 h 592750"/>
                  <a:gd name="connsiteX43" fmla="*/ 23628 w 606157"/>
                  <a:gd name="connsiteY43" fmla="*/ 369617 h 592750"/>
                  <a:gd name="connsiteX44" fmla="*/ 11102 w 606157"/>
                  <a:gd name="connsiteY44" fmla="*/ 363459 h 592750"/>
                  <a:gd name="connsiteX45" fmla="*/ 13759 w 606157"/>
                  <a:gd name="connsiteY45" fmla="*/ 349720 h 592750"/>
                  <a:gd name="connsiteX46" fmla="*/ 81226 w 606157"/>
                  <a:gd name="connsiteY46" fmla="*/ 260278 h 592750"/>
                  <a:gd name="connsiteX47" fmla="*/ 94605 w 606157"/>
                  <a:gd name="connsiteY47" fmla="*/ 253172 h 592750"/>
                  <a:gd name="connsiteX48" fmla="*/ 107890 w 606157"/>
                  <a:gd name="connsiteY48" fmla="*/ 260278 h 592750"/>
                  <a:gd name="connsiteX49" fmla="*/ 175452 w 606157"/>
                  <a:gd name="connsiteY49" fmla="*/ 349720 h 592750"/>
                  <a:gd name="connsiteX50" fmla="*/ 178014 w 606157"/>
                  <a:gd name="connsiteY50" fmla="*/ 363459 h 592750"/>
                  <a:gd name="connsiteX51" fmla="*/ 165488 w 606157"/>
                  <a:gd name="connsiteY51" fmla="*/ 369617 h 592750"/>
                  <a:gd name="connsiteX52" fmla="*/ 138350 w 606157"/>
                  <a:gd name="connsiteY52" fmla="*/ 369617 h 592750"/>
                  <a:gd name="connsiteX53" fmla="*/ 138350 w 606157"/>
                  <a:gd name="connsiteY53" fmla="*/ 561957 h 592750"/>
                  <a:gd name="connsiteX54" fmla="*/ 199079 w 606157"/>
                  <a:gd name="connsiteY54" fmla="*/ 561957 h 592750"/>
                  <a:gd name="connsiteX55" fmla="*/ 199079 w 606157"/>
                  <a:gd name="connsiteY55" fmla="*/ 250803 h 592750"/>
                  <a:gd name="connsiteX56" fmla="*/ 172035 w 606157"/>
                  <a:gd name="connsiteY56" fmla="*/ 250803 h 592750"/>
                  <a:gd name="connsiteX57" fmla="*/ 159510 w 606157"/>
                  <a:gd name="connsiteY57" fmla="*/ 244644 h 592750"/>
                  <a:gd name="connsiteX58" fmla="*/ 162072 w 606157"/>
                  <a:gd name="connsiteY58" fmla="*/ 230906 h 592750"/>
                  <a:gd name="connsiteX59" fmla="*/ 229539 w 606157"/>
                  <a:gd name="connsiteY59" fmla="*/ 141463 h 592750"/>
                  <a:gd name="connsiteX60" fmla="*/ 242918 w 606157"/>
                  <a:gd name="connsiteY60" fmla="*/ 134357 h 592750"/>
                  <a:gd name="connsiteX61" fmla="*/ 458182 w 606157"/>
                  <a:gd name="connsiteY61" fmla="*/ 0 h 592750"/>
                  <a:gd name="connsiteX62" fmla="*/ 532629 w 606157"/>
                  <a:gd name="connsiteY62" fmla="*/ 74306 h 592750"/>
                  <a:gd name="connsiteX63" fmla="*/ 458182 w 606157"/>
                  <a:gd name="connsiteY63" fmla="*/ 148612 h 592750"/>
                  <a:gd name="connsiteX64" fmla="*/ 383735 w 606157"/>
                  <a:gd name="connsiteY64" fmla="*/ 74306 h 592750"/>
                  <a:gd name="connsiteX65" fmla="*/ 458182 w 606157"/>
                  <a:gd name="connsiteY65" fmla="*/ 0 h 59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</a:cxnLst>
                <a:rect l="l" t="t" r="r" b="b"/>
                <a:pathLst>
                  <a:path w="606157" h="592750">
                    <a:moveTo>
                      <a:pt x="454143" y="386956"/>
                    </a:moveTo>
                    <a:lnTo>
                      <a:pt x="454143" y="559114"/>
                    </a:lnTo>
                    <a:cubicBezTo>
                      <a:pt x="454143" y="560062"/>
                      <a:pt x="454048" y="561957"/>
                      <a:pt x="456800" y="561957"/>
                    </a:cubicBezTo>
                    <a:lnTo>
                      <a:pt x="466005" y="561957"/>
                    </a:lnTo>
                    <a:cubicBezTo>
                      <a:pt x="468282" y="561957"/>
                      <a:pt x="467997" y="560062"/>
                      <a:pt x="467997" y="559114"/>
                    </a:cubicBezTo>
                    <a:lnTo>
                      <a:pt x="467997" y="386956"/>
                    </a:lnTo>
                    <a:close/>
                    <a:moveTo>
                      <a:pt x="242918" y="134357"/>
                    </a:moveTo>
                    <a:cubicBezTo>
                      <a:pt x="247947" y="134357"/>
                      <a:pt x="252787" y="136915"/>
                      <a:pt x="256203" y="141463"/>
                    </a:cubicBezTo>
                    <a:lnTo>
                      <a:pt x="323764" y="230906"/>
                    </a:lnTo>
                    <a:cubicBezTo>
                      <a:pt x="328699" y="237443"/>
                      <a:pt x="327465" y="242275"/>
                      <a:pt x="326327" y="244644"/>
                    </a:cubicBezTo>
                    <a:cubicBezTo>
                      <a:pt x="325188" y="246918"/>
                      <a:pt x="322056" y="250803"/>
                      <a:pt x="313801" y="250803"/>
                    </a:cubicBezTo>
                    <a:lnTo>
                      <a:pt x="286757" y="250803"/>
                    </a:lnTo>
                    <a:lnTo>
                      <a:pt x="286757" y="561957"/>
                    </a:lnTo>
                    <a:lnTo>
                      <a:pt x="386202" y="561957"/>
                    </a:lnTo>
                    <a:cubicBezTo>
                      <a:pt x="389713" y="561957"/>
                      <a:pt x="389144" y="560062"/>
                      <a:pt x="389144" y="559114"/>
                    </a:cubicBezTo>
                    <a:lnTo>
                      <a:pt x="389144" y="332760"/>
                    </a:lnTo>
                    <a:lnTo>
                      <a:pt x="389144" y="306799"/>
                    </a:lnTo>
                    <a:lnTo>
                      <a:pt x="378136" y="332192"/>
                    </a:lnTo>
                    <a:cubicBezTo>
                      <a:pt x="373392" y="342993"/>
                      <a:pt x="362764" y="350004"/>
                      <a:pt x="350998" y="350004"/>
                    </a:cubicBezTo>
                    <a:cubicBezTo>
                      <a:pt x="346918" y="350004"/>
                      <a:pt x="343027" y="349152"/>
                      <a:pt x="339232" y="347541"/>
                    </a:cubicBezTo>
                    <a:cubicBezTo>
                      <a:pt x="332020" y="344414"/>
                      <a:pt x="326421" y="338635"/>
                      <a:pt x="323575" y="331339"/>
                    </a:cubicBezTo>
                    <a:cubicBezTo>
                      <a:pt x="320633" y="324043"/>
                      <a:pt x="320728" y="315990"/>
                      <a:pt x="323859" y="308789"/>
                    </a:cubicBezTo>
                    <a:lnTo>
                      <a:pt x="380793" y="177278"/>
                    </a:lnTo>
                    <a:cubicBezTo>
                      <a:pt x="384969" y="167708"/>
                      <a:pt x="393224" y="159750"/>
                      <a:pt x="404041" y="159750"/>
                    </a:cubicBezTo>
                    <a:cubicBezTo>
                      <a:pt x="404990" y="159750"/>
                      <a:pt x="514304" y="159465"/>
                      <a:pt x="514683" y="159465"/>
                    </a:cubicBezTo>
                    <a:cubicBezTo>
                      <a:pt x="526544" y="159465"/>
                      <a:pt x="537552" y="166477"/>
                      <a:pt x="542296" y="177278"/>
                    </a:cubicBezTo>
                    <a:lnTo>
                      <a:pt x="599230" y="308789"/>
                    </a:lnTo>
                    <a:cubicBezTo>
                      <a:pt x="602361" y="315990"/>
                      <a:pt x="602456" y="324043"/>
                      <a:pt x="599610" y="331339"/>
                    </a:cubicBezTo>
                    <a:cubicBezTo>
                      <a:pt x="596668" y="338635"/>
                      <a:pt x="591070" y="344414"/>
                      <a:pt x="583858" y="347541"/>
                    </a:cubicBezTo>
                    <a:cubicBezTo>
                      <a:pt x="580062" y="349152"/>
                      <a:pt x="576172" y="350004"/>
                      <a:pt x="572092" y="350004"/>
                    </a:cubicBezTo>
                    <a:cubicBezTo>
                      <a:pt x="560325" y="350004"/>
                      <a:pt x="549698" y="342993"/>
                      <a:pt x="544953" y="332192"/>
                    </a:cubicBezTo>
                    <a:lnTo>
                      <a:pt x="532997" y="304525"/>
                    </a:lnTo>
                    <a:lnTo>
                      <a:pt x="532997" y="332760"/>
                    </a:lnTo>
                    <a:lnTo>
                      <a:pt x="532997" y="559114"/>
                    </a:lnTo>
                    <a:cubicBezTo>
                      <a:pt x="532997" y="560062"/>
                      <a:pt x="533282" y="561957"/>
                      <a:pt x="536887" y="561957"/>
                    </a:cubicBezTo>
                    <a:lnTo>
                      <a:pt x="590785" y="561957"/>
                    </a:lnTo>
                    <a:cubicBezTo>
                      <a:pt x="599230" y="561957"/>
                      <a:pt x="606157" y="568873"/>
                      <a:pt x="606157" y="577401"/>
                    </a:cubicBezTo>
                    <a:cubicBezTo>
                      <a:pt x="606157" y="585928"/>
                      <a:pt x="599230" y="592750"/>
                      <a:pt x="590785" y="592750"/>
                    </a:cubicBezTo>
                    <a:lnTo>
                      <a:pt x="15372" y="592750"/>
                    </a:lnTo>
                    <a:cubicBezTo>
                      <a:pt x="6927" y="592750"/>
                      <a:pt x="0" y="585833"/>
                      <a:pt x="0" y="577401"/>
                    </a:cubicBezTo>
                    <a:cubicBezTo>
                      <a:pt x="0" y="568873"/>
                      <a:pt x="6927" y="561957"/>
                      <a:pt x="15372" y="561957"/>
                    </a:cubicBezTo>
                    <a:lnTo>
                      <a:pt x="50766" y="561957"/>
                    </a:lnTo>
                    <a:lnTo>
                      <a:pt x="50766" y="369617"/>
                    </a:lnTo>
                    <a:lnTo>
                      <a:pt x="23628" y="369617"/>
                    </a:lnTo>
                    <a:cubicBezTo>
                      <a:pt x="15467" y="369617"/>
                      <a:pt x="12336" y="365733"/>
                      <a:pt x="11102" y="363459"/>
                    </a:cubicBezTo>
                    <a:cubicBezTo>
                      <a:pt x="9963" y="361090"/>
                      <a:pt x="8825" y="356258"/>
                      <a:pt x="13759" y="349720"/>
                    </a:cubicBezTo>
                    <a:lnTo>
                      <a:pt x="81226" y="260278"/>
                    </a:lnTo>
                    <a:cubicBezTo>
                      <a:pt x="84642" y="255730"/>
                      <a:pt x="89481" y="253172"/>
                      <a:pt x="94605" y="253172"/>
                    </a:cubicBezTo>
                    <a:cubicBezTo>
                      <a:pt x="99634" y="253172"/>
                      <a:pt x="104474" y="255730"/>
                      <a:pt x="107890" y="260278"/>
                    </a:cubicBezTo>
                    <a:lnTo>
                      <a:pt x="175452" y="349720"/>
                    </a:lnTo>
                    <a:cubicBezTo>
                      <a:pt x="180386" y="356258"/>
                      <a:pt x="179152" y="361090"/>
                      <a:pt x="178014" y="363459"/>
                    </a:cubicBezTo>
                    <a:cubicBezTo>
                      <a:pt x="176875" y="365733"/>
                      <a:pt x="173649" y="369617"/>
                      <a:pt x="165488" y="369617"/>
                    </a:cubicBezTo>
                    <a:lnTo>
                      <a:pt x="138350" y="369617"/>
                    </a:lnTo>
                    <a:lnTo>
                      <a:pt x="138350" y="561957"/>
                    </a:lnTo>
                    <a:lnTo>
                      <a:pt x="199079" y="561957"/>
                    </a:lnTo>
                    <a:lnTo>
                      <a:pt x="199079" y="250803"/>
                    </a:lnTo>
                    <a:lnTo>
                      <a:pt x="172035" y="250803"/>
                    </a:lnTo>
                    <a:cubicBezTo>
                      <a:pt x="163780" y="250803"/>
                      <a:pt x="160649" y="246918"/>
                      <a:pt x="159510" y="244644"/>
                    </a:cubicBezTo>
                    <a:cubicBezTo>
                      <a:pt x="158276" y="242275"/>
                      <a:pt x="157138" y="237443"/>
                      <a:pt x="162072" y="230906"/>
                    </a:cubicBezTo>
                    <a:lnTo>
                      <a:pt x="229539" y="141463"/>
                    </a:lnTo>
                    <a:cubicBezTo>
                      <a:pt x="232955" y="136915"/>
                      <a:pt x="237889" y="134357"/>
                      <a:pt x="242918" y="134357"/>
                    </a:cubicBezTo>
                    <a:close/>
                    <a:moveTo>
                      <a:pt x="458182" y="0"/>
                    </a:moveTo>
                    <a:cubicBezTo>
                      <a:pt x="499298" y="0"/>
                      <a:pt x="532629" y="33268"/>
                      <a:pt x="532629" y="74306"/>
                    </a:cubicBezTo>
                    <a:cubicBezTo>
                      <a:pt x="532629" y="115344"/>
                      <a:pt x="499298" y="148612"/>
                      <a:pt x="458182" y="148612"/>
                    </a:cubicBezTo>
                    <a:cubicBezTo>
                      <a:pt x="417066" y="148612"/>
                      <a:pt x="383735" y="115344"/>
                      <a:pt x="383735" y="74306"/>
                    </a:cubicBezTo>
                    <a:cubicBezTo>
                      <a:pt x="383735" y="33268"/>
                      <a:pt x="417066" y="0"/>
                      <a:pt x="45818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16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5" name="îṧľîďe">
              <a:extLst>
                <a:ext uri="{FF2B5EF4-FFF2-40B4-BE49-F238E27FC236}">
                  <a16:creationId xmlns:a16="http://schemas.microsoft.com/office/drawing/2014/main" id="{AA7D1D48-61A4-41BD-A906-0BF46CAD0D9A}"/>
                </a:ext>
              </a:extLst>
            </p:cNvPr>
            <p:cNvGrpSpPr/>
            <p:nvPr/>
          </p:nvGrpSpPr>
          <p:grpSpPr>
            <a:xfrm>
              <a:off x="4410446" y="3389517"/>
              <a:ext cx="485366" cy="485366"/>
              <a:chOff x="1145735" y="3371410"/>
              <a:chExt cx="521580" cy="521580"/>
            </a:xfrm>
          </p:grpSpPr>
          <p:sp>
            <p:nvSpPr>
              <p:cNvPr id="26" name="îŝ1íḍe">
                <a:extLst>
                  <a:ext uri="{FF2B5EF4-FFF2-40B4-BE49-F238E27FC236}">
                    <a16:creationId xmlns:a16="http://schemas.microsoft.com/office/drawing/2014/main" id="{C2F52C55-5E19-403E-89A6-9F3BDD553EAC}"/>
                  </a:ext>
                </a:extLst>
              </p:cNvPr>
              <p:cNvSpPr/>
              <p:nvPr/>
            </p:nvSpPr>
            <p:spPr>
              <a:xfrm>
                <a:off x="1145735" y="3371410"/>
                <a:ext cx="521580" cy="521580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7" name="íŝḷîḓê">
                <a:extLst>
                  <a:ext uri="{FF2B5EF4-FFF2-40B4-BE49-F238E27FC236}">
                    <a16:creationId xmlns:a16="http://schemas.microsoft.com/office/drawing/2014/main" id="{CD94460B-F429-4066-AB8A-964B12B0ABD8}"/>
                  </a:ext>
                </a:extLst>
              </p:cNvPr>
              <p:cNvSpPr/>
              <p:nvPr/>
            </p:nvSpPr>
            <p:spPr>
              <a:xfrm>
                <a:off x="1259224" y="3488157"/>
                <a:ext cx="294603" cy="288086"/>
              </a:xfrm>
              <a:custGeom>
                <a:avLst/>
                <a:gdLst>
                  <a:gd name="connsiteX0" fmla="*/ 454143 w 606157"/>
                  <a:gd name="connsiteY0" fmla="*/ 386956 h 592750"/>
                  <a:gd name="connsiteX1" fmla="*/ 454143 w 606157"/>
                  <a:gd name="connsiteY1" fmla="*/ 559114 h 592750"/>
                  <a:gd name="connsiteX2" fmla="*/ 456800 w 606157"/>
                  <a:gd name="connsiteY2" fmla="*/ 561957 h 592750"/>
                  <a:gd name="connsiteX3" fmla="*/ 466005 w 606157"/>
                  <a:gd name="connsiteY3" fmla="*/ 561957 h 592750"/>
                  <a:gd name="connsiteX4" fmla="*/ 467997 w 606157"/>
                  <a:gd name="connsiteY4" fmla="*/ 559114 h 592750"/>
                  <a:gd name="connsiteX5" fmla="*/ 467997 w 606157"/>
                  <a:gd name="connsiteY5" fmla="*/ 386956 h 592750"/>
                  <a:gd name="connsiteX6" fmla="*/ 242918 w 606157"/>
                  <a:gd name="connsiteY6" fmla="*/ 134357 h 592750"/>
                  <a:gd name="connsiteX7" fmla="*/ 256203 w 606157"/>
                  <a:gd name="connsiteY7" fmla="*/ 141463 h 592750"/>
                  <a:gd name="connsiteX8" fmla="*/ 323764 w 606157"/>
                  <a:gd name="connsiteY8" fmla="*/ 230906 h 592750"/>
                  <a:gd name="connsiteX9" fmla="*/ 326327 w 606157"/>
                  <a:gd name="connsiteY9" fmla="*/ 244644 h 592750"/>
                  <a:gd name="connsiteX10" fmla="*/ 313801 w 606157"/>
                  <a:gd name="connsiteY10" fmla="*/ 250803 h 592750"/>
                  <a:gd name="connsiteX11" fmla="*/ 286757 w 606157"/>
                  <a:gd name="connsiteY11" fmla="*/ 250803 h 592750"/>
                  <a:gd name="connsiteX12" fmla="*/ 286757 w 606157"/>
                  <a:gd name="connsiteY12" fmla="*/ 561957 h 592750"/>
                  <a:gd name="connsiteX13" fmla="*/ 386202 w 606157"/>
                  <a:gd name="connsiteY13" fmla="*/ 561957 h 592750"/>
                  <a:gd name="connsiteX14" fmla="*/ 389144 w 606157"/>
                  <a:gd name="connsiteY14" fmla="*/ 559114 h 592750"/>
                  <a:gd name="connsiteX15" fmla="*/ 389144 w 606157"/>
                  <a:gd name="connsiteY15" fmla="*/ 332760 h 592750"/>
                  <a:gd name="connsiteX16" fmla="*/ 389144 w 606157"/>
                  <a:gd name="connsiteY16" fmla="*/ 306799 h 592750"/>
                  <a:gd name="connsiteX17" fmla="*/ 378136 w 606157"/>
                  <a:gd name="connsiteY17" fmla="*/ 332192 h 592750"/>
                  <a:gd name="connsiteX18" fmla="*/ 350998 w 606157"/>
                  <a:gd name="connsiteY18" fmla="*/ 350004 h 592750"/>
                  <a:gd name="connsiteX19" fmla="*/ 339232 w 606157"/>
                  <a:gd name="connsiteY19" fmla="*/ 347541 h 592750"/>
                  <a:gd name="connsiteX20" fmla="*/ 323575 w 606157"/>
                  <a:gd name="connsiteY20" fmla="*/ 331339 h 592750"/>
                  <a:gd name="connsiteX21" fmla="*/ 323859 w 606157"/>
                  <a:gd name="connsiteY21" fmla="*/ 308789 h 592750"/>
                  <a:gd name="connsiteX22" fmla="*/ 380793 w 606157"/>
                  <a:gd name="connsiteY22" fmla="*/ 177278 h 592750"/>
                  <a:gd name="connsiteX23" fmla="*/ 404041 w 606157"/>
                  <a:gd name="connsiteY23" fmla="*/ 159750 h 592750"/>
                  <a:gd name="connsiteX24" fmla="*/ 514683 w 606157"/>
                  <a:gd name="connsiteY24" fmla="*/ 159465 h 592750"/>
                  <a:gd name="connsiteX25" fmla="*/ 542296 w 606157"/>
                  <a:gd name="connsiteY25" fmla="*/ 177278 h 592750"/>
                  <a:gd name="connsiteX26" fmla="*/ 599230 w 606157"/>
                  <a:gd name="connsiteY26" fmla="*/ 308789 h 592750"/>
                  <a:gd name="connsiteX27" fmla="*/ 599610 w 606157"/>
                  <a:gd name="connsiteY27" fmla="*/ 331339 h 592750"/>
                  <a:gd name="connsiteX28" fmla="*/ 583858 w 606157"/>
                  <a:gd name="connsiteY28" fmla="*/ 347541 h 592750"/>
                  <a:gd name="connsiteX29" fmla="*/ 572092 w 606157"/>
                  <a:gd name="connsiteY29" fmla="*/ 350004 h 592750"/>
                  <a:gd name="connsiteX30" fmla="*/ 544953 w 606157"/>
                  <a:gd name="connsiteY30" fmla="*/ 332192 h 592750"/>
                  <a:gd name="connsiteX31" fmla="*/ 532997 w 606157"/>
                  <a:gd name="connsiteY31" fmla="*/ 304525 h 592750"/>
                  <a:gd name="connsiteX32" fmla="*/ 532997 w 606157"/>
                  <a:gd name="connsiteY32" fmla="*/ 332760 h 592750"/>
                  <a:gd name="connsiteX33" fmla="*/ 532997 w 606157"/>
                  <a:gd name="connsiteY33" fmla="*/ 559114 h 592750"/>
                  <a:gd name="connsiteX34" fmla="*/ 536887 w 606157"/>
                  <a:gd name="connsiteY34" fmla="*/ 561957 h 592750"/>
                  <a:gd name="connsiteX35" fmla="*/ 590785 w 606157"/>
                  <a:gd name="connsiteY35" fmla="*/ 561957 h 592750"/>
                  <a:gd name="connsiteX36" fmla="*/ 606157 w 606157"/>
                  <a:gd name="connsiteY36" fmla="*/ 577401 h 592750"/>
                  <a:gd name="connsiteX37" fmla="*/ 590785 w 606157"/>
                  <a:gd name="connsiteY37" fmla="*/ 592750 h 592750"/>
                  <a:gd name="connsiteX38" fmla="*/ 15372 w 606157"/>
                  <a:gd name="connsiteY38" fmla="*/ 592750 h 592750"/>
                  <a:gd name="connsiteX39" fmla="*/ 0 w 606157"/>
                  <a:gd name="connsiteY39" fmla="*/ 577401 h 592750"/>
                  <a:gd name="connsiteX40" fmla="*/ 15372 w 606157"/>
                  <a:gd name="connsiteY40" fmla="*/ 561957 h 592750"/>
                  <a:gd name="connsiteX41" fmla="*/ 50766 w 606157"/>
                  <a:gd name="connsiteY41" fmla="*/ 561957 h 592750"/>
                  <a:gd name="connsiteX42" fmla="*/ 50766 w 606157"/>
                  <a:gd name="connsiteY42" fmla="*/ 369617 h 592750"/>
                  <a:gd name="connsiteX43" fmla="*/ 23628 w 606157"/>
                  <a:gd name="connsiteY43" fmla="*/ 369617 h 592750"/>
                  <a:gd name="connsiteX44" fmla="*/ 11102 w 606157"/>
                  <a:gd name="connsiteY44" fmla="*/ 363459 h 592750"/>
                  <a:gd name="connsiteX45" fmla="*/ 13759 w 606157"/>
                  <a:gd name="connsiteY45" fmla="*/ 349720 h 592750"/>
                  <a:gd name="connsiteX46" fmla="*/ 81226 w 606157"/>
                  <a:gd name="connsiteY46" fmla="*/ 260278 h 592750"/>
                  <a:gd name="connsiteX47" fmla="*/ 94605 w 606157"/>
                  <a:gd name="connsiteY47" fmla="*/ 253172 h 592750"/>
                  <a:gd name="connsiteX48" fmla="*/ 107890 w 606157"/>
                  <a:gd name="connsiteY48" fmla="*/ 260278 h 592750"/>
                  <a:gd name="connsiteX49" fmla="*/ 175452 w 606157"/>
                  <a:gd name="connsiteY49" fmla="*/ 349720 h 592750"/>
                  <a:gd name="connsiteX50" fmla="*/ 178014 w 606157"/>
                  <a:gd name="connsiteY50" fmla="*/ 363459 h 592750"/>
                  <a:gd name="connsiteX51" fmla="*/ 165488 w 606157"/>
                  <a:gd name="connsiteY51" fmla="*/ 369617 h 592750"/>
                  <a:gd name="connsiteX52" fmla="*/ 138350 w 606157"/>
                  <a:gd name="connsiteY52" fmla="*/ 369617 h 592750"/>
                  <a:gd name="connsiteX53" fmla="*/ 138350 w 606157"/>
                  <a:gd name="connsiteY53" fmla="*/ 561957 h 592750"/>
                  <a:gd name="connsiteX54" fmla="*/ 199079 w 606157"/>
                  <a:gd name="connsiteY54" fmla="*/ 561957 h 592750"/>
                  <a:gd name="connsiteX55" fmla="*/ 199079 w 606157"/>
                  <a:gd name="connsiteY55" fmla="*/ 250803 h 592750"/>
                  <a:gd name="connsiteX56" fmla="*/ 172035 w 606157"/>
                  <a:gd name="connsiteY56" fmla="*/ 250803 h 592750"/>
                  <a:gd name="connsiteX57" fmla="*/ 159510 w 606157"/>
                  <a:gd name="connsiteY57" fmla="*/ 244644 h 592750"/>
                  <a:gd name="connsiteX58" fmla="*/ 162072 w 606157"/>
                  <a:gd name="connsiteY58" fmla="*/ 230906 h 592750"/>
                  <a:gd name="connsiteX59" fmla="*/ 229539 w 606157"/>
                  <a:gd name="connsiteY59" fmla="*/ 141463 h 592750"/>
                  <a:gd name="connsiteX60" fmla="*/ 242918 w 606157"/>
                  <a:gd name="connsiteY60" fmla="*/ 134357 h 592750"/>
                  <a:gd name="connsiteX61" fmla="*/ 458182 w 606157"/>
                  <a:gd name="connsiteY61" fmla="*/ 0 h 592750"/>
                  <a:gd name="connsiteX62" fmla="*/ 532629 w 606157"/>
                  <a:gd name="connsiteY62" fmla="*/ 74306 h 592750"/>
                  <a:gd name="connsiteX63" fmla="*/ 458182 w 606157"/>
                  <a:gd name="connsiteY63" fmla="*/ 148612 h 592750"/>
                  <a:gd name="connsiteX64" fmla="*/ 383735 w 606157"/>
                  <a:gd name="connsiteY64" fmla="*/ 74306 h 592750"/>
                  <a:gd name="connsiteX65" fmla="*/ 458182 w 606157"/>
                  <a:gd name="connsiteY65" fmla="*/ 0 h 59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</a:cxnLst>
                <a:rect l="l" t="t" r="r" b="b"/>
                <a:pathLst>
                  <a:path w="606157" h="592750">
                    <a:moveTo>
                      <a:pt x="454143" y="386956"/>
                    </a:moveTo>
                    <a:lnTo>
                      <a:pt x="454143" y="559114"/>
                    </a:lnTo>
                    <a:cubicBezTo>
                      <a:pt x="454143" y="560062"/>
                      <a:pt x="454048" y="561957"/>
                      <a:pt x="456800" y="561957"/>
                    </a:cubicBezTo>
                    <a:lnTo>
                      <a:pt x="466005" y="561957"/>
                    </a:lnTo>
                    <a:cubicBezTo>
                      <a:pt x="468282" y="561957"/>
                      <a:pt x="467997" y="560062"/>
                      <a:pt x="467997" y="559114"/>
                    </a:cubicBezTo>
                    <a:lnTo>
                      <a:pt x="467997" y="386956"/>
                    </a:lnTo>
                    <a:close/>
                    <a:moveTo>
                      <a:pt x="242918" y="134357"/>
                    </a:moveTo>
                    <a:cubicBezTo>
                      <a:pt x="247947" y="134357"/>
                      <a:pt x="252787" y="136915"/>
                      <a:pt x="256203" y="141463"/>
                    </a:cubicBezTo>
                    <a:lnTo>
                      <a:pt x="323764" y="230906"/>
                    </a:lnTo>
                    <a:cubicBezTo>
                      <a:pt x="328699" y="237443"/>
                      <a:pt x="327465" y="242275"/>
                      <a:pt x="326327" y="244644"/>
                    </a:cubicBezTo>
                    <a:cubicBezTo>
                      <a:pt x="325188" y="246918"/>
                      <a:pt x="322056" y="250803"/>
                      <a:pt x="313801" y="250803"/>
                    </a:cubicBezTo>
                    <a:lnTo>
                      <a:pt x="286757" y="250803"/>
                    </a:lnTo>
                    <a:lnTo>
                      <a:pt x="286757" y="561957"/>
                    </a:lnTo>
                    <a:lnTo>
                      <a:pt x="386202" y="561957"/>
                    </a:lnTo>
                    <a:cubicBezTo>
                      <a:pt x="389713" y="561957"/>
                      <a:pt x="389144" y="560062"/>
                      <a:pt x="389144" y="559114"/>
                    </a:cubicBezTo>
                    <a:lnTo>
                      <a:pt x="389144" y="332760"/>
                    </a:lnTo>
                    <a:lnTo>
                      <a:pt x="389144" y="306799"/>
                    </a:lnTo>
                    <a:lnTo>
                      <a:pt x="378136" y="332192"/>
                    </a:lnTo>
                    <a:cubicBezTo>
                      <a:pt x="373392" y="342993"/>
                      <a:pt x="362764" y="350004"/>
                      <a:pt x="350998" y="350004"/>
                    </a:cubicBezTo>
                    <a:cubicBezTo>
                      <a:pt x="346918" y="350004"/>
                      <a:pt x="343027" y="349152"/>
                      <a:pt x="339232" y="347541"/>
                    </a:cubicBezTo>
                    <a:cubicBezTo>
                      <a:pt x="332020" y="344414"/>
                      <a:pt x="326421" y="338635"/>
                      <a:pt x="323575" y="331339"/>
                    </a:cubicBezTo>
                    <a:cubicBezTo>
                      <a:pt x="320633" y="324043"/>
                      <a:pt x="320728" y="315990"/>
                      <a:pt x="323859" y="308789"/>
                    </a:cubicBezTo>
                    <a:lnTo>
                      <a:pt x="380793" y="177278"/>
                    </a:lnTo>
                    <a:cubicBezTo>
                      <a:pt x="384969" y="167708"/>
                      <a:pt x="393224" y="159750"/>
                      <a:pt x="404041" y="159750"/>
                    </a:cubicBezTo>
                    <a:cubicBezTo>
                      <a:pt x="404990" y="159750"/>
                      <a:pt x="514304" y="159465"/>
                      <a:pt x="514683" y="159465"/>
                    </a:cubicBezTo>
                    <a:cubicBezTo>
                      <a:pt x="526544" y="159465"/>
                      <a:pt x="537552" y="166477"/>
                      <a:pt x="542296" y="177278"/>
                    </a:cubicBezTo>
                    <a:lnTo>
                      <a:pt x="599230" y="308789"/>
                    </a:lnTo>
                    <a:cubicBezTo>
                      <a:pt x="602361" y="315990"/>
                      <a:pt x="602456" y="324043"/>
                      <a:pt x="599610" y="331339"/>
                    </a:cubicBezTo>
                    <a:cubicBezTo>
                      <a:pt x="596668" y="338635"/>
                      <a:pt x="591070" y="344414"/>
                      <a:pt x="583858" y="347541"/>
                    </a:cubicBezTo>
                    <a:cubicBezTo>
                      <a:pt x="580062" y="349152"/>
                      <a:pt x="576172" y="350004"/>
                      <a:pt x="572092" y="350004"/>
                    </a:cubicBezTo>
                    <a:cubicBezTo>
                      <a:pt x="560325" y="350004"/>
                      <a:pt x="549698" y="342993"/>
                      <a:pt x="544953" y="332192"/>
                    </a:cubicBezTo>
                    <a:lnTo>
                      <a:pt x="532997" y="304525"/>
                    </a:lnTo>
                    <a:lnTo>
                      <a:pt x="532997" y="332760"/>
                    </a:lnTo>
                    <a:lnTo>
                      <a:pt x="532997" y="559114"/>
                    </a:lnTo>
                    <a:cubicBezTo>
                      <a:pt x="532997" y="560062"/>
                      <a:pt x="533282" y="561957"/>
                      <a:pt x="536887" y="561957"/>
                    </a:cubicBezTo>
                    <a:lnTo>
                      <a:pt x="590785" y="561957"/>
                    </a:lnTo>
                    <a:cubicBezTo>
                      <a:pt x="599230" y="561957"/>
                      <a:pt x="606157" y="568873"/>
                      <a:pt x="606157" y="577401"/>
                    </a:cubicBezTo>
                    <a:cubicBezTo>
                      <a:pt x="606157" y="585928"/>
                      <a:pt x="599230" y="592750"/>
                      <a:pt x="590785" y="592750"/>
                    </a:cubicBezTo>
                    <a:lnTo>
                      <a:pt x="15372" y="592750"/>
                    </a:lnTo>
                    <a:cubicBezTo>
                      <a:pt x="6927" y="592750"/>
                      <a:pt x="0" y="585833"/>
                      <a:pt x="0" y="577401"/>
                    </a:cubicBezTo>
                    <a:cubicBezTo>
                      <a:pt x="0" y="568873"/>
                      <a:pt x="6927" y="561957"/>
                      <a:pt x="15372" y="561957"/>
                    </a:cubicBezTo>
                    <a:lnTo>
                      <a:pt x="50766" y="561957"/>
                    </a:lnTo>
                    <a:lnTo>
                      <a:pt x="50766" y="369617"/>
                    </a:lnTo>
                    <a:lnTo>
                      <a:pt x="23628" y="369617"/>
                    </a:lnTo>
                    <a:cubicBezTo>
                      <a:pt x="15467" y="369617"/>
                      <a:pt x="12336" y="365733"/>
                      <a:pt x="11102" y="363459"/>
                    </a:cubicBezTo>
                    <a:cubicBezTo>
                      <a:pt x="9963" y="361090"/>
                      <a:pt x="8825" y="356258"/>
                      <a:pt x="13759" y="349720"/>
                    </a:cubicBezTo>
                    <a:lnTo>
                      <a:pt x="81226" y="260278"/>
                    </a:lnTo>
                    <a:cubicBezTo>
                      <a:pt x="84642" y="255730"/>
                      <a:pt x="89481" y="253172"/>
                      <a:pt x="94605" y="253172"/>
                    </a:cubicBezTo>
                    <a:cubicBezTo>
                      <a:pt x="99634" y="253172"/>
                      <a:pt x="104474" y="255730"/>
                      <a:pt x="107890" y="260278"/>
                    </a:cubicBezTo>
                    <a:lnTo>
                      <a:pt x="175452" y="349720"/>
                    </a:lnTo>
                    <a:cubicBezTo>
                      <a:pt x="180386" y="356258"/>
                      <a:pt x="179152" y="361090"/>
                      <a:pt x="178014" y="363459"/>
                    </a:cubicBezTo>
                    <a:cubicBezTo>
                      <a:pt x="176875" y="365733"/>
                      <a:pt x="173649" y="369617"/>
                      <a:pt x="165488" y="369617"/>
                    </a:cubicBezTo>
                    <a:lnTo>
                      <a:pt x="138350" y="369617"/>
                    </a:lnTo>
                    <a:lnTo>
                      <a:pt x="138350" y="561957"/>
                    </a:lnTo>
                    <a:lnTo>
                      <a:pt x="199079" y="561957"/>
                    </a:lnTo>
                    <a:lnTo>
                      <a:pt x="199079" y="250803"/>
                    </a:lnTo>
                    <a:lnTo>
                      <a:pt x="172035" y="250803"/>
                    </a:lnTo>
                    <a:cubicBezTo>
                      <a:pt x="163780" y="250803"/>
                      <a:pt x="160649" y="246918"/>
                      <a:pt x="159510" y="244644"/>
                    </a:cubicBezTo>
                    <a:cubicBezTo>
                      <a:pt x="158276" y="242275"/>
                      <a:pt x="157138" y="237443"/>
                      <a:pt x="162072" y="230906"/>
                    </a:cubicBezTo>
                    <a:lnTo>
                      <a:pt x="229539" y="141463"/>
                    </a:lnTo>
                    <a:cubicBezTo>
                      <a:pt x="232955" y="136915"/>
                      <a:pt x="237889" y="134357"/>
                      <a:pt x="242918" y="134357"/>
                    </a:cubicBezTo>
                    <a:close/>
                    <a:moveTo>
                      <a:pt x="458182" y="0"/>
                    </a:moveTo>
                    <a:cubicBezTo>
                      <a:pt x="499298" y="0"/>
                      <a:pt x="532629" y="33268"/>
                      <a:pt x="532629" y="74306"/>
                    </a:cubicBezTo>
                    <a:cubicBezTo>
                      <a:pt x="532629" y="115344"/>
                      <a:pt x="499298" y="148612"/>
                      <a:pt x="458182" y="148612"/>
                    </a:cubicBezTo>
                    <a:cubicBezTo>
                      <a:pt x="417066" y="148612"/>
                      <a:pt x="383735" y="115344"/>
                      <a:pt x="383735" y="74306"/>
                    </a:cubicBezTo>
                    <a:cubicBezTo>
                      <a:pt x="383735" y="33268"/>
                      <a:pt x="417066" y="0"/>
                      <a:pt x="45818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16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6" name="íṩ1îḑé">
              <a:extLst>
                <a:ext uri="{FF2B5EF4-FFF2-40B4-BE49-F238E27FC236}">
                  <a16:creationId xmlns:a16="http://schemas.microsoft.com/office/drawing/2014/main" id="{971D62EE-2BF5-46C2-97B8-392A2304FB80}"/>
                </a:ext>
              </a:extLst>
            </p:cNvPr>
            <p:cNvGrpSpPr/>
            <p:nvPr/>
          </p:nvGrpSpPr>
          <p:grpSpPr>
            <a:xfrm>
              <a:off x="6033748" y="3389517"/>
              <a:ext cx="485366" cy="485366"/>
              <a:chOff x="1145735" y="3371410"/>
              <a:chExt cx="521580" cy="521580"/>
            </a:xfrm>
          </p:grpSpPr>
          <p:sp>
            <p:nvSpPr>
              <p:cNvPr id="24" name="îṥḻîḓè">
                <a:extLst>
                  <a:ext uri="{FF2B5EF4-FFF2-40B4-BE49-F238E27FC236}">
                    <a16:creationId xmlns:a16="http://schemas.microsoft.com/office/drawing/2014/main" id="{D8A469A8-FB91-4B7B-A706-E0544BD03E7F}"/>
                  </a:ext>
                </a:extLst>
              </p:cNvPr>
              <p:cNvSpPr/>
              <p:nvPr/>
            </p:nvSpPr>
            <p:spPr>
              <a:xfrm>
                <a:off x="1145735" y="3371410"/>
                <a:ext cx="521580" cy="521580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5" name="iṩḻíḓê">
                <a:extLst>
                  <a:ext uri="{FF2B5EF4-FFF2-40B4-BE49-F238E27FC236}">
                    <a16:creationId xmlns:a16="http://schemas.microsoft.com/office/drawing/2014/main" id="{7E0D4B0C-1598-43FA-B82E-AB4AEA6C5985}"/>
                  </a:ext>
                </a:extLst>
              </p:cNvPr>
              <p:cNvSpPr/>
              <p:nvPr/>
            </p:nvSpPr>
            <p:spPr>
              <a:xfrm>
                <a:off x="1259224" y="3488157"/>
                <a:ext cx="294603" cy="288086"/>
              </a:xfrm>
              <a:custGeom>
                <a:avLst/>
                <a:gdLst>
                  <a:gd name="connsiteX0" fmla="*/ 454143 w 606157"/>
                  <a:gd name="connsiteY0" fmla="*/ 386956 h 592750"/>
                  <a:gd name="connsiteX1" fmla="*/ 454143 w 606157"/>
                  <a:gd name="connsiteY1" fmla="*/ 559114 h 592750"/>
                  <a:gd name="connsiteX2" fmla="*/ 456800 w 606157"/>
                  <a:gd name="connsiteY2" fmla="*/ 561957 h 592750"/>
                  <a:gd name="connsiteX3" fmla="*/ 466005 w 606157"/>
                  <a:gd name="connsiteY3" fmla="*/ 561957 h 592750"/>
                  <a:gd name="connsiteX4" fmla="*/ 467997 w 606157"/>
                  <a:gd name="connsiteY4" fmla="*/ 559114 h 592750"/>
                  <a:gd name="connsiteX5" fmla="*/ 467997 w 606157"/>
                  <a:gd name="connsiteY5" fmla="*/ 386956 h 592750"/>
                  <a:gd name="connsiteX6" fmla="*/ 242918 w 606157"/>
                  <a:gd name="connsiteY6" fmla="*/ 134357 h 592750"/>
                  <a:gd name="connsiteX7" fmla="*/ 256203 w 606157"/>
                  <a:gd name="connsiteY7" fmla="*/ 141463 h 592750"/>
                  <a:gd name="connsiteX8" fmla="*/ 323764 w 606157"/>
                  <a:gd name="connsiteY8" fmla="*/ 230906 h 592750"/>
                  <a:gd name="connsiteX9" fmla="*/ 326327 w 606157"/>
                  <a:gd name="connsiteY9" fmla="*/ 244644 h 592750"/>
                  <a:gd name="connsiteX10" fmla="*/ 313801 w 606157"/>
                  <a:gd name="connsiteY10" fmla="*/ 250803 h 592750"/>
                  <a:gd name="connsiteX11" fmla="*/ 286757 w 606157"/>
                  <a:gd name="connsiteY11" fmla="*/ 250803 h 592750"/>
                  <a:gd name="connsiteX12" fmla="*/ 286757 w 606157"/>
                  <a:gd name="connsiteY12" fmla="*/ 561957 h 592750"/>
                  <a:gd name="connsiteX13" fmla="*/ 386202 w 606157"/>
                  <a:gd name="connsiteY13" fmla="*/ 561957 h 592750"/>
                  <a:gd name="connsiteX14" fmla="*/ 389144 w 606157"/>
                  <a:gd name="connsiteY14" fmla="*/ 559114 h 592750"/>
                  <a:gd name="connsiteX15" fmla="*/ 389144 w 606157"/>
                  <a:gd name="connsiteY15" fmla="*/ 332760 h 592750"/>
                  <a:gd name="connsiteX16" fmla="*/ 389144 w 606157"/>
                  <a:gd name="connsiteY16" fmla="*/ 306799 h 592750"/>
                  <a:gd name="connsiteX17" fmla="*/ 378136 w 606157"/>
                  <a:gd name="connsiteY17" fmla="*/ 332192 h 592750"/>
                  <a:gd name="connsiteX18" fmla="*/ 350998 w 606157"/>
                  <a:gd name="connsiteY18" fmla="*/ 350004 h 592750"/>
                  <a:gd name="connsiteX19" fmla="*/ 339232 w 606157"/>
                  <a:gd name="connsiteY19" fmla="*/ 347541 h 592750"/>
                  <a:gd name="connsiteX20" fmla="*/ 323575 w 606157"/>
                  <a:gd name="connsiteY20" fmla="*/ 331339 h 592750"/>
                  <a:gd name="connsiteX21" fmla="*/ 323859 w 606157"/>
                  <a:gd name="connsiteY21" fmla="*/ 308789 h 592750"/>
                  <a:gd name="connsiteX22" fmla="*/ 380793 w 606157"/>
                  <a:gd name="connsiteY22" fmla="*/ 177278 h 592750"/>
                  <a:gd name="connsiteX23" fmla="*/ 404041 w 606157"/>
                  <a:gd name="connsiteY23" fmla="*/ 159750 h 592750"/>
                  <a:gd name="connsiteX24" fmla="*/ 514683 w 606157"/>
                  <a:gd name="connsiteY24" fmla="*/ 159465 h 592750"/>
                  <a:gd name="connsiteX25" fmla="*/ 542296 w 606157"/>
                  <a:gd name="connsiteY25" fmla="*/ 177278 h 592750"/>
                  <a:gd name="connsiteX26" fmla="*/ 599230 w 606157"/>
                  <a:gd name="connsiteY26" fmla="*/ 308789 h 592750"/>
                  <a:gd name="connsiteX27" fmla="*/ 599610 w 606157"/>
                  <a:gd name="connsiteY27" fmla="*/ 331339 h 592750"/>
                  <a:gd name="connsiteX28" fmla="*/ 583858 w 606157"/>
                  <a:gd name="connsiteY28" fmla="*/ 347541 h 592750"/>
                  <a:gd name="connsiteX29" fmla="*/ 572092 w 606157"/>
                  <a:gd name="connsiteY29" fmla="*/ 350004 h 592750"/>
                  <a:gd name="connsiteX30" fmla="*/ 544953 w 606157"/>
                  <a:gd name="connsiteY30" fmla="*/ 332192 h 592750"/>
                  <a:gd name="connsiteX31" fmla="*/ 532997 w 606157"/>
                  <a:gd name="connsiteY31" fmla="*/ 304525 h 592750"/>
                  <a:gd name="connsiteX32" fmla="*/ 532997 w 606157"/>
                  <a:gd name="connsiteY32" fmla="*/ 332760 h 592750"/>
                  <a:gd name="connsiteX33" fmla="*/ 532997 w 606157"/>
                  <a:gd name="connsiteY33" fmla="*/ 559114 h 592750"/>
                  <a:gd name="connsiteX34" fmla="*/ 536887 w 606157"/>
                  <a:gd name="connsiteY34" fmla="*/ 561957 h 592750"/>
                  <a:gd name="connsiteX35" fmla="*/ 590785 w 606157"/>
                  <a:gd name="connsiteY35" fmla="*/ 561957 h 592750"/>
                  <a:gd name="connsiteX36" fmla="*/ 606157 w 606157"/>
                  <a:gd name="connsiteY36" fmla="*/ 577401 h 592750"/>
                  <a:gd name="connsiteX37" fmla="*/ 590785 w 606157"/>
                  <a:gd name="connsiteY37" fmla="*/ 592750 h 592750"/>
                  <a:gd name="connsiteX38" fmla="*/ 15372 w 606157"/>
                  <a:gd name="connsiteY38" fmla="*/ 592750 h 592750"/>
                  <a:gd name="connsiteX39" fmla="*/ 0 w 606157"/>
                  <a:gd name="connsiteY39" fmla="*/ 577401 h 592750"/>
                  <a:gd name="connsiteX40" fmla="*/ 15372 w 606157"/>
                  <a:gd name="connsiteY40" fmla="*/ 561957 h 592750"/>
                  <a:gd name="connsiteX41" fmla="*/ 50766 w 606157"/>
                  <a:gd name="connsiteY41" fmla="*/ 561957 h 592750"/>
                  <a:gd name="connsiteX42" fmla="*/ 50766 w 606157"/>
                  <a:gd name="connsiteY42" fmla="*/ 369617 h 592750"/>
                  <a:gd name="connsiteX43" fmla="*/ 23628 w 606157"/>
                  <a:gd name="connsiteY43" fmla="*/ 369617 h 592750"/>
                  <a:gd name="connsiteX44" fmla="*/ 11102 w 606157"/>
                  <a:gd name="connsiteY44" fmla="*/ 363459 h 592750"/>
                  <a:gd name="connsiteX45" fmla="*/ 13759 w 606157"/>
                  <a:gd name="connsiteY45" fmla="*/ 349720 h 592750"/>
                  <a:gd name="connsiteX46" fmla="*/ 81226 w 606157"/>
                  <a:gd name="connsiteY46" fmla="*/ 260278 h 592750"/>
                  <a:gd name="connsiteX47" fmla="*/ 94605 w 606157"/>
                  <a:gd name="connsiteY47" fmla="*/ 253172 h 592750"/>
                  <a:gd name="connsiteX48" fmla="*/ 107890 w 606157"/>
                  <a:gd name="connsiteY48" fmla="*/ 260278 h 592750"/>
                  <a:gd name="connsiteX49" fmla="*/ 175452 w 606157"/>
                  <a:gd name="connsiteY49" fmla="*/ 349720 h 592750"/>
                  <a:gd name="connsiteX50" fmla="*/ 178014 w 606157"/>
                  <a:gd name="connsiteY50" fmla="*/ 363459 h 592750"/>
                  <a:gd name="connsiteX51" fmla="*/ 165488 w 606157"/>
                  <a:gd name="connsiteY51" fmla="*/ 369617 h 592750"/>
                  <a:gd name="connsiteX52" fmla="*/ 138350 w 606157"/>
                  <a:gd name="connsiteY52" fmla="*/ 369617 h 592750"/>
                  <a:gd name="connsiteX53" fmla="*/ 138350 w 606157"/>
                  <a:gd name="connsiteY53" fmla="*/ 561957 h 592750"/>
                  <a:gd name="connsiteX54" fmla="*/ 199079 w 606157"/>
                  <a:gd name="connsiteY54" fmla="*/ 561957 h 592750"/>
                  <a:gd name="connsiteX55" fmla="*/ 199079 w 606157"/>
                  <a:gd name="connsiteY55" fmla="*/ 250803 h 592750"/>
                  <a:gd name="connsiteX56" fmla="*/ 172035 w 606157"/>
                  <a:gd name="connsiteY56" fmla="*/ 250803 h 592750"/>
                  <a:gd name="connsiteX57" fmla="*/ 159510 w 606157"/>
                  <a:gd name="connsiteY57" fmla="*/ 244644 h 592750"/>
                  <a:gd name="connsiteX58" fmla="*/ 162072 w 606157"/>
                  <a:gd name="connsiteY58" fmla="*/ 230906 h 592750"/>
                  <a:gd name="connsiteX59" fmla="*/ 229539 w 606157"/>
                  <a:gd name="connsiteY59" fmla="*/ 141463 h 592750"/>
                  <a:gd name="connsiteX60" fmla="*/ 242918 w 606157"/>
                  <a:gd name="connsiteY60" fmla="*/ 134357 h 592750"/>
                  <a:gd name="connsiteX61" fmla="*/ 458182 w 606157"/>
                  <a:gd name="connsiteY61" fmla="*/ 0 h 592750"/>
                  <a:gd name="connsiteX62" fmla="*/ 532629 w 606157"/>
                  <a:gd name="connsiteY62" fmla="*/ 74306 h 592750"/>
                  <a:gd name="connsiteX63" fmla="*/ 458182 w 606157"/>
                  <a:gd name="connsiteY63" fmla="*/ 148612 h 592750"/>
                  <a:gd name="connsiteX64" fmla="*/ 383735 w 606157"/>
                  <a:gd name="connsiteY64" fmla="*/ 74306 h 592750"/>
                  <a:gd name="connsiteX65" fmla="*/ 458182 w 606157"/>
                  <a:gd name="connsiteY65" fmla="*/ 0 h 59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</a:cxnLst>
                <a:rect l="l" t="t" r="r" b="b"/>
                <a:pathLst>
                  <a:path w="606157" h="592750">
                    <a:moveTo>
                      <a:pt x="454143" y="386956"/>
                    </a:moveTo>
                    <a:lnTo>
                      <a:pt x="454143" y="559114"/>
                    </a:lnTo>
                    <a:cubicBezTo>
                      <a:pt x="454143" y="560062"/>
                      <a:pt x="454048" y="561957"/>
                      <a:pt x="456800" y="561957"/>
                    </a:cubicBezTo>
                    <a:lnTo>
                      <a:pt x="466005" y="561957"/>
                    </a:lnTo>
                    <a:cubicBezTo>
                      <a:pt x="468282" y="561957"/>
                      <a:pt x="467997" y="560062"/>
                      <a:pt x="467997" y="559114"/>
                    </a:cubicBezTo>
                    <a:lnTo>
                      <a:pt x="467997" y="386956"/>
                    </a:lnTo>
                    <a:close/>
                    <a:moveTo>
                      <a:pt x="242918" y="134357"/>
                    </a:moveTo>
                    <a:cubicBezTo>
                      <a:pt x="247947" y="134357"/>
                      <a:pt x="252787" y="136915"/>
                      <a:pt x="256203" y="141463"/>
                    </a:cubicBezTo>
                    <a:lnTo>
                      <a:pt x="323764" y="230906"/>
                    </a:lnTo>
                    <a:cubicBezTo>
                      <a:pt x="328699" y="237443"/>
                      <a:pt x="327465" y="242275"/>
                      <a:pt x="326327" y="244644"/>
                    </a:cubicBezTo>
                    <a:cubicBezTo>
                      <a:pt x="325188" y="246918"/>
                      <a:pt x="322056" y="250803"/>
                      <a:pt x="313801" y="250803"/>
                    </a:cubicBezTo>
                    <a:lnTo>
                      <a:pt x="286757" y="250803"/>
                    </a:lnTo>
                    <a:lnTo>
                      <a:pt x="286757" y="561957"/>
                    </a:lnTo>
                    <a:lnTo>
                      <a:pt x="386202" y="561957"/>
                    </a:lnTo>
                    <a:cubicBezTo>
                      <a:pt x="389713" y="561957"/>
                      <a:pt x="389144" y="560062"/>
                      <a:pt x="389144" y="559114"/>
                    </a:cubicBezTo>
                    <a:lnTo>
                      <a:pt x="389144" y="332760"/>
                    </a:lnTo>
                    <a:lnTo>
                      <a:pt x="389144" y="306799"/>
                    </a:lnTo>
                    <a:lnTo>
                      <a:pt x="378136" y="332192"/>
                    </a:lnTo>
                    <a:cubicBezTo>
                      <a:pt x="373392" y="342993"/>
                      <a:pt x="362764" y="350004"/>
                      <a:pt x="350998" y="350004"/>
                    </a:cubicBezTo>
                    <a:cubicBezTo>
                      <a:pt x="346918" y="350004"/>
                      <a:pt x="343027" y="349152"/>
                      <a:pt x="339232" y="347541"/>
                    </a:cubicBezTo>
                    <a:cubicBezTo>
                      <a:pt x="332020" y="344414"/>
                      <a:pt x="326421" y="338635"/>
                      <a:pt x="323575" y="331339"/>
                    </a:cubicBezTo>
                    <a:cubicBezTo>
                      <a:pt x="320633" y="324043"/>
                      <a:pt x="320728" y="315990"/>
                      <a:pt x="323859" y="308789"/>
                    </a:cubicBezTo>
                    <a:lnTo>
                      <a:pt x="380793" y="177278"/>
                    </a:lnTo>
                    <a:cubicBezTo>
                      <a:pt x="384969" y="167708"/>
                      <a:pt x="393224" y="159750"/>
                      <a:pt x="404041" y="159750"/>
                    </a:cubicBezTo>
                    <a:cubicBezTo>
                      <a:pt x="404990" y="159750"/>
                      <a:pt x="514304" y="159465"/>
                      <a:pt x="514683" y="159465"/>
                    </a:cubicBezTo>
                    <a:cubicBezTo>
                      <a:pt x="526544" y="159465"/>
                      <a:pt x="537552" y="166477"/>
                      <a:pt x="542296" y="177278"/>
                    </a:cubicBezTo>
                    <a:lnTo>
                      <a:pt x="599230" y="308789"/>
                    </a:lnTo>
                    <a:cubicBezTo>
                      <a:pt x="602361" y="315990"/>
                      <a:pt x="602456" y="324043"/>
                      <a:pt x="599610" y="331339"/>
                    </a:cubicBezTo>
                    <a:cubicBezTo>
                      <a:pt x="596668" y="338635"/>
                      <a:pt x="591070" y="344414"/>
                      <a:pt x="583858" y="347541"/>
                    </a:cubicBezTo>
                    <a:cubicBezTo>
                      <a:pt x="580062" y="349152"/>
                      <a:pt x="576172" y="350004"/>
                      <a:pt x="572092" y="350004"/>
                    </a:cubicBezTo>
                    <a:cubicBezTo>
                      <a:pt x="560325" y="350004"/>
                      <a:pt x="549698" y="342993"/>
                      <a:pt x="544953" y="332192"/>
                    </a:cubicBezTo>
                    <a:lnTo>
                      <a:pt x="532997" y="304525"/>
                    </a:lnTo>
                    <a:lnTo>
                      <a:pt x="532997" y="332760"/>
                    </a:lnTo>
                    <a:lnTo>
                      <a:pt x="532997" y="559114"/>
                    </a:lnTo>
                    <a:cubicBezTo>
                      <a:pt x="532997" y="560062"/>
                      <a:pt x="533282" y="561957"/>
                      <a:pt x="536887" y="561957"/>
                    </a:cubicBezTo>
                    <a:lnTo>
                      <a:pt x="590785" y="561957"/>
                    </a:lnTo>
                    <a:cubicBezTo>
                      <a:pt x="599230" y="561957"/>
                      <a:pt x="606157" y="568873"/>
                      <a:pt x="606157" y="577401"/>
                    </a:cubicBezTo>
                    <a:cubicBezTo>
                      <a:pt x="606157" y="585928"/>
                      <a:pt x="599230" y="592750"/>
                      <a:pt x="590785" y="592750"/>
                    </a:cubicBezTo>
                    <a:lnTo>
                      <a:pt x="15372" y="592750"/>
                    </a:lnTo>
                    <a:cubicBezTo>
                      <a:pt x="6927" y="592750"/>
                      <a:pt x="0" y="585833"/>
                      <a:pt x="0" y="577401"/>
                    </a:cubicBezTo>
                    <a:cubicBezTo>
                      <a:pt x="0" y="568873"/>
                      <a:pt x="6927" y="561957"/>
                      <a:pt x="15372" y="561957"/>
                    </a:cubicBezTo>
                    <a:lnTo>
                      <a:pt x="50766" y="561957"/>
                    </a:lnTo>
                    <a:lnTo>
                      <a:pt x="50766" y="369617"/>
                    </a:lnTo>
                    <a:lnTo>
                      <a:pt x="23628" y="369617"/>
                    </a:lnTo>
                    <a:cubicBezTo>
                      <a:pt x="15467" y="369617"/>
                      <a:pt x="12336" y="365733"/>
                      <a:pt x="11102" y="363459"/>
                    </a:cubicBezTo>
                    <a:cubicBezTo>
                      <a:pt x="9963" y="361090"/>
                      <a:pt x="8825" y="356258"/>
                      <a:pt x="13759" y="349720"/>
                    </a:cubicBezTo>
                    <a:lnTo>
                      <a:pt x="81226" y="260278"/>
                    </a:lnTo>
                    <a:cubicBezTo>
                      <a:pt x="84642" y="255730"/>
                      <a:pt x="89481" y="253172"/>
                      <a:pt x="94605" y="253172"/>
                    </a:cubicBezTo>
                    <a:cubicBezTo>
                      <a:pt x="99634" y="253172"/>
                      <a:pt x="104474" y="255730"/>
                      <a:pt x="107890" y="260278"/>
                    </a:cubicBezTo>
                    <a:lnTo>
                      <a:pt x="175452" y="349720"/>
                    </a:lnTo>
                    <a:cubicBezTo>
                      <a:pt x="180386" y="356258"/>
                      <a:pt x="179152" y="361090"/>
                      <a:pt x="178014" y="363459"/>
                    </a:cubicBezTo>
                    <a:cubicBezTo>
                      <a:pt x="176875" y="365733"/>
                      <a:pt x="173649" y="369617"/>
                      <a:pt x="165488" y="369617"/>
                    </a:cubicBezTo>
                    <a:lnTo>
                      <a:pt x="138350" y="369617"/>
                    </a:lnTo>
                    <a:lnTo>
                      <a:pt x="138350" y="561957"/>
                    </a:lnTo>
                    <a:lnTo>
                      <a:pt x="199079" y="561957"/>
                    </a:lnTo>
                    <a:lnTo>
                      <a:pt x="199079" y="250803"/>
                    </a:lnTo>
                    <a:lnTo>
                      <a:pt x="172035" y="250803"/>
                    </a:lnTo>
                    <a:cubicBezTo>
                      <a:pt x="163780" y="250803"/>
                      <a:pt x="160649" y="246918"/>
                      <a:pt x="159510" y="244644"/>
                    </a:cubicBezTo>
                    <a:cubicBezTo>
                      <a:pt x="158276" y="242275"/>
                      <a:pt x="157138" y="237443"/>
                      <a:pt x="162072" y="230906"/>
                    </a:cubicBezTo>
                    <a:lnTo>
                      <a:pt x="229539" y="141463"/>
                    </a:lnTo>
                    <a:cubicBezTo>
                      <a:pt x="232955" y="136915"/>
                      <a:pt x="237889" y="134357"/>
                      <a:pt x="242918" y="134357"/>
                    </a:cubicBezTo>
                    <a:close/>
                    <a:moveTo>
                      <a:pt x="458182" y="0"/>
                    </a:moveTo>
                    <a:cubicBezTo>
                      <a:pt x="499298" y="0"/>
                      <a:pt x="532629" y="33268"/>
                      <a:pt x="532629" y="74306"/>
                    </a:cubicBezTo>
                    <a:cubicBezTo>
                      <a:pt x="532629" y="115344"/>
                      <a:pt x="499298" y="148612"/>
                      <a:pt x="458182" y="148612"/>
                    </a:cubicBezTo>
                    <a:cubicBezTo>
                      <a:pt x="417066" y="148612"/>
                      <a:pt x="383735" y="115344"/>
                      <a:pt x="383735" y="74306"/>
                    </a:cubicBezTo>
                    <a:cubicBezTo>
                      <a:pt x="383735" y="33268"/>
                      <a:pt x="417066" y="0"/>
                      <a:pt x="45818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16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7" name="iṧlíḓê">
              <a:extLst>
                <a:ext uri="{FF2B5EF4-FFF2-40B4-BE49-F238E27FC236}">
                  <a16:creationId xmlns:a16="http://schemas.microsoft.com/office/drawing/2014/main" id="{CD431FDA-D384-49D8-9CC5-39147620D2FB}"/>
                </a:ext>
              </a:extLst>
            </p:cNvPr>
            <p:cNvGrpSpPr/>
            <p:nvPr/>
          </p:nvGrpSpPr>
          <p:grpSpPr>
            <a:xfrm>
              <a:off x="7657047" y="3389517"/>
              <a:ext cx="485366" cy="485366"/>
              <a:chOff x="1145735" y="3371410"/>
              <a:chExt cx="521580" cy="521580"/>
            </a:xfrm>
          </p:grpSpPr>
          <p:sp>
            <p:nvSpPr>
              <p:cNvPr id="22" name="îSlîḍe">
                <a:extLst>
                  <a:ext uri="{FF2B5EF4-FFF2-40B4-BE49-F238E27FC236}">
                    <a16:creationId xmlns:a16="http://schemas.microsoft.com/office/drawing/2014/main" id="{D8D7EEF3-CBFA-43EA-B765-C33B63803782}"/>
                  </a:ext>
                </a:extLst>
              </p:cNvPr>
              <p:cNvSpPr/>
              <p:nvPr/>
            </p:nvSpPr>
            <p:spPr>
              <a:xfrm>
                <a:off x="1145735" y="3371410"/>
                <a:ext cx="521580" cy="521580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3" name="îšļíḑè">
                <a:extLst>
                  <a:ext uri="{FF2B5EF4-FFF2-40B4-BE49-F238E27FC236}">
                    <a16:creationId xmlns:a16="http://schemas.microsoft.com/office/drawing/2014/main" id="{99A315C5-0938-4D3B-B3D0-D3F3D877EDC9}"/>
                  </a:ext>
                </a:extLst>
              </p:cNvPr>
              <p:cNvSpPr/>
              <p:nvPr/>
            </p:nvSpPr>
            <p:spPr>
              <a:xfrm>
                <a:off x="1259224" y="3488157"/>
                <a:ext cx="294603" cy="288086"/>
              </a:xfrm>
              <a:custGeom>
                <a:avLst/>
                <a:gdLst>
                  <a:gd name="connsiteX0" fmla="*/ 454143 w 606157"/>
                  <a:gd name="connsiteY0" fmla="*/ 386956 h 592750"/>
                  <a:gd name="connsiteX1" fmla="*/ 454143 w 606157"/>
                  <a:gd name="connsiteY1" fmla="*/ 559114 h 592750"/>
                  <a:gd name="connsiteX2" fmla="*/ 456800 w 606157"/>
                  <a:gd name="connsiteY2" fmla="*/ 561957 h 592750"/>
                  <a:gd name="connsiteX3" fmla="*/ 466005 w 606157"/>
                  <a:gd name="connsiteY3" fmla="*/ 561957 h 592750"/>
                  <a:gd name="connsiteX4" fmla="*/ 467997 w 606157"/>
                  <a:gd name="connsiteY4" fmla="*/ 559114 h 592750"/>
                  <a:gd name="connsiteX5" fmla="*/ 467997 w 606157"/>
                  <a:gd name="connsiteY5" fmla="*/ 386956 h 592750"/>
                  <a:gd name="connsiteX6" fmla="*/ 242918 w 606157"/>
                  <a:gd name="connsiteY6" fmla="*/ 134357 h 592750"/>
                  <a:gd name="connsiteX7" fmla="*/ 256203 w 606157"/>
                  <a:gd name="connsiteY7" fmla="*/ 141463 h 592750"/>
                  <a:gd name="connsiteX8" fmla="*/ 323764 w 606157"/>
                  <a:gd name="connsiteY8" fmla="*/ 230906 h 592750"/>
                  <a:gd name="connsiteX9" fmla="*/ 326327 w 606157"/>
                  <a:gd name="connsiteY9" fmla="*/ 244644 h 592750"/>
                  <a:gd name="connsiteX10" fmla="*/ 313801 w 606157"/>
                  <a:gd name="connsiteY10" fmla="*/ 250803 h 592750"/>
                  <a:gd name="connsiteX11" fmla="*/ 286757 w 606157"/>
                  <a:gd name="connsiteY11" fmla="*/ 250803 h 592750"/>
                  <a:gd name="connsiteX12" fmla="*/ 286757 w 606157"/>
                  <a:gd name="connsiteY12" fmla="*/ 561957 h 592750"/>
                  <a:gd name="connsiteX13" fmla="*/ 386202 w 606157"/>
                  <a:gd name="connsiteY13" fmla="*/ 561957 h 592750"/>
                  <a:gd name="connsiteX14" fmla="*/ 389144 w 606157"/>
                  <a:gd name="connsiteY14" fmla="*/ 559114 h 592750"/>
                  <a:gd name="connsiteX15" fmla="*/ 389144 w 606157"/>
                  <a:gd name="connsiteY15" fmla="*/ 332760 h 592750"/>
                  <a:gd name="connsiteX16" fmla="*/ 389144 w 606157"/>
                  <a:gd name="connsiteY16" fmla="*/ 306799 h 592750"/>
                  <a:gd name="connsiteX17" fmla="*/ 378136 w 606157"/>
                  <a:gd name="connsiteY17" fmla="*/ 332192 h 592750"/>
                  <a:gd name="connsiteX18" fmla="*/ 350998 w 606157"/>
                  <a:gd name="connsiteY18" fmla="*/ 350004 h 592750"/>
                  <a:gd name="connsiteX19" fmla="*/ 339232 w 606157"/>
                  <a:gd name="connsiteY19" fmla="*/ 347541 h 592750"/>
                  <a:gd name="connsiteX20" fmla="*/ 323575 w 606157"/>
                  <a:gd name="connsiteY20" fmla="*/ 331339 h 592750"/>
                  <a:gd name="connsiteX21" fmla="*/ 323859 w 606157"/>
                  <a:gd name="connsiteY21" fmla="*/ 308789 h 592750"/>
                  <a:gd name="connsiteX22" fmla="*/ 380793 w 606157"/>
                  <a:gd name="connsiteY22" fmla="*/ 177278 h 592750"/>
                  <a:gd name="connsiteX23" fmla="*/ 404041 w 606157"/>
                  <a:gd name="connsiteY23" fmla="*/ 159750 h 592750"/>
                  <a:gd name="connsiteX24" fmla="*/ 514683 w 606157"/>
                  <a:gd name="connsiteY24" fmla="*/ 159465 h 592750"/>
                  <a:gd name="connsiteX25" fmla="*/ 542296 w 606157"/>
                  <a:gd name="connsiteY25" fmla="*/ 177278 h 592750"/>
                  <a:gd name="connsiteX26" fmla="*/ 599230 w 606157"/>
                  <a:gd name="connsiteY26" fmla="*/ 308789 h 592750"/>
                  <a:gd name="connsiteX27" fmla="*/ 599610 w 606157"/>
                  <a:gd name="connsiteY27" fmla="*/ 331339 h 592750"/>
                  <a:gd name="connsiteX28" fmla="*/ 583858 w 606157"/>
                  <a:gd name="connsiteY28" fmla="*/ 347541 h 592750"/>
                  <a:gd name="connsiteX29" fmla="*/ 572092 w 606157"/>
                  <a:gd name="connsiteY29" fmla="*/ 350004 h 592750"/>
                  <a:gd name="connsiteX30" fmla="*/ 544953 w 606157"/>
                  <a:gd name="connsiteY30" fmla="*/ 332192 h 592750"/>
                  <a:gd name="connsiteX31" fmla="*/ 532997 w 606157"/>
                  <a:gd name="connsiteY31" fmla="*/ 304525 h 592750"/>
                  <a:gd name="connsiteX32" fmla="*/ 532997 w 606157"/>
                  <a:gd name="connsiteY32" fmla="*/ 332760 h 592750"/>
                  <a:gd name="connsiteX33" fmla="*/ 532997 w 606157"/>
                  <a:gd name="connsiteY33" fmla="*/ 559114 h 592750"/>
                  <a:gd name="connsiteX34" fmla="*/ 536887 w 606157"/>
                  <a:gd name="connsiteY34" fmla="*/ 561957 h 592750"/>
                  <a:gd name="connsiteX35" fmla="*/ 590785 w 606157"/>
                  <a:gd name="connsiteY35" fmla="*/ 561957 h 592750"/>
                  <a:gd name="connsiteX36" fmla="*/ 606157 w 606157"/>
                  <a:gd name="connsiteY36" fmla="*/ 577401 h 592750"/>
                  <a:gd name="connsiteX37" fmla="*/ 590785 w 606157"/>
                  <a:gd name="connsiteY37" fmla="*/ 592750 h 592750"/>
                  <a:gd name="connsiteX38" fmla="*/ 15372 w 606157"/>
                  <a:gd name="connsiteY38" fmla="*/ 592750 h 592750"/>
                  <a:gd name="connsiteX39" fmla="*/ 0 w 606157"/>
                  <a:gd name="connsiteY39" fmla="*/ 577401 h 592750"/>
                  <a:gd name="connsiteX40" fmla="*/ 15372 w 606157"/>
                  <a:gd name="connsiteY40" fmla="*/ 561957 h 592750"/>
                  <a:gd name="connsiteX41" fmla="*/ 50766 w 606157"/>
                  <a:gd name="connsiteY41" fmla="*/ 561957 h 592750"/>
                  <a:gd name="connsiteX42" fmla="*/ 50766 w 606157"/>
                  <a:gd name="connsiteY42" fmla="*/ 369617 h 592750"/>
                  <a:gd name="connsiteX43" fmla="*/ 23628 w 606157"/>
                  <a:gd name="connsiteY43" fmla="*/ 369617 h 592750"/>
                  <a:gd name="connsiteX44" fmla="*/ 11102 w 606157"/>
                  <a:gd name="connsiteY44" fmla="*/ 363459 h 592750"/>
                  <a:gd name="connsiteX45" fmla="*/ 13759 w 606157"/>
                  <a:gd name="connsiteY45" fmla="*/ 349720 h 592750"/>
                  <a:gd name="connsiteX46" fmla="*/ 81226 w 606157"/>
                  <a:gd name="connsiteY46" fmla="*/ 260278 h 592750"/>
                  <a:gd name="connsiteX47" fmla="*/ 94605 w 606157"/>
                  <a:gd name="connsiteY47" fmla="*/ 253172 h 592750"/>
                  <a:gd name="connsiteX48" fmla="*/ 107890 w 606157"/>
                  <a:gd name="connsiteY48" fmla="*/ 260278 h 592750"/>
                  <a:gd name="connsiteX49" fmla="*/ 175452 w 606157"/>
                  <a:gd name="connsiteY49" fmla="*/ 349720 h 592750"/>
                  <a:gd name="connsiteX50" fmla="*/ 178014 w 606157"/>
                  <a:gd name="connsiteY50" fmla="*/ 363459 h 592750"/>
                  <a:gd name="connsiteX51" fmla="*/ 165488 w 606157"/>
                  <a:gd name="connsiteY51" fmla="*/ 369617 h 592750"/>
                  <a:gd name="connsiteX52" fmla="*/ 138350 w 606157"/>
                  <a:gd name="connsiteY52" fmla="*/ 369617 h 592750"/>
                  <a:gd name="connsiteX53" fmla="*/ 138350 w 606157"/>
                  <a:gd name="connsiteY53" fmla="*/ 561957 h 592750"/>
                  <a:gd name="connsiteX54" fmla="*/ 199079 w 606157"/>
                  <a:gd name="connsiteY54" fmla="*/ 561957 h 592750"/>
                  <a:gd name="connsiteX55" fmla="*/ 199079 w 606157"/>
                  <a:gd name="connsiteY55" fmla="*/ 250803 h 592750"/>
                  <a:gd name="connsiteX56" fmla="*/ 172035 w 606157"/>
                  <a:gd name="connsiteY56" fmla="*/ 250803 h 592750"/>
                  <a:gd name="connsiteX57" fmla="*/ 159510 w 606157"/>
                  <a:gd name="connsiteY57" fmla="*/ 244644 h 592750"/>
                  <a:gd name="connsiteX58" fmla="*/ 162072 w 606157"/>
                  <a:gd name="connsiteY58" fmla="*/ 230906 h 592750"/>
                  <a:gd name="connsiteX59" fmla="*/ 229539 w 606157"/>
                  <a:gd name="connsiteY59" fmla="*/ 141463 h 592750"/>
                  <a:gd name="connsiteX60" fmla="*/ 242918 w 606157"/>
                  <a:gd name="connsiteY60" fmla="*/ 134357 h 592750"/>
                  <a:gd name="connsiteX61" fmla="*/ 458182 w 606157"/>
                  <a:gd name="connsiteY61" fmla="*/ 0 h 592750"/>
                  <a:gd name="connsiteX62" fmla="*/ 532629 w 606157"/>
                  <a:gd name="connsiteY62" fmla="*/ 74306 h 592750"/>
                  <a:gd name="connsiteX63" fmla="*/ 458182 w 606157"/>
                  <a:gd name="connsiteY63" fmla="*/ 148612 h 592750"/>
                  <a:gd name="connsiteX64" fmla="*/ 383735 w 606157"/>
                  <a:gd name="connsiteY64" fmla="*/ 74306 h 592750"/>
                  <a:gd name="connsiteX65" fmla="*/ 458182 w 606157"/>
                  <a:gd name="connsiteY65" fmla="*/ 0 h 592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</a:cxnLst>
                <a:rect l="l" t="t" r="r" b="b"/>
                <a:pathLst>
                  <a:path w="606157" h="592750">
                    <a:moveTo>
                      <a:pt x="454143" y="386956"/>
                    </a:moveTo>
                    <a:lnTo>
                      <a:pt x="454143" y="559114"/>
                    </a:lnTo>
                    <a:cubicBezTo>
                      <a:pt x="454143" y="560062"/>
                      <a:pt x="454048" y="561957"/>
                      <a:pt x="456800" y="561957"/>
                    </a:cubicBezTo>
                    <a:lnTo>
                      <a:pt x="466005" y="561957"/>
                    </a:lnTo>
                    <a:cubicBezTo>
                      <a:pt x="468282" y="561957"/>
                      <a:pt x="467997" y="560062"/>
                      <a:pt x="467997" y="559114"/>
                    </a:cubicBezTo>
                    <a:lnTo>
                      <a:pt x="467997" y="386956"/>
                    </a:lnTo>
                    <a:close/>
                    <a:moveTo>
                      <a:pt x="242918" y="134357"/>
                    </a:moveTo>
                    <a:cubicBezTo>
                      <a:pt x="247947" y="134357"/>
                      <a:pt x="252787" y="136915"/>
                      <a:pt x="256203" y="141463"/>
                    </a:cubicBezTo>
                    <a:lnTo>
                      <a:pt x="323764" y="230906"/>
                    </a:lnTo>
                    <a:cubicBezTo>
                      <a:pt x="328699" y="237443"/>
                      <a:pt x="327465" y="242275"/>
                      <a:pt x="326327" y="244644"/>
                    </a:cubicBezTo>
                    <a:cubicBezTo>
                      <a:pt x="325188" y="246918"/>
                      <a:pt x="322056" y="250803"/>
                      <a:pt x="313801" y="250803"/>
                    </a:cubicBezTo>
                    <a:lnTo>
                      <a:pt x="286757" y="250803"/>
                    </a:lnTo>
                    <a:lnTo>
                      <a:pt x="286757" y="561957"/>
                    </a:lnTo>
                    <a:lnTo>
                      <a:pt x="386202" y="561957"/>
                    </a:lnTo>
                    <a:cubicBezTo>
                      <a:pt x="389713" y="561957"/>
                      <a:pt x="389144" y="560062"/>
                      <a:pt x="389144" y="559114"/>
                    </a:cubicBezTo>
                    <a:lnTo>
                      <a:pt x="389144" y="332760"/>
                    </a:lnTo>
                    <a:lnTo>
                      <a:pt x="389144" y="306799"/>
                    </a:lnTo>
                    <a:lnTo>
                      <a:pt x="378136" y="332192"/>
                    </a:lnTo>
                    <a:cubicBezTo>
                      <a:pt x="373392" y="342993"/>
                      <a:pt x="362764" y="350004"/>
                      <a:pt x="350998" y="350004"/>
                    </a:cubicBezTo>
                    <a:cubicBezTo>
                      <a:pt x="346918" y="350004"/>
                      <a:pt x="343027" y="349152"/>
                      <a:pt x="339232" y="347541"/>
                    </a:cubicBezTo>
                    <a:cubicBezTo>
                      <a:pt x="332020" y="344414"/>
                      <a:pt x="326421" y="338635"/>
                      <a:pt x="323575" y="331339"/>
                    </a:cubicBezTo>
                    <a:cubicBezTo>
                      <a:pt x="320633" y="324043"/>
                      <a:pt x="320728" y="315990"/>
                      <a:pt x="323859" y="308789"/>
                    </a:cubicBezTo>
                    <a:lnTo>
                      <a:pt x="380793" y="177278"/>
                    </a:lnTo>
                    <a:cubicBezTo>
                      <a:pt x="384969" y="167708"/>
                      <a:pt x="393224" y="159750"/>
                      <a:pt x="404041" y="159750"/>
                    </a:cubicBezTo>
                    <a:cubicBezTo>
                      <a:pt x="404990" y="159750"/>
                      <a:pt x="514304" y="159465"/>
                      <a:pt x="514683" y="159465"/>
                    </a:cubicBezTo>
                    <a:cubicBezTo>
                      <a:pt x="526544" y="159465"/>
                      <a:pt x="537552" y="166477"/>
                      <a:pt x="542296" y="177278"/>
                    </a:cubicBezTo>
                    <a:lnTo>
                      <a:pt x="599230" y="308789"/>
                    </a:lnTo>
                    <a:cubicBezTo>
                      <a:pt x="602361" y="315990"/>
                      <a:pt x="602456" y="324043"/>
                      <a:pt x="599610" y="331339"/>
                    </a:cubicBezTo>
                    <a:cubicBezTo>
                      <a:pt x="596668" y="338635"/>
                      <a:pt x="591070" y="344414"/>
                      <a:pt x="583858" y="347541"/>
                    </a:cubicBezTo>
                    <a:cubicBezTo>
                      <a:pt x="580062" y="349152"/>
                      <a:pt x="576172" y="350004"/>
                      <a:pt x="572092" y="350004"/>
                    </a:cubicBezTo>
                    <a:cubicBezTo>
                      <a:pt x="560325" y="350004"/>
                      <a:pt x="549698" y="342993"/>
                      <a:pt x="544953" y="332192"/>
                    </a:cubicBezTo>
                    <a:lnTo>
                      <a:pt x="532997" y="304525"/>
                    </a:lnTo>
                    <a:lnTo>
                      <a:pt x="532997" y="332760"/>
                    </a:lnTo>
                    <a:lnTo>
                      <a:pt x="532997" y="559114"/>
                    </a:lnTo>
                    <a:cubicBezTo>
                      <a:pt x="532997" y="560062"/>
                      <a:pt x="533282" y="561957"/>
                      <a:pt x="536887" y="561957"/>
                    </a:cubicBezTo>
                    <a:lnTo>
                      <a:pt x="590785" y="561957"/>
                    </a:lnTo>
                    <a:cubicBezTo>
                      <a:pt x="599230" y="561957"/>
                      <a:pt x="606157" y="568873"/>
                      <a:pt x="606157" y="577401"/>
                    </a:cubicBezTo>
                    <a:cubicBezTo>
                      <a:pt x="606157" y="585928"/>
                      <a:pt x="599230" y="592750"/>
                      <a:pt x="590785" y="592750"/>
                    </a:cubicBezTo>
                    <a:lnTo>
                      <a:pt x="15372" y="592750"/>
                    </a:lnTo>
                    <a:cubicBezTo>
                      <a:pt x="6927" y="592750"/>
                      <a:pt x="0" y="585833"/>
                      <a:pt x="0" y="577401"/>
                    </a:cubicBezTo>
                    <a:cubicBezTo>
                      <a:pt x="0" y="568873"/>
                      <a:pt x="6927" y="561957"/>
                      <a:pt x="15372" y="561957"/>
                    </a:cubicBezTo>
                    <a:lnTo>
                      <a:pt x="50766" y="561957"/>
                    </a:lnTo>
                    <a:lnTo>
                      <a:pt x="50766" y="369617"/>
                    </a:lnTo>
                    <a:lnTo>
                      <a:pt x="23628" y="369617"/>
                    </a:lnTo>
                    <a:cubicBezTo>
                      <a:pt x="15467" y="369617"/>
                      <a:pt x="12336" y="365733"/>
                      <a:pt x="11102" y="363459"/>
                    </a:cubicBezTo>
                    <a:cubicBezTo>
                      <a:pt x="9963" y="361090"/>
                      <a:pt x="8825" y="356258"/>
                      <a:pt x="13759" y="349720"/>
                    </a:cubicBezTo>
                    <a:lnTo>
                      <a:pt x="81226" y="260278"/>
                    </a:lnTo>
                    <a:cubicBezTo>
                      <a:pt x="84642" y="255730"/>
                      <a:pt x="89481" y="253172"/>
                      <a:pt x="94605" y="253172"/>
                    </a:cubicBezTo>
                    <a:cubicBezTo>
                      <a:pt x="99634" y="253172"/>
                      <a:pt x="104474" y="255730"/>
                      <a:pt x="107890" y="260278"/>
                    </a:cubicBezTo>
                    <a:lnTo>
                      <a:pt x="175452" y="349720"/>
                    </a:lnTo>
                    <a:cubicBezTo>
                      <a:pt x="180386" y="356258"/>
                      <a:pt x="179152" y="361090"/>
                      <a:pt x="178014" y="363459"/>
                    </a:cubicBezTo>
                    <a:cubicBezTo>
                      <a:pt x="176875" y="365733"/>
                      <a:pt x="173649" y="369617"/>
                      <a:pt x="165488" y="369617"/>
                    </a:cubicBezTo>
                    <a:lnTo>
                      <a:pt x="138350" y="369617"/>
                    </a:lnTo>
                    <a:lnTo>
                      <a:pt x="138350" y="561957"/>
                    </a:lnTo>
                    <a:lnTo>
                      <a:pt x="199079" y="561957"/>
                    </a:lnTo>
                    <a:lnTo>
                      <a:pt x="199079" y="250803"/>
                    </a:lnTo>
                    <a:lnTo>
                      <a:pt x="172035" y="250803"/>
                    </a:lnTo>
                    <a:cubicBezTo>
                      <a:pt x="163780" y="250803"/>
                      <a:pt x="160649" y="246918"/>
                      <a:pt x="159510" y="244644"/>
                    </a:cubicBezTo>
                    <a:cubicBezTo>
                      <a:pt x="158276" y="242275"/>
                      <a:pt x="157138" y="237443"/>
                      <a:pt x="162072" y="230906"/>
                    </a:cubicBezTo>
                    <a:lnTo>
                      <a:pt x="229539" y="141463"/>
                    </a:lnTo>
                    <a:cubicBezTo>
                      <a:pt x="232955" y="136915"/>
                      <a:pt x="237889" y="134357"/>
                      <a:pt x="242918" y="134357"/>
                    </a:cubicBezTo>
                    <a:close/>
                    <a:moveTo>
                      <a:pt x="458182" y="0"/>
                    </a:moveTo>
                    <a:cubicBezTo>
                      <a:pt x="499298" y="0"/>
                      <a:pt x="532629" y="33268"/>
                      <a:pt x="532629" y="74306"/>
                    </a:cubicBezTo>
                    <a:cubicBezTo>
                      <a:pt x="532629" y="115344"/>
                      <a:pt x="499298" y="148612"/>
                      <a:pt x="458182" y="148612"/>
                    </a:cubicBezTo>
                    <a:cubicBezTo>
                      <a:pt x="417066" y="148612"/>
                      <a:pt x="383735" y="115344"/>
                      <a:pt x="383735" y="74306"/>
                    </a:cubicBezTo>
                    <a:cubicBezTo>
                      <a:pt x="383735" y="33268"/>
                      <a:pt x="417066" y="0"/>
                      <a:pt x="45818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1600" b="1" dirty="0">
                  <a:solidFill>
                    <a:schemeClr val="bg1"/>
                  </a:solidFill>
                </a:endParaRPr>
              </a:p>
            </p:txBody>
          </p:sp>
        </p:grpSp>
        <p:cxnSp>
          <p:nvCxnSpPr>
            <p:cNvPr id="18" name="直接箭头连接符 17">
              <a:extLst>
                <a:ext uri="{FF2B5EF4-FFF2-40B4-BE49-F238E27FC236}">
                  <a16:creationId xmlns:a16="http://schemas.microsoft.com/office/drawing/2014/main" id="{725B3DC3-5485-4819-B707-542344208B1C}"/>
                </a:ext>
              </a:extLst>
            </p:cNvPr>
            <p:cNvCxnSpPr/>
            <p:nvPr/>
          </p:nvCxnSpPr>
          <p:spPr>
            <a:xfrm>
              <a:off x="1894176" y="3632200"/>
              <a:ext cx="648000" cy="0"/>
            </a:xfrm>
            <a:prstGeom prst="straightConnector1">
              <a:avLst/>
            </a:prstGeom>
            <a:ln w="12700" cap="rnd">
              <a:solidFill>
                <a:schemeClr val="accent1"/>
              </a:solidFill>
              <a:prstDash val="sysDash"/>
              <a:round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直接箭头连接符 18">
              <a:extLst>
                <a:ext uri="{FF2B5EF4-FFF2-40B4-BE49-F238E27FC236}">
                  <a16:creationId xmlns:a16="http://schemas.microsoft.com/office/drawing/2014/main" id="{EF34B31C-C720-4928-9EBF-BD791D9D26C3}"/>
                </a:ext>
              </a:extLst>
            </p:cNvPr>
            <p:cNvCxnSpPr/>
            <p:nvPr/>
          </p:nvCxnSpPr>
          <p:spPr>
            <a:xfrm>
              <a:off x="3517478" y="3632200"/>
              <a:ext cx="648000" cy="0"/>
            </a:xfrm>
            <a:prstGeom prst="straightConnector1">
              <a:avLst/>
            </a:prstGeom>
            <a:ln w="12700" cap="rnd">
              <a:solidFill>
                <a:schemeClr val="accent1"/>
              </a:solidFill>
              <a:prstDash val="sysDash"/>
              <a:round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直接箭头连接符 19">
              <a:extLst>
                <a:ext uri="{FF2B5EF4-FFF2-40B4-BE49-F238E27FC236}">
                  <a16:creationId xmlns:a16="http://schemas.microsoft.com/office/drawing/2014/main" id="{0368443D-E84D-4A20-AEFF-E142623B0DA6}"/>
                </a:ext>
              </a:extLst>
            </p:cNvPr>
            <p:cNvCxnSpPr/>
            <p:nvPr/>
          </p:nvCxnSpPr>
          <p:spPr>
            <a:xfrm>
              <a:off x="5140780" y="3632200"/>
              <a:ext cx="648000" cy="0"/>
            </a:xfrm>
            <a:prstGeom prst="straightConnector1">
              <a:avLst/>
            </a:prstGeom>
            <a:ln w="12700" cap="rnd">
              <a:solidFill>
                <a:schemeClr val="accent1"/>
              </a:solidFill>
              <a:prstDash val="sysDash"/>
              <a:round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直接箭头连接符 20">
              <a:extLst>
                <a:ext uri="{FF2B5EF4-FFF2-40B4-BE49-F238E27FC236}">
                  <a16:creationId xmlns:a16="http://schemas.microsoft.com/office/drawing/2014/main" id="{46865995-2FD4-4160-BE87-FBBBDD47AE67}"/>
                </a:ext>
              </a:extLst>
            </p:cNvPr>
            <p:cNvCxnSpPr/>
            <p:nvPr/>
          </p:nvCxnSpPr>
          <p:spPr>
            <a:xfrm>
              <a:off x="6764082" y="3632200"/>
              <a:ext cx="648000" cy="0"/>
            </a:xfrm>
            <a:prstGeom prst="straightConnector1">
              <a:avLst/>
            </a:prstGeom>
            <a:ln w="12700" cap="rnd">
              <a:solidFill>
                <a:schemeClr val="accent1"/>
              </a:solidFill>
              <a:prstDash val="sysDash"/>
              <a:round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5" name="文本占位符 5">
            <a:extLst>
              <a:ext uri="{FF2B5EF4-FFF2-40B4-BE49-F238E27FC236}">
                <a16:creationId xmlns:a16="http://schemas.microsoft.com/office/drawing/2014/main" id="{51F4DAFC-C9CA-4E79-A72D-96481264DADE}"/>
              </a:ext>
            </a:extLst>
          </p:cNvPr>
          <p:cNvSpPr txBox="1">
            <a:spLocks/>
          </p:cNvSpPr>
          <p:nvPr/>
        </p:nvSpPr>
        <p:spPr>
          <a:xfrm>
            <a:off x="858731" y="5098298"/>
            <a:ext cx="4593573" cy="923811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>
            <a:norm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50000"/>
              </a:lnSpc>
            </a:pPr>
            <a:r>
              <a:rPr lang="zh-CN" altLang="en-US" sz="1400" dirty="0">
                <a:solidFill>
                  <a:schemeClr val="bg1"/>
                </a:solidFill>
              </a:rPr>
              <a:t>传统的细分方案难落地</a:t>
            </a:r>
            <a:endParaRPr lang="en-US" altLang="zh-CN" sz="1400" dirty="0">
              <a:solidFill>
                <a:schemeClr val="bg1"/>
              </a:solidFill>
            </a:endParaRPr>
          </a:p>
          <a:p>
            <a:pPr lvl="0">
              <a:lnSpc>
                <a:spcPct val="150000"/>
              </a:lnSpc>
            </a:pPr>
            <a:r>
              <a:rPr lang="zh-CN" altLang="en-US" sz="1400" dirty="0">
                <a:solidFill>
                  <a:schemeClr val="bg1"/>
                </a:solidFill>
              </a:rPr>
              <a:t>缺乏足够的大数据支撑，操作麻烦，实际效果一般</a:t>
            </a:r>
          </a:p>
        </p:txBody>
      </p:sp>
    </p:spTree>
    <p:extLst>
      <p:ext uri="{BB962C8B-B14F-4D97-AF65-F5344CB8AC3E}">
        <p14:creationId xmlns:p14="http://schemas.microsoft.com/office/powerpoint/2010/main" val="32459336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3200" dirty="0"/>
              <a:t>项目目标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3906983" y="3912540"/>
            <a:ext cx="5701936" cy="1112041"/>
          </a:xfrm>
        </p:spPr>
        <p:txBody>
          <a:bodyPr>
            <a:normAutofit/>
          </a:bodyPr>
          <a:lstStyle/>
          <a:p>
            <a:pPr lvl="0">
              <a:lnSpc>
                <a:spcPct val="100000"/>
              </a:lnSpc>
            </a:pPr>
            <a:r>
              <a:rPr lang="zh-CN" altLang="en-US" sz="1400" dirty="0"/>
              <a:t>人员与需求规律的匹配</a:t>
            </a:r>
            <a:endParaRPr lang="en-US" altLang="zh-CN" sz="1400" dirty="0"/>
          </a:p>
          <a:p>
            <a:pPr lvl="0">
              <a:lnSpc>
                <a:spcPct val="100000"/>
              </a:lnSpc>
            </a:pPr>
            <a:r>
              <a:rPr lang="zh-CN" altLang="en-US" sz="1400" dirty="0"/>
              <a:t>大数据建模实现日规律与周规律的挖掘</a:t>
            </a:r>
            <a:endParaRPr lang="en-US" altLang="zh-CN" sz="1400" dirty="0"/>
          </a:p>
          <a:p>
            <a:pPr lvl="0">
              <a:lnSpc>
                <a:spcPct val="100000"/>
              </a:lnSpc>
            </a:pPr>
            <a:r>
              <a:rPr lang="zh-CN" altLang="en-US" sz="1400" dirty="0"/>
              <a:t>自动化实现人员的安排方案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0245945" y="357761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100" normalizeH="0" baseline="0" noProof="0" dirty="0">
                <a:ln>
                  <a:noFill/>
                </a:ln>
                <a:solidFill>
                  <a:srgbClr val="BD40A4"/>
                </a:solidFill>
                <a:effectLst/>
                <a:uLnTx/>
                <a:uFillTx/>
                <a:latin typeface="Impact" panose="020B0806030902050204" pitchFamily="34" charset="0"/>
                <a:ea typeface="微软雅黑"/>
                <a:cs typeface="Arial" panose="020B0604020202020204" pitchFamily="34" charset="0"/>
              </a:rPr>
              <a:t>/02</a:t>
            </a:r>
            <a:endParaRPr kumimoji="0" lang="zh-CN" altLang="en-US" sz="1800" b="0" i="0" u="none" strike="noStrike" kern="1200" cap="none" spc="100" normalizeH="0" baseline="0" noProof="0" dirty="0">
              <a:ln>
                <a:noFill/>
              </a:ln>
              <a:solidFill>
                <a:srgbClr val="BD40A4"/>
              </a:solidFill>
              <a:effectLst/>
              <a:uLnTx/>
              <a:uFillTx/>
              <a:latin typeface="Impact" panose="020B0806030902050204" pitchFamily="34" charset="0"/>
              <a:ea typeface="微软雅黑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439958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lack-left-arrows_45468">
            <a:extLst>
              <a:ext uri="{FF2B5EF4-FFF2-40B4-BE49-F238E27FC236}">
                <a16:creationId xmlns:a16="http://schemas.microsoft.com/office/drawing/2014/main" id="{5380C46E-9446-4DF6-9949-C313AD516E26}"/>
              </a:ext>
            </a:extLst>
          </p:cNvPr>
          <p:cNvSpPr>
            <a:spLocks noChangeAspect="1"/>
          </p:cNvSpPr>
          <p:nvPr/>
        </p:nvSpPr>
        <p:spPr bwMode="auto">
          <a:xfrm rot="9000000">
            <a:off x="5603407" y="3983458"/>
            <a:ext cx="1554610" cy="853888"/>
          </a:xfrm>
          <a:custGeom>
            <a:avLst/>
            <a:gdLst>
              <a:gd name="T0" fmla="*/ 2334 w 6926"/>
              <a:gd name="T1" fmla="*/ 2675 h 3810"/>
              <a:gd name="T2" fmla="*/ 2455 w 6926"/>
              <a:gd name="T3" fmla="*/ 2641 h 3810"/>
              <a:gd name="T4" fmla="*/ 2866 w 6926"/>
              <a:gd name="T5" fmla="*/ 2543 h 3810"/>
              <a:gd name="T6" fmla="*/ 3094 w 6926"/>
              <a:gd name="T7" fmla="*/ 2498 h 3810"/>
              <a:gd name="T8" fmla="*/ 3212 w 6926"/>
              <a:gd name="T9" fmla="*/ 2476 h 3810"/>
              <a:gd name="T10" fmla="*/ 3332 w 6926"/>
              <a:gd name="T11" fmla="*/ 2458 h 3810"/>
              <a:gd name="T12" fmla="*/ 3835 w 6926"/>
              <a:gd name="T13" fmla="*/ 2399 h 3810"/>
              <a:gd name="T14" fmla="*/ 4357 w 6926"/>
              <a:gd name="T15" fmla="*/ 2381 h 3810"/>
              <a:gd name="T16" fmla="*/ 4488 w 6926"/>
              <a:gd name="T17" fmla="*/ 2383 h 3810"/>
              <a:gd name="T18" fmla="*/ 4619 w 6926"/>
              <a:gd name="T19" fmla="*/ 2390 h 3810"/>
              <a:gd name="T20" fmla="*/ 4878 w 6926"/>
              <a:gd name="T21" fmla="*/ 2412 h 3810"/>
              <a:gd name="T22" fmla="*/ 5132 w 6926"/>
              <a:gd name="T23" fmla="*/ 2449 h 3810"/>
              <a:gd name="T24" fmla="*/ 5376 w 6926"/>
              <a:gd name="T25" fmla="*/ 2502 h 3810"/>
              <a:gd name="T26" fmla="*/ 5830 w 6926"/>
              <a:gd name="T27" fmla="*/ 2650 h 3810"/>
              <a:gd name="T28" fmla="*/ 6219 w 6926"/>
              <a:gd name="T29" fmla="*/ 2843 h 3810"/>
              <a:gd name="T30" fmla="*/ 6385 w 6926"/>
              <a:gd name="T31" fmla="*/ 2949 h 3810"/>
              <a:gd name="T32" fmla="*/ 6527 w 6926"/>
              <a:gd name="T33" fmla="*/ 3056 h 3810"/>
              <a:gd name="T34" fmla="*/ 6648 w 6926"/>
              <a:gd name="T35" fmla="*/ 3159 h 3810"/>
              <a:gd name="T36" fmla="*/ 6749 w 6926"/>
              <a:gd name="T37" fmla="*/ 3251 h 3810"/>
              <a:gd name="T38" fmla="*/ 6926 w 6926"/>
              <a:gd name="T39" fmla="*/ 3443 h 3810"/>
              <a:gd name="T40" fmla="*/ 6820 w 6926"/>
              <a:gd name="T41" fmla="*/ 3200 h 3810"/>
              <a:gd name="T42" fmla="*/ 6753 w 6926"/>
              <a:gd name="T43" fmla="*/ 3076 h 3810"/>
              <a:gd name="T44" fmla="*/ 6668 w 6926"/>
              <a:gd name="T45" fmla="*/ 2932 h 3810"/>
              <a:gd name="T46" fmla="*/ 6561 w 6926"/>
              <a:gd name="T47" fmla="*/ 2771 h 3810"/>
              <a:gd name="T48" fmla="*/ 6428 w 6926"/>
              <a:gd name="T49" fmla="*/ 2602 h 3810"/>
              <a:gd name="T50" fmla="*/ 6085 w 6926"/>
              <a:gd name="T51" fmla="*/ 2252 h 3810"/>
              <a:gd name="T52" fmla="*/ 5644 w 6926"/>
              <a:gd name="T53" fmla="*/ 1914 h 3810"/>
              <a:gd name="T54" fmla="*/ 5392 w 6926"/>
              <a:gd name="T55" fmla="*/ 1760 h 3810"/>
              <a:gd name="T56" fmla="*/ 5123 w 6926"/>
              <a:gd name="T57" fmla="*/ 1619 h 3810"/>
              <a:gd name="T58" fmla="*/ 4842 w 6926"/>
              <a:gd name="T59" fmla="*/ 1492 h 3810"/>
              <a:gd name="T60" fmla="*/ 4698 w 6926"/>
              <a:gd name="T61" fmla="*/ 1433 h 3810"/>
              <a:gd name="T62" fmla="*/ 4552 w 6926"/>
              <a:gd name="T63" fmla="*/ 1380 h 3810"/>
              <a:gd name="T64" fmla="*/ 3961 w 6926"/>
              <a:gd name="T65" fmla="*/ 1195 h 3810"/>
              <a:gd name="T66" fmla="*/ 3377 w 6926"/>
              <a:gd name="T67" fmla="*/ 1064 h 3810"/>
              <a:gd name="T68" fmla="*/ 3235 w 6926"/>
              <a:gd name="T69" fmla="*/ 1038 h 3810"/>
              <a:gd name="T70" fmla="*/ 3095 w 6926"/>
              <a:gd name="T71" fmla="*/ 1015 h 3810"/>
              <a:gd name="T72" fmla="*/ 2823 w 6926"/>
              <a:gd name="T73" fmla="*/ 976 h 3810"/>
              <a:gd name="T74" fmla="*/ 2328 w 6926"/>
              <a:gd name="T75" fmla="*/ 926 h 3810"/>
              <a:gd name="T76" fmla="*/ 2325 w 6926"/>
              <a:gd name="T77" fmla="*/ 0 h 3810"/>
              <a:gd name="T78" fmla="*/ 0 w 6926"/>
              <a:gd name="T79" fmla="*/ 1913 h 3810"/>
              <a:gd name="T80" fmla="*/ 2338 w 6926"/>
              <a:gd name="T81" fmla="*/ 3810 h 3810"/>
              <a:gd name="T82" fmla="*/ 2334 w 6926"/>
              <a:gd name="T83" fmla="*/ 2675 h 38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6926" h="3810">
                <a:moveTo>
                  <a:pt x="2334" y="2675"/>
                </a:moveTo>
                <a:cubicBezTo>
                  <a:pt x="2373" y="2664"/>
                  <a:pt x="2413" y="2653"/>
                  <a:pt x="2455" y="2641"/>
                </a:cubicBezTo>
                <a:cubicBezTo>
                  <a:pt x="2581" y="2608"/>
                  <a:pt x="2719" y="2574"/>
                  <a:pt x="2866" y="2543"/>
                </a:cubicBezTo>
                <a:cubicBezTo>
                  <a:pt x="2940" y="2528"/>
                  <a:pt x="3016" y="2511"/>
                  <a:pt x="3094" y="2498"/>
                </a:cubicBezTo>
                <a:cubicBezTo>
                  <a:pt x="3133" y="2491"/>
                  <a:pt x="3172" y="2484"/>
                  <a:pt x="3212" y="2476"/>
                </a:cubicBezTo>
                <a:cubicBezTo>
                  <a:pt x="3252" y="2470"/>
                  <a:pt x="3292" y="2464"/>
                  <a:pt x="3332" y="2458"/>
                </a:cubicBezTo>
                <a:cubicBezTo>
                  <a:pt x="3495" y="2432"/>
                  <a:pt x="3663" y="2414"/>
                  <a:pt x="3835" y="2399"/>
                </a:cubicBezTo>
                <a:cubicBezTo>
                  <a:pt x="4007" y="2387"/>
                  <a:pt x="4183" y="2377"/>
                  <a:pt x="4357" y="2381"/>
                </a:cubicBezTo>
                <a:cubicBezTo>
                  <a:pt x="4400" y="2381"/>
                  <a:pt x="4445" y="2381"/>
                  <a:pt x="4488" y="2383"/>
                </a:cubicBezTo>
                <a:cubicBezTo>
                  <a:pt x="4532" y="2385"/>
                  <a:pt x="4575" y="2387"/>
                  <a:pt x="4619" y="2390"/>
                </a:cubicBezTo>
                <a:cubicBezTo>
                  <a:pt x="4707" y="2392"/>
                  <a:pt x="4791" y="2405"/>
                  <a:pt x="4878" y="2412"/>
                </a:cubicBezTo>
                <a:cubicBezTo>
                  <a:pt x="4964" y="2422"/>
                  <a:pt x="5047" y="2436"/>
                  <a:pt x="5132" y="2449"/>
                </a:cubicBezTo>
                <a:cubicBezTo>
                  <a:pt x="5213" y="2467"/>
                  <a:pt x="5297" y="2481"/>
                  <a:pt x="5376" y="2502"/>
                </a:cubicBezTo>
                <a:cubicBezTo>
                  <a:pt x="5536" y="2543"/>
                  <a:pt x="5689" y="2591"/>
                  <a:pt x="5830" y="2650"/>
                </a:cubicBezTo>
                <a:cubicBezTo>
                  <a:pt x="5972" y="2707"/>
                  <a:pt x="6102" y="2775"/>
                  <a:pt x="6219" y="2843"/>
                </a:cubicBezTo>
                <a:cubicBezTo>
                  <a:pt x="6276" y="2880"/>
                  <a:pt x="6333" y="2914"/>
                  <a:pt x="6385" y="2949"/>
                </a:cubicBezTo>
                <a:cubicBezTo>
                  <a:pt x="6435" y="2987"/>
                  <a:pt x="6483" y="3023"/>
                  <a:pt x="6527" y="3056"/>
                </a:cubicBezTo>
                <a:cubicBezTo>
                  <a:pt x="6574" y="3089"/>
                  <a:pt x="6611" y="3127"/>
                  <a:pt x="6648" y="3159"/>
                </a:cubicBezTo>
                <a:cubicBezTo>
                  <a:pt x="6685" y="3193"/>
                  <a:pt x="6718" y="3223"/>
                  <a:pt x="6749" y="3251"/>
                </a:cubicBezTo>
                <a:cubicBezTo>
                  <a:pt x="6861" y="3373"/>
                  <a:pt x="6926" y="3443"/>
                  <a:pt x="6926" y="3443"/>
                </a:cubicBezTo>
                <a:cubicBezTo>
                  <a:pt x="6926" y="3443"/>
                  <a:pt x="6887" y="3355"/>
                  <a:pt x="6820" y="3200"/>
                </a:cubicBezTo>
                <a:cubicBezTo>
                  <a:pt x="6800" y="3163"/>
                  <a:pt x="6777" y="3121"/>
                  <a:pt x="6753" y="3076"/>
                </a:cubicBezTo>
                <a:cubicBezTo>
                  <a:pt x="6727" y="3032"/>
                  <a:pt x="6703" y="2980"/>
                  <a:pt x="6668" y="2932"/>
                </a:cubicBezTo>
                <a:cubicBezTo>
                  <a:pt x="6635" y="2881"/>
                  <a:pt x="6599" y="2828"/>
                  <a:pt x="6561" y="2771"/>
                </a:cubicBezTo>
                <a:cubicBezTo>
                  <a:pt x="6521" y="2717"/>
                  <a:pt x="6475" y="2662"/>
                  <a:pt x="6428" y="2602"/>
                </a:cubicBezTo>
                <a:cubicBezTo>
                  <a:pt x="6331" y="2488"/>
                  <a:pt x="6217" y="2367"/>
                  <a:pt x="6085" y="2252"/>
                </a:cubicBezTo>
                <a:cubicBezTo>
                  <a:pt x="5954" y="2134"/>
                  <a:pt x="5805" y="2022"/>
                  <a:pt x="5644" y="1914"/>
                </a:cubicBezTo>
                <a:cubicBezTo>
                  <a:pt x="5563" y="1860"/>
                  <a:pt x="5478" y="1812"/>
                  <a:pt x="5392" y="1760"/>
                </a:cubicBezTo>
                <a:cubicBezTo>
                  <a:pt x="5304" y="1713"/>
                  <a:pt x="5215" y="1664"/>
                  <a:pt x="5123" y="1619"/>
                </a:cubicBezTo>
                <a:cubicBezTo>
                  <a:pt x="5031" y="1577"/>
                  <a:pt x="4938" y="1530"/>
                  <a:pt x="4842" y="1492"/>
                </a:cubicBezTo>
                <a:cubicBezTo>
                  <a:pt x="4794" y="1473"/>
                  <a:pt x="4746" y="1453"/>
                  <a:pt x="4698" y="1433"/>
                </a:cubicBezTo>
                <a:cubicBezTo>
                  <a:pt x="4650" y="1414"/>
                  <a:pt x="4601" y="1398"/>
                  <a:pt x="4552" y="1380"/>
                </a:cubicBezTo>
                <a:cubicBezTo>
                  <a:pt x="4357" y="1307"/>
                  <a:pt x="4159" y="1249"/>
                  <a:pt x="3961" y="1195"/>
                </a:cubicBezTo>
                <a:cubicBezTo>
                  <a:pt x="3764" y="1144"/>
                  <a:pt x="3568" y="1099"/>
                  <a:pt x="3377" y="1064"/>
                </a:cubicBezTo>
                <a:cubicBezTo>
                  <a:pt x="3329" y="1055"/>
                  <a:pt x="3282" y="1046"/>
                  <a:pt x="3235" y="1038"/>
                </a:cubicBezTo>
                <a:cubicBezTo>
                  <a:pt x="3188" y="1030"/>
                  <a:pt x="3141" y="1023"/>
                  <a:pt x="3095" y="1015"/>
                </a:cubicBezTo>
                <a:cubicBezTo>
                  <a:pt x="3002" y="1000"/>
                  <a:pt x="2912" y="989"/>
                  <a:pt x="2823" y="976"/>
                </a:cubicBezTo>
                <a:cubicBezTo>
                  <a:pt x="2648" y="954"/>
                  <a:pt x="2482" y="937"/>
                  <a:pt x="2328" y="926"/>
                </a:cubicBezTo>
                <a:lnTo>
                  <a:pt x="2325" y="0"/>
                </a:lnTo>
                <a:lnTo>
                  <a:pt x="0" y="1913"/>
                </a:lnTo>
                <a:lnTo>
                  <a:pt x="2338" y="3810"/>
                </a:lnTo>
                <a:lnTo>
                  <a:pt x="2334" y="267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black-left-arrows_45468">
            <a:extLst>
              <a:ext uri="{FF2B5EF4-FFF2-40B4-BE49-F238E27FC236}">
                <a16:creationId xmlns:a16="http://schemas.microsoft.com/office/drawing/2014/main" id="{1333899A-DB3B-484F-996B-F7EEC72DAE71}"/>
              </a:ext>
            </a:extLst>
          </p:cNvPr>
          <p:cNvSpPr>
            <a:spLocks noChangeAspect="1"/>
          </p:cNvSpPr>
          <p:nvPr/>
        </p:nvSpPr>
        <p:spPr bwMode="auto">
          <a:xfrm rot="12600000" flipV="1">
            <a:off x="5541828" y="1848197"/>
            <a:ext cx="1554610" cy="853888"/>
          </a:xfrm>
          <a:custGeom>
            <a:avLst/>
            <a:gdLst>
              <a:gd name="T0" fmla="*/ 2334 w 6926"/>
              <a:gd name="T1" fmla="*/ 2675 h 3810"/>
              <a:gd name="T2" fmla="*/ 2455 w 6926"/>
              <a:gd name="T3" fmla="*/ 2641 h 3810"/>
              <a:gd name="T4" fmla="*/ 2866 w 6926"/>
              <a:gd name="T5" fmla="*/ 2543 h 3810"/>
              <a:gd name="T6" fmla="*/ 3094 w 6926"/>
              <a:gd name="T7" fmla="*/ 2498 h 3810"/>
              <a:gd name="T8" fmla="*/ 3212 w 6926"/>
              <a:gd name="T9" fmla="*/ 2476 h 3810"/>
              <a:gd name="T10" fmla="*/ 3332 w 6926"/>
              <a:gd name="T11" fmla="*/ 2458 h 3810"/>
              <a:gd name="T12" fmla="*/ 3835 w 6926"/>
              <a:gd name="T13" fmla="*/ 2399 h 3810"/>
              <a:gd name="T14" fmla="*/ 4357 w 6926"/>
              <a:gd name="T15" fmla="*/ 2381 h 3810"/>
              <a:gd name="T16" fmla="*/ 4488 w 6926"/>
              <a:gd name="T17" fmla="*/ 2383 h 3810"/>
              <a:gd name="T18" fmla="*/ 4619 w 6926"/>
              <a:gd name="T19" fmla="*/ 2390 h 3810"/>
              <a:gd name="T20" fmla="*/ 4878 w 6926"/>
              <a:gd name="T21" fmla="*/ 2412 h 3810"/>
              <a:gd name="T22" fmla="*/ 5132 w 6926"/>
              <a:gd name="T23" fmla="*/ 2449 h 3810"/>
              <a:gd name="T24" fmla="*/ 5376 w 6926"/>
              <a:gd name="T25" fmla="*/ 2502 h 3810"/>
              <a:gd name="T26" fmla="*/ 5830 w 6926"/>
              <a:gd name="T27" fmla="*/ 2650 h 3810"/>
              <a:gd name="T28" fmla="*/ 6219 w 6926"/>
              <a:gd name="T29" fmla="*/ 2843 h 3810"/>
              <a:gd name="T30" fmla="*/ 6385 w 6926"/>
              <a:gd name="T31" fmla="*/ 2949 h 3810"/>
              <a:gd name="T32" fmla="*/ 6527 w 6926"/>
              <a:gd name="T33" fmla="*/ 3056 h 3810"/>
              <a:gd name="T34" fmla="*/ 6648 w 6926"/>
              <a:gd name="T35" fmla="*/ 3159 h 3810"/>
              <a:gd name="T36" fmla="*/ 6749 w 6926"/>
              <a:gd name="T37" fmla="*/ 3251 h 3810"/>
              <a:gd name="T38" fmla="*/ 6926 w 6926"/>
              <a:gd name="T39" fmla="*/ 3443 h 3810"/>
              <a:gd name="T40" fmla="*/ 6820 w 6926"/>
              <a:gd name="T41" fmla="*/ 3200 h 3810"/>
              <a:gd name="T42" fmla="*/ 6753 w 6926"/>
              <a:gd name="T43" fmla="*/ 3076 h 3810"/>
              <a:gd name="T44" fmla="*/ 6668 w 6926"/>
              <a:gd name="T45" fmla="*/ 2932 h 3810"/>
              <a:gd name="T46" fmla="*/ 6561 w 6926"/>
              <a:gd name="T47" fmla="*/ 2771 h 3810"/>
              <a:gd name="T48" fmla="*/ 6428 w 6926"/>
              <a:gd name="T49" fmla="*/ 2602 h 3810"/>
              <a:gd name="T50" fmla="*/ 6085 w 6926"/>
              <a:gd name="T51" fmla="*/ 2252 h 3810"/>
              <a:gd name="T52" fmla="*/ 5644 w 6926"/>
              <a:gd name="T53" fmla="*/ 1914 h 3810"/>
              <a:gd name="T54" fmla="*/ 5392 w 6926"/>
              <a:gd name="T55" fmla="*/ 1760 h 3810"/>
              <a:gd name="T56" fmla="*/ 5123 w 6926"/>
              <a:gd name="T57" fmla="*/ 1619 h 3810"/>
              <a:gd name="T58" fmla="*/ 4842 w 6926"/>
              <a:gd name="T59" fmla="*/ 1492 h 3810"/>
              <a:gd name="T60" fmla="*/ 4698 w 6926"/>
              <a:gd name="T61" fmla="*/ 1433 h 3810"/>
              <a:gd name="T62" fmla="*/ 4552 w 6926"/>
              <a:gd name="T63" fmla="*/ 1380 h 3810"/>
              <a:gd name="T64" fmla="*/ 3961 w 6926"/>
              <a:gd name="T65" fmla="*/ 1195 h 3810"/>
              <a:gd name="T66" fmla="*/ 3377 w 6926"/>
              <a:gd name="T67" fmla="*/ 1064 h 3810"/>
              <a:gd name="T68" fmla="*/ 3235 w 6926"/>
              <a:gd name="T69" fmla="*/ 1038 h 3810"/>
              <a:gd name="T70" fmla="*/ 3095 w 6926"/>
              <a:gd name="T71" fmla="*/ 1015 h 3810"/>
              <a:gd name="T72" fmla="*/ 2823 w 6926"/>
              <a:gd name="T73" fmla="*/ 976 h 3810"/>
              <a:gd name="T74" fmla="*/ 2328 w 6926"/>
              <a:gd name="T75" fmla="*/ 926 h 3810"/>
              <a:gd name="T76" fmla="*/ 2325 w 6926"/>
              <a:gd name="T77" fmla="*/ 0 h 3810"/>
              <a:gd name="T78" fmla="*/ 0 w 6926"/>
              <a:gd name="T79" fmla="*/ 1913 h 3810"/>
              <a:gd name="T80" fmla="*/ 2338 w 6926"/>
              <a:gd name="T81" fmla="*/ 3810 h 3810"/>
              <a:gd name="T82" fmla="*/ 2334 w 6926"/>
              <a:gd name="T83" fmla="*/ 2675 h 38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6926" h="3810">
                <a:moveTo>
                  <a:pt x="2334" y="2675"/>
                </a:moveTo>
                <a:cubicBezTo>
                  <a:pt x="2373" y="2664"/>
                  <a:pt x="2413" y="2653"/>
                  <a:pt x="2455" y="2641"/>
                </a:cubicBezTo>
                <a:cubicBezTo>
                  <a:pt x="2581" y="2608"/>
                  <a:pt x="2719" y="2574"/>
                  <a:pt x="2866" y="2543"/>
                </a:cubicBezTo>
                <a:cubicBezTo>
                  <a:pt x="2940" y="2528"/>
                  <a:pt x="3016" y="2511"/>
                  <a:pt x="3094" y="2498"/>
                </a:cubicBezTo>
                <a:cubicBezTo>
                  <a:pt x="3133" y="2491"/>
                  <a:pt x="3172" y="2484"/>
                  <a:pt x="3212" y="2476"/>
                </a:cubicBezTo>
                <a:cubicBezTo>
                  <a:pt x="3252" y="2470"/>
                  <a:pt x="3292" y="2464"/>
                  <a:pt x="3332" y="2458"/>
                </a:cubicBezTo>
                <a:cubicBezTo>
                  <a:pt x="3495" y="2432"/>
                  <a:pt x="3663" y="2414"/>
                  <a:pt x="3835" y="2399"/>
                </a:cubicBezTo>
                <a:cubicBezTo>
                  <a:pt x="4007" y="2387"/>
                  <a:pt x="4183" y="2377"/>
                  <a:pt x="4357" y="2381"/>
                </a:cubicBezTo>
                <a:cubicBezTo>
                  <a:pt x="4400" y="2381"/>
                  <a:pt x="4445" y="2381"/>
                  <a:pt x="4488" y="2383"/>
                </a:cubicBezTo>
                <a:cubicBezTo>
                  <a:pt x="4532" y="2385"/>
                  <a:pt x="4575" y="2387"/>
                  <a:pt x="4619" y="2390"/>
                </a:cubicBezTo>
                <a:cubicBezTo>
                  <a:pt x="4707" y="2392"/>
                  <a:pt x="4791" y="2405"/>
                  <a:pt x="4878" y="2412"/>
                </a:cubicBezTo>
                <a:cubicBezTo>
                  <a:pt x="4964" y="2422"/>
                  <a:pt x="5047" y="2436"/>
                  <a:pt x="5132" y="2449"/>
                </a:cubicBezTo>
                <a:cubicBezTo>
                  <a:pt x="5213" y="2467"/>
                  <a:pt x="5297" y="2481"/>
                  <a:pt x="5376" y="2502"/>
                </a:cubicBezTo>
                <a:cubicBezTo>
                  <a:pt x="5536" y="2543"/>
                  <a:pt x="5689" y="2591"/>
                  <a:pt x="5830" y="2650"/>
                </a:cubicBezTo>
                <a:cubicBezTo>
                  <a:pt x="5972" y="2707"/>
                  <a:pt x="6102" y="2775"/>
                  <a:pt x="6219" y="2843"/>
                </a:cubicBezTo>
                <a:cubicBezTo>
                  <a:pt x="6276" y="2880"/>
                  <a:pt x="6333" y="2914"/>
                  <a:pt x="6385" y="2949"/>
                </a:cubicBezTo>
                <a:cubicBezTo>
                  <a:pt x="6435" y="2987"/>
                  <a:pt x="6483" y="3023"/>
                  <a:pt x="6527" y="3056"/>
                </a:cubicBezTo>
                <a:cubicBezTo>
                  <a:pt x="6574" y="3089"/>
                  <a:pt x="6611" y="3127"/>
                  <a:pt x="6648" y="3159"/>
                </a:cubicBezTo>
                <a:cubicBezTo>
                  <a:pt x="6685" y="3193"/>
                  <a:pt x="6718" y="3223"/>
                  <a:pt x="6749" y="3251"/>
                </a:cubicBezTo>
                <a:cubicBezTo>
                  <a:pt x="6861" y="3373"/>
                  <a:pt x="6926" y="3443"/>
                  <a:pt x="6926" y="3443"/>
                </a:cubicBezTo>
                <a:cubicBezTo>
                  <a:pt x="6926" y="3443"/>
                  <a:pt x="6887" y="3355"/>
                  <a:pt x="6820" y="3200"/>
                </a:cubicBezTo>
                <a:cubicBezTo>
                  <a:pt x="6800" y="3163"/>
                  <a:pt x="6777" y="3121"/>
                  <a:pt x="6753" y="3076"/>
                </a:cubicBezTo>
                <a:cubicBezTo>
                  <a:pt x="6727" y="3032"/>
                  <a:pt x="6703" y="2980"/>
                  <a:pt x="6668" y="2932"/>
                </a:cubicBezTo>
                <a:cubicBezTo>
                  <a:pt x="6635" y="2881"/>
                  <a:pt x="6599" y="2828"/>
                  <a:pt x="6561" y="2771"/>
                </a:cubicBezTo>
                <a:cubicBezTo>
                  <a:pt x="6521" y="2717"/>
                  <a:pt x="6475" y="2662"/>
                  <a:pt x="6428" y="2602"/>
                </a:cubicBezTo>
                <a:cubicBezTo>
                  <a:pt x="6331" y="2488"/>
                  <a:pt x="6217" y="2367"/>
                  <a:pt x="6085" y="2252"/>
                </a:cubicBezTo>
                <a:cubicBezTo>
                  <a:pt x="5954" y="2134"/>
                  <a:pt x="5805" y="2022"/>
                  <a:pt x="5644" y="1914"/>
                </a:cubicBezTo>
                <a:cubicBezTo>
                  <a:pt x="5563" y="1860"/>
                  <a:pt x="5478" y="1812"/>
                  <a:pt x="5392" y="1760"/>
                </a:cubicBezTo>
                <a:cubicBezTo>
                  <a:pt x="5304" y="1713"/>
                  <a:pt x="5215" y="1664"/>
                  <a:pt x="5123" y="1619"/>
                </a:cubicBezTo>
                <a:cubicBezTo>
                  <a:pt x="5031" y="1577"/>
                  <a:pt x="4938" y="1530"/>
                  <a:pt x="4842" y="1492"/>
                </a:cubicBezTo>
                <a:cubicBezTo>
                  <a:pt x="4794" y="1473"/>
                  <a:pt x="4746" y="1453"/>
                  <a:pt x="4698" y="1433"/>
                </a:cubicBezTo>
                <a:cubicBezTo>
                  <a:pt x="4650" y="1414"/>
                  <a:pt x="4601" y="1398"/>
                  <a:pt x="4552" y="1380"/>
                </a:cubicBezTo>
                <a:cubicBezTo>
                  <a:pt x="4357" y="1307"/>
                  <a:pt x="4159" y="1249"/>
                  <a:pt x="3961" y="1195"/>
                </a:cubicBezTo>
                <a:cubicBezTo>
                  <a:pt x="3764" y="1144"/>
                  <a:pt x="3568" y="1099"/>
                  <a:pt x="3377" y="1064"/>
                </a:cubicBezTo>
                <a:cubicBezTo>
                  <a:pt x="3329" y="1055"/>
                  <a:pt x="3282" y="1046"/>
                  <a:pt x="3235" y="1038"/>
                </a:cubicBezTo>
                <a:cubicBezTo>
                  <a:pt x="3188" y="1030"/>
                  <a:pt x="3141" y="1023"/>
                  <a:pt x="3095" y="1015"/>
                </a:cubicBezTo>
                <a:cubicBezTo>
                  <a:pt x="3002" y="1000"/>
                  <a:pt x="2912" y="989"/>
                  <a:pt x="2823" y="976"/>
                </a:cubicBezTo>
                <a:cubicBezTo>
                  <a:pt x="2648" y="954"/>
                  <a:pt x="2482" y="937"/>
                  <a:pt x="2328" y="926"/>
                </a:cubicBezTo>
                <a:lnTo>
                  <a:pt x="2325" y="0"/>
                </a:lnTo>
                <a:lnTo>
                  <a:pt x="0" y="1913"/>
                </a:lnTo>
                <a:lnTo>
                  <a:pt x="2338" y="3810"/>
                </a:lnTo>
                <a:lnTo>
                  <a:pt x="2334" y="267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4" name="文本占位符 5">
            <a:extLst>
              <a:ext uri="{FF2B5EF4-FFF2-40B4-BE49-F238E27FC236}">
                <a16:creationId xmlns:a16="http://schemas.microsoft.com/office/drawing/2014/main" id="{41092900-7EED-46A3-B64A-F83AF058A4BD}"/>
              </a:ext>
            </a:extLst>
          </p:cNvPr>
          <p:cNvSpPr txBox="1">
            <a:spLocks/>
          </p:cNvSpPr>
          <p:nvPr/>
        </p:nvSpPr>
        <p:spPr>
          <a:xfrm>
            <a:off x="838922" y="2082706"/>
            <a:ext cx="4593573" cy="939894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>
            <a:norm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400" dirty="0">
                <a:solidFill>
                  <a:schemeClr val="bg1"/>
                </a:solidFill>
              </a:rPr>
              <a:t>以往的方式简单易用，</a:t>
            </a:r>
            <a:endParaRPr lang="en-US" altLang="zh-CN" sz="1400" dirty="0">
              <a:solidFill>
                <a:schemeClr val="bg1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dirty="0">
                <a:solidFill>
                  <a:schemeClr val="bg1"/>
                </a:solidFill>
              </a:rPr>
              <a:t>但是人员能效低，业绩产出不够，人员流失率高</a:t>
            </a:r>
            <a:endParaRPr lang="en-US" altLang="zh-CN" sz="1400" dirty="0">
              <a:solidFill>
                <a:schemeClr val="bg1"/>
              </a:solidFill>
            </a:endParaRPr>
          </a:p>
        </p:txBody>
      </p:sp>
      <p:sp>
        <p:nvSpPr>
          <p:cNvPr id="5" name="文本占位符 5">
            <a:extLst>
              <a:ext uri="{FF2B5EF4-FFF2-40B4-BE49-F238E27FC236}">
                <a16:creationId xmlns:a16="http://schemas.microsoft.com/office/drawing/2014/main" id="{26CBDBBF-96F8-4A47-B2B5-34A35011A694}"/>
              </a:ext>
            </a:extLst>
          </p:cNvPr>
          <p:cNvSpPr txBox="1">
            <a:spLocks/>
          </p:cNvSpPr>
          <p:nvPr/>
        </p:nvSpPr>
        <p:spPr>
          <a:xfrm>
            <a:off x="838922" y="3662563"/>
            <a:ext cx="4593573" cy="923811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>
            <a:norm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50000"/>
              </a:lnSpc>
            </a:pPr>
            <a:r>
              <a:rPr lang="zh-CN" altLang="en-US" sz="1400" dirty="0">
                <a:solidFill>
                  <a:schemeClr val="bg1"/>
                </a:solidFill>
              </a:rPr>
              <a:t>传统的细分方案难落地</a:t>
            </a:r>
            <a:endParaRPr lang="en-US" altLang="zh-CN" sz="1400" dirty="0">
              <a:solidFill>
                <a:schemeClr val="bg1"/>
              </a:solidFill>
            </a:endParaRPr>
          </a:p>
          <a:p>
            <a:pPr lvl="0">
              <a:lnSpc>
                <a:spcPct val="150000"/>
              </a:lnSpc>
            </a:pPr>
            <a:r>
              <a:rPr lang="zh-CN" altLang="en-US" sz="1400" dirty="0">
                <a:solidFill>
                  <a:schemeClr val="bg1"/>
                </a:solidFill>
              </a:rPr>
              <a:t>缺乏足够的大数据支撑，操作麻烦，实际效果一般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C602B77B-D1D5-4CF2-8682-9B13F2BFF658}"/>
              </a:ext>
            </a:extLst>
          </p:cNvPr>
          <p:cNvSpPr txBox="1"/>
          <p:nvPr/>
        </p:nvSpPr>
        <p:spPr>
          <a:xfrm>
            <a:off x="748145" y="508944"/>
            <a:ext cx="442298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dirty="0"/>
              <a:t>项目目标</a:t>
            </a:r>
          </a:p>
        </p:txBody>
      </p:sp>
      <p:sp>
        <p:nvSpPr>
          <p:cNvPr id="7" name="文本占位符 5">
            <a:extLst>
              <a:ext uri="{FF2B5EF4-FFF2-40B4-BE49-F238E27FC236}">
                <a16:creationId xmlns:a16="http://schemas.microsoft.com/office/drawing/2014/main" id="{1F9F30D9-5D8D-4774-9F61-A19FC1499024}"/>
              </a:ext>
            </a:extLst>
          </p:cNvPr>
          <p:cNvSpPr txBox="1">
            <a:spLocks/>
          </p:cNvSpPr>
          <p:nvPr/>
        </p:nvSpPr>
        <p:spPr>
          <a:xfrm>
            <a:off x="6926915" y="2857567"/>
            <a:ext cx="4593573" cy="923811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>
            <a:norm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altLang="zh-CN" sz="1600" dirty="0">
                <a:solidFill>
                  <a:schemeClr val="bg1"/>
                </a:solidFill>
              </a:rPr>
              <a:t>1</a:t>
            </a:r>
            <a:r>
              <a:rPr lang="zh-CN" altLang="en-US" sz="1600" dirty="0">
                <a:solidFill>
                  <a:schemeClr val="bg1"/>
                </a:solidFill>
              </a:rPr>
              <a:t>，实现日规律与周需求规律的挖掘</a:t>
            </a:r>
            <a:endParaRPr lang="en-US" altLang="zh-CN" sz="1600" dirty="0">
              <a:solidFill>
                <a:schemeClr val="bg1"/>
              </a:solidFill>
            </a:endParaRPr>
          </a:p>
          <a:p>
            <a:pPr marL="0" lvl="0" indent="0">
              <a:lnSpc>
                <a:spcPct val="150000"/>
              </a:lnSpc>
              <a:buNone/>
            </a:pPr>
            <a:r>
              <a:rPr lang="en-US" altLang="zh-CN" sz="1600" dirty="0">
                <a:solidFill>
                  <a:schemeClr val="bg1"/>
                </a:solidFill>
              </a:rPr>
              <a:t>2</a:t>
            </a:r>
            <a:r>
              <a:rPr lang="zh-CN" altLang="en-US" sz="1600" dirty="0">
                <a:solidFill>
                  <a:schemeClr val="bg1"/>
                </a:solidFill>
              </a:rPr>
              <a:t>，自动化实现人员的排班安排方案</a:t>
            </a: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1D298A62-D245-4DBD-90ED-E73DFAC1C006}"/>
              </a:ext>
            </a:extLst>
          </p:cNvPr>
          <p:cNvSpPr/>
          <p:nvPr/>
        </p:nvSpPr>
        <p:spPr>
          <a:xfrm>
            <a:off x="5948872" y="3662563"/>
            <a:ext cx="461665" cy="193899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vert="eaVert" wrap="none">
            <a:spAutoFit/>
          </a:bodyPr>
          <a:lstStyle/>
          <a:p>
            <a:pPr lvl="0">
              <a:lnSpc>
                <a:spcPct val="100000"/>
              </a:lnSpc>
            </a:pPr>
            <a:r>
              <a:rPr lang="zh-CN" altLang="en-US" dirty="0">
                <a:solidFill>
                  <a:schemeClr val="bg1"/>
                </a:solidFill>
              </a:rPr>
              <a:t>需求与供给的匹配</a:t>
            </a:r>
            <a:endParaRPr lang="en-US" altLang="zh-CN" dirty="0">
              <a:solidFill>
                <a:schemeClr val="bg1"/>
              </a:solidFill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4791AEC9-BD47-4B58-AF2F-E46017AD979A}"/>
              </a:ext>
            </a:extLst>
          </p:cNvPr>
          <p:cNvSpPr/>
          <p:nvPr/>
        </p:nvSpPr>
        <p:spPr>
          <a:xfrm>
            <a:off x="5948871" y="1083608"/>
            <a:ext cx="461665" cy="193899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vert="eaVert" wrap="none">
            <a:spAutoFit/>
          </a:bodyPr>
          <a:lstStyle/>
          <a:p>
            <a:pPr lvl="0">
              <a:lnSpc>
                <a:spcPct val="100000"/>
              </a:lnSpc>
            </a:pPr>
            <a:r>
              <a:rPr lang="zh-CN" altLang="en-US" dirty="0">
                <a:solidFill>
                  <a:schemeClr val="bg1"/>
                </a:solidFill>
              </a:rPr>
              <a:t>简单易用方便落地</a:t>
            </a:r>
            <a:endParaRPr lang="en-US" altLang="zh-CN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15581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d15b93a0-c46d-4425-90fb-6e3d022fc16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313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7073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257d8bb6-fbf6-41b1-ac10-e112d5c8b3f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5fa5dea9-880f-4444-a82f-a5d51f6eb95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0354bfa5-3032-4211-9404-b25ca2f57edf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5955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8215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313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7245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8217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3133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D4488E"/>
      </a:accent1>
      <a:accent2>
        <a:srgbClr val="5102B4"/>
      </a:accent2>
      <a:accent3>
        <a:srgbClr val="3D039B"/>
      </a:accent3>
      <a:accent4>
        <a:srgbClr val="00BEB9"/>
      </a:accent4>
      <a:accent5>
        <a:srgbClr val="E5604C"/>
      </a:accent5>
      <a:accent6>
        <a:srgbClr val="F065A6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1_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113055"/>
      </a:accent1>
      <a:accent2>
        <a:srgbClr val="7379DB"/>
      </a:accent2>
      <a:accent3>
        <a:srgbClr val="BD40A4"/>
      </a:accent3>
      <a:accent4>
        <a:srgbClr val="FFC400"/>
      </a:accent4>
      <a:accent5>
        <a:srgbClr val="D59A81"/>
      </a:accent5>
      <a:accent6>
        <a:srgbClr val="A3A3A3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13055"/>
    </a:accent1>
    <a:accent2>
      <a:srgbClr val="7379DB"/>
    </a:accent2>
    <a:accent3>
      <a:srgbClr val="BD40A4"/>
    </a:accent3>
    <a:accent4>
      <a:srgbClr val="FFC400"/>
    </a:accent4>
    <a:accent5>
      <a:srgbClr val="D59A81"/>
    </a:accent5>
    <a:accent6>
      <a:srgbClr val="A3A3A3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13055"/>
    </a:accent1>
    <a:accent2>
      <a:srgbClr val="7379DB"/>
    </a:accent2>
    <a:accent3>
      <a:srgbClr val="BD40A4"/>
    </a:accent3>
    <a:accent4>
      <a:srgbClr val="FFC400"/>
    </a:accent4>
    <a:accent5>
      <a:srgbClr val="D59A81"/>
    </a:accent5>
    <a:accent6>
      <a:srgbClr val="A3A3A3"/>
    </a:accent6>
    <a:hlink>
      <a:srgbClr val="4472C4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13055"/>
    </a:accent1>
    <a:accent2>
      <a:srgbClr val="7379DB"/>
    </a:accent2>
    <a:accent3>
      <a:srgbClr val="BD40A4"/>
    </a:accent3>
    <a:accent4>
      <a:srgbClr val="FFC400"/>
    </a:accent4>
    <a:accent5>
      <a:srgbClr val="D59A81"/>
    </a:accent5>
    <a:accent6>
      <a:srgbClr val="A3A3A3"/>
    </a:accent6>
    <a:hlink>
      <a:srgbClr val="4472C4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D4488E"/>
    </a:accent1>
    <a:accent2>
      <a:srgbClr val="5102B4"/>
    </a:accent2>
    <a:accent3>
      <a:srgbClr val="3D039B"/>
    </a:accent3>
    <a:accent4>
      <a:srgbClr val="00BEB9"/>
    </a:accent4>
    <a:accent5>
      <a:srgbClr val="E5604C"/>
    </a:accent5>
    <a:accent6>
      <a:srgbClr val="F065A6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6277</TotalTime>
  <Words>1572</Words>
  <Application>Microsoft Office PowerPoint</Application>
  <PresentationFormat>宽屏</PresentationFormat>
  <Paragraphs>254</Paragraphs>
  <Slides>25</Slides>
  <Notes>0</Notes>
  <HiddenSlides>0</HiddenSlides>
  <MMClips>1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</vt:i4>
      </vt:variant>
    </vt:vector>
  </HeadingPairs>
  <TitlesOfParts>
    <vt:vector size="34" baseType="lpstr">
      <vt:lpstr>等线</vt:lpstr>
      <vt:lpstr>Microsoft YaHei</vt:lpstr>
      <vt:lpstr>Arial</vt:lpstr>
      <vt:lpstr>Calibri</vt:lpstr>
      <vt:lpstr>Impact</vt:lpstr>
      <vt:lpstr>Wingdings</vt:lpstr>
      <vt:lpstr>主题5</vt:lpstr>
      <vt:lpstr>1_主题5</vt:lpstr>
      <vt:lpstr>think-cell Slide</vt:lpstr>
      <vt:lpstr>智能精益排班项目</vt:lpstr>
      <vt:lpstr>项目情况介绍—数据应用及本期价值提升</vt:lpstr>
      <vt:lpstr>项目整体计划</vt:lpstr>
      <vt:lpstr>PowerPoint 演示文稿</vt:lpstr>
      <vt:lpstr>项目背景分析</vt:lpstr>
      <vt:lpstr>现状分析</vt:lpstr>
      <vt:lpstr>以往优化方案</vt:lpstr>
      <vt:lpstr>项目目标</vt:lpstr>
      <vt:lpstr>PowerPoint 演示文稿</vt:lpstr>
      <vt:lpstr>模型的原理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根据业务的优化调整</vt:lpstr>
      <vt:lpstr>PowerPoint 演示文稿</vt:lpstr>
      <vt:lpstr>PowerPoint 演示文稿</vt:lpstr>
      <vt:lpstr>PowerPoint 演示文稿</vt:lpstr>
      <vt:lpstr>PowerPoint 演示文稿</vt:lpstr>
      <vt:lpstr>模型优势与未来优化建议：</vt:lpstr>
      <vt:lpstr>写在最后</vt:lpstr>
      <vt:lpstr>免责声明</vt:lpstr>
      <vt:lpstr>智能精益排班项目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乐君 郑</cp:lastModifiedBy>
  <cp:revision>52</cp:revision>
  <cp:lastPrinted>2018-10-17T16:00:00Z</cp:lastPrinted>
  <dcterms:created xsi:type="dcterms:W3CDTF">2018-10-17T16:00:00Z</dcterms:created>
  <dcterms:modified xsi:type="dcterms:W3CDTF">2019-06-27T08:24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